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8.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0.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1.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2.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3.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60.xml" ContentType="application/vnd.openxmlformats-officedocument.presentationml.tags+xml"/>
  <Override PartName="/ppt/notesSlides/notesSlide3.xml" ContentType="application/vnd.openxmlformats-officedocument.presentationml.notesSlide+xml"/>
  <Override PartName="/ppt/tags/tag76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62.xml" ContentType="application/vnd.openxmlformats-officedocument.presentationml.tags+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3" r:id="rId4"/>
    <p:sldMasterId id="2147483804" r:id="rId5"/>
    <p:sldMasterId id="2147484488" r:id="rId6"/>
    <p:sldMasterId id="2147483885" r:id="rId7"/>
    <p:sldMasterId id="2147484539" r:id="rId8"/>
    <p:sldMasterId id="2147483966" r:id="rId9"/>
    <p:sldMasterId id="2147484047" r:id="rId10"/>
    <p:sldMasterId id="2147483655" r:id="rId11"/>
    <p:sldMasterId id="2147484209" r:id="rId12"/>
    <p:sldMasterId id="2147484264" r:id="rId13"/>
    <p:sldMasterId id="2147484510" r:id="rId14"/>
    <p:sldMasterId id="2147484319" r:id="rId15"/>
    <p:sldMasterId id="2147484374" r:id="rId16"/>
    <p:sldMasterId id="2147484128" r:id="rId17"/>
    <p:sldMasterId id="2147484614" r:id="rId18"/>
  </p:sldMasterIdLst>
  <p:notesMasterIdLst>
    <p:notesMasterId r:id="rId38"/>
  </p:notesMasterIdLst>
  <p:handoutMasterIdLst>
    <p:handoutMasterId r:id="rId39"/>
  </p:handoutMasterIdLst>
  <p:sldIdLst>
    <p:sldId id="661" r:id="rId19"/>
    <p:sldId id="2147469712" r:id="rId20"/>
    <p:sldId id="2147469713" r:id="rId21"/>
    <p:sldId id="2147469517" r:id="rId22"/>
    <p:sldId id="2147469709" r:id="rId23"/>
    <p:sldId id="393" r:id="rId24"/>
    <p:sldId id="2147469707" r:id="rId25"/>
    <p:sldId id="2147469704" r:id="rId26"/>
    <p:sldId id="2147469524" r:id="rId27"/>
    <p:sldId id="2147469706" r:id="rId28"/>
    <p:sldId id="2147469525" r:id="rId29"/>
    <p:sldId id="2147469531" r:id="rId30"/>
    <p:sldId id="2147469705" r:id="rId31"/>
    <p:sldId id="2147469708" r:id="rId32"/>
    <p:sldId id="2147469526" r:id="rId33"/>
    <p:sldId id="2147469527" r:id="rId34"/>
    <p:sldId id="2147469529" r:id="rId35"/>
    <p:sldId id="2147469714" r:id="rId36"/>
    <p:sldId id="478"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9FCC3B"/>
          </p15:clr>
        </p15:guide>
        <p15:guide id="2" pos="3840" userDrawn="1">
          <p15:clr>
            <a:srgbClr val="9FCC3B"/>
          </p15:clr>
        </p15:guide>
        <p15:guide id="3" pos="347" userDrawn="1">
          <p15:clr>
            <a:srgbClr val="9FCC3B"/>
          </p15:clr>
        </p15:guide>
        <p15:guide id="4" pos="846" userDrawn="1">
          <p15:clr>
            <a:srgbClr val="F26B43"/>
          </p15:clr>
        </p15:guide>
        <p15:guide id="5" pos="937" userDrawn="1">
          <p15:clr>
            <a:srgbClr val="F26B43"/>
          </p15:clr>
        </p15:guide>
        <p15:guide id="6" pos="1436" userDrawn="1">
          <p15:clr>
            <a:srgbClr val="F26B43"/>
          </p15:clr>
        </p15:guide>
        <p15:guide id="7" pos="1527" userDrawn="1">
          <p15:clr>
            <a:srgbClr val="F26B43"/>
          </p15:clr>
        </p15:guide>
        <p15:guide id="8" pos="2026" userDrawn="1">
          <p15:clr>
            <a:srgbClr val="F26B43"/>
          </p15:clr>
        </p15:guide>
        <p15:guide id="9" pos="2116" userDrawn="1">
          <p15:clr>
            <a:srgbClr val="F26B43"/>
          </p15:clr>
        </p15:guide>
        <p15:guide id="10" pos="2615" userDrawn="1">
          <p15:clr>
            <a:srgbClr val="F26B43"/>
          </p15:clr>
        </p15:guide>
        <p15:guide id="11" pos="2706" userDrawn="1">
          <p15:clr>
            <a:srgbClr val="F26B43"/>
          </p15:clr>
        </p15:guide>
        <p15:guide id="12" pos="3205" userDrawn="1">
          <p15:clr>
            <a:srgbClr val="F26B43"/>
          </p15:clr>
        </p15:guide>
        <p15:guide id="13" pos="3296" userDrawn="1">
          <p15:clr>
            <a:srgbClr val="F26B43"/>
          </p15:clr>
        </p15:guide>
        <p15:guide id="14" pos="3795" userDrawn="1">
          <p15:clr>
            <a:srgbClr val="F26B43"/>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41" orient="horz" pos="4201" userDrawn="1">
          <p15:clr>
            <a:srgbClr val="9FCC3B"/>
          </p15:clr>
        </p15:guide>
        <p15:guide id="56" orient="horz" pos="119" userDrawn="1">
          <p15:clr>
            <a:srgbClr val="9FCC3B"/>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37F2923-1FEF-3172-625E-5B546E1A476A}" name="Kate Walker" initials="KW" userId="S::kate@futurepresent.agency::25eb6372-8fe7-47d8-b66d-2d1f314a12df" providerId="AD"/>
  <p188:author id="{F1BA4F44-7A31-6648-D788-C3EDA2BAFA0C}" name="Jo Donnelly" initials="JD" userId="S::jo.donnelly@clarivate.com::03808bbd-17e3-4c7b-aaaf-885eee687660" providerId="AD"/>
  <p188:author id="{F8276B91-F105-E96A-8401-3CCFEE919819}" name="Rob Mayfield" initials="RM" userId="S::rob.m@futurepresent.agency::7d2e40a3-64fe-4ed7-8632-ff280d8c450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aghav Tangri" initials="RT" lastIdx="9" clrIdx="0">
    <p:extLst>
      <p:ext uri="{19B8F6BF-5375-455C-9EA6-DF929625EA0E}">
        <p15:presenceInfo xmlns:p15="http://schemas.microsoft.com/office/powerpoint/2012/main" userId="S::raghav.tangri@clarivate.com::5b136068-f009-4b14-ae84-ada966021e77" providerId="AD"/>
      </p:ext>
    </p:extLst>
  </p:cmAuthor>
  <p:cmAuthor id="2" name="April Chan-Tsui" initials="ACT" lastIdx="15" clrIdx="1">
    <p:extLst>
      <p:ext uri="{19B8F6BF-5375-455C-9EA6-DF929625EA0E}">
        <p15:presenceInfo xmlns:p15="http://schemas.microsoft.com/office/powerpoint/2012/main" userId="S::April.Chan-Tsui@Clarivate.com::76936bc0-cb8f-4c6f-b929-d4ea8eaacc13" providerId="AD"/>
      </p:ext>
    </p:extLst>
  </p:cmAuthor>
  <p:cmAuthor id="3" name="Vasundhara Sahi" initials="VS" lastIdx="3" clrIdx="2">
    <p:extLst>
      <p:ext uri="{19B8F6BF-5375-455C-9EA6-DF929625EA0E}">
        <p15:presenceInfo xmlns:p15="http://schemas.microsoft.com/office/powerpoint/2012/main" userId="S::vasundhara.sahi@clarivate.com::0fc5160f-bf42-4853-b813-5fb1cc5c46d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6E58"/>
    <a:srgbClr val="0A4636"/>
    <a:srgbClr val="093D2F"/>
    <a:srgbClr val="05251D"/>
    <a:srgbClr val="9545D7"/>
    <a:srgbClr val="0594FF"/>
    <a:srgbClr val="2DA5FF"/>
    <a:srgbClr val="3E6178"/>
    <a:srgbClr val="929499"/>
    <a:srgbClr val="93FF9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4841E0-1F80-1C34-6F28-758EBCF840C8}" v="70" dt="2023-06-06T10:40:36.038"/>
    <p1510:client id="{81D61404-3071-466F-81D7-E4E2C1214A30}" v="11" dt="2023-06-06T12:00:02.048"/>
    <p1510:client id="{E4638C90-7349-4671-B3E8-0A009CDBF2E4}" v="4829" dt="2023-06-06T11:40:09.9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9796" autoAdjust="0"/>
  </p:normalViewPr>
  <p:slideViewPr>
    <p:cSldViewPr snapToGrid="0">
      <p:cViewPr>
        <p:scale>
          <a:sx n="75" d="100"/>
          <a:sy n="75" d="100"/>
        </p:scale>
        <p:origin x="-246" y="-600"/>
      </p:cViewPr>
      <p:guideLst>
        <p:guide orient="horz" pos="2160"/>
        <p:guide pos="3840"/>
        <p:guide pos="347"/>
        <p:guide pos="846"/>
        <p:guide pos="937"/>
        <p:guide pos="1436"/>
        <p:guide pos="1527"/>
        <p:guide pos="2026"/>
        <p:guide pos="2116"/>
        <p:guide pos="2615"/>
        <p:guide pos="2706"/>
        <p:guide pos="3205"/>
        <p:guide pos="3296"/>
        <p:guide pos="3795"/>
        <p:guide pos="3885"/>
        <p:guide pos="4384"/>
        <p:guide pos="4475"/>
        <p:guide pos="4974"/>
        <p:guide pos="5065"/>
        <p:guide pos="5564"/>
        <p:guide pos="5654"/>
        <p:guide pos="6153"/>
        <p:guide pos="6244"/>
        <p:guide pos="6743"/>
        <p:guide pos="6834"/>
        <p:guide pos="7333"/>
        <p:guide orient="horz" pos="4201"/>
        <p:guide orient="horz" pos="11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handoutMaster" Target="handoutMasters/handoutMaster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2.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m Kay" userId="e07fd51c-ed0d-492c-94e6-da887a4d1112" providerId="ADAL" clId="{4C3986D1-EB2C-4CB7-B452-96EAA9213437}"/>
    <pc:docChg chg="modSld">
      <pc:chgData name="Sam Kay" userId="e07fd51c-ed0d-492c-94e6-da887a4d1112" providerId="ADAL" clId="{4C3986D1-EB2C-4CB7-B452-96EAA9213437}" dt="2023-06-05T09:13:46.588" v="16" actId="1036"/>
      <pc:docMkLst>
        <pc:docMk/>
      </pc:docMkLst>
      <pc:sldChg chg="modSp mod">
        <pc:chgData name="Sam Kay" userId="e07fd51c-ed0d-492c-94e6-da887a4d1112" providerId="ADAL" clId="{4C3986D1-EB2C-4CB7-B452-96EAA9213437}" dt="2023-06-05T09:13:46.588" v="16" actId="1036"/>
        <pc:sldMkLst>
          <pc:docMk/>
          <pc:sldMk cId="3636767866" sldId="2147469704"/>
        </pc:sldMkLst>
        <pc:spChg chg="mod">
          <ac:chgData name="Sam Kay" userId="e07fd51c-ed0d-492c-94e6-da887a4d1112" providerId="ADAL" clId="{4C3986D1-EB2C-4CB7-B452-96EAA9213437}" dt="2023-06-05T09:13:46.588" v="16" actId="1036"/>
          <ac:spMkLst>
            <pc:docMk/>
            <pc:sldMk cId="3636767866" sldId="2147469704"/>
            <ac:spMk id="6" creationId="{AA8F9C34-B8F3-0463-C2A6-588FB817B8B7}"/>
          </ac:spMkLst>
        </pc:spChg>
        <pc:cxnChg chg="mod">
          <ac:chgData name="Sam Kay" userId="e07fd51c-ed0d-492c-94e6-da887a4d1112" providerId="ADAL" clId="{4C3986D1-EB2C-4CB7-B452-96EAA9213437}" dt="2023-06-05T09:13:46.588" v="16" actId="1036"/>
          <ac:cxnSpMkLst>
            <pc:docMk/>
            <pc:sldMk cId="3636767866" sldId="2147469704"/>
            <ac:cxnSpMk id="13" creationId="{56CAD1D9-957F-5891-A631-A4D4B49C2FF8}"/>
          </ac:cxnSpMkLst>
        </pc:cxnChg>
        <pc:cxnChg chg="mod">
          <ac:chgData name="Sam Kay" userId="e07fd51c-ed0d-492c-94e6-da887a4d1112" providerId="ADAL" clId="{4C3986D1-EB2C-4CB7-B452-96EAA9213437}" dt="2023-06-05T09:13:46.588" v="16" actId="1036"/>
          <ac:cxnSpMkLst>
            <pc:docMk/>
            <pc:sldMk cId="3636767866" sldId="2147469704"/>
            <ac:cxnSpMk id="14" creationId="{BE334EC2-2E2A-C4C0-FDAB-B4B29A71D4B5}"/>
          </ac:cxnSpMkLst>
        </pc:cxnChg>
      </pc:sldChg>
    </pc:docChg>
  </pc:docChgLst>
  <pc:docChgLst>
    <pc:chgData name="Sam Kay" userId="S::saman.kay@clarivate.com::e07fd51c-ed0d-492c-94e6-da887a4d1112" providerId="AD" clId="Web-{AB70861F-20FB-4B8E-B897-4184FFDB9C9F}"/>
    <pc:docChg chg="modSld">
      <pc:chgData name="Sam Kay" userId="S::saman.kay@clarivate.com::e07fd51c-ed0d-492c-94e6-da887a4d1112" providerId="AD" clId="Web-{AB70861F-20FB-4B8E-B897-4184FFDB9C9F}" dt="2023-06-05T09:11:51.108" v="46" actId="1076"/>
      <pc:docMkLst>
        <pc:docMk/>
      </pc:docMkLst>
      <pc:sldChg chg="modSp">
        <pc:chgData name="Sam Kay" userId="S::saman.kay@clarivate.com::e07fd51c-ed0d-492c-94e6-da887a4d1112" providerId="AD" clId="Web-{AB70861F-20FB-4B8E-B897-4184FFDB9C9F}" dt="2023-06-05T09:11:51.108" v="46" actId="1076"/>
        <pc:sldMkLst>
          <pc:docMk/>
          <pc:sldMk cId="3636767866" sldId="2147469704"/>
        </pc:sldMkLst>
        <pc:spChg chg="mod">
          <ac:chgData name="Sam Kay" userId="S::saman.kay@clarivate.com::e07fd51c-ed0d-492c-94e6-da887a4d1112" providerId="AD" clId="Web-{AB70861F-20FB-4B8E-B897-4184FFDB9C9F}" dt="2023-06-05T09:11:51.108" v="46" actId="1076"/>
          <ac:spMkLst>
            <pc:docMk/>
            <pc:sldMk cId="3636767866" sldId="2147469704"/>
            <ac:spMk id="6" creationId="{AA8F9C34-B8F3-0463-C2A6-588FB817B8B7}"/>
          </ac:spMkLst>
        </pc:spChg>
        <pc:cxnChg chg="mod">
          <ac:chgData name="Sam Kay" userId="S::saman.kay@clarivate.com::e07fd51c-ed0d-492c-94e6-da887a4d1112" providerId="AD" clId="Web-{AB70861F-20FB-4B8E-B897-4184FFDB9C9F}" dt="2023-06-05T09:11:51.108" v="46" actId="1076"/>
          <ac:cxnSpMkLst>
            <pc:docMk/>
            <pc:sldMk cId="3636767866" sldId="2147469704"/>
            <ac:cxnSpMk id="13" creationId="{56CAD1D9-957F-5891-A631-A4D4B49C2FF8}"/>
          </ac:cxnSpMkLst>
        </pc:cxnChg>
        <pc:cxnChg chg="mod">
          <ac:chgData name="Sam Kay" userId="S::saman.kay@clarivate.com::e07fd51c-ed0d-492c-94e6-da887a4d1112" providerId="AD" clId="Web-{AB70861F-20FB-4B8E-B897-4184FFDB9C9F}" dt="2023-06-05T09:11:51.108" v="46" actId="1076"/>
          <ac:cxnSpMkLst>
            <pc:docMk/>
            <pc:sldMk cId="3636767866" sldId="2147469704"/>
            <ac:cxnSpMk id="14" creationId="{BE334EC2-2E2A-C4C0-FDAB-B4B29A71D4B5}"/>
          </ac:cxnSpMkLst>
        </pc:cxnChg>
      </pc:sldChg>
    </pc:docChg>
  </pc:docChgLst>
  <pc:docChgLst>
    <pc:chgData name="Raghav Tangri" userId="5b136068-f009-4b14-ae84-ada966021e77" providerId="ADAL" clId="{E4638C90-7349-4671-B3E8-0A009CDBF2E4}"/>
    <pc:docChg chg="undo custSel addSld delSld modSld sldOrd">
      <pc:chgData name="Raghav Tangri" userId="5b136068-f009-4b14-ae84-ada966021e77" providerId="ADAL" clId="{E4638C90-7349-4671-B3E8-0A009CDBF2E4}" dt="2023-06-06T11:46:44.169" v="13283" actId="33524"/>
      <pc:docMkLst>
        <pc:docMk/>
      </pc:docMkLst>
      <pc:sldChg chg="addSp modSp mod">
        <pc:chgData name="Raghav Tangri" userId="5b136068-f009-4b14-ae84-ada966021e77" providerId="ADAL" clId="{E4638C90-7349-4671-B3E8-0A009CDBF2E4}" dt="2023-06-04T17:12:47.720" v="3889" actId="1036"/>
        <pc:sldMkLst>
          <pc:docMk/>
          <pc:sldMk cId="442784509" sldId="393"/>
        </pc:sldMkLst>
        <pc:spChg chg="add mod">
          <ac:chgData name="Raghav Tangri" userId="5b136068-f009-4b14-ae84-ada966021e77" providerId="ADAL" clId="{E4638C90-7349-4671-B3E8-0A009CDBF2E4}" dt="2023-06-04T17:12:47.720" v="3889" actId="1036"/>
          <ac:spMkLst>
            <pc:docMk/>
            <pc:sldMk cId="442784509" sldId="393"/>
            <ac:spMk id="4" creationId="{9CDB8677-4857-4D95-834A-3BE30D587E42}"/>
          </ac:spMkLst>
        </pc:spChg>
        <pc:spChg chg="add mod">
          <ac:chgData name="Raghav Tangri" userId="5b136068-f009-4b14-ae84-ada966021e77" providerId="ADAL" clId="{E4638C90-7349-4671-B3E8-0A009CDBF2E4}" dt="2023-06-04T17:12:47.720" v="3889" actId="1036"/>
          <ac:spMkLst>
            <pc:docMk/>
            <pc:sldMk cId="442784509" sldId="393"/>
            <ac:spMk id="5" creationId="{AB3F894D-11FF-4ACB-BF3D-D7D2DE0FC311}"/>
          </ac:spMkLst>
        </pc:spChg>
      </pc:sldChg>
      <pc:sldChg chg="addSp modSp mod">
        <pc:chgData name="Raghav Tangri" userId="5b136068-f009-4b14-ae84-ada966021e77" providerId="ADAL" clId="{E4638C90-7349-4671-B3E8-0A009CDBF2E4}" dt="2023-06-04T17:12:51.418" v="3891" actId="1036"/>
        <pc:sldMkLst>
          <pc:docMk/>
          <pc:sldMk cId="138708838" sldId="2147469524"/>
        </pc:sldMkLst>
        <pc:spChg chg="add mod">
          <ac:chgData name="Raghav Tangri" userId="5b136068-f009-4b14-ae84-ada966021e77" providerId="ADAL" clId="{E4638C90-7349-4671-B3E8-0A009CDBF2E4}" dt="2023-06-04T17:12:51.418" v="3891" actId="1036"/>
          <ac:spMkLst>
            <pc:docMk/>
            <pc:sldMk cId="138708838" sldId="2147469524"/>
            <ac:spMk id="4" creationId="{2B25FC95-1C9E-499F-8080-755F2704A005}"/>
          </ac:spMkLst>
        </pc:spChg>
        <pc:spChg chg="add mod">
          <ac:chgData name="Raghav Tangri" userId="5b136068-f009-4b14-ae84-ada966021e77" providerId="ADAL" clId="{E4638C90-7349-4671-B3E8-0A009CDBF2E4}" dt="2023-06-04T17:12:51.418" v="3891" actId="1036"/>
          <ac:spMkLst>
            <pc:docMk/>
            <pc:sldMk cId="138708838" sldId="2147469524"/>
            <ac:spMk id="5" creationId="{E1FD13C0-F188-450D-8C17-CB744FA2FF0E}"/>
          </ac:spMkLst>
        </pc:spChg>
      </pc:sldChg>
      <pc:sldChg chg="addSp">
        <pc:chgData name="Raghav Tangri" userId="5b136068-f009-4b14-ae84-ada966021e77" providerId="ADAL" clId="{E4638C90-7349-4671-B3E8-0A009CDBF2E4}" dt="2023-06-04T17:13:17.868" v="3896"/>
        <pc:sldMkLst>
          <pc:docMk/>
          <pc:sldMk cId="3764167402" sldId="2147469526"/>
        </pc:sldMkLst>
        <pc:spChg chg="add">
          <ac:chgData name="Raghav Tangri" userId="5b136068-f009-4b14-ae84-ada966021e77" providerId="ADAL" clId="{E4638C90-7349-4671-B3E8-0A009CDBF2E4}" dt="2023-06-04T17:13:17.868" v="3896"/>
          <ac:spMkLst>
            <pc:docMk/>
            <pc:sldMk cId="3764167402" sldId="2147469526"/>
            <ac:spMk id="4" creationId="{BC376B59-92EA-4767-AB8D-D1AF87784EAD}"/>
          </ac:spMkLst>
        </pc:spChg>
        <pc:spChg chg="add">
          <ac:chgData name="Raghav Tangri" userId="5b136068-f009-4b14-ae84-ada966021e77" providerId="ADAL" clId="{E4638C90-7349-4671-B3E8-0A009CDBF2E4}" dt="2023-06-04T17:13:17.868" v="3896"/>
          <ac:spMkLst>
            <pc:docMk/>
            <pc:sldMk cId="3764167402" sldId="2147469526"/>
            <ac:spMk id="5" creationId="{A1221ECB-1CD1-47FF-9D03-7850247372CD}"/>
          </ac:spMkLst>
        </pc:spChg>
      </pc:sldChg>
      <pc:sldChg chg="modCm modNotesTx">
        <pc:chgData name="Raghav Tangri" userId="5b136068-f009-4b14-ae84-ada966021e77" providerId="ADAL" clId="{E4638C90-7349-4671-B3E8-0A009CDBF2E4}" dt="2023-06-06T11:46:44.169" v="13283" actId="33524"/>
        <pc:sldMkLst>
          <pc:docMk/>
          <pc:sldMk cId="4130276916" sldId="2147469529"/>
        </pc:sldMkLst>
      </pc:sldChg>
      <pc:sldChg chg="addSp modSp mod">
        <pc:chgData name="Raghav Tangri" userId="5b136068-f009-4b14-ae84-ada966021e77" providerId="ADAL" clId="{E4638C90-7349-4671-B3E8-0A009CDBF2E4}" dt="2023-06-04T17:13:04.563" v="3895" actId="27636"/>
        <pc:sldMkLst>
          <pc:docMk/>
          <pc:sldMk cId="2537622272" sldId="2147469531"/>
        </pc:sldMkLst>
        <pc:spChg chg="add mod">
          <ac:chgData name="Raghav Tangri" userId="5b136068-f009-4b14-ae84-ada966021e77" providerId="ADAL" clId="{E4638C90-7349-4671-B3E8-0A009CDBF2E4}" dt="2023-06-04T17:13:04.563" v="3895" actId="27636"/>
          <ac:spMkLst>
            <pc:docMk/>
            <pc:sldMk cId="2537622272" sldId="2147469531"/>
            <ac:spMk id="4" creationId="{98F81CBA-50C5-4984-854A-EC955CF79802}"/>
          </ac:spMkLst>
        </pc:spChg>
        <pc:spChg chg="add">
          <ac:chgData name="Raghav Tangri" userId="5b136068-f009-4b14-ae84-ada966021e77" providerId="ADAL" clId="{E4638C90-7349-4671-B3E8-0A009CDBF2E4}" dt="2023-06-04T17:12:58.314" v="3892"/>
          <ac:spMkLst>
            <pc:docMk/>
            <pc:sldMk cId="2537622272" sldId="2147469531"/>
            <ac:spMk id="5" creationId="{65AA9FF0-5C5D-4A3B-85D0-0D79138D90FE}"/>
          </ac:spMkLst>
        </pc:spChg>
      </pc:sldChg>
      <pc:sldChg chg="addSp delSp modSp mod addCm">
        <pc:chgData name="Raghav Tangri" userId="5b136068-f009-4b14-ae84-ada966021e77" providerId="ADAL" clId="{E4638C90-7349-4671-B3E8-0A009CDBF2E4}" dt="2023-06-05T08:46:39.442" v="6188" actId="13926"/>
        <pc:sldMkLst>
          <pc:docMk/>
          <pc:sldMk cId="3636767866" sldId="2147469704"/>
        </pc:sldMkLst>
        <pc:spChg chg="mod">
          <ac:chgData name="Raghav Tangri" userId="5b136068-f009-4b14-ae84-ada966021e77" providerId="ADAL" clId="{E4638C90-7349-4671-B3E8-0A009CDBF2E4}" dt="2023-06-05T08:46:39.442" v="6188" actId="13926"/>
          <ac:spMkLst>
            <pc:docMk/>
            <pc:sldMk cId="3636767866" sldId="2147469704"/>
            <ac:spMk id="6" creationId="{AA8F9C34-B8F3-0463-C2A6-588FB817B8B7}"/>
          </ac:spMkLst>
        </pc:spChg>
        <pc:spChg chg="mod">
          <ac:chgData name="Raghav Tangri" userId="5b136068-f009-4b14-ae84-ada966021e77" providerId="ADAL" clId="{E4638C90-7349-4671-B3E8-0A009CDBF2E4}" dt="2023-06-05T08:23:37.040" v="5663" actId="20577"/>
          <ac:spMkLst>
            <pc:docMk/>
            <pc:sldMk cId="3636767866" sldId="2147469704"/>
            <ac:spMk id="7" creationId="{8D3F7E4E-4AF6-F24D-9E3A-5FE6612E1628}"/>
          </ac:spMkLst>
        </pc:spChg>
        <pc:spChg chg="add del mod">
          <ac:chgData name="Raghav Tangri" userId="5b136068-f009-4b14-ae84-ada966021e77" providerId="ADAL" clId="{E4638C90-7349-4671-B3E8-0A009CDBF2E4}" dt="2023-06-05T08:44:59.509" v="6186" actId="478"/>
          <ac:spMkLst>
            <pc:docMk/>
            <pc:sldMk cId="3636767866" sldId="2147469704"/>
            <ac:spMk id="48" creationId="{C9D45DF9-5D32-437E-B0B5-F622B147C68C}"/>
          </ac:spMkLst>
        </pc:spChg>
      </pc:sldChg>
      <pc:sldChg chg="modNotesTx">
        <pc:chgData name="Raghav Tangri" userId="5b136068-f009-4b14-ae84-ada966021e77" providerId="ADAL" clId="{E4638C90-7349-4671-B3E8-0A009CDBF2E4}" dt="2023-06-06T10:04:29.664" v="7220" actId="20577"/>
        <pc:sldMkLst>
          <pc:docMk/>
          <pc:sldMk cId="2656086727" sldId="2147469706"/>
        </pc:sldMkLst>
      </pc:sldChg>
      <pc:sldChg chg="modSp mod modCm modNotesTx">
        <pc:chgData name="Raghav Tangri" userId="5b136068-f009-4b14-ae84-ada966021e77" providerId="ADAL" clId="{E4638C90-7349-4671-B3E8-0A009CDBF2E4}" dt="2023-06-06T07:36:14.717" v="7141" actId="5900"/>
        <pc:sldMkLst>
          <pc:docMk/>
          <pc:sldMk cId="2877756291" sldId="2147469707"/>
        </pc:sldMkLst>
        <pc:spChg chg="mod">
          <ac:chgData name="Raghav Tangri" userId="5b136068-f009-4b14-ae84-ada966021e77" providerId="ADAL" clId="{E4638C90-7349-4671-B3E8-0A009CDBF2E4}" dt="2023-06-05T08:11:19.296" v="4790" actId="21"/>
          <ac:spMkLst>
            <pc:docMk/>
            <pc:sldMk cId="2877756291" sldId="2147469707"/>
            <ac:spMk id="17" creationId="{0694CA58-975C-432B-B765-37DC63EFF968}"/>
          </ac:spMkLst>
        </pc:spChg>
        <pc:spChg chg="mod">
          <ac:chgData name="Raghav Tangri" userId="5b136068-f009-4b14-ae84-ada966021e77" providerId="ADAL" clId="{E4638C90-7349-4671-B3E8-0A009CDBF2E4}" dt="2023-06-05T08:11:18.847" v="4789" actId="20577"/>
          <ac:spMkLst>
            <pc:docMk/>
            <pc:sldMk cId="2877756291" sldId="2147469707"/>
            <ac:spMk id="22" creationId="{75AEB61C-2977-4395-80F6-0F5DF24C08C0}"/>
          </ac:spMkLst>
        </pc:spChg>
        <pc:spChg chg="mod">
          <ac:chgData name="Raghav Tangri" userId="5b136068-f009-4b14-ae84-ada966021e77" providerId="ADAL" clId="{E4638C90-7349-4671-B3E8-0A009CDBF2E4}" dt="2023-06-05T08:15:06.510" v="5134" actId="20577"/>
          <ac:spMkLst>
            <pc:docMk/>
            <pc:sldMk cId="2877756291" sldId="2147469707"/>
            <ac:spMk id="25" creationId="{0A8EB1C4-C2D5-4BE1-9370-B15F69F7A063}"/>
          </ac:spMkLst>
        </pc:spChg>
      </pc:sldChg>
      <pc:sldChg chg="modNotesTx">
        <pc:chgData name="Raghav Tangri" userId="5b136068-f009-4b14-ae84-ada966021e77" providerId="ADAL" clId="{E4638C90-7349-4671-B3E8-0A009CDBF2E4}" dt="2023-06-06T10:27:12.570" v="8466" actId="20577"/>
        <pc:sldMkLst>
          <pc:docMk/>
          <pc:sldMk cId="2870189611" sldId="2147469708"/>
        </pc:sldMkLst>
      </pc:sldChg>
      <pc:sldChg chg="addSp delSp modSp new mod ord modNotesTx">
        <pc:chgData name="Raghav Tangri" userId="5b136068-f009-4b14-ae84-ada966021e77" providerId="ADAL" clId="{E4638C90-7349-4671-B3E8-0A009CDBF2E4}" dt="2023-06-06T10:41:49.528" v="8500" actId="20577"/>
        <pc:sldMkLst>
          <pc:docMk/>
          <pc:sldMk cId="425616334" sldId="2147469709"/>
        </pc:sldMkLst>
        <pc:spChg chg="mod">
          <ac:chgData name="Raghav Tangri" userId="5b136068-f009-4b14-ae84-ada966021e77" providerId="ADAL" clId="{E4638C90-7349-4671-B3E8-0A009CDBF2E4}" dt="2023-06-05T08:33:42.025" v="6090" actId="20577"/>
          <ac:spMkLst>
            <pc:docMk/>
            <pc:sldMk cId="425616334" sldId="2147469709"/>
            <ac:spMk id="2" creationId="{88F780E0-F5E5-4B53-84D4-76A0D769527C}"/>
          </ac:spMkLst>
        </pc:spChg>
        <pc:spChg chg="add del mod">
          <ac:chgData name="Raghav Tangri" userId="5b136068-f009-4b14-ae84-ada966021e77" providerId="ADAL" clId="{E4638C90-7349-4671-B3E8-0A009CDBF2E4}" dt="2023-06-06T10:41:49.528" v="8500" actId="20577"/>
          <ac:spMkLst>
            <pc:docMk/>
            <pc:sldMk cId="425616334" sldId="2147469709"/>
            <ac:spMk id="3" creationId="{B344088B-167C-4473-B4E4-85BF9D7E4764}"/>
          </ac:spMkLst>
        </pc:spChg>
        <pc:spChg chg="del mod">
          <ac:chgData name="Raghav Tangri" userId="5b136068-f009-4b14-ae84-ada966021e77" providerId="ADAL" clId="{E4638C90-7349-4671-B3E8-0A009CDBF2E4}" dt="2023-06-04T17:09:27.459" v="3809" actId="478"/>
          <ac:spMkLst>
            <pc:docMk/>
            <pc:sldMk cId="425616334" sldId="2147469709"/>
            <ac:spMk id="4" creationId="{A46B56E9-4521-4B7B-9B5A-DBD27F3B6DED}"/>
          </ac:spMkLst>
        </pc:spChg>
        <pc:spChg chg="del mod">
          <ac:chgData name="Raghav Tangri" userId="5b136068-f009-4b14-ae84-ada966021e77" providerId="ADAL" clId="{E4638C90-7349-4671-B3E8-0A009CDBF2E4}" dt="2023-06-06T10:41:26.824" v="8490" actId="478"/>
          <ac:spMkLst>
            <pc:docMk/>
            <pc:sldMk cId="425616334" sldId="2147469709"/>
            <ac:spMk id="5" creationId="{E7B64912-0C6B-4B2D-98ED-EA4186033CDB}"/>
          </ac:spMkLst>
        </pc:spChg>
        <pc:spChg chg="add del mod">
          <ac:chgData name="Raghav Tangri" userId="5b136068-f009-4b14-ae84-ada966021e77" providerId="ADAL" clId="{E4638C90-7349-4671-B3E8-0A009CDBF2E4}" dt="2023-06-06T10:41:23.527" v="8488" actId="478"/>
          <ac:spMkLst>
            <pc:docMk/>
            <pc:sldMk cId="425616334" sldId="2147469709"/>
            <ac:spMk id="6" creationId="{0192E8D6-AF7C-4C10-945D-6D8BC8442609}"/>
          </ac:spMkLst>
        </pc:spChg>
        <pc:spChg chg="del mod">
          <ac:chgData name="Raghav Tangri" userId="5b136068-f009-4b14-ae84-ada966021e77" providerId="ADAL" clId="{E4638C90-7349-4671-B3E8-0A009CDBF2E4}" dt="2023-06-04T17:09:29.306" v="3810" actId="478"/>
          <ac:spMkLst>
            <pc:docMk/>
            <pc:sldMk cId="425616334" sldId="2147469709"/>
            <ac:spMk id="6" creationId="{BEDC8D7B-1FAA-497B-A8B3-7E4F0112EBE8}"/>
          </ac:spMkLst>
        </pc:spChg>
        <pc:spChg chg="del mod">
          <ac:chgData name="Raghav Tangri" userId="5b136068-f009-4b14-ae84-ada966021e77" providerId="ADAL" clId="{E4638C90-7349-4671-B3E8-0A009CDBF2E4}" dt="2023-06-06T10:41:28.350" v="8491" actId="478"/>
          <ac:spMkLst>
            <pc:docMk/>
            <pc:sldMk cId="425616334" sldId="2147469709"/>
            <ac:spMk id="7" creationId="{FDEDA98B-E23A-4D50-84BB-CE1BBC63FBA0}"/>
          </ac:spMkLst>
        </pc:spChg>
        <pc:spChg chg="del mod">
          <ac:chgData name="Raghav Tangri" userId="5b136068-f009-4b14-ae84-ada966021e77" providerId="ADAL" clId="{E4638C90-7349-4671-B3E8-0A009CDBF2E4}" dt="2023-06-04T17:09:31.127" v="3811" actId="478"/>
          <ac:spMkLst>
            <pc:docMk/>
            <pc:sldMk cId="425616334" sldId="2147469709"/>
            <ac:spMk id="8" creationId="{D75976F0-AE6D-4C58-9C54-06E60D0ED49C}"/>
          </ac:spMkLst>
        </pc:spChg>
        <pc:spChg chg="del mod">
          <ac:chgData name="Raghav Tangri" userId="5b136068-f009-4b14-ae84-ada966021e77" providerId="ADAL" clId="{E4638C90-7349-4671-B3E8-0A009CDBF2E4}" dt="2023-06-06T10:41:29.488" v="8492" actId="478"/>
          <ac:spMkLst>
            <pc:docMk/>
            <pc:sldMk cId="425616334" sldId="2147469709"/>
            <ac:spMk id="9" creationId="{93A99991-2917-432F-A420-859D3B0E0D2F}"/>
          </ac:spMkLst>
        </pc:spChg>
        <pc:spChg chg="del mod">
          <ac:chgData name="Raghav Tangri" userId="5b136068-f009-4b14-ae84-ada966021e77" providerId="ADAL" clId="{E4638C90-7349-4671-B3E8-0A009CDBF2E4}" dt="2023-06-04T17:09:32.751" v="3812" actId="478"/>
          <ac:spMkLst>
            <pc:docMk/>
            <pc:sldMk cId="425616334" sldId="2147469709"/>
            <ac:spMk id="10" creationId="{5A2AA8A8-6444-42CD-B7D8-B6B932BF7EC5}"/>
          </ac:spMkLst>
        </pc:spChg>
        <pc:spChg chg="del mod">
          <ac:chgData name="Raghav Tangri" userId="5b136068-f009-4b14-ae84-ada966021e77" providerId="ADAL" clId="{E4638C90-7349-4671-B3E8-0A009CDBF2E4}" dt="2023-06-04T17:09:16.061" v="3807" actId="478"/>
          <ac:spMkLst>
            <pc:docMk/>
            <pc:sldMk cId="425616334" sldId="2147469709"/>
            <ac:spMk id="11" creationId="{D5896089-989D-40C7-8E71-B6C7D08F450B}"/>
          </ac:spMkLst>
        </pc:spChg>
        <pc:spChg chg="del mod">
          <ac:chgData name="Raghav Tangri" userId="5b136068-f009-4b14-ae84-ada966021e77" providerId="ADAL" clId="{E4638C90-7349-4671-B3E8-0A009CDBF2E4}" dt="2023-06-04T17:09:16.061" v="3807" actId="478"/>
          <ac:spMkLst>
            <pc:docMk/>
            <pc:sldMk cId="425616334" sldId="2147469709"/>
            <ac:spMk id="12" creationId="{7FBB7CEF-E054-4EA6-A4CD-F8E4CFF5E9A8}"/>
          </ac:spMkLst>
        </pc:spChg>
        <pc:spChg chg="del mod">
          <ac:chgData name="Raghav Tangri" userId="5b136068-f009-4b14-ae84-ada966021e77" providerId="ADAL" clId="{E4638C90-7349-4671-B3E8-0A009CDBF2E4}" dt="2023-06-04T17:09:16.061" v="3807" actId="478"/>
          <ac:spMkLst>
            <pc:docMk/>
            <pc:sldMk cId="425616334" sldId="2147469709"/>
            <ac:spMk id="13" creationId="{0AC3F73C-D4A0-493E-B9BB-010876844C72}"/>
          </ac:spMkLst>
        </pc:spChg>
        <pc:spChg chg="del mod">
          <ac:chgData name="Raghav Tangri" userId="5b136068-f009-4b14-ae84-ada966021e77" providerId="ADAL" clId="{E4638C90-7349-4671-B3E8-0A009CDBF2E4}" dt="2023-06-04T17:09:16.061" v="3807" actId="478"/>
          <ac:spMkLst>
            <pc:docMk/>
            <pc:sldMk cId="425616334" sldId="2147469709"/>
            <ac:spMk id="14" creationId="{20FB3BD2-6B54-4AB1-9F71-26FACB936A0D}"/>
          </ac:spMkLst>
        </pc:spChg>
        <pc:spChg chg="del">
          <ac:chgData name="Raghav Tangri" userId="5b136068-f009-4b14-ae84-ada966021e77" providerId="ADAL" clId="{E4638C90-7349-4671-B3E8-0A009CDBF2E4}" dt="2023-06-04T17:09:06.482" v="3805" actId="478"/>
          <ac:spMkLst>
            <pc:docMk/>
            <pc:sldMk cId="425616334" sldId="2147469709"/>
            <ac:spMk id="15" creationId="{93F7B8E0-4682-4DF5-AEBF-BA596292114D}"/>
          </ac:spMkLst>
        </pc:spChg>
        <pc:spChg chg="del">
          <ac:chgData name="Raghav Tangri" userId="5b136068-f009-4b14-ae84-ada966021e77" providerId="ADAL" clId="{E4638C90-7349-4671-B3E8-0A009CDBF2E4}" dt="2023-06-04T17:09:06.482" v="3805" actId="478"/>
          <ac:spMkLst>
            <pc:docMk/>
            <pc:sldMk cId="425616334" sldId="2147469709"/>
            <ac:spMk id="16" creationId="{A5D0BEC8-1E95-4098-B5FF-7E13B2B886B8}"/>
          </ac:spMkLst>
        </pc:spChg>
        <pc:spChg chg="del">
          <ac:chgData name="Raghav Tangri" userId="5b136068-f009-4b14-ae84-ada966021e77" providerId="ADAL" clId="{E4638C90-7349-4671-B3E8-0A009CDBF2E4}" dt="2023-06-04T17:09:06.482" v="3805" actId="478"/>
          <ac:spMkLst>
            <pc:docMk/>
            <pc:sldMk cId="425616334" sldId="2147469709"/>
            <ac:spMk id="17" creationId="{F4977997-AF8E-4B79-BB07-4ADB098561D8}"/>
          </ac:spMkLst>
        </pc:spChg>
        <pc:spChg chg="del">
          <ac:chgData name="Raghav Tangri" userId="5b136068-f009-4b14-ae84-ada966021e77" providerId="ADAL" clId="{E4638C90-7349-4671-B3E8-0A009CDBF2E4}" dt="2023-06-04T17:09:06.482" v="3805" actId="478"/>
          <ac:spMkLst>
            <pc:docMk/>
            <pc:sldMk cId="425616334" sldId="2147469709"/>
            <ac:spMk id="18" creationId="{35582532-657E-4B60-84CE-2BFBADDE6573}"/>
          </ac:spMkLst>
        </pc:spChg>
        <pc:spChg chg="del">
          <ac:chgData name="Raghav Tangri" userId="5b136068-f009-4b14-ae84-ada966021e77" providerId="ADAL" clId="{E4638C90-7349-4671-B3E8-0A009CDBF2E4}" dt="2023-06-04T17:09:06.482" v="3805" actId="478"/>
          <ac:spMkLst>
            <pc:docMk/>
            <pc:sldMk cId="425616334" sldId="2147469709"/>
            <ac:spMk id="19" creationId="{1E1C7346-5D9B-46B3-BF3A-1C735183AB6B}"/>
          </ac:spMkLst>
        </pc:spChg>
        <pc:spChg chg="del">
          <ac:chgData name="Raghav Tangri" userId="5b136068-f009-4b14-ae84-ada966021e77" providerId="ADAL" clId="{E4638C90-7349-4671-B3E8-0A009CDBF2E4}" dt="2023-06-04T17:09:06.482" v="3805" actId="478"/>
          <ac:spMkLst>
            <pc:docMk/>
            <pc:sldMk cId="425616334" sldId="2147469709"/>
            <ac:spMk id="20" creationId="{23A76F5B-A52E-494A-B744-675E28C01891}"/>
          </ac:spMkLst>
        </pc:spChg>
        <pc:spChg chg="del">
          <ac:chgData name="Raghav Tangri" userId="5b136068-f009-4b14-ae84-ada966021e77" providerId="ADAL" clId="{E4638C90-7349-4671-B3E8-0A009CDBF2E4}" dt="2023-06-04T17:09:06.482" v="3805" actId="478"/>
          <ac:spMkLst>
            <pc:docMk/>
            <pc:sldMk cId="425616334" sldId="2147469709"/>
            <ac:spMk id="21" creationId="{0F24F703-5CBD-466C-ADC5-D55B96F1C72F}"/>
          </ac:spMkLst>
        </pc:spChg>
        <pc:spChg chg="del">
          <ac:chgData name="Raghav Tangri" userId="5b136068-f009-4b14-ae84-ada966021e77" providerId="ADAL" clId="{E4638C90-7349-4671-B3E8-0A009CDBF2E4}" dt="2023-06-04T17:09:06.482" v="3805" actId="478"/>
          <ac:spMkLst>
            <pc:docMk/>
            <pc:sldMk cId="425616334" sldId="2147469709"/>
            <ac:spMk id="22" creationId="{03CA9E84-07CD-4AD4-ACF6-B9DB5C572DF1}"/>
          </ac:spMkLst>
        </pc:spChg>
        <pc:spChg chg="del">
          <ac:chgData name="Raghav Tangri" userId="5b136068-f009-4b14-ae84-ada966021e77" providerId="ADAL" clId="{E4638C90-7349-4671-B3E8-0A009CDBF2E4}" dt="2023-06-04T17:09:06.482" v="3805" actId="478"/>
          <ac:spMkLst>
            <pc:docMk/>
            <pc:sldMk cId="425616334" sldId="2147469709"/>
            <ac:spMk id="23" creationId="{8C7ABA45-8099-4EEC-A58D-BAF906D8C316}"/>
          </ac:spMkLst>
        </pc:spChg>
        <pc:spChg chg="del">
          <ac:chgData name="Raghav Tangri" userId="5b136068-f009-4b14-ae84-ada966021e77" providerId="ADAL" clId="{E4638C90-7349-4671-B3E8-0A009CDBF2E4}" dt="2023-06-04T17:09:06.482" v="3805" actId="478"/>
          <ac:spMkLst>
            <pc:docMk/>
            <pc:sldMk cId="425616334" sldId="2147469709"/>
            <ac:spMk id="24" creationId="{08CE1FC6-06BF-44DA-B1F3-41BC130ACA37}"/>
          </ac:spMkLst>
        </pc:spChg>
        <pc:spChg chg="del">
          <ac:chgData name="Raghav Tangri" userId="5b136068-f009-4b14-ae84-ada966021e77" providerId="ADAL" clId="{E4638C90-7349-4671-B3E8-0A009CDBF2E4}" dt="2023-06-04T17:09:06.482" v="3805" actId="478"/>
          <ac:spMkLst>
            <pc:docMk/>
            <pc:sldMk cId="425616334" sldId="2147469709"/>
            <ac:spMk id="25" creationId="{EA27B347-AFAF-4AF5-B3EB-AAB3810FE410}"/>
          </ac:spMkLst>
        </pc:spChg>
        <pc:spChg chg="del">
          <ac:chgData name="Raghav Tangri" userId="5b136068-f009-4b14-ae84-ada966021e77" providerId="ADAL" clId="{E4638C90-7349-4671-B3E8-0A009CDBF2E4}" dt="2023-06-04T17:09:06.482" v="3805" actId="478"/>
          <ac:spMkLst>
            <pc:docMk/>
            <pc:sldMk cId="425616334" sldId="2147469709"/>
            <ac:spMk id="26" creationId="{465213CF-234B-425F-8406-4794F6EF7678}"/>
          </ac:spMkLst>
        </pc:spChg>
        <pc:spChg chg="add mod">
          <ac:chgData name="Raghav Tangri" userId="5b136068-f009-4b14-ae84-ada966021e77" providerId="ADAL" clId="{E4638C90-7349-4671-B3E8-0A009CDBF2E4}" dt="2023-06-04T17:12:10.695" v="3886" actId="207"/>
          <ac:spMkLst>
            <pc:docMk/>
            <pc:sldMk cId="425616334" sldId="2147469709"/>
            <ac:spMk id="27" creationId="{4690C715-B794-44AC-B0D6-52D1A83D9AF8}"/>
          </ac:spMkLst>
        </pc:spChg>
        <pc:spChg chg="add mod">
          <ac:chgData name="Raghav Tangri" userId="5b136068-f009-4b14-ae84-ada966021e77" providerId="ADAL" clId="{E4638C90-7349-4671-B3E8-0A009CDBF2E4}" dt="2023-06-04T17:12:21.295" v="3887" actId="1076"/>
          <ac:spMkLst>
            <pc:docMk/>
            <pc:sldMk cId="425616334" sldId="2147469709"/>
            <ac:spMk id="28" creationId="{1050FCE3-D06A-4EDF-99E3-0B79827B3A12}"/>
          </ac:spMkLst>
        </pc:spChg>
      </pc:sldChg>
      <pc:sldChg chg="modSp new mod">
        <pc:chgData name="Raghav Tangri" userId="5b136068-f009-4b14-ae84-ada966021e77" providerId="ADAL" clId="{E4638C90-7349-4671-B3E8-0A009CDBF2E4}" dt="2023-06-05T08:37:21.282" v="6103" actId="20577"/>
        <pc:sldMkLst>
          <pc:docMk/>
          <pc:sldMk cId="1294597016" sldId="2147469710"/>
        </pc:sldMkLst>
        <pc:spChg chg="mod">
          <ac:chgData name="Raghav Tangri" userId="5b136068-f009-4b14-ae84-ada966021e77" providerId="ADAL" clId="{E4638C90-7349-4671-B3E8-0A009CDBF2E4}" dt="2023-06-05T08:37:21.282" v="6103" actId="20577"/>
          <ac:spMkLst>
            <pc:docMk/>
            <pc:sldMk cId="1294597016" sldId="2147469710"/>
            <ac:spMk id="3" creationId="{41A664AD-DDE4-42C7-BA37-24FEAE1D4378}"/>
          </ac:spMkLst>
        </pc:spChg>
      </pc:sldChg>
      <pc:sldChg chg="add del">
        <pc:chgData name="Raghav Tangri" userId="5b136068-f009-4b14-ae84-ada966021e77" providerId="ADAL" clId="{E4638C90-7349-4671-B3E8-0A009CDBF2E4}" dt="2023-06-05T08:36:35.858" v="6094" actId="47"/>
        <pc:sldMkLst>
          <pc:docMk/>
          <pc:sldMk cId="2265195778" sldId="2147469710"/>
        </pc:sldMkLst>
      </pc:sldChg>
      <pc:sldChg chg="modSp add mod">
        <pc:chgData name="Raghav Tangri" userId="5b136068-f009-4b14-ae84-ada966021e77" providerId="ADAL" clId="{E4638C90-7349-4671-B3E8-0A009CDBF2E4}" dt="2023-06-05T08:39:16.338" v="6144" actId="20577"/>
        <pc:sldMkLst>
          <pc:docMk/>
          <pc:sldMk cId="3925275749" sldId="2147469711"/>
        </pc:sldMkLst>
        <pc:spChg chg="mod">
          <ac:chgData name="Raghav Tangri" userId="5b136068-f009-4b14-ae84-ada966021e77" providerId="ADAL" clId="{E4638C90-7349-4671-B3E8-0A009CDBF2E4}" dt="2023-06-05T08:39:16.338" v="6144" actId="20577"/>
          <ac:spMkLst>
            <pc:docMk/>
            <pc:sldMk cId="3925275749" sldId="2147469711"/>
            <ac:spMk id="3" creationId="{41A664AD-DDE4-42C7-BA37-24FEAE1D4378}"/>
          </ac:spMkLst>
        </pc:spChg>
      </pc:sldChg>
      <pc:sldMasterChg chg="delSldLayout">
        <pc:chgData name="Raghav Tangri" userId="5b136068-f009-4b14-ae84-ada966021e77" providerId="ADAL" clId="{E4638C90-7349-4671-B3E8-0A009CDBF2E4}" dt="2023-06-05T08:36:35.858" v="6094" actId="47"/>
        <pc:sldMasterMkLst>
          <pc:docMk/>
          <pc:sldMasterMk cId="1010917163" sldId="2147483655"/>
        </pc:sldMasterMkLst>
        <pc:sldLayoutChg chg="del">
          <pc:chgData name="Raghav Tangri" userId="5b136068-f009-4b14-ae84-ada966021e77" providerId="ADAL" clId="{E4638C90-7349-4671-B3E8-0A009CDBF2E4}" dt="2023-06-05T08:36:35.858" v="6094" actId="47"/>
          <pc:sldLayoutMkLst>
            <pc:docMk/>
            <pc:sldMasterMk cId="1010917163" sldId="2147483655"/>
            <pc:sldLayoutMk cId="3020466430" sldId="2147484756"/>
          </pc:sldLayoutMkLst>
        </pc:sldLayoutChg>
      </pc:sldMasterChg>
    </pc:docChg>
  </pc:docChgLst>
  <pc:docChgLst>
    <pc:chgData name="Shyam Sundar K" userId="S::shyam.sundark@clarivate.com::171f0dde-2ea3-4235-bc74-d30ec22ce3b9" providerId="AD" clId="Web-{81D61404-3071-466F-81D7-E4E2C1214A30}"/>
    <pc:docChg chg="modSld">
      <pc:chgData name="Shyam Sundar K" userId="S::shyam.sundark@clarivate.com::171f0dde-2ea3-4235-bc74-d30ec22ce3b9" providerId="AD" clId="Web-{81D61404-3071-466F-81D7-E4E2C1214A30}" dt="2023-06-06T12:00:02.048" v="4"/>
      <pc:docMkLst>
        <pc:docMk/>
      </pc:docMkLst>
      <pc:sldChg chg="addSp delSp modSp mod modClrScheme chgLayout">
        <pc:chgData name="Shyam Sundar K" userId="S::shyam.sundark@clarivate.com::171f0dde-2ea3-4235-bc74-d30ec22ce3b9" providerId="AD" clId="Web-{81D61404-3071-466F-81D7-E4E2C1214A30}" dt="2023-06-06T11:59:30.907" v="1"/>
        <pc:sldMkLst>
          <pc:docMk/>
          <pc:sldMk cId="398041788" sldId="661"/>
        </pc:sldMkLst>
        <pc:spChg chg="mod ord">
          <ac:chgData name="Shyam Sundar K" userId="S::shyam.sundark@clarivate.com::171f0dde-2ea3-4235-bc74-d30ec22ce3b9" providerId="AD" clId="Web-{81D61404-3071-466F-81D7-E4E2C1214A30}" dt="2023-06-06T11:59:30.907" v="1"/>
          <ac:spMkLst>
            <pc:docMk/>
            <pc:sldMk cId="398041788" sldId="661"/>
            <ac:spMk id="2" creationId="{DC061939-39EF-FA8A-880D-30BB5BE87860}"/>
          </ac:spMkLst>
        </pc:spChg>
        <pc:spChg chg="mod ord">
          <ac:chgData name="Shyam Sundar K" userId="S::shyam.sundark@clarivate.com::171f0dde-2ea3-4235-bc74-d30ec22ce3b9" providerId="AD" clId="Web-{81D61404-3071-466F-81D7-E4E2C1214A30}" dt="2023-06-06T11:59:30.907" v="1"/>
          <ac:spMkLst>
            <pc:docMk/>
            <pc:sldMk cId="398041788" sldId="661"/>
            <ac:spMk id="3" creationId="{3200A8C9-039C-BDEF-4264-F74BD0BE2A76}"/>
          </ac:spMkLst>
        </pc:spChg>
        <pc:spChg chg="add del mod ord">
          <ac:chgData name="Shyam Sundar K" userId="S::shyam.sundark@clarivate.com::171f0dde-2ea3-4235-bc74-d30ec22ce3b9" providerId="AD" clId="Web-{81D61404-3071-466F-81D7-E4E2C1214A30}" dt="2023-06-06T11:59:30.907" v="1"/>
          <ac:spMkLst>
            <pc:docMk/>
            <pc:sldMk cId="398041788" sldId="661"/>
            <ac:spMk id="4" creationId="{537B0A38-D675-365E-386B-C61691FBA719}"/>
          </ac:spMkLst>
        </pc:spChg>
        <pc:spChg chg="add del mod ord">
          <ac:chgData name="Shyam Sundar K" userId="S::shyam.sundark@clarivate.com::171f0dde-2ea3-4235-bc74-d30ec22ce3b9" providerId="AD" clId="Web-{81D61404-3071-466F-81D7-E4E2C1214A30}" dt="2023-06-06T11:59:30.907" v="1"/>
          <ac:spMkLst>
            <pc:docMk/>
            <pc:sldMk cId="398041788" sldId="661"/>
            <ac:spMk id="6" creationId="{EBBF8895-6CDD-D54E-E7C7-27B0561CBA6F}"/>
          </ac:spMkLst>
        </pc:spChg>
        <pc:picChg chg="mod ord">
          <ac:chgData name="Shyam Sundar K" userId="S::shyam.sundark@clarivate.com::171f0dde-2ea3-4235-bc74-d30ec22ce3b9" providerId="AD" clId="Web-{81D61404-3071-466F-81D7-E4E2C1214A30}" dt="2023-06-06T11:59:30.907" v="1"/>
          <ac:picMkLst>
            <pc:docMk/>
            <pc:sldMk cId="398041788" sldId="661"/>
            <ac:picMk id="8" creationId="{97E1A526-16CC-86DE-700B-8DA7F5F71EDD}"/>
          </ac:picMkLst>
        </pc:picChg>
      </pc:sldChg>
      <pc:sldChg chg="addSp delSp modSp">
        <pc:chgData name="Shyam Sundar K" userId="S::shyam.sundark@clarivate.com::171f0dde-2ea3-4235-bc74-d30ec22ce3b9" providerId="AD" clId="Web-{81D61404-3071-466F-81D7-E4E2C1214A30}" dt="2023-06-06T12:00:02.048" v="4"/>
        <pc:sldMkLst>
          <pc:docMk/>
          <pc:sldMk cId="3925275749" sldId="2147469711"/>
        </pc:sldMkLst>
        <pc:spChg chg="del">
          <ac:chgData name="Shyam Sundar K" userId="S::shyam.sundark@clarivate.com::171f0dde-2ea3-4235-bc74-d30ec22ce3b9" providerId="AD" clId="Web-{81D61404-3071-466F-81D7-E4E2C1214A30}" dt="2023-06-06T12:00:02.048" v="4"/>
          <ac:spMkLst>
            <pc:docMk/>
            <pc:sldMk cId="3925275749" sldId="2147469711"/>
            <ac:spMk id="3" creationId="{41A664AD-DDE4-42C7-BA37-24FEAE1D4378}"/>
          </ac:spMkLst>
        </pc:spChg>
        <pc:spChg chg="add mod">
          <ac:chgData name="Shyam Sundar K" userId="S::shyam.sundark@clarivate.com::171f0dde-2ea3-4235-bc74-d30ec22ce3b9" providerId="AD" clId="Web-{81D61404-3071-466F-81D7-E4E2C1214A30}" dt="2023-06-06T12:00:02.048" v="4"/>
          <ac:spMkLst>
            <pc:docMk/>
            <pc:sldMk cId="3925275749" sldId="2147469711"/>
            <ac:spMk id="7" creationId="{5D098FC1-6B4D-2DF5-3952-29FE9E3A63F2}"/>
          </ac:spMkLst>
        </pc:spChg>
      </pc:sldChg>
      <pc:sldChg chg="addSp delSp modSp mod modClrScheme chgLayout">
        <pc:chgData name="Shyam Sundar K" userId="S::shyam.sundark@clarivate.com::171f0dde-2ea3-4235-bc74-d30ec22ce3b9" providerId="AD" clId="Web-{81D61404-3071-466F-81D7-E4E2C1214A30}" dt="2023-06-06T11:59:48.032" v="3"/>
        <pc:sldMkLst>
          <pc:docMk/>
          <pc:sldMk cId="2892940191" sldId="2147469712"/>
        </pc:sldMkLst>
        <pc:spChg chg="mod ord">
          <ac:chgData name="Shyam Sundar K" userId="S::shyam.sundark@clarivate.com::171f0dde-2ea3-4235-bc74-d30ec22ce3b9" providerId="AD" clId="Web-{81D61404-3071-466F-81D7-E4E2C1214A30}" dt="2023-06-06T11:59:48.032" v="3"/>
          <ac:spMkLst>
            <pc:docMk/>
            <pc:sldMk cId="2892940191" sldId="2147469712"/>
            <ac:spMk id="2" creationId="{88F780E0-F5E5-4B53-84D4-76A0D769527C}"/>
          </ac:spMkLst>
        </pc:spChg>
        <pc:spChg chg="mod ord">
          <ac:chgData name="Shyam Sundar K" userId="S::shyam.sundark@clarivate.com::171f0dde-2ea3-4235-bc74-d30ec22ce3b9" providerId="AD" clId="Web-{81D61404-3071-466F-81D7-E4E2C1214A30}" dt="2023-06-06T11:59:48.032" v="3"/>
          <ac:spMkLst>
            <pc:docMk/>
            <pc:sldMk cId="2892940191" sldId="2147469712"/>
            <ac:spMk id="3" creationId="{B344088B-167C-4473-B4E4-85BF9D7E4764}"/>
          </ac:spMkLst>
        </pc:spChg>
        <pc:spChg chg="add del mod ord">
          <ac:chgData name="Shyam Sundar K" userId="S::shyam.sundark@clarivate.com::171f0dde-2ea3-4235-bc74-d30ec22ce3b9" providerId="AD" clId="Web-{81D61404-3071-466F-81D7-E4E2C1214A30}" dt="2023-06-06T11:59:48.032" v="3"/>
          <ac:spMkLst>
            <pc:docMk/>
            <pc:sldMk cId="2892940191" sldId="2147469712"/>
            <ac:spMk id="4" creationId="{C27106EB-2104-EE78-0D5A-2FCD9C9E6FC7}"/>
          </ac:spMkLst>
        </pc:spChg>
        <pc:spChg chg="add del mod ord">
          <ac:chgData name="Shyam Sundar K" userId="S::shyam.sundark@clarivate.com::171f0dde-2ea3-4235-bc74-d30ec22ce3b9" providerId="AD" clId="Web-{81D61404-3071-466F-81D7-E4E2C1214A30}" dt="2023-06-06T11:59:48.032" v="3"/>
          <ac:spMkLst>
            <pc:docMk/>
            <pc:sldMk cId="2892940191" sldId="2147469712"/>
            <ac:spMk id="5" creationId="{9A1C3C64-77AE-CF28-DA50-3CDE36852A77}"/>
          </ac:spMkLst>
        </pc:spChg>
      </pc:sldChg>
    </pc:docChg>
  </pc:docChgLst>
  <pc:docChgLst>
    <pc:chgData name="Shyam Sundar K" userId="S::shyam.sundark@clarivate.com::171f0dde-2ea3-4235-bc74-d30ec22ce3b9" providerId="AD" clId="Web-{F026A178-6A8D-4514-AEB0-BE84A7CABA49}"/>
    <pc:docChg chg="modSld">
      <pc:chgData name="Shyam Sundar K" userId="S::shyam.sundark@clarivate.com::171f0dde-2ea3-4235-bc74-d30ec22ce3b9" providerId="AD" clId="Web-{F026A178-6A8D-4514-AEB0-BE84A7CABA49}" dt="2023-06-05T05:46:22.496" v="2" actId="1076"/>
      <pc:docMkLst>
        <pc:docMk/>
      </pc:docMkLst>
      <pc:sldChg chg="modSp">
        <pc:chgData name="Shyam Sundar K" userId="S::shyam.sundark@clarivate.com::171f0dde-2ea3-4235-bc74-d30ec22ce3b9" providerId="AD" clId="Web-{F026A178-6A8D-4514-AEB0-BE84A7CABA49}" dt="2023-06-05T05:46:22.496" v="2" actId="1076"/>
        <pc:sldMkLst>
          <pc:docMk/>
          <pc:sldMk cId="3287310235" sldId="2147469517"/>
        </pc:sldMkLst>
        <pc:spChg chg="mod">
          <ac:chgData name="Shyam Sundar K" userId="S::shyam.sundark@clarivate.com::171f0dde-2ea3-4235-bc74-d30ec22ce3b9" providerId="AD" clId="Web-{F026A178-6A8D-4514-AEB0-BE84A7CABA49}" dt="2023-06-05T05:46:22.480" v="1" actId="1076"/>
          <ac:spMkLst>
            <pc:docMk/>
            <pc:sldMk cId="3287310235" sldId="2147469517"/>
            <ac:spMk id="176" creationId="{488C7702-7A1E-CA02-8835-746226D20382}"/>
          </ac:spMkLst>
        </pc:spChg>
        <pc:spChg chg="mod">
          <ac:chgData name="Shyam Sundar K" userId="S::shyam.sundark@clarivate.com::171f0dde-2ea3-4235-bc74-d30ec22ce3b9" providerId="AD" clId="Web-{F026A178-6A8D-4514-AEB0-BE84A7CABA49}" dt="2023-06-05T05:46:22.496" v="2" actId="1076"/>
          <ac:spMkLst>
            <pc:docMk/>
            <pc:sldMk cId="3287310235" sldId="2147469517"/>
            <ac:spMk id="190" creationId="{B3467FCD-DBD7-296A-0280-D38831EA4E36}"/>
          </ac:spMkLst>
        </pc:spChg>
        <pc:picChg chg="mod">
          <ac:chgData name="Shyam Sundar K" userId="S::shyam.sundark@clarivate.com::171f0dde-2ea3-4235-bc74-d30ec22ce3b9" providerId="AD" clId="Web-{F026A178-6A8D-4514-AEB0-BE84A7CABA49}" dt="2023-06-05T05:45:56.870" v="0" actId="14100"/>
          <ac:picMkLst>
            <pc:docMk/>
            <pc:sldMk cId="3287310235" sldId="2147469517"/>
            <ac:picMk id="5" creationId="{59F9CE15-FC93-49BE-801A-3D407AAB11C2}"/>
          </ac:picMkLst>
        </pc:picChg>
      </pc:sldChg>
    </pc:docChg>
  </pc:docChgLst>
  <pc:docChgLst>
    <pc:chgData name="Raghav Tangri" userId="5b136068-f009-4b14-ae84-ada966021e77" providerId="ADAL" clId="{68152107-3C24-418A-9BCE-2E28C802964F}"/>
    <pc:docChg chg="undo custSel modSld">
      <pc:chgData name="Raghav Tangri" userId="5b136068-f009-4b14-ae84-ada966021e77" providerId="ADAL" clId="{68152107-3C24-418A-9BCE-2E28C802964F}" dt="2023-06-02T12:39:44.523" v="31" actId="20577"/>
      <pc:docMkLst>
        <pc:docMk/>
      </pc:docMkLst>
      <pc:sldChg chg="modSp mod">
        <pc:chgData name="Raghav Tangri" userId="5b136068-f009-4b14-ae84-ada966021e77" providerId="ADAL" clId="{68152107-3C24-418A-9BCE-2E28C802964F}" dt="2023-06-02T12:39:44.523" v="31" actId="20577"/>
        <pc:sldMkLst>
          <pc:docMk/>
          <pc:sldMk cId="4130276916" sldId="2147469529"/>
        </pc:sldMkLst>
        <pc:spChg chg="mod">
          <ac:chgData name="Raghav Tangri" userId="5b136068-f009-4b14-ae84-ada966021e77" providerId="ADAL" clId="{68152107-3C24-418A-9BCE-2E28C802964F}" dt="2023-06-02T12:39:27.264" v="27" actId="114"/>
          <ac:spMkLst>
            <pc:docMk/>
            <pc:sldMk cId="4130276916" sldId="2147469529"/>
            <ac:spMk id="15" creationId="{167923B4-A604-4CC6-B211-3446AC21FA5F}"/>
          </ac:spMkLst>
        </pc:spChg>
        <pc:spChg chg="mod">
          <ac:chgData name="Raghav Tangri" userId="5b136068-f009-4b14-ae84-ada966021e77" providerId="ADAL" clId="{68152107-3C24-418A-9BCE-2E28C802964F}" dt="2023-06-02T12:39:44.523" v="31" actId="20577"/>
          <ac:spMkLst>
            <pc:docMk/>
            <pc:sldMk cId="4130276916" sldId="2147469529"/>
            <ac:spMk id="28" creationId="{6C1EB440-1C75-486E-BB67-FB7F613D6687}"/>
          </ac:spMkLst>
        </pc:spChg>
      </pc:sldChg>
    </pc:docChg>
  </pc:docChgLst>
  <pc:docChgLst>
    <pc:chgData name="Shyam Sundar K" userId="S::shyam.sundark@clarivate.com::171f0dde-2ea3-4235-bc74-d30ec22ce3b9" providerId="AD" clId="Web-{4A4841E0-1F80-1C34-6F28-758EBCF840C8}"/>
    <pc:docChg chg="addSld delSld modSld sldOrd">
      <pc:chgData name="Shyam Sundar K" userId="S::shyam.sundark@clarivate.com::171f0dde-2ea3-4235-bc74-d30ec22ce3b9" providerId="AD" clId="Web-{4A4841E0-1F80-1C34-6F28-758EBCF840C8}" dt="2023-06-06T10:40:36.038" v="64" actId="20577"/>
      <pc:docMkLst>
        <pc:docMk/>
      </pc:docMkLst>
      <pc:sldChg chg="del">
        <pc:chgData name="Shyam Sundar K" userId="S::shyam.sundark@clarivate.com::171f0dde-2ea3-4235-bc74-d30ec22ce3b9" providerId="AD" clId="Web-{4A4841E0-1F80-1C34-6F28-758EBCF840C8}" dt="2023-06-06T10:31:31.683" v="2"/>
        <pc:sldMkLst>
          <pc:docMk/>
          <pc:sldMk cId="1294597016" sldId="2147469710"/>
        </pc:sldMkLst>
      </pc:sldChg>
      <pc:sldChg chg="addSp delSp modSp add ord replId">
        <pc:chgData name="Shyam Sundar K" userId="S::shyam.sundark@clarivate.com::171f0dde-2ea3-4235-bc74-d30ec22ce3b9" providerId="AD" clId="Web-{4A4841E0-1F80-1C34-6F28-758EBCF840C8}" dt="2023-06-06T10:40:36.038" v="64" actId="20577"/>
        <pc:sldMkLst>
          <pc:docMk/>
          <pc:sldMk cId="2892940191" sldId="2147469712"/>
        </pc:sldMkLst>
        <pc:spChg chg="mod">
          <ac:chgData name="Shyam Sundar K" userId="S::shyam.sundark@clarivate.com::171f0dde-2ea3-4235-bc74-d30ec22ce3b9" providerId="AD" clId="Web-{4A4841E0-1F80-1C34-6F28-758EBCF840C8}" dt="2023-06-06T10:31:37.058" v="4" actId="20577"/>
          <ac:spMkLst>
            <pc:docMk/>
            <pc:sldMk cId="2892940191" sldId="2147469712"/>
            <ac:spMk id="2" creationId="{88F780E0-F5E5-4B53-84D4-76A0D769527C}"/>
          </ac:spMkLst>
        </pc:spChg>
        <pc:spChg chg="mod">
          <ac:chgData name="Shyam Sundar K" userId="S::shyam.sundark@clarivate.com::171f0dde-2ea3-4235-bc74-d30ec22ce3b9" providerId="AD" clId="Web-{4A4841E0-1F80-1C34-6F28-758EBCF840C8}" dt="2023-06-06T10:40:36.038" v="64" actId="20577"/>
          <ac:spMkLst>
            <pc:docMk/>
            <pc:sldMk cId="2892940191" sldId="2147469712"/>
            <ac:spMk id="3" creationId="{B344088B-167C-4473-B4E4-85BF9D7E4764}"/>
          </ac:spMkLst>
        </pc:spChg>
        <pc:spChg chg="del">
          <ac:chgData name="Shyam Sundar K" userId="S::shyam.sundark@clarivate.com::171f0dde-2ea3-4235-bc74-d30ec22ce3b9" providerId="AD" clId="Web-{4A4841E0-1F80-1C34-6F28-758EBCF840C8}" dt="2023-06-06T10:32:05.808" v="6"/>
          <ac:spMkLst>
            <pc:docMk/>
            <pc:sldMk cId="2892940191" sldId="2147469712"/>
            <ac:spMk id="5" creationId="{E7B64912-0C6B-4B2D-98ED-EA4186033CDB}"/>
          </ac:spMkLst>
        </pc:spChg>
        <pc:spChg chg="add del mod">
          <ac:chgData name="Shyam Sundar K" userId="S::shyam.sundark@clarivate.com::171f0dde-2ea3-4235-bc74-d30ec22ce3b9" providerId="AD" clId="Web-{4A4841E0-1F80-1C34-6F28-758EBCF840C8}" dt="2023-06-06T10:32:18.309" v="10"/>
          <ac:spMkLst>
            <pc:docMk/>
            <pc:sldMk cId="2892940191" sldId="2147469712"/>
            <ac:spMk id="6" creationId="{E7AD0D03-8B56-3AE9-4448-2771CA664854}"/>
          </ac:spMkLst>
        </pc:spChg>
        <pc:spChg chg="del">
          <ac:chgData name="Shyam Sundar K" userId="S::shyam.sundark@clarivate.com::171f0dde-2ea3-4235-bc74-d30ec22ce3b9" providerId="AD" clId="Web-{4A4841E0-1F80-1C34-6F28-758EBCF840C8}" dt="2023-06-06T10:32:09.730" v="7"/>
          <ac:spMkLst>
            <pc:docMk/>
            <pc:sldMk cId="2892940191" sldId="2147469712"/>
            <ac:spMk id="7" creationId="{FDEDA98B-E23A-4D50-84BB-CE1BBC63FBA0}"/>
          </ac:spMkLst>
        </pc:spChg>
        <pc:spChg chg="del">
          <ac:chgData name="Shyam Sundar K" userId="S::shyam.sundark@clarivate.com::171f0dde-2ea3-4235-bc74-d30ec22ce3b9" providerId="AD" clId="Web-{4A4841E0-1F80-1C34-6F28-758EBCF840C8}" dt="2023-06-06T10:32:05.746" v="5"/>
          <ac:spMkLst>
            <pc:docMk/>
            <pc:sldMk cId="2892940191" sldId="2147469712"/>
            <ac:spMk id="9" creationId="{93A99991-2917-432F-A420-859D3B0E0D2F}"/>
          </ac:spMkLst>
        </pc:spChg>
        <pc:spChg chg="add del mod">
          <ac:chgData name="Shyam Sundar K" userId="S::shyam.sundark@clarivate.com::171f0dde-2ea3-4235-bc74-d30ec22ce3b9" providerId="AD" clId="Web-{4A4841E0-1F80-1C34-6F28-758EBCF840C8}" dt="2023-06-06T10:32:18.309" v="9"/>
          <ac:spMkLst>
            <pc:docMk/>
            <pc:sldMk cId="2892940191" sldId="2147469712"/>
            <ac:spMk id="10" creationId="{8D23ED45-735E-1702-453C-BA7AEE6FD832}"/>
          </ac:spMkLst>
        </pc:spChg>
        <pc:spChg chg="add del mod">
          <ac:chgData name="Shyam Sundar K" userId="S::shyam.sundark@clarivate.com::171f0dde-2ea3-4235-bc74-d30ec22ce3b9" providerId="AD" clId="Web-{4A4841E0-1F80-1C34-6F28-758EBCF840C8}" dt="2023-06-06T10:32:18.309" v="8"/>
          <ac:spMkLst>
            <pc:docMk/>
            <pc:sldMk cId="2892940191" sldId="2147469712"/>
            <ac:spMk id="12" creationId="{56C5265F-A70D-0B56-7D59-998099B106BF}"/>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clarivate-my.sharepoint.com/personal/vasundhara_sahi_clarivate_com/Documents/Microsoft%20Teams%20Chat%20Files/APAC%20Med%20Secondary%20research.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sz="1400" b="0" i="0" baseline="0">
                <a:solidFill>
                  <a:schemeClr val="bg1"/>
                </a:solidFill>
                <a:effectLst/>
              </a:rPr>
              <a:t>FDA approvals for AI Algorithms</a:t>
            </a:r>
            <a:endParaRPr lang="en-US" sz="1400">
              <a:solidFill>
                <a:schemeClr val="bg1"/>
              </a:solidFill>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lineChart>
        <c:grouping val="standard"/>
        <c:varyColors val="0"/>
        <c:ser>
          <c:idx val="0"/>
          <c:order val="0"/>
          <c:tx>
            <c:strRef>
              <c:f>'AI Regulations in IVD'!$F$13</c:f>
              <c:strCache>
                <c:ptCount val="1"/>
                <c:pt idx="0">
                  <c:v>number of approvals</c:v>
                </c:pt>
              </c:strCache>
            </c:strRef>
          </c:tx>
          <c:spPr>
            <a:ln w="28575" cap="rnd">
              <a:solidFill>
                <a:schemeClr val="accent1"/>
              </a:solidFill>
              <a:round/>
            </a:ln>
            <a:effectLst/>
          </c:spPr>
          <c:marker>
            <c:symbol val="none"/>
          </c:marker>
          <c:trendline>
            <c:spPr>
              <a:ln w="19050" cap="rnd">
                <a:solidFill>
                  <a:schemeClr val="accent1"/>
                </a:solidFill>
                <a:prstDash val="sysDot"/>
              </a:ln>
              <a:effectLst/>
            </c:spPr>
            <c:trendlineType val="power"/>
            <c:forward val="2"/>
            <c:dispRSqr val="0"/>
            <c:dispEq val="0"/>
          </c:trendline>
          <c:cat>
            <c:strRef>
              <c:f>'AI Regulations in IVD'!$E$14:$E$17</c:f>
              <c:strCache>
                <c:ptCount val="4"/>
                <c:pt idx="0">
                  <c:v>2014-2017</c:v>
                </c:pt>
                <c:pt idx="1">
                  <c:v>2018-2019</c:v>
                </c:pt>
                <c:pt idx="2">
                  <c:v>2019-2022</c:v>
                </c:pt>
                <c:pt idx="3">
                  <c:v>2025+</c:v>
                </c:pt>
              </c:strCache>
            </c:strRef>
          </c:cat>
          <c:val>
            <c:numRef>
              <c:f>'AI Regulations in IVD'!$F$14:$F$17</c:f>
              <c:numCache>
                <c:formatCode>General</c:formatCode>
                <c:ptCount val="4"/>
                <c:pt idx="0">
                  <c:v>11</c:v>
                </c:pt>
                <c:pt idx="1">
                  <c:v>25</c:v>
                </c:pt>
                <c:pt idx="2">
                  <c:v>300</c:v>
                </c:pt>
              </c:numCache>
            </c:numRef>
          </c:val>
          <c:smooth val="0"/>
          <c:extLst>
            <c:ext xmlns:c16="http://schemas.microsoft.com/office/drawing/2014/chart" uri="{C3380CC4-5D6E-409C-BE32-E72D297353CC}">
              <c16:uniqueId val="{00000001-E0D5-487C-84D1-41699B99C9F4}"/>
            </c:ext>
          </c:extLst>
        </c:ser>
        <c:dLbls>
          <c:showLegendKey val="0"/>
          <c:showVal val="0"/>
          <c:showCatName val="0"/>
          <c:showSerName val="0"/>
          <c:showPercent val="0"/>
          <c:showBubbleSize val="0"/>
        </c:dLbls>
        <c:smooth val="0"/>
        <c:axId val="1987359984"/>
        <c:axId val="1987368624"/>
      </c:lineChart>
      <c:catAx>
        <c:axId val="198735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987368624"/>
        <c:crosses val="autoZero"/>
        <c:auto val="1"/>
        <c:lblAlgn val="ctr"/>
        <c:lblOffset val="100"/>
        <c:noMultiLvlLbl val="0"/>
      </c:catAx>
      <c:valAx>
        <c:axId val="1987368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987359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2244D9-0056-432D-B199-A4E92034EFFF}" type="doc">
      <dgm:prSet loTypeId="urn:microsoft.com/office/officeart/2008/layout/VerticalCurvedList" loCatId="list" qsTypeId="urn:microsoft.com/office/officeart/2005/8/quickstyle/simple1" qsCatId="simple" csTypeId="urn:microsoft.com/office/officeart/2005/8/colors/accent2_2" csCatId="accent2" phldr="1"/>
      <dgm:spPr/>
      <dgm:t>
        <a:bodyPr/>
        <a:lstStyle/>
        <a:p>
          <a:endParaRPr lang="en-GB"/>
        </a:p>
      </dgm:t>
    </dgm:pt>
    <dgm:pt modelId="{11D4889E-5151-4C68-B9DF-425AF4E25AE1}">
      <dgm:prSet phldrT="[Text]"/>
      <dgm:spPr>
        <a:solidFill>
          <a:schemeClr val="accent2">
            <a:lumMod val="50000"/>
          </a:schemeClr>
        </a:solidFill>
      </dgm:spPr>
      <dgm:t>
        <a:bodyPr/>
        <a:lstStyle/>
        <a:p>
          <a:pPr>
            <a:buClr>
              <a:schemeClr val="accent1"/>
            </a:buClr>
            <a:buSzPts val="2400"/>
            <a:buFont typeface="Arial"/>
            <a:buNone/>
          </a:pPr>
          <a:r>
            <a:rPr lang="en-US" b="0" dirty="0"/>
            <a:t>Moral implications: China’s NMPA has restricted IVDs for genetic testing</a:t>
          </a:r>
          <a:endParaRPr lang="en-GB" b="0" dirty="0"/>
        </a:p>
      </dgm:t>
    </dgm:pt>
    <dgm:pt modelId="{00E05D1F-004E-42EB-AA97-573AF6271D38}" type="parTrans" cxnId="{8C50DFA1-9658-4BF8-AE71-401EB2E2EC0D}">
      <dgm:prSet/>
      <dgm:spPr/>
      <dgm:t>
        <a:bodyPr/>
        <a:lstStyle/>
        <a:p>
          <a:endParaRPr lang="en-GB"/>
        </a:p>
      </dgm:t>
    </dgm:pt>
    <dgm:pt modelId="{13313A63-9293-4E6C-8AF8-B4B3F23FFBBA}" type="sibTrans" cxnId="{8C50DFA1-9658-4BF8-AE71-401EB2E2EC0D}">
      <dgm:prSet/>
      <dgm:spPr/>
      <dgm:t>
        <a:bodyPr/>
        <a:lstStyle/>
        <a:p>
          <a:endParaRPr lang="en-GB"/>
        </a:p>
      </dgm:t>
    </dgm:pt>
    <dgm:pt modelId="{D722582E-829E-487C-B4B8-AAC2177ACE2B}">
      <dgm:prSet phldrT="[Text]" custT="1"/>
      <dgm:spPr>
        <a:solidFill>
          <a:schemeClr val="accent2">
            <a:lumMod val="50000"/>
          </a:schemeClr>
        </a:solidFill>
      </dgm:spPr>
      <dgm:t>
        <a:bodyPr/>
        <a:lstStyle/>
        <a:p>
          <a:pPr>
            <a:buClr>
              <a:schemeClr val="accent1"/>
            </a:buClr>
            <a:buSzPts val="2400"/>
            <a:buFont typeface="Arial"/>
            <a:buNone/>
          </a:pPr>
          <a:r>
            <a:rPr lang="en-US" sz="1400" b="0" kern="1200" dirty="0">
              <a:latin typeface="Avenir Next LT Pro"/>
              <a:ea typeface="+mn-ea"/>
              <a:cs typeface="+mn-cs"/>
              <a:sym typeface="Calibri"/>
            </a:rPr>
            <a:t>Advertising regulations: only certain IVD products can be advertised to the public in Japan</a:t>
          </a:r>
          <a:endParaRPr lang="en-GB" sz="1400" b="0" kern="1200" dirty="0">
            <a:latin typeface="Avenir Next LT Pro"/>
            <a:ea typeface="+mn-ea"/>
            <a:cs typeface="+mn-cs"/>
          </a:endParaRPr>
        </a:p>
      </dgm:t>
    </dgm:pt>
    <dgm:pt modelId="{D75021A5-DB11-4457-AE34-AE378960AEAB}" type="parTrans" cxnId="{F316A555-451C-472A-98B0-86FE9512ED2F}">
      <dgm:prSet/>
      <dgm:spPr/>
      <dgm:t>
        <a:bodyPr/>
        <a:lstStyle/>
        <a:p>
          <a:endParaRPr lang="en-GB"/>
        </a:p>
      </dgm:t>
    </dgm:pt>
    <dgm:pt modelId="{6415E721-E5AA-409C-8A4B-5539D8BC6702}" type="sibTrans" cxnId="{F316A555-451C-472A-98B0-86FE9512ED2F}">
      <dgm:prSet/>
      <dgm:spPr/>
      <dgm:t>
        <a:bodyPr/>
        <a:lstStyle/>
        <a:p>
          <a:endParaRPr lang="en-GB"/>
        </a:p>
      </dgm:t>
    </dgm:pt>
    <dgm:pt modelId="{E2385EC7-361D-473C-8540-CE1782439D90}">
      <dgm:prSet phldrT="[Text]" custT="1"/>
      <dgm:spPr>
        <a:solidFill>
          <a:schemeClr val="accent2">
            <a:lumMod val="50000"/>
          </a:schemeClr>
        </a:solidFill>
      </dgm:spPr>
      <dgm:t>
        <a:bodyPr/>
        <a:lstStyle/>
        <a:p>
          <a:pPr>
            <a:buClr>
              <a:schemeClr val="accent1"/>
            </a:buClr>
            <a:buSzPts val="2400"/>
            <a:buFont typeface="Arial"/>
            <a:buNone/>
          </a:pPr>
          <a:r>
            <a:rPr lang="en-US" sz="1400" b="0" kern="1200" dirty="0">
              <a:latin typeface="Avenir Next LT Pro"/>
              <a:ea typeface="+mn-ea"/>
              <a:cs typeface="+mn-cs"/>
              <a:sym typeface="Calibri"/>
            </a:rPr>
            <a:t>Import/export regulations: in Singapore, preference is given by the HSA to locally manufactured IVDs </a:t>
          </a:r>
          <a:endParaRPr lang="en-GB" sz="1400" b="0" kern="1200" dirty="0">
            <a:latin typeface="Avenir Next LT Pro"/>
            <a:ea typeface="+mn-ea"/>
            <a:cs typeface="+mn-cs"/>
          </a:endParaRPr>
        </a:p>
      </dgm:t>
    </dgm:pt>
    <dgm:pt modelId="{9BF8CD83-675A-409D-A4D0-3BFCF9AE90E2}" type="parTrans" cxnId="{BC15BBD7-8393-4B76-97B9-AA4F7BD1376B}">
      <dgm:prSet/>
      <dgm:spPr/>
      <dgm:t>
        <a:bodyPr/>
        <a:lstStyle/>
        <a:p>
          <a:endParaRPr lang="en-GB"/>
        </a:p>
      </dgm:t>
    </dgm:pt>
    <dgm:pt modelId="{90E8F349-6D54-49B8-A274-C58ABA99342C}" type="sibTrans" cxnId="{BC15BBD7-8393-4B76-97B9-AA4F7BD1376B}">
      <dgm:prSet/>
      <dgm:spPr/>
      <dgm:t>
        <a:bodyPr/>
        <a:lstStyle/>
        <a:p>
          <a:endParaRPr lang="en-GB"/>
        </a:p>
      </dgm:t>
    </dgm:pt>
    <dgm:pt modelId="{0D52F33E-D2BA-4FE2-BFA8-35CF082768BC}">
      <dgm:prSet phldrT="[Text]" custT="1"/>
      <dgm:spPr>
        <a:solidFill>
          <a:schemeClr val="accent2">
            <a:lumMod val="50000"/>
          </a:schemeClr>
        </a:solidFill>
      </dgm:spPr>
      <dgm:t>
        <a:bodyPr/>
        <a:lstStyle/>
        <a:p>
          <a:pPr marL="0" lvl="0" indent="0" algn="l" defTabSz="622300">
            <a:lnSpc>
              <a:spcPct val="90000"/>
            </a:lnSpc>
            <a:spcBef>
              <a:spcPct val="0"/>
            </a:spcBef>
            <a:spcAft>
              <a:spcPct val="35000"/>
            </a:spcAft>
            <a:buClr>
              <a:srgbClr val="93FF9E"/>
            </a:buClr>
            <a:buSzPts val="2400"/>
            <a:buFont typeface="Arial"/>
            <a:buNone/>
          </a:pPr>
          <a:r>
            <a:rPr lang="en-US" sz="1400" b="0" kern="1200" dirty="0">
              <a:latin typeface="Avenir Next LT Pro"/>
              <a:ea typeface="+mn-ea"/>
              <a:cs typeface="+mn-cs"/>
              <a:sym typeface="Calibri"/>
            </a:rPr>
            <a:t>Openness to relational implementation: In China, Guanxi is leveraged for rapid approvals</a:t>
          </a:r>
          <a:endParaRPr lang="en-GB" sz="1400" b="0" kern="1200" dirty="0">
            <a:latin typeface="Avenir Next LT Pro"/>
            <a:ea typeface="+mn-ea"/>
            <a:cs typeface="+mn-cs"/>
          </a:endParaRPr>
        </a:p>
      </dgm:t>
    </dgm:pt>
    <dgm:pt modelId="{5A63846E-549D-47FD-B8D4-0C4621BC812B}" type="parTrans" cxnId="{20F01F76-7EE9-4B4D-A9AF-817A709DD733}">
      <dgm:prSet/>
      <dgm:spPr/>
      <dgm:t>
        <a:bodyPr/>
        <a:lstStyle/>
        <a:p>
          <a:endParaRPr lang="en-GB"/>
        </a:p>
      </dgm:t>
    </dgm:pt>
    <dgm:pt modelId="{8908AB19-4AAA-44C1-BA08-9F85C01A17F9}" type="sibTrans" cxnId="{20F01F76-7EE9-4B4D-A9AF-817A709DD733}">
      <dgm:prSet/>
      <dgm:spPr/>
      <dgm:t>
        <a:bodyPr/>
        <a:lstStyle/>
        <a:p>
          <a:endParaRPr lang="en-GB"/>
        </a:p>
      </dgm:t>
    </dgm:pt>
    <dgm:pt modelId="{1980ED1E-D658-471E-BCEA-7BA2525468D0}">
      <dgm:prSet phldrT="[Text]"/>
      <dgm:spPr>
        <a:solidFill>
          <a:schemeClr val="accent2">
            <a:lumMod val="50000"/>
          </a:schemeClr>
        </a:solidFill>
      </dgm:spPr>
      <dgm:t>
        <a:bodyPr/>
        <a:lstStyle/>
        <a:p>
          <a:pPr>
            <a:buClr>
              <a:schemeClr val="accent1"/>
            </a:buClr>
            <a:buSzPts val="2400"/>
            <a:buFont typeface="Arial"/>
            <a:buNone/>
          </a:pPr>
          <a:r>
            <a:rPr lang="en-US" b="0" dirty="0"/>
            <a:t>Data regulations: Only certain data from IVDs can be shared, such as with South Korea’s PIPA</a:t>
          </a:r>
          <a:endParaRPr lang="en-GB" b="0" dirty="0"/>
        </a:p>
      </dgm:t>
    </dgm:pt>
    <dgm:pt modelId="{258C76D8-F6BA-4337-A494-AF2A3C8452CC}" type="sibTrans" cxnId="{946EB80C-FD8A-4ECA-A430-52BFABE8854A}">
      <dgm:prSet/>
      <dgm:spPr/>
      <dgm:t>
        <a:bodyPr/>
        <a:lstStyle/>
        <a:p>
          <a:endParaRPr lang="en-GB"/>
        </a:p>
      </dgm:t>
    </dgm:pt>
    <dgm:pt modelId="{39999BA9-7D38-4359-B01A-D55682032A69}" type="parTrans" cxnId="{946EB80C-FD8A-4ECA-A430-52BFABE8854A}">
      <dgm:prSet/>
      <dgm:spPr/>
      <dgm:t>
        <a:bodyPr/>
        <a:lstStyle/>
        <a:p>
          <a:endParaRPr lang="en-GB"/>
        </a:p>
      </dgm:t>
    </dgm:pt>
    <dgm:pt modelId="{CEA26740-119F-42F5-A0AB-0EA7C85080B7}" type="pres">
      <dgm:prSet presAssocID="{7E2244D9-0056-432D-B199-A4E92034EFFF}" presName="Name0" presStyleCnt="0">
        <dgm:presLayoutVars>
          <dgm:chMax val="7"/>
          <dgm:chPref val="7"/>
          <dgm:dir/>
        </dgm:presLayoutVars>
      </dgm:prSet>
      <dgm:spPr/>
    </dgm:pt>
    <dgm:pt modelId="{7B3798BD-5DE5-44A6-B060-79A3259A72EA}" type="pres">
      <dgm:prSet presAssocID="{7E2244D9-0056-432D-B199-A4E92034EFFF}" presName="Name1" presStyleCnt="0"/>
      <dgm:spPr/>
    </dgm:pt>
    <dgm:pt modelId="{5F4CE0DC-F6FB-49AB-BC2E-8F826CBE7511}" type="pres">
      <dgm:prSet presAssocID="{7E2244D9-0056-432D-B199-A4E92034EFFF}" presName="cycle" presStyleCnt="0"/>
      <dgm:spPr/>
    </dgm:pt>
    <dgm:pt modelId="{415E1817-7BAC-4703-B40E-A20E13303D26}" type="pres">
      <dgm:prSet presAssocID="{7E2244D9-0056-432D-B199-A4E92034EFFF}" presName="srcNode" presStyleLbl="node1" presStyleIdx="0" presStyleCnt="5"/>
      <dgm:spPr/>
    </dgm:pt>
    <dgm:pt modelId="{7B86A62D-17F8-4497-B130-4BB65F0AA6A1}" type="pres">
      <dgm:prSet presAssocID="{7E2244D9-0056-432D-B199-A4E92034EFFF}" presName="conn" presStyleLbl="parChTrans1D2" presStyleIdx="0" presStyleCnt="1"/>
      <dgm:spPr/>
    </dgm:pt>
    <dgm:pt modelId="{EC539A94-5C9E-47C6-92E5-0933767A8075}" type="pres">
      <dgm:prSet presAssocID="{7E2244D9-0056-432D-B199-A4E92034EFFF}" presName="extraNode" presStyleLbl="node1" presStyleIdx="0" presStyleCnt="5"/>
      <dgm:spPr/>
    </dgm:pt>
    <dgm:pt modelId="{2DA195AE-C81A-40FA-9011-C1DA1FE28565}" type="pres">
      <dgm:prSet presAssocID="{7E2244D9-0056-432D-B199-A4E92034EFFF}" presName="dstNode" presStyleLbl="node1" presStyleIdx="0" presStyleCnt="5"/>
      <dgm:spPr/>
    </dgm:pt>
    <dgm:pt modelId="{2249C1A6-2860-4B00-9414-7BA990BE1ED3}" type="pres">
      <dgm:prSet presAssocID="{1980ED1E-D658-471E-BCEA-7BA2525468D0}" presName="text_1" presStyleLbl="node1" presStyleIdx="0" presStyleCnt="5" custLinFactNeighborX="216" custLinFactNeighborY="-13065">
        <dgm:presLayoutVars>
          <dgm:bulletEnabled val="1"/>
        </dgm:presLayoutVars>
      </dgm:prSet>
      <dgm:spPr/>
    </dgm:pt>
    <dgm:pt modelId="{7F982DEA-195C-4A7E-839E-DA54711F58CA}" type="pres">
      <dgm:prSet presAssocID="{1980ED1E-D658-471E-BCEA-7BA2525468D0}" presName="accent_1" presStyleCnt="0"/>
      <dgm:spPr/>
    </dgm:pt>
    <dgm:pt modelId="{AF2A697A-E6FD-4A87-8602-815C979F1B89}" type="pres">
      <dgm:prSet presAssocID="{1980ED1E-D658-471E-BCEA-7BA2525468D0}" presName="accentRepeatNode" presStyleLbl="solidFgAcc1" presStyleIdx="0" presStyleCnt="5"/>
      <dgm:spPr/>
    </dgm:pt>
    <dgm:pt modelId="{A9D257CC-ECB7-4510-9FB5-0BF7BED2F223}" type="pres">
      <dgm:prSet presAssocID="{11D4889E-5151-4C68-B9DF-425AF4E25AE1}" presName="text_2" presStyleLbl="node1" presStyleIdx="1" presStyleCnt="5" custLinFactNeighborX="226" custLinFactNeighborY="-13065">
        <dgm:presLayoutVars>
          <dgm:bulletEnabled val="1"/>
        </dgm:presLayoutVars>
      </dgm:prSet>
      <dgm:spPr/>
    </dgm:pt>
    <dgm:pt modelId="{857170D9-6E73-4D9F-AAC8-872961A91EDA}" type="pres">
      <dgm:prSet presAssocID="{11D4889E-5151-4C68-B9DF-425AF4E25AE1}" presName="accent_2" presStyleCnt="0"/>
      <dgm:spPr/>
    </dgm:pt>
    <dgm:pt modelId="{5FF6F76F-0C33-42A3-918D-28BA7D1E637D}" type="pres">
      <dgm:prSet presAssocID="{11D4889E-5151-4C68-B9DF-425AF4E25AE1}" presName="accentRepeatNode" presStyleLbl="solidFgAcc1" presStyleIdx="1" presStyleCnt="5"/>
      <dgm:spPr/>
    </dgm:pt>
    <dgm:pt modelId="{BB5FD591-416D-4C03-B576-415ADC38104B}" type="pres">
      <dgm:prSet presAssocID="{D722582E-829E-487C-B4B8-AAC2177ACE2B}" presName="text_3" presStyleLbl="node1" presStyleIdx="2" presStyleCnt="5">
        <dgm:presLayoutVars>
          <dgm:bulletEnabled val="1"/>
        </dgm:presLayoutVars>
      </dgm:prSet>
      <dgm:spPr/>
    </dgm:pt>
    <dgm:pt modelId="{7B74642C-0E44-4215-9E48-FD6C5E4A4879}" type="pres">
      <dgm:prSet presAssocID="{D722582E-829E-487C-B4B8-AAC2177ACE2B}" presName="accent_3" presStyleCnt="0"/>
      <dgm:spPr/>
    </dgm:pt>
    <dgm:pt modelId="{F4CAAE07-D22C-4089-B979-A458247F7468}" type="pres">
      <dgm:prSet presAssocID="{D722582E-829E-487C-B4B8-AAC2177ACE2B}" presName="accentRepeatNode" presStyleLbl="solidFgAcc1" presStyleIdx="2" presStyleCnt="5"/>
      <dgm:spPr/>
    </dgm:pt>
    <dgm:pt modelId="{AB354280-8152-4DB7-BB45-AAF4583CDBF7}" type="pres">
      <dgm:prSet presAssocID="{E2385EC7-361D-473C-8540-CE1782439D90}" presName="text_4" presStyleLbl="node1" presStyleIdx="3" presStyleCnt="5">
        <dgm:presLayoutVars>
          <dgm:bulletEnabled val="1"/>
        </dgm:presLayoutVars>
      </dgm:prSet>
      <dgm:spPr/>
    </dgm:pt>
    <dgm:pt modelId="{BB6A33E7-4066-4B4A-A359-DD927BBD7420}" type="pres">
      <dgm:prSet presAssocID="{E2385EC7-361D-473C-8540-CE1782439D90}" presName="accent_4" presStyleCnt="0"/>
      <dgm:spPr/>
    </dgm:pt>
    <dgm:pt modelId="{117F47CB-4CD0-4C0B-A168-752909523416}" type="pres">
      <dgm:prSet presAssocID="{E2385EC7-361D-473C-8540-CE1782439D90}" presName="accentRepeatNode" presStyleLbl="solidFgAcc1" presStyleIdx="3" presStyleCnt="5"/>
      <dgm:spPr/>
    </dgm:pt>
    <dgm:pt modelId="{CAE67789-6761-461A-AEB1-D861ABB05698}" type="pres">
      <dgm:prSet presAssocID="{0D52F33E-D2BA-4FE2-BFA8-35CF082768BC}" presName="text_5" presStyleLbl="node1" presStyleIdx="4" presStyleCnt="5">
        <dgm:presLayoutVars>
          <dgm:bulletEnabled val="1"/>
        </dgm:presLayoutVars>
      </dgm:prSet>
      <dgm:spPr/>
    </dgm:pt>
    <dgm:pt modelId="{81E4813F-BDD2-432D-9AEE-8E40DF441158}" type="pres">
      <dgm:prSet presAssocID="{0D52F33E-D2BA-4FE2-BFA8-35CF082768BC}" presName="accent_5" presStyleCnt="0"/>
      <dgm:spPr/>
    </dgm:pt>
    <dgm:pt modelId="{5AF76FFA-B035-4066-927C-E3FD4A3C6925}" type="pres">
      <dgm:prSet presAssocID="{0D52F33E-D2BA-4FE2-BFA8-35CF082768BC}" presName="accentRepeatNode" presStyleLbl="solidFgAcc1" presStyleIdx="4" presStyleCnt="5"/>
      <dgm:spPr/>
    </dgm:pt>
  </dgm:ptLst>
  <dgm:cxnLst>
    <dgm:cxn modelId="{946EB80C-FD8A-4ECA-A430-52BFABE8854A}" srcId="{7E2244D9-0056-432D-B199-A4E92034EFFF}" destId="{1980ED1E-D658-471E-BCEA-7BA2525468D0}" srcOrd="0" destOrd="0" parTransId="{39999BA9-7D38-4359-B01A-D55682032A69}" sibTransId="{258C76D8-F6BA-4337-A494-AF2A3C8452CC}"/>
    <dgm:cxn modelId="{EE28E310-8EC6-4CB6-B626-490561736074}" type="presOf" srcId="{11D4889E-5151-4C68-B9DF-425AF4E25AE1}" destId="{A9D257CC-ECB7-4510-9FB5-0BF7BED2F223}" srcOrd="0" destOrd="0" presId="urn:microsoft.com/office/officeart/2008/layout/VerticalCurvedList"/>
    <dgm:cxn modelId="{BC464214-50DB-4FC2-AD7F-EEEF3EC897F0}" type="presOf" srcId="{E2385EC7-361D-473C-8540-CE1782439D90}" destId="{AB354280-8152-4DB7-BB45-AAF4583CDBF7}" srcOrd="0" destOrd="0" presId="urn:microsoft.com/office/officeart/2008/layout/VerticalCurvedList"/>
    <dgm:cxn modelId="{4051B42E-226E-4957-BFCC-98794E0DABEB}" type="presOf" srcId="{0D52F33E-D2BA-4FE2-BFA8-35CF082768BC}" destId="{CAE67789-6761-461A-AEB1-D861ABB05698}" srcOrd="0" destOrd="0" presId="urn:microsoft.com/office/officeart/2008/layout/VerticalCurvedList"/>
    <dgm:cxn modelId="{83916733-2B4B-471A-AD6D-682C27A81192}" type="presOf" srcId="{7E2244D9-0056-432D-B199-A4E92034EFFF}" destId="{CEA26740-119F-42F5-A0AB-0EA7C85080B7}" srcOrd="0" destOrd="0" presId="urn:microsoft.com/office/officeart/2008/layout/VerticalCurvedList"/>
    <dgm:cxn modelId="{6B3DA764-1A43-47F5-9D58-15038313F41A}" type="presOf" srcId="{D722582E-829E-487C-B4B8-AAC2177ACE2B}" destId="{BB5FD591-416D-4C03-B576-415ADC38104B}" srcOrd="0" destOrd="0" presId="urn:microsoft.com/office/officeart/2008/layout/VerticalCurvedList"/>
    <dgm:cxn modelId="{F316A555-451C-472A-98B0-86FE9512ED2F}" srcId="{7E2244D9-0056-432D-B199-A4E92034EFFF}" destId="{D722582E-829E-487C-B4B8-AAC2177ACE2B}" srcOrd="2" destOrd="0" parTransId="{D75021A5-DB11-4457-AE34-AE378960AEAB}" sibTransId="{6415E721-E5AA-409C-8A4B-5539D8BC6702}"/>
    <dgm:cxn modelId="{20F01F76-7EE9-4B4D-A9AF-817A709DD733}" srcId="{7E2244D9-0056-432D-B199-A4E92034EFFF}" destId="{0D52F33E-D2BA-4FE2-BFA8-35CF082768BC}" srcOrd="4" destOrd="0" parTransId="{5A63846E-549D-47FD-B8D4-0C4621BC812B}" sibTransId="{8908AB19-4AAA-44C1-BA08-9F85C01A17F9}"/>
    <dgm:cxn modelId="{3129E683-30D5-4830-868E-E87BBC08ABA0}" type="presOf" srcId="{258C76D8-F6BA-4337-A494-AF2A3C8452CC}" destId="{7B86A62D-17F8-4497-B130-4BB65F0AA6A1}" srcOrd="0" destOrd="0" presId="urn:microsoft.com/office/officeart/2008/layout/VerticalCurvedList"/>
    <dgm:cxn modelId="{F6DD1A99-180F-4E6A-9777-27A8C70B4482}" type="presOf" srcId="{1980ED1E-D658-471E-BCEA-7BA2525468D0}" destId="{2249C1A6-2860-4B00-9414-7BA990BE1ED3}" srcOrd="0" destOrd="0" presId="urn:microsoft.com/office/officeart/2008/layout/VerticalCurvedList"/>
    <dgm:cxn modelId="{8C50DFA1-9658-4BF8-AE71-401EB2E2EC0D}" srcId="{7E2244D9-0056-432D-B199-A4E92034EFFF}" destId="{11D4889E-5151-4C68-B9DF-425AF4E25AE1}" srcOrd="1" destOrd="0" parTransId="{00E05D1F-004E-42EB-AA97-573AF6271D38}" sibTransId="{13313A63-9293-4E6C-8AF8-B4B3F23FFBBA}"/>
    <dgm:cxn modelId="{BC15BBD7-8393-4B76-97B9-AA4F7BD1376B}" srcId="{7E2244D9-0056-432D-B199-A4E92034EFFF}" destId="{E2385EC7-361D-473C-8540-CE1782439D90}" srcOrd="3" destOrd="0" parTransId="{9BF8CD83-675A-409D-A4D0-3BFCF9AE90E2}" sibTransId="{90E8F349-6D54-49B8-A274-C58ABA99342C}"/>
    <dgm:cxn modelId="{460A2807-290C-4840-A924-CB4AA01EDD7C}" type="presParOf" srcId="{CEA26740-119F-42F5-A0AB-0EA7C85080B7}" destId="{7B3798BD-5DE5-44A6-B060-79A3259A72EA}" srcOrd="0" destOrd="0" presId="urn:microsoft.com/office/officeart/2008/layout/VerticalCurvedList"/>
    <dgm:cxn modelId="{67A93D17-32EF-4E46-A499-2607C9841529}" type="presParOf" srcId="{7B3798BD-5DE5-44A6-B060-79A3259A72EA}" destId="{5F4CE0DC-F6FB-49AB-BC2E-8F826CBE7511}" srcOrd="0" destOrd="0" presId="urn:microsoft.com/office/officeart/2008/layout/VerticalCurvedList"/>
    <dgm:cxn modelId="{8BB0DCE1-9133-45DA-B9F4-80C464B61C55}" type="presParOf" srcId="{5F4CE0DC-F6FB-49AB-BC2E-8F826CBE7511}" destId="{415E1817-7BAC-4703-B40E-A20E13303D26}" srcOrd="0" destOrd="0" presId="urn:microsoft.com/office/officeart/2008/layout/VerticalCurvedList"/>
    <dgm:cxn modelId="{A151F765-4897-4C6E-8392-A98B944C005A}" type="presParOf" srcId="{5F4CE0DC-F6FB-49AB-BC2E-8F826CBE7511}" destId="{7B86A62D-17F8-4497-B130-4BB65F0AA6A1}" srcOrd="1" destOrd="0" presId="urn:microsoft.com/office/officeart/2008/layout/VerticalCurvedList"/>
    <dgm:cxn modelId="{68F93F0A-4FFA-4FDE-91CF-D101898F5E7E}" type="presParOf" srcId="{5F4CE0DC-F6FB-49AB-BC2E-8F826CBE7511}" destId="{EC539A94-5C9E-47C6-92E5-0933767A8075}" srcOrd="2" destOrd="0" presId="urn:microsoft.com/office/officeart/2008/layout/VerticalCurvedList"/>
    <dgm:cxn modelId="{C917E05E-66B0-4960-80CA-61E009B81011}" type="presParOf" srcId="{5F4CE0DC-F6FB-49AB-BC2E-8F826CBE7511}" destId="{2DA195AE-C81A-40FA-9011-C1DA1FE28565}" srcOrd="3" destOrd="0" presId="urn:microsoft.com/office/officeart/2008/layout/VerticalCurvedList"/>
    <dgm:cxn modelId="{905F5A19-1F20-4E7F-8D02-CCD7F61337AA}" type="presParOf" srcId="{7B3798BD-5DE5-44A6-B060-79A3259A72EA}" destId="{2249C1A6-2860-4B00-9414-7BA990BE1ED3}" srcOrd="1" destOrd="0" presId="urn:microsoft.com/office/officeart/2008/layout/VerticalCurvedList"/>
    <dgm:cxn modelId="{30DFB322-2A4E-49A3-BB08-3FC18F55528D}" type="presParOf" srcId="{7B3798BD-5DE5-44A6-B060-79A3259A72EA}" destId="{7F982DEA-195C-4A7E-839E-DA54711F58CA}" srcOrd="2" destOrd="0" presId="urn:microsoft.com/office/officeart/2008/layout/VerticalCurvedList"/>
    <dgm:cxn modelId="{A520B056-A0AD-4A79-B59C-F1CFE8EDB46D}" type="presParOf" srcId="{7F982DEA-195C-4A7E-839E-DA54711F58CA}" destId="{AF2A697A-E6FD-4A87-8602-815C979F1B89}" srcOrd="0" destOrd="0" presId="urn:microsoft.com/office/officeart/2008/layout/VerticalCurvedList"/>
    <dgm:cxn modelId="{BEBF83D8-3A0E-49C7-88FA-135CA55BDDAD}" type="presParOf" srcId="{7B3798BD-5DE5-44A6-B060-79A3259A72EA}" destId="{A9D257CC-ECB7-4510-9FB5-0BF7BED2F223}" srcOrd="3" destOrd="0" presId="urn:microsoft.com/office/officeart/2008/layout/VerticalCurvedList"/>
    <dgm:cxn modelId="{2B8CC8E3-0966-41BC-8B6A-B47B7B0407B9}" type="presParOf" srcId="{7B3798BD-5DE5-44A6-B060-79A3259A72EA}" destId="{857170D9-6E73-4D9F-AAC8-872961A91EDA}" srcOrd="4" destOrd="0" presId="urn:microsoft.com/office/officeart/2008/layout/VerticalCurvedList"/>
    <dgm:cxn modelId="{8A4AD8BE-A935-4C8F-B4F4-3DA0B861581F}" type="presParOf" srcId="{857170D9-6E73-4D9F-AAC8-872961A91EDA}" destId="{5FF6F76F-0C33-42A3-918D-28BA7D1E637D}" srcOrd="0" destOrd="0" presId="urn:microsoft.com/office/officeart/2008/layout/VerticalCurvedList"/>
    <dgm:cxn modelId="{B3D263AD-ABC9-4503-A977-640CE581235E}" type="presParOf" srcId="{7B3798BD-5DE5-44A6-B060-79A3259A72EA}" destId="{BB5FD591-416D-4C03-B576-415ADC38104B}" srcOrd="5" destOrd="0" presId="urn:microsoft.com/office/officeart/2008/layout/VerticalCurvedList"/>
    <dgm:cxn modelId="{D2F86C34-E39A-4C90-AE45-1EF1D2BC753D}" type="presParOf" srcId="{7B3798BD-5DE5-44A6-B060-79A3259A72EA}" destId="{7B74642C-0E44-4215-9E48-FD6C5E4A4879}" srcOrd="6" destOrd="0" presId="urn:microsoft.com/office/officeart/2008/layout/VerticalCurvedList"/>
    <dgm:cxn modelId="{100020FE-88E2-48F5-B76D-FEFB7A710AFD}" type="presParOf" srcId="{7B74642C-0E44-4215-9E48-FD6C5E4A4879}" destId="{F4CAAE07-D22C-4089-B979-A458247F7468}" srcOrd="0" destOrd="0" presId="urn:microsoft.com/office/officeart/2008/layout/VerticalCurvedList"/>
    <dgm:cxn modelId="{4121CCF8-D7D1-4F62-BF9D-BBABD3359957}" type="presParOf" srcId="{7B3798BD-5DE5-44A6-B060-79A3259A72EA}" destId="{AB354280-8152-4DB7-BB45-AAF4583CDBF7}" srcOrd="7" destOrd="0" presId="urn:microsoft.com/office/officeart/2008/layout/VerticalCurvedList"/>
    <dgm:cxn modelId="{789160A8-8863-4C69-B269-996D4AEA3105}" type="presParOf" srcId="{7B3798BD-5DE5-44A6-B060-79A3259A72EA}" destId="{BB6A33E7-4066-4B4A-A359-DD927BBD7420}" srcOrd="8" destOrd="0" presId="urn:microsoft.com/office/officeart/2008/layout/VerticalCurvedList"/>
    <dgm:cxn modelId="{46E2726C-75EC-4FE7-B023-736254952D20}" type="presParOf" srcId="{BB6A33E7-4066-4B4A-A359-DD927BBD7420}" destId="{117F47CB-4CD0-4C0B-A168-752909523416}" srcOrd="0" destOrd="0" presId="urn:microsoft.com/office/officeart/2008/layout/VerticalCurvedList"/>
    <dgm:cxn modelId="{BACAAD08-9121-47AE-B7D4-837CBEC41677}" type="presParOf" srcId="{7B3798BD-5DE5-44A6-B060-79A3259A72EA}" destId="{CAE67789-6761-461A-AEB1-D861ABB05698}" srcOrd="9" destOrd="0" presId="urn:microsoft.com/office/officeart/2008/layout/VerticalCurvedList"/>
    <dgm:cxn modelId="{9F8D2180-9E62-4386-8706-E1511DAAEA11}" type="presParOf" srcId="{7B3798BD-5DE5-44A6-B060-79A3259A72EA}" destId="{81E4813F-BDD2-432D-9AEE-8E40DF441158}" srcOrd="10" destOrd="0" presId="urn:microsoft.com/office/officeart/2008/layout/VerticalCurvedList"/>
    <dgm:cxn modelId="{BF66DF3C-9FC6-4824-8340-CAD1CD89F2CE}" type="presParOf" srcId="{81E4813F-BDD2-432D-9AEE-8E40DF441158}" destId="{5AF76FFA-B035-4066-927C-E3FD4A3C692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137E3CE-94B3-44AE-AC04-62A1FED02200}" type="doc">
      <dgm:prSet loTypeId="urn:microsoft.com/office/officeart/2005/8/layout/vList2" loCatId="list" qsTypeId="urn:microsoft.com/office/officeart/2005/8/quickstyle/simple1" qsCatId="simple" csTypeId="urn:microsoft.com/office/officeart/2005/8/colors/accent2_2" csCatId="accent2" phldr="1"/>
      <dgm:spPr/>
    </dgm:pt>
    <dgm:pt modelId="{DBBAB4F5-F30D-4086-852F-590C70BE05A5}">
      <dgm:prSet phldrT="[Text]"/>
      <dgm:spPr>
        <a:solidFill>
          <a:schemeClr val="accent2">
            <a:lumMod val="50000"/>
          </a:schemeClr>
        </a:solidFill>
      </dgm:spPr>
      <dgm:t>
        <a:bodyPr/>
        <a:lstStyle/>
        <a:p>
          <a:pPr>
            <a:buFont typeface="Arial" panose="020B0604020202020204" pitchFamily="34" charset="0"/>
            <a:buChar char="•"/>
          </a:pPr>
          <a:r>
            <a:rPr lang="en-US" b="0" i="0" dirty="0"/>
            <a:t>Data privacy and security</a:t>
          </a:r>
          <a:endParaRPr lang="en-GB" dirty="0"/>
        </a:p>
      </dgm:t>
    </dgm:pt>
    <dgm:pt modelId="{D88DF392-A62F-423D-9894-AD8FF5F60F6E}" type="parTrans" cxnId="{E78EA355-BC3D-4EBC-9BA2-669D7D9DBC56}">
      <dgm:prSet/>
      <dgm:spPr/>
      <dgm:t>
        <a:bodyPr/>
        <a:lstStyle/>
        <a:p>
          <a:endParaRPr lang="en-GB"/>
        </a:p>
      </dgm:t>
    </dgm:pt>
    <dgm:pt modelId="{0626B866-23A8-4BBC-B7B0-BB72BB24FCC2}" type="sibTrans" cxnId="{E78EA355-BC3D-4EBC-9BA2-669D7D9DBC56}">
      <dgm:prSet/>
      <dgm:spPr/>
      <dgm:t>
        <a:bodyPr/>
        <a:lstStyle/>
        <a:p>
          <a:endParaRPr lang="en-GB"/>
        </a:p>
      </dgm:t>
    </dgm:pt>
    <dgm:pt modelId="{014013FF-FEF7-4D65-BD34-0445DF3C9530}">
      <dgm:prSet/>
      <dgm:spPr>
        <a:solidFill>
          <a:schemeClr val="accent2">
            <a:lumMod val="50000"/>
          </a:schemeClr>
        </a:solidFill>
      </dgm:spPr>
      <dgm:t>
        <a:bodyPr/>
        <a:lstStyle/>
        <a:p>
          <a:pPr>
            <a:buFont typeface="Arial" panose="020B0604020202020204" pitchFamily="34" charset="0"/>
            <a:buChar char="•"/>
          </a:pPr>
          <a:r>
            <a:rPr lang="en-US" b="0" i="0" dirty="0"/>
            <a:t>Data sovereignty </a:t>
          </a:r>
        </a:p>
      </dgm:t>
    </dgm:pt>
    <dgm:pt modelId="{9F7F4350-6D9F-4597-844D-F39CD89F95EF}" type="parTrans" cxnId="{D3D9011E-61DD-47B3-B394-3703AF9132E6}">
      <dgm:prSet/>
      <dgm:spPr/>
      <dgm:t>
        <a:bodyPr/>
        <a:lstStyle/>
        <a:p>
          <a:endParaRPr lang="en-GB"/>
        </a:p>
      </dgm:t>
    </dgm:pt>
    <dgm:pt modelId="{C7A6CD7A-EF69-4CE3-A4E2-C8F5FCB4E25B}" type="sibTrans" cxnId="{D3D9011E-61DD-47B3-B394-3703AF9132E6}">
      <dgm:prSet/>
      <dgm:spPr/>
      <dgm:t>
        <a:bodyPr/>
        <a:lstStyle/>
        <a:p>
          <a:endParaRPr lang="en-GB"/>
        </a:p>
      </dgm:t>
    </dgm:pt>
    <dgm:pt modelId="{D3FEB45A-2D5F-499C-9855-190EB3A6B65C}">
      <dgm:prSet/>
      <dgm:spPr>
        <a:solidFill>
          <a:schemeClr val="accent2">
            <a:lumMod val="50000"/>
          </a:schemeClr>
        </a:solidFill>
      </dgm:spPr>
      <dgm:t>
        <a:bodyPr/>
        <a:lstStyle/>
        <a:p>
          <a:pPr>
            <a:buFont typeface="Arial" panose="020B0604020202020204" pitchFamily="34" charset="0"/>
            <a:buChar char="•"/>
          </a:pPr>
          <a:r>
            <a:rPr lang="en-US" b="0" i="0" dirty="0"/>
            <a:t>Standardization and Interoperability</a:t>
          </a:r>
        </a:p>
      </dgm:t>
    </dgm:pt>
    <dgm:pt modelId="{3C50FF6E-55F3-481A-9475-7FDB91CF3799}" type="parTrans" cxnId="{A846D80F-8A3A-4E23-8FE6-D8DD9DB993F7}">
      <dgm:prSet/>
      <dgm:spPr/>
      <dgm:t>
        <a:bodyPr/>
        <a:lstStyle/>
        <a:p>
          <a:endParaRPr lang="en-GB"/>
        </a:p>
      </dgm:t>
    </dgm:pt>
    <dgm:pt modelId="{92913F3E-5319-4A45-B507-8055DD09A550}" type="sibTrans" cxnId="{A846D80F-8A3A-4E23-8FE6-D8DD9DB993F7}">
      <dgm:prSet/>
      <dgm:spPr/>
      <dgm:t>
        <a:bodyPr/>
        <a:lstStyle/>
        <a:p>
          <a:endParaRPr lang="en-GB"/>
        </a:p>
      </dgm:t>
    </dgm:pt>
    <dgm:pt modelId="{337AEE3D-2B9F-43CA-AF3F-3395CB34E7B4}">
      <dgm:prSet/>
      <dgm:spPr>
        <a:solidFill>
          <a:schemeClr val="accent2">
            <a:lumMod val="50000"/>
          </a:schemeClr>
        </a:solidFill>
      </dgm:spPr>
      <dgm:t>
        <a:bodyPr/>
        <a:lstStyle/>
        <a:p>
          <a:pPr>
            <a:buFont typeface="Arial" panose="020B0604020202020204" pitchFamily="34" charset="0"/>
            <a:buChar char="•"/>
          </a:pPr>
          <a:r>
            <a:rPr lang="en-US" b="0" i="0" dirty="0"/>
            <a:t>Regulatory compliance</a:t>
          </a:r>
        </a:p>
      </dgm:t>
    </dgm:pt>
    <dgm:pt modelId="{4C2CEF9B-7C93-4B73-AB2C-89F9150ECAA2}" type="parTrans" cxnId="{3DFB9EF6-E920-4BCD-A77F-47D5B0837F7E}">
      <dgm:prSet/>
      <dgm:spPr/>
      <dgm:t>
        <a:bodyPr/>
        <a:lstStyle/>
        <a:p>
          <a:endParaRPr lang="en-GB"/>
        </a:p>
      </dgm:t>
    </dgm:pt>
    <dgm:pt modelId="{C7E516CB-03EE-4FFF-8FB7-C1CBC230C1E9}" type="sibTrans" cxnId="{3DFB9EF6-E920-4BCD-A77F-47D5B0837F7E}">
      <dgm:prSet/>
      <dgm:spPr/>
      <dgm:t>
        <a:bodyPr/>
        <a:lstStyle/>
        <a:p>
          <a:endParaRPr lang="en-GB"/>
        </a:p>
      </dgm:t>
    </dgm:pt>
    <dgm:pt modelId="{7B2E3716-D94C-48C7-A1F2-0020F8765EAB}">
      <dgm:prSet phldrT="[Text]"/>
      <dgm:spPr/>
      <dgm:t>
        <a:bodyPr/>
        <a:lstStyle/>
        <a:p>
          <a:pPr>
            <a:buFont typeface="Arial" panose="020B0604020202020204" pitchFamily="34" charset="0"/>
            <a:buChar char="•"/>
          </a:pPr>
          <a:r>
            <a:rPr lang="en-US" b="0" i="0" dirty="0">
              <a:solidFill>
                <a:schemeClr val="tx1"/>
              </a:solidFill>
            </a:rPr>
            <a:t>With the increasing use of IVDs, there is a growing concern about the privacy and security of patient data. IVD manufacturers and healthcare providers need to ensure that data is collected, stored, and transmitted in a secure manner.</a:t>
          </a:r>
          <a:endParaRPr lang="en-GB" dirty="0">
            <a:solidFill>
              <a:schemeClr val="tx1"/>
            </a:solidFill>
          </a:endParaRPr>
        </a:p>
      </dgm:t>
    </dgm:pt>
    <dgm:pt modelId="{DD505662-BE72-41E9-A447-5FED24E1CC45}" type="parTrans" cxnId="{58F1BC97-9D53-4259-A051-D4F72186BB26}">
      <dgm:prSet/>
      <dgm:spPr/>
      <dgm:t>
        <a:bodyPr/>
        <a:lstStyle/>
        <a:p>
          <a:endParaRPr lang="en-GB"/>
        </a:p>
      </dgm:t>
    </dgm:pt>
    <dgm:pt modelId="{E6141EEA-AA1D-4C6D-88CB-358D4102CB72}" type="sibTrans" cxnId="{58F1BC97-9D53-4259-A051-D4F72186BB26}">
      <dgm:prSet/>
      <dgm:spPr/>
      <dgm:t>
        <a:bodyPr/>
        <a:lstStyle/>
        <a:p>
          <a:endParaRPr lang="en-GB"/>
        </a:p>
      </dgm:t>
    </dgm:pt>
    <dgm:pt modelId="{D60A9C13-2D6A-4936-8E1F-63A74450AA30}">
      <dgm:prSet/>
      <dgm:spPr/>
      <dgm:t>
        <a:bodyPr/>
        <a:lstStyle/>
        <a:p>
          <a:pPr>
            <a:buFont typeface="Arial" panose="020B0604020202020204" pitchFamily="34" charset="0"/>
            <a:buChar char="•"/>
          </a:pPr>
          <a:r>
            <a:rPr lang="en-US" b="0" i="0" dirty="0">
              <a:solidFill>
                <a:schemeClr val="tx1"/>
              </a:solidFill>
            </a:rPr>
            <a:t>Some countries in the APAC region have strict regulations on data sovereignty, which means that data must be stored and processed within the country. IVD manufacturers and healthcare providers need to be aware of these regulations and ensure that they are compliant.</a:t>
          </a:r>
        </a:p>
      </dgm:t>
    </dgm:pt>
    <dgm:pt modelId="{CC9048C5-82F1-44BE-850D-1D7FAE3EF9AE}" type="parTrans" cxnId="{F5BF7448-429D-45A5-AE91-96D6943C57BF}">
      <dgm:prSet/>
      <dgm:spPr/>
      <dgm:t>
        <a:bodyPr/>
        <a:lstStyle/>
        <a:p>
          <a:endParaRPr lang="en-GB"/>
        </a:p>
      </dgm:t>
    </dgm:pt>
    <dgm:pt modelId="{985E8832-5065-4EC1-8B73-372F7988D5E4}" type="sibTrans" cxnId="{F5BF7448-429D-45A5-AE91-96D6943C57BF}">
      <dgm:prSet/>
      <dgm:spPr/>
      <dgm:t>
        <a:bodyPr/>
        <a:lstStyle/>
        <a:p>
          <a:endParaRPr lang="en-GB"/>
        </a:p>
      </dgm:t>
    </dgm:pt>
    <dgm:pt modelId="{F01862ED-6015-4A0C-A75B-1A5A713D8BEA}">
      <dgm:prSet/>
      <dgm:spPr/>
      <dgm:t>
        <a:bodyPr/>
        <a:lstStyle/>
        <a:p>
          <a:pPr>
            <a:buFont typeface="Arial" panose="020B0604020202020204" pitchFamily="34" charset="0"/>
            <a:buChar char="•"/>
          </a:pPr>
          <a:r>
            <a:rPr lang="en-US" b="0" i="0" dirty="0">
              <a:solidFill>
                <a:schemeClr val="tx1"/>
              </a:solidFill>
            </a:rPr>
            <a:t>IVDs need to be able to communicate with other healthcare systems and devices in order to provide accurate and timely patient care. IVD manufacturers need to ensure that their devices are based on common data formats and communication protocols that support interoperability with other systems and devices.</a:t>
          </a:r>
        </a:p>
      </dgm:t>
    </dgm:pt>
    <dgm:pt modelId="{8060D620-0B38-40DB-B991-FC557CBAB5EA}" type="parTrans" cxnId="{04FDE8D8-A4F3-47C4-A3B9-7BB34247AC6B}">
      <dgm:prSet/>
      <dgm:spPr/>
      <dgm:t>
        <a:bodyPr/>
        <a:lstStyle/>
        <a:p>
          <a:endParaRPr lang="en-GB"/>
        </a:p>
      </dgm:t>
    </dgm:pt>
    <dgm:pt modelId="{0DF97908-9983-45EE-8E92-E6DB81072556}" type="sibTrans" cxnId="{04FDE8D8-A4F3-47C4-A3B9-7BB34247AC6B}">
      <dgm:prSet/>
      <dgm:spPr/>
      <dgm:t>
        <a:bodyPr/>
        <a:lstStyle/>
        <a:p>
          <a:endParaRPr lang="en-GB"/>
        </a:p>
      </dgm:t>
    </dgm:pt>
    <dgm:pt modelId="{EF28AF64-61D4-4F1A-8338-8A8119F7AF30}">
      <dgm:prSet/>
      <dgm:spPr/>
      <dgm:t>
        <a:bodyPr/>
        <a:lstStyle/>
        <a:p>
          <a:pPr>
            <a:buFont typeface="Arial" panose="020B0604020202020204" pitchFamily="34" charset="0"/>
            <a:buChar char="•"/>
          </a:pPr>
          <a:r>
            <a:rPr lang="en-US" b="0" i="0" dirty="0">
              <a:solidFill>
                <a:schemeClr val="tx1"/>
              </a:solidFill>
            </a:rPr>
            <a:t>IVD manufacturers need to comply with the regulations in the countries where they sell their products. This can be a complex and time-consuming process. IVD manufacturers need to have a strong understanding of the regulations in each country and make sure that they are compliant.</a:t>
          </a:r>
        </a:p>
      </dgm:t>
    </dgm:pt>
    <dgm:pt modelId="{B68A5FD8-080E-4691-9E23-72BE26F2B6FB}" type="parTrans" cxnId="{CEF53EA6-4C58-4E02-B242-3EBC61ACA794}">
      <dgm:prSet/>
      <dgm:spPr/>
      <dgm:t>
        <a:bodyPr/>
        <a:lstStyle/>
        <a:p>
          <a:endParaRPr lang="en-GB"/>
        </a:p>
      </dgm:t>
    </dgm:pt>
    <dgm:pt modelId="{9B5BF85D-87F8-4A22-A96F-336E76229606}" type="sibTrans" cxnId="{CEF53EA6-4C58-4E02-B242-3EBC61ACA794}">
      <dgm:prSet/>
      <dgm:spPr/>
      <dgm:t>
        <a:bodyPr/>
        <a:lstStyle/>
        <a:p>
          <a:endParaRPr lang="en-GB"/>
        </a:p>
      </dgm:t>
    </dgm:pt>
    <dgm:pt modelId="{AEC869A3-617E-4EC7-8F4A-9A17D125BC33}" type="pres">
      <dgm:prSet presAssocID="{C137E3CE-94B3-44AE-AC04-62A1FED02200}" presName="linear" presStyleCnt="0">
        <dgm:presLayoutVars>
          <dgm:animLvl val="lvl"/>
          <dgm:resizeHandles val="exact"/>
        </dgm:presLayoutVars>
      </dgm:prSet>
      <dgm:spPr/>
    </dgm:pt>
    <dgm:pt modelId="{643733FB-2E6A-4313-908C-9502EEFDC036}" type="pres">
      <dgm:prSet presAssocID="{DBBAB4F5-F30D-4086-852F-590C70BE05A5}" presName="parentText" presStyleLbl="node1" presStyleIdx="0" presStyleCnt="4">
        <dgm:presLayoutVars>
          <dgm:chMax val="0"/>
          <dgm:bulletEnabled val="1"/>
        </dgm:presLayoutVars>
      </dgm:prSet>
      <dgm:spPr/>
    </dgm:pt>
    <dgm:pt modelId="{8DA6D383-9259-4F1D-9269-124A55AB4E05}" type="pres">
      <dgm:prSet presAssocID="{DBBAB4F5-F30D-4086-852F-590C70BE05A5}" presName="childText" presStyleLbl="revTx" presStyleIdx="0" presStyleCnt="4">
        <dgm:presLayoutVars>
          <dgm:bulletEnabled val="1"/>
        </dgm:presLayoutVars>
      </dgm:prSet>
      <dgm:spPr/>
    </dgm:pt>
    <dgm:pt modelId="{3A8AF9C0-0894-45C3-8F05-C53048667978}" type="pres">
      <dgm:prSet presAssocID="{014013FF-FEF7-4D65-BD34-0445DF3C9530}" presName="parentText" presStyleLbl="node1" presStyleIdx="1" presStyleCnt="4">
        <dgm:presLayoutVars>
          <dgm:chMax val="0"/>
          <dgm:bulletEnabled val="1"/>
        </dgm:presLayoutVars>
      </dgm:prSet>
      <dgm:spPr/>
    </dgm:pt>
    <dgm:pt modelId="{C68859A9-0373-485F-A344-A7302B64D574}" type="pres">
      <dgm:prSet presAssocID="{014013FF-FEF7-4D65-BD34-0445DF3C9530}" presName="childText" presStyleLbl="revTx" presStyleIdx="1" presStyleCnt="4">
        <dgm:presLayoutVars>
          <dgm:bulletEnabled val="1"/>
        </dgm:presLayoutVars>
      </dgm:prSet>
      <dgm:spPr/>
    </dgm:pt>
    <dgm:pt modelId="{D8391768-3059-4632-9BDD-C76731600086}" type="pres">
      <dgm:prSet presAssocID="{D3FEB45A-2D5F-499C-9855-190EB3A6B65C}" presName="parentText" presStyleLbl="node1" presStyleIdx="2" presStyleCnt="4">
        <dgm:presLayoutVars>
          <dgm:chMax val="0"/>
          <dgm:bulletEnabled val="1"/>
        </dgm:presLayoutVars>
      </dgm:prSet>
      <dgm:spPr/>
    </dgm:pt>
    <dgm:pt modelId="{34FBFDE1-1B27-4F43-A02B-52F768EF2CFE}" type="pres">
      <dgm:prSet presAssocID="{D3FEB45A-2D5F-499C-9855-190EB3A6B65C}" presName="childText" presStyleLbl="revTx" presStyleIdx="2" presStyleCnt="4">
        <dgm:presLayoutVars>
          <dgm:bulletEnabled val="1"/>
        </dgm:presLayoutVars>
      </dgm:prSet>
      <dgm:spPr/>
    </dgm:pt>
    <dgm:pt modelId="{6A98D6D4-571E-428B-BDA2-9350F3E5B0D8}" type="pres">
      <dgm:prSet presAssocID="{337AEE3D-2B9F-43CA-AF3F-3395CB34E7B4}" presName="parentText" presStyleLbl="node1" presStyleIdx="3" presStyleCnt="4">
        <dgm:presLayoutVars>
          <dgm:chMax val="0"/>
          <dgm:bulletEnabled val="1"/>
        </dgm:presLayoutVars>
      </dgm:prSet>
      <dgm:spPr/>
    </dgm:pt>
    <dgm:pt modelId="{A284D1BD-8042-4424-8B02-927E49F81B6F}" type="pres">
      <dgm:prSet presAssocID="{337AEE3D-2B9F-43CA-AF3F-3395CB34E7B4}" presName="childText" presStyleLbl="revTx" presStyleIdx="3" presStyleCnt="4">
        <dgm:presLayoutVars>
          <dgm:bulletEnabled val="1"/>
        </dgm:presLayoutVars>
      </dgm:prSet>
      <dgm:spPr/>
    </dgm:pt>
  </dgm:ptLst>
  <dgm:cxnLst>
    <dgm:cxn modelId="{A846D80F-8A3A-4E23-8FE6-D8DD9DB993F7}" srcId="{C137E3CE-94B3-44AE-AC04-62A1FED02200}" destId="{D3FEB45A-2D5F-499C-9855-190EB3A6B65C}" srcOrd="2" destOrd="0" parTransId="{3C50FF6E-55F3-481A-9475-7FDB91CF3799}" sibTransId="{92913F3E-5319-4A45-B507-8055DD09A550}"/>
    <dgm:cxn modelId="{02CB2A13-AF45-4F06-8A14-92F659A4D7FF}" type="presOf" srcId="{D60A9C13-2D6A-4936-8E1F-63A74450AA30}" destId="{C68859A9-0373-485F-A344-A7302B64D574}" srcOrd="0" destOrd="0" presId="urn:microsoft.com/office/officeart/2005/8/layout/vList2"/>
    <dgm:cxn modelId="{D3D9011E-61DD-47B3-B394-3703AF9132E6}" srcId="{C137E3CE-94B3-44AE-AC04-62A1FED02200}" destId="{014013FF-FEF7-4D65-BD34-0445DF3C9530}" srcOrd="1" destOrd="0" parTransId="{9F7F4350-6D9F-4597-844D-F39CD89F95EF}" sibTransId="{C7A6CD7A-EF69-4CE3-A4E2-C8F5FCB4E25B}"/>
    <dgm:cxn modelId="{DA28DF2B-7959-445B-9123-9ACFEB8493AD}" type="presOf" srcId="{7B2E3716-D94C-48C7-A1F2-0020F8765EAB}" destId="{8DA6D383-9259-4F1D-9269-124A55AB4E05}" srcOrd="0" destOrd="0" presId="urn:microsoft.com/office/officeart/2005/8/layout/vList2"/>
    <dgm:cxn modelId="{DBC7E245-B480-4B20-8BF7-4AFE70226816}" type="presOf" srcId="{337AEE3D-2B9F-43CA-AF3F-3395CB34E7B4}" destId="{6A98D6D4-571E-428B-BDA2-9350F3E5B0D8}" srcOrd="0" destOrd="0" presId="urn:microsoft.com/office/officeart/2005/8/layout/vList2"/>
    <dgm:cxn modelId="{F5BF7448-429D-45A5-AE91-96D6943C57BF}" srcId="{014013FF-FEF7-4D65-BD34-0445DF3C9530}" destId="{D60A9C13-2D6A-4936-8E1F-63A74450AA30}" srcOrd="0" destOrd="0" parTransId="{CC9048C5-82F1-44BE-850D-1D7FAE3EF9AE}" sibTransId="{985E8832-5065-4EC1-8B73-372F7988D5E4}"/>
    <dgm:cxn modelId="{E78EA355-BC3D-4EBC-9BA2-669D7D9DBC56}" srcId="{C137E3CE-94B3-44AE-AC04-62A1FED02200}" destId="{DBBAB4F5-F30D-4086-852F-590C70BE05A5}" srcOrd="0" destOrd="0" parTransId="{D88DF392-A62F-423D-9894-AD8FF5F60F6E}" sibTransId="{0626B866-23A8-4BBC-B7B0-BB72BB24FCC2}"/>
    <dgm:cxn modelId="{A29A4F91-07EC-4717-84B0-3DF17C01D5F0}" type="presOf" srcId="{DBBAB4F5-F30D-4086-852F-590C70BE05A5}" destId="{643733FB-2E6A-4313-908C-9502EEFDC036}" srcOrd="0" destOrd="0" presId="urn:microsoft.com/office/officeart/2005/8/layout/vList2"/>
    <dgm:cxn modelId="{58F1BC97-9D53-4259-A051-D4F72186BB26}" srcId="{DBBAB4F5-F30D-4086-852F-590C70BE05A5}" destId="{7B2E3716-D94C-48C7-A1F2-0020F8765EAB}" srcOrd="0" destOrd="0" parTransId="{DD505662-BE72-41E9-A447-5FED24E1CC45}" sibTransId="{E6141EEA-AA1D-4C6D-88CB-358D4102CB72}"/>
    <dgm:cxn modelId="{61876A9C-0795-4D7A-ABDA-010A067A46C2}" type="presOf" srcId="{D3FEB45A-2D5F-499C-9855-190EB3A6B65C}" destId="{D8391768-3059-4632-9BDD-C76731600086}" srcOrd="0" destOrd="0" presId="urn:microsoft.com/office/officeart/2005/8/layout/vList2"/>
    <dgm:cxn modelId="{CEF53EA6-4C58-4E02-B242-3EBC61ACA794}" srcId="{337AEE3D-2B9F-43CA-AF3F-3395CB34E7B4}" destId="{EF28AF64-61D4-4F1A-8338-8A8119F7AF30}" srcOrd="0" destOrd="0" parTransId="{B68A5FD8-080E-4691-9E23-72BE26F2B6FB}" sibTransId="{9B5BF85D-87F8-4A22-A96F-336E76229606}"/>
    <dgm:cxn modelId="{AD012BB0-69DE-4FF5-AC79-4C4CB93C864C}" type="presOf" srcId="{C137E3CE-94B3-44AE-AC04-62A1FED02200}" destId="{AEC869A3-617E-4EC7-8F4A-9A17D125BC33}" srcOrd="0" destOrd="0" presId="urn:microsoft.com/office/officeart/2005/8/layout/vList2"/>
    <dgm:cxn modelId="{0CC550B5-1294-4286-BC67-7A0340BC19EB}" type="presOf" srcId="{EF28AF64-61D4-4F1A-8338-8A8119F7AF30}" destId="{A284D1BD-8042-4424-8B02-927E49F81B6F}" srcOrd="0" destOrd="0" presId="urn:microsoft.com/office/officeart/2005/8/layout/vList2"/>
    <dgm:cxn modelId="{4B74E7C9-2616-437B-A8D1-050ECDE37F08}" type="presOf" srcId="{014013FF-FEF7-4D65-BD34-0445DF3C9530}" destId="{3A8AF9C0-0894-45C3-8F05-C53048667978}" srcOrd="0" destOrd="0" presId="urn:microsoft.com/office/officeart/2005/8/layout/vList2"/>
    <dgm:cxn modelId="{04FDE8D8-A4F3-47C4-A3B9-7BB34247AC6B}" srcId="{D3FEB45A-2D5F-499C-9855-190EB3A6B65C}" destId="{F01862ED-6015-4A0C-A75B-1A5A713D8BEA}" srcOrd="0" destOrd="0" parTransId="{8060D620-0B38-40DB-B991-FC557CBAB5EA}" sibTransId="{0DF97908-9983-45EE-8E92-E6DB81072556}"/>
    <dgm:cxn modelId="{606215EE-1797-4960-B3CD-8A093E6D1715}" type="presOf" srcId="{F01862ED-6015-4A0C-A75B-1A5A713D8BEA}" destId="{34FBFDE1-1B27-4F43-A02B-52F768EF2CFE}" srcOrd="0" destOrd="0" presId="urn:microsoft.com/office/officeart/2005/8/layout/vList2"/>
    <dgm:cxn modelId="{3DFB9EF6-E920-4BCD-A77F-47D5B0837F7E}" srcId="{C137E3CE-94B3-44AE-AC04-62A1FED02200}" destId="{337AEE3D-2B9F-43CA-AF3F-3395CB34E7B4}" srcOrd="3" destOrd="0" parTransId="{4C2CEF9B-7C93-4B73-AB2C-89F9150ECAA2}" sibTransId="{C7E516CB-03EE-4FFF-8FB7-C1CBC230C1E9}"/>
    <dgm:cxn modelId="{2BA551CC-7AEC-4427-A610-86FD2F291A68}" type="presParOf" srcId="{AEC869A3-617E-4EC7-8F4A-9A17D125BC33}" destId="{643733FB-2E6A-4313-908C-9502EEFDC036}" srcOrd="0" destOrd="0" presId="urn:microsoft.com/office/officeart/2005/8/layout/vList2"/>
    <dgm:cxn modelId="{78CDE66A-4524-4CBC-ACF8-A905FE7A1518}" type="presParOf" srcId="{AEC869A3-617E-4EC7-8F4A-9A17D125BC33}" destId="{8DA6D383-9259-4F1D-9269-124A55AB4E05}" srcOrd="1" destOrd="0" presId="urn:microsoft.com/office/officeart/2005/8/layout/vList2"/>
    <dgm:cxn modelId="{AEE257CD-F50A-4719-B40E-8A5E055F399E}" type="presParOf" srcId="{AEC869A3-617E-4EC7-8F4A-9A17D125BC33}" destId="{3A8AF9C0-0894-45C3-8F05-C53048667978}" srcOrd="2" destOrd="0" presId="urn:microsoft.com/office/officeart/2005/8/layout/vList2"/>
    <dgm:cxn modelId="{E035F6B6-7C75-4FDC-A466-C69AA8EAC4EF}" type="presParOf" srcId="{AEC869A3-617E-4EC7-8F4A-9A17D125BC33}" destId="{C68859A9-0373-485F-A344-A7302B64D574}" srcOrd="3" destOrd="0" presId="urn:microsoft.com/office/officeart/2005/8/layout/vList2"/>
    <dgm:cxn modelId="{8A629445-92D1-4ED6-9DA7-420B8D1F20E8}" type="presParOf" srcId="{AEC869A3-617E-4EC7-8F4A-9A17D125BC33}" destId="{D8391768-3059-4632-9BDD-C76731600086}" srcOrd="4" destOrd="0" presId="urn:microsoft.com/office/officeart/2005/8/layout/vList2"/>
    <dgm:cxn modelId="{772C0782-BD85-4738-A3FD-20CCBF8798CC}" type="presParOf" srcId="{AEC869A3-617E-4EC7-8F4A-9A17D125BC33}" destId="{34FBFDE1-1B27-4F43-A02B-52F768EF2CFE}" srcOrd="5" destOrd="0" presId="urn:microsoft.com/office/officeart/2005/8/layout/vList2"/>
    <dgm:cxn modelId="{954B2167-5229-4300-93E8-EF69D20B115F}" type="presParOf" srcId="{AEC869A3-617E-4EC7-8F4A-9A17D125BC33}" destId="{6A98D6D4-571E-428B-BDA2-9350F3E5B0D8}" srcOrd="6" destOrd="0" presId="urn:microsoft.com/office/officeart/2005/8/layout/vList2"/>
    <dgm:cxn modelId="{D98F3F0F-88C2-40DF-BCF3-613BFCEB87D6}" type="presParOf" srcId="{AEC869A3-617E-4EC7-8F4A-9A17D125BC33}" destId="{A284D1BD-8042-4424-8B02-927E49F81B6F}" srcOrd="7"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6A62D-17F8-4497-B130-4BB65F0AA6A1}">
      <dsp:nvSpPr>
        <dsp:cNvPr id="0" name=""/>
        <dsp:cNvSpPr/>
      </dsp:nvSpPr>
      <dsp:spPr>
        <a:xfrm>
          <a:off x="-4267451" y="-654712"/>
          <a:ext cx="5084500" cy="5084500"/>
        </a:xfrm>
        <a:prstGeom prst="blockArc">
          <a:avLst>
            <a:gd name="adj1" fmla="val 18900000"/>
            <a:gd name="adj2" fmla="val 2700000"/>
            <a:gd name="adj3" fmla="val 425"/>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249C1A6-2860-4B00-9414-7BA990BE1ED3}">
      <dsp:nvSpPr>
        <dsp:cNvPr id="0" name=""/>
        <dsp:cNvSpPr/>
      </dsp:nvSpPr>
      <dsp:spPr>
        <a:xfrm>
          <a:off x="373410" y="174195"/>
          <a:ext cx="7208650" cy="472035"/>
        </a:xfrm>
        <a:prstGeom prst="rect">
          <a:avLst/>
        </a:prstGeom>
        <a:solidFill>
          <a:schemeClr val="accent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4678" tIns="35560" rIns="35560" bIns="35560" numCol="1" spcCol="1270" anchor="ctr" anchorCtr="0">
          <a:noAutofit/>
        </a:bodyPr>
        <a:lstStyle/>
        <a:p>
          <a:pPr marL="0" lvl="0" indent="0" algn="l" defTabSz="622300">
            <a:lnSpc>
              <a:spcPct val="90000"/>
            </a:lnSpc>
            <a:spcBef>
              <a:spcPct val="0"/>
            </a:spcBef>
            <a:spcAft>
              <a:spcPct val="35000"/>
            </a:spcAft>
            <a:buClr>
              <a:schemeClr val="accent1"/>
            </a:buClr>
            <a:buSzPts val="2400"/>
            <a:buFont typeface="Arial"/>
            <a:buNone/>
          </a:pPr>
          <a:r>
            <a:rPr lang="en-US" sz="1400" b="0" kern="1200" dirty="0"/>
            <a:t>Data regulations: Only certain data from IVDs can be shared, such as with South Korea’s PIPA</a:t>
          </a:r>
          <a:endParaRPr lang="en-GB" sz="1400" b="0" kern="1200" dirty="0"/>
        </a:p>
      </dsp:txBody>
      <dsp:txXfrm>
        <a:off x="373410" y="174195"/>
        <a:ext cx="7208650" cy="472035"/>
      </dsp:txXfrm>
    </dsp:sp>
    <dsp:sp modelId="{AF2A697A-E6FD-4A87-8602-815C979F1B89}">
      <dsp:nvSpPr>
        <dsp:cNvPr id="0" name=""/>
        <dsp:cNvSpPr/>
      </dsp:nvSpPr>
      <dsp:spPr>
        <a:xfrm>
          <a:off x="62817" y="176862"/>
          <a:ext cx="590044" cy="590044"/>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9D257CC-ECB7-4510-9FB5-0BF7BED2F223}">
      <dsp:nvSpPr>
        <dsp:cNvPr id="0" name=""/>
        <dsp:cNvSpPr/>
      </dsp:nvSpPr>
      <dsp:spPr>
        <a:xfrm>
          <a:off x="711613" y="882021"/>
          <a:ext cx="6870404" cy="472035"/>
        </a:xfrm>
        <a:prstGeom prst="rect">
          <a:avLst/>
        </a:prstGeom>
        <a:solidFill>
          <a:schemeClr val="accent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4678" tIns="35560" rIns="35560" bIns="35560" numCol="1" spcCol="1270" anchor="ctr" anchorCtr="0">
          <a:noAutofit/>
        </a:bodyPr>
        <a:lstStyle/>
        <a:p>
          <a:pPr marL="0" lvl="0" indent="0" algn="l" defTabSz="622300">
            <a:lnSpc>
              <a:spcPct val="90000"/>
            </a:lnSpc>
            <a:spcBef>
              <a:spcPct val="0"/>
            </a:spcBef>
            <a:spcAft>
              <a:spcPct val="35000"/>
            </a:spcAft>
            <a:buClr>
              <a:schemeClr val="accent1"/>
            </a:buClr>
            <a:buSzPts val="2400"/>
            <a:buFont typeface="Arial"/>
            <a:buNone/>
          </a:pPr>
          <a:r>
            <a:rPr lang="en-US" sz="1400" b="0" kern="1200" dirty="0"/>
            <a:t>Moral implications: China’s NMPA has restricted IVDs for genetic testing</a:t>
          </a:r>
          <a:endParaRPr lang="en-GB" sz="1400" b="0" kern="1200" dirty="0"/>
        </a:p>
      </dsp:txBody>
      <dsp:txXfrm>
        <a:off x="711613" y="882021"/>
        <a:ext cx="6870404" cy="472035"/>
      </dsp:txXfrm>
    </dsp:sp>
    <dsp:sp modelId="{5FF6F76F-0C33-42A3-918D-28BA7D1E637D}">
      <dsp:nvSpPr>
        <dsp:cNvPr id="0" name=""/>
        <dsp:cNvSpPr/>
      </dsp:nvSpPr>
      <dsp:spPr>
        <a:xfrm>
          <a:off x="401064" y="884688"/>
          <a:ext cx="590044" cy="590044"/>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B5FD591-416D-4C03-B576-415ADC38104B}">
      <dsp:nvSpPr>
        <dsp:cNvPr id="0" name=""/>
        <dsp:cNvSpPr/>
      </dsp:nvSpPr>
      <dsp:spPr>
        <a:xfrm>
          <a:off x="799901" y="1651519"/>
          <a:ext cx="6766589" cy="472035"/>
        </a:xfrm>
        <a:prstGeom prst="rect">
          <a:avLst/>
        </a:prstGeom>
        <a:solidFill>
          <a:schemeClr val="accent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4678" tIns="35560" rIns="35560" bIns="35560" numCol="1" spcCol="1270" anchor="ctr" anchorCtr="0">
          <a:noAutofit/>
        </a:bodyPr>
        <a:lstStyle/>
        <a:p>
          <a:pPr marL="0" lvl="0" indent="0" algn="l" defTabSz="622300">
            <a:lnSpc>
              <a:spcPct val="90000"/>
            </a:lnSpc>
            <a:spcBef>
              <a:spcPct val="0"/>
            </a:spcBef>
            <a:spcAft>
              <a:spcPct val="35000"/>
            </a:spcAft>
            <a:buClr>
              <a:schemeClr val="accent1"/>
            </a:buClr>
            <a:buSzPts val="2400"/>
            <a:buFont typeface="Arial"/>
            <a:buNone/>
          </a:pPr>
          <a:r>
            <a:rPr lang="en-US" sz="1400" b="0" kern="1200" dirty="0">
              <a:latin typeface="Avenir Next LT Pro"/>
              <a:ea typeface="+mn-ea"/>
              <a:cs typeface="+mn-cs"/>
              <a:sym typeface="Calibri"/>
            </a:rPr>
            <a:t>Advertising regulations: only certain IVD products can be advertised to the public in Japan</a:t>
          </a:r>
          <a:endParaRPr lang="en-GB" sz="1400" b="0" kern="1200" dirty="0">
            <a:latin typeface="Avenir Next LT Pro"/>
            <a:ea typeface="+mn-ea"/>
            <a:cs typeface="+mn-cs"/>
          </a:endParaRPr>
        </a:p>
      </dsp:txBody>
      <dsp:txXfrm>
        <a:off x="799901" y="1651519"/>
        <a:ext cx="6766589" cy="472035"/>
      </dsp:txXfrm>
    </dsp:sp>
    <dsp:sp modelId="{F4CAAE07-D22C-4089-B979-A458247F7468}">
      <dsp:nvSpPr>
        <dsp:cNvPr id="0" name=""/>
        <dsp:cNvSpPr/>
      </dsp:nvSpPr>
      <dsp:spPr>
        <a:xfrm>
          <a:off x="504878" y="1592515"/>
          <a:ext cx="590044" cy="590044"/>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B354280-8152-4DB7-BB45-AAF4583CDBF7}">
      <dsp:nvSpPr>
        <dsp:cNvPr id="0" name=""/>
        <dsp:cNvSpPr/>
      </dsp:nvSpPr>
      <dsp:spPr>
        <a:xfrm>
          <a:off x="696086" y="2359346"/>
          <a:ext cx="6870404" cy="472035"/>
        </a:xfrm>
        <a:prstGeom prst="rect">
          <a:avLst/>
        </a:prstGeom>
        <a:solidFill>
          <a:schemeClr val="accent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4678" tIns="35560" rIns="35560" bIns="35560" numCol="1" spcCol="1270" anchor="ctr" anchorCtr="0">
          <a:noAutofit/>
        </a:bodyPr>
        <a:lstStyle/>
        <a:p>
          <a:pPr marL="0" lvl="0" indent="0" algn="l" defTabSz="622300">
            <a:lnSpc>
              <a:spcPct val="90000"/>
            </a:lnSpc>
            <a:spcBef>
              <a:spcPct val="0"/>
            </a:spcBef>
            <a:spcAft>
              <a:spcPct val="35000"/>
            </a:spcAft>
            <a:buClr>
              <a:schemeClr val="accent1"/>
            </a:buClr>
            <a:buSzPts val="2400"/>
            <a:buFont typeface="Arial"/>
            <a:buNone/>
          </a:pPr>
          <a:r>
            <a:rPr lang="en-US" sz="1400" b="0" kern="1200" dirty="0">
              <a:latin typeface="Avenir Next LT Pro"/>
              <a:ea typeface="+mn-ea"/>
              <a:cs typeface="+mn-cs"/>
              <a:sym typeface="Calibri"/>
            </a:rPr>
            <a:t>Import/export regulations: in Singapore, preference is given by the HSA to locally manufactured IVDs </a:t>
          </a:r>
          <a:endParaRPr lang="en-GB" sz="1400" b="0" kern="1200" dirty="0">
            <a:latin typeface="Avenir Next LT Pro"/>
            <a:ea typeface="+mn-ea"/>
            <a:cs typeface="+mn-cs"/>
          </a:endParaRPr>
        </a:p>
      </dsp:txBody>
      <dsp:txXfrm>
        <a:off x="696086" y="2359346"/>
        <a:ext cx="6870404" cy="472035"/>
      </dsp:txXfrm>
    </dsp:sp>
    <dsp:sp modelId="{117F47CB-4CD0-4C0B-A168-752909523416}">
      <dsp:nvSpPr>
        <dsp:cNvPr id="0" name=""/>
        <dsp:cNvSpPr/>
      </dsp:nvSpPr>
      <dsp:spPr>
        <a:xfrm>
          <a:off x="401064" y="2300341"/>
          <a:ext cx="590044" cy="590044"/>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AE67789-6761-461A-AEB1-D861ABB05698}">
      <dsp:nvSpPr>
        <dsp:cNvPr id="0" name=""/>
        <dsp:cNvSpPr/>
      </dsp:nvSpPr>
      <dsp:spPr>
        <a:xfrm>
          <a:off x="357839" y="3067172"/>
          <a:ext cx="7208650" cy="472035"/>
        </a:xfrm>
        <a:prstGeom prst="rect">
          <a:avLst/>
        </a:prstGeom>
        <a:solidFill>
          <a:schemeClr val="accent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4678" tIns="35560" rIns="35560" bIns="35560" numCol="1" spcCol="1270" anchor="ctr" anchorCtr="0">
          <a:noAutofit/>
        </a:bodyPr>
        <a:lstStyle/>
        <a:p>
          <a:pPr marL="0" lvl="0" indent="0" algn="l" defTabSz="622300">
            <a:lnSpc>
              <a:spcPct val="90000"/>
            </a:lnSpc>
            <a:spcBef>
              <a:spcPct val="0"/>
            </a:spcBef>
            <a:spcAft>
              <a:spcPct val="35000"/>
            </a:spcAft>
            <a:buClr>
              <a:srgbClr val="93FF9E"/>
            </a:buClr>
            <a:buSzPts val="2400"/>
            <a:buFont typeface="Arial"/>
            <a:buNone/>
          </a:pPr>
          <a:r>
            <a:rPr lang="en-US" sz="1400" b="0" kern="1200" dirty="0">
              <a:latin typeface="Avenir Next LT Pro"/>
              <a:ea typeface="+mn-ea"/>
              <a:cs typeface="+mn-cs"/>
              <a:sym typeface="Calibri"/>
            </a:rPr>
            <a:t>Openness to relational implementation: In China, Guanxi is leveraged for rapid approvals</a:t>
          </a:r>
          <a:endParaRPr lang="en-GB" sz="1400" b="0" kern="1200" dirty="0">
            <a:latin typeface="Avenir Next LT Pro"/>
            <a:ea typeface="+mn-ea"/>
            <a:cs typeface="+mn-cs"/>
          </a:endParaRPr>
        </a:p>
      </dsp:txBody>
      <dsp:txXfrm>
        <a:off x="357839" y="3067172"/>
        <a:ext cx="7208650" cy="472035"/>
      </dsp:txXfrm>
    </dsp:sp>
    <dsp:sp modelId="{5AF76FFA-B035-4066-927C-E3FD4A3C6925}">
      <dsp:nvSpPr>
        <dsp:cNvPr id="0" name=""/>
        <dsp:cNvSpPr/>
      </dsp:nvSpPr>
      <dsp:spPr>
        <a:xfrm>
          <a:off x="62817" y="3008168"/>
          <a:ext cx="590044" cy="590044"/>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3733FB-2E6A-4313-908C-9502EEFDC036}">
      <dsp:nvSpPr>
        <dsp:cNvPr id="0" name=""/>
        <dsp:cNvSpPr/>
      </dsp:nvSpPr>
      <dsp:spPr>
        <a:xfrm>
          <a:off x="0" y="51402"/>
          <a:ext cx="10857594" cy="527670"/>
        </a:xfrm>
        <a:prstGeom prst="roundRect">
          <a:avLst/>
        </a:prstGeom>
        <a:solidFill>
          <a:schemeClr val="accent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Font typeface="Arial" panose="020B0604020202020204" pitchFamily="34" charset="0"/>
            <a:buNone/>
          </a:pPr>
          <a:r>
            <a:rPr lang="en-US" sz="2200" b="0" i="0" kern="1200" dirty="0"/>
            <a:t>Data privacy and security</a:t>
          </a:r>
          <a:endParaRPr lang="en-GB" sz="2200" kern="1200" dirty="0"/>
        </a:p>
      </dsp:txBody>
      <dsp:txXfrm>
        <a:off x="25759" y="77161"/>
        <a:ext cx="10806076" cy="476152"/>
      </dsp:txXfrm>
    </dsp:sp>
    <dsp:sp modelId="{8DA6D383-9259-4F1D-9269-124A55AB4E05}">
      <dsp:nvSpPr>
        <dsp:cNvPr id="0" name=""/>
        <dsp:cNvSpPr/>
      </dsp:nvSpPr>
      <dsp:spPr>
        <a:xfrm>
          <a:off x="0" y="579072"/>
          <a:ext cx="10857594" cy="7741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729" tIns="27940" rIns="156464" bIns="27940" numCol="1" spcCol="1270" anchor="t" anchorCtr="0">
          <a:noAutofit/>
        </a:bodyPr>
        <a:lstStyle/>
        <a:p>
          <a:pPr marL="171450" lvl="1" indent="-171450" algn="l" defTabSz="755650">
            <a:lnSpc>
              <a:spcPct val="90000"/>
            </a:lnSpc>
            <a:spcBef>
              <a:spcPct val="0"/>
            </a:spcBef>
            <a:spcAft>
              <a:spcPct val="20000"/>
            </a:spcAft>
            <a:buFont typeface="Arial" panose="020B0604020202020204" pitchFamily="34" charset="0"/>
            <a:buChar char="•"/>
          </a:pPr>
          <a:r>
            <a:rPr lang="en-US" sz="1700" b="0" i="0" kern="1200" dirty="0">
              <a:solidFill>
                <a:schemeClr val="tx1"/>
              </a:solidFill>
            </a:rPr>
            <a:t>With the increasing use of IVDs, there is a growing concern about the privacy and security of patient data. IVD manufacturers and healthcare providers need to ensure that data is collected, stored, and transmitted in a secure manner.</a:t>
          </a:r>
          <a:endParaRPr lang="en-GB" sz="1700" kern="1200" dirty="0">
            <a:solidFill>
              <a:schemeClr val="tx1"/>
            </a:solidFill>
          </a:endParaRPr>
        </a:p>
      </dsp:txBody>
      <dsp:txXfrm>
        <a:off x="0" y="579072"/>
        <a:ext cx="10857594" cy="774180"/>
      </dsp:txXfrm>
    </dsp:sp>
    <dsp:sp modelId="{3A8AF9C0-0894-45C3-8F05-C53048667978}">
      <dsp:nvSpPr>
        <dsp:cNvPr id="0" name=""/>
        <dsp:cNvSpPr/>
      </dsp:nvSpPr>
      <dsp:spPr>
        <a:xfrm>
          <a:off x="0" y="1353252"/>
          <a:ext cx="10857594" cy="527670"/>
        </a:xfrm>
        <a:prstGeom prst="roundRect">
          <a:avLst/>
        </a:prstGeom>
        <a:solidFill>
          <a:schemeClr val="accent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Font typeface="Arial" panose="020B0604020202020204" pitchFamily="34" charset="0"/>
            <a:buNone/>
          </a:pPr>
          <a:r>
            <a:rPr lang="en-US" sz="2200" b="0" i="0" kern="1200" dirty="0"/>
            <a:t>Data sovereignty </a:t>
          </a:r>
        </a:p>
      </dsp:txBody>
      <dsp:txXfrm>
        <a:off x="25759" y="1379011"/>
        <a:ext cx="10806076" cy="476152"/>
      </dsp:txXfrm>
    </dsp:sp>
    <dsp:sp modelId="{C68859A9-0373-485F-A344-A7302B64D574}">
      <dsp:nvSpPr>
        <dsp:cNvPr id="0" name=""/>
        <dsp:cNvSpPr/>
      </dsp:nvSpPr>
      <dsp:spPr>
        <a:xfrm>
          <a:off x="0" y="1880922"/>
          <a:ext cx="10857594" cy="7741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729" tIns="27940" rIns="156464" bIns="27940" numCol="1" spcCol="1270" anchor="t" anchorCtr="0">
          <a:noAutofit/>
        </a:bodyPr>
        <a:lstStyle/>
        <a:p>
          <a:pPr marL="171450" lvl="1" indent="-171450" algn="l" defTabSz="755650">
            <a:lnSpc>
              <a:spcPct val="90000"/>
            </a:lnSpc>
            <a:spcBef>
              <a:spcPct val="0"/>
            </a:spcBef>
            <a:spcAft>
              <a:spcPct val="20000"/>
            </a:spcAft>
            <a:buFont typeface="Arial" panose="020B0604020202020204" pitchFamily="34" charset="0"/>
            <a:buChar char="•"/>
          </a:pPr>
          <a:r>
            <a:rPr lang="en-US" sz="1700" b="0" i="0" kern="1200" dirty="0">
              <a:solidFill>
                <a:schemeClr val="tx1"/>
              </a:solidFill>
            </a:rPr>
            <a:t>Some countries in the APAC region have strict regulations on data sovereignty, which means that data must be stored and processed within the country. IVD manufacturers and healthcare providers need to be aware of these regulations and ensure that they are compliant.</a:t>
          </a:r>
        </a:p>
      </dsp:txBody>
      <dsp:txXfrm>
        <a:off x="0" y="1880922"/>
        <a:ext cx="10857594" cy="774180"/>
      </dsp:txXfrm>
    </dsp:sp>
    <dsp:sp modelId="{D8391768-3059-4632-9BDD-C76731600086}">
      <dsp:nvSpPr>
        <dsp:cNvPr id="0" name=""/>
        <dsp:cNvSpPr/>
      </dsp:nvSpPr>
      <dsp:spPr>
        <a:xfrm>
          <a:off x="0" y="2655102"/>
          <a:ext cx="10857594" cy="527670"/>
        </a:xfrm>
        <a:prstGeom prst="roundRect">
          <a:avLst/>
        </a:prstGeom>
        <a:solidFill>
          <a:schemeClr val="accent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Font typeface="Arial" panose="020B0604020202020204" pitchFamily="34" charset="0"/>
            <a:buNone/>
          </a:pPr>
          <a:r>
            <a:rPr lang="en-US" sz="2200" b="0" i="0" kern="1200" dirty="0"/>
            <a:t>Standardization and Interoperability</a:t>
          </a:r>
        </a:p>
      </dsp:txBody>
      <dsp:txXfrm>
        <a:off x="25759" y="2680861"/>
        <a:ext cx="10806076" cy="476152"/>
      </dsp:txXfrm>
    </dsp:sp>
    <dsp:sp modelId="{34FBFDE1-1B27-4F43-A02B-52F768EF2CFE}">
      <dsp:nvSpPr>
        <dsp:cNvPr id="0" name=""/>
        <dsp:cNvSpPr/>
      </dsp:nvSpPr>
      <dsp:spPr>
        <a:xfrm>
          <a:off x="0" y="3182772"/>
          <a:ext cx="10857594" cy="1001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729" tIns="27940" rIns="156464" bIns="27940" numCol="1" spcCol="1270" anchor="t" anchorCtr="0">
          <a:noAutofit/>
        </a:bodyPr>
        <a:lstStyle/>
        <a:p>
          <a:pPr marL="171450" lvl="1" indent="-171450" algn="l" defTabSz="755650">
            <a:lnSpc>
              <a:spcPct val="90000"/>
            </a:lnSpc>
            <a:spcBef>
              <a:spcPct val="0"/>
            </a:spcBef>
            <a:spcAft>
              <a:spcPct val="20000"/>
            </a:spcAft>
            <a:buFont typeface="Arial" panose="020B0604020202020204" pitchFamily="34" charset="0"/>
            <a:buChar char="•"/>
          </a:pPr>
          <a:r>
            <a:rPr lang="en-US" sz="1700" b="0" i="0" kern="1200" dirty="0">
              <a:solidFill>
                <a:schemeClr val="tx1"/>
              </a:solidFill>
            </a:rPr>
            <a:t>IVDs need to be able to communicate with other healthcare systems and devices in order to provide accurate and timely patient care. IVD manufacturers need to ensure that their devices are based on common data formats and communication protocols that support interoperability with other systems and devices.</a:t>
          </a:r>
        </a:p>
      </dsp:txBody>
      <dsp:txXfrm>
        <a:off x="0" y="3182772"/>
        <a:ext cx="10857594" cy="1001880"/>
      </dsp:txXfrm>
    </dsp:sp>
    <dsp:sp modelId="{6A98D6D4-571E-428B-BDA2-9350F3E5B0D8}">
      <dsp:nvSpPr>
        <dsp:cNvPr id="0" name=""/>
        <dsp:cNvSpPr/>
      </dsp:nvSpPr>
      <dsp:spPr>
        <a:xfrm>
          <a:off x="0" y="4184652"/>
          <a:ext cx="10857594" cy="527670"/>
        </a:xfrm>
        <a:prstGeom prst="roundRect">
          <a:avLst/>
        </a:prstGeom>
        <a:solidFill>
          <a:schemeClr val="accent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Font typeface="Arial" panose="020B0604020202020204" pitchFamily="34" charset="0"/>
            <a:buNone/>
          </a:pPr>
          <a:r>
            <a:rPr lang="en-US" sz="2200" b="0" i="0" kern="1200" dirty="0"/>
            <a:t>Regulatory compliance</a:t>
          </a:r>
        </a:p>
      </dsp:txBody>
      <dsp:txXfrm>
        <a:off x="25759" y="4210411"/>
        <a:ext cx="10806076" cy="476152"/>
      </dsp:txXfrm>
    </dsp:sp>
    <dsp:sp modelId="{A284D1BD-8042-4424-8B02-927E49F81B6F}">
      <dsp:nvSpPr>
        <dsp:cNvPr id="0" name=""/>
        <dsp:cNvSpPr/>
      </dsp:nvSpPr>
      <dsp:spPr>
        <a:xfrm>
          <a:off x="0" y="4712322"/>
          <a:ext cx="10857594" cy="7741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729" tIns="27940" rIns="156464" bIns="27940" numCol="1" spcCol="1270" anchor="t" anchorCtr="0">
          <a:noAutofit/>
        </a:bodyPr>
        <a:lstStyle/>
        <a:p>
          <a:pPr marL="171450" lvl="1" indent="-171450" algn="l" defTabSz="755650">
            <a:lnSpc>
              <a:spcPct val="90000"/>
            </a:lnSpc>
            <a:spcBef>
              <a:spcPct val="0"/>
            </a:spcBef>
            <a:spcAft>
              <a:spcPct val="20000"/>
            </a:spcAft>
            <a:buFont typeface="Arial" panose="020B0604020202020204" pitchFamily="34" charset="0"/>
            <a:buChar char="•"/>
          </a:pPr>
          <a:r>
            <a:rPr lang="en-US" sz="1700" b="0" i="0" kern="1200" dirty="0">
              <a:solidFill>
                <a:schemeClr val="tx1"/>
              </a:solidFill>
            </a:rPr>
            <a:t>IVD manufacturers need to comply with the regulations in the countries where they sell their products. This can be a complex and time-consuming process. IVD manufacturers need to have a strong understanding of the regulations in each country and make sure that they are compliant.</a:t>
          </a:r>
        </a:p>
      </dsp:txBody>
      <dsp:txXfrm>
        <a:off x="0" y="4712322"/>
        <a:ext cx="10857594" cy="774180"/>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0DCCBB2-9BFB-0FF9-37D4-85313C70EB9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8F72E5F6-E5DE-D3DE-F70C-9B31258C15E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12DF918-E479-454E-8685-D417A61C6EE1}" type="datetimeFigureOut">
              <a:rPr lang="en-GB" smtClean="0"/>
              <a:t>12/06/2023</a:t>
            </a:fld>
            <a:endParaRPr lang="en-GB"/>
          </a:p>
        </p:txBody>
      </p:sp>
      <p:sp>
        <p:nvSpPr>
          <p:cNvPr id="4" name="Footer Placeholder 3">
            <a:extLst>
              <a:ext uri="{FF2B5EF4-FFF2-40B4-BE49-F238E27FC236}">
                <a16:creationId xmlns:a16="http://schemas.microsoft.com/office/drawing/2014/main" id="{F973DDEB-44CB-C8CA-07DD-B5A4E67A71D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CCE5690-A65A-09E9-81A6-3F3C628D85B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88ED495-EBAE-4B9E-9301-E229ACD39677}" type="slidenum">
              <a:rPr lang="en-GB" smtClean="0"/>
              <a:t>‹#›</a:t>
            </a:fld>
            <a:endParaRPr lang="en-GB"/>
          </a:p>
        </p:txBody>
      </p:sp>
    </p:spTree>
    <p:extLst>
      <p:ext uri="{BB962C8B-B14F-4D97-AF65-F5344CB8AC3E}">
        <p14:creationId xmlns:p14="http://schemas.microsoft.com/office/powerpoint/2010/main" val="23385844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CB2442-8D48-416A-8E31-1D6850296C54}" type="datetimeFigureOut">
              <a:rPr lang="en-GB" smtClean="0"/>
              <a:t>12/06/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62A9C7-AF8E-4C09-BB00-1E1EA1EE3490}" type="slidenum">
              <a:rPr lang="en-GB" smtClean="0"/>
              <a:t>‹#›</a:t>
            </a:fld>
            <a:endParaRPr lang="en-GB"/>
          </a:p>
        </p:txBody>
      </p:sp>
    </p:spTree>
    <p:extLst>
      <p:ext uri="{BB962C8B-B14F-4D97-AF65-F5344CB8AC3E}">
        <p14:creationId xmlns:p14="http://schemas.microsoft.com/office/powerpoint/2010/main" val="248473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62A9C7-AF8E-4C09-BB00-1E1EA1EE3490}" type="slidenum">
              <a:rPr lang="en-GB" smtClean="0"/>
              <a:t>2</a:t>
            </a:fld>
            <a:endParaRPr lang="en-GB" dirty="0"/>
          </a:p>
        </p:txBody>
      </p:sp>
    </p:spTree>
    <p:extLst>
      <p:ext uri="{BB962C8B-B14F-4D97-AF65-F5344CB8AC3E}">
        <p14:creationId xmlns:p14="http://schemas.microsoft.com/office/powerpoint/2010/main" val="2948764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62A9C7-AF8E-4C09-BB00-1E1EA1EE3490}" type="slidenum">
              <a:rPr lang="en-GB" smtClean="0"/>
              <a:t>17</a:t>
            </a:fld>
            <a:endParaRPr lang="en-GB"/>
          </a:p>
        </p:txBody>
      </p:sp>
    </p:spTree>
    <p:extLst>
      <p:ext uri="{BB962C8B-B14F-4D97-AF65-F5344CB8AC3E}">
        <p14:creationId xmlns:p14="http://schemas.microsoft.com/office/powerpoint/2010/main" val="3369348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62A9C7-AF8E-4C09-BB00-1E1EA1EE3490}" type="slidenum">
              <a:rPr lang="en-GB" smtClean="0"/>
              <a:t>5</a:t>
            </a:fld>
            <a:endParaRPr lang="en-GB" dirty="0"/>
          </a:p>
        </p:txBody>
      </p:sp>
    </p:spTree>
    <p:extLst>
      <p:ext uri="{BB962C8B-B14F-4D97-AF65-F5344CB8AC3E}">
        <p14:creationId xmlns:p14="http://schemas.microsoft.com/office/powerpoint/2010/main" val="918596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62A9C7-AF8E-4C09-BB00-1E1EA1EE3490}" type="slidenum">
              <a:rPr lang="en-GB" smtClean="0"/>
              <a:t>7</a:t>
            </a:fld>
            <a:endParaRPr lang="en-GB" dirty="0"/>
          </a:p>
        </p:txBody>
      </p:sp>
    </p:spTree>
    <p:extLst>
      <p:ext uri="{BB962C8B-B14F-4D97-AF65-F5344CB8AC3E}">
        <p14:creationId xmlns:p14="http://schemas.microsoft.com/office/powerpoint/2010/main" val="40165979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62A9C7-AF8E-4C09-BB00-1E1EA1EE3490}" type="slidenum">
              <a:rPr lang="en-GB" smtClean="0"/>
              <a:t>8</a:t>
            </a:fld>
            <a:endParaRPr lang="en-GB" dirty="0"/>
          </a:p>
        </p:txBody>
      </p:sp>
    </p:spTree>
    <p:extLst>
      <p:ext uri="{BB962C8B-B14F-4D97-AF65-F5344CB8AC3E}">
        <p14:creationId xmlns:p14="http://schemas.microsoft.com/office/powerpoint/2010/main" val="3042886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4862A9C7-AF8E-4C09-BB00-1E1EA1EE3490}" type="slidenum">
              <a:rPr lang="en-GB" smtClean="0"/>
              <a:t>10</a:t>
            </a:fld>
            <a:endParaRPr lang="en-GB" dirty="0"/>
          </a:p>
        </p:txBody>
      </p:sp>
    </p:spTree>
    <p:extLst>
      <p:ext uri="{BB962C8B-B14F-4D97-AF65-F5344CB8AC3E}">
        <p14:creationId xmlns:p14="http://schemas.microsoft.com/office/powerpoint/2010/main" val="6628854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862A9C7-AF8E-4C09-BB00-1E1EA1EE3490}" type="slidenum">
              <a:rPr lang="en-GB" smtClean="0"/>
              <a:t>11</a:t>
            </a:fld>
            <a:endParaRPr lang="en-GB" dirty="0"/>
          </a:p>
        </p:txBody>
      </p:sp>
    </p:spTree>
    <p:extLst>
      <p:ext uri="{BB962C8B-B14F-4D97-AF65-F5344CB8AC3E}">
        <p14:creationId xmlns:p14="http://schemas.microsoft.com/office/powerpoint/2010/main" val="12568859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62A9C7-AF8E-4C09-BB00-1E1EA1EE3490}" type="slidenum">
              <a:rPr lang="en-GB" smtClean="0"/>
              <a:t>13</a:t>
            </a:fld>
            <a:endParaRPr lang="en-GB" dirty="0"/>
          </a:p>
        </p:txBody>
      </p:sp>
    </p:spTree>
    <p:extLst>
      <p:ext uri="{BB962C8B-B14F-4D97-AF65-F5344CB8AC3E}">
        <p14:creationId xmlns:p14="http://schemas.microsoft.com/office/powerpoint/2010/main" val="8789370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62A9C7-AF8E-4C09-BB00-1E1EA1EE3490}" type="slidenum">
              <a:rPr lang="en-GB" smtClean="0"/>
              <a:t>14</a:t>
            </a:fld>
            <a:endParaRPr lang="en-GB"/>
          </a:p>
        </p:txBody>
      </p:sp>
    </p:spTree>
    <p:extLst>
      <p:ext uri="{BB962C8B-B14F-4D97-AF65-F5344CB8AC3E}">
        <p14:creationId xmlns:p14="http://schemas.microsoft.com/office/powerpoint/2010/main" val="1425468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62A9C7-AF8E-4C09-BB00-1E1EA1EE3490}" type="slidenum">
              <a:rPr lang="en-GB" smtClean="0"/>
              <a:t>16</a:t>
            </a:fld>
            <a:endParaRPr lang="en-GB"/>
          </a:p>
        </p:txBody>
      </p:sp>
    </p:spTree>
    <p:extLst>
      <p:ext uri="{BB962C8B-B14F-4D97-AF65-F5344CB8AC3E}">
        <p14:creationId xmlns:p14="http://schemas.microsoft.com/office/powerpoint/2010/main" val="40909041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4.xml"/><Relationship Id="rId5" Type="http://schemas.openxmlformats.org/officeDocument/2006/relationships/hyperlink" Target="http://clarivate.com/" TargetMode="External"/><Relationship Id="rId4" Type="http://schemas.openxmlformats.org/officeDocument/2006/relationships/image" Target="../media/image5.sv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4.xml"/><Relationship Id="rId5" Type="http://schemas.openxmlformats.org/officeDocument/2006/relationships/hyperlink" Target="http://clarivate.com/" TargetMode="External"/><Relationship Id="rId4" Type="http://schemas.openxmlformats.org/officeDocument/2006/relationships/image" Target="../media/image5.sv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4.xml"/><Relationship Id="rId5" Type="http://schemas.openxmlformats.org/officeDocument/2006/relationships/hyperlink" Target="http://clarivate.com/" TargetMode="External"/><Relationship Id="rId4" Type="http://schemas.openxmlformats.org/officeDocument/2006/relationships/image" Target="../media/image5.sv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1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eg"/><Relationship Id="rId1" Type="http://schemas.openxmlformats.org/officeDocument/2006/relationships/slideMaster" Target="../slideMasters/slideMaster1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jpeg"/><Relationship Id="rId1" Type="http://schemas.openxmlformats.org/officeDocument/2006/relationships/slideMaster" Target="../slideMasters/slideMaster1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jpeg"/><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jpeg"/><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5.xml"/><Relationship Id="rId4" Type="http://schemas.openxmlformats.org/officeDocument/2006/relationships/image" Target="../media/image23.pn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Master" Target="../slideMasters/slideMaster15.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Layouts/_rels/slideLayout209.xml.rels><?xml version="1.0" encoding="UTF-8" standalone="yes"?>
<Relationships xmlns="http://schemas.openxmlformats.org/package/2006/relationships"><Relationship Id="rId117" Type="http://schemas.openxmlformats.org/officeDocument/2006/relationships/tags" Target="../tags/tag498.xml"/><Relationship Id="rId299" Type="http://schemas.openxmlformats.org/officeDocument/2006/relationships/tags" Target="../tags/tag680.xml"/><Relationship Id="rId21" Type="http://schemas.openxmlformats.org/officeDocument/2006/relationships/tags" Target="../tags/tag402.xml"/><Relationship Id="rId63" Type="http://schemas.openxmlformats.org/officeDocument/2006/relationships/tags" Target="../tags/tag444.xml"/><Relationship Id="rId159" Type="http://schemas.openxmlformats.org/officeDocument/2006/relationships/tags" Target="../tags/tag540.xml"/><Relationship Id="rId324" Type="http://schemas.openxmlformats.org/officeDocument/2006/relationships/tags" Target="../tags/tag705.xml"/><Relationship Id="rId366" Type="http://schemas.openxmlformats.org/officeDocument/2006/relationships/tags" Target="../tags/tag747.xml"/><Relationship Id="rId170" Type="http://schemas.openxmlformats.org/officeDocument/2006/relationships/tags" Target="../tags/tag551.xml"/><Relationship Id="rId226" Type="http://schemas.openxmlformats.org/officeDocument/2006/relationships/tags" Target="../tags/tag607.xml"/><Relationship Id="rId268" Type="http://schemas.openxmlformats.org/officeDocument/2006/relationships/tags" Target="../tags/tag649.xml"/><Relationship Id="rId32" Type="http://schemas.openxmlformats.org/officeDocument/2006/relationships/tags" Target="../tags/tag413.xml"/><Relationship Id="rId74" Type="http://schemas.openxmlformats.org/officeDocument/2006/relationships/tags" Target="../tags/tag455.xml"/><Relationship Id="rId128" Type="http://schemas.openxmlformats.org/officeDocument/2006/relationships/tags" Target="../tags/tag509.xml"/><Relationship Id="rId335" Type="http://schemas.openxmlformats.org/officeDocument/2006/relationships/tags" Target="../tags/tag716.xml"/><Relationship Id="rId377" Type="http://schemas.openxmlformats.org/officeDocument/2006/relationships/tags" Target="../tags/tag758.xml"/><Relationship Id="rId5" Type="http://schemas.openxmlformats.org/officeDocument/2006/relationships/tags" Target="../tags/tag386.xml"/><Relationship Id="rId181" Type="http://schemas.openxmlformats.org/officeDocument/2006/relationships/tags" Target="../tags/tag562.xml"/><Relationship Id="rId237" Type="http://schemas.openxmlformats.org/officeDocument/2006/relationships/tags" Target="../tags/tag618.xml"/><Relationship Id="rId279" Type="http://schemas.openxmlformats.org/officeDocument/2006/relationships/tags" Target="../tags/tag660.xml"/><Relationship Id="rId43" Type="http://schemas.openxmlformats.org/officeDocument/2006/relationships/tags" Target="../tags/tag424.xml"/><Relationship Id="rId139" Type="http://schemas.openxmlformats.org/officeDocument/2006/relationships/tags" Target="../tags/tag520.xml"/><Relationship Id="rId290" Type="http://schemas.openxmlformats.org/officeDocument/2006/relationships/tags" Target="../tags/tag671.xml"/><Relationship Id="rId304" Type="http://schemas.openxmlformats.org/officeDocument/2006/relationships/tags" Target="../tags/tag685.xml"/><Relationship Id="rId346" Type="http://schemas.openxmlformats.org/officeDocument/2006/relationships/tags" Target="../tags/tag727.xml"/><Relationship Id="rId85" Type="http://schemas.openxmlformats.org/officeDocument/2006/relationships/tags" Target="../tags/tag466.xml"/><Relationship Id="rId150" Type="http://schemas.openxmlformats.org/officeDocument/2006/relationships/tags" Target="../tags/tag531.xml"/><Relationship Id="rId192" Type="http://schemas.openxmlformats.org/officeDocument/2006/relationships/tags" Target="../tags/tag573.xml"/><Relationship Id="rId206" Type="http://schemas.openxmlformats.org/officeDocument/2006/relationships/tags" Target="../tags/tag587.xml"/><Relationship Id="rId248" Type="http://schemas.openxmlformats.org/officeDocument/2006/relationships/tags" Target="../tags/tag629.xml"/><Relationship Id="rId12" Type="http://schemas.openxmlformats.org/officeDocument/2006/relationships/tags" Target="../tags/tag393.xml"/><Relationship Id="rId108" Type="http://schemas.openxmlformats.org/officeDocument/2006/relationships/tags" Target="../tags/tag489.xml"/><Relationship Id="rId315" Type="http://schemas.openxmlformats.org/officeDocument/2006/relationships/tags" Target="../tags/tag696.xml"/><Relationship Id="rId357" Type="http://schemas.openxmlformats.org/officeDocument/2006/relationships/tags" Target="../tags/tag738.xml"/><Relationship Id="rId54" Type="http://schemas.openxmlformats.org/officeDocument/2006/relationships/tags" Target="../tags/tag435.xml"/><Relationship Id="rId96" Type="http://schemas.openxmlformats.org/officeDocument/2006/relationships/tags" Target="../tags/tag477.xml"/><Relationship Id="rId161" Type="http://schemas.openxmlformats.org/officeDocument/2006/relationships/tags" Target="../tags/tag542.xml"/><Relationship Id="rId217" Type="http://schemas.openxmlformats.org/officeDocument/2006/relationships/tags" Target="../tags/tag598.xml"/><Relationship Id="rId259" Type="http://schemas.openxmlformats.org/officeDocument/2006/relationships/tags" Target="../tags/tag640.xml"/><Relationship Id="rId23" Type="http://schemas.openxmlformats.org/officeDocument/2006/relationships/tags" Target="../tags/tag404.xml"/><Relationship Id="rId119" Type="http://schemas.openxmlformats.org/officeDocument/2006/relationships/tags" Target="../tags/tag500.xml"/><Relationship Id="rId270" Type="http://schemas.openxmlformats.org/officeDocument/2006/relationships/tags" Target="../tags/tag651.xml"/><Relationship Id="rId326" Type="http://schemas.openxmlformats.org/officeDocument/2006/relationships/tags" Target="../tags/tag707.xml"/><Relationship Id="rId65" Type="http://schemas.openxmlformats.org/officeDocument/2006/relationships/tags" Target="../tags/tag446.xml"/><Relationship Id="rId130" Type="http://schemas.openxmlformats.org/officeDocument/2006/relationships/tags" Target="../tags/tag511.xml"/><Relationship Id="rId368" Type="http://schemas.openxmlformats.org/officeDocument/2006/relationships/tags" Target="../tags/tag749.xml"/><Relationship Id="rId172" Type="http://schemas.openxmlformats.org/officeDocument/2006/relationships/tags" Target="../tags/tag553.xml"/><Relationship Id="rId228" Type="http://schemas.openxmlformats.org/officeDocument/2006/relationships/tags" Target="../tags/tag609.xml"/><Relationship Id="rId281" Type="http://schemas.openxmlformats.org/officeDocument/2006/relationships/tags" Target="../tags/tag662.xml"/><Relationship Id="rId337" Type="http://schemas.openxmlformats.org/officeDocument/2006/relationships/tags" Target="../tags/tag718.xml"/><Relationship Id="rId34" Type="http://schemas.openxmlformats.org/officeDocument/2006/relationships/tags" Target="../tags/tag415.xml"/><Relationship Id="rId76" Type="http://schemas.openxmlformats.org/officeDocument/2006/relationships/tags" Target="../tags/tag457.xml"/><Relationship Id="rId141" Type="http://schemas.openxmlformats.org/officeDocument/2006/relationships/tags" Target="../tags/tag522.xml"/><Relationship Id="rId379" Type="http://schemas.openxmlformats.org/officeDocument/2006/relationships/slideMaster" Target="../slideMasters/slideMaster15.xml"/><Relationship Id="rId7" Type="http://schemas.openxmlformats.org/officeDocument/2006/relationships/tags" Target="../tags/tag388.xml"/><Relationship Id="rId183" Type="http://schemas.openxmlformats.org/officeDocument/2006/relationships/tags" Target="../tags/tag564.xml"/><Relationship Id="rId239" Type="http://schemas.openxmlformats.org/officeDocument/2006/relationships/tags" Target="../tags/tag620.xml"/><Relationship Id="rId250" Type="http://schemas.openxmlformats.org/officeDocument/2006/relationships/tags" Target="../tags/tag631.xml"/><Relationship Id="rId292" Type="http://schemas.openxmlformats.org/officeDocument/2006/relationships/tags" Target="../tags/tag673.xml"/><Relationship Id="rId306" Type="http://schemas.openxmlformats.org/officeDocument/2006/relationships/tags" Target="../tags/tag687.xml"/><Relationship Id="rId45" Type="http://schemas.openxmlformats.org/officeDocument/2006/relationships/tags" Target="../tags/tag426.xml"/><Relationship Id="rId87" Type="http://schemas.openxmlformats.org/officeDocument/2006/relationships/tags" Target="../tags/tag468.xml"/><Relationship Id="rId110" Type="http://schemas.openxmlformats.org/officeDocument/2006/relationships/tags" Target="../tags/tag491.xml"/><Relationship Id="rId348" Type="http://schemas.openxmlformats.org/officeDocument/2006/relationships/tags" Target="../tags/tag729.xml"/><Relationship Id="rId152" Type="http://schemas.openxmlformats.org/officeDocument/2006/relationships/tags" Target="../tags/tag533.xml"/><Relationship Id="rId194" Type="http://schemas.openxmlformats.org/officeDocument/2006/relationships/tags" Target="../tags/tag575.xml"/><Relationship Id="rId208" Type="http://schemas.openxmlformats.org/officeDocument/2006/relationships/tags" Target="../tags/tag589.xml"/><Relationship Id="rId261" Type="http://schemas.openxmlformats.org/officeDocument/2006/relationships/tags" Target="../tags/tag642.xml"/><Relationship Id="rId14" Type="http://schemas.openxmlformats.org/officeDocument/2006/relationships/tags" Target="../tags/tag395.xml"/><Relationship Id="rId56" Type="http://schemas.openxmlformats.org/officeDocument/2006/relationships/tags" Target="../tags/tag437.xml"/><Relationship Id="rId317" Type="http://schemas.openxmlformats.org/officeDocument/2006/relationships/tags" Target="../tags/tag698.xml"/><Relationship Id="rId359" Type="http://schemas.openxmlformats.org/officeDocument/2006/relationships/tags" Target="../tags/tag740.xml"/><Relationship Id="rId98" Type="http://schemas.openxmlformats.org/officeDocument/2006/relationships/tags" Target="../tags/tag479.xml"/><Relationship Id="rId121" Type="http://schemas.openxmlformats.org/officeDocument/2006/relationships/tags" Target="../tags/tag502.xml"/><Relationship Id="rId163" Type="http://schemas.openxmlformats.org/officeDocument/2006/relationships/tags" Target="../tags/tag544.xml"/><Relationship Id="rId219" Type="http://schemas.openxmlformats.org/officeDocument/2006/relationships/tags" Target="../tags/tag600.xml"/><Relationship Id="rId370" Type="http://schemas.openxmlformats.org/officeDocument/2006/relationships/tags" Target="../tags/tag751.xml"/><Relationship Id="rId230" Type="http://schemas.openxmlformats.org/officeDocument/2006/relationships/tags" Target="../tags/tag611.xml"/><Relationship Id="rId25" Type="http://schemas.openxmlformats.org/officeDocument/2006/relationships/tags" Target="../tags/tag406.xml"/><Relationship Id="rId67" Type="http://schemas.openxmlformats.org/officeDocument/2006/relationships/tags" Target="../tags/tag448.xml"/><Relationship Id="rId272" Type="http://schemas.openxmlformats.org/officeDocument/2006/relationships/tags" Target="../tags/tag653.xml"/><Relationship Id="rId328" Type="http://schemas.openxmlformats.org/officeDocument/2006/relationships/tags" Target="../tags/tag709.xml"/><Relationship Id="rId132" Type="http://schemas.openxmlformats.org/officeDocument/2006/relationships/tags" Target="../tags/tag513.xml"/><Relationship Id="rId174" Type="http://schemas.openxmlformats.org/officeDocument/2006/relationships/tags" Target="../tags/tag555.xml"/><Relationship Id="rId241" Type="http://schemas.openxmlformats.org/officeDocument/2006/relationships/tags" Target="../tags/tag622.xml"/><Relationship Id="rId36" Type="http://schemas.openxmlformats.org/officeDocument/2006/relationships/tags" Target="../tags/tag417.xml"/><Relationship Id="rId283" Type="http://schemas.openxmlformats.org/officeDocument/2006/relationships/tags" Target="../tags/tag664.xml"/><Relationship Id="rId339" Type="http://schemas.openxmlformats.org/officeDocument/2006/relationships/tags" Target="../tags/tag720.xml"/><Relationship Id="rId78" Type="http://schemas.openxmlformats.org/officeDocument/2006/relationships/tags" Target="../tags/tag459.xml"/><Relationship Id="rId101" Type="http://schemas.openxmlformats.org/officeDocument/2006/relationships/tags" Target="../tags/tag482.xml"/><Relationship Id="rId143" Type="http://schemas.openxmlformats.org/officeDocument/2006/relationships/tags" Target="../tags/tag524.xml"/><Relationship Id="rId185" Type="http://schemas.openxmlformats.org/officeDocument/2006/relationships/tags" Target="../tags/tag566.xml"/><Relationship Id="rId350" Type="http://schemas.openxmlformats.org/officeDocument/2006/relationships/tags" Target="../tags/tag731.xml"/><Relationship Id="rId9" Type="http://schemas.openxmlformats.org/officeDocument/2006/relationships/tags" Target="../tags/tag390.xml"/><Relationship Id="rId210" Type="http://schemas.openxmlformats.org/officeDocument/2006/relationships/tags" Target="../tags/tag591.xml"/><Relationship Id="rId26" Type="http://schemas.openxmlformats.org/officeDocument/2006/relationships/tags" Target="../tags/tag407.xml"/><Relationship Id="rId231" Type="http://schemas.openxmlformats.org/officeDocument/2006/relationships/tags" Target="../tags/tag612.xml"/><Relationship Id="rId252" Type="http://schemas.openxmlformats.org/officeDocument/2006/relationships/tags" Target="../tags/tag633.xml"/><Relationship Id="rId273" Type="http://schemas.openxmlformats.org/officeDocument/2006/relationships/tags" Target="../tags/tag654.xml"/><Relationship Id="rId294" Type="http://schemas.openxmlformats.org/officeDocument/2006/relationships/tags" Target="../tags/tag675.xml"/><Relationship Id="rId308" Type="http://schemas.openxmlformats.org/officeDocument/2006/relationships/tags" Target="../tags/tag689.xml"/><Relationship Id="rId329" Type="http://schemas.openxmlformats.org/officeDocument/2006/relationships/tags" Target="../tags/tag710.xml"/><Relationship Id="rId47" Type="http://schemas.openxmlformats.org/officeDocument/2006/relationships/tags" Target="../tags/tag428.xml"/><Relationship Id="rId68" Type="http://schemas.openxmlformats.org/officeDocument/2006/relationships/tags" Target="../tags/tag449.xml"/><Relationship Id="rId89" Type="http://schemas.openxmlformats.org/officeDocument/2006/relationships/tags" Target="../tags/tag470.xml"/><Relationship Id="rId112" Type="http://schemas.openxmlformats.org/officeDocument/2006/relationships/tags" Target="../tags/tag493.xml"/><Relationship Id="rId133" Type="http://schemas.openxmlformats.org/officeDocument/2006/relationships/tags" Target="../tags/tag514.xml"/><Relationship Id="rId154" Type="http://schemas.openxmlformats.org/officeDocument/2006/relationships/tags" Target="../tags/tag535.xml"/><Relationship Id="rId175" Type="http://schemas.openxmlformats.org/officeDocument/2006/relationships/tags" Target="../tags/tag556.xml"/><Relationship Id="rId340" Type="http://schemas.openxmlformats.org/officeDocument/2006/relationships/tags" Target="../tags/tag721.xml"/><Relationship Id="rId361" Type="http://schemas.openxmlformats.org/officeDocument/2006/relationships/tags" Target="../tags/tag742.xml"/><Relationship Id="rId196" Type="http://schemas.openxmlformats.org/officeDocument/2006/relationships/tags" Target="../tags/tag577.xml"/><Relationship Id="rId200" Type="http://schemas.openxmlformats.org/officeDocument/2006/relationships/tags" Target="../tags/tag581.xml"/><Relationship Id="rId16" Type="http://schemas.openxmlformats.org/officeDocument/2006/relationships/tags" Target="../tags/tag397.xml"/><Relationship Id="rId221" Type="http://schemas.openxmlformats.org/officeDocument/2006/relationships/tags" Target="../tags/tag602.xml"/><Relationship Id="rId242" Type="http://schemas.openxmlformats.org/officeDocument/2006/relationships/tags" Target="../tags/tag623.xml"/><Relationship Id="rId263" Type="http://schemas.openxmlformats.org/officeDocument/2006/relationships/tags" Target="../tags/tag644.xml"/><Relationship Id="rId284" Type="http://schemas.openxmlformats.org/officeDocument/2006/relationships/tags" Target="../tags/tag665.xml"/><Relationship Id="rId319" Type="http://schemas.openxmlformats.org/officeDocument/2006/relationships/tags" Target="../tags/tag700.xml"/><Relationship Id="rId37" Type="http://schemas.openxmlformats.org/officeDocument/2006/relationships/tags" Target="../tags/tag418.xml"/><Relationship Id="rId58" Type="http://schemas.openxmlformats.org/officeDocument/2006/relationships/tags" Target="../tags/tag439.xml"/><Relationship Id="rId79" Type="http://schemas.openxmlformats.org/officeDocument/2006/relationships/tags" Target="../tags/tag460.xml"/><Relationship Id="rId102" Type="http://schemas.openxmlformats.org/officeDocument/2006/relationships/tags" Target="../tags/tag483.xml"/><Relationship Id="rId123" Type="http://schemas.openxmlformats.org/officeDocument/2006/relationships/tags" Target="../tags/tag504.xml"/><Relationship Id="rId144" Type="http://schemas.openxmlformats.org/officeDocument/2006/relationships/tags" Target="../tags/tag525.xml"/><Relationship Id="rId330" Type="http://schemas.openxmlformats.org/officeDocument/2006/relationships/tags" Target="../tags/tag711.xml"/><Relationship Id="rId90" Type="http://schemas.openxmlformats.org/officeDocument/2006/relationships/tags" Target="../tags/tag471.xml"/><Relationship Id="rId165" Type="http://schemas.openxmlformats.org/officeDocument/2006/relationships/tags" Target="../tags/tag546.xml"/><Relationship Id="rId186" Type="http://schemas.openxmlformats.org/officeDocument/2006/relationships/tags" Target="../tags/tag567.xml"/><Relationship Id="rId351" Type="http://schemas.openxmlformats.org/officeDocument/2006/relationships/tags" Target="../tags/tag732.xml"/><Relationship Id="rId372" Type="http://schemas.openxmlformats.org/officeDocument/2006/relationships/tags" Target="../tags/tag753.xml"/><Relationship Id="rId211" Type="http://schemas.openxmlformats.org/officeDocument/2006/relationships/tags" Target="../tags/tag592.xml"/><Relationship Id="rId232" Type="http://schemas.openxmlformats.org/officeDocument/2006/relationships/tags" Target="../tags/tag613.xml"/><Relationship Id="rId253" Type="http://schemas.openxmlformats.org/officeDocument/2006/relationships/tags" Target="../tags/tag634.xml"/><Relationship Id="rId274" Type="http://schemas.openxmlformats.org/officeDocument/2006/relationships/tags" Target="../tags/tag655.xml"/><Relationship Id="rId295" Type="http://schemas.openxmlformats.org/officeDocument/2006/relationships/tags" Target="../tags/tag676.xml"/><Relationship Id="rId309" Type="http://schemas.openxmlformats.org/officeDocument/2006/relationships/tags" Target="../tags/tag690.xml"/><Relationship Id="rId27" Type="http://schemas.openxmlformats.org/officeDocument/2006/relationships/tags" Target="../tags/tag408.xml"/><Relationship Id="rId48" Type="http://schemas.openxmlformats.org/officeDocument/2006/relationships/tags" Target="../tags/tag429.xml"/><Relationship Id="rId69" Type="http://schemas.openxmlformats.org/officeDocument/2006/relationships/tags" Target="../tags/tag450.xml"/><Relationship Id="rId113" Type="http://schemas.openxmlformats.org/officeDocument/2006/relationships/tags" Target="../tags/tag494.xml"/><Relationship Id="rId134" Type="http://schemas.openxmlformats.org/officeDocument/2006/relationships/tags" Target="../tags/tag515.xml"/><Relationship Id="rId320" Type="http://schemas.openxmlformats.org/officeDocument/2006/relationships/tags" Target="../tags/tag701.xml"/><Relationship Id="rId80" Type="http://schemas.openxmlformats.org/officeDocument/2006/relationships/tags" Target="../tags/tag461.xml"/><Relationship Id="rId155" Type="http://schemas.openxmlformats.org/officeDocument/2006/relationships/tags" Target="../tags/tag536.xml"/><Relationship Id="rId176" Type="http://schemas.openxmlformats.org/officeDocument/2006/relationships/tags" Target="../tags/tag557.xml"/><Relationship Id="rId197" Type="http://schemas.openxmlformats.org/officeDocument/2006/relationships/tags" Target="../tags/tag578.xml"/><Relationship Id="rId341" Type="http://schemas.openxmlformats.org/officeDocument/2006/relationships/tags" Target="../tags/tag722.xml"/><Relationship Id="rId362" Type="http://schemas.openxmlformats.org/officeDocument/2006/relationships/tags" Target="../tags/tag743.xml"/><Relationship Id="rId201" Type="http://schemas.openxmlformats.org/officeDocument/2006/relationships/tags" Target="../tags/tag582.xml"/><Relationship Id="rId222" Type="http://schemas.openxmlformats.org/officeDocument/2006/relationships/tags" Target="../tags/tag603.xml"/><Relationship Id="rId243" Type="http://schemas.openxmlformats.org/officeDocument/2006/relationships/tags" Target="../tags/tag624.xml"/><Relationship Id="rId264" Type="http://schemas.openxmlformats.org/officeDocument/2006/relationships/tags" Target="../tags/tag645.xml"/><Relationship Id="rId285" Type="http://schemas.openxmlformats.org/officeDocument/2006/relationships/tags" Target="../tags/tag666.xml"/><Relationship Id="rId17" Type="http://schemas.openxmlformats.org/officeDocument/2006/relationships/tags" Target="../tags/tag398.xml"/><Relationship Id="rId38" Type="http://schemas.openxmlformats.org/officeDocument/2006/relationships/tags" Target="../tags/tag419.xml"/><Relationship Id="rId59" Type="http://schemas.openxmlformats.org/officeDocument/2006/relationships/tags" Target="../tags/tag440.xml"/><Relationship Id="rId103" Type="http://schemas.openxmlformats.org/officeDocument/2006/relationships/tags" Target="../tags/tag484.xml"/><Relationship Id="rId124" Type="http://schemas.openxmlformats.org/officeDocument/2006/relationships/tags" Target="../tags/tag505.xml"/><Relationship Id="rId310" Type="http://schemas.openxmlformats.org/officeDocument/2006/relationships/tags" Target="../tags/tag691.xml"/><Relationship Id="rId70" Type="http://schemas.openxmlformats.org/officeDocument/2006/relationships/tags" Target="../tags/tag451.xml"/><Relationship Id="rId91" Type="http://schemas.openxmlformats.org/officeDocument/2006/relationships/tags" Target="../tags/tag472.xml"/><Relationship Id="rId145" Type="http://schemas.openxmlformats.org/officeDocument/2006/relationships/tags" Target="../tags/tag526.xml"/><Relationship Id="rId166" Type="http://schemas.openxmlformats.org/officeDocument/2006/relationships/tags" Target="../tags/tag547.xml"/><Relationship Id="rId187" Type="http://schemas.openxmlformats.org/officeDocument/2006/relationships/tags" Target="../tags/tag568.xml"/><Relationship Id="rId331" Type="http://schemas.openxmlformats.org/officeDocument/2006/relationships/tags" Target="../tags/tag712.xml"/><Relationship Id="rId352" Type="http://schemas.openxmlformats.org/officeDocument/2006/relationships/tags" Target="../tags/tag733.xml"/><Relationship Id="rId373" Type="http://schemas.openxmlformats.org/officeDocument/2006/relationships/tags" Target="../tags/tag754.xml"/><Relationship Id="rId1" Type="http://schemas.openxmlformats.org/officeDocument/2006/relationships/tags" Target="../tags/tag382.xml"/><Relationship Id="rId212" Type="http://schemas.openxmlformats.org/officeDocument/2006/relationships/tags" Target="../tags/tag593.xml"/><Relationship Id="rId233" Type="http://schemas.openxmlformats.org/officeDocument/2006/relationships/tags" Target="../tags/tag614.xml"/><Relationship Id="rId254" Type="http://schemas.openxmlformats.org/officeDocument/2006/relationships/tags" Target="../tags/tag635.xml"/><Relationship Id="rId28" Type="http://schemas.openxmlformats.org/officeDocument/2006/relationships/tags" Target="../tags/tag409.xml"/><Relationship Id="rId49" Type="http://schemas.openxmlformats.org/officeDocument/2006/relationships/tags" Target="../tags/tag430.xml"/><Relationship Id="rId114" Type="http://schemas.openxmlformats.org/officeDocument/2006/relationships/tags" Target="../tags/tag495.xml"/><Relationship Id="rId275" Type="http://schemas.openxmlformats.org/officeDocument/2006/relationships/tags" Target="../tags/tag656.xml"/><Relationship Id="rId296" Type="http://schemas.openxmlformats.org/officeDocument/2006/relationships/tags" Target="../tags/tag677.xml"/><Relationship Id="rId300" Type="http://schemas.openxmlformats.org/officeDocument/2006/relationships/tags" Target="../tags/tag681.xml"/><Relationship Id="rId60" Type="http://schemas.openxmlformats.org/officeDocument/2006/relationships/tags" Target="../tags/tag441.xml"/><Relationship Id="rId81" Type="http://schemas.openxmlformats.org/officeDocument/2006/relationships/tags" Target="../tags/tag462.xml"/><Relationship Id="rId135" Type="http://schemas.openxmlformats.org/officeDocument/2006/relationships/tags" Target="../tags/tag516.xml"/><Relationship Id="rId156" Type="http://schemas.openxmlformats.org/officeDocument/2006/relationships/tags" Target="../tags/tag537.xml"/><Relationship Id="rId177" Type="http://schemas.openxmlformats.org/officeDocument/2006/relationships/tags" Target="../tags/tag558.xml"/><Relationship Id="rId198" Type="http://schemas.openxmlformats.org/officeDocument/2006/relationships/tags" Target="../tags/tag579.xml"/><Relationship Id="rId321" Type="http://schemas.openxmlformats.org/officeDocument/2006/relationships/tags" Target="../tags/tag702.xml"/><Relationship Id="rId342" Type="http://schemas.openxmlformats.org/officeDocument/2006/relationships/tags" Target="../tags/tag723.xml"/><Relationship Id="rId363" Type="http://schemas.openxmlformats.org/officeDocument/2006/relationships/tags" Target="../tags/tag744.xml"/><Relationship Id="rId202" Type="http://schemas.openxmlformats.org/officeDocument/2006/relationships/tags" Target="../tags/tag583.xml"/><Relationship Id="rId223" Type="http://schemas.openxmlformats.org/officeDocument/2006/relationships/tags" Target="../tags/tag604.xml"/><Relationship Id="rId244" Type="http://schemas.openxmlformats.org/officeDocument/2006/relationships/tags" Target="../tags/tag625.xml"/><Relationship Id="rId18" Type="http://schemas.openxmlformats.org/officeDocument/2006/relationships/tags" Target="../tags/tag399.xml"/><Relationship Id="rId39" Type="http://schemas.openxmlformats.org/officeDocument/2006/relationships/tags" Target="../tags/tag420.xml"/><Relationship Id="rId265" Type="http://schemas.openxmlformats.org/officeDocument/2006/relationships/tags" Target="../tags/tag646.xml"/><Relationship Id="rId286" Type="http://schemas.openxmlformats.org/officeDocument/2006/relationships/tags" Target="../tags/tag667.xml"/><Relationship Id="rId50" Type="http://schemas.openxmlformats.org/officeDocument/2006/relationships/tags" Target="../tags/tag431.xml"/><Relationship Id="rId104" Type="http://schemas.openxmlformats.org/officeDocument/2006/relationships/tags" Target="../tags/tag485.xml"/><Relationship Id="rId125" Type="http://schemas.openxmlformats.org/officeDocument/2006/relationships/tags" Target="../tags/tag506.xml"/><Relationship Id="rId146" Type="http://schemas.openxmlformats.org/officeDocument/2006/relationships/tags" Target="../tags/tag527.xml"/><Relationship Id="rId167" Type="http://schemas.openxmlformats.org/officeDocument/2006/relationships/tags" Target="../tags/tag548.xml"/><Relationship Id="rId188" Type="http://schemas.openxmlformats.org/officeDocument/2006/relationships/tags" Target="../tags/tag569.xml"/><Relationship Id="rId311" Type="http://schemas.openxmlformats.org/officeDocument/2006/relationships/tags" Target="../tags/tag692.xml"/><Relationship Id="rId332" Type="http://schemas.openxmlformats.org/officeDocument/2006/relationships/tags" Target="../tags/tag713.xml"/><Relationship Id="rId353" Type="http://schemas.openxmlformats.org/officeDocument/2006/relationships/tags" Target="../tags/tag734.xml"/><Relationship Id="rId374" Type="http://schemas.openxmlformats.org/officeDocument/2006/relationships/tags" Target="../tags/tag755.xml"/><Relationship Id="rId71" Type="http://schemas.openxmlformats.org/officeDocument/2006/relationships/tags" Target="../tags/tag452.xml"/><Relationship Id="rId92" Type="http://schemas.openxmlformats.org/officeDocument/2006/relationships/tags" Target="../tags/tag473.xml"/><Relationship Id="rId213" Type="http://schemas.openxmlformats.org/officeDocument/2006/relationships/tags" Target="../tags/tag594.xml"/><Relationship Id="rId234" Type="http://schemas.openxmlformats.org/officeDocument/2006/relationships/tags" Target="../tags/tag615.xml"/><Relationship Id="rId2" Type="http://schemas.openxmlformats.org/officeDocument/2006/relationships/tags" Target="../tags/tag383.xml"/><Relationship Id="rId29" Type="http://schemas.openxmlformats.org/officeDocument/2006/relationships/tags" Target="../tags/tag410.xml"/><Relationship Id="rId255" Type="http://schemas.openxmlformats.org/officeDocument/2006/relationships/tags" Target="../tags/tag636.xml"/><Relationship Id="rId276" Type="http://schemas.openxmlformats.org/officeDocument/2006/relationships/tags" Target="../tags/tag657.xml"/><Relationship Id="rId297" Type="http://schemas.openxmlformats.org/officeDocument/2006/relationships/tags" Target="../tags/tag678.xml"/><Relationship Id="rId40" Type="http://schemas.openxmlformats.org/officeDocument/2006/relationships/tags" Target="../tags/tag421.xml"/><Relationship Id="rId115" Type="http://schemas.openxmlformats.org/officeDocument/2006/relationships/tags" Target="../tags/tag496.xml"/><Relationship Id="rId136" Type="http://schemas.openxmlformats.org/officeDocument/2006/relationships/tags" Target="../tags/tag517.xml"/><Relationship Id="rId157" Type="http://schemas.openxmlformats.org/officeDocument/2006/relationships/tags" Target="../tags/tag538.xml"/><Relationship Id="rId178" Type="http://schemas.openxmlformats.org/officeDocument/2006/relationships/tags" Target="../tags/tag559.xml"/><Relationship Id="rId301" Type="http://schemas.openxmlformats.org/officeDocument/2006/relationships/tags" Target="../tags/tag682.xml"/><Relationship Id="rId322" Type="http://schemas.openxmlformats.org/officeDocument/2006/relationships/tags" Target="../tags/tag703.xml"/><Relationship Id="rId343" Type="http://schemas.openxmlformats.org/officeDocument/2006/relationships/tags" Target="../tags/tag724.xml"/><Relationship Id="rId364" Type="http://schemas.openxmlformats.org/officeDocument/2006/relationships/tags" Target="../tags/tag745.xml"/><Relationship Id="rId61" Type="http://schemas.openxmlformats.org/officeDocument/2006/relationships/tags" Target="../tags/tag442.xml"/><Relationship Id="rId82" Type="http://schemas.openxmlformats.org/officeDocument/2006/relationships/tags" Target="../tags/tag463.xml"/><Relationship Id="rId199" Type="http://schemas.openxmlformats.org/officeDocument/2006/relationships/tags" Target="../tags/tag580.xml"/><Relationship Id="rId203" Type="http://schemas.openxmlformats.org/officeDocument/2006/relationships/tags" Target="../tags/tag584.xml"/><Relationship Id="rId19" Type="http://schemas.openxmlformats.org/officeDocument/2006/relationships/tags" Target="../tags/tag400.xml"/><Relationship Id="rId224" Type="http://schemas.openxmlformats.org/officeDocument/2006/relationships/tags" Target="../tags/tag605.xml"/><Relationship Id="rId245" Type="http://schemas.openxmlformats.org/officeDocument/2006/relationships/tags" Target="../tags/tag626.xml"/><Relationship Id="rId266" Type="http://schemas.openxmlformats.org/officeDocument/2006/relationships/tags" Target="../tags/tag647.xml"/><Relationship Id="rId287" Type="http://schemas.openxmlformats.org/officeDocument/2006/relationships/tags" Target="../tags/tag668.xml"/><Relationship Id="rId30" Type="http://schemas.openxmlformats.org/officeDocument/2006/relationships/tags" Target="../tags/tag411.xml"/><Relationship Id="rId105" Type="http://schemas.openxmlformats.org/officeDocument/2006/relationships/tags" Target="../tags/tag486.xml"/><Relationship Id="rId126" Type="http://schemas.openxmlformats.org/officeDocument/2006/relationships/tags" Target="../tags/tag507.xml"/><Relationship Id="rId147" Type="http://schemas.openxmlformats.org/officeDocument/2006/relationships/tags" Target="../tags/tag528.xml"/><Relationship Id="rId168" Type="http://schemas.openxmlformats.org/officeDocument/2006/relationships/tags" Target="../tags/tag549.xml"/><Relationship Id="rId312" Type="http://schemas.openxmlformats.org/officeDocument/2006/relationships/tags" Target="../tags/tag693.xml"/><Relationship Id="rId333" Type="http://schemas.openxmlformats.org/officeDocument/2006/relationships/tags" Target="../tags/tag714.xml"/><Relationship Id="rId354" Type="http://schemas.openxmlformats.org/officeDocument/2006/relationships/tags" Target="../tags/tag735.xml"/><Relationship Id="rId51" Type="http://schemas.openxmlformats.org/officeDocument/2006/relationships/tags" Target="../tags/tag432.xml"/><Relationship Id="rId72" Type="http://schemas.openxmlformats.org/officeDocument/2006/relationships/tags" Target="../tags/tag453.xml"/><Relationship Id="rId93" Type="http://schemas.openxmlformats.org/officeDocument/2006/relationships/tags" Target="../tags/tag474.xml"/><Relationship Id="rId189" Type="http://schemas.openxmlformats.org/officeDocument/2006/relationships/tags" Target="../tags/tag570.xml"/><Relationship Id="rId375" Type="http://schemas.openxmlformats.org/officeDocument/2006/relationships/tags" Target="../tags/tag756.xml"/><Relationship Id="rId3" Type="http://schemas.openxmlformats.org/officeDocument/2006/relationships/tags" Target="../tags/tag384.xml"/><Relationship Id="rId214" Type="http://schemas.openxmlformats.org/officeDocument/2006/relationships/tags" Target="../tags/tag595.xml"/><Relationship Id="rId235" Type="http://schemas.openxmlformats.org/officeDocument/2006/relationships/tags" Target="../tags/tag616.xml"/><Relationship Id="rId256" Type="http://schemas.openxmlformats.org/officeDocument/2006/relationships/tags" Target="../tags/tag637.xml"/><Relationship Id="rId277" Type="http://schemas.openxmlformats.org/officeDocument/2006/relationships/tags" Target="../tags/tag658.xml"/><Relationship Id="rId298" Type="http://schemas.openxmlformats.org/officeDocument/2006/relationships/tags" Target="../tags/tag679.xml"/><Relationship Id="rId116" Type="http://schemas.openxmlformats.org/officeDocument/2006/relationships/tags" Target="../tags/tag497.xml"/><Relationship Id="rId137" Type="http://schemas.openxmlformats.org/officeDocument/2006/relationships/tags" Target="../tags/tag518.xml"/><Relationship Id="rId158" Type="http://schemas.openxmlformats.org/officeDocument/2006/relationships/tags" Target="../tags/tag539.xml"/><Relationship Id="rId302" Type="http://schemas.openxmlformats.org/officeDocument/2006/relationships/tags" Target="../tags/tag683.xml"/><Relationship Id="rId323" Type="http://schemas.openxmlformats.org/officeDocument/2006/relationships/tags" Target="../tags/tag704.xml"/><Relationship Id="rId344" Type="http://schemas.openxmlformats.org/officeDocument/2006/relationships/tags" Target="../tags/tag725.xml"/><Relationship Id="rId20" Type="http://schemas.openxmlformats.org/officeDocument/2006/relationships/tags" Target="../tags/tag401.xml"/><Relationship Id="rId41" Type="http://schemas.openxmlformats.org/officeDocument/2006/relationships/tags" Target="../tags/tag422.xml"/><Relationship Id="rId62" Type="http://schemas.openxmlformats.org/officeDocument/2006/relationships/tags" Target="../tags/tag443.xml"/><Relationship Id="rId83" Type="http://schemas.openxmlformats.org/officeDocument/2006/relationships/tags" Target="../tags/tag464.xml"/><Relationship Id="rId179" Type="http://schemas.openxmlformats.org/officeDocument/2006/relationships/tags" Target="../tags/tag560.xml"/><Relationship Id="rId365" Type="http://schemas.openxmlformats.org/officeDocument/2006/relationships/tags" Target="../tags/tag746.xml"/><Relationship Id="rId190" Type="http://schemas.openxmlformats.org/officeDocument/2006/relationships/tags" Target="../tags/tag571.xml"/><Relationship Id="rId204" Type="http://schemas.openxmlformats.org/officeDocument/2006/relationships/tags" Target="../tags/tag585.xml"/><Relationship Id="rId225" Type="http://schemas.openxmlformats.org/officeDocument/2006/relationships/tags" Target="../tags/tag606.xml"/><Relationship Id="rId246" Type="http://schemas.openxmlformats.org/officeDocument/2006/relationships/tags" Target="../tags/tag627.xml"/><Relationship Id="rId267" Type="http://schemas.openxmlformats.org/officeDocument/2006/relationships/tags" Target="../tags/tag648.xml"/><Relationship Id="rId288" Type="http://schemas.openxmlformats.org/officeDocument/2006/relationships/tags" Target="../tags/tag669.xml"/><Relationship Id="rId106" Type="http://schemas.openxmlformats.org/officeDocument/2006/relationships/tags" Target="../tags/tag487.xml"/><Relationship Id="rId127" Type="http://schemas.openxmlformats.org/officeDocument/2006/relationships/tags" Target="../tags/tag508.xml"/><Relationship Id="rId313" Type="http://schemas.openxmlformats.org/officeDocument/2006/relationships/tags" Target="../tags/tag694.xml"/><Relationship Id="rId10" Type="http://schemas.openxmlformats.org/officeDocument/2006/relationships/tags" Target="../tags/tag391.xml"/><Relationship Id="rId31" Type="http://schemas.openxmlformats.org/officeDocument/2006/relationships/tags" Target="../tags/tag412.xml"/><Relationship Id="rId52" Type="http://schemas.openxmlformats.org/officeDocument/2006/relationships/tags" Target="../tags/tag433.xml"/><Relationship Id="rId73" Type="http://schemas.openxmlformats.org/officeDocument/2006/relationships/tags" Target="../tags/tag454.xml"/><Relationship Id="rId94" Type="http://schemas.openxmlformats.org/officeDocument/2006/relationships/tags" Target="../tags/tag475.xml"/><Relationship Id="rId148" Type="http://schemas.openxmlformats.org/officeDocument/2006/relationships/tags" Target="../tags/tag529.xml"/><Relationship Id="rId169" Type="http://schemas.openxmlformats.org/officeDocument/2006/relationships/tags" Target="../tags/tag550.xml"/><Relationship Id="rId334" Type="http://schemas.openxmlformats.org/officeDocument/2006/relationships/tags" Target="../tags/tag715.xml"/><Relationship Id="rId355" Type="http://schemas.openxmlformats.org/officeDocument/2006/relationships/tags" Target="../tags/tag736.xml"/><Relationship Id="rId376" Type="http://schemas.openxmlformats.org/officeDocument/2006/relationships/tags" Target="../tags/tag757.xml"/><Relationship Id="rId4" Type="http://schemas.openxmlformats.org/officeDocument/2006/relationships/tags" Target="../tags/tag385.xml"/><Relationship Id="rId180" Type="http://schemas.openxmlformats.org/officeDocument/2006/relationships/tags" Target="../tags/tag561.xml"/><Relationship Id="rId215" Type="http://schemas.openxmlformats.org/officeDocument/2006/relationships/tags" Target="../tags/tag596.xml"/><Relationship Id="rId236" Type="http://schemas.openxmlformats.org/officeDocument/2006/relationships/tags" Target="../tags/tag617.xml"/><Relationship Id="rId257" Type="http://schemas.openxmlformats.org/officeDocument/2006/relationships/tags" Target="../tags/tag638.xml"/><Relationship Id="rId278" Type="http://schemas.openxmlformats.org/officeDocument/2006/relationships/tags" Target="../tags/tag659.xml"/><Relationship Id="rId303" Type="http://schemas.openxmlformats.org/officeDocument/2006/relationships/tags" Target="../tags/tag684.xml"/><Relationship Id="rId42" Type="http://schemas.openxmlformats.org/officeDocument/2006/relationships/tags" Target="../tags/tag423.xml"/><Relationship Id="rId84" Type="http://schemas.openxmlformats.org/officeDocument/2006/relationships/tags" Target="../tags/tag465.xml"/><Relationship Id="rId138" Type="http://schemas.openxmlformats.org/officeDocument/2006/relationships/tags" Target="../tags/tag519.xml"/><Relationship Id="rId345" Type="http://schemas.openxmlformats.org/officeDocument/2006/relationships/tags" Target="../tags/tag726.xml"/><Relationship Id="rId191" Type="http://schemas.openxmlformats.org/officeDocument/2006/relationships/tags" Target="../tags/tag572.xml"/><Relationship Id="rId205" Type="http://schemas.openxmlformats.org/officeDocument/2006/relationships/tags" Target="../tags/tag586.xml"/><Relationship Id="rId247" Type="http://schemas.openxmlformats.org/officeDocument/2006/relationships/tags" Target="../tags/tag628.xml"/><Relationship Id="rId107" Type="http://schemas.openxmlformats.org/officeDocument/2006/relationships/tags" Target="../tags/tag488.xml"/><Relationship Id="rId289" Type="http://schemas.openxmlformats.org/officeDocument/2006/relationships/tags" Target="../tags/tag670.xml"/><Relationship Id="rId11" Type="http://schemas.openxmlformats.org/officeDocument/2006/relationships/tags" Target="../tags/tag392.xml"/><Relationship Id="rId53" Type="http://schemas.openxmlformats.org/officeDocument/2006/relationships/tags" Target="../tags/tag434.xml"/><Relationship Id="rId149" Type="http://schemas.openxmlformats.org/officeDocument/2006/relationships/tags" Target="../tags/tag530.xml"/><Relationship Id="rId314" Type="http://schemas.openxmlformats.org/officeDocument/2006/relationships/tags" Target="../tags/tag695.xml"/><Relationship Id="rId356" Type="http://schemas.openxmlformats.org/officeDocument/2006/relationships/tags" Target="../tags/tag737.xml"/><Relationship Id="rId95" Type="http://schemas.openxmlformats.org/officeDocument/2006/relationships/tags" Target="../tags/tag476.xml"/><Relationship Id="rId160" Type="http://schemas.openxmlformats.org/officeDocument/2006/relationships/tags" Target="../tags/tag541.xml"/><Relationship Id="rId216" Type="http://schemas.openxmlformats.org/officeDocument/2006/relationships/tags" Target="../tags/tag597.xml"/><Relationship Id="rId258" Type="http://schemas.openxmlformats.org/officeDocument/2006/relationships/tags" Target="../tags/tag639.xml"/><Relationship Id="rId22" Type="http://schemas.openxmlformats.org/officeDocument/2006/relationships/tags" Target="../tags/tag403.xml"/><Relationship Id="rId64" Type="http://schemas.openxmlformats.org/officeDocument/2006/relationships/tags" Target="../tags/tag445.xml"/><Relationship Id="rId118" Type="http://schemas.openxmlformats.org/officeDocument/2006/relationships/tags" Target="../tags/tag499.xml"/><Relationship Id="rId325" Type="http://schemas.openxmlformats.org/officeDocument/2006/relationships/tags" Target="../tags/tag706.xml"/><Relationship Id="rId367" Type="http://schemas.openxmlformats.org/officeDocument/2006/relationships/tags" Target="../tags/tag748.xml"/><Relationship Id="rId171" Type="http://schemas.openxmlformats.org/officeDocument/2006/relationships/tags" Target="../tags/tag552.xml"/><Relationship Id="rId227" Type="http://schemas.openxmlformats.org/officeDocument/2006/relationships/tags" Target="../tags/tag608.xml"/><Relationship Id="rId269" Type="http://schemas.openxmlformats.org/officeDocument/2006/relationships/tags" Target="../tags/tag650.xml"/><Relationship Id="rId33" Type="http://schemas.openxmlformats.org/officeDocument/2006/relationships/tags" Target="../tags/tag414.xml"/><Relationship Id="rId129" Type="http://schemas.openxmlformats.org/officeDocument/2006/relationships/tags" Target="../tags/tag510.xml"/><Relationship Id="rId280" Type="http://schemas.openxmlformats.org/officeDocument/2006/relationships/tags" Target="../tags/tag661.xml"/><Relationship Id="rId336" Type="http://schemas.openxmlformats.org/officeDocument/2006/relationships/tags" Target="../tags/tag717.xml"/><Relationship Id="rId75" Type="http://schemas.openxmlformats.org/officeDocument/2006/relationships/tags" Target="../tags/tag456.xml"/><Relationship Id="rId140" Type="http://schemas.openxmlformats.org/officeDocument/2006/relationships/tags" Target="../tags/tag521.xml"/><Relationship Id="rId182" Type="http://schemas.openxmlformats.org/officeDocument/2006/relationships/tags" Target="../tags/tag563.xml"/><Relationship Id="rId378" Type="http://schemas.openxmlformats.org/officeDocument/2006/relationships/tags" Target="../tags/tag759.xml"/><Relationship Id="rId6" Type="http://schemas.openxmlformats.org/officeDocument/2006/relationships/tags" Target="../tags/tag387.xml"/><Relationship Id="rId238" Type="http://schemas.openxmlformats.org/officeDocument/2006/relationships/tags" Target="../tags/tag619.xml"/><Relationship Id="rId291" Type="http://schemas.openxmlformats.org/officeDocument/2006/relationships/tags" Target="../tags/tag672.xml"/><Relationship Id="rId305" Type="http://schemas.openxmlformats.org/officeDocument/2006/relationships/tags" Target="../tags/tag686.xml"/><Relationship Id="rId347" Type="http://schemas.openxmlformats.org/officeDocument/2006/relationships/tags" Target="../tags/tag728.xml"/><Relationship Id="rId44" Type="http://schemas.openxmlformats.org/officeDocument/2006/relationships/tags" Target="../tags/tag425.xml"/><Relationship Id="rId86" Type="http://schemas.openxmlformats.org/officeDocument/2006/relationships/tags" Target="../tags/tag467.xml"/><Relationship Id="rId151" Type="http://schemas.openxmlformats.org/officeDocument/2006/relationships/tags" Target="../tags/tag532.xml"/><Relationship Id="rId193" Type="http://schemas.openxmlformats.org/officeDocument/2006/relationships/tags" Target="../tags/tag574.xml"/><Relationship Id="rId207" Type="http://schemas.openxmlformats.org/officeDocument/2006/relationships/tags" Target="../tags/tag588.xml"/><Relationship Id="rId249" Type="http://schemas.openxmlformats.org/officeDocument/2006/relationships/tags" Target="../tags/tag630.xml"/><Relationship Id="rId13" Type="http://schemas.openxmlformats.org/officeDocument/2006/relationships/tags" Target="../tags/tag394.xml"/><Relationship Id="rId109" Type="http://schemas.openxmlformats.org/officeDocument/2006/relationships/tags" Target="../tags/tag490.xml"/><Relationship Id="rId260" Type="http://schemas.openxmlformats.org/officeDocument/2006/relationships/tags" Target="../tags/tag641.xml"/><Relationship Id="rId316" Type="http://schemas.openxmlformats.org/officeDocument/2006/relationships/tags" Target="../tags/tag697.xml"/><Relationship Id="rId55" Type="http://schemas.openxmlformats.org/officeDocument/2006/relationships/tags" Target="../tags/tag436.xml"/><Relationship Id="rId97" Type="http://schemas.openxmlformats.org/officeDocument/2006/relationships/tags" Target="../tags/tag478.xml"/><Relationship Id="rId120" Type="http://schemas.openxmlformats.org/officeDocument/2006/relationships/tags" Target="../tags/tag501.xml"/><Relationship Id="rId358" Type="http://schemas.openxmlformats.org/officeDocument/2006/relationships/tags" Target="../tags/tag739.xml"/><Relationship Id="rId162" Type="http://schemas.openxmlformats.org/officeDocument/2006/relationships/tags" Target="../tags/tag543.xml"/><Relationship Id="rId218" Type="http://schemas.openxmlformats.org/officeDocument/2006/relationships/tags" Target="../tags/tag599.xml"/><Relationship Id="rId271" Type="http://schemas.openxmlformats.org/officeDocument/2006/relationships/tags" Target="../tags/tag652.xml"/><Relationship Id="rId24" Type="http://schemas.openxmlformats.org/officeDocument/2006/relationships/tags" Target="../tags/tag405.xml"/><Relationship Id="rId66" Type="http://schemas.openxmlformats.org/officeDocument/2006/relationships/tags" Target="../tags/tag447.xml"/><Relationship Id="rId131" Type="http://schemas.openxmlformats.org/officeDocument/2006/relationships/tags" Target="../tags/tag512.xml"/><Relationship Id="rId327" Type="http://schemas.openxmlformats.org/officeDocument/2006/relationships/tags" Target="../tags/tag708.xml"/><Relationship Id="rId369" Type="http://schemas.openxmlformats.org/officeDocument/2006/relationships/tags" Target="../tags/tag750.xml"/><Relationship Id="rId173" Type="http://schemas.openxmlformats.org/officeDocument/2006/relationships/tags" Target="../tags/tag554.xml"/><Relationship Id="rId229" Type="http://schemas.openxmlformats.org/officeDocument/2006/relationships/tags" Target="../tags/tag610.xml"/><Relationship Id="rId240" Type="http://schemas.openxmlformats.org/officeDocument/2006/relationships/tags" Target="../tags/tag621.xml"/><Relationship Id="rId35" Type="http://schemas.openxmlformats.org/officeDocument/2006/relationships/tags" Target="../tags/tag416.xml"/><Relationship Id="rId77" Type="http://schemas.openxmlformats.org/officeDocument/2006/relationships/tags" Target="../tags/tag458.xml"/><Relationship Id="rId100" Type="http://schemas.openxmlformats.org/officeDocument/2006/relationships/tags" Target="../tags/tag481.xml"/><Relationship Id="rId282" Type="http://schemas.openxmlformats.org/officeDocument/2006/relationships/tags" Target="../tags/tag663.xml"/><Relationship Id="rId338" Type="http://schemas.openxmlformats.org/officeDocument/2006/relationships/tags" Target="../tags/tag719.xml"/><Relationship Id="rId8" Type="http://schemas.openxmlformats.org/officeDocument/2006/relationships/tags" Target="../tags/tag389.xml"/><Relationship Id="rId142" Type="http://schemas.openxmlformats.org/officeDocument/2006/relationships/tags" Target="../tags/tag523.xml"/><Relationship Id="rId184" Type="http://schemas.openxmlformats.org/officeDocument/2006/relationships/tags" Target="../tags/tag565.xml"/><Relationship Id="rId251" Type="http://schemas.openxmlformats.org/officeDocument/2006/relationships/tags" Target="../tags/tag632.xml"/><Relationship Id="rId46" Type="http://schemas.openxmlformats.org/officeDocument/2006/relationships/tags" Target="../tags/tag427.xml"/><Relationship Id="rId293" Type="http://schemas.openxmlformats.org/officeDocument/2006/relationships/tags" Target="../tags/tag674.xml"/><Relationship Id="rId307" Type="http://schemas.openxmlformats.org/officeDocument/2006/relationships/tags" Target="../tags/tag688.xml"/><Relationship Id="rId349" Type="http://schemas.openxmlformats.org/officeDocument/2006/relationships/tags" Target="../tags/tag730.xml"/><Relationship Id="rId88" Type="http://schemas.openxmlformats.org/officeDocument/2006/relationships/tags" Target="../tags/tag469.xml"/><Relationship Id="rId111" Type="http://schemas.openxmlformats.org/officeDocument/2006/relationships/tags" Target="../tags/tag492.xml"/><Relationship Id="rId153" Type="http://schemas.openxmlformats.org/officeDocument/2006/relationships/tags" Target="../tags/tag534.xml"/><Relationship Id="rId195" Type="http://schemas.openxmlformats.org/officeDocument/2006/relationships/tags" Target="../tags/tag576.xml"/><Relationship Id="rId209" Type="http://schemas.openxmlformats.org/officeDocument/2006/relationships/tags" Target="../tags/tag590.xml"/><Relationship Id="rId360" Type="http://schemas.openxmlformats.org/officeDocument/2006/relationships/tags" Target="../tags/tag741.xml"/><Relationship Id="rId220" Type="http://schemas.openxmlformats.org/officeDocument/2006/relationships/tags" Target="../tags/tag601.xml"/><Relationship Id="rId15" Type="http://schemas.openxmlformats.org/officeDocument/2006/relationships/tags" Target="../tags/tag396.xml"/><Relationship Id="rId57" Type="http://schemas.openxmlformats.org/officeDocument/2006/relationships/tags" Target="../tags/tag438.xml"/><Relationship Id="rId262" Type="http://schemas.openxmlformats.org/officeDocument/2006/relationships/tags" Target="../tags/tag643.xml"/><Relationship Id="rId318" Type="http://schemas.openxmlformats.org/officeDocument/2006/relationships/tags" Target="../tags/tag699.xml"/><Relationship Id="rId99" Type="http://schemas.openxmlformats.org/officeDocument/2006/relationships/tags" Target="../tags/tag480.xml"/><Relationship Id="rId122" Type="http://schemas.openxmlformats.org/officeDocument/2006/relationships/tags" Target="../tags/tag503.xml"/><Relationship Id="rId164" Type="http://schemas.openxmlformats.org/officeDocument/2006/relationships/tags" Target="../tags/tag545.xml"/><Relationship Id="rId371" Type="http://schemas.openxmlformats.org/officeDocument/2006/relationships/tags" Target="../tags/tag75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7.jpeg"/><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jpeg"/><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jpeg"/><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jpeg"/><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3.jpeg"/><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5.jpeg"/><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6.jpeg"/><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7.jpeg"/><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8.jpeg"/><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3.jpeg"/><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11.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8.xml"/><Relationship Id="rId4" Type="http://schemas.openxmlformats.org/officeDocument/2006/relationships/image" Target="../media/image5.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8.xml"/><Relationship Id="rId4" Type="http://schemas.openxmlformats.org/officeDocument/2006/relationships/image" Target="../media/image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8.xml"/><Relationship Id="rId4" Type="http://schemas.openxmlformats.org/officeDocument/2006/relationships/image" Target="../media/image5.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8.xml"/><Relationship Id="rId4" Type="http://schemas.openxmlformats.org/officeDocument/2006/relationships/image" Target="../media/image5.sv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0.xml"/><Relationship Id="rId4" Type="http://schemas.openxmlformats.org/officeDocument/2006/relationships/image" Target="../media/image5.sv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ngle image - 1 line only">
    <p:bg>
      <p:bgPr>
        <a:solidFill>
          <a:schemeClr val="tx1"/>
        </a:solidFill>
        <a:effectLst/>
      </p:bgPr>
    </p:bg>
    <p:spTree>
      <p:nvGrpSpPr>
        <p:cNvPr id="1" name=""/>
        <p:cNvGrpSpPr/>
        <p:nvPr/>
      </p:nvGrpSpPr>
      <p:grpSpPr>
        <a:xfrm>
          <a:off x="0" y="0"/>
          <a:ext cx="0" cy="0"/>
          <a:chOff x="0" y="0"/>
          <a:chExt cx="0" cy="0"/>
        </a:xfrm>
      </p:grpSpPr>
      <p:sp>
        <p:nvSpPr>
          <p:cNvPr id="3" name="Picture Placeholder 37">
            <a:extLst>
              <a:ext uri="{FF2B5EF4-FFF2-40B4-BE49-F238E27FC236}">
                <a16:creationId xmlns:a16="http://schemas.microsoft.com/office/drawing/2014/main" id="{36A2A871-5455-F714-7485-AD2E8F04DB91}"/>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noProof="0"/>
              <a:t>Drag picture file to insert light background image</a:t>
            </a:r>
          </a:p>
        </p:txBody>
      </p:sp>
      <p:sp>
        <p:nvSpPr>
          <p:cNvPr id="20" name="Text Placeholder 9">
            <a:extLst>
              <a:ext uri="{FF2B5EF4-FFF2-40B4-BE49-F238E27FC236}">
                <a16:creationId xmlns:a16="http://schemas.microsoft.com/office/drawing/2014/main" id="{97390884-694C-EA75-63FD-50D2649429CF}"/>
              </a:ext>
            </a:extLst>
          </p:cNvPr>
          <p:cNvSpPr>
            <a:spLocks noGrp="1"/>
          </p:cNvSpPr>
          <p:nvPr>
            <p:ph type="body" sz="quarter" idx="16" hasCustomPrompt="1"/>
          </p:nvPr>
        </p:nvSpPr>
        <p:spPr>
          <a:xfrm>
            <a:off x="1343025" y="2862000"/>
            <a:ext cx="9505950" cy="719138"/>
          </a:xfrm>
          <a:prstGeom prst="rect">
            <a:avLst/>
          </a:prstGeom>
        </p:spPr>
        <p:txBody>
          <a:bodyPr lIns="0" tIns="36000" rIns="0" bIns="0" anchor="t" anchorCtr="0">
            <a:noAutofit/>
          </a:bodyPr>
          <a:lstStyle>
            <a:lvl1pPr marL="0" indent="0" algn="ctr">
              <a:lnSpc>
                <a:spcPct val="85000"/>
              </a:lnSpc>
              <a:spcBef>
                <a:spcPts val="0"/>
              </a:spcBef>
              <a:buNone/>
              <a:defRPr sz="5400" spc="-100" baseline="0">
                <a:solidFill>
                  <a:schemeClr val="tx1"/>
                </a:solidFill>
                <a:latin typeface="+mj-lt"/>
              </a:defRPr>
            </a:lvl1pPr>
          </a:lstStyle>
          <a:p>
            <a:pPr lvl="0"/>
            <a:r>
              <a:rPr lang="en-US"/>
              <a:t>One line title here</a:t>
            </a:r>
          </a:p>
        </p:txBody>
      </p:sp>
      <p:sp>
        <p:nvSpPr>
          <p:cNvPr id="5" name="Text Placeholder 9">
            <a:extLst>
              <a:ext uri="{FF2B5EF4-FFF2-40B4-BE49-F238E27FC236}">
                <a16:creationId xmlns:a16="http://schemas.microsoft.com/office/drawing/2014/main" id="{86DAEE13-2318-F370-87B8-2A80E68FCC4C}"/>
              </a:ext>
            </a:extLst>
          </p:cNvPr>
          <p:cNvSpPr>
            <a:spLocks noGrp="1"/>
          </p:cNvSpPr>
          <p:nvPr>
            <p:ph type="body" sz="quarter" idx="17" hasCustomPrompt="1"/>
          </p:nvPr>
        </p:nvSpPr>
        <p:spPr>
          <a:xfrm>
            <a:off x="1343026" y="3665494"/>
            <a:ext cx="9505949" cy="281703"/>
          </a:xfrm>
          <a:prstGeom prst="rect">
            <a:avLst/>
          </a:prstGeom>
        </p:spPr>
        <p:txBody>
          <a:bodyPr lIns="0" tIns="36000" rIns="0" bIns="0" anchor="t" anchorCtr="0">
            <a:noAutofit/>
          </a:bodyPr>
          <a:lstStyle>
            <a:lvl1pPr marL="0" indent="0" algn="ctr">
              <a:lnSpc>
                <a:spcPct val="85000"/>
              </a:lnSpc>
              <a:buNone/>
              <a:defRPr sz="2400">
                <a:solidFill>
                  <a:schemeClr val="tx1"/>
                </a:solidFill>
                <a:latin typeface="+mn-lt"/>
              </a:defRPr>
            </a:lvl1pPr>
          </a:lstStyle>
          <a:p>
            <a:pPr lvl="0"/>
            <a:r>
              <a:rPr lang="en-US"/>
              <a:t>Presentation subtitle here</a:t>
            </a:r>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tx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10317354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ight image - 1 line only">
    <p:bg>
      <p:bgPr>
        <a:solidFill>
          <a:schemeClr val="tx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588C067-B393-9489-E4ED-1958F0FE3BBD}"/>
              </a:ext>
            </a:extLst>
          </p:cNvPr>
          <p:cNvSpPr>
            <a:spLocks noGrp="1"/>
          </p:cNvSpPr>
          <p:nvPr>
            <p:ph type="pic" sz="quarter" idx="10" hasCustomPrompt="1"/>
          </p:nvPr>
        </p:nvSpPr>
        <p:spPr>
          <a:xfrm>
            <a:off x="0" y="0"/>
            <a:ext cx="12192000" cy="6858000"/>
          </a:xfrm>
          <a:custGeom>
            <a:avLst/>
            <a:gdLst>
              <a:gd name="connsiteX0" fmla="*/ 5969925 w 12192000"/>
              <a:gd name="connsiteY0" fmla="*/ 446137 h 6858000"/>
              <a:gd name="connsiteX1" fmla="*/ 5932287 w 12192000"/>
              <a:gd name="connsiteY1" fmla="*/ 448451 h 6858000"/>
              <a:gd name="connsiteX2" fmla="*/ 5932287 w 12192000"/>
              <a:gd name="connsiteY2" fmla="*/ 671046 h 6858000"/>
              <a:gd name="connsiteX3" fmla="*/ 5969925 w 12192000"/>
              <a:gd name="connsiteY3" fmla="*/ 673360 h 6858000"/>
              <a:gd name="connsiteX4" fmla="*/ 6022220 w 12192000"/>
              <a:gd name="connsiteY4" fmla="*/ 669042 h 6858000"/>
              <a:gd name="connsiteX5" fmla="*/ 6022220 w 12192000"/>
              <a:gd name="connsiteY5" fmla="*/ 669000 h 6858000"/>
              <a:gd name="connsiteX6" fmla="*/ 6022331 w 12192000"/>
              <a:gd name="connsiteY6" fmla="*/ 668971 h 6858000"/>
              <a:gd name="connsiteX7" fmla="*/ 6044431 w 12192000"/>
              <a:gd name="connsiteY7" fmla="*/ 716091 h 6858000"/>
              <a:gd name="connsiteX8" fmla="*/ 6065257 w 12192000"/>
              <a:gd name="connsiteY8" fmla="*/ 747714 h 6858000"/>
              <a:gd name="connsiteX9" fmla="*/ 6257771 w 12192000"/>
              <a:gd name="connsiteY9" fmla="*/ 636493 h 6858000"/>
              <a:gd name="connsiteX10" fmla="*/ 6210878 w 12192000"/>
              <a:gd name="connsiteY10" fmla="*/ 559826 h 6858000"/>
              <a:gd name="connsiteX11" fmla="*/ 6076795 w 12192000"/>
              <a:gd name="connsiteY11" fmla="*/ 654536 h 6858000"/>
              <a:gd name="connsiteX12" fmla="*/ 6022331 w 12192000"/>
              <a:gd name="connsiteY12" fmla="*/ 668971 h 6858000"/>
              <a:gd name="connsiteX13" fmla="*/ 6022220 w 12192000"/>
              <a:gd name="connsiteY13" fmla="*/ 668736 h 6858000"/>
              <a:gd name="connsiteX14" fmla="*/ 6022220 w 12192000"/>
              <a:gd name="connsiteY14" fmla="*/ 668732 h 6858000"/>
              <a:gd name="connsiteX15" fmla="*/ 6013273 w 12192000"/>
              <a:gd name="connsiteY15" fmla="*/ 478531 h 6858000"/>
              <a:gd name="connsiteX16" fmla="*/ 6022220 w 12192000"/>
              <a:gd name="connsiteY16" fmla="*/ 450456 h 6858000"/>
              <a:gd name="connsiteX17" fmla="*/ 5969925 w 12192000"/>
              <a:gd name="connsiteY17" fmla="*/ 446137 h 6858000"/>
              <a:gd name="connsiteX18" fmla="*/ 6065258 w 12192000"/>
              <a:gd name="connsiteY18" fmla="*/ 371476 h 6858000"/>
              <a:gd name="connsiteX19" fmla="*/ 6022220 w 12192000"/>
              <a:gd name="connsiteY19" fmla="*/ 450457 h 6858000"/>
              <a:gd name="connsiteX20" fmla="*/ 6211033 w 12192000"/>
              <a:gd name="connsiteY20" fmla="*/ 559673 h 6858000"/>
              <a:gd name="connsiteX21" fmla="*/ 6257926 w 12192000"/>
              <a:gd name="connsiteY21" fmla="*/ 483005 h 6858000"/>
              <a:gd name="connsiteX22" fmla="*/ 6065258 w 12192000"/>
              <a:gd name="connsiteY22" fmla="*/ 371476 h 6858000"/>
              <a:gd name="connsiteX23" fmla="*/ 0 w 12192000"/>
              <a:gd name="connsiteY23" fmla="*/ 0 h 6858000"/>
              <a:gd name="connsiteX24" fmla="*/ 12192000 w 12192000"/>
              <a:gd name="connsiteY24" fmla="*/ 0 h 6858000"/>
              <a:gd name="connsiteX25" fmla="*/ 12192000 w 12192000"/>
              <a:gd name="connsiteY25" fmla="*/ 6858000 h 6858000"/>
              <a:gd name="connsiteX26" fmla="*/ 0 w 12192000"/>
              <a:gd name="connsiteY2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192000" h="6858000">
                <a:moveTo>
                  <a:pt x="5969925" y="446137"/>
                </a:moveTo>
                <a:cubicBezTo>
                  <a:pt x="5957277" y="446137"/>
                  <a:pt x="5944627" y="446908"/>
                  <a:pt x="5932287" y="448451"/>
                </a:cubicBezTo>
                <a:cubicBezTo>
                  <a:pt x="5911615" y="520027"/>
                  <a:pt x="5910689" y="597156"/>
                  <a:pt x="5932287" y="671046"/>
                </a:cubicBezTo>
                <a:cubicBezTo>
                  <a:pt x="5944627" y="672589"/>
                  <a:pt x="5957123" y="673360"/>
                  <a:pt x="5969925" y="673360"/>
                </a:cubicBezTo>
                <a:cubicBezTo>
                  <a:pt x="5987666" y="673360"/>
                  <a:pt x="6005251" y="671818"/>
                  <a:pt x="6022220" y="669042"/>
                </a:cubicBezTo>
                <a:lnTo>
                  <a:pt x="6022220" y="669000"/>
                </a:lnTo>
                <a:lnTo>
                  <a:pt x="6022331" y="668971"/>
                </a:lnTo>
                <a:lnTo>
                  <a:pt x="6044431" y="716091"/>
                </a:lnTo>
                <a:cubicBezTo>
                  <a:pt x="6050756" y="727042"/>
                  <a:pt x="6057698" y="737533"/>
                  <a:pt x="6065257" y="747714"/>
                </a:cubicBezTo>
                <a:cubicBezTo>
                  <a:pt x="6139919" y="729358"/>
                  <a:pt x="6206250" y="690175"/>
                  <a:pt x="6257771" y="636493"/>
                </a:cubicBezTo>
                <a:cubicBezTo>
                  <a:pt x="6245895" y="608571"/>
                  <a:pt x="6230005" y="582812"/>
                  <a:pt x="6210878" y="559826"/>
                </a:cubicBezTo>
                <a:cubicBezTo>
                  <a:pt x="6175707" y="602285"/>
                  <a:pt x="6129515" y="635287"/>
                  <a:pt x="6076795" y="654536"/>
                </a:cubicBezTo>
                <a:lnTo>
                  <a:pt x="6022331" y="668971"/>
                </a:lnTo>
                <a:lnTo>
                  <a:pt x="6022220" y="668736"/>
                </a:lnTo>
                <a:lnTo>
                  <a:pt x="6022220" y="668732"/>
                </a:lnTo>
                <a:cubicBezTo>
                  <a:pt x="5999543" y="608109"/>
                  <a:pt x="5996150" y="542241"/>
                  <a:pt x="6013273" y="478531"/>
                </a:cubicBezTo>
                <a:cubicBezTo>
                  <a:pt x="6015894" y="468968"/>
                  <a:pt x="6018827" y="459558"/>
                  <a:pt x="6022220" y="450456"/>
                </a:cubicBezTo>
                <a:cubicBezTo>
                  <a:pt x="6005251" y="447525"/>
                  <a:pt x="5987819" y="446137"/>
                  <a:pt x="5969925" y="446137"/>
                </a:cubicBezTo>
                <a:close/>
                <a:moveTo>
                  <a:pt x="6065258" y="371476"/>
                </a:moveTo>
                <a:cubicBezTo>
                  <a:pt x="6047364" y="395386"/>
                  <a:pt x="6032863" y="421918"/>
                  <a:pt x="6022220" y="450457"/>
                </a:cubicBezTo>
                <a:cubicBezTo>
                  <a:pt x="6097806" y="463260"/>
                  <a:pt x="6164138" y="503059"/>
                  <a:pt x="6211033" y="559673"/>
                </a:cubicBezTo>
                <a:cubicBezTo>
                  <a:pt x="6230160" y="536687"/>
                  <a:pt x="6246050" y="510771"/>
                  <a:pt x="6257926" y="483005"/>
                </a:cubicBezTo>
                <a:cubicBezTo>
                  <a:pt x="6206405" y="429014"/>
                  <a:pt x="6139919" y="389832"/>
                  <a:pt x="6065258" y="371476"/>
                </a:cubicBezTo>
                <a:close/>
                <a:moveTo>
                  <a:pt x="0" y="0"/>
                </a:moveTo>
                <a:lnTo>
                  <a:pt x="12192000" y="0"/>
                </a:lnTo>
                <a:lnTo>
                  <a:pt x="12192000" y="6858000"/>
                </a:lnTo>
                <a:lnTo>
                  <a:pt x="0" y="6858000"/>
                </a:lnTo>
                <a:close/>
              </a:path>
            </a:pathLst>
          </a:custGeom>
          <a:solidFill>
            <a:schemeClr val="bg1">
              <a:lumMod val="95000"/>
            </a:schemeClr>
          </a:solidFill>
        </p:spPr>
        <p:txBody>
          <a:bodyPr wrap="square" tIns="108000">
            <a:noAutofit/>
          </a:bodyPr>
          <a:lstStyle>
            <a:lvl1pPr marL="0" indent="0" algn="ctr">
              <a:buNone/>
              <a:defRPr sz="1000">
                <a:solidFill>
                  <a:schemeClr val="accent2"/>
                </a:solidFill>
              </a:defRPr>
            </a:lvl1pPr>
          </a:lstStyle>
          <a:p>
            <a:r>
              <a:rPr lang="en-US"/>
              <a:t>Drag picture file here or click </a:t>
            </a:r>
            <a:r>
              <a:rPr lang="en-US" noProof="0"/>
              <a:t>center</a:t>
            </a:r>
            <a:r>
              <a:rPr lang="en-US"/>
              <a:t> icon to insert light image</a:t>
            </a:r>
          </a:p>
          <a:p>
            <a:endParaRPr lang="en-GB"/>
          </a:p>
        </p:txBody>
      </p:sp>
      <p:sp>
        <p:nvSpPr>
          <p:cNvPr id="3" name="Text Placeholder 9">
            <a:extLst>
              <a:ext uri="{FF2B5EF4-FFF2-40B4-BE49-F238E27FC236}">
                <a16:creationId xmlns:a16="http://schemas.microsoft.com/office/drawing/2014/main" id="{6E57A2C4-59D9-2771-7F7C-85AB94B2718D}"/>
              </a:ext>
            </a:extLst>
          </p:cNvPr>
          <p:cNvSpPr>
            <a:spLocks noGrp="1"/>
          </p:cNvSpPr>
          <p:nvPr>
            <p:ph type="body" sz="quarter" idx="16" hasCustomPrompt="1"/>
          </p:nvPr>
        </p:nvSpPr>
        <p:spPr>
          <a:xfrm>
            <a:off x="1487487" y="2500384"/>
            <a:ext cx="9217026" cy="1030130"/>
          </a:xfrm>
          <a:prstGeom prst="rect">
            <a:avLst/>
          </a:prstGeom>
        </p:spPr>
        <p:txBody>
          <a:bodyPr lIns="0" tIns="36000" rIns="0" bIns="0" anchor="b" anchorCtr="0">
            <a:noAutofit/>
          </a:bodyPr>
          <a:lstStyle>
            <a:lvl1pPr marL="0" indent="0" algn="ctr">
              <a:lnSpc>
                <a:spcPct val="85000"/>
              </a:lnSpc>
              <a:spcBef>
                <a:spcPts val="0"/>
              </a:spcBef>
              <a:buNone/>
              <a:defRPr sz="3600">
                <a:solidFill>
                  <a:schemeClr val="tx1"/>
                </a:solidFill>
                <a:latin typeface="+mj-lt"/>
              </a:defRPr>
            </a:lvl1pPr>
          </a:lstStyle>
          <a:p>
            <a:pPr lvl="0"/>
            <a:r>
              <a:rPr lang="en-US"/>
              <a:t>Section break one line</a:t>
            </a:r>
          </a:p>
        </p:txBody>
      </p:sp>
      <p:sp>
        <p:nvSpPr>
          <p:cNvPr id="4" name="Text Placeholder 9">
            <a:extLst>
              <a:ext uri="{FF2B5EF4-FFF2-40B4-BE49-F238E27FC236}">
                <a16:creationId xmlns:a16="http://schemas.microsoft.com/office/drawing/2014/main" id="{EF52E4A2-526B-92C0-3BC8-41B3956FCFBA}"/>
              </a:ext>
            </a:extLst>
          </p:cNvPr>
          <p:cNvSpPr>
            <a:spLocks noGrp="1"/>
          </p:cNvSpPr>
          <p:nvPr>
            <p:ph type="body" sz="quarter" idx="17" hasCustomPrompt="1"/>
          </p:nvPr>
        </p:nvSpPr>
        <p:spPr>
          <a:xfrm>
            <a:off x="1487487" y="3659011"/>
            <a:ext cx="9213525" cy="281703"/>
          </a:xfrm>
          <a:prstGeom prst="rect">
            <a:avLst/>
          </a:prstGeom>
        </p:spPr>
        <p:txBody>
          <a:bodyPr lIns="0" tIns="36000" rIns="0" bIns="0" anchor="t" anchorCtr="0">
            <a:noAutofit/>
          </a:bodyPr>
          <a:lstStyle>
            <a:lvl1pPr marL="0" indent="0" algn="ctr">
              <a:lnSpc>
                <a:spcPct val="85000"/>
              </a:lnSpc>
              <a:buNone/>
              <a:defRPr sz="2000">
                <a:solidFill>
                  <a:schemeClr val="tx1"/>
                </a:solidFill>
                <a:latin typeface="+mn-lt"/>
              </a:defRPr>
            </a:lvl1pPr>
          </a:lstStyle>
          <a:p>
            <a:pPr lvl="0"/>
            <a:r>
              <a:rPr lang="en-US"/>
              <a:t>Section break subtitle here</a:t>
            </a:r>
          </a:p>
        </p:txBody>
      </p:sp>
    </p:spTree>
    <p:extLst>
      <p:ext uri="{BB962C8B-B14F-4D97-AF65-F5344CB8AC3E}">
        <p14:creationId xmlns:p14="http://schemas.microsoft.com/office/powerpoint/2010/main" val="330595860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x Text / 1x Tablet (Landscape)">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241F84FB-8FA7-515E-89EE-32BE7CE9390A}"/>
              </a:ext>
            </a:extLst>
          </p:cNvPr>
          <p:cNvSpPr/>
          <p:nvPr userDrawn="1"/>
        </p:nvSpPr>
        <p:spPr>
          <a:xfrm>
            <a:off x="4695563" y="1681560"/>
            <a:ext cx="6148800" cy="3769200"/>
          </a:xfrm>
          <a:prstGeom prst="round2SameRect">
            <a:avLst>
              <a:gd name="adj1" fmla="val 2349"/>
              <a:gd name="adj2" fmla="val 2296"/>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1090272"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1109027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628775"/>
            <a:ext cx="3204000" cy="4500563"/>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6" name="Picture Placeholder 15">
            <a:extLst>
              <a:ext uri="{FF2B5EF4-FFF2-40B4-BE49-F238E27FC236}">
                <a16:creationId xmlns:a16="http://schemas.microsoft.com/office/drawing/2014/main" id="{3A972FEF-2577-B8B6-087C-0059E960CE35}"/>
              </a:ext>
            </a:extLst>
          </p:cNvPr>
          <p:cNvSpPr>
            <a:spLocks noGrp="1"/>
          </p:cNvSpPr>
          <p:nvPr>
            <p:ph type="pic" sz="quarter" idx="20" hasCustomPrompt="1"/>
          </p:nvPr>
        </p:nvSpPr>
        <p:spPr>
          <a:xfrm>
            <a:off x="4847376" y="1814760"/>
            <a:ext cx="5846400" cy="3502800"/>
          </a:xfrm>
          <a:solidFill>
            <a:schemeClr val="tx1">
              <a:lumMod val="75000"/>
              <a:lumOff val="25000"/>
            </a:schemeClr>
          </a:solidFill>
          <a:ln w="12700">
            <a:noFill/>
          </a:ln>
        </p:spPr>
        <p:txBody>
          <a:bodyPr tIns="108000" anchor="t" anchorCtr="0"/>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a:t>
            </a:r>
            <a:r>
              <a:rPr lang="en-GB"/>
              <a:t>screenshot</a:t>
            </a:r>
          </a:p>
        </p:txBody>
      </p:sp>
    </p:spTree>
    <p:extLst>
      <p:ext uri="{BB962C8B-B14F-4D97-AF65-F5344CB8AC3E}">
        <p14:creationId xmlns:p14="http://schemas.microsoft.com/office/powerpoint/2010/main" val="240443520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x Text / 1x Tablet (Portrait)">
    <p:spTree>
      <p:nvGrpSpPr>
        <p:cNvPr id="1" name=""/>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241F84FB-8FA7-515E-89EE-32BE7CE9390A}"/>
              </a:ext>
            </a:extLst>
          </p:cNvPr>
          <p:cNvSpPr/>
          <p:nvPr userDrawn="1"/>
        </p:nvSpPr>
        <p:spPr>
          <a:xfrm rot="5400000">
            <a:off x="5081086" y="1298079"/>
            <a:ext cx="5774739" cy="3887787"/>
          </a:xfrm>
          <a:prstGeom prst="round2SameRect">
            <a:avLst>
              <a:gd name="adj1" fmla="val 2349"/>
              <a:gd name="adj2" fmla="val 2296"/>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3204000"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3204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6" name="Picture Placeholder 15">
            <a:extLst>
              <a:ext uri="{FF2B5EF4-FFF2-40B4-BE49-F238E27FC236}">
                <a16:creationId xmlns:a16="http://schemas.microsoft.com/office/drawing/2014/main" id="{90BF509B-4750-DBE8-9302-4ED8DE780388}"/>
              </a:ext>
            </a:extLst>
          </p:cNvPr>
          <p:cNvSpPr>
            <a:spLocks noGrp="1"/>
          </p:cNvSpPr>
          <p:nvPr>
            <p:ph type="pic" sz="quarter" idx="20" hasCustomPrompt="1"/>
          </p:nvPr>
        </p:nvSpPr>
        <p:spPr>
          <a:xfrm>
            <a:off x="6168230" y="507027"/>
            <a:ext cx="3600450" cy="5469890"/>
          </a:xfrm>
          <a:solidFill>
            <a:schemeClr val="tx1">
              <a:lumMod val="75000"/>
              <a:lumOff val="25000"/>
            </a:schemeClr>
          </a:solidFill>
          <a:ln w="12700">
            <a:noFill/>
          </a:ln>
        </p:spPr>
        <p:txBody>
          <a:bodyPr tIns="108000" anchor="t" anchorCtr="0"/>
          <a:lstStyle>
            <a:lvl1pPr marL="0" indent="0" algn="ctr">
              <a:buNone/>
              <a:defRPr sz="1000">
                <a:solidFill>
                  <a:schemeClr val="accent1"/>
                </a:solidFill>
                <a:latin typeface="+mn-lt"/>
              </a:defRPr>
            </a:lvl1pPr>
          </a:lstStyle>
          <a:p>
            <a:pPr lvl="0"/>
            <a:r>
              <a:rPr lang="en-US"/>
              <a:t>Drag picture file or click </a:t>
            </a:r>
            <a:r>
              <a:rPr lang="en-US" noProof="0"/>
              <a:t>center</a:t>
            </a:r>
            <a:r>
              <a:rPr lang="en-US"/>
              <a:t> icon to insert </a:t>
            </a:r>
            <a:r>
              <a:rPr lang="en-GB"/>
              <a:t>screenshot</a:t>
            </a:r>
          </a:p>
        </p:txBody>
      </p:sp>
    </p:spTree>
    <p:extLst>
      <p:ext uri="{BB962C8B-B14F-4D97-AF65-F5344CB8AC3E}">
        <p14:creationId xmlns:p14="http://schemas.microsoft.com/office/powerpoint/2010/main" val="42317448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 Map (Fix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3204000"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3204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p:spPr>
        <p:txBody>
          <a:bodyPr/>
          <a:lstStyle>
            <a:lvl4pPr>
              <a:buClr>
                <a:schemeClr val="bg1"/>
              </a:buClr>
              <a:defRPr/>
            </a:lvl4pPr>
            <a:lvl5pPr>
              <a:buClr>
                <a:schemeClr val="bg1"/>
              </a:buClr>
              <a:defRPr/>
            </a:lvl5pPr>
          </a:lstStyle>
          <a:p>
            <a:pPr lvl="0"/>
            <a:r>
              <a:rPr lang="en-US"/>
              <a:t>Click to edit Master text styles</a:t>
            </a:r>
          </a:p>
          <a:p>
            <a:pPr lvl="1"/>
            <a:r>
              <a:rPr lang="en-US"/>
              <a:t>Second level</a:t>
            </a:r>
          </a:p>
          <a:p>
            <a:pPr lvl="2"/>
            <a:r>
              <a:rPr lang="en-US"/>
              <a:t>Third level</a:t>
            </a:r>
          </a:p>
        </p:txBody>
      </p:sp>
      <p:grpSp>
        <p:nvGrpSpPr>
          <p:cNvPr id="6" name="Group 5">
            <a:extLst>
              <a:ext uri="{FF2B5EF4-FFF2-40B4-BE49-F238E27FC236}">
                <a16:creationId xmlns:a16="http://schemas.microsoft.com/office/drawing/2014/main" id="{CFB9E072-72A1-65B9-4589-FAEFF2F27070}"/>
              </a:ext>
            </a:extLst>
          </p:cNvPr>
          <p:cNvGrpSpPr/>
          <p:nvPr userDrawn="1"/>
        </p:nvGrpSpPr>
        <p:grpSpPr>
          <a:xfrm>
            <a:off x="3837161" y="866775"/>
            <a:ext cx="7917688" cy="5124452"/>
            <a:chOff x="1857537" y="685800"/>
            <a:chExt cx="8476926" cy="5486400"/>
          </a:xfrm>
          <a:solidFill>
            <a:srgbClr val="2A2B2D"/>
          </a:solidFill>
        </p:grpSpPr>
        <p:sp>
          <p:nvSpPr>
            <p:cNvPr id="7" name="Fiji">
              <a:extLst>
                <a:ext uri="{FF2B5EF4-FFF2-40B4-BE49-F238E27FC236}">
                  <a16:creationId xmlns:a16="http://schemas.microsoft.com/office/drawing/2014/main" id="{0F215382-11BE-C3F4-BA47-7D41D421D1C1}"/>
                </a:ext>
              </a:extLst>
            </p:cNvPr>
            <p:cNvSpPr>
              <a:spLocks/>
            </p:cNvSpPr>
            <p:nvPr/>
          </p:nvSpPr>
          <p:spPr bwMode="auto">
            <a:xfrm>
              <a:off x="10005578" y="4972310"/>
              <a:ext cx="66861" cy="54214"/>
            </a:xfrm>
            <a:custGeom>
              <a:avLst/>
              <a:gdLst/>
              <a:ahLst/>
              <a:cxnLst/>
              <a:rect l="l" t="t" r="r" b="b"/>
              <a:pathLst>
                <a:path w="67394" h="54646">
                  <a:moveTo>
                    <a:pt x="21857" y="27323"/>
                  </a:moveTo>
                  <a:lnTo>
                    <a:pt x="21857" y="29145"/>
                  </a:lnTo>
                  <a:lnTo>
                    <a:pt x="27322" y="32788"/>
                  </a:lnTo>
                  <a:lnTo>
                    <a:pt x="32786" y="49182"/>
                  </a:lnTo>
                  <a:lnTo>
                    <a:pt x="29143" y="51003"/>
                  </a:lnTo>
                  <a:lnTo>
                    <a:pt x="20036" y="54646"/>
                  </a:lnTo>
                  <a:lnTo>
                    <a:pt x="0" y="49182"/>
                  </a:lnTo>
                  <a:lnTo>
                    <a:pt x="0" y="34609"/>
                  </a:lnTo>
                  <a:lnTo>
                    <a:pt x="14572" y="29145"/>
                  </a:lnTo>
                  <a:lnTo>
                    <a:pt x="20036" y="29145"/>
                  </a:lnTo>
                  <a:close/>
                  <a:moveTo>
                    <a:pt x="65573" y="0"/>
                  </a:moveTo>
                  <a:lnTo>
                    <a:pt x="67394" y="0"/>
                  </a:lnTo>
                  <a:lnTo>
                    <a:pt x="67394" y="3643"/>
                  </a:lnTo>
                  <a:lnTo>
                    <a:pt x="61930" y="9107"/>
                  </a:lnTo>
                  <a:lnTo>
                    <a:pt x="61930" y="16393"/>
                  </a:lnTo>
                  <a:lnTo>
                    <a:pt x="49179" y="12750"/>
                  </a:lnTo>
                  <a:lnTo>
                    <a:pt x="38251" y="21858"/>
                  </a:lnTo>
                  <a:lnTo>
                    <a:pt x="34608" y="21858"/>
                  </a:lnTo>
                  <a:lnTo>
                    <a:pt x="27322" y="12750"/>
                  </a:lnTo>
                  <a:lnTo>
                    <a:pt x="27322" y="10929"/>
                  </a:lnTo>
                  <a:lnTo>
                    <a:pt x="29143" y="10929"/>
                  </a:lnTo>
                  <a:lnTo>
                    <a:pt x="38251" y="9107"/>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 name="New Zealand (North Island)">
              <a:extLst>
                <a:ext uri="{FF2B5EF4-FFF2-40B4-BE49-F238E27FC236}">
                  <a16:creationId xmlns:a16="http://schemas.microsoft.com/office/drawing/2014/main" id="{CE67551D-6B8C-E6B2-73C8-710A5927BEBE}"/>
                </a:ext>
              </a:extLst>
            </p:cNvPr>
            <p:cNvSpPr>
              <a:spLocks/>
            </p:cNvSpPr>
            <p:nvPr/>
          </p:nvSpPr>
          <p:spPr bwMode="auto">
            <a:xfrm>
              <a:off x="9898962" y="5449375"/>
              <a:ext cx="139145" cy="215041"/>
            </a:xfrm>
            <a:custGeom>
              <a:avLst/>
              <a:gdLst>
                <a:gd name="T0" fmla="*/ 0 w 77"/>
                <a:gd name="T1" fmla="*/ 0 h 119"/>
                <a:gd name="T2" fmla="*/ 4 w 77"/>
                <a:gd name="T3" fmla="*/ 0 h 119"/>
                <a:gd name="T4" fmla="*/ 7 w 77"/>
                <a:gd name="T5" fmla="*/ 7 h 119"/>
                <a:gd name="T6" fmla="*/ 9 w 77"/>
                <a:gd name="T7" fmla="*/ 6 h 119"/>
                <a:gd name="T8" fmla="*/ 21 w 77"/>
                <a:gd name="T9" fmla="*/ 13 h 119"/>
                <a:gd name="T10" fmla="*/ 25 w 77"/>
                <a:gd name="T11" fmla="*/ 24 h 119"/>
                <a:gd name="T12" fmla="*/ 25 w 77"/>
                <a:gd name="T13" fmla="*/ 25 h 119"/>
                <a:gd name="T14" fmla="*/ 22 w 77"/>
                <a:gd name="T15" fmla="*/ 25 h 119"/>
                <a:gd name="T16" fmla="*/ 29 w 77"/>
                <a:gd name="T17" fmla="*/ 33 h 119"/>
                <a:gd name="T18" fmla="*/ 28 w 77"/>
                <a:gd name="T19" fmla="*/ 40 h 119"/>
                <a:gd name="T20" fmla="*/ 34 w 77"/>
                <a:gd name="T21" fmla="*/ 40 h 119"/>
                <a:gd name="T22" fmla="*/ 35 w 77"/>
                <a:gd name="T23" fmla="*/ 43 h 119"/>
                <a:gd name="T24" fmla="*/ 35 w 77"/>
                <a:gd name="T25" fmla="*/ 34 h 119"/>
                <a:gd name="T26" fmla="*/ 37 w 77"/>
                <a:gd name="T27" fmla="*/ 34 h 119"/>
                <a:gd name="T28" fmla="*/ 40 w 77"/>
                <a:gd name="T29" fmla="*/ 37 h 119"/>
                <a:gd name="T30" fmla="*/ 41 w 77"/>
                <a:gd name="T31" fmla="*/ 37 h 119"/>
                <a:gd name="T32" fmla="*/ 44 w 77"/>
                <a:gd name="T33" fmla="*/ 52 h 119"/>
                <a:gd name="T34" fmla="*/ 58 w 77"/>
                <a:gd name="T35" fmla="*/ 56 h 119"/>
                <a:gd name="T36" fmla="*/ 70 w 77"/>
                <a:gd name="T37" fmla="*/ 49 h 119"/>
                <a:gd name="T38" fmla="*/ 77 w 77"/>
                <a:gd name="T39" fmla="*/ 52 h 119"/>
                <a:gd name="T40" fmla="*/ 77 w 77"/>
                <a:gd name="T41" fmla="*/ 53 h 119"/>
                <a:gd name="T42" fmla="*/ 74 w 77"/>
                <a:gd name="T43" fmla="*/ 68 h 119"/>
                <a:gd name="T44" fmla="*/ 70 w 77"/>
                <a:gd name="T45" fmla="*/ 70 h 119"/>
                <a:gd name="T46" fmla="*/ 70 w 77"/>
                <a:gd name="T47" fmla="*/ 77 h 119"/>
                <a:gd name="T48" fmla="*/ 59 w 77"/>
                <a:gd name="T49" fmla="*/ 79 h 119"/>
                <a:gd name="T50" fmla="*/ 55 w 77"/>
                <a:gd name="T51" fmla="*/ 83 h 119"/>
                <a:gd name="T52" fmla="*/ 58 w 77"/>
                <a:gd name="T53" fmla="*/ 87 h 119"/>
                <a:gd name="T54" fmla="*/ 58 w 77"/>
                <a:gd name="T55" fmla="*/ 89 h 119"/>
                <a:gd name="T56" fmla="*/ 53 w 77"/>
                <a:gd name="T57" fmla="*/ 99 h 119"/>
                <a:gd name="T58" fmla="*/ 37 w 77"/>
                <a:gd name="T59" fmla="*/ 119 h 119"/>
                <a:gd name="T60" fmla="*/ 27 w 77"/>
                <a:gd name="T61" fmla="*/ 114 h 119"/>
                <a:gd name="T62" fmla="*/ 27 w 77"/>
                <a:gd name="T63" fmla="*/ 113 h 119"/>
                <a:gd name="T64" fmla="*/ 32 w 77"/>
                <a:gd name="T65" fmla="*/ 102 h 119"/>
                <a:gd name="T66" fmla="*/ 32 w 77"/>
                <a:gd name="T67" fmla="*/ 95 h 119"/>
                <a:gd name="T68" fmla="*/ 13 w 77"/>
                <a:gd name="T69" fmla="*/ 81 h 119"/>
                <a:gd name="T70" fmla="*/ 13 w 77"/>
                <a:gd name="T71" fmla="*/ 80 h 119"/>
                <a:gd name="T72" fmla="*/ 16 w 77"/>
                <a:gd name="T73" fmla="*/ 76 h 119"/>
                <a:gd name="T74" fmla="*/ 24 w 77"/>
                <a:gd name="T75" fmla="*/ 71 h 119"/>
                <a:gd name="T76" fmla="*/ 27 w 77"/>
                <a:gd name="T77" fmla="*/ 59 h 119"/>
                <a:gd name="T78" fmla="*/ 28 w 77"/>
                <a:gd name="T79" fmla="*/ 59 h 119"/>
                <a:gd name="T80" fmla="*/ 28 w 77"/>
                <a:gd name="T81" fmla="*/ 47 h 119"/>
                <a:gd name="T82" fmla="*/ 25 w 77"/>
                <a:gd name="T83" fmla="*/ 44 h 119"/>
                <a:gd name="T84" fmla="*/ 27 w 77"/>
                <a:gd name="T85" fmla="*/ 41 h 119"/>
                <a:gd name="T86" fmla="*/ 25 w 77"/>
                <a:gd name="T87" fmla="*/ 43 h 119"/>
                <a:gd name="T88" fmla="*/ 24 w 77"/>
                <a:gd name="T89" fmla="*/ 43 h 119"/>
                <a:gd name="T90" fmla="*/ 24 w 77"/>
                <a:gd name="T91" fmla="*/ 41 h 119"/>
                <a:gd name="T92" fmla="*/ 21 w 77"/>
                <a:gd name="T93" fmla="*/ 37 h 119"/>
                <a:gd name="T94" fmla="*/ 21 w 77"/>
                <a:gd name="T95" fmla="*/ 30 h 119"/>
                <a:gd name="T96" fmla="*/ 19 w 77"/>
                <a:gd name="T97" fmla="*/ 30 h 119"/>
                <a:gd name="T98" fmla="*/ 19 w 77"/>
                <a:gd name="T99" fmla="*/ 31 h 119"/>
                <a:gd name="T100" fmla="*/ 10 w 77"/>
                <a:gd name="T101" fmla="*/ 22 h 119"/>
                <a:gd name="T102" fmla="*/ 9 w 77"/>
                <a:gd name="T103" fmla="*/ 18 h 119"/>
                <a:gd name="T104" fmla="*/ 6 w 77"/>
                <a:gd name="T105" fmla="*/ 15 h 119"/>
                <a:gd name="T106" fmla="*/ 0 w 77"/>
                <a:gd name="T107" fmla="*/ 1 h 119"/>
                <a:gd name="T108" fmla="*/ 0 w 7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 h="119">
                  <a:moveTo>
                    <a:pt x="0" y="0"/>
                  </a:moveTo>
                  <a:lnTo>
                    <a:pt x="4" y="0"/>
                  </a:lnTo>
                  <a:lnTo>
                    <a:pt x="7" y="7"/>
                  </a:lnTo>
                  <a:lnTo>
                    <a:pt x="9" y="6"/>
                  </a:lnTo>
                  <a:lnTo>
                    <a:pt x="21" y="13"/>
                  </a:lnTo>
                  <a:lnTo>
                    <a:pt x="25" y="24"/>
                  </a:lnTo>
                  <a:lnTo>
                    <a:pt x="25" y="25"/>
                  </a:lnTo>
                  <a:lnTo>
                    <a:pt x="22" y="25"/>
                  </a:lnTo>
                  <a:lnTo>
                    <a:pt x="29" y="33"/>
                  </a:lnTo>
                  <a:lnTo>
                    <a:pt x="28" y="40"/>
                  </a:lnTo>
                  <a:lnTo>
                    <a:pt x="34" y="40"/>
                  </a:lnTo>
                  <a:lnTo>
                    <a:pt x="35" y="43"/>
                  </a:lnTo>
                  <a:lnTo>
                    <a:pt x="35" y="34"/>
                  </a:lnTo>
                  <a:lnTo>
                    <a:pt x="37" y="34"/>
                  </a:lnTo>
                  <a:lnTo>
                    <a:pt x="40" y="37"/>
                  </a:lnTo>
                  <a:lnTo>
                    <a:pt x="41" y="37"/>
                  </a:lnTo>
                  <a:lnTo>
                    <a:pt x="44" y="52"/>
                  </a:lnTo>
                  <a:lnTo>
                    <a:pt x="58" y="56"/>
                  </a:lnTo>
                  <a:lnTo>
                    <a:pt x="70" y="49"/>
                  </a:lnTo>
                  <a:lnTo>
                    <a:pt x="77" y="52"/>
                  </a:lnTo>
                  <a:lnTo>
                    <a:pt x="77" y="53"/>
                  </a:lnTo>
                  <a:lnTo>
                    <a:pt x="74" y="68"/>
                  </a:lnTo>
                  <a:lnTo>
                    <a:pt x="70" y="70"/>
                  </a:lnTo>
                  <a:lnTo>
                    <a:pt x="70" y="77"/>
                  </a:lnTo>
                  <a:lnTo>
                    <a:pt x="59" y="79"/>
                  </a:lnTo>
                  <a:lnTo>
                    <a:pt x="55" y="83"/>
                  </a:lnTo>
                  <a:lnTo>
                    <a:pt x="58" y="87"/>
                  </a:lnTo>
                  <a:lnTo>
                    <a:pt x="58" y="89"/>
                  </a:lnTo>
                  <a:lnTo>
                    <a:pt x="53" y="99"/>
                  </a:lnTo>
                  <a:lnTo>
                    <a:pt x="37" y="119"/>
                  </a:lnTo>
                  <a:lnTo>
                    <a:pt x="27" y="114"/>
                  </a:lnTo>
                  <a:lnTo>
                    <a:pt x="27" y="113"/>
                  </a:lnTo>
                  <a:lnTo>
                    <a:pt x="32" y="102"/>
                  </a:lnTo>
                  <a:lnTo>
                    <a:pt x="32" y="95"/>
                  </a:lnTo>
                  <a:lnTo>
                    <a:pt x="13" y="81"/>
                  </a:lnTo>
                  <a:lnTo>
                    <a:pt x="13" y="80"/>
                  </a:lnTo>
                  <a:lnTo>
                    <a:pt x="16" y="76"/>
                  </a:lnTo>
                  <a:lnTo>
                    <a:pt x="24" y="71"/>
                  </a:lnTo>
                  <a:lnTo>
                    <a:pt x="27" y="59"/>
                  </a:lnTo>
                  <a:lnTo>
                    <a:pt x="28" y="59"/>
                  </a:lnTo>
                  <a:lnTo>
                    <a:pt x="28" y="47"/>
                  </a:lnTo>
                  <a:lnTo>
                    <a:pt x="25" y="44"/>
                  </a:lnTo>
                  <a:lnTo>
                    <a:pt x="27" y="41"/>
                  </a:lnTo>
                  <a:lnTo>
                    <a:pt x="25" y="43"/>
                  </a:lnTo>
                  <a:lnTo>
                    <a:pt x="24" y="43"/>
                  </a:lnTo>
                  <a:lnTo>
                    <a:pt x="24" y="41"/>
                  </a:lnTo>
                  <a:lnTo>
                    <a:pt x="21" y="37"/>
                  </a:lnTo>
                  <a:lnTo>
                    <a:pt x="21" y="30"/>
                  </a:lnTo>
                  <a:lnTo>
                    <a:pt x="19" y="30"/>
                  </a:lnTo>
                  <a:lnTo>
                    <a:pt x="19" y="31"/>
                  </a:lnTo>
                  <a:lnTo>
                    <a:pt x="10" y="22"/>
                  </a:lnTo>
                  <a:lnTo>
                    <a:pt x="9" y="18"/>
                  </a:lnTo>
                  <a:lnTo>
                    <a:pt x="6" y="15"/>
                  </a:lnTo>
                  <a:lnTo>
                    <a:pt x="0" y="1"/>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 name="New Zealand (South Island)">
              <a:extLst>
                <a:ext uri="{FF2B5EF4-FFF2-40B4-BE49-F238E27FC236}">
                  <a16:creationId xmlns:a16="http://schemas.microsoft.com/office/drawing/2014/main" id="{7D14F55E-F9CC-B751-CEB2-3A2DA5C84E3C}"/>
                </a:ext>
              </a:extLst>
            </p:cNvPr>
            <p:cNvSpPr>
              <a:spLocks/>
            </p:cNvSpPr>
            <p:nvPr/>
          </p:nvSpPr>
          <p:spPr bwMode="auto">
            <a:xfrm>
              <a:off x="9754396" y="5631889"/>
              <a:ext cx="182514" cy="200585"/>
            </a:xfrm>
            <a:custGeom>
              <a:avLst/>
              <a:gdLst>
                <a:gd name="T0" fmla="*/ 80 w 101"/>
                <a:gd name="T1" fmla="*/ 0 h 111"/>
                <a:gd name="T2" fmla="*/ 87 w 101"/>
                <a:gd name="T3" fmla="*/ 12 h 111"/>
                <a:gd name="T4" fmla="*/ 95 w 101"/>
                <a:gd name="T5" fmla="*/ 6 h 111"/>
                <a:gd name="T6" fmla="*/ 96 w 101"/>
                <a:gd name="T7" fmla="*/ 6 h 111"/>
                <a:gd name="T8" fmla="*/ 98 w 101"/>
                <a:gd name="T9" fmla="*/ 7 h 111"/>
                <a:gd name="T10" fmla="*/ 101 w 101"/>
                <a:gd name="T11" fmla="*/ 9 h 111"/>
                <a:gd name="T12" fmla="*/ 101 w 101"/>
                <a:gd name="T13" fmla="*/ 10 h 111"/>
                <a:gd name="T14" fmla="*/ 99 w 101"/>
                <a:gd name="T15" fmla="*/ 13 h 111"/>
                <a:gd name="T16" fmla="*/ 101 w 101"/>
                <a:gd name="T17" fmla="*/ 22 h 111"/>
                <a:gd name="T18" fmla="*/ 90 w 101"/>
                <a:gd name="T19" fmla="*/ 40 h 111"/>
                <a:gd name="T20" fmla="*/ 83 w 101"/>
                <a:gd name="T21" fmla="*/ 46 h 111"/>
                <a:gd name="T22" fmla="*/ 81 w 101"/>
                <a:gd name="T23" fmla="*/ 55 h 111"/>
                <a:gd name="T24" fmla="*/ 86 w 101"/>
                <a:gd name="T25" fmla="*/ 59 h 111"/>
                <a:gd name="T26" fmla="*/ 86 w 101"/>
                <a:gd name="T27" fmla="*/ 61 h 111"/>
                <a:gd name="T28" fmla="*/ 77 w 101"/>
                <a:gd name="T29" fmla="*/ 56 h 111"/>
                <a:gd name="T30" fmla="*/ 68 w 101"/>
                <a:gd name="T31" fmla="*/ 64 h 111"/>
                <a:gd name="T32" fmla="*/ 65 w 101"/>
                <a:gd name="T33" fmla="*/ 62 h 111"/>
                <a:gd name="T34" fmla="*/ 55 w 101"/>
                <a:gd name="T35" fmla="*/ 98 h 111"/>
                <a:gd name="T36" fmla="*/ 41 w 101"/>
                <a:gd name="T37" fmla="*/ 108 h 111"/>
                <a:gd name="T38" fmla="*/ 32 w 101"/>
                <a:gd name="T39" fmla="*/ 111 h 111"/>
                <a:gd name="T40" fmla="*/ 16 w 101"/>
                <a:gd name="T41" fmla="*/ 105 h 111"/>
                <a:gd name="T42" fmla="*/ 15 w 101"/>
                <a:gd name="T43" fmla="*/ 102 h 111"/>
                <a:gd name="T44" fmla="*/ 3 w 101"/>
                <a:gd name="T45" fmla="*/ 102 h 111"/>
                <a:gd name="T46" fmla="*/ 3 w 101"/>
                <a:gd name="T47" fmla="*/ 99 h 111"/>
                <a:gd name="T48" fmla="*/ 1 w 101"/>
                <a:gd name="T49" fmla="*/ 99 h 111"/>
                <a:gd name="T50" fmla="*/ 1 w 101"/>
                <a:gd name="T51" fmla="*/ 96 h 111"/>
                <a:gd name="T52" fmla="*/ 0 w 101"/>
                <a:gd name="T53" fmla="*/ 96 h 111"/>
                <a:gd name="T54" fmla="*/ 0 w 101"/>
                <a:gd name="T55" fmla="*/ 95 h 111"/>
                <a:gd name="T56" fmla="*/ 4 w 101"/>
                <a:gd name="T57" fmla="*/ 92 h 111"/>
                <a:gd name="T58" fmla="*/ 6 w 101"/>
                <a:gd name="T59" fmla="*/ 89 h 111"/>
                <a:gd name="T60" fmla="*/ 3 w 101"/>
                <a:gd name="T61" fmla="*/ 89 h 111"/>
                <a:gd name="T62" fmla="*/ 3 w 101"/>
                <a:gd name="T63" fmla="*/ 87 h 111"/>
                <a:gd name="T64" fmla="*/ 4 w 101"/>
                <a:gd name="T65" fmla="*/ 84 h 111"/>
                <a:gd name="T66" fmla="*/ 7 w 101"/>
                <a:gd name="T67" fmla="*/ 84 h 111"/>
                <a:gd name="T68" fmla="*/ 7 w 101"/>
                <a:gd name="T69" fmla="*/ 83 h 111"/>
                <a:gd name="T70" fmla="*/ 6 w 101"/>
                <a:gd name="T71" fmla="*/ 83 h 111"/>
                <a:gd name="T72" fmla="*/ 7 w 101"/>
                <a:gd name="T73" fmla="*/ 78 h 111"/>
                <a:gd name="T74" fmla="*/ 10 w 101"/>
                <a:gd name="T75" fmla="*/ 77 h 111"/>
                <a:gd name="T76" fmla="*/ 12 w 101"/>
                <a:gd name="T77" fmla="*/ 77 h 111"/>
                <a:gd name="T78" fmla="*/ 12 w 101"/>
                <a:gd name="T79" fmla="*/ 75 h 111"/>
                <a:gd name="T80" fmla="*/ 21 w 101"/>
                <a:gd name="T81" fmla="*/ 62 h 111"/>
                <a:gd name="T82" fmla="*/ 21 w 101"/>
                <a:gd name="T83" fmla="*/ 61 h 111"/>
                <a:gd name="T84" fmla="*/ 22 w 101"/>
                <a:gd name="T85" fmla="*/ 61 h 111"/>
                <a:gd name="T86" fmla="*/ 34 w 101"/>
                <a:gd name="T87" fmla="*/ 58 h 111"/>
                <a:gd name="T88" fmla="*/ 56 w 101"/>
                <a:gd name="T89" fmla="*/ 38 h 111"/>
                <a:gd name="T90" fmla="*/ 64 w 101"/>
                <a:gd name="T91" fmla="*/ 22 h 111"/>
                <a:gd name="T92" fmla="*/ 69 w 101"/>
                <a:gd name="T93" fmla="*/ 18 h 111"/>
                <a:gd name="T94" fmla="*/ 72 w 101"/>
                <a:gd name="T95" fmla="*/ 9 h 111"/>
                <a:gd name="T96" fmla="*/ 80 w 101"/>
                <a:gd name="T9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 h="111">
                  <a:moveTo>
                    <a:pt x="80" y="0"/>
                  </a:moveTo>
                  <a:lnTo>
                    <a:pt x="87" y="12"/>
                  </a:lnTo>
                  <a:lnTo>
                    <a:pt x="95" y="6"/>
                  </a:lnTo>
                  <a:lnTo>
                    <a:pt x="96" y="6"/>
                  </a:lnTo>
                  <a:lnTo>
                    <a:pt x="98" y="7"/>
                  </a:lnTo>
                  <a:lnTo>
                    <a:pt x="101" y="9"/>
                  </a:lnTo>
                  <a:lnTo>
                    <a:pt x="101" y="10"/>
                  </a:lnTo>
                  <a:lnTo>
                    <a:pt x="99" y="13"/>
                  </a:lnTo>
                  <a:lnTo>
                    <a:pt x="101" y="22"/>
                  </a:lnTo>
                  <a:lnTo>
                    <a:pt x="90" y="40"/>
                  </a:lnTo>
                  <a:lnTo>
                    <a:pt x="83" y="46"/>
                  </a:lnTo>
                  <a:lnTo>
                    <a:pt x="81" y="55"/>
                  </a:lnTo>
                  <a:lnTo>
                    <a:pt x="86" y="59"/>
                  </a:lnTo>
                  <a:lnTo>
                    <a:pt x="86" y="61"/>
                  </a:lnTo>
                  <a:lnTo>
                    <a:pt x="77" y="56"/>
                  </a:lnTo>
                  <a:lnTo>
                    <a:pt x="68" y="64"/>
                  </a:lnTo>
                  <a:lnTo>
                    <a:pt x="65" y="62"/>
                  </a:lnTo>
                  <a:lnTo>
                    <a:pt x="55" y="98"/>
                  </a:lnTo>
                  <a:lnTo>
                    <a:pt x="41" y="108"/>
                  </a:lnTo>
                  <a:lnTo>
                    <a:pt x="32" y="111"/>
                  </a:lnTo>
                  <a:lnTo>
                    <a:pt x="16" y="105"/>
                  </a:lnTo>
                  <a:lnTo>
                    <a:pt x="15" y="102"/>
                  </a:lnTo>
                  <a:lnTo>
                    <a:pt x="3" y="102"/>
                  </a:lnTo>
                  <a:lnTo>
                    <a:pt x="3" y="99"/>
                  </a:lnTo>
                  <a:lnTo>
                    <a:pt x="1" y="99"/>
                  </a:lnTo>
                  <a:lnTo>
                    <a:pt x="1" y="96"/>
                  </a:lnTo>
                  <a:lnTo>
                    <a:pt x="0" y="96"/>
                  </a:lnTo>
                  <a:lnTo>
                    <a:pt x="0" y="95"/>
                  </a:lnTo>
                  <a:lnTo>
                    <a:pt x="4" y="92"/>
                  </a:lnTo>
                  <a:lnTo>
                    <a:pt x="6" y="89"/>
                  </a:lnTo>
                  <a:lnTo>
                    <a:pt x="3" y="89"/>
                  </a:lnTo>
                  <a:lnTo>
                    <a:pt x="3" y="87"/>
                  </a:lnTo>
                  <a:lnTo>
                    <a:pt x="4" y="84"/>
                  </a:lnTo>
                  <a:lnTo>
                    <a:pt x="7" y="84"/>
                  </a:lnTo>
                  <a:lnTo>
                    <a:pt x="7" y="83"/>
                  </a:lnTo>
                  <a:lnTo>
                    <a:pt x="6" y="83"/>
                  </a:lnTo>
                  <a:lnTo>
                    <a:pt x="7" y="78"/>
                  </a:lnTo>
                  <a:lnTo>
                    <a:pt x="10" y="77"/>
                  </a:lnTo>
                  <a:lnTo>
                    <a:pt x="12" y="77"/>
                  </a:lnTo>
                  <a:lnTo>
                    <a:pt x="12" y="75"/>
                  </a:lnTo>
                  <a:lnTo>
                    <a:pt x="21" y="62"/>
                  </a:lnTo>
                  <a:lnTo>
                    <a:pt x="21" y="61"/>
                  </a:lnTo>
                  <a:lnTo>
                    <a:pt x="22" y="61"/>
                  </a:lnTo>
                  <a:lnTo>
                    <a:pt x="34" y="58"/>
                  </a:lnTo>
                  <a:lnTo>
                    <a:pt x="56" y="38"/>
                  </a:lnTo>
                  <a:lnTo>
                    <a:pt x="64" y="22"/>
                  </a:lnTo>
                  <a:lnTo>
                    <a:pt x="69" y="18"/>
                  </a:lnTo>
                  <a:lnTo>
                    <a:pt x="72" y="9"/>
                  </a:lnTo>
                  <a:lnTo>
                    <a:pt x="8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 name="Stewart Island">
              <a:extLst>
                <a:ext uri="{FF2B5EF4-FFF2-40B4-BE49-F238E27FC236}">
                  <a16:creationId xmlns:a16="http://schemas.microsoft.com/office/drawing/2014/main" id="{C2DE1118-6E5F-BA4D-0780-0324870DEB93}"/>
                </a:ext>
              </a:extLst>
            </p:cNvPr>
            <p:cNvSpPr>
              <a:spLocks/>
            </p:cNvSpPr>
            <p:nvPr/>
          </p:nvSpPr>
          <p:spPr bwMode="auto">
            <a:xfrm>
              <a:off x="9777888" y="5828859"/>
              <a:ext cx="16264" cy="21685"/>
            </a:xfrm>
            <a:custGeom>
              <a:avLst/>
              <a:gdLst>
                <a:gd name="T0" fmla="*/ 3 w 9"/>
                <a:gd name="T1" fmla="*/ 0 h 12"/>
                <a:gd name="T2" fmla="*/ 6 w 9"/>
                <a:gd name="T3" fmla="*/ 2 h 12"/>
                <a:gd name="T4" fmla="*/ 9 w 9"/>
                <a:gd name="T5" fmla="*/ 9 h 12"/>
                <a:gd name="T6" fmla="*/ 8 w 9"/>
                <a:gd name="T7" fmla="*/ 9 h 12"/>
                <a:gd name="T8" fmla="*/ 0 w 9"/>
                <a:gd name="T9" fmla="*/ 12 h 12"/>
                <a:gd name="T10" fmla="*/ 3 w 9"/>
                <a:gd name="T11" fmla="*/ 2 h 12"/>
                <a:gd name="T12" fmla="*/ 3 w 9"/>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9" h="12">
                  <a:moveTo>
                    <a:pt x="3" y="0"/>
                  </a:moveTo>
                  <a:lnTo>
                    <a:pt x="6" y="2"/>
                  </a:lnTo>
                  <a:lnTo>
                    <a:pt x="9" y="9"/>
                  </a:lnTo>
                  <a:lnTo>
                    <a:pt x="8" y="9"/>
                  </a:lnTo>
                  <a:lnTo>
                    <a:pt x="0" y="12"/>
                  </a:lnTo>
                  <a:lnTo>
                    <a:pt x="3" y="2"/>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 name="Auckland Island">
              <a:extLst>
                <a:ext uri="{FF2B5EF4-FFF2-40B4-BE49-F238E27FC236}">
                  <a16:creationId xmlns:a16="http://schemas.microsoft.com/office/drawing/2014/main" id="{C7835D9C-558D-A182-E588-81D4762E6D33}"/>
                </a:ext>
              </a:extLst>
            </p:cNvPr>
            <p:cNvSpPr>
              <a:spLocks/>
            </p:cNvSpPr>
            <p:nvPr/>
          </p:nvSpPr>
          <p:spPr bwMode="auto">
            <a:xfrm>
              <a:off x="9739941" y="5969810"/>
              <a:ext cx="10843" cy="12650"/>
            </a:xfrm>
            <a:custGeom>
              <a:avLst/>
              <a:gdLst>
                <a:gd name="T0" fmla="*/ 3 w 6"/>
                <a:gd name="T1" fmla="*/ 0 h 7"/>
                <a:gd name="T2" fmla="*/ 5 w 6"/>
                <a:gd name="T3" fmla="*/ 0 h 7"/>
                <a:gd name="T4" fmla="*/ 5 w 6"/>
                <a:gd name="T5" fmla="*/ 1 h 7"/>
                <a:gd name="T6" fmla="*/ 6 w 6"/>
                <a:gd name="T7" fmla="*/ 6 h 7"/>
                <a:gd name="T8" fmla="*/ 5 w 6"/>
                <a:gd name="T9" fmla="*/ 6 h 7"/>
                <a:gd name="T10" fmla="*/ 2 w 6"/>
                <a:gd name="T11" fmla="*/ 7 h 7"/>
                <a:gd name="T12" fmla="*/ 0 w 6"/>
                <a:gd name="T13" fmla="*/ 7 h 7"/>
                <a:gd name="T14" fmla="*/ 0 w 6"/>
                <a:gd name="T15" fmla="*/ 6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lnTo>
                    <a:pt x="5" y="0"/>
                  </a:lnTo>
                  <a:lnTo>
                    <a:pt x="5" y="1"/>
                  </a:lnTo>
                  <a:lnTo>
                    <a:pt x="6" y="6"/>
                  </a:lnTo>
                  <a:lnTo>
                    <a:pt x="5" y="6"/>
                  </a:lnTo>
                  <a:lnTo>
                    <a:pt x="2" y="7"/>
                  </a:lnTo>
                  <a:lnTo>
                    <a:pt x="0" y="7"/>
                  </a:lnTo>
                  <a:lnTo>
                    <a:pt x="0" y="6"/>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 name="New Caledonia">
              <a:extLst>
                <a:ext uri="{FF2B5EF4-FFF2-40B4-BE49-F238E27FC236}">
                  <a16:creationId xmlns:a16="http://schemas.microsoft.com/office/drawing/2014/main" id="{E8B93270-043F-B730-CD51-874A8CFAD9B1}"/>
                </a:ext>
              </a:extLst>
            </p:cNvPr>
            <p:cNvSpPr>
              <a:spLocks/>
            </p:cNvSpPr>
            <p:nvPr/>
          </p:nvSpPr>
          <p:spPr bwMode="auto">
            <a:xfrm>
              <a:off x="9694765" y="5071700"/>
              <a:ext cx="97581" cy="61440"/>
            </a:xfrm>
            <a:custGeom>
              <a:avLst/>
              <a:gdLst/>
              <a:ahLst/>
              <a:cxnLst/>
              <a:rect l="l" t="t" r="r" b="b"/>
              <a:pathLst>
                <a:path w="98359" h="61930">
                  <a:moveTo>
                    <a:pt x="89251" y="29144"/>
                  </a:moveTo>
                  <a:lnTo>
                    <a:pt x="98359" y="29144"/>
                  </a:lnTo>
                  <a:lnTo>
                    <a:pt x="98359" y="38252"/>
                  </a:lnTo>
                  <a:lnTo>
                    <a:pt x="94716" y="40073"/>
                  </a:lnTo>
                  <a:lnTo>
                    <a:pt x="94716" y="38252"/>
                  </a:lnTo>
                  <a:lnTo>
                    <a:pt x="89251" y="32787"/>
                  </a:lnTo>
                  <a:close/>
                  <a:moveTo>
                    <a:pt x="71036" y="12750"/>
                  </a:moveTo>
                  <a:lnTo>
                    <a:pt x="72858" y="12750"/>
                  </a:lnTo>
                  <a:lnTo>
                    <a:pt x="78322" y="16393"/>
                  </a:lnTo>
                  <a:lnTo>
                    <a:pt x="81965" y="27322"/>
                  </a:lnTo>
                  <a:lnTo>
                    <a:pt x="78322" y="27322"/>
                  </a:lnTo>
                  <a:lnTo>
                    <a:pt x="72858" y="23679"/>
                  </a:lnTo>
                  <a:lnTo>
                    <a:pt x="71036" y="23679"/>
                  </a:lnTo>
                  <a:close/>
                  <a:moveTo>
                    <a:pt x="0" y="0"/>
                  </a:moveTo>
                  <a:lnTo>
                    <a:pt x="5465" y="1822"/>
                  </a:lnTo>
                  <a:lnTo>
                    <a:pt x="9108" y="1822"/>
                  </a:lnTo>
                  <a:lnTo>
                    <a:pt x="71038" y="54644"/>
                  </a:lnTo>
                  <a:lnTo>
                    <a:pt x="71038" y="56466"/>
                  </a:lnTo>
                  <a:lnTo>
                    <a:pt x="65574" y="61930"/>
                  </a:lnTo>
                  <a:lnTo>
                    <a:pt x="49180" y="51001"/>
                  </a:lnTo>
                  <a:lnTo>
                    <a:pt x="25501" y="32787"/>
                  </a:lnTo>
                  <a:lnTo>
                    <a:pt x="16394" y="29144"/>
                  </a:lnTo>
                  <a:lnTo>
                    <a:pt x="0"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 name="Australia - Mainland">
              <a:extLst>
                <a:ext uri="{FF2B5EF4-FFF2-40B4-BE49-F238E27FC236}">
                  <a16:creationId xmlns:a16="http://schemas.microsoft.com/office/drawing/2014/main" id="{EC41903A-0DB2-7618-6D1C-050CF94E94ED}"/>
                </a:ext>
              </a:extLst>
            </p:cNvPr>
            <p:cNvSpPr>
              <a:spLocks/>
            </p:cNvSpPr>
            <p:nvPr/>
          </p:nvSpPr>
          <p:spPr bwMode="auto">
            <a:xfrm>
              <a:off x="8498488" y="4838588"/>
              <a:ext cx="955937" cy="749932"/>
            </a:xfrm>
            <a:custGeom>
              <a:avLst/>
              <a:gdLst>
                <a:gd name="T0" fmla="*/ 391 w 529"/>
                <a:gd name="T1" fmla="*/ 16 h 415"/>
                <a:gd name="T2" fmla="*/ 410 w 529"/>
                <a:gd name="T3" fmla="*/ 49 h 415"/>
                <a:gd name="T4" fmla="*/ 432 w 529"/>
                <a:gd name="T5" fmla="*/ 105 h 415"/>
                <a:gd name="T6" fmla="*/ 449 w 529"/>
                <a:gd name="T7" fmla="*/ 117 h 415"/>
                <a:gd name="T8" fmla="*/ 467 w 529"/>
                <a:gd name="T9" fmla="*/ 136 h 415"/>
                <a:gd name="T10" fmla="*/ 483 w 529"/>
                <a:gd name="T11" fmla="*/ 156 h 415"/>
                <a:gd name="T12" fmla="*/ 492 w 529"/>
                <a:gd name="T13" fmla="*/ 160 h 415"/>
                <a:gd name="T14" fmla="*/ 529 w 529"/>
                <a:gd name="T15" fmla="*/ 252 h 415"/>
                <a:gd name="T16" fmla="*/ 492 w 529"/>
                <a:gd name="T17" fmla="*/ 351 h 415"/>
                <a:gd name="T18" fmla="*/ 474 w 529"/>
                <a:gd name="T19" fmla="*/ 393 h 415"/>
                <a:gd name="T20" fmla="*/ 438 w 529"/>
                <a:gd name="T21" fmla="*/ 409 h 415"/>
                <a:gd name="T22" fmla="*/ 422 w 529"/>
                <a:gd name="T23" fmla="*/ 400 h 415"/>
                <a:gd name="T24" fmla="*/ 412 w 529"/>
                <a:gd name="T25" fmla="*/ 399 h 415"/>
                <a:gd name="T26" fmla="*/ 370 w 529"/>
                <a:gd name="T27" fmla="*/ 402 h 415"/>
                <a:gd name="T28" fmla="*/ 346 w 529"/>
                <a:gd name="T29" fmla="*/ 366 h 415"/>
                <a:gd name="T30" fmla="*/ 330 w 529"/>
                <a:gd name="T31" fmla="*/ 344 h 415"/>
                <a:gd name="T32" fmla="*/ 309 w 529"/>
                <a:gd name="T33" fmla="*/ 351 h 415"/>
                <a:gd name="T34" fmla="*/ 323 w 529"/>
                <a:gd name="T35" fmla="*/ 323 h 415"/>
                <a:gd name="T36" fmla="*/ 305 w 529"/>
                <a:gd name="T37" fmla="*/ 334 h 415"/>
                <a:gd name="T38" fmla="*/ 287 w 529"/>
                <a:gd name="T39" fmla="*/ 338 h 415"/>
                <a:gd name="T40" fmla="*/ 274 w 529"/>
                <a:gd name="T41" fmla="*/ 314 h 415"/>
                <a:gd name="T42" fmla="*/ 252 w 529"/>
                <a:gd name="T43" fmla="*/ 302 h 415"/>
                <a:gd name="T44" fmla="*/ 195 w 529"/>
                <a:gd name="T45" fmla="*/ 302 h 415"/>
                <a:gd name="T46" fmla="*/ 90 w 529"/>
                <a:gd name="T47" fmla="*/ 331 h 415"/>
                <a:gd name="T48" fmla="*/ 63 w 529"/>
                <a:gd name="T49" fmla="*/ 350 h 415"/>
                <a:gd name="T50" fmla="*/ 40 w 529"/>
                <a:gd name="T51" fmla="*/ 345 h 415"/>
                <a:gd name="T52" fmla="*/ 31 w 529"/>
                <a:gd name="T53" fmla="*/ 325 h 415"/>
                <a:gd name="T54" fmla="*/ 13 w 529"/>
                <a:gd name="T55" fmla="*/ 240 h 415"/>
                <a:gd name="T56" fmla="*/ 4 w 529"/>
                <a:gd name="T57" fmla="*/ 215 h 415"/>
                <a:gd name="T58" fmla="*/ 10 w 529"/>
                <a:gd name="T59" fmla="*/ 215 h 415"/>
                <a:gd name="T60" fmla="*/ 6 w 529"/>
                <a:gd name="T61" fmla="*/ 159 h 415"/>
                <a:gd name="T62" fmla="*/ 17 w 529"/>
                <a:gd name="T63" fmla="*/ 153 h 415"/>
                <a:gd name="T64" fmla="*/ 49 w 529"/>
                <a:gd name="T65" fmla="*/ 133 h 415"/>
                <a:gd name="T66" fmla="*/ 83 w 529"/>
                <a:gd name="T67" fmla="*/ 126 h 415"/>
                <a:gd name="T68" fmla="*/ 115 w 529"/>
                <a:gd name="T69" fmla="*/ 92 h 415"/>
                <a:gd name="T70" fmla="*/ 127 w 529"/>
                <a:gd name="T71" fmla="*/ 77 h 415"/>
                <a:gd name="T72" fmla="*/ 135 w 529"/>
                <a:gd name="T73" fmla="*/ 76 h 415"/>
                <a:gd name="T74" fmla="*/ 145 w 529"/>
                <a:gd name="T75" fmla="*/ 76 h 415"/>
                <a:gd name="T76" fmla="*/ 154 w 529"/>
                <a:gd name="T77" fmla="*/ 59 h 415"/>
                <a:gd name="T78" fmla="*/ 161 w 529"/>
                <a:gd name="T79" fmla="*/ 52 h 415"/>
                <a:gd name="T80" fmla="*/ 167 w 529"/>
                <a:gd name="T81" fmla="*/ 44 h 415"/>
                <a:gd name="T82" fmla="*/ 194 w 529"/>
                <a:gd name="T83" fmla="*/ 61 h 415"/>
                <a:gd name="T84" fmla="*/ 215 w 529"/>
                <a:gd name="T85" fmla="*/ 56 h 415"/>
                <a:gd name="T86" fmla="*/ 220 w 529"/>
                <a:gd name="T87" fmla="*/ 34 h 415"/>
                <a:gd name="T88" fmla="*/ 231 w 529"/>
                <a:gd name="T89" fmla="*/ 24 h 415"/>
                <a:gd name="T90" fmla="*/ 244 w 529"/>
                <a:gd name="T91" fmla="*/ 10 h 415"/>
                <a:gd name="T92" fmla="*/ 247 w 529"/>
                <a:gd name="T93" fmla="*/ 9 h 415"/>
                <a:gd name="T94" fmla="*/ 258 w 529"/>
                <a:gd name="T95" fmla="*/ 10 h 415"/>
                <a:gd name="T96" fmla="*/ 287 w 529"/>
                <a:gd name="T97" fmla="*/ 22 h 415"/>
                <a:gd name="T98" fmla="*/ 303 w 529"/>
                <a:gd name="T99" fmla="*/ 18 h 415"/>
                <a:gd name="T100" fmla="*/ 305 w 529"/>
                <a:gd name="T101" fmla="*/ 30 h 415"/>
                <a:gd name="T102" fmla="*/ 301 w 529"/>
                <a:gd name="T103" fmla="*/ 38 h 415"/>
                <a:gd name="T104" fmla="*/ 293 w 529"/>
                <a:gd name="T105" fmla="*/ 59 h 415"/>
                <a:gd name="T106" fmla="*/ 315 w 529"/>
                <a:gd name="T107" fmla="*/ 70 h 415"/>
                <a:gd name="T108" fmla="*/ 352 w 529"/>
                <a:gd name="T109" fmla="*/ 95 h 415"/>
                <a:gd name="T110" fmla="*/ 373 w 529"/>
                <a:gd name="T111" fmla="*/ 2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15">
                  <a:moveTo>
                    <a:pt x="385" y="0"/>
                  </a:moveTo>
                  <a:lnTo>
                    <a:pt x="386" y="0"/>
                  </a:lnTo>
                  <a:lnTo>
                    <a:pt x="388" y="4"/>
                  </a:lnTo>
                  <a:lnTo>
                    <a:pt x="388" y="15"/>
                  </a:lnTo>
                  <a:lnTo>
                    <a:pt x="391" y="16"/>
                  </a:lnTo>
                  <a:lnTo>
                    <a:pt x="391" y="22"/>
                  </a:lnTo>
                  <a:lnTo>
                    <a:pt x="395" y="27"/>
                  </a:lnTo>
                  <a:lnTo>
                    <a:pt x="401" y="49"/>
                  </a:lnTo>
                  <a:lnTo>
                    <a:pt x="403" y="50"/>
                  </a:lnTo>
                  <a:lnTo>
                    <a:pt x="410" y="49"/>
                  </a:lnTo>
                  <a:lnTo>
                    <a:pt x="412" y="49"/>
                  </a:lnTo>
                  <a:lnTo>
                    <a:pt x="421" y="59"/>
                  </a:lnTo>
                  <a:lnTo>
                    <a:pt x="424" y="80"/>
                  </a:lnTo>
                  <a:lnTo>
                    <a:pt x="428" y="84"/>
                  </a:lnTo>
                  <a:lnTo>
                    <a:pt x="432" y="105"/>
                  </a:lnTo>
                  <a:lnTo>
                    <a:pt x="434" y="107"/>
                  </a:lnTo>
                  <a:lnTo>
                    <a:pt x="435" y="113"/>
                  </a:lnTo>
                  <a:lnTo>
                    <a:pt x="441" y="116"/>
                  </a:lnTo>
                  <a:lnTo>
                    <a:pt x="449" y="116"/>
                  </a:lnTo>
                  <a:lnTo>
                    <a:pt x="449" y="117"/>
                  </a:lnTo>
                  <a:lnTo>
                    <a:pt x="452" y="123"/>
                  </a:lnTo>
                  <a:lnTo>
                    <a:pt x="458" y="124"/>
                  </a:lnTo>
                  <a:lnTo>
                    <a:pt x="467" y="130"/>
                  </a:lnTo>
                  <a:lnTo>
                    <a:pt x="468" y="130"/>
                  </a:lnTo>
                  <a:lnTo>
                    <a:pt x="467" y="136"/>
                  </a:lnTo>
                  <a:lnTo>
                    <a:pt x="469" y="138"/>
                  </a:lnTo>
                  <a:lnTo>
                    <a:pt x="475" y="147"/>
                  </a:lnTo>
                  <a:lnTo>
                    <a:pt x="478" y="160"/>
                  </a:lnTo>
                  <a:lnTo>
                    <a:pt x="480" y="160"/>
                  </a:lnTo>
                  <a:lnTo>
                    <a:pt x="483" y="156"/>
                  </a:lnTo>
                  <a:lnTo>
                    <a:pt x="489" y="162"/>
                  </a:lnTo>
                  <a:lnTo>
                    <a:pt x="490" y="160"/>
                  </a:lnTo>
                  <a:lnTo>
                    <a:pt x="490" y="159"/>
                  </a:lnTo>
                  <a:lnTo>
                    <a:pt x="492" y="159"/>
                  </a:lnTo>
                  <a:lnTo>
                    <a:pt x="492" y="160"/>
                  </a:lnTo>
                  <a:lnTo>
                    <a:pt x="495" y="175"/>
                  </a:lnTo>
                  <a:lnTo>
                    <a:pt x="512" y="191"/>
                  </a:lnTo>
                  <a:lnTo>
                    <a:pt x="523" y="209"/>
                  </a:lnTo>
                  <a:lnTo>
                    <a:pt x="523" y="228"/>
                  </a:lnTo>
                  <a:lnTo>
                    <a:pt x="529" y="252"/>
                  </a:lnTo>
                  <a:lnTo>
                    <a:pt x="521" y="291"/>
                  </a:lnTo>
                  <a:lnTo>
                    <a:pt x="514" y="307"/>
                  </a:lnTo>
                  <a:lnTo>
                    <a:pt x="499" y="326"/>
                  </a:lnTo>
                  <a:lnTo>
                    <a:pt x="501" y="329"/>
                  </a:lnTo>
                  <a:lnTo>
                    <a:pt x="492" y="351"/>
                  </a:lnTo>
                  <a:lnTo>
                    <a:pt x="490" y="351"/>
                  </a:lnTo>
                  <a:lnTo>
                    <a:pt x="486" y="360"/>
                  </a:lnTo>
                  <a:lnTo>
                    <a:pt x="483" y="388"/>
                  </a:lnTo>
                  <a:lnTo>
                    <a:pt x="481" y="388"/>
                  </a:lnTo>
                  <a:lnTo>
                    <a:pt x="474" y="393"/>
                  </a:lnTo>
                  <a:lnTo>
                    <a:pt x="458" y="394"/>
                  </a:lnTo>
                  <a:lnTo>
                    <a:pt x="441" y="408"/>
                  </a:lnTo>
                  <a:lnTo>
                    <a:pt x="434" y="408"/>
                  </a:lnTo>
                  <a:lnTo>
                    <a:pt x="434" y="409"/>
                  </a:lnTo>
                  <a:lnTo>
                    <a:pt x="438" y="409"/>
                  </a:lnTo>
                  <a:lnTo>
                    <a:pt x="438" y="411"/>
                  </a:lnTo>
                  <a:lnTo>
                    <a:pt x="435" y="415"/>
                  </a:lnTo>
                  <a:lnTo>
                    <a:pt x="434" y="415"/>
                  </a:lnTo>
                  <a:lnTo>
                    <a:pt x="424" y="405"/>
                  </a:lnTo>
                  <a:lnTo>
                    <a:pt x="422" y="400"/>
                  </a:lnTo>
                  <a:lnTo>
                    <a:pt x="415" y="402"/>
                  </a:lnTo>
                  <a:lnTo>
                    <a:pt x="416" y="397"/>
                  </a:lnTo>
                  <a:lnTo>
                    <a:pt x="415" y="394"/>
                  </a:lnTo>
                  <a:lnTo>
                    <a:pt x="410" y="397"/>
                  </a:lnTo>
                  <a:lnTo>
                    <a:pt x="412" y="399"/>
                  </a:lnTo>
                  <a:lnTo>
                    <a:pt x="395" y="409"/>
                  </a:lnTo>
                  <a:lnTo>
                    <a:pt x="384" y="403"/>
                  </a:lnTo>
                  <a:lnTo>
                    <a:pt x="375" y="400"/>
                  </a:lnTo>
                  <a:lnTo>
                    <a:pt x="372" y="402"/>
                  </a:lnTo>
                  <a:lnTo>
                    <a:pt x="370" y="402"/>
                  </a:lnTo>
                  <a:lnTo>
                    <a:pt x="357" y="394"/>
                  </a:lnTo>
                  <a:lnTo>
                    <a:pt x="351" y="387"/>
                  </a:lnTo>
                  <a:lnTo>
                    <a:pt x="346" y="379"/>
                  </a:lnTo>
                  <a:lnTo>
                    <a:pt x="348" y="372"/>
                  </a:lnTo>
                  <a:lnTo>
                    <a:pt x="346" y="366"/>
                  </a:lnTo>
                  <a:lnTo>
                    <a:pt x="341" y="359"/>
                  </a:lnTo>
                  <a:lnTo>
                    <a:pt x="342" y="354"/>
                  </a:lnTo>
                  <a:lnTo>
                    <a:pt x="327" y="357"/>
                  </a:lnTo>
                  <a:lnTo>
                    <a:pt x="330" y="351"/>
                  </a:lnTo>
                  <a:lnTo>
                    <a:pt x="330" y="344"/>
                  </a:lnTo>
                  <a:lnTo>
                    <a:pt x="326" y="336"/>
                  </a:lnTo>
                  <a:lnTo>
                    <a:pt x="321" y="350"/>
                  </a:lnTo>
                  <a:lnTo>
                    <a:pt x="318" y="350"/>
                  </a:lnTo>
                  <a:lnTo>
                    <a:pt x="314" y="351"/>
                  </a:lnTo>
                  <a:lnTo>
                    <a:pt x="309" y="351"/>
                  </a:lnTo>
                  <a:lnTo>
                    <a:pt x="309" y="350"/>
                  </a:lnTo>
                  <a:lnTo>
                    <a:pt x="311" y="345"/>
                  </a:lnTo>
                  <a:lnTo>
                    <a:pt x="317" y="344"/>
                  </a:lnTo>
                  <a:lnTo>
                    <a:pt x="317" y="334"/>
                  </a:lnTo>
                  <a:lnTo>
                    <a:pt x="323" y="323"/>
                  </a:lnTo>
                  <a:lnTo>
                    <a:pt x="324" y="317"/>
                  </a:lnTo>
                  <a:lnTo>
                    <a:pt x="323" y="311"/>
                  </a:lnTo>
                  <a:lnTo>
                    <a:pt x="321" y="314"/>
                  </a:lnTo>
                  <a:lnTo>
                    <a:pt x="315" y="328"/>
                  </a:lnTo>
                  <a:lnTo>
                    <a:pt x="305" y="334"/>
                  </a:lnTo>
                  <a:lnTo>
                    <a:pt x="299" y="341"/>
                  </a:lnTo>
                  <a:lnTo>
                    <a:pt x="299" y="348"/>
                  </a:lnTo>
                  <a:lnTo>
                    <a:pt x="298" y="348"/>
                  </a:lnTo>
                  <a:lnTo>
                    <a:pt x="287" y="342"/>
                  </a:lnTo>
                  <a:lnTo>
                    <a:pt x="287" y="338"/>
                  </a:lnTo>
                  <a:lnTo>
                    <a:pt x="290" y="339"/>
                  </a:lnTo>
                  <a:lnTo>
                    <a:pt x="290" y="336"/>
                  </a:lnTo>
                  <a:lnTo>
                    <a:pt x="281" y="319"/>
                  </a:lnTo>
                  <a:lnTo>
                    <a:pt x="274" y="316"/>
                  </a:lnTo>
                  <a:lnTo>
                    <a:pt x="274" y="314"/>
                  </a:lnTo>
                  <a:lnTo>
                    <a:pt x="275" y="310"/>
                  </a:lnTo>
                  <a:lnTo>
                    <a:pt x="265" y="304"/>
                  </a:lnTo>
                  <a:lnTo>
                    <a:pt x="265" y="305"/>
                  </a:lnTo>
                  <a:lnTo>
                    <a:pt x="255" y="301"/>
                  </a:lnTo>
                  <a:lnTo>
                    <a:pt x="252" y="302"/>
                  </a:lnTo>
                  <a:lnTo>
                    <a:pt x="250" y="302"/>
                  </a:lnTo>
                  <a:lnTo>
                    <a:pt x="243" y="295"/>
                  </a:lnTo>
                  <a:lnTo>
                    <a:pt x="232" y="293"/>
                  </a:lnTo>
                  <a:lnTo>
                    <a:pt x="210" y="295"/>
                  </a:lnTo>
                  <a:lnTo>
                    <a:pt x="195" y="302"/>
                  </a:lnTo>
                  <a:lnTo>
                    <a:pt x="170" y="305"/>
                  </a:lnTo>
                  <a:lnTo>
                    <a:pt x="143" y="317"/>
                  </a:lnTo>
                  <a:lnTo>
                    <a:pt x="137" y="328"/>
                  </a:lnTo>
                  <a:lnTo>
                    <a:pt x="137" y="329"/>
                  </a:lnTo>
                  <a:lnTo>
                    <a:pt x="90" y="331"/>
                  </a:lnTo>
                  <a:lnTo>
                    <a:pt x="83" y="338"/>
                  </a:lnTo>
                  <a:lnTo>
                    <a:pt x="75" y="339"/>
                  </a:lnTo>
                  <a:lnTo>
                    <a:pt x="68" y="347"/>
                  </a:lnTo>
                  <a:lnTo>
                    <a:pt x="63" y="347"/>
                  </a:lnTo>
                  <a:lnTo>
                    <a:pt x="63" y="350"/>
                  </a:lnTo>
                  <a:lnTo>
                    <a:pt x="59" y="350"/>
                  </a:lnTo>
                  <a:lnTo>
                    <a:pt x="54" y="348"/>
                  </a:lnTo>
                  <a:lnTo>
                    <a:pt x="51" y="348"/>
                  </a:lnTo>
                  <a:lnTo>
                    <a:pt x="43" y="345"/>
                  </a:lnTo>
                  <a:lnTo>
                    <a:pt x="40" y="345"/>
                  </a:lnTo>
                  <a:lnTo>
                    <a:pt x="31" y="336"/>
                  </a:lnTo>
                  <a:lnTo>
                    <a:pt x="26" y="335"/>
                  </a:lnTo>
                  <a:lnTo>
                    <a:pt x="25" y="335"/>
                  </a:lnTo>
                  <a:lnTo>
                    <a:pt x="25" y="325"/>
                  </a:lnTo>
                  <a:lnTo>
                    <a:pt x="31" y="325"/>
                  </a:lnTo>
                  <a:lnTo>
                    <a:pt x="34" y="317"/>
                  </a:lnTo>
                  <a:lnTo>
                    <a:pt x="34" y="295"/>
                  </a:lnTo>
                  <a:lnTo>
                    <a:pt x="23" y="276"/>
                  </a:lnTo>
                  <a:lnTo>
                    <a:pt x="22" y="258"/>
                  </a:lnTo>
                  <a:lnTo>
                    <a:pt x="13" y="240"/>
                  </a:lnTo>
                  <a:lnTo>
                    <a:pt x="10" y="227"/>
                  </a:lnTo>
                  <a:lnTo>
                    <a:pt x="0" y="215"/>
                  </a:lnTo>
                  <a:lnTo>
                    <a:pt x="0" y="213"/>
                  </a:lnTo>
                  <a:lnTo>
                    <a:pt x="1" y="213"/>
                  </a:lnTo>
                  <a:lnTo>
                    <a:pt x="4" y="215"/>
                  </a:lnTo>
                  <a:lnTo>
                    <a:pt x="7" y="219"/>
                  </a:lnTo>
                  <a:lnTo>
                    <a:pt x="9" y="218"/>
                  </a:lnTo>
                  <a:lnTo>
                    <a:pt x="7" y="212"/>
                  </a:lnTo>
                  <a:lnTo>
                    <a:pt x="9" y="212"/>
                  </a:lnTo>
                  <a:lnTo>
                    <a:pt x="10" y="215"/>
                  </a:lnTo>
                  <a:lnTo>
                    <a:pt x="13" y="212"/>
                  </a:lnTo>
                  <a:lnTo>
                    <a:pt x="3" y="190"/>
                  </a:lnTo>
                  <a:lnTo>
                    <a:pt x="3" y="182"/>
                  </a:lnTo>
                  <a:lnTo>
                    <a:pt x="7" y="173"/>
                  </a:lnTo>
                  <a:lnTo>
                    <a:pt x="6" y="159"/>
                  </a:lnTo>
                  <a:lnTo>
                    <a:pt x="10" y="153"/>
                  </a:lnTo>
                  <a:lnTo>
                    <a:pt x="10" y="150"/>
                  </a:lnTo>
                  <a:lnTo>
                    <a:pt x="11" y="150"/>
                  </a:lnTo>
                  <a:lnTo>
                    <a:pt x="13" y="159"/>
                  </a:lnTo>
                  <a:lnTo>
                    <a:pt x="17" y="153"/>
                  </a:lnTo>
                  <a:lnTo>
                    <a:pt x="17" y="151"/>
                  </a:lnTo>
                  <a:lnTo>
                    <a:pt x="29" y="148"/>
                  </a:lnTo>
                  <a:lnTo>
                    <a:pt x="35" y="141"/>
                  </a:lnTo>
                  <a:lnTo>
                    <a:pt x="46" y="133"/>
                  </a:lnTo>
                  <a:lnTo>
                    <a:pt x="49" y="133"/>
                  </a:lnTo>
                  <a:lnTo>
                    <a:pt x="51" y="135"/>
                  </a:lnTo>
                  <a:lnTo>
                    <a:pt x="57" y="135"/>
                  </a:lnTo>
                  <a:lnTo>
                    <a:pt x="72" y="129"/>
                  </a:lnTo>
                  <a:lnTo>
                    <a:pt x="77" y="126"/>
                  </a:lnTo>
                  <a:lnTo>
                    <a:pt x="83" y="126"/>
                  </a:lnTo>
                  <a:lnTo>
                    <a:pt x="100" y="120"/>
                  </a:lnTo>
                  <a:lnTo>
                    <a:pt x="108" y="114"/>
                  </a:lnTo>
                  <a:lnTo>
                    <a:pt x="112" y="105"/>
                  </a:lnTo>
                  <a:lnTo>
                    <a:pt x="118" y="99"/>
                  </a:lnTo>
                  <a:lnTo>
                    <a:pt x="115" y="92"/>
                  </a:lnTo>
                  <a:lnTo>
                    <a:pt x="117" y="92"/>
                  </a:lnTo>
                  <a:lnTo>
                    <a:pt x="118" y="86"/>
                  </a:lnTo>
                  <a:lnTo>
                    <a:pt x="124" y="81"/>
                  </a:lnTo>
                  <a:lnTo>
                    <a:pt x="126" y="77"/>
                  </a:lnTo>
                  <a:lnTo>
                    <a:pt x="127" y="77"/>
                  </a:lnTo>
                  <a:lnTo>
                    <a:pt x="135" y="90"/>
                  </a:lnTo>
                  <a:lnTo>
                    <a:pt x="135" y="86"/>
                  </a:lnTo>
                  <a:lnTo>
                    <a:pt x="137" y="86"/>
                  </a:lnTo>
                  <a:lnTo>
                    <a:pt x="135" y="80"/>
                  </a:lnTo>
                  <a:lnTo>
                    <a:pt x="135" y="76"/>
                  </a:lnTo>
                  <a:lnTo>
                    <a:pt x="140" y="74"/>
                  </a:lnTo>
                  <a:lnTo>
                    <a:pt x="143" y="79"/>
                  </a:lnTo>
                  <a:lnTo>
                    <a:pt x="146" y="79"/>
                  </a:lnTo>
                  <a:lnTo>
                    <a:pt x="145" y="77"/>
                  </a:lnTo>
                  <a:lnTo>
                    <a:pt x="145" y="76"/>
                  </a:lnTo>
                  <a:lnTo>
                    <a:pt x="148" y="70"/>
                  </a:lnTo>
                  <a:lnTo>
                    <a:pt x="148" y="65"/>
                  </a:lnTo>
                  <a:lnTo>
                    <a:pt x="154" y="64"/>
                  </a:lnTo>
                  <a:lnTo>
                    <a:pt x="152" y="59"/>
                  </a:lnTo>
                  <a:lnTo>
                    <a:pt x="154" y="59"/>
                  </a:lnTo>
                  <a:lnTo>
                    <a:pt x="154" y="58"/>
                  </a:lnTo>
                  <a:lnTo>
                    <a:pt x="157" y="59"/>
                  </a:lnTo>
                  <a:lnTo>
                    <a:pt x="155" y="53"/>
                  </a:lnTo>
                  <a:lnTo>
                    <a:pt x="160" y="53"/>
                  </a:lnTo>
                  <a:lnTo>
                    <a:pt x="161" y="52"/>
                  </a:lnTo>
                  <a:lnTo>
                    <a:pt x="164" y="52"/>
                  </a:lnTo>
                  <a:lnTo>
                    <a:pt x="164" y="53"/>
                  </a:lnTo>
                  <a:lnTo>
                    <a:pt x="166" y="52"/>
                  </a:lnTo>
                  <a:lnTo>
                    <a:pt x="166" y="44"/>
                  </a:lnTo>
                  <a:lnTo>
                    <a:pt x="167" y="44"/>
                  </a:lnTo>
                  <a:lnTo>
                    <a:pt x="169" y="47"/>
                  </a:lnTo>
                  <a:lnTo>
                    <a:pt x="179" y="43"/>
                  </a:lnTo>
                  <a:lnTo>
                    <a:pt x="188" y="46"/>
                  </a:lnTo>
                  <a:lnTo>
                    <a:pt x="197" y="55"/>
                  </a:lnTo>
                  <a:lnTo>
                    <a:pt x="194" y="61"/>
                  </a:lnTo>
                  <a:lnTo>
                    <a:pt x="195" y="59"/>
                  </a:lnTo>
                  <a:lnTo>
                    <a:pt x="200" y="56"/>
                  </a:lnTo>
                  <a:lnTo>
                    <a:pt x="209" y="56"/>
                  </a:lnTo>
                  <a:lnTo>
                    <a:pt x="215" y="59"/>
                  </a:lnTo>
                  <a:lnTo>
                    <a:pt x="215" y="56"/>
                  </a:lnTo>
                  <a:lnTo>
                    <a:pt x="210" y="50"/>
                  </a:lnTo>
                  <a:lnTo>
                    <a:pt x="218" y="38"/>
                  </a:lnTo>
                  <a:lnTo>
                    <a:pt x="222" y="37"/>
                  </a:lnTo>
                  <a:lnTo>
                    <a:pt x="222" y="36"/>
                  </a:lnTo>
                  <a:lnTo>
                    <a:pt x="220" y="34"/>
                  </a:lnTo>
                  <a:lnTo>
                    <a:pt x="222" y="30"/>
                  </a:lnTo>
                  <a:lnTo>
                    <a:pt x="222" y="28"/>
                  </a:lnTo>
                  <a:lnTo>
                    <a:pt x="228" y="25"/>
                  </a:lnTo>
                  <a:lnTo>
                    <a:pt x="231" y="28"/>
                  </a:lnTo>
                  <a:lnTo>
                    <a:pt x="231" y="24"/>
                  </a:lnTo>
                  <a:lnTo>
                    <a:pt x="232" y="22"/>
                  </a:lnTo>
                  <a:lnTo>
                    <a:pt x="247" y="22"/>
                  </a:lnTo>
                  <a:lnTo>
                    <a:pt x="252" y="19"/>
                  </a:lnTo>
                  <a:lnTo>
                    <a:pt x="252" y="15"/>
                  </a:lnTo>
                  <a:lnTo>
                    <a:pt x="244" y="10"/>
                  </a:lnTo>
                  <a:lnTo>
                    <a:pt x="241" y="10"/>
                  </a:lnTo>
                  <a:lnTo>
                    <a:pt x="241" y="9"/>
                  </a:lnTo>
                  <a:lnTo>
                    <a:pt x="243" y="9"/>
                  </a:lnTo>
                  <a:lnTo>
                    <a:pt x="246" y="7"/>
                  </a:lnTo>
                  <a:lnTo>
                    <a:pt x="247" y="9"/>
                  </a:lnTo>
                  <a:lnTo>
                    <a:pt x="249" y="7"/>
                  </a:lnTo>
                  <a:lnTo>
                    <a:pt x="250" y="7"/>
                  </a:lnTo>
                  <a:lnTo>
                    <a:pt x="255" y="12"/>
                  </a:lnTo>
                  <a:lnTo>
                    <a:pt x="256" y="10"/>
                  </a:lnTo>
                  <a:lnTo>
                    <a:pt x="258" y="10"/>
                  </a:lnTo>
                  <a:lnTo>
                    <a:pt x="260" y="15"/>
                  </a:lnTo>
                  <a:lnTo>
                    <a:pt x="268" y="15"/>
                  </a:lnTo>
                  <a:lnTo>
                    <a:pt x="275" y="19"/>
                  </a:lnTo>
                  <a:lnTo>
                    <a:pt x="281" y="19"/>
                  </a:lnTo>
                  <a:lnTo>
                    <a:pt x="287" y="22"/>
                  </a:lnTo>
                  <a:lnTo>
                    <a:pt x="298" y="18"/>
                  </a:lnTo>
                  <a:lnTo>
                    <a:pt x="298" y="19"/>
                  </a:lnTo>
                  <a:lnTo>
                    <a:pt x="299" y="19"/>
                  </a:lnTo>
                  <a:lnTo>
                    <a:pt x="299" y="24"/>
                  </a:lnTo>
                  <a:lnTo>
                    <a:pt x="303" y="18"/>
                  </a:lnTo>
                  <a:lnTo>
                    <a:pt x="305" y="18"/>
                  </a:lnTo>
                  <a:lnTo>
                    <a:pt x="306" y="22"/>
                  </a:lnTo>
                  <a:lnTo>
                    <a:pt x="309" y="22"/>
                  </a:lnTo>
                  <a:lnTo>
                    <a:pt x="309" y="24"/>
                  </a:lnTo>
                  <a:lnTo>
                    <a:pt x="305" y="30"/>
                  </a:lnTo>
                  <a:lnTo>
                    <a:pt x="306" y="33"/>
                  </a:lnTo>
                  <a:lnTo>
                    <a:pt x="305" y="36"/>
                  </a:lnTo>
                  <a:lnTo>
                    <a:pt x="302" y="36"/>
                  </a:lnTo>
                  <a:lnTo>
                    <a:pt x="302" y="38"/>
                  </a:lnTo>
                  <a:lnTo>
                    <a:pt x="301" y="38"/>
                  </a:lnTo>
                  <a:lnTo>
                    <a:pt x="299" y="37"/>
                  </a:lnTo>
                  <a:lnTo>
                    <a:pt x="298" y="41"/>
                  </a:lnTo>
                  <a:lnTo>
                    <a:pt x="299" y="40"/>
                  </a:lnTo>
                  <a:lnTo>
                    <a:pt x="299" y="41"/>
                  </a:lnTo>
                  <a:lnTo>
                    <a:pt x="293" y="59"/>
                  </a:lnTo>
                  <a:lnTo>
                    <a:pt x="303" y="64"/>
                  </a:lnTo>
                  <a:lnTo>
                    <a:pt x="305" y="71"/>
                  </a:lnTo>
                  <a:lnTo>
                    <a:pt x="308" y="71"/>
                  </a:lnTo>
                  <a:lnTo>
                    <a:pt x="311" y="70"/>
                  </a:lnTo>
                  <a:lnTo>
                    <a:pt x="315" y="70"/>
                  </a:lnTo>
                  <a:lnTo>
                    <a:pt x="315" y="71"/>
                  </a:lnTo>
                  <a:lnTo>
                    <a:pt x="326" y="80"/>
                  </a:lnTo>
                  <a:lnTo>
                    <a:pt x="338" y="83"/>
                  </a:lnTo>
                  <a:lnTo>
                    <a:pt x="342" y="89"/>
                  </a:lnTo>
                  <a:lnTo>
                    <a:pt x="352" y="95"/>
                  </a:lnTo>
                  <a:lnTo>
                    <a:pt x="361" y="92"/>
                  </a:lnTo>
                  <a:lnTo>
                    <a:pt x="366" y="80"/>
                  </a:lnTo>
                  <a:lnTo>
                    <a:pt x="370" y="59"/>
                  </a:lnTo>
                  <a:lnTo>
                    <a:pt x="370" y="40"/>
                  </a:lnTo>
                  <a:lnTo>
                    <a:pt x="373" y="27"/>
                  </a:lnTo>
                  <a:lnTo>
                    <a:pt x="370" y="24"/>
                  </a:lnTo>
                  <a:lnTo>
                    <a:pt x="379" y="4"/>
                  </a:lnTo>
                  <a:lnTo>
                    <a:pt x="38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 name="Australia - Offshore">
              <a:extLst>
                <a:ext uri="{FF2B5EF4-FFF2-40B4-BE49-F238E27FC236}">
                  <a16:creationId xmlns:a16="http://schemas.microsoft.com/office/drawing/2014/main" id="{AE476159-0EDF-060D-1FEC-68792A33F0E7}"/>
                </a:ext>
              </a:extLst>
            </p:cNvPr>
            <p:cNvSpPr>
              <a:spLocks/>
            </p:cNvSpPr>
            <p:nvPr/>
          </p:nvSpPr>
          <p:spPr bwMode="auto">
            <a:xfrm>
              <a:off x="8894235" y="4851238"/>
              <a:ext cx="554769" cy="646929"/>
            </a:xfrm>
            <a:custGeom>
              <a:avLst/>
              <a:gdLst/>
              <a:ahLst/>
              <a:cxnLst/>
              <a:rect l="l" t="t" r="r" b="b"/>
              <a:pathLst>
                <a:path w="559191" h="652086">
                  <a:moveTo>
                    <a:pt x="174861" y="635692"/>
                  </a:moveTo>
                  <a:lnTo>
                    <a:pt x="194897" y="646622"/>
                  </a:lnTo>
                  <a:lnTo>
                    <a:pt x="194897" y="648443"/>
                  </a:lnTo>
                  <a:lnTo>
                    <a:pt x="185790" y="648443"/>
                  </a:lnTo>
                  <a:lnTo>
                    <a:pt x="180325" y="652086"/>
                  </a:lnTo>
                  <a:lnTo>
                    <a:pt x="158468" y="652086"/>
                  </a:lnTo>
                  <a:lnTo>
                    <a:pt x="156646" y="642978"/>
                  </a:lnTo>
                  <a:lnTo>
                    <a:pt x="156646" y="641157"/>
                  </a:lnTo>
                  <a:lnTo>
                    <a:pt x="158468" y="641157"/>
                  </a:lnTo>
                  <a:close/>
                  <a:moveTo>
                    <a:pt x="553726" y="338793"/>
                  </a:moveTo>
                  <a:lnTo>
                    <a:pt x="555548" y="338793"/>
                  </a:lnTo>
                  <a:lnTo>
                    <a:pt x="559191" y="349722"/>
                  </a:lnTo>
                  <a:lnTo>
                    <a:pt x="553726" y="362473"/>
                  </a:lnTo>
                  <a:lnTo>
                    <a:pt x="550083" y="362473"/>
                  </a:lnTo>
                  <a:close/>
                  <a:moveTo>
                    <a:pt x="229505" y="127503"/>
                  </a:moveTo>
                  <a:lnTo>
                    <a:pt x="231327" y="127503"/>
                  </a:lnTo>
                  <a:lnTo>
                    <a:pt x="236791" y="131146"/>
                  </a:lnTo>
                  <a:lnTo>
                    <a:pt x="236791" y="132967"/>
                  </a:lnTo>
                  <a:lnTo>
                    <a:pt x="234970" y="132967"/>
                  </a:lnTo>
                  <a:lnTo>
                    <a:pt x="224041" y="138432"/>
                  </a:lnTo>
                  <a:lnTo>
                    <a:pt x="222219" y="138432"/>
                  </a:lnTo>
                  <a:lnTo>
                    <a:pt x="222219" y="132967"/>
                  </a:lnTo>
                  <a:close/>
                  <a:moveTo>
                    <a:pt x="153003" y="61930"/>
                  </a:moveTo>
                  <a:lnTo>
                    <a:pt x="163932" y="61930"/>
                  </a:lnTo>
                  <a:lnTo>
                    <a:pt x="163932" y="65573"/>
                  </a:lnTo>
                  <a:lnTo>
                    <a:pt x="167575" y="72859"/>
                  </a:lnTo>
                  <a:lnTo>
                    <a:pt x="167575" y="76502"/>
                  </a:lnTo>
                  <a:lnTo>
                    <a:pt x="156646" y="78324"/>
                  </a:lnTo>
                  <a:lnTo>
                    <a:pt x="156646" y="76502"/>
                  </a:lnTo>
                  <a:lnTo>
                    <a:pt x="153003" y="65573"/>
                  </a:lnTo>
                  <a:close/>
                  <a:moveTo>
                    <a:pt x="7286" y="0"/>
                  </a:moveTo>
                  <a:lnTo>
                    <a:pt x="10929" y="0"/>
                  </a:lnTo>
                  <a:lnTo>
                    <a:pt x="18215" y="5464"/>
                  </a:lnTo>
                  <a:lnTo>
                    <a:pt x="29144" y="0"/>
                  </a:lnTo>
                  <a:lnTo>
                    <a:pt x="32787" y="0"/>
                  </a:lnTo>
                  <a:lnTo>
                    <a:pt x="38252" y="9107"/>
                  </a:lnTo>
                  <a:lnTo>
                    <a:pt x="38252" y="10929"/>
                  </a:lnTo>
                  <a:lnTo>
                    <a:pt x="34609" y="10929"/>
                  </a:lnTo>
                  <a:lnTo>
                    <a:pt x="23680" y="20037"/>
                  </a:lnTo>
                  <a:lnTo>
                    <a:pt x="21858" y="20037"/>
                  </a:lnTo>
                  <a:lnTo>
                    <a:pt x="14570" y="16393"/>
                  </a:lnTo>
                  <a:lnTo>
                    <a:pt x="12751" y="16393"/>
                  </a:lnTo>
                  <a:lnTo>
                    <a:pt x="10929" y="20036"/>
                  </a:lnTo>
                  <a:lnTo>
                    <a:pt x="1821" y="20036"/>
                  </a:lnTo>
                  <a:lnTo>
                    <a:pt x="0" y="14571"/>
                  </a:lnTo>
                  <a:lnTo>
                    <a:pt x="0" y="10928"/>
                  </a:lnTo>
                  <a:lnTo>
                    <a:pt x="5464" y="5464"/>
                  </a:lnTo>
                  <a:lnTo>
                    <a:pt x="7286" y="5464"/>
                  </a:lnTo>
                  <a:lnTo>
                    <a:pt x="9561" y="8194"/>
                  </a:lnTo>
                  <a:lnTo>
                    <a:pt x="7286"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 name="Tasmania">
              <a:extLst>
                <a:ext uri="{FF2B5EF4-FFF2-40B4-BE49-F238E27FC236}">
                  <a16:creationId xmlns:a16="http://schemas.microsoft.com/office/drawing/2014/main" id="{68828943-FCB3-6423-01A5-8254B4709A91}"/>
                </a:ext>
              </a:extLst>
            </p:cNvPr>
            <p:cNvSpPr>
              <a:spLocks/>
            </p:cNvSpPr>
            <p:nvPr/>
          </p:nvSpPr>
          <p:spPr bwMode="auto">
            <a:xfrm>
              <a:off x="9244806" y="5604783"/>
              <a:ext cx="88545" cy="122880"/>
            </a:xfrm>
            <a:custGeom>
              <a:avLst/>
              <a:gdLst/>
              <a:ahLst/>
              <a:cxnLst/>
              <a:rect l="l" t="t" r="r" b="b"/>
              <a:pathLst>
                <a:path w="89251" h="123859">
                  <a:moveTo>
                    <a:pt x="0" y="29143"/>
                  </a:moveTo>
                  <a:lnTo>
                    <a:pt x="3643" y="29143"/>
                  </a:lnTo>
                  <a:lnTo>
                    <a:pt x="43715" y="43715"/>
                  </a:lnTo>
                  <a:lnTo>
                    <a:pt x="78323" y="32786"/>
                  </a:lnTo>
                  <a:lnTo>
                    <a:pt x="81966" y="32786"/>
                  </a:lnTo>
                  <a:lnTo>
                    <a:pt x="81966" y="34608"/>
                  </a:lnTo>
                  <a:lnTo>
                    <a:pt x="87430" y="49179"/>
                  </a:lnTo>
                  <a:lnTo>
                    <a:pt x="87430" y="72858"/>
                  </a:lnTo>
                  <a:lnTo>
                    <a:pt x="78323" y="96537"/>
                  </a:lnTo>
                  <a:lnTo>
                    <a:pt x="76501" y="96537"/>
                  </a:lnTo>
                  <a:lnTo>
                    <a:pt x="67394" y="100180"/>
                  </a:lnTo>
                  <a:lnTo>
                    <a:pt x="61930" y="112930"/>
                  </a:lnTo>
                  <a:lnTo>
                    <a:pt x="56465" y="112930"/>
                  </a:lnTo>
                  <a:lnTo>
                    <a:pt x="51001" y="123859"/>
                  </a:lnTo>
                  <a:lnTo>
                    <a:pt x="32786" y="122038"/>
                  </a:lnTo>
                  <a:lnTo>
                    <a:pt x="29144" y="122038"/>
                  </a:lnTo>
                  <a:lnTo>
                    <a:pt x="29144" y="118395"/>
                  </a:lnTo>
                  <a:lnTo>
                    <a:pt x="34608" y="116573"/>
                  </a:lnTo>
                  <a:lnTo>
                    <a:pt x="27322" y="112930"/>
                  </a:lnTo>
                  <a:lnTo>
                    <a:pt x="14572" y="96537"/>
                  </a:lnTo>
                  <a:lnTo>
                    <a:pt x="10929" y="74680"/>
                  </a:lnTo>
                  <a:lnTo>
                    <a:pt x="14572" y="74680"/>
                  </a:lnTo>
                  <a:lnTo>
                    <a:pt x="16393" y="83787"/>
                  </a:lnTo>
                  <a:lnTo>
                    <a:pt x="20036" y="80144"/>
                  </a:lnTo>
                  <a:lnTo>
                    <a:pt x="0" y="49179"/>
                  </a:lnTo>
                  <a:close/>
                  <a:moveTo>
                    <a:pt x="83787" y="18214"/>
                  </a:moveTo>
                  <a:lnTo>
                    <a:pt x="87430" y="18214"/>
                  </a:lnTo>
                  <a:lnTo>
                    <a:pt x="89251" y="23679"/>
                  </a:lnTo>
                  <a:lnTo>
                    <a:pt x="81965" y="23679"/>
                  </a:lnTo>
                  <a:lnTo>
                    <a:pt x="81965" y="21857"/>
                  </a:lnTo>
                  <a:close/>
                  <a:moveTo>
                    <a:pt x="76501" y="0"/>
                  </a:moveTo>
                  <a:lnTo>
                    <a:pt x="76501" y="1821"/>
                  </a:lnTo>
                  <a:lnTo>
                    <a:pt x="87430" y="7286"/>
                  </a:lnTo>
                  <a:lnTo>
                    <a:pt x="87430" y="16393"/>
                  </a:lnTo>
                  <a:lnTo>
                    <a:pt x="81966" y="18215"/>
                  </a:lnTo>
                  <a:lnTo>
                    <a:pt x="72858"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 name="Solomon Islands">
              <a:extLst>
                <a:ext uri="{FF2B5EF4-FFF2-40B4-BE49-F238E27FC236}">
                  <a16:creationId xmlns:a16="http://schemas.microsoft.com/office/drawing/2014/main" id="{15683020-BF8A-D34F-BBDD-8673D1B18350}"/>
                </a:ext>
              </a:extLst>
            </p:cNvPr>
            <p:cNvSpPr>
              <a:spLocks/>
            </p:cNvSpPr>
            <p:nvPr/>
          </p:nvSpPr>
          <p:spPr bwMode="auto">
            <a:xfrm>
              <a:off x="9477915" y="4715708"/>
              <a:ext cx="182514" cy="155409"/>
            </a:xfrm>
            <a:custGeom>
              <a:avLst/>
              <a:gdLst/>
              <a:ahLst/>
              <a:cxnLst/>
              <a:rect l="l" t="t" r="r" b="b"/>
              <a:pathLst>
                <a:path w="183969" h="156648">
                  <a:moveTo>
                    <a:pt x="127503" y="151183"/>
                  </a:moveTo>
                  <a:lnTo>
                    <a:pt x="134790" y="153005"/>
                  </a:lnTo>
                  <a:lnTo>
                    <a:pt x="134790" y="156648"/>
                  </a:lnTo>
                  <a:lnTo>
                    <a:pt x="122039" y="156648"/>
                  </a:lnTo>
                  <a:lnTo>
                    <a:pt x="122039" y="153005"/>
                  </a:lnTo>
                  <a:close/>
                  <a:moveTo>
                    <a:pt x="160289" y="112931"/>
                  </a:moveTo>
                  <a:lnTo>
                    <a:pt x="178505" y="118396"/>
                  </a:lnTo>
                  <a:lnTo>
                    <a:pt x="183969" y="129325"/>
                  </a:lnTo>
                  <a:lnTo>
                    <a:pt x="171218" y="129325"/>
                  </a:lnTo>
                  <a:close/>
                  <a:moveTo>
                    <a:pt x="116574" y="91074"/>
                  </a:moveTo>
                  <a:lnTo>
                    <a:pt x="134788" y="91074"/>
                  </a:lnTo>
                  <a:lnTo>
                    <a:pt x="149360" y="105646"/>
                  </a:lnTo>
                  <a:lnTo>
                    <a:pt x="149360" y="107468"/>
                  </a:lnTo>
                  <a:lnTo>
                    <a:pt x="127502" y="107468"/>
                  </a:lnTo>
                  <a:lnTo>
                    <a:pt x="116574" y="100182"/>
                  </a:lnTo>
                  <a:close/>
                  <a:moveTo>
                    <a:pt x="140254" y="69216"/>
                  </a:moveTo>
                  <a:lnTo>
                    <a:pt x="143897" y="69216"/>
                  </a:lnTo>
                  <a:lnTo>
                    <a:pt x="165755" y="100180"/>
                  </a:lnTo>
                  <a:lnTo>
                    <a:pt x="165755" y="102002"/>
                  </a:lnTo>
                  <a:lnTo>
                    <a:pt x="151183" y="91073"/>
                  </a:lnTo>
                  <a:lnTo>
                    <a:pt x="140254" y="72859"/>
                  </a:lnTo>
                  <a:close/>
                  <a:moveTo>
                    <a:pt x="54644" y="56467"/>
                  </a:moveTo>
                  <a:lnTo>
                    <a:pt x="60109" y="56467"/>
                  </a:lnTo>
                  <a:lnTo>
                    <a:pt x="60109" y="61930"/>
                  </a:lnTo>
                  <a:lnTo>
                    <a:pt x="61930" y="61930"/>
                  </a:lnTo>
                  <a:lnTo>
                    <a:pt x="67395" y="58287"/>
                  </a:lnTo>
                  <a:lnTo>
                    <a:pt x="71038" y="58287"/>
                  </a:lnTo>
                  <a:lnTo>
                    <a:pt x="76503" y="72859"/>
                  </a:lnTo>
                  <a:lnTo>
                    <a:pt x="61930" y="67394"/>
                  </a:lnTo>
                  <a:lnTo>
                    <a:pt x="60109" y="67394"/>
                  </a:lnTo>
                  <a:lnTo>
                    <a:pt x="60109" y="63753"/>
                  </a:lnTo>
                  <a:lnTo>
                    <a:pt x="56465" y="63753"/>
                  </a:lnTo>
                  <a:close/>
                  <a:moveTo>
                    <a:pt x="92896" y="47359"/>
                  </a:moveTo>
                  <a:lnTo>
                    <a:pt x="118397" y="63752"/>
                  </a:lnTo>
                  <a:lnTo>
                    <a:pt x="123862" y="72860"/>
                  </a:lnTo>
                  <a:lnTo>
                    <a:pt x="122040" y="72860"/>
                  </a:lnTo>
                  <a:lnTo>
                    <a:pt x="96539" y="58288"/>
                  </a:lnTo>
                  <a:lnTo>
                    <a:pt x="92896" y="51002"/>
                  </a:lnTo>
                  <a:close/>
                  <a:moveTo>
                    <a:pt x="43716" y="27323"/>
                  </a:moveTo>
                  <a:lnTo>
                    <a:pt x="45537" y="27323"/>
                  </a:lnTo>
                  <a:lnTo>
                    <a:pt x="67396" y="41895"/>
                  </a:lnTo>
                  <a:lnTo>
                    <a:pt x="71039" y="41895"/>
                  </a:lnTo>
                  <a:lnTo>
                    <a:pt x="71039" y="45538"/>
                  </a:lnTo>
                  <a:lnTo>
                    <a:pt x="67396" y="45538"/>
                  </a:lnTo>
                  <a:lnTo>
                    <a:pt x="54645" y="41895"/>
                  </a:lnTo>
                  <a:lnTo>
                    <a:pt x="43716" y="29144"/>
                  </a:lnTo>
                  <a:close/>
                  <a:moveTo>
                    <a:pt x="0" y="0"/>
                  </a:moveTo>
                  <a:lnTo>
                    <a:pt x="3643" y="0"/>
                  </a:lnTo>
                  <a:lnTo>
                    <a:pt x="9107" y="1821"/>
                  </a:lnTo>
                  <a:lnTo>
                    <a:pt x="32786" y="23679"/>
                  </a:lnTo>
                  <a:lnTo>
                    <a:pt x="32786" y="34608"/>
                  </a:lnTo>
                  <a:lnTo>
                    <a:pt x="21857" y="34608"/>
                  </a:lnTo>
                  <a:lnTo>
                    <a:pt x="14571" y="29143"/>
                  </a:lnTo>
                  <a:lnTo>
                    <a:pt x="14571" y="21857"/>
                  </a:lnTo>
                  <a:lnTo>
                    <a:pt x="3643"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 name="Papua New Guinea">
              <a:extLst>
                <a:ext uri="{FF2B5EF4-FFF2-40B4-BE49-F238E27FC236}">
                  <a16:creationId xmlns:a16="http://schemas.microsoft.com/office/drawing/2014/main" id="{3372EEBC-790E-E33B-D762-369D03973D11}"/>
                </a:ext>
              </a:extLst>
            </p:cNvPr>
            <p:cNvSpPr>
              <a:spLocks/>
            </p:cNvSpPr>
            <p:nvPr/>
          </p:nvSpPr>
          <p:spPr bwMode="auto">
            <a:xfrm>
              <a:off x="9154451" y="4634391"/>
              <a:ext cx="290937" cy="206006"/>
            </a:xfrm>
            <a:custGeom>
              <a:avLst/>
              <a:gdLst/>
              <a:ahLst/>
              <a:cxnLst/>
              <a:rect l="l" t="t" r="r" b="b"/>
              <a:pathLst>
                <a:path w="293256" h="207648">
                  <a:moveTo>
                    <a:pt x="225862" y="173039"/>
                  </a:moveTo>
                  <a:lnTo>
                    <a:pt x="229505" y="173039"/>
                  </a:lnTo>
                  <a:lnTo>
                    <a:pt x="236791" y="176682"/>
                  </a:lnTo>
                  <a:lnTo>
                    <a:pt x="240434" y="178504"/>
                  </a:lnTo>
                  <a:lnTo>
                    <a:pt x="240434" y="187611"/>
                  </a:lnTo>
                  <a:lnTo>
                    <a:pt x="229505" y="183968"/>
                  </a:lnTo>
                  <a:lnTo>
                    <a:pt x="225862" y="176682"/>
                  </a:lnTo>
                  <a:close/>
                  <a:moveTo>
                    <a:pt x="162110" y="83788"/>
                  </a:moveTo>
                  <a:lnTo>
                    <a:pt x="169396" y="83788"/>
                  </a:lnTo>
                  <a:lnTo>
                    <a:pt x="173039" y="87431"/>
                  </a:lnTo>
                  <a:lnTo>
                    <a:pt x="173039" y="92896"/>
                  </a:lnTo>
                  <a:lnTo>
                    <a:pt x="169396" y="92896"/>
                  </a:lnTo>
                  <a:lnTo>
                    <a:pt x="163932" y="87431"/>
                  </a:lnTo>
                  <a:lnTo>
                    <a:pt x="162110" y="87431"/>
                  </a:lnTo>
                  <a:close/>
                  <a:moveTo>
                    <a:pt x="262292" y="51001"/>
                  </a:moveTo>
                  <a:lnTo>
                    <a:pt x="269578" y="51001"/>
                  </a:lnTo>
                  <a:lnTo>
                    <a:pt x="269578" y="54644"/>
                  </a:lnTo>
                  <a:lnTo>
                    <a:pt x="271399" y="60109"/>
                  </a:lnTo>
                  <a:lnTo>
                    <a:pt x="275042" y="60109"/>
                  </a:lnTo>
                  <a:lnTo>
                    <a:pt x="264113" y="87431"/>
                  </a:lnTo>
                  <a:lnTo>
                    <a:pt x="256828" y="87431"/>
                  </a:lnTo>
                  <a:lnTo>
                    <a:pt x="251363" y="98359"/>
                  </a:lnTo>
                  <a:lnTo>
                    <a:pt x="234970" y="103824"/>
                  </a:lnTo>
                  <a:lnTo>
                    <a:pt x="229505" y="103824"/>
                  </a:lnTo>
                  <a:lnTo>
                    <a:pt x="224041" y="105645"/>
                  </a:lnTo>
                  <a:lnTo>
                    <a:pt x="209469" y="105645"/>
                  </a:lnTo>
                  <a:lnTo>
                    <a:pt x="202183" y="100181"/>
                  </a:lnTo>
                  <a:lnTo>
                    <a:pt x="196719" y="100181"/>
                  </a:lnTo>
                  <a:lnTo>
                    <a:pt x="180326" y="94716"/>
                  </a:lnTo>
                  <a:lnTo>
                    <a:pt x="174861" y="87431"/>
                  </a:lnTo>
                  <a:lnTo>
                    <a:pt x="174861" y="83788"/>
                  </a:lnTo>
                  <a:lnTo>
                    <a:pt x="209469" y="83788"/>
                  </a:lnTo>
                  <a:lnTo>
                    <a:pt x="218577" y="72859"/>
                  </a:lnTo>
                  <a:lnTo>
                    <a:pt x="220398" y="72859"/>
                  </a:lnTo>
                  <a:lnTo>
                    <a:pt x="220398" y="81966"/>
                  </a:lnTo>
                  <a:lnTo>
                    <a:pt x="234970" y="83788"/>
                  </a:lnTo>
                  <a:lnTo>
                    <a:pt x="253185" y="67394"/>
                  </a:lnTo>
                  <a:lnTo>
                    <a:pt x="253185" y="54644"/>
                  </a:lnTo>
                  <a:lnTo>
                    <a:pt x="258649" y="54644"/>
                  </a:lnTo>
                  <a:close/>
                  <a:moveTo>
                    <a:pt x="271398" y="38250"/>
                  </a:moveTo>
                  <a:lnTo>
                    <a:pt x="275041" y="38250"/>
                  </a:lnTo>
                  <a:lnTo>
                    <a:pt x="287792" y="45536"/>
                  </a:lnTo>
                  <a:lnTo>
                    <a:pt x="293256" y="56465"/>
                  </a:lnTo>
                  <a:lnTo>
                    <a:pt x="287792" y="67393"/>
                  </a:lnTo>
                  <a:lnTo>
                    <a:pt x="282327" y="67393"/>
                  </a:lnTo>
                  <a:close/>
                  <a:moveTo>
                    <a:pt x="1822" y="14572"/>
                  </a:moveTo>
                  <a:lnTo>
                    <a:pt x="83788" y="40073"/>
                  </a:lnTo>
                  <a:lnTo>
                    <a:pt x="111110" y="61931"/>
                  </a:lnTo>
                  <a:lnTo>
                    <a:pt x="118396" y="83788"/>
                  </a:lnTo>
                  <a:lnTo>
                    <a:pt x="162111" y="98360"/>
                  </a:lnTo>
                  <a:lnTo>
                    <a:pt x="167575" y="114753"/>
                  </a:lnTo>
                  <a:lnTo>
                    <a:pt x="167575" y="116575"/>
                  </a:lnTo>
                  <a:lnTo>
                    <a:pt x="163932" y="116575"/>
                  </a:lnTo>
                  <a:lnTo>
                    <a:pt x="147539" y="118396"/>
                  </a:lnTo>
                  <a:lnTo>
                    <a:pt x="153004" y="129325"/>
                  </a:lnTo>
                  <a:lnTo>
                    <a:pt x="169397" y="143897"/>
                  </a:lnTo>
                  <a:lnTo>
                    <a:pt x="183969" y="165754"/>
                  </a:lnTo>
                  <a:lnTo>
                    <a:pt x="196719" y="167576"/>
                  </a:lnTo>
                  <a:lnTo>
                    <a:pt x="198540" y="178505"/>
                  </a:lnTo>
                  <a:lnTo>
                    <a:pt x="214934" y="183969"/>
                  </a:lnTo>
                  <a:lnTo>
                    <a:pt x="214934" y="189434"/>
                  </a:lnTo>
                  <a:lnTo>
                    <a:pt x="236791" y="194898"/>
                  </a:lnTo>
                  <a:lnTo>
                    <a:pt x="236791" y="196719"/>
                  </a:lnTo>
                  <a:lnTo>
                    <a:pt x="229505" y="200362"/>
                  </a:lnTo>
                  <a:lnTo>
                    <a:pt x="231327" y="200362"/>
                  </a:lnTo>
                  <a:lnTo>
                    <a:pt x="231327" y="202184"/>
                  </a:lnTo>
                  <a:lnTo>
                    <a:pt x="224041" y="207648"/>
                  </a:lnTo>
                  <a:lnTo>
                    <a:pt x="213112" y="202184"/>
                  </a:lnTo>
                  <a:lnTo>
                    <a:pt x="163932" y="194898"/>
                  </a:lnTo>
                  <a:lnTo>
                    <a:pt x="142075" y="176683"/>
                  </a:lnTo>
                  <a:lnTo>
                    <a:pt x="142075" y="171219"/>
                  </a:lnTo>
                  <a:lnTo>
                    <a:pt x="134789" y="171219"/>
                  </a:lnTo>
                  <a:lnTo>
                    <a:pt x="123860" y="151183"/>
                  </a:lnTo>
                  <a:lnTo>
                    <a:pt x="83788" y="132968"/>
                  </a:lnTo>
                  <a:lnTo>
                    <a:pt x="74680" y="138432"/>
                  </a:lnTo>
                  <a:lnTo>
                    <a:pt x="69216" y="134789"/>
                  </a:lnTo>
                  <a:lnTo>
                    <a:pt x="72859" y="140254"/>
                  </a:lnTo>
                  <a:lnTo>
                    <a:pt x="72859" y="143897"/>
                  </a:lnTo>
                  <a:lnTo>
                    <a:pt x="69216" y="143897"/>
                  </a:lnTo>
                  <a:lnTo>
                    <a:pt x="63752" y="145718"/>
                  </a:lnTo>
                  <a:lnTo>
                    <a:pt x="61930" y="149361"/>
                  </a:lnTo>
                  <a:lnTo>
                    <a:pt x="51001" y="154826"/>
                  </a:lnTo>
                  <a:lnTo>
                    <a:pt x="58287" y="165754"/>
                  </a:lnTo>
                  <a:lnTo>
                    <a:pt x="45537" y="176683"/>
                  </a:lnTo>
                  <a:lnTo>
                    <a:pt x="29144" y="176683"/>
                  </a:lnTo>
                  <a:lnTo>
                    <a:pt x="23679" y="173040"/>
                  </a:lnTo>
                  <a:lnTo>
                    <a:pt x="7286" y="173040"/>
                  </a:lnTo>
                  <a:lnTo>
                    <a:pt x="5465" y="171219"/>
                  </a:lnTo>
                  <a:lnTo>
                    <a:pt x="0" y="116575"/>
                  </a:lnTo>
                  <a:lnTo>
                    <a:pt x="1822" y="72859"/>
                  </a:lnTo>
                  <a:close/>
                  <a:moveTo>
                    <a:pt x="214933" y="10929"/>
                  </a:moveTo>
                  <a:lnTo>
                    <a:pt x="225862" y="10929"/>
                  </a:lnTo>
                  <a:lnTo>
                    <a:pt x="229505" y="14572"/>
                  </a:lnTo>
                  <a:lnTo>
                    <a:pt x="229505" y="16394"/>
                  </a:lnTo>
                  <a:lnTo>
                    <a:pt x="225862" y="16394"/>
                  </a:lnTo>
                  <a:lnTo>
                    <a:pt x="220398" y="20037"/>
                  </a:lnTo>
                  <a:lnTo>
                    <a:pt x="214933" y="14572"/>
                  </a:lnTo>
                  <a:close/>
                  <a:moveTo>
                    <a:pt x="134789" y="0"/>
                  </a:moveTo>
                  <a:lnTo>
                    <a:pt x="147540" y="0"/>
                  </a:lnTo>
                  <a:lnTo>
                    <a:pt x="145719" y="9108"/>
                  </a:lnTo>
                  <a:lnTo>
                    <a:pt x="134789" y="9108"/>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 name="Tonga">
              <a:extLst>
                <a:ext uri="{FF2B5EF4-FFF2-40B4-BE49-F238E27FC236}">
                  <a16:creationId xmlns:a16="http://schemas.microsoft.com/office/drawing/2014/main" id="{00D4F47A-D0DE-2E0E-0C71-7AC6AF8CD7E9}"/>
                </a:ext>
              </a:extLst>
            </p:cNvPr>
            <p:cNvSpPr>
              <a:spLocks/>
            </p:cNvSpPr>
            <p:nvPr/>
          </p:nvSpPr>
          <p:spPr bwMode="auto">
            <a:xfrm>
              <a:off x="10177249" y="5093385"/>
              <a:ext cx="10843" cy="7228"/>
            </a:xfrm>
            <a:custGeom>
              <a:avLst/>
              <a:gdLst>
                <a:gd name="T0" fmla="*/ 1 w 6"/>
                <a:gd name="T1" fmla="*/ 0 h 4"/>
                <a:gd name="T2" fmla="*/ 4 w 6"/>
                <a:gd name="T3" fmla="*/ 1 h 4"/>
                <a:gd name="T4" fmla="*/ 6 w 6"/>
                <a:gd name="T5" fmla="*/ 1 h 4"/>
                <a:gd name="T6" fmla="*/ 6 w 6"/>
                <a:gd name="T7" fmla="*/ 4 h 4"/>
                <a:gd name="T8" fmla="*/ 4 w 6"/>
                <a:gd name="T9" fmla="*/ 4 h 4"/>
                <a:gd name="T10" fmla="*/ 1 w 6"/>
                <a:gd name="T11" fmla="*/ 1 h 4"/>
                <a:gd name="T12" fmla="*/ 0 w 6"/>
                <a:gd name="T13" fmla="*/ 1 h 4"/>
                <a:gd name="T14" fmla="*/ 1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1" y="0"/>
                  </a:moveTo>
                  <a:lnTo>
                    <a:pt x="4" y="1"/>
                  </a:lnTo>
                  <a:lnTo>
                    <a:pt x="6" y="1"/>
                  </a:lnTo>
                  <a:lnTo>
                    <a:pt x="6" y="4"/>
                  </a:lnTo>
                  <a:lnTo>
                    <a:pt x="4" y="4"/>
                  </a:lnTo>
                  <a:lnTo>
                    <a:pt x="1" y="1"/>
                  </a:lnTo>
                  <a:lnTo>
                    <a:pt x="0" y="1"/>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 name="Vanuatu">
              <a:extLst>
                <a:ext uri="{FF2B5EF4-FFF2-40B4-BE49-F238E27FC236}">
                  <a16:creationId xmlns:a16="http://schemas.microsoft.com/office/drawing/2014/main" id="{F109745B-3B62-A26A-B91F-EA3C0F0FB6B0}"/>
                </a:ext>
              </a:extLst>
            </p:cNvPr>
            <p:cNvSpPr>
              <a:spLocks/>
            </p:cNvSpPr>
            <p:nvPr/>
          </p:nvSpPr>
          <p:spPr bwMode="auto">
            <a:xfrm>
              <a:off x="9750781" y="4934363"/>
              <a:ext cx="48791" cy="77703"/>
            </a:xfrm>
            <a:custGeom>
              <a:avLst/>
              <a:gdLst/>
              <a:ahLst/>
              <a:cxnLst/>
              <a:rect l="l" t="t" r="r" b="b"/>
              <a:pathLst>
                <a:path w="49180" h="78322">
                  <a:moveTo>
                    <a:pt x="47359" y="71036"/>
                  </a:moveTo>
                  <a:lnTo>
                    <a:pt x="49180" y="71036"/>
                  </a:lnTo>
                  <a:lnTo>
                    <a:pt x="49180" y="78322"/>
                  </a:lnTo>
                  <a:lnTo>
                    <a:pt x="41894" y="78322"/>
                  </a:lnTo>
                  <a:close/>
                  <a:moveTo>
                    <a:pt x="38252" y="36429"/>
                  </a:moveTo>
                  <a:lnTo>
                    <a:pt x="41895" y="36429"/>
                  </a:lnTo>
                  <a:lnTo>
                    <a:pt x="43716" y="41894"/>
                  </a:lnTo>
                  <a:lnTo>
                    <a:pt x="43716" y="43715"/>
                  </a:lnTo>
                  <a:lnTo>
                    <a:pt x="36430" y="43715"/>
                  </a:lnTo>
                  <a:lnTo>
                    <a:pt x="36430" y="41894"/>
                  </a:lnTo>
                  <a:close/>
                  <a:moveTo>
                    <a:pt x="16393" y="30964"/>
                  </a:moveTo>
                  <a:lnTo>
                    <a:pt x="20036" y="30964"/>
                  </a:lnTo>
                  <a:lnTo>
                    <a:pt x="32787" y="47358"/>
                  </a:lnTo>
                  <a:lnTo>
                    <a:pt x="32787" y="49179"/>
                  </a:lnTo>
                  <a:lnTo>
                    <a:pt x="21858" y="49179"/>
                  </a:lnTo>
                  <a:lnTo>
                    <a:pt x="21858" y="47358"/>
                  </a:lnTo>
                  <a:lnTo>
                    <a:pt x="16393" y="32786"/>
                  </a:lnTo>
                  <a:close/>
                  <a:moveTo>
                    <a:pt x="3643" y="0"/>
                  </a:moveTo>
                  <a:lnTo>
                    <a:pt x="3643" y="3643"/>
                  </a:lnTo>
                  <a:lnTo>
                    <a:pt x="9108" y="14573"/>
                  </a:lnTo>
                  <a:lnTo>
                    <a:pt x="14573" y="9108"/>
                  </a:lnTo>
                  <a:lnTo>
                    <a:pt x="16394" y="9108"/>
                  </a:lnTo>
                  <a:lnTo>
                    <a:pt x="16394" y="10929"/>
                  </a:lnTo>
                  <a:lnTo>
                    <a:pt x="20037" y="21859"/>
                  </a:lnTo>
                  <a:lnTo>
                    <a:pt x="20037" y="25502"/>
                  </a:lnTo>
                  <a:lnTo>
                    <a:pt x="16394" y="25502"/>
                  </a:lnTo>
                  <a:lnTo>
                    <a:pt x="9108" y="27323"/>
                  </a:lnTo>
                  <a:lnTo>
                    <a:pt x="9108" y="25502"/>
                  </a:lnTo>
                  <a:lnTo>
                    <a:pt x="0"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 name="Chatham Island">
              <a:extLst>
                <a:ext uri="{FF2B5EF4-FFF2-40B4-BE49-F238E27FC236}">
                  <a16:creationId xmlns:a16="http://schemas.microsoft.com/office/drawing/2014/main" id="{25F96EF9-457E-C0CE-B986-1A5C89FE0563}"/>
                </a:ext>
              </a:extLst>
            </p:cNvPr>
            <p:cNvSpPr>
              <a:spLocks/>
            </p:cNvSpPr>
            <p:nvPr/>
          </p:nvSpPr>
          <p:spPr bwMode="auto">
            <a:xfrm>
              <a:off x="10148336" y="5733084"/>
              <a:ext cx="12650" cy="14457"/>
            </a:xfrm>
            <a:custGeom>
              <a:avLst/>
              <a:gdLst>
                <a:gd name="T0" fmla="*/ 4 w 7"/>
                <a:gd name="T1" fmla="*/ 0 h 8"/>
                <a:gd name="T2" fmla="*/ 7 w 7"/>
                <a:gd name="T3" fmla="*/ 0 h 8"/>
                <a:gd name="T4" fmla="*/ 7 w 7"/>
                <a:gd name="T5" fmla="*/ 2 h 8"/>
                <a:gd name="T6" fmla="*/ 4 w 7"/>
                <a:gd name="T7" fmla="*/ 8 h 8"/>
                <a:gd name="T8" fmla="*/ 3 w 7"/>
                <a:gd name="T9" fmla="*/ 8 h 8"/>
                <a:gd name="T10" fmla="*/ 3 w 7"/>
                <a:gd name="T11" fmla="*/ 6 h 8"/>
                <a:gd name="T12" fmla="*/ 1 w 7"/>
                <a:gd name="T13" fmla="*/ 3 h 8"/>
                <a:gd name="T14" fmla="*/ 0 w 7"/>
                <a:gd name="T15" fmla="*/ 3 h 8"/>
                <a:gd name="T16" fmla="*/ 0 w 7"/>
                <a:gd name="T17" fmla="*/ 2 h 8"/>
                <a:gd name="T18" fmla="*/ 3 w 7"/>
                <a:gd name="T19" fmla="*/ 2 h 8"/>
                <a:gd name="T20" fmla="*/ 4 w 7"/>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4" y="0"/>
                  </a:moveTo>
                  <a:lnTo>
                    <a:pt x="7" y="0"/>
                  </a:lnTo>
                  <a:lnTo>
                    <a:pt x="7" y="2"/>
                  </a:lnTo>
                  <a:lnTo>
                    <a:pt x="4" y="8"/>
                  </a:lnTo>
                  <a:lnTo>
                    <a:pt x="3" y="8"/>
                  </a:lnTo>
                  <a:lnTo>
                    <a:pt x="3" y="6"/>
                  </a:lnTo>
                  <a:lnTo>
                    <a:pt x="1" y="3"/>
                  </a:lnTo>
                  <a:lnTo>
                    <a:pt x="0" y="3"/>
                  </a:lnTo>
                  <a:lnTo>
                    <a:pt x="0" y="2"/>
                  </a:lnTo>
                  <a:lnTo>
                    <a:pt x="3" y="2"/>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 name="American Samoa">
              <a:extLst>
                <a:ext uri="{FF2B5EF4-FFF2-40B4-BE49-F238E27FC236}">
                  <a16:creationId xmlns:a16="http://schemas.microsoft.com/office/drawing/2014/main" id="{43569659-F029-ADD0-F42B-330049F18B5D}"/>
                </a:ext>
              </a:extLst>
            </p:cNvPr>
            <p:cNvSpPr>
              <a:spLocks/>
            </p:cNvSpPr>
            <p:nvPr/>
          </p:nvSpPr>
          <p:spPr bwMode="auto">
            <a:xfrm>
              <a:off x="10233268" y="4905449"/>
              <a:ext cx="39755" cy="16264"/>
            </a:xfrm>
            <a:custGeom>
              <a:avLst/>
              <a:gdLst/>
              <a:ahLst/>
              <a:cxnLst/>
              <a:rect l="l" t="t" r="r" b="b"/>
              <a:pathLst>
                <a:path w="40072" h="16394">
                  <a:moveTo>
                    <a:pt x="0" y="0"/>
                  </a:moveTo>
                  <a:lnTo>
                    <a:pt x="9107" y="0"/>
                  </a:lnTo>
                  <a:lnTo>
                    <a:pt x="16393" y="1822"/>
                  </a:lnTo>
                  <a:lnTo>
                    <a:pt x="20037" y="1822"/>
                  </a:lnTo>
                  <a:lnTo>
                    <a:pt x="21858" y="10929"/>
                  </a:lnTo>
                  <a:lnTo>
                    <a:pt x="29143" y="10929"/>
                  </a:lnTo>
                  <a:lnTo>
                    <a:pt x="40072" y="16394"/>
                  </a:lnTo>
                  <a:lnTo>
                    <a:pt x="23679" y="16394"/>
                  </a:lnTo>
                  <a:lnTo>
                    <a:pt x="21857" y="12751"/>
                  </a:lnTo>
                  <a:lnTo>
                    <a:pt x="20037" y="12751"/>
                  </a:lnTo>
                  <a:lnTo>
                    <a:pt x="9107" y="7287"/>
                  </a:lnTo>
                  <a:lnTo>
                    <a:pt x="3643" y="1822"/>
                  </a:lnTo>
                  <a:lnTo>
                    <a:pt x="0" y="18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 name="Galapagos">
              <a:extLst>
                <a:ext uri="{FF2B5EF4-FFF2-40B4-BE49-F238E27FC236}">
                  <a16:creationId xmlns:a16="http://schemas.microsoft.com/office/drawing/2014/main" id="{2D36A2CA-B9A7-B54B-00F3-2511102F9D9B}"/>
                </a:ext>
              </a:extLst>
            </p:cNvPr>
            <p:cNvSpPr>
              <a:spLocks/>
            </p:cNvSpPr>
            <p:nvPr/>
          </p:nvSpPr>
          <p:spPr bwMode="auto">
            <a:xfrm>
              <a:off x="3662792" y="4587407"/>
              <a:ext cx="37948" cy="30721"/>
            </a:xfrm>
            <a:custGeom>
              <a:avLst/>
              <a:gdLst/>
              <a:ahLst/>
              <a:cxnLst/>
              <a:rect l="l" t="t" r="r" b="b"/>
              <a:pathLst>
                <a:path w="38251" h="30966">
                  <a:moveTo>
                    <a:pt x="34608" y="12749"/>
                  </a:moveTo>
                  <a:lnTo>
                    <a:pt x="38251" y="12749"/>
                  </a:lnTo>
                  <a:lnTo>
                    <a:pt x="38251" y="14571"/>
                  </a:lnTo>
                  <a:lnTo>
                    <a:pt x="34608" y="20035"/>
                  </a:lnTo>
                  <a:lnTo>
                    <a:pt x="29143" y="20035"/>
                  </a:lnTo>
                  <a:lnTo>
                    <a:pt x="29143" y="18214"/>
                  </a:lnTo>
                  <a:close/>
                  <a:moveTo>
                    <a:pt x="21858" y="5464"/>
                  </a:moveTo>
                  <a:lnTo>
                    <a:pt x="23679" y="5464"/>
                  </a:lnTo>
                  <a:lnTo>
                    <a:pt x="27322" y="12750"/>
                  </a:lnTo>
                  <a:lnTo>
                    <a:pt x="20036" y="12750"/>
                  </a:lnTo>
                  <a:lnTo>
                    <a:pt x="20036" y="9107"/>
                  </a:lnTo>
                  <a:close/>
                  <a:moveTo>
                    <a:pt x="9108" y="0"/>
                  </a:moveTo>
                  <a:lnTo>
                    <a:pt x="20037" y="20037"/>
                  </a:lnTo>
                  <a:lnTo>
                    <a:pt x="10929" y="29145"/>
                  </a:lnTo>
                  <a:lnTo>
                    <a:pt x="10929" y="30966"/>
                  </a:lnTo>
                  <a:lnTo>
                    <a:pt x="9108" y="30966"/>
                  </a:lnTo>
                  <a:lnTo>
                    <a:pt x="9108" y="29145"/>
                  </a:lnTo>
                  <a:lnTo>
                    <a:pt x="5465" y="20037"/>
                  </a:lnTo>
                  <a:lnTo>
                    <a:pt x="8197" y="14572"/>
                  </a:lnTo>
                  <a:lnTo>
                    <a:pt x="0" y="14572"/>
                  </a:lnTo>
                  <a:lnTo>
                    <a:pt x="0" y="12751"/>
                  </a:lnTo>
                  <a:lnTo>
                    <a:pt x="5205" y="7547"/>
                  </a:lnTo>
                  <a:lnTo>
                    <a:pt x="3643" y="5464"/>
                  </a:lnTo>
                  <a:lnTo>
                    <a:pt x="3643"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 name="Venezuela">
              <a:extLst>
                <a:ext uri="{FF2B5EF4-FFF2-40B4-BE49-F238E27FC236}">
                  <a16:creationId xmlns:a16="http://schemas.microsoft.com/office/drawing/2014/main" id="{EEDF8D30-0685-9FB1-09C9-D859C9C1C654}"/>
                </a:ext>
              </a:extLst>
            </p:cNvPr>
            <p:cNvSpPr>
              <a:spLocks noEditPoints="1"/>
            </p:cNvSpPr>
            <p:nvPr/>
          </p:nvSpPr>
          <p:spPr bwMode="auto">
            <a:xfrm>
              <a:off x="4094679" y="4300084"/>
              <a:ext cx="323464" cy="272867"/>
            </a:xfrm>
            <a:custGeom>
              <a:avLst/>
              <a:gdLst>
                <a:gd name="T0" fmla="*/ 21 w 179"/>
                <a:gd name="T1" fmla="*/ 30 h 151"/>
                <a:gd name="T2" fmla="*/ 23 w 179"/>
                <a:gd name="T3" fmla="*/ 41 h 151"/>
                <a:gd name="T4" fmla="*/ 29 w 179"/>
                <a:gd name="T5" fmla="*/ 33 h 151"/>
                <a:gd name="T6" fmla="*/ 25 w 179"/>
                <a:gd name="T7" fmla="*/ 21 h 151"/>
                <a:gd name="T8" fmla="*/ 50 w 179"/>
                <a:gd name="T9" fmla="*/ 9 h 151"/>
                <a:gd name="T10" fmla="*/ 71 w 179"/>
                <a:gd name="T11" fmla="*/ 22 h 151"/>
                <a:gd name="T12" fmla="*/ 90 w 179"/>
                <a:gd name="T13" fmla="*/ 21 h 151"/>
                <a:gd name="T14" fmla="*/ 102 w 179"/>
                <a:gd name="T15" fmla="*/ 27 h 151"/>
                <a:gd name="T16" fmla="*/ 123 w 179"/>
                <a:gd name="T17" fmla="*/ 24 h 151"/>
                <a:gd name="T18" fmla="*/ 118 w 179"/>
                <a:gd name="T19" fmla="*/ 22 h 151"/>
                <a:gd name="T20" fmla="*/ 149 w 179"/>
                <a:gd name="T21" fmla="*/ 21 h 151"/>
                <a:gd name="T22" fmla="*/ 142 w 179"/>
                <a:gd name="T23" fmla="*/ 27 h 151"/>
                <a:gd name="T24" fmla="*/ 152 w 179"/>
                <a:gd name="T25" fmla="*/ 33 h 151"/>
                <a:gd name="T26" fmla="*/ 166 w 179"/>
                <a:gd name="T27" fmla="*/ 46 h 151"/>
                <a:gd name="T28" fmla="*/ 164 w 179"/>
                <a:gd name="T29" fmla="*/ 49 h 151"/>
                <a:gd name="T30" fmla="*/ 172 w 179"/>
                <a:gd name="T31" fmla="*/ 47 h 151"/>
                <a:gd name="T32" fmla="*/ 179 w 179"/>
                <a:gd name="T33" fmla="*/ 52 h 151"/>
                <a:gd name="T34" fmla="*/ 178 w 179"/>
                <a:gd name="T35" fmla="*/ 55 h 151"/>
                <a:gd name="T36" fmla="*/ 166 w 179"/>
                <a:gd name="T37" fmla="*/ 67 h 151"/>
                <a:gd name="T38" fmla="*/ 170 w 179"/>
                <a:gd name="T39" fmla="*/ 68 h 151"/>
                <a:gd name="T40" fmla="*/ 160 w 179"/>
                <a:gd name="T41" fmla="*/ 80 h 151"/>
                <a:gd name="T42" fmla="*/ 167 w 179"/>
                <a:gd name="T43" fmla="*/ 93 h 151"/>
                <a:gd name="T44" fmla="*/ 136 w 179"/>
                <a:gd name="T45" fmla="*/ 111 h 151"/>
                <a:gd name="T46" fmla="*/ 114 w 179"/>
                <a:gd name="T47" fmla="*/ 108 h 151"/>
                <a:gd name="T48" fmla="*/ 120 w 179"/>
                <a:gd name="T49" fmla="*/ 120 h 151"/>
                <a:gd name="T50" fmla="*/ 132 w 179"/>
                <a:gd name="T51" fmla="*/ 129 h 151"/>
                <a:gd name="T52" fmla="*/ 133 w 179"/>
                <a:gd name="T53" fmla="*/ 132 h 151"/>
                <a:gd name="T54" fmla="*/ 132 w 179"/>
                <a:gd name="T55" fmla="*/ 133 h 151"/>
                <a:gd name="T56" fmla="*/ 120 w 179"/>
                <a:gd name="T57" fmla="*/ 141 h 151"/>
                <a:gd name="T58" fmla="*/ 92 w 179"/>
                <a:gd name="T59" fmla="*/ 151 h 151"/>
                <a:gd name="T60" fmla="*/ 84 w 179"/>
                <a:gd name="T61" fmla="*/ 144 h 151"/>
                <a:gd name="T62" fmla="*/ 72 w 179"/>
                <a:gd name="T63" fmla="*/ 124 h 151"/>
                <a:gd name="T64" fmla="*/ 80 w 179"/>
                <a:gd name="T65" fmla="*/ 117 h 151"/>
                <a:gd name="T66" fmla="*/ 71 w 179"/>
                <a:gd name="T67" fmla="*/ 101 h 151"/>
                <a:gd name="T68" fmla="*/ 72 w 179"/>
                <a:gd name="T69" fmla="*/ 80 h 151"/>
                <a:gd name="T70" fmla="*/ 52 w 179"/>
                <a:gd name="T71" fmla="*/ 81 h 151"/>
                <a:gd name="T72" fmla="*/ 37 w 179"/>
                <a:gd name="T73" fmla="*/ 68 h 151"/>
                <a:gd name="T74" fmla="*/ 19 w 179"/>
                <a:gd name="T75" fmla="*/ 68 h 151"/>
                <a:gd name="T76" fmla="*/ 13 w 179"/>
                <a:gd name="T77" fmla="*/ 53 h 151"/>
                <a:gd name="T78" fmla="*/ 0 w 179"/>
                <a:gd name="T79" fmla="*/ 41 h 151"/>
                <a:gd name="T80" fmla="*/ 10 w 179"/>
                <a:gd name="T81" fmla="*/ 18 h 151"/>
                <a:gd name="T82" fmla="*/ 26 w 179"/>
                <a:gd name="T83" fmla="*/ 4 h 151"/>
                <a:gd name="T84" fmla="*/ 28 w 179"/>
                <a:gd name="T85" fmla="*/ 6 h 151"/>
                <a:gd name="T86" fmla="*/ 25 w 179"/>
                <a:gd name="T87" fmla="*/ 19 h 151"/>
                <a:gd name="T88" fmla="*/ 47 w 179"/>
                <a:gd name="T89" fmla="*/ 9 h 151"/>
                <a:gd name="T90" fmla="*/ 41 w 179"/>
                <a:gd name="T91" fmla="*/ 7 h 151"/>
                <a:gd name="T92" fmla="*/ 40 w 179"/>
                <a:gd name="T93" fmla="*/ 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9" h="151">
                  <a:moveTo>
                    <a:pt x="25" y="21"/>
                  </a:moveTo>
                  <a:lnTo>
                    <a:pt x="21" y="30"/>
                  </a:lnTo>
                  <a:lnTo>
                    <a:pt x="21" y="34"/>
                  </a:lnTo>
                  <a:lnTo>
                    <a:pt x="23" y="41"/>
                  </a:lnTo>
                  <a:lnTo>
                    <a:pt x="31" y="37"/>
                  </a:lnTo>
                  <a:lnTo>
                    <a:pt x="29" y="33"/>
                  </a:lnTo>
                  <a:lnTo>
                    <a:pt x="25" y="25"/>
                  </a:lnTo>
                  <a:lnTo>
                    <a:pt x="25" y="21"/>
                  </a:lnTo>
                  <a:close/>
                  <a:moveTo>
                    <a:pt x="46" y="0"/>
                  </a:moveTo>
                  <a:lnTo>
                    <a:pt x="50" y="9"/>
                  </a:lnTo>
                  <a:lnTo>
                    <a:pt x="66" y="13"/>
                  </a:lnTo>
                  <a:lnTo>
                    <a:pt x="71" y="22"/>
                  </a:lnTo>
                  <a:lnTo>
                    <a:pt x="83" y="22"/>
                  </a:lnTo>
                  <a:lnTo>
                    <a:pt x="90" y="21"/>
                  </a:lnTo>
                  <a:lnTo>
                    <a:pt x="96" y="21"/>
                  </a:lnTo>
                  <a:lnTo>
                    <a:pt x="102" y="27"/>
                  </a:lnTo>
                  <a:lnTo>
                    <a:pt x="108" y="27"/>
                  </a:lnTo>
                  <a:lnTo>
                    <a:pt x="123" y="24"/>
                  </a:lnTo>
                  <a:lnTo>
                    <a:pt x="120" y="22"/>
                  </a:lnTo>
                  <a:lnTo>
                    <a:pt x="118" y="22"/>
                  </a:lnTo>
                  <a:lnTo>
                    <a:pt x="118" y="21"/>
                  </a:lnTo>
                  <a:lnTo>
                    <a:pt x="149" y="21"/>
                  </a:lnTo>
                  <a:lnTo>
                    <a:pt x="139" y="25"/>
                  </a:lnTo>
                  <a:lnTo>
                    <a:pt x="142" y="27"/>
                  </a:lnTo>
                  <a:lnTo>
                    <a:pt x="145" y="33"/>
                  </a:lnTo>
                  <a:lnTo>
                    <a:pt x="152" y="33"/>
                  </a:lnTo>
                  <a:lnTo>
                    <a:pt x="163" y="37"/>
                  </a:lnTo>
                  <a:lnTo>
                    <a:pt x="166" y="46"/>
                  </a:lnTo>
                  <a:lnTo>
                    <a:pt x="166" y="47"/>
                  </a:lnTo>
                  <a:lnTo>
                    <a:pt x="164" y="49"/>
                  </a:lnTo>
                  <a:lnTo>
                    <a:pt x="169" y="50"/>
                  </a:lnTo>
                  <a:lnTo>
                    <a:pt x="172" y="47"/>
                  </a:lnTo>
                  <a:lnTo>
                    <a:pt x="173" y="47"/>
                  </a:lnTo>
                  <a:lnTo>
                    <a:pt x="179" y="52"/>
                  </a:lnTo>
                  <a:lnTo>
                    <a:pt x="179" y="53"/>
                  </a:lnTo>
                  <a:lnTo>
                    <a:pt x="178" y="55"/>
                  </a:lnTo>
                  <a:lnTo>
                    <a:pt x="166" y="61"/>
                  </a:lnTo>
                  <a:lnTo>
                    <a:pt x="166" y="67"/>
                  </a:lnTo>
                  <a:lnTo>
                    <a:pt x="170" y="67"/>
                  </a:lnTo>
                  <a:lnTo>
                    <a:pt x="170" y="68"/>
                  </a:lnTo>
                  <a:lnTo>
                    <a:pt x="161" y="74"/>
                  </a:lnTo>
                  <a:lnTo>
                    <a:pt x="160" y="80"/>
                  </a:lnTo>
                  <a:lnTo>
                    <a:pt x="167" y="92"/>
                  </a:lnTo>
                  <a:lnTo>
                    <a:pt x="167" y="93"/>
                  </a:lnTo>
                  <a:lnTo>
                    <a:pt x="163" y="101"/>
                  </a:lnTo>
                  <a:lnTo>
                    <a:pt x="136" y="111"/>
                  </a:lnTo>
                  <a:lnTo>
                    <a:pt x="114" y="105"/>
                  </a:lnTo>
                  <a:lnTo>
                    <a:pt x="114" y="108"/>
                  </a:lnTo>
                  <a:lnTo>
                    <a:pt x="120" y="113"/>
                  </a:lnTo>
                  <a:lnTo>
                    <a:pt x="120" y="120"/>
                  </a:lnTo>
                  <a:lnTo>
                    <a:pt x="121" y="127"/>
                  </a:lnTo>
                  <a:lnTo>
                    <a:pt x="132" y="129"/>
                  </a:lnTo>
                  <a:lnTo>
                    <a:pt x="133" y="129"/>
                  </a:lnTo>
                  <a:lnTo>
                    <a:pt x="133" y="132"/>
                  </a:lnTo>
                  <a:lnTo>
                    <a:pt x="132" y="132"/>
                  </a:lnTo>
                  <a:lnTo>
                    <a:pt x="132" y="133"/>
                  </a:lnTo>
                  <a:lnTo>
                    <a:pt x="123" y="136"/>
                  </a:lnTo>
                  <a:lnTo>
                    <a:pt x="120" y="141"/>
                  </a:lnTo>
                  <a:lnTo>
                    <a:pt x="102" y="151"/>
                  </a:lnTo>
                  <a:lnTo>
                    <a:pt x="92" y="151"/>
                  </a:lnTo>
                  <a:lnTo>
                    <a:pt x="92" y="150"/>
                  </a:lnTo>
                  <a:lnTo>
                    <a:pt x="84" y="144"/>
                  </a:lnTo>
                  <a:lnTo>
                    <a:pt x="78" y="130"/>
                  </a:lnTo>
                  <a:lnTo>
                    <a:pt x="72" y="124"/>
                  </a:lnTo>
                  <a:lnTo>
                    <a:pt x="72" y="123"/>
                  </a:lnTo>
                  <a:lnTo>
                    <a:pt x="80" y="117"/>
                  </a:lnTo>
                  <a:lnTo>
                    <a:pt x="74" y="108"/>
                  </a:lnTo>
                  <a:lnTo>
                    <a:pt x="71" y="101"/>
                  </a:lnTo>
                  <a:lnTo>
                    <a:pt x="77" y="80"/>
                  </a:lnTo>
                  <a:lnTo>
                    <a:pt x="72" y="80"/>
                  </a:lnTo>
                  <a:lnTo>
                    <a:pt x="65" y="81"/>
                  </a:lnTo>
                  <a:lnTo>
                    <a:pt x="52" y="81"/>
                  </a:lnTo>
                  <a:lnTo>
                    <a:pt x="43" y="70"/>
                  </a:lnTo>
                  <a:lnTo>
                    <a:pt x="37" y="68"/>
                  </a:lnTo>
                  <a:lnTo>
                    <a:pt x="26" y="70"/>
                  </a:lnTo>
                  <a:lnTo>
                    <a:pt x="19" y="68"/>
                  </a:lnTo>
                  <a:lnTo>
                    <a:pt x="13" y="64"/>
                  </a:lnTo>
                  <a:lnTo>
                    <a:pt x="13" y="53"/>
                  </a:lnTo>
                  <a:lnTo>
                    <a:pt x="7" y="41"/>
                  </a:lnTo>
                  <a:lnTo>
                    <a:pt x="0" y="41"/>
                  </a:lnTo>
                  <a:lnTo>
                    <a:pt x="0" y="40"/>
                  </a:lnTo>
                  <a:lnTo>
                    <a:pt x="10" y="18"/>
                  </a:lnTo>
                  <a:lnTo>
                    <a:pt x="19" y="7"/>
                  </a:lnTo>
                  <a:lnTo>
                    <a:pt x="26" y="4"/>
                  </a:lnTo>
                  <a:lnTo>
                    <a:pt x="28" y="4"/>
                  </a:lnTo>
                  <a:lnTo>
                    <a:pt x="28" y="6"/>
                  </a:lnTo>
                  <a:lnTo>
                    <a:pt x="22" y="9"/>
                  </a:lnTo>
                  <a:lnTo>
                    <a:pt x="25" y="19"/>
                  </a:lnTo>
                  <a:lnTo>
                    <a:pt x="34" y="13"/>
                  </a:lnTo>
                  <a:lnTo>
                    <a:pt x="47" y="9"/>
                  </a:lnTo>
                  <a:lnTo>
                    <a:pt x="46" y="9"/>
                  </a:lnTo>
                  <a:lnTo>
                    <a:pt x="41" y="7"/>
                  </a:lnTo>
                  <a:lnTo>
                    <a:pt x="40" y="7"/>
                  </a:lnTo>
                  <a:lnTo>
                    <a:pt x="40" y="6"/>
                  </a:lnTo>
                  <a:lnTo>
                    <a:pt x="4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 name="Uruguay">
              <a:extLst>
                <a:ext uri="{FF2B5EF4-FFF2-40B4-BE49-F238E27FC236}">
                  <a16:creationId xmlns:a16="http://schemas.microsoft.com/office/drawing/2014/main" id="{4C54AB7C-5C07-F1A9-A1DF-7A0A9048129A}"/>
                </a:ext>
              </a:extLst>
            </p:cNvPr>
            <p:cNvSpPr>
              <a:spLocks/>
            </p:cNvSpPr>
            <p:nvPr/>
          </p:nvSpPr>
          <p:spPr bwMode="auto">
            <a:xfrm>
              <a:off x="4445249" y="5328302"/>
              <a:ext cx="128302" cy="137337"/>
            </a:xfrm>
            <a:custGeom>
              <a:avLst/>
              <a:gdLst>
                <a:gd name="T0" fmla="*/ 19 w 71"/>
                <a:gd name="T1" fmla="*/ 0 h 76"/>
                <a:gd name="T2" fmla="*/ 24 w 71"/>
                <a:gd name="T3" fmla="*/ 0 h 76"/>
                <a:gd name="T4" fmla="*/ 31 w 71"/>
                <a:gd name="T5" fmla="*/ 8 h 76"/>
                <a:gd name="T6" fmla="*/ 33 w 71"/>
                <a:gd name="T7" fmla="*/ 14 h 76"/>
                <a:gd name="T8" fmla="*/ 38 w 71"/>
                <a:gd name="T9" fmla="*/ 11 h 76"/>
                <a:gd name="T10" fmla="*/ 38 w 71"/>
                <a:gd name="T11" fmla="*/ 12 h 76"/>
                <a:gd name="T12" fmla="*/ 44 w 71"/>
                <a:gd name="T13" fmla="*/ 18 h 76"/>
                <a:gd name="T14" fmla="*/ 62 w 71"/>
                <a:gd name="T15" fmla="*/ 28 h 76"/>
                <a:gd name="T16" fmla="*/ 65 w 71"/>
                <a:gd name="T17" fmla="*/ 36 h 76"/>
                <a:gd name="T18" fmla="*/ 71 w 71"/>
                <a:gd name="T19" fmla="*/ 40 h 76"/>
                <a:gd name="T20" fmla="*/ 71 w 71"/>
                <a:gd name="T21" fmla="*/ 42 h 76"/>
                <a:gd name="T22" fmla="*/ 67 w 71"/>
                <a:gd name="T23" fmla="*/ 48 h 76"/>
                <a:gd name="T24" fmla="*/ 68 w 71"/>
                <a:gd name="T25" fmla="*/ 57 h 76"/>
                <a:gd name="T26" fmla="*/ 68 w 71"/>
                <a:gd name="T27" fmla="*/ 58 h 76"/>
                <a:gd name="T28" fmla="*/ 58 w 71"/>
                <a:gd name="T29" fmla="*/ 71 h 76"/>
                <a:gd name="T30" fmla="*/ 47 w 71"/>
                <a:gd name="T31" fmla="*/ 76 h 76"/>
                <a:gd name="T32" fmla="*/ 31 w 71"/>
                <a:gd name="T33" fmla="*/ 74 h 76"/>
                <a:gd name="T34" fmla="*/ 16 w 71"/>
                <a:gd name="T35" fmla="*/ 68 h 76"/>
                <a:gd name="T36" fmla="*/ 7 w 71"/>
                <a:gd name="T37" fmla="*/ 68 h 76"/>
                <a:gd name="T38" fmla="*/ 1 w 71"/>
                <a:gd name="T39" fmla="*/ 61 h 76"/>
                <a:gd name="T40" fmla="*/ 0 w 71"/>
                <a:gd name="T41" fmla="*/ 61 h 76"/>
                <a:gd name="T42" fmla="*/ 4 w 71"/>
                <a:gd name="T43" fmla="*/ 43 h 76"/>
                <a:gd name="T44" fmla="*/ 7 w 71"/>
                <a:gd name="T45" fmla="*/ 8 h 76"/>
                <a:gd name="T46" fmla="*/ 12 w 71"/>
                <a:gd name="T47" fmla="*/ 2 h 76"/>
                <a:gd name="T48" fmla="*/ 15 w 71"/>
                <a:gd name="T49" fmla="*/ 2 h 76"/>
                <a:gd name="T50" fmla="*/ 19 w 71"/>
                <a:gd name="T5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 h="76">
                  <a:moveTo>
                    <a:pt x="19" y="0"/>
                  </a:moveTo>
                  <a:lnTo>
                    <a:pt x="24" y="0"/>
                  </a:lnTo>
                  <a:lnTo>
                    <a:pt x="31" y="8"/>
                  </a:lnTo>
                  <a:lnTo>
                    <a:pt x="33" y="14"/>
                  </a:lnTo>
                  <a:lnTo>
                    <a:pt x="38" y="11"/>
                  </a:lnTo>
                  <a:lnTo>
                    <a:pt x="38" y="12"/>
                  </a:lnTo>
                  <a:lnTo>
                    <a:pt x="44" y="18"/>
                  </a:lnTo>
                  <a:lnTo>
                    <a:pt x="62" y="28"/>
                  </a:lnTo>
                  <a:lnTo>
                    <a:pt x="65" y="36"/>
                  </a:lnTo>
                  <a:lnTo>
                    <a:pt x="71" y="40"/>
                  </a:lnTo>
                  <a:lnTo>
                    <a:pt x="71" y="42"/>
                  </a:lnTo>
                  <a:lnTo>
                    <a:pt x="67" y="48"/>
                  </a:lnTo>
                  <a:lnTo>
                    <a:pt x="68" y="57"/>
                  </a:lnTo>
                  <a:lnTo>
                    <a:pt x="68" y="58"/>
                  </a:lnTo>
                  <a:lnTo>
                    <a:pt x="58" y="71"/>
                  </a:lnTo>
                  <a:lnTo>
                    <a:pt x="47" y="76"/>
                  </a:lnTo>
                  <a:lnTo>
                    <a:pt x="31" y="74"/>
                  </a:lnTo>
                  <a:lnTo>
                    <a:pt x="16" y="68"/>
                  </a:lnTo>
                  <a:lnTo>
                    <a:pt x="7" y="68"/>
                  </a:lnTo>
                  <a:lnTo>
                    <a:pt x="1" y="61"/>
                  </a:lnTo>
                  <a:lnTo>
                    <a:pt x="0" y="61"/>
                  </a:lnTo>
                  <a:lnTo>
                    <a:pt x="4" y="43"/>
                  </a:lnTo>
                  <a:lnTo>
                    <a:pt x="7" y="8"/>
                  </a:lnTo>
                  <a:lnTo>
                    <a:pt x="12" y="2"/>
                  </a:lnTo>
                  <a:lnTo>
                    <a:pt x="15" y="2"/>
                  </a:lnTo>
                  <a:lnTo>
                    <a:pt x="1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 name="Trinidad &amp; Tobago">
              <a:extLst>
                <a:ext uri="{FF2B5EF4-FFF2-40B4-BE49-F238E27FC236}">
                  <a16:creationId xmlns:a16="http://schemas.microsoft.com/office/drawing/2014/main" id="{06E2BDDF-A4C7-868B-B546-43F7A1E136F9}"/>
                </a:ext>
              </a:extLst>
            </p:cNvPr>
            <p:cNvSpPr>
              <a:spLocks/>
            </p:cNvSpPr>
            <p:nvPr/>
          </p:nvSpPr>
          <p:spPr bwMode="auto">
            <a:xfrm>
              <a:off x="4363932" y="4334418"/>
              <a:ext cx="27107" cy="19879"/>
            </a:xfrm>
            <a:custGeom>
              <a:avLst/>
              <a:gdLst>
                <a:gd name="T0" fmla="*/ 3 w 15"/>
                <a:gd name="T1" fmla="*/ 0 h 11"/>
                <a:gd name="T2" fmla="*/ 15 w 15"/>
                <a:gd name="T3" fmla="*/ 0 h 11"/>
                <a:gd name="T4" fmla="*/ 15 w 15"/>
                <a:gd name="T5" fmla="*/ 2 h 11"/>
                <a:gd name="T6" fmla="*/ 14 w 15"/>
                <a:gd name="T7" fmla="*/ 2 h 11"/>
                <a:gd name="T8" fmla="*/ 12 w 15"/>
                <a:gd name="T9" fmla="*/ 9 h 11"/>
                <a:gd name="T10" fmla="*/ 8 w 15"/>
                <a:gd name="T11" fmla="*/ 9 h 11"/>
                <a:gd name="T12" fmla="*/ 5 w 15"/>
                <a:gd name="T13" fmla="*/ 11 h 11"/>
                <a:gd name="T14" fmla="*/ 0 w 15"/>
                <a:gd name="T15" fmla="*/ 11 h 11"/>
                <a:gd name="T16" fmla="*/ 0 w 15"/>
                <a:gd name="T17" fmla="*/ 9 h 11"/>
                <a:gd name="T18" fmla="*/ 6 w 15"/>
                <a:gd name="T19" fmla="*/ 6 h 11"/>
                <a:gd name="T20" fmla="*/ 3 w 15"/>
                <a:gd name="T21" fmla="*/ 2 h 11"/>
                <a:gd name="T22" fmla="*/ 3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3" y="0"/>
                  </a:moveTo>
                  <a:lnTo>
                    <a:pt x="15" y="0"/>
                  </a:lnTo>
                  <a:lnTo>
                    <a:pt x="15" y="2"/>
                  </a:lnTo>
                  <a:lnTo>
                    <a:pt x="14" y="2"/>
                  </a:lnTo>
                  <a:lnTo>
                    <a:pt x="12" y="9"/>
                  </a:lnTo>
                  <a:lnTo>
                    <a:pt x="8" y="9"/>
                  </a:lnTo>
                  <a:lnTo>
                    <a:pt x="5" y="11"/>
                  </a:lnTo>
                  <a:lnTo>
                    <a:pt x="0" y="11"/>
                  </a:lnTo>
                  <a:lnTo>
                    <a:pt x="0" y="9"/>
                  </a:lnTo>
                  <a:lnTo>
                    <a:pt x="6" y="6"/>
                  </a:lnTo>
                  <a:lnTo>
                    <a:pt x="3" y="2"/>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 name="Suriname">
              <a:extLst>
                <a:ext uri="{FF2B5EF4-FFF2-40B4-BE49-F238E27FC236}">
                  <a16:creationId xmlns:a16="http://schemas.microsoft.com/office/drawing/2014/main" id="{57EB3118-F021-7015-8238-D0DD805CD623}"/>
                </a:ext>
              </a:extLst>
            </p:cNvPr>
            <p:cNvSpPr>
              <a:spLocks/>
            </p:cNvSpPr>
            <p:nvPr/>
          </p:nvSpPr>
          <p:spPr bwMode="auto">
            <a:xfrm>
              <a:off x="4456091" y="4446456"/>
              <a:ext cx="99389" cy="99389"/>
            </a:xfrm>
            <a:custGeom>
              <a:avLst/>
              <a:gdLst>
                <a:gd name="T0" fmla="*/ 41 w 55"/>
                <a:gd name="T1" fmla="*/ 0 h 55"/>
                <a:gd name="T2" fmla="*/ 55 w 55"/>
                <a:gd name="T3" fmla="*/ 3 h 55"/>
                <a:gd name="T4" fmla="*/ 55 w 55"/>
                <a:gd name="T5" fmla="*/ 8 h 55"/>
                <a:gd name="T6" fmla="*/ 50 w 55"/>
                <a:gd name="T7" fmla="*/ 15 h 55"/>
                <a:gd name="T8" fmla="*/ 50 w 55"/>
                <a:gd name="T9" fmla="*/ 23 h 55"/>
                <a:gd name="T10" fmla="*/ 55 w 55"/>
                <a:gd name="T11" fmla="*/ 32 h 55"/>
                <a:gd name="T12" fmla="*/ 53 w 55"/>
                <a:gd name="T13" fmla="*/ 45 h 55"/>
                <a:gd name="T14" fmla="*/ 49 w 55"/>
                <a:gd name="T15" fmla="*/ 49 h 55"/>
                <a:gd name="T16" fmla="*/ 47 w 55"/>
                <a:gd name="T17" fmla="*/ 49 h 55"/>
                <a:gd name="T18" fmla="*/ 41 w 55"/>
                <a:gd name="T19" fmla="*/ 46 h 55"/>
                <a:gd name="T20" fmla="*/ 31 w 55"/>
                <a:gd name="T21" fmla="*/ 48 h 55"/>
                <a:gd name="T22" fmla="*/ 30 w 55"/>
                <a:gd name="T23" fmla="*/ 55 h 55"/>
                <a:gd name="T24" fmla="*/ 21 w 55"/>
                <a:gd name="T25" fmla="*/ 55 h 55"/>
                <a:gd name="T26" fmla="*/ 15 w 55"/>
                <a:gd name="T27" fmla="*/ 48 h 55"/>
                <a:gd name="T28" fmla="*/ 10 w 55"/>
                <a:gd name="T29" fmla="*/ 38 h 55"/>
                <a:gd name="T30" fmla="*/ 6 w 55"/>
                <a:gd name="T31" fmla="*/ 36 h 55"/>
                <a:gd name="T32" fmla="*/ 0 w 55"/>
                <a:gd name="T33" fmla="*/ 26 h 55"/>
                <a:gd name="T34" fmla="*/ 1 w 55"/>
                <a:gd name="T35" fmla="*/ 15 h 55"/>
                <a:gd name="T36" fmla="*/ 3 w 55"/>
                <a:gd name="T37" fmla="*/ 15 h 55"/>
                <a:gd name="T38" fmla="*/ 9 w 55"/>
                <a:gd name="T39" fmla="*/ 14 h 55"/>
                <a:gd name="T40" fmla="*/ 13 w 55"/>
                <a:gd name="T41" fmla="*/ 3 h 55"/>
                <a:gd name="T42" fmla="*/ 13 w 55"/>
                <a:gd name="T43" fmla="*/ 2 h 55"/>
                <a:gd name="T44" fmla="*/ 15 w 55"/>
                <a:gd name="T45" fmla="*/ 2 h 55"/>
                <a:gd name="T46" fmla="*/ 41 w 55"/>
                <a:gd name="T4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55">
                  <a:moveTo>
                    <a:pt x="41" y="0"/>
                  </a:moveTo>
                  <a:lnTo>
                    <a:pt x="55" y="3"/>
                  </a:lnTo>
                  <a:lnTo>
                    <a:pt x="55" y="8"/>
                  </a:lnTo>
                  <a:lnTo>
                    <a:pt x="50" y="15"/>
                  </a:lnTo>
                  <a:lnTo>
                    <a:pt x="50" y="23"/>
                  </a:lnTo>
                  <a:lnTo>
                    <a:pt x="55" y="32"/>
                  </a:lnTo>
                  <a:lnTo>
                    <a:pt x="53" y="45"/>
                  </a:lnTo>
                  <a:lnTo>
                    <a:pt x="49" y="49"/>
                  </a:lnTo>
                  <a:lnTo>
                    <a:pt x="47" y="49"/>
                  </a:lnTo>
                  <a:lnTo>
                    <a:pt x="41" y="46"/>
                  </a:lnTo>
                  <a:lnTo>
                    <a:pt x="31" y="48"/>
                  </a:lnTo>
                  <a:lnTo>
                    <a:pt x="30" y="55"/>
                  </a:lnTo>
                  <a:lnTo>
                    <a:pt x="21" y="55"/>
                  </a:lnTo>
                  <a:lnTo>
                    <a:pt x="15" y="48"/>
                  </a:lnTo>
                  <a:lnTo>
                    <a:pt x="10" y="38"/>
                  </a:lnTo>
                  <a:lnTo>
                    <a:pt x="6" y="36"/>
                  </a:lnTo>
                  <a:lnTo>
                    <a:pt x="0" y="26"/>
                  </a:lnTo>
                  <a:lnTo>
                    <a:pt x="1" y="15"/>
                  </a:lnTo>
                  <a:lnTo>
                    <a:pt x="3" y="15"/>
                  </a:lnTo>
                  <a:lnTo>
                    <a:pt x="9" y="14"/>
                  </a:lnTo>
                  <a:lnTo>
                    <a:pt x="13" y="3"/>
                  </a:lnTo>
                  <a:lnTo>
                    <a:pt x="13" y="2"/>
                  </a:lnTo>
                  <a:lnTo>
                    <a:pt x="15" y="2"/>
                  </a:lnTo>
                  <a:lnTo>
                    <a:pt x="4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 name="Peru">
              <a:extLst>
                <a:ext uri="{FF2B5EF4-FFF2-40B4-BE49-F238E27FC236}">
                  <a16:creationId xmlns:a16="http://schemas.microsoft.com/office/drawing/2014/main" id="{7ED21D61-F37A-D618-9708-0C2414377177}"/>
                </a:ext>
              </a:extLst>
            </p:cNvPr>
            <p:cNvSpPr>
              <a:spLocks/>
            </p:cNvSpPr>
            <p:nvPr/>
          </p:nvSpPr>
          <p:spPr bwMode="auto">
            <a:xfrm>
              <a:off x="3906744" y="4592828"/>
              <a:ext cx="298166" cy="430081"/>
            </a:xfrm>
            <a:custGeom>
              <a:avLst/>
              <a:gdLst>
                <a:gd name="T0" fmla="*/ 82 w 165"/>
                <a:gd name="T1" fmla="*/ 0 h 238"/>
                <a:gd name="T2" fmla="*/ 86 w 165"/>
                <a:gd name="T3" fmla="*/ 1 h 238"/>
                <a:gd name="T4" fmla="*/ 101 w 165"/>
                <a:gd name="T5" fmla="*/ 13 h 238"/>
                <a:gd name="T6" fmla="*/ 107 w 165"/>
                <a:gd name="T7" fmla="*/ 20 h 238"/>
                <a:gd name="T8" fmla="*/ 110 w 165"/>
                <a:gd name="T9" fmla="*/ 29 h 238"/>
                <a:gd name="T10" fmla="*/ 123 w 165"/>
                <a:gd name="T11" fmla="*/ 26 h 238"/>
                <a:gd name="T12" fmla="*/ 130 w 165"/>
                <a:gd name="T13" fmla="*/ 29 h 238"/>
                <a:gd name="T14" fmla="*/ 145 w 165"/>
                <a:gd name="T15" fmla="*/ 31 h 238"/>
                <a:gd name="T16" fmla="*/ 148 w 165"/>
                <a:gd name="T17" fmla="*/ 37 h 238"/>
                <a:gd name="T18" fmla="*/ 148 w 165"/>
                <a:gd name="T19" fmla="*/ 51 h 238"/>
                <a:gd name="T20" fmla="*/ 117 w 165"/>
                <a:gd name="T21" fmla="*/ 65 h 238"/>
                <a:gd name="T22" fmla="*/ 108 w 165"/>
                <a:gd name="T23" fmla="*/ 83 h 238"/>
                <a:gd name="T24" fmla="*/ 104 w 165"/>
                <a:gd name="T25" fmla="*/ 87 h 238"/>
                <a:gd name="T26" fmla="*/ 102 w 165"/>
                <a:gd name="T27" fmla="*/ 105 h 238"/>
                <a:gd name="T28" fmla="*/ 111 w 165"/>
                <a:gd name="T29" fmla="*/ 120 h 238"/>
                <a:gd name="T30" fmla="*/ 117 w 165"/>
                <a:gd name="T31" fmla="*/ 121 h 238"/>
                <a:gd name="T32" fmla="*/ 127 w 165"/>
                <a:gd name="T33" fmla="*/ 127 h 238"/>
                <a:gd name="T34" fmla="*/ 142 w 165"/>
                <a:gd name="T35" fmla="*/ 118 h 238"/>
                <a:gd name="T36" fmla="*/ 144 w 165"/>
                <a:gd name="T37" fmla="*/ 142 h 238"/>
                <a:gd name="T38" fmla="*/ 154 w 165"/>
                <a:gd name="T39" fmla="*/ 139 h 238"/>
                <a:gd name="T40" fmla="*/ 165 w 165"/>
                <a:gd name="T41" fmla="*/ 160 h 238"/>
                <a:gd name="T42" fmla="*/ 162 w 165"/>
                <a:gd name="T43" fmla="*/ 188 h 238"/>
                <a:gd name="T44" fmla="*/ 160 w 165"/>
                <a:gd name="T45" fmla="*/ 197 h 238"/>
                <a:gd name="T46" fmla="*/ 157 w 165"/>
                <a:gd name="T47" fmla="*/ 203 h 238"/>
                <a:gd name="T48" fmla="*/ 162 w 165"/>
                <a:gd name="T49" fmla="*/ 215 h 238"/>
                <a:gd name="T50" fmla="*/ 154 w 165"/>
                <a:gd name="T51" fmla="*/ 226 h 238"/>
                <a:gd name="T52" fmla="*/ 151 w 165"/>
                <a:gd name="T53" fmla="*/ 235 h 238"/>
                <a:gd name="T54" fmla="*/ 141 w 165"/>
                <a:gd name="T55" fmla="*/ 238 h 238"/>
                <a:gd name="T56" fmla="*/ 98 w 165"/>
                <a:gd name="T57" fmla="*/ 213 h 238"/>
                <a:gd name="T58" fmla="*/ 65 w 165"/>
                <a:gd name="T59" fmla="*/ 186 h 238"/>
                <a:gd name="T60" fmla="*/ 64 w 165"/>
                <a:gd name="T61" fmla="*/ 172 h 238"/>
                <a:gd name="T62" fmla="*/ 31 w 165"/>
                <a:gd name="T63" fmla="*/ 106 h 238"/>
                <a:gd name="T64" fmla="*/ 18 w 165"/>
                <a:gd name="T65" fmla="*/ 87 h 238"/>
                <a:gd name="T66" fmla="*/ 3 w 165"/>
                <a:gd name="T67" fmla="*/ 74 h 238"/>
                <a:gd name="T68" fmla="*/ 3 w 165"/>
                <a:gd name="T69" fmla="*/ 68 h 238"/>
                <a:gd name="T70" fmla="*/ 1 w 165"/>
                <a:gd name="T71" fmla="*/ 54 h 238"/>
                <a:gd name="T72" fmla="*/ 13 w 165"/>
                <a:gd name="T73" fmla="*/ 43 h 238"/>
                <a:gd name="T74" fmla="*/ 10 w 165"/>
                <a:gd name="T75" fmla="*/ 51 h 238"/>
                <a:gd name="T76" fmla="*/ 16 w 165"/>
                <a:gd name="T77" fmla="*/ 56 h 238"/>
                <a:gd name="T78" fmla="*/ 24 w 165"/>
                <a:gd name="T79" fmla="*/ 57 h 238"/>
                <a:gd name="T80" fmla="*/ 30 w 165"/>
                <a:gd name="T81" fmla="*/ 62 h 238"/>
                <a:gd name="T82" fmla="*/ 34 w 165"/>
                <a:gd name="T83" fmla="*/ 50 h 238"/>
                <a:gd name="T84" fmla="*/ 42 w 165"/>
                <a:gd name="T85" fmla="*/ 44 h 238"/>
                <a:gd name="T86" fmla="*/ 43 w 165"/>
                <a:gd name="T87" fmla="*/ 38 h 238"/>
                <a:gd name="T88" fmla="*/ 73 w 165"/>
                <a:gd name="T89" fmla="*/ 20 h 238"/>
                <a:gd name="T90" fmla="*/ 80 w 165"/>
                <a:gd name="T91" fmla="*/ 10 h 238"/>
                <a:gd name="T92" fmla="*/ 74 w 165"/>
                <a:gd name="T93" fmla="*/ 1 h 238"/>
                <a:gd name="T94" fmla="*/ 79 w 165"/>
                <a:gd name="T9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5" h="238">
                  <a:moveTo>
                    <a:pt x="79" y="0"/>
                  </a:moveTo>
                  <a:lnTo>
                    <a:pt x="82" y="0"/>
                  </a:lnTo>
                  <a:lnTo>
                    <a:pt x="83" y="1"/>
                  </a:lnTo>
                  <a:lnTo>
                    <a:pt x="86" y="1"/>
                  </a:lnTo>
                  <a:lnTo>
                    <a:pt x="95" y="11"/>
                  </a:lnTo>
                  <a:lnTo>
                    <a:pt x="101" y="13"/>
                  </a:lnTo>
                  <a:lnTo>
                    <a:pt x="102" y="20"/>
                  </a:lnTo>
                  <a:lnTo>
                    <a:pt x="107" y="20"/>
                  </a:lnTo>
                  <a:lnTo>
                    <a:pt x="107" y="22"/>
                  </a:lnTo>
                  <a:lnTo>
                    <a:pt x="110" y="29"/>
                  </a:lnTo>
                  <a:lnTo>
                    <a:pt x="119" y="31"/>
                  </a:lnTo>
                  <a:lnTo>
                    <a:pt x="123" y="26"/>
                  </a:lnTo>
                  <a:lnTo>
                    <a:pt x="125" y="26"/>
                  </a:lnTo>
                  <a:lnTo>
                    <a:pt x="130" y="29"/>
                  </a:lnTo>
                  <a:lnTo>
                    <a:pt x="135" y="26"/>
                  </a:lnTo>
                  <a:lnTo>
                    <a:pt x="145" y="31"/>
                  </a:lnTo>
                  <a:lnTo>
                    <a:pt x="148" y="35"/>
                  </a:lnTo>
                  <a:lnTo>
                    <a:pt x="148" y="37"/>
                  </a:lnTo>
                  <a:lnTo>
                    <a:pt x="141" y="47"/>
                  </a:lnTo>
                  <a:lnTo>
                    <a:pt x="148" y="51"/>
                  </a:lnTo>
                  <a:lnTo>
                    <a:pt x="127" y="57"/>
                  </a:lnTo>
                  <a:lnTo>
                    <a:pt x="117" y="65"/>
                  </a:lnTo>
                  <a:lnTo>
                    <a:pt x="110" y="75"/>
                  </a:lnTo>
                  <a:lnTo>
                    <a:pt x="108" y="83"/>
                  </a:lnTo>
                  <a:lnTo>
                    <a:pt x="108" y="84"/>
                  </a:lnTo>
                  <a:lnTo>
                    <a:pt x="104" y="87"/>
                  </a:lnTo>
                  <a:lnTo>
                    <a:pt x="99" y="96"/>
                  </a:lnTo>
                  <a:lnTo>
                    <a:pt x="102" y="105"/>
                  </a:lnTo>
                  <a:lnTo>
                    <a:pt x="111" y="114"/>
                  </a:lnTo>
                  <a:lnTo>
                    <a:pt x="111" y="120"/>
                  </a:lnTo>
                  <a:lnTo>
                    <a:pt x="117" y="120"/>
                  </a:lnTo>
                  <a:lnTo>
                    <a:pt x="117" y="121"/>
                  </a:lnTo>
                  <a:lnTo>
                    <a:pt x="122" y="126"/>
                  </a:lnTo>
                  <a:lnTo>
                    <a:pt x="127" y="127"/>
                  </a:lnTo>
                  <a:lnTo>
                    <a:pt x="141" y="118"/>
                  </a:lnTo>
                  <a:lnTo>
                    <a:pt x="142" y="118"/>
                  </a:lnTo>
                  <a:lnTo>
                    <a:pt x="142" y="140"/>
                  </a:lnTo>
                  <a:lnTo>
                    <a:pt x="144" y="142"/>
                  </a:lnTo>
                  <a:lnTo>
                    <a:pt x="153" y="139"/>
                  </a:lnTo>
                  <a:lnTo>
                    <a:pt x="154" y="139"/>
                  </a:lnTo>
                  <a:lnTo>
                    <a:pt x="154" y="140"/>
                  </a:lnTo>
                  <a:lnTo>
                    <a:pt x="165" y="160"/>
                  </a:lnTo>
                  <a:lnTo>
                    <a:pt x="162" y="166"/>
                  </a:lnTo>
                  <a:lnTo>
                    <a:pt x="162" y="188"/>
                  </a:lnTo>
                  <a:lnTo>
                    <a:pt x="157" y="191"/>
                  </a:lnTo>
                  <a:lnTo>
                    <a:pt x="160" y="197"/>
                  </a:lnTo>
                  <a:lnTo>
                    <a:pt x="160" y="198"/>
                  </a:lnTo>
                  <a:lnTo>
                    <a:pt x="157" y="203"/>
                  </a:lnTo>
                  <a:lnTo>
                    <a:pt x="157" y="207"/>
                  </a:lnTo>
                  <a:lnTo>
                    <a:pt x="162" y="215"/>
                  </a:lnTo>
                  <a:lnTo>
                    <a:pt x="162" y="216"/>
                  </a:lnTo>
                  <a:lnTo>
                    <a:pt x="154" y="226"/>
                  </a:lnTo>
                  <a:lnTo>
                    <a:pt x="154" y="229"/>
                  </a:lnTo>
                  <a:lnTo>
                    <a:pt x="151" y="235"/>
                  </a:lnTo>
                  <a:lnTo>
                    <a:pt x="151" y="237"/>
                  </a:lnTo>
                  <a:lnTo>
                    <a:pt x="141" y="238"/>
                  </a:lnTo>
                  <a:lnTo>
                    <a:pt x="117" y="219"/>
                  </a:lnTo>
                  <a:lnTo>
                    <a:pt x="98" y="213"/>
                  </a:lnTo>
                  <a:lnTo>
                    <a:pt x="80" y="200"/>
                  </a:lnTo>
                  <a:lnTo>
                    <a:pt x="65" y="186"/>
                  </a:lnTo>
                  <a:lnTo>
                    <a:pt x="65" y="185"/>
                  </a:lnTo>
                  <a:lnTo>
                    <a:pt x="64" y="172"/>
                  </a:lnTo>
                  <a:lnTo>
                    <a:pt x="47" y="148"/>
                  </a:lnTo>
                  <a:lnTo>
                    <a:pt x="31" y="106"/>
                  </a:lnTo>
                  <a:lnTo>
                    <a:pt x="25" y="100"/>
                  </a:lnTo>
                  <a:lnTo>
                    <a:pt x="18" y="87"/>
                  </a:lnTo>
                  <a:lnTo>
                    <a:pt x="3" y="75"/>
                  </a:lnTo>
                  <a:lnTo>
                    <a:pt x="3" y="74"/>
                  </a:lnTo>
                  <a:lnTo>
                    <a:pt x="4" y="71"/>
                  </a:lnTo>
                  <a:lnTo>
                    <a:pt x="3" y="68"/>
                  </a:lnTo>
                  <a:lnTo>
                    <a:pt x="0" y="54"/>
                  </a:lnTo>
                  <a:lnTo>
                    <a:pt x="1" y="54"/>
                  </a:lnTo>
                  <a:lnTo>
                    <a:pt x="12" y="43"/>
                  </a:lnTo>
                  <a:lnTo>
                    <a:pt x="13" y="43"/>
                  </a:lnTo>
                  <a:lnTo>
                    <a:pt x="15" y="48"/>
                  </a:lnTo>
                  <a:lnTo>
                    <a:pt x="10" y="51"/>
                  </a:lnTo>
                  <a:lnTo>
                    <a:pt x="12" y="56"/>
                  </a:lnTo>
                  <a:lnTo>
                    <a:pt x="16" y="56"/>
                  </a:lnTo>
                  <a:lnTo>
                    <a:pt x="22" y="57"/>
                  </a:lnTo>
                  <a:lnTo>
                    <a:pt x="24" y="57"/>
                  </a:lnTo>
                  <a:lnTo>
                    <a:pt x="25" y="62"/>
                  </a:lnTo>
                  <a:lnTo>
                    <a:pt x="30" y="62"/>
                  </a:lnTo>
                  <a:lnTo>
                    <a:pt x="34" y="59"/>
                  </a:lnTo>
                  <a:lnTo>
                    <a:pt x="34" y="50"/>
                  </a:lnTo>
                  <a:lnTo>
                    <a:pt x="37" y="44"/>
                  </a:lnTo>
                  <a:lnTo>
                    <a:pt x="42" y="44"/>
                  </a:lnTo>
                  <a:lnTo>
                    <a:pt x="43" y="40"/>
                  </a:lnTo>
                  <a:lnTo>
                    <a:pt x="43" y="38"/>
                  </a:lnTo>
                  <a:lnTo>
                    <a:pt x="61" y="31"/>
                  </a:lnTo>
                  <a:lnTo>
                    <a:pt x="73" y="20"/>
                  </a:lnTo>
                  <a:lnTo>
                    <a:pt x="79" y="10"/>
                  </a:lnTo>
                  <a:lnTo>
                    <a:pt x="80" y="10"/>
                  </a:lnTo>
                  <a:lnTo>
                    <a:pt x="74" y="2"/>
                  </a:lnTo>
                  <a:lnTo>
                    <a:pt x="74" y="1"/>
                  </a:lnTo>
                  <a:lnTo>
                    <a:pt x="76" y="1"/>
                  </a:lnTo>
                  <a:lnTo>
                    <a:pt x="7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 name="Paraguay">
              <a:extLst>
                <a:ext uri="{FF2B5EF4-FFF2-40B4-BE49-F238E27FC236}">
                  <a16:creationId xmlns:a16="http://schemas.microsoft.com/office/drawing/2014/main" id="{05362956-BD84-1AA8-4340-144453CAA178}"/>
                </a:ext>
              </a:extLst>
            </p:cNvPr>
            <p:cNvSpPr>
              <a:spLocks/>
            </p:cNvSpPr>
            <p:nvPr/>
          </p:nvSpPr>
          <p:spPr bwMode="auto">
            <a:xfrm>
              <a:off x="4345861" y="5048207"/>
              <a:ext cx="200584" cy="213233"/>
            </a:xfrm>
            <a:custGeom>
              <a:avLst/>
              <a:gdLst>
                <a:gd name="T0" fmla="*/ 37 w 111"/>
                <a:gd name="T1" fmla="*/ 0 h 118"/>
                <a:gd name="T2" fmla="*/ 48 w 111"/>
                <a:gd name="T3" fmla="*/ 0 h 118"/>
                <a:gd name="T4" fmla="*/ 53 w 111"/>
                <a:gd name="T5" fmla="*/ 3 h 118"/>
                <a:gd name="T6" fmla="*/ 61 w 111"/>
                <a:gd name="T7" fmla="*/ 11 h 118"/>
                <a:gd name="T8" fmla="*/ 64 w 111"/>
                <a:gd name="T9" fmla="*/ 38 h 118"/>
                <a:gd name="T10" fmla="*/ 74 w 111"/>
                <a:gd name="T11" fmla="*/ 41 h 118"/>
                <a:gd name="T12" fmla="*/ 83 w 111"/>
                <a:gd name="T13" fmla="*/ 40 h 118"/>
                <a:gd name="T14" fmla="*/ 91 w 111"/>
                <a:gd name="T15" fmla="*/ 43 h 118"/>
                <a:gd name="T16" fmla="*/ 92 w 111"/>
                <a:gd name="T17" fmla="*/ 43 h 118"/>
                <a:gd name="T18" fmla="*/ 96 w 111"/>
                <a:gd name="T19" fmla="*/ 63 h 118"/>
                <a:gd name="T20" fmla="*/ 110 w 111"/>
                <a:gd name="T21" fmla="*/ 65 h 118"/>
                <a:gd name="T22" fmla="*/ 111 w 111"/>
                <a:gd name="T23" fmla="*/ 74 h 118"/>
                <a:gd name="T24" fmla="*/ 108 w 111"/>
                <a:gd name="T25" fmla="*/ 90 h 118"/>
                <a:gd name="T26" fmla="*/ 105 w 111"/>
                <a:gd name="T27" fmla="*/ 103 h 118"/>
                <a:gd name="T28" fmla="*/ 93 w 111"/>
                <a:gd name="T29" fmla="*/ 115 h 118"/>
                <a:gd name="T30" fmla="*/ 91 w 111"/>
                <a:gd name="T31" fmla="*/ 115 h 118"/>
                <a:gd name="T32" fmla="*/ 88 w 111"/>
                <a:gd name="T33" fmla="*/ 117 h 118"/>
                <a:gd name="T34" fmla="*/ 83 w 111"/>
                <a:gd name="T35" fmla="*/ 117 h 118"/>
                <a:gd name="T36" fmla="*/ 80 w 111"/>
                <a:gd name="T37" fmla="*/ 118 h 118"/>
                <a:gd name="T38" fmla="*/ 77 w 111"/>
                <a:gd name="T39" fmla="*/ 118 h 118"/>
                <a:gd name="T40" fmla="*/ 70 w 111"/>
                <a:gd name="T41" fmla="*/ 114 h 118"/>
                <a:gd name="T42" fmla="*/ 56 w 111"/>
                <a:gd name="T43" fmla="*/ 112 h 118"/>
                <a:gd name="T44" fmla="*/ 56 w 111"/>
                <a:gd name="T45" fmla="*/ 106 h 118"/>
                <a:gd name="T46" fmla="*/ 65 w 111"/>
                <a:gd name="T47" fmla="*/ 90 h 118"/>
                <a:gd name="T48" fmla="*/ 64 w 111"/>
                <a:gd name="T49" fmla="*/ 87 h 118"/>
                <a:gd name="T50" fmla="*/ 40 w 111"/>
                <a:gd name="T51" fmla="*/ 71 h 118"/>
                <a:gd name="T52" fmla="*/ 24 w 111"/>
                <a:gd name="T53" fmla="*/ 66 h 118"/>
                <a:gd name="T54" fmla="*/ 5 w 111"/>
                <a:gd name="T55" fmla="*/ 44 h 118"/>
                <a:gd name="T56" fmla="*/ 0 w 111"/>
                <a:gd name="T57" fmla="*/ 44 h 118"/>
                <a:gd name="T58" fmla="*/ 0 w 111"/>
                <a:gd name="T59" fmla="*/ 43 h 118"/>
                <a:gd name="T60" fmla="*/ 5 w 111"/>
                <a:gd name="T61" fmla="*/ 29 h 118"/>
                <a:gd name="T62" fmla="*/ 5 w 111"/>
                <a:gd name="T63" fmla="*/ 20 h 118"/>
                <a:gd name="T64" fmla="*/ 10 w 111"/>
                <a:gd name="T65" fmla="*/ 7 h 118"/>
                <a:gd name="T66" fmla="*/ 37 w 111"/>
                <a:gd name="T6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 h="118">
                  <a:moveTo>
                    <a:pt x="37" y="0"/>
                  </a:moveTo>
                  <a:lnTo>
                    <a:pt x="48" y="0"/>
                  </a:lnTo>
                  <a:lnTo>
                    <a:pt x="53" y="3"/>
                  </a:lnTo>
                  <a:lnTo>
                    <a:pt x="61" y="11"/>
                  </a:lnTo>
                  <a:lnTo>
                    <a:pt x="64" y="38"/>
                  </a:lnTo>
                  <a:lnTo>
                    <a:pt x="74" y="41"/>
                  </a:lnTo>
                  <a:lnTo>
                    <a:pt x="83" y="40"/>
                  </a:lnTo>
                  <a:lnTo>
                    <a:pt x="91" y="43"/>
                  </a:lnTo>
                  <a:lnTo>
                    <a:pt x="92" y="43"/>
                  </a:lnTo>
                  <a:lnTo>
                    <a:pt x="96" y="63"/>
                  </a:lnTo>
                  <a:lnTo>
                    <a:pt x="110" y="65"/>
                  </a:lnTo>
                  <a:lnTo>
                    <a:pt x="111" y="74"/>
                  </a:lnTo>
                  <a:lnTo>
                    <a:pt x="108" y="90"/>
                  </a:lnTo>
                  <a:lnTo>
                    <a:pt x="105" y="103"/>
                  </a:lnTo>
                  <a:lnTo>
                    <a:pt x="93" y="115"/>
                  </a:lnTo>
                  <a:lnTo>
                    <a:pt x="91" y="115"/>
                  </a:lnTo>
                  <a:lnTo>
                    <a:pt x="88" y="117"/>
                  </a:lnTo>
                  <a:lnTo>
                    <a:pt x="83" y="117"/>
                  </a:lnTo>
                  <a:lnTo>
                    <a:pt x="80" y="118"/>
                  </a:lnTo>
                  <a:lnTo>
                    <a:pt x="77" y="118"/>
                  </a:lnTo>
                  <a:lnTo>
                    <a:pt x="70" y="114"/>
                  </a:lnTo>
                  <a:lnTo>
                    <a:pt x="56" y="112"/>
                  </a:lnTo>
                  <a:lnTo>
                    <a:pt x="56" y="106"/>
                  </a:lnTo>
                  <a:lnTo>
                    <a:pt x="65" y="90"/>
                  </a:lnTo>
                  <a:lnTo>
                    <a:pt x="64" y="87"/>
                  </a:lnTo>
                  <a:lnTo>
                    <a:pt x="40" y="71"/>
                  </a:lnTo>
                  <a:lnTo>
                    <a:pt x="24" y="66"/>
                  </a:lnTo>
                  <a:lnTo>
                    <a:pt x="5" y="44"/>
                  </a:lnTo>
                  <a:lnTo>
                    <a:pt x="0" y="44"/>
                  </a:lnTo>
                  <a:lnTo>
                    <a:pt x="0" y="43"/>
                  </a:lnTo>
                  <a:lnTo>
                    <a:pt x="5" y="29"/>
                  </a:lnTo>
                  <a:lnTo>
                    <a:pt x="5" y="20"/>
                  </a:lnTo>
                  <a:lnTo>
                    <a:pt x="10" y="7"/>
                  </a:lnTo>
                  <a:lnTo>
                    <a:pt x="3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 name="Isla de Margarita">
              <a:extLst>
                <a:ext uri="{FF2B5EF4-FFF2-40B4-BE49-F238E27FC236}">
                  <a16:creationId xmlns:a16="http://schemas.microsoft.com/office/drawing/2014/main" id="{08074771-764A-15C4-6C30-99806ABCD59A}"/>
                </a:ext>
              </a:extLst>
            </p:cNvPr>
            <p:cNvSpPr>
              <a:spLocks/>
            </p:cNvSpPr>
            <p:nvPr/>
          </p:nvSpPr>
          <p:spPr bwMode="auto">
            <a:xfrm>
              <a:off x="4307912" y="4323576"/>
              <a:ext cx="14457" cy="10843"/>
            </a:xfrm>
            <a:custGeom>
              <a:avLst/>
              <a:gdLst>
                <a:gd name="T0" fmla="*/ 5 w 8"/>
                <a:gd name="T1" fmla="*/ 0 h 6"/>
                <a:gd name="T2" fmla="*/ 6 w 8"/>
                <a:gd name="T3" fmla="*/ 0 h 6"/>
                <a:gd name="T4" fmla="*/ 8 w 8"/>
                <a:gd name="T5" fmla="*/ 3 h 6"/>
                <a:gd name="T6" fmla="*/ 8 w 8"/>
                <a:gd name="T7" fmla="*/ 5 h 6"/>
                <a:gd name="T8" fmla="*/ 5 w 8"/>
                <a:gd name="T9" fmla="*/ 6 h 6"/>
                <a:gd name="T10" fmla="*/ 0 w 8"/>
                <a:gd name="T11" fmla="*/ 3 h 6"/>
                <a:gd name="T12" fmla="*/ 0 w 8"/>
                <a:gd name="T13" fmla="*/ 2 h 6"/>
                <a:gd name="T14" fmla="*/ 5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5" y="0"/>
                  </a:moveTo>
                  <a:lnTo>
                    <a:pt x="6" y="0"/>
                  </a:lnTo>
                  <a:lnTo>
                    <a:pt x="8" y="3"/>
                  </a:lnTo>
                  <a:lnTo>
                    <a:pt x="8" y="5"/>
                  </a:lnTo>
                  <a:lnTo>
                    <a:pt x="5" y="6"/>
                  </a:lnTo>
                  <a:lnTo>
                    <a:pt x="0" y="3"/>
                  </a:lnTo>
                  <a:lnTo>
                    <a:pt x="0" y="2"/>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 name="French Guiana">
              <a:extLst>
                <a:ext uri="{FF2B5EF4-FFF2-40B4-BE49-F238E27FC236}">
                  <a16:creationId xmlns:a16="http://schemas.microsoft.com/office/drawing/2014/main" id="{D992FF32-04DF-8982-2860-00A813710C4E}"/>
                </a:ext>
              </a:extLst>
            </p:cNvPr>
            <p:cNvSpPr>
              <a:spLocks/>
            </p:cNvSpPr>
            <p:nvPr/>
          </p:nvSpPr>
          <p:spPr bwMode="auto">
            <a:xfrm>
              <a:off x="4541024" y="4455491"/>
              <a:ext cx="72283" cy="88546"/>
            </a:xfrm>
            <a:custGeom>
              <a:avLst/>
              <a:gdLst>
                <a:gd name="T0" fmla="*/ 9 w 40"/>
                <a:gd name="T1" fmla="*/ 0 h 49"/>
                <a:gd name="T2" fmla="*/ 26 w 40"/>
                <a:gd name="T3" fmla="*/ 7 h 49"/>
                <a:gd name="T4" fmla="*/ 36 w 40"/>
                <a:gd name="T5" fmla="*/ 16 h 49"/>
                <a:gd name="T6" fmla="*/ 40 w 40"/>
                <a:gd name="T7" fmla="*/ 21 h 49"/>
                <a:gd name="T8" fmla="*/ 40 w 40"/>
                <a:gd name="T9" fmla="*/ 22 h 49"/>
                <a:gd name="T10" fmla="*/ 27 w 40"/>
                <a:gd name="T11" fmla="*/ 41 h 49"/>
                <a:gd name="T12" fmla="*/ 20 w 40"/>
                <a:gd name="T13" fmla="*/ 47 h 49"/>
                <a:gd name="T14" fmla="*/ 17 w 40"/>
                <a:gd name="T15" fmla="*/ 47 h 49"/>
                <a:gd name="T16" fmla="*/ 14 w 40"/>
                <a:gd name="T17" fmla="*/ 49 h 49"/>
                <a:gd name="T18" fmla="*/ 6 w 40"/>
                <a:gd name="T19" fmla="*/ 49 h 49"/>
                <a:gd name="T20" fmla="*/ 0 w 40"/>
                <a:gd name="T21" fmla="*/ 44 h 49"/>
                <a:gd name="T22" fmla="*/ 0 w 40"/>
                <a:gd name="T23" fmla="*/ 43 h 49"/>
                <a:gd name="T24" fmla="*/ 5 w 40"/>
                <a:gd name="T25" fmla="*/ 40 h 49"/>
                <a:gd name="T26" fmla="*/ 6 w 40"/>
                <a:gd name="T27" fmla="*/ 27 h 49"/>
                <a:gd name="T28" fmla="*/ 2 w 40"/>
                <a:gd name="T29" fmla="*/ 19 h 49"/>
                <a:gd name="T30" fmla="*/ 2 w 40"/>
                <a:gd name="T31" fmla="*/ 9 h 49"/>
                <a:gd name="T32" fmla="*/ 6 w 40"/>
                <a:gd name="T33" fmla="*/ 3 h 49"/>
                <a:gd name="T34" fmla="*/ 9 w 40"/>
                <a:gd name="T3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9">
                  <a:moveTo>
                    <a:pt x="9" y="0"/>
                  </a:moveTo>
                  <a:lnTo>
                    <a:pt x="26" y="7"/>
                  </a:lnTo>
                  <a:lnTo>
                    <a:pt x="36" y="16"/>
                  </a:lnTo>
                  <a:lnTo>
                    <a:pt x="40" y="21"/>
                  </a:lnTo>
                  <a:lnTo>
                    <a:pt x="40" y="22"/>
                  </a:lnTo>
                  <a:lnTo>
                    <a:pt x="27" y="41"/>
                  </a:lnTo>
                  <a:lnTo>
                    <a:pt x="20" y="47"/>
                  </a:lnTo>
                  <a:lnTo>
                    <a:pt x="17" y="47"/>
                  </a:lnTo>
                  <a:lnTo>
                    <a:pt x="14" y="49"/>
                  </a:lnTo>
                  <a:lnTo>
                    <a:pt x="6" y="49"/>
                  </a:lnTo>
                  <a:lnTo>
                    <a:pt x="0" y="44"/>
                  </a:lnTo>
                  <a:lnTo>
                    <a:pt x="0" y="43"/>
                  </a:lnTo>
                  <a:lnTo>
                    <a:pt x="5" y="40"/>
                  </a:lnTo>
                  <a:lnTo>
                    <a:pt x="6" y="27"/>
                  </a:lnTo>
                  <a:lnTo>
                    <a:pt x="2" y="19"/>
                  </a:lnTo>
                  <a:lnTo>
                    <a:pt x="2" y="9"/>
                  </a:lnTo>
                  <a:lnTo>
                    <a:pt x="6" y="3"/>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 name="Guyana">
              <a:extLst>
                <a:ext uri="{FF2B5EF4-FFF2-40B4-BE49-F238E27FC236}">
                  <a16:creationId xmlns:a16="http://schemas.microsoft.com/office/drawing/2014/main" id="{CD2E475E-818A-4686-318C-726919986861}"/>
                </a:ext>
              </a:extLst>
            </p:cNvPr>
            <p:cNvSpPr>
              <a:spLocks/>
            </p:cNvSpPr>
            <p:nvPr/>
          </p:nvSpPr>
          <p:spPr bwMode="auto">
            <a:xfrm>
              <a:off x="4380195" y="4394051"/>
              <a:ext cx="115652" cy="166250"/>
            </a:xfrm>
            <a:custGeom>
              <a:avLst/>
              <a:gdLst>
                <a:gd name="T0" fmla="*/ 20 w 64"/>
                <a:gd name="T1" fmla="*/ 0 h 92"/>
                <a:gd name="T2" fmla="*/ 24 w 64"/>
                <a:gd name="T3" fmla="*/ 0 h 92"/>
                <a:gd name="T4" fmla="*/ 34 w 64"/>
                <a:gd name="T5" fmla="*/ 9 h 92"/>
                <a:gd name="T6" fmla="*/ 37 w 64"/>
                <a:gd name="T7" fmla="*/ 19 h 92"/>
                <a:gd name="T8" fmla="*/ 48 w 64"/>
                <a:gd name="T9" fmla="*/ 21 h 92"/>
                <a:gd name="T10" fmla="*/ 57 w 64"/>
                <a:gd name="T11" fmla="*/ 32 h 92"/>
                <a:gd name="T12" fmla="*/ 52 w 64"/>
                <a:gd name="T13" fmla="*/ 44 h 92"/>
                <a:gd name="T14" fmla="*/ 51 w 64"/>
                <a:gd name="T15" fmla="*/ 44 h 92"/>
                <a:gd name="T16" fmla="*/ 45 w 64"/>
                <a:gd name="T17" fmla="*/ 46 h 92"/>
                <a:gd name="T18" fmla="*/ 43 w 64"/>
                <a:gd name="T19" fmla="*/ 55 h 92"/>
                <a:gd name="T20" fmla="*/ 49 w 64"/>
                <a:gd name="T21" fmla="*/ 64 h 92"/>
                <a:gd name="T22" fmla="*/ 54 w 64"/>
                <a:gd name="T23" fmla="*/ 65 h 92"/>
                <a:gd name="T24" fmla="*/ 58 w 64"/>
                <a:gd name="T25" fmla="*/ 77 h 92"/>
                <a:gd name="T26" fmla="*/ 64 w 64"/>
                <a:gd name="T27" fmla="*/ 83 h 92"/>
                <a:gd name="T28" fmla="*/ 64 w 64"/>
                <a:gd name="T29" fmla="*/ 84 h 92"/>
                <a:gd name="T30" fmla="*/ 61 w 64"/>
                <a:gd name="T31" fmla="*/ 84 h 92"/>
                <a:gd name="T32" fmla="*/ 57 w 64"/>
                <a:gd name="T33" fmla="*/ 83 h 92"/>
                <a:gd name="T34" fmla="*/ 54 w 64"/>
                <a:gd name="T35" fmla="*/ 83 h 92"/>
                <a:gd name="T36" fmla="*/ 36 w 64"/>
                <a:gd name="T37" fmla="*/ 92 h 92"/>
                <a:gd name="T38" fmla="*/ 34 w 64"/>
                <a:gd name="T39" fmla="*/ 92 h 92"/>
                <a:gd name="T40" fmla="*/ 27 w 64"/>
                <a:gd name="T41" fmla="*/ 89 h 92"/>
                <a:gd name="T42" fmla="*/ 21 w 64"/>
                <a:gd name="T43" fmla="*/ 86 h 92"/>
                <a:gd name="T44" fmla="*/ 21 w 64"/>
                <a:gd name="T45" fmla="*/ 78 h 92"/>
                <a:gd name="T46" fmla="*/ 18 w 64"/>
                <a:gd name="T47" fmla="*/ 75 h 92"/>
                <a:gd name="T48" fmla="*/ 20 w 64"/>
                <a:gd name="T49" fmla="*/ 61 h 92"/>
                <a:gd name="T50" fmla="*/ 23 w 64"/>
                <a:gd name="T51" fmla="*/ 58 h 92"/>
                <a:gd name="T52" fmla="*/ 21 w 64"/>
                <a:gd name="T53" fmla="*/ 50 h 92"/>
                <a:gd name="T54" fmla="*/ 17 w 64"/>
                <a:gd name="T55" fmla="*/ 50 h 92"/>
                <a:gd name="T56" fmla="*/ 17 w 64"/>
                <a:gd name="T57" fmla="*/ 41 h 92"/>
                <a:gd name="T58" fmla="*/ 8 w 64"/>
                <a:gd name="T59" fmla="*/ 41 h 92"/>
                <a:gd name="T60" fmla="*/ 0 w 64"/>
                <a:gd name="T61" fmla="*/ 28 h 92"/>
                <a:gd name="T62" fmla="*/ 3 w 64"/>
                <a:gd name="T63" fmla="*/ 21 h 92"/>
                <a:gd name="T64" fmla="*/ 9 w 64"/>
                <a:gd name="T65" fmla="*/ 16 h 92"/>
                <a:gd name="T66" fmla="*/ 6 w 64"/>
                <a:gd name="T67" fmla="*/ 16 h 92"/>
                <a:gd name="T68" fmla="*/ 6 w 64"/>
                <a:gd name="T69" fmla="*/ 7 h 92"/>
                <a:gd name="T70" fmla="*/ 8 w 64"/>
                <a:gd name="T71" fmla="*/ 7 h 92"/>
                <a:gd name="T72" fmla="*/ 18 w 64"/>
                <a:gd name="T73" fmla="*/ 1 h 92"/>
                <a:gd name="T74" fmla="*/ 20 w 64"/>
                <a:gd name="T7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92">
                  <a:moveTo>
                    <a:pt x="20" y="0"/>
                  </a:moveTo>
                  <a:lnTo>
                    <a:pt x="24" y="0"/>
                  </a:lnTo>
                  <a:lnTo>
                    <a:pt x="34" y="9"/>
                  </a:lnTo>
                  <a:lnTo>
                    <a:pt x="37" y="19"/>
                  </a:lnTo>
                  <a:lnTo>
                    <a:pt x="48" y="21"/>
                  </a:lnTo>
                  <a:lnTo>
                    <a:pt x="57" y="32"/>
                  </a:lnTo>
                  <a:lnTo>
                    <a:pt x="52" y="44"/>
                  </a:lnTo>
                  <a:lnTo>
                    <a:pt x="51" y="44"/>
                  </a:lnTo>
                  <a:lnTo>
                    <a:pt x="45" y="46"/>
                  </a:lnTo>
                  <a:lnTo>
                    <a:pt x="43" y="55"/>
                  </a:lnTo>
                  <a:lnTo>
                    <a:pt x="49" y="64"/>
                  </a:lnTo>
                  <a:lnTo>
                    <a:pt x="54" y="65"/>
                  </a:lnTo>
                  <a:lnTo>
                    <a:pt x="58" y="77"/>
                  </a:lnTo>
                  <a:lnTo>
                    <a:pt x="64" y="83"/>
                  </a:lnTo>
                  <a:lnTo>
                    <a:pt x="64" y="84"/>
                  </a:lnTo>
                  <a:lnTo>
                    <a:pt x="61" y="84"/>
                  </a:lnTo>
                  <a:lnTo>
                    <a:pt x="57" y="83"/>
                  </a:lnTo>
                  <a:lnTo>
                    <a:pt x="54" y="83"/>
                  </a:lnTo>
                  <a:lnTo>
                    <a:pt x="36" y="92"/>
                  </a:lnTo>
                  <a:lnTo>
                    <a:pt x="34" y="92"/>
                  </a:lnTo>
                  <a:lnTo>
                    <a:pt x="27" y="89"/>
                  </a:lnTo>
                  <a:lnTo>
                    <a:pt x="21" y="86"/>
                  </a:lnTo>
                  <a:lnTo>
                    <a:pt x="21" y="78"/>
                  </a:lnTo>
                  <a:lnTo>
                    <a:pt x="18" y="75"/>
                  </a:lnTo>
                  <a:lnTo>
                    <a:pt x="20" y="61"/>
                  </a:lnTo>
                  <a:lnTo>
                    <a:pt x="23" y="58"/>
                  </a:lnTo>
                  <a:lnTo>
                    <a:pt x="21" y="50"/>
                  </a:lnTo>
                  <a:lnTo>
                    <a:pt x="17" y="50"/>
                  </a:lnTo>
                  <a:lnTo>
                    <a:pt x="17" y="41"/>
                  </a:lnTo>
                  <a:lnTo>
                    <a:pt x="8" y="41"/>
                  </a:lnTo>
                  <a:lnTo>
                    <a:pt x="0" y="28"/>
                  </a:lnTo>
                  <a:lnTo>
                    <a:pt x="3" y="21"/>
                  </a:lnTo>
                  <a:lnTo>
                    <a:pt x="9" y="16"/>
                  </a:lnTo>
                  <a:lnTo>
                    <a:pt x="6" y="16"/>
                  </a:lnTo>
                  <a:lnTo>
                    <a:pt x="6" y="7"/>
                  </a:lnTo>
                  <a:lnTo>
                    <a:pt x="8" y="7"/>
                  </a:lnTo>
                  <a:lnTo>
                    <a:pt x="18" y="1"/>
                  </a:lnTo>
                  <a:lnTo>
                    <a:pt x="2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 name="Ecuador">
              <a:extLst>
                <a:ext uri="{FF2B5EF4-FFF2-40B4-BE49-F238E27FC236}">
                  <a16:creationId xmlns:a16="http://schemas.microsoft.com/office/drawing/2014/main" id="{C93CFFCD-7AE7-85A9-84D2-231DBBB4DD73}"/>
                </a:ext>
              </a:extLst>
            </p:cNvPr>
            <p:cNvSpPr>
              <a:spLocks/>
            </p:cNvSpPr>
            <p:nvPr/>
          </p:nvSpPr>
          <p:spPr bwMode="auto">
            <a:xfrm>
              <a:off x="3917587" y="4556686"/>
              <a:ext cx="137336" cy="153601"/>
            </a:xfrm>
            <a:custGeom>
              <a:avLst/>
              <a:gdLst>
                <a:gd name="T0" fmla="*/ 27 w 76"/>
                <a:gd name="T1" fmla="*/ 0 h 85"/>
                <a:gd name="T2" fmla="*/ 43 w 76"/>
                <a:gd name="T3" fmla="*/ 8 h 85"/>
                <a:gd name="T4" fmla="*/ 47 w 76"/>
                <a:gd name="T5" fmla="*/ 15 h 85"/>
                <a:gd name="T6" fmla="*/ 61 w 76"/>
                <a:gd name="T7" fmla="*/ 15 h 85"/>
                <a:gd name="T8" fmla="*/ 62 w 76"/>
                <a:gd name="T9" fmla="*/ 14 h 85"/>
                <a:gd name="T10" fmla="*/ 64 w 76"/>
                <a:gd name="T11" fmla="*/ 14 h 85"/>
                <a:gd name="T12" fmla="*/ 73 w 76"/>
                <a:gd name="T13" fmla="*/ 20 h 85"/>
                <a:gd name="T14" fmla="*/ 74 w 76"/>
                <a:gd name="T15" fmla="*/ 20 h 85"/>
                <a:gd name="T16" fmla="*/ 71 w 76"/>
                <a:gd name="T17" fmla="*/ 22 h 85"/>
                <a:gd name="T18" fmla="*/ 76 w 76"/>
                <a:gd name="T19" fmla="*/ 30 h 85"/>
                <a:gd name="T20" fmla="*/ 76 w 76"/>
                <a:gd name="T21" fmla="*/ 31 h 85"/>
                <a:gd name="T22" fmla="*/ 73 w 76"/>
                <a:gd name="T23" fmla="*/ 31 h 85"/>
                <a:gd name="T24" fmla="*/ 68 w 76"/>
                <a:gd name="T25" fmla="*/ 40 h 85"/>
                <a:gd name="T26" fmla="*/ 56 w 76"/>
                <a:gd name="T27" fmla="*/ 52 h 85"/>
                <a:gd name="T28" fmla="*/ 37 w 76"/>
                <a:gd name="T29" fmla="*/ 60 h 85"/>
                <a:gd name="T30" fmla="*/ 37 w 76"/>
                <a:gd name="T31" fmla="*/ 64 h 85"/>
                <a:gd name="T32" fmla="*/ 36 w 76"/>
                <a:gd name="T33" fmla="*/ 65 h 85"/>
                <a:gd name="T34" fmla="*/ 33 w 76"/>
                <a:gd name="T35" fmla="*/ 65 h 85"/>
                <a:gd name="T36" fmla="*/ 30 w 76"/>
                <a:gd name="T37" fmla="*/ 70 h 85"/>
                <a:gd name="T38" fmla="*/ 30 w 76"/>
                <a:gd name="T39" fmla="*/ 80 h 85"/>
                <a:gd name="T40" fmla="*/ 21 w 76"/>
                <a:gd name="T41" fmla="*/ 85 h 85"/>
                <a:gd name="T42" fmla="*/ 19 w 76"/>
                <a:gd name="T43" fmla="*/ 85 h 85"/>
                <a:gd name="T44" fmla="*/ 19 w 76"/>
                <a:gd name="T45" fmla="*/ 83 h 85"/>
                <a:gd name="T46" fmla="*/ 16 w 76"/>
                <a:gd name="T47" fmla="*/ 77 h 85"/>
                <a:gd name="T48" fmla="*/ 4 w 76"/>
                <a:gd name="T49" fmla="*/ 77 h 85"/>
                <a:gd name="T50" fmla="*/ 3 w 76"/>
                <a:gd name="T51" fmla="*/ 71 h 85"/>
                <a:gd name="T52" fmla="*/ 7 w 76"/>
                <a:gd name="T53" fmla="*/ 68 h 85"/>
                <a:gd name="T54" fmla="*/ 6 w 76"/>
                <a:gd name="T55" fmla="*/ 64 h 85"/>
                <a:gd name="T56" fmla="*/ 6 w 76"/>
                <a:gd name="T57" fmla="*/ 63 h 85"/>
                <a:gd name="T58" fmla="*/ 13 w 76"/>
                <a:gd name="T59" fmla="*/ 58 h 85"/>
                <a:gd name="T60" fmla="*/ 13 w 76"/>
                <a:gd name="T61" fmla="*/ 51 h 85"/>
                <a:gd name="T62" fmla="*/ 12 w 76"/>
                <a:gd name="T63" fmla="*/ 48 h 85"/>
                <a:gd name="T64" fmla="*/ 9 w 76"/>
                <a:gd name="T65" fmla="*/ 54 h 85"/>
                <a:gd name="T66" fmla="*/ 7 w 76"/>
                <a:gd name="T67" fmla="*/ 54 h 85"/>
                <a:gd name="T68" fmla="*/ 1 w 76"/>
                <a:gd name="T69" fmla="*/ 49 h 85"/>
                <a:gd name="T70" fmla="*/ 0 w 76"/>
                <a:gd name="T71" fmla="*/ 49 h 85"/>
                <a:gd name="T72" fmla="*/ 0 w 76"/>
                <a:gd name="T73" fmla="*/ 31 h 85"/>
                <a:gd name="T74" fmla="*/ 1 w 76"/>
                <a:gd name="T75" fmla="*/ 31 h 85"/>
                <a:gd name="T76" fmla="*/ 6 w 76"/>
                <a:gd name="T77" fmla="*/ 27 h 85"/>
                <a:gd name="T78" fmla="*/ 10 w 76"/>
                <a:gd name="T79" fmla="*/ 17 h 85"/>
                <a:gd name="T80" fmla="*/ 10 w 76"/>
                <a:gd name="T81" fmla="*/ 8 h 85"/>
                <a:gd name="T82" fmla="*/ 27 w 76"/>
                <a:gd name="T8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 h="85">
                  <a:moveTo>
                    <a:pt x="27" y="0"/>
                  </a:moveTo>
                  <a:lnTo>
                    <a:pt x="43" y="8"/>
                  </a:lnTo>
                  <a:lnTo>
                    <a:pt x="47" y="15"/>
                  </a:lnTo>
                  <a:lnTo>
                    <a:pt x="61" y="15"/>
                  </a:lnTo>
                  <a:lnTo>
                    <a:pt x="62" y="14"/>
                  </a:lnTo>
                  <a:lnTo>
                    <a:pt x="64" y="14"/>
                  </a:lnTo>
                  <a:lnTo>
                    <a:pt x="73" y="20"/>
                  </a:lnTo>
                  <a:lnTo>
                    <a:pt x="74" y="20"/>
                  </a:lnTo>
                  <a:lnTo>
                    <a:pt x="71" y="22"/>
                  </a:lnTo>
                  <a:lnTo>
                    <a:pt x="76" y="30"/>
                  </a:lnTo>
                  <a:lnTo>
                    <a:pt x="76" y="31"/>
                  </a:lnTo>
                  <a:lnTo>
                    <a:pt x="73" y="31"/>
                  </a:lnTo>
                  <a:lnTo>
                    <a:pt x="68" y="40"/>
                  </a:lnTo>
                  <a:lnTo>
                    <a:pt x="56" y="52"/>
                  </a:lnTo>
                  <a:lnTo>
                    <a:pt x="37" y="60"/>
                  </a:lnTo>
                  <a:lnTo>
                    <a:pt x="37" y="64"/>
                  </a:lnTo>
                  <a:lnTo>
                    <a:pt x="36" y="65"/>
                  </a:lnTo>
                  <a:lnTo>
                    <a:pt x="33" y="65"/>
                  </a:lnTo>
                  <a:lnTo>
                    <a:pt x="30" y="70"/>
                  </a:lnTo>
                  <a:lnTo>
                    <a:pt x="30" y="80"/>
                  </a:lnTo>
                  <a:lnTo>
                    <a:pt x="21" y="85"/>
                  </a:lnTo>
                  <a:lnTo>
                    <a:pt x="19" y="85"/>
                  </a:lnTo>
                  <a:lnTo>
                    <a:pt x="19" y="83"/>
                  </a:lnTo>
                  <a:lnTo>
                    <a:pt x="16" y="77"/>
                  </a:lnTo>
                  <a:lnTo>
                    <a:pt x="4" y="77"/>
                  </a:lnTo>
                  <a:lnTo>
                    <a:pt x="3" y="71"/>
                  </a:lnTo>
                  <a:lnTo>
                    <a:pt x="7" y="68"/>
                  </a:lnTo>
                  <a:lnTo>
                    <a:pt x="6" y="64"/>
                  </a:lnTo>
                  <a:lnTo>
                    <a:pt x="6" y="63"/>
                  </a:lnTo>
                  <a:lnTo>
                    <a:pt x="13" y="58"/>
                  </a:lnTo>
                  <a:lnTo>
                    <a:pt x="13" y="51"/>
                  </a:lnTo>
                  <a:lnTo>
                    <a:pt x="12" y="48"/>
                  </a:lnTo>
                  <a:lnTo>
                    <a:pt x="9" y="54"/>
                  </a:lnTo>
                  <a:lnTo>
                    <a:pt x="7" y="54"/>
                  </a:lnTo>
                  <a:lnTo>
                    <a:pt x="1" y="49"/>
                  </a:lnTo>
                  <a:lnTo>
                    <a:pt x="0" y="49"/>
                  </a:lnTo>
                  <a:lnTo>
                    <a:pt x="0" y="31"/>
                  </a:lnTo>
                  <a:lnTo>
                    <a:pt x="1" y="31"/>
                  </a:lnTo>
                  <a:lnTo>
                    <a:pt x="6" y="27"/>
                  </a:lnTo>
                  <a:lnTo>
                    <a:pt x="10" y="17"/>
                  </a:lnTo>
                  <a:lnTo>
                    <a:pt x="10" y="8"/>
                  </a:lnTo>
                  <a:lnTo>
                    <a:pt x="2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 name="Bolivia">
              <a:extLst>
                <a:ext uri="{FF2B5EF4-FFF2-40B4-BE49-F238E27FC236}">
                  <a16:creationId xmlns:a16="http://schemas.microsoft.com/office/drawing/2014/main" id="{A84CB7ED-894F-72AE-8A43-FECC41DEED59}"/>
                </a:ext>
              </a:extLst>
            </p:cNvPr>
            <p:cNvSpPr>
              <a:spLocks/>
            </p:cNvSpPr>
            <p:nvPr/>
          </p:nvSpPr>
          <p:spPr bwMode="auto">
            <a:xfrm>
              <a:off x="4183224" y="4815095"/>
              <a:ext cx="283709" cy="325271"/>
            </a:xfrm>
            <a:custGeom>
              <a:avLst/>
              <a:gdLst>
                <a:gd name="T0" fmla="*/ 55 w 157"/>
                <a:gd name="T1" fmla="*/ 0 h 180"/>
                <a:gd name="T2" fmla="*/ 56 w 157"/>
                <a:gd name="T3" fmla="*/ 22 h 180"/>
                <a:gd name="T4" fmla="*/ 68 w 157"/>
                <a:gd name="T5" fmla="*/ 35 h 180"/>
                <a:gd name="T6" fmla="*/ 87 w 157"/>
                <a:gd name="T7" fmla="*/ 43 h 180"/>
                <a:gd name="T8" fmla="*/ 103 w 157"/>
                <a:gd name="T9" fmla="*/ 50 h 180"/>
                <a:gd name="T10" fmla="*/ 117 w 157"/>
                <a:gd name="T11" fmla="*/ 53 h 180"/>
                <a:gd name="T12" fmla="*/ 121 w 157"/>
                <a:gd name="T13" fmla="*/ 75 h 180"/>
                <a:gd name="T14" fmla="*/ 148 w 157"/>
                <a:gd name="T15" fmla="*/ 89 h 180"/>
                <a:gd name="T16" fmla="*/ 152 w 157"/>
                <a:gd name="T17" fmla="*/ 103 h 180"/>
                <a:gd name="T18" fmla="*/ 154 w 157"/>
                <a:gd name="T19" fmla="*/ 140 h 180"/>
                <a:gd name="T20" fmla="*/ 143 w 157"/>
                <a:gd name="T21" fmla="*/ 133 h 180"/>
                <a:gd name="T22" fmla="*/ 127 w 157"/>
                <a:gd name="T23" fmla="*/ 130 h 180"/>
                <a:gd name="T24" fmla="*/ 96 w 157"/>
                <a:gd name="T25" fmla="*/ 149 h 180"/>
                <a:gd name="T26" fmla="*/ 92 w 157"/>
                <a:gd name="T27" fmla="*/ 173 h 180"/>
                <a:gd name="T28" fmla="*/ 84 w 157"/>
                <a:gd name="T29" fmla="*/ 170 h 180"/>
                <a:gd name="T30" fmla="*/ 71 w 157"/>
                <a:gd name="T31" fmla="*/ 177 h 180"/>
                <a:gd name="T32" fmla="*/ 63 w 157"/>
                <a:gd name="T33" fmla="*/ 172 h 180"/>
                <a:gd name="T34" fmla="*/ 46 w 157"/>
                <a:gd name="T35" fmla="*/ 166 h 180"/>
                <a:gd name="T36" fmla="*/ 22 w 157"/>
                <a:gd name="T37" fmla="*/ 179 h 180"/>
                <a:gd name="T38" fmla="*/ 16 w 157"/>
                <a:gd name="T39" fmla="*/ 152 h 180"/>
                <a:gd name="T40" fmla="*/ 10 w 157"/>
                <a:gd name="T41" fmla="*/ 139 h 180"/>
                <a:gd name="T42" fmla="*/ 13 w 157"/>
                <a:gd name="T43" fmla="*/ 130 h 180"/>
                <a:gd name="T44" fmla="*/ 6 w 157"/>
                <a:gd name="T45" fmla="*/ 112 h 180"/>
                <a:gd name="T46" fmla="*/ 0 w 157"/>
                <a:gd name="T47" fmla="*/ 103 h 180"/>
                <a:gd name="T48" fmla="*/ 3 w 157"/>
                <a:gd name="T49" fmla="*/ 84 h 180"/>
                <a:gd name="T50" fmla="*/ 6 w 157"/>
                <a:gd name="T51" fmla="*/ 74 h 180"/>
                <a:gd name="T52" fmla="*/ 7 w 157"/>
                <a:gd name="T53" fmla="*/ 63 h 180"/>
                <a:gd name="T54" fmla="*/ 10 w 157"/>
                <a:gd name="T55" fmla="*/ 37 h 180"/>
                <a:gd name="T56" fmla="*/ 0 w 157"/>
                <a:gd name="T57" fmla="*/ 16 h 180"/>
                <a:gd name="T58" fmla="*/ 6 w 157"/>
                <a:gd name="T59" fmla="*/ 17 h 180"/>
                <a:gd name="T60" fmla="*/ 13 w 157"/>
                <a:gd name="T61" fmla="*/ 19 h 180"/>
                <a:gd name="T62" fmla="*/ 26 w 157"/>
                <a:gd name="T63" fmla="*/ 13 h 180"/>
                <a:gd name="T64" fmla="*/ 41 w 157"/>
                <a:gd name="T65" fmla="*/ 3 h 180"/>
                <a:gd name="T66" fmla="*/ 49 w 157"/>
                <a:gd name="T67" fmla="*/ 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7" h="180">
                  <a:moveTo>
                    <a:pt x="52" y="0"/>
                  </a:moveTo>
                  <a:lnTo>
                    <a:pt x="55" y="0"/>
                  </a:lnTo>
                  <a:lnTo>
                    <a:pt x="57" y="7"/>
                  </a:lnTo>
                  <a:lnTo>
                    <a:pt x="56" y="22"/>
                  </a:lnTo>
                  <a:lnTo>
                    <a:pt x="59" y="31"/>
                  </a:lnTo>
                  <a:lnTo>
                    <a:pt x="68" y="35"/>
                  </a:lnTo>
                  <a:lnTo>
                    <a:pt x="83" y="38"/>
                  </a:lnTo>
                  <a:lnTo>
                    <a:pt x="87" y="43"/>
                  </a:lnTo>
                  <a:lnTo>
                    <a:pt x="98" y="46"/>
                  </a:lnTo>
                  <a:lnTo>
                    <a:pt x="103" y="50"/>
                  </a:lnTo>
                  <a:lnTo>
                    <a:pt x="111" y="50"/>
                  </a:lnTo>
                  <a:lnTo>
                    <a:pt x="117" y="53"/>
                  </a:lnTo>
                  <a:lnTo>
                    <a:pt x="123" y="68"/>
                  </a:lnTo>
                  <a:lnTo>
                    <a:pt x="121" y="75"/>
                  </a:lnTo>
                  <a:lnTo>
                    <a:pt x="126" y="89"/>
                  </a:lnTo>
                  <a:lnTo>
                    <a:pt x="148" y="89"/>
                  </a:lnTo>
                  <a:lnTo>
                    <a:pt x="148" y="102"/>
                  </a:lnTo>
                  <a:lnTo>
                    <a:pt x="152" y="103"/>
                  </a:lnTo>
                  <a:lnTo>
                    <a:pt x="157" y="114"/>
                  </a:lnTo>
                  <a:lnTo>
                    <a:pt x="154" y="140"/>
                  </a:lnTo>
                  <a:lnTo>
                    <a:pt x="151" y="142"/>
                  </a:lnTo>
                  <a:lnTo>
                    <a:pt x="143" y="133"/>
                  </a:lnTo>
                  <a:lnTo>
                    <a:pt x="138" y="130"/>
                  </a:lnTo>
                  <a:lnTo>
                    <a:pt x="127" y="130"/>
                  </a:lnTo>
                  <a:lnTo>
                    <a:pt x="102" y="137"/>
                  </a:lnTo>
                  <a:lnTo>
                    <a:pt x="96" y="149"/>
                  </a:lnTo>
                  <a:lnTo>
                    <a:pt x="96" y="158"/>
                  </a:lnTo>
                  <a:lnTo>
                    <a:pt x="92" y="173"/>
                  </a:lnTo>
                  <a:lnTo>
                    <a:pt x="90" y="173"/>
                  </a:lnTo>
                  <a:lnTo>
                    <a:pt x="84" y="170"/>
                  </a:lnTo>
                  <a:lnTo>
                    <a:pt x="74" y="169"/>
                  </a:lnTo>
                  <a:lnTo>
                    <a:pt x="71" y="177"/>
                  </a:lnTo>
                  <a:lnTo>
                    <a:pt x="69" y="177"/>
                  </a:lnTo>
                  <a:lnTo>
                    <a:pt x="63" y="172"/>
                  </a:lnTo>
                  <a:lnTo>
                    <a:pt x="50" y="170"/>
                  </a:lnTo>
                  <a:lnTo>
                    <a:pt x="46" y="166"/>
                  </a:lnTo>
                  <a:lnTo>
                    <a:pt x="32" y="180"/>
                  </a:lnTo>
                  <a:lnTo>
                    <a:pt x="22" y="179"/>
                  </a:lnTo>
                  <a:lnTo>
                    <a:pt x="20" y="179"/>
                  </a:lnTo>
                  <a:lnTo>
                    <a:pt x="16" y="152"/>
                  </a:lnTo>
                  <a:lnTo>
                    <a:pt x="10" y="143"/>
                  </a:lnTo>
                  <a:lnTo>
                    <a:pt x="10" y="139"/>
                  </a:lnTo>
                  <a:lnTo>
                    <a:pt x="13" y="136"/>
                  </a:lnTo>
                  <a:lnTo>
                    <a:pt x="13" y="130"/>
                  </a:lnTo>
                  <a:lnTo>
                    <a:pt x="7" y="126"/>
                  </a:lnTo>
                  <a:lnTo>
                    <a:pt x="6" y="112"/>
                  </a:lnTo>
                  <a:lnTo>
                    <a:pt x="0" y="106"/>
                  </a:lnTo>
                  <a:lnTo>
                    <a:pt x="0" y="103"/>
                  </a:lnTo>
                  <a:lnTo>
                    <a:pt x="7" y="92"/>
                  </a:lnTo>
                  <a:lnTo>
                    <a:pt x="3" y="84"/>
                  </a:lnTo>
                  <a:lnTo>
                    <a:pt x="3" y="78"/>
                  </a:lnTo>
                  <a:lnTo>
                    <a:pt x="6" y="74"/>
                  </a:lnTo>
                  <a:lnTo>
                    <a:pt x="3" y="68"/>
                  </a:lnTo>
                  <a:lnTo>
                    <a:pt x="7" y="63"/>
                  </a:lnTo>
                  <a:lnTo>
                    <a:pt x="7" y="43"/>
                  </a:lnTo>
                  <a:lnTo>
                    <a:pt x="10" y="37"/>
                  </a:lnTo>
                  <a:lnTo>
                    <a:pt x="0" y="17"/>
                  </a:lnTo>
                  <a:lnTo>
                    <a:pt x="0" y="16"/>
                  </a:lnTo>
                  <a:lnTo>
                    <a:pt x="3" y="16"/>
                  </a:lnTo>
                  <a:lnTo>
                    <a:pt x="6" y="17"/>
                  </a:lnTo>
                  <a:lnTo>
                    <a:pt x="10" y="17"/>
                  </a:lnTo>
                  <a:lnTo>
                    <a:pt x="13" y="19"/>
                  </a:lnTo>
                  <a:lnTo>
                    <a:pt x="16" y="19"/>
                  </a:lnTo>
                  <a:lnTo>
                    <a:pt x="26" y="13"/>
                  </a:lnTo>
                  <a:lnTo>
                    <a:pt x="38" y="3"/>
                  </a:lnTo>
                  <a:lnTo>
                    <a:pt x="41" y="3"/>
                  </a:lnTo>
                  <a:lnTo>
                    <a:pt x="44" y="1"/>
                  </a:lnTo>
                  <a:lnTo>
                    <a:pt x="49" y="1"/>
                  </a:lnTo>
                  <a:lnTo>
                    <a:pt x="5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 name="Columbia">
              <a:extLst>
                <a:ext uri="{FF2B5EF4-FFF2-40B4-BE49-F238E27FC236}">
                  <a16:creationId xmlns:a16="http://schemas.microsoft.com/office/drawing/2014/main" id="{54B5E957-BED2-706E-6CCE-F3F7C4FE2CD7}"/>
                </a:ext>
              </a:extLst>
            </p:cNvPr>
            <p:cNvSpPr>
              <a:spLocks/>
            </p:cNvSpPr>
            <p:nvPr/>
          </p:nvSpPr>
          <p:spPr bwMode="auto">
            <a:xfrm>
              <a:off x="3962764" y="4294663"/>
              <a:ext cx="287324" cy="390325"/>
            </a:xfrm>
            <a:custGeom>
              <a:avLst/>
              <a:gdLst>
                <a:gd name="T0" fmla="*/ 102 w 159"/>
                <a:gd name="T1" fmla="*/ 3 h 216"/>
                <a:gd name="T2" fmla="*/ 101 w 159"/>
                <a:gd name="T3" fmla="*/ 7 h 216"/>
                <a:gd name="T4" fmla="*/ 94 w 159"/>
                <a:gd name="T5" fmla="*/ 12 h 216"/>
                <a:gd name="T6" fmla="*/ 74 w 159"/>
                <a:gd name="T7" fmla="*/ 43 h 216"/>
                <a:gd name="T8" fmla="*/ 88 w 159"/>
                <a:gd name="T9" fmla="*/ 56 h 216"/>
                <a:gd name="T10" fmla="*/ 92 w 159"/>
                <a:gd name="T11" fmla="*/ 70 h 216"/>
                <a:gd name="T12" fmla="*/ 110 w 159"/>
                <a:gd name="T13" fmla="*/ 70 h 216"/>
                <a:gd name="T14" fmla="*/ 126 w 159"/>
                <a:gd name="T15" fmla="*/ 83 h 216"/>
                <a:gd name="T16" fmla="*/ 145 w 159"/>
                <a:gd name="T17" fmla="*/ 82 h 216"/>
                <a:gd name="T18" fmla="*/ 151 w 159"/>
                <a:gd name="T19" fmla="*/ 83 h 216"/>
                <a:gd name="T20" fmla="*/ 148 w 159"/>
                <a:gd name="T21" fmla="*/ 110 h 216"/>
                <a:gd name="T22" fmla="*/ 154 w 159"/>
                <a:gd name="T23" fmla="*/ 120 h 216"/>
                <a:gd name="T24" fmla="*/ 153 w 159"/>
                <a:gd name="T25" fmla="*/ 132 h 216"/>
                <a:gd name="T26" fmla="*/ 159 w 159"/>
                <a:gd name="T27" fmla="*/ 147 h 216"/>
                <a:gd name="T28" fmla="*/ 150 w 159"/>
                <a:gd name="T29" fmla="*/ 138 h 216"/>
                <a:gd name="T30" fmla="*/ 141 w 159"/>
                <a:gd name="T31" fmla="*/ 138 h 216"/>
                <a:gd name="T32" fmla="*/ 120 w 159"/>
                <a:gd name="T33" fmla="*/ 141 h 216"/>
                <a:gd name="T34" fmla="*/ 126 w 159"/>
                <a:gd name="T35" fmla="*/ 148 h 216"/>
                <a:gd name="T36" fmla="*/ 129 w 159"/>
                <a:gd name="T37" fmla="*/ 156 h 216"/>
                <a:gd name="T38" fmla="*/ 117 w 159"/>
                <a:gd name="T39" fmla="*/ 165 h 216"/>
                <a:gd name="T40" fmla="*/ 126 w 159"/>
                <a:gd name="T41" fmla="*/ 179 h 216"/>
                <a:gd name="T42" fmla="*/ 117 w 159"/>
                <a:gd name="T43" fmla="*/ 216 h 216"/>
                <a:gd name="T44" fmla="*/ 108 w 159"/>
                <a:gd name="T45" fmla="*/ 212 h 216"/>
                <a:gd name="T46" fmla="*/ 113 w 159"/>
                <a:gd name="T47" fmla="*/ 197 h 216"/>
                <a:gd name="T48" fmla="*/ 101 w 159"/>
                <a:gd name="T49" fmla="*/ 196 h 216"/>
                <a:gd name="T50" fmla="*/ 94 w 159"/>
                <a:gd name="T51" fmla="*/ 193 h 216"/>
                <a:gd name="T52" fmla="*/ 77 w 159"/>
                <a:gd name="T53" fmla="*/ 196 h 216"/>
                <a:gd name="T54" fmla="*/ 70 w 159"/>
                <a:gd name="T55" fmla="*/ 187 h 216"/>
                <a:gd name="T56" fmla="*/ 64 w 159"/>
                <a:gd name="T57" fmla="*/ 178 h 216"/>
                <a:gd name="T58" fmla="*/ 48 w 159"/>
                <a:gd name="T59" fmla="*/ 166 h 216"/>
                <a:gd name="T60" fmla="*/ 36 w 159"/>
                <a:gd name="T61" fmla="*/ 160 h 216"/>
                <a:gd name="T62" fmla="*/ 22 w 159"/>
                <a:gd name="T63" fmla="*/ 160 h 216"/>
                <a:gd name="T64" fmla="*/ 2 w 159"/>
                <a:gd name="T65" fmla="*/ 147 h 216"/>
                <a:gd name="T66" fmla="*/ 0 w 159"/>
                <a:gd name="T67" fmla="*/ 142 h 216"/>
                <a:gd name="T68" fmla="*/ 5 w 159"/>
                <a:gd name="T69" fmla="*/ 129 h 216"/>
                <a:gd name="T70" fmla="*/ 18 w 159"/>
                <a:gd name="T71" fmla="*/ 122 h 216"/>
                <a:gd name="T72" fmla="*/ 19 w 159"/>
                <a:gd name="T73" fmla="*/ 113 h 216"/>
                <a:gd name="T74" fmla="*/ 13 w 159"/>
                <a:gd name="T75" fmla="*/ 68 h 216"/>
                <a:gd name="T76" fmla="*/ 16 w 159"/>
                <a:gd name="T77" fmla="*/ 62 h 216"/>
                <a:gd name="T78" fmla="*/ 22 w 159"/>
                <a:gd name="T79" fmla="*/ 59 h 216"/>
                <a:gd name="T80" fmla="*/ 19 w 159"/>
                <a:gd name="T81" fmla="*/ 50 h 216"/>
                <a:gd name="T82" fmla="*/ 21 w 159"/>
                <a:gd name="T83" fmla="*/ 50 h 216"/>
                <a:gd name="T84" fmla="*/ 27 w 159"/>
                <a:gd name="T85" fmla="*/ 49 h 216"/>
                <a:gd name="T86" fmla="*/ 43 w 159"/>
                <a:gd name="T87" fmla="*/ 25 h 216"/>
                <a:gd name="T88" fmla="*/ 58 w 159"/>
                <a:gd name="T89" fmla="*/ 19 h 216"/>
                <a:gd name="T90" fmla="*/ 62 w 159"/>
                <a:gd name="T91" fmla="*/ 15 h 216"/>
                <a:gd name="T92" fmla="*/ 88 w 159"/>
                <a:gd name="T93" fmla="*/ 9 h 216"/>
                <a:gd name="T94" fmla="*/ 96 w 159"/>
                <a:gd name="T9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 h="216">
                  <a:moveTo>
                    <a:pt x="96" y="0"/>
                  </a:moveTo>
                  <a:lnTo>
                    <a:pt x="102" y="3"/>
                  </a:lnTo>
                  <a:lnTo>
                    <a:pt x="102" y="4"/>
                  </a:lnTo>
                  <a:lnTo>
                    <a:pt x="101" y="7"/>
                  </a:lnTo>
                  <a:lnTo>
                    <a:pt x="101" y="9"/>
                  </a:lnTo>
                  <a:lnTo>
                    <a:pt x="94" y="12"/>
                  </a:lnTo>
                  <a:lnTo>
                    <a:pt x="85" y="21"/>
                  </a:lnTo>
                  <a:lnTo>
                    <a:pt x="74" y="43"/>
                  </a:lnTo>
                  <a:lnTo>
                    <a:pt x="80" y="43"/>
                  </a:lnTo>
                  <a:lnTo>
                    <a:pt x="88" y="56"/>
                  </a:lnTo>
                  <a:lnTo>
                    <a:pt x="88" y="65"/>
                  </a:lnTo>
                  <a:lnTo>
                    <a:pt x="92" y="70"/>
                  </a:lnTo>
                  <a:lnTo>
                    <a:pt x="99" y="71"/>
                  </a:lnTo>
                  <a:lnTo>
                    <a:pt x="110" y="70"/>
                  </a:lnTo>
                  <a:lnTo>
                    <a:pt x="117" y="73"/>
                  </a:lnTo>
                  <a:lnTo>
                    <a:pt x="126" y="83"/>
                  </a:lnTo>
                  <a:lnTo>
                    <a:pt x="138" y="83"/>
                  </a:lnTo>
                  <a:lnTo>
                    <a:pt x="145" y="82"/>
                  </a:lnTo>
                  <a:lnTo>
                    <a:pt x="151" y="82"/>
                  </a:lnTo>
                  <a:lnTo>
                    <a:pt x="151" y="83"/>
                  </a:lnTo>
                  <a:lnTo>
                    <a:pt x="145" y="104"/>
                  </a:lnTo>
                  <a:lnTo>
                    <a:pt x="148" y="110"/>
                  </a:lnTo>
                  <a:lnTo>
                    <a:pt x="154" y="119"/>
                  </a:lnTo>
                  <a:lnTo>
                    <a:pt x="154" y="120"/>
                  </a:lnTo>
                  <a:lnTo>
                    <a:pt x="147" y="127"/>
                  </a:lnTo>
                  <a:lnTo>
                    <a:pt x="153" y="132"/>
                  </a:lnTo>
                  <a:lnTo>
                    <a:pt x="159" y="145"/>
                  </a:lnTo>
                  <a:lnTo>
                    <a:pt x="159" y="147"/>
                  </a:lnTo>
                  <a:lnTo>
                    <a:pt x="156" y="148"/>
                  </a:lnTo>
                  <a:lnTo>
                    <a:pt x="150" y="138"/>
                  </a:lnTo>
                  <a:lnTo>
                    <a:pt x="144" y="141"/>
                  </a:lnTo>
                  <a:lnTo>
                    <a:pt x="141" y="138"/>
                  </a:lnTo>
                  <a:lnTo>
                    <a:pt x="139" y="141"/>
                  </a:lnTo>
                  <a:lnTo>
                    <a:pt x="120" y="141"/>
                  </a:lnTo>
                  <a:lnTo>
                    <a:pt x="120" y="148"/>
                  </a:lnTo>
                  <a:lnTo>
                    <a:pt x="126" y="148"/>
                  </a:lnTo>
                  <a:lnTo>
                    <a:pt x="126" y="150"/>
                  </a:lnTo>
                  <a:lnTo>
                    <a:pt x="129" y="156"/>
                  </a:lnTo>
                  <a:lnTo>
                    <a:pt x="117" y="157"/>
                  </a:lnTo>
                  <a:lnTo>
                    <a:pt x="117" y="165"/>
                  </a:lnTo>
                  <a:lnTo>
                    <a:pt x="123" y="169"/>
                  </a:lnTo>
                  <a:lnTo>
                    <a:pt x="126" y="179"/>
                  </a:lnTo>
                  <a:lnTo>
                    <a:pt x="119" y="216"/>
                  </a:lnTo>
                  <a:lnTo>
                    <a:pt x="117" y="216"/>
                  </a:lnTo>
                  <a:lnTo>
                    <a:pt x="108" y="213"/>
                  </a:lnTo>
                  <a:lnTo>
                    <a:pt x="108" y="212"/>
                  </a:lnTo>
                  <a:lnTo>
                    <a:pt x="116" y="202"/>
                  </a:lnTo>
                  <a:lnTo>
                    <a:pt x="113" y="197"/>
                  </a:lnTo>
                  <a:lnTo>
                    <a:pt x="104" y="193"/>
                  </a:lnTo>
                  <a:lnTo>
                    <a:pt x="101" y="196"/>
                  </a:lnTo>
                  <a:lnTo>
                    <a:pt x="99" y="196"/>
                  </a:lnTo>
                  <a:lnTo>
                    <a:pt x="94" y="193"/>
                  </a:lnTo>
                  <a:lnTo>
                    <a:pt x="88" y="197"/>
                  </a:lnTo>
                  <a:lnTo>
                    <a:pt x="77" y="196"/>
                  </a:lnTo>
                  <a:lnTo>
                    <a:pt x="76" y="187"/>
                  </a:lnTo>
                  <a:lnTo>
                    <a:pt x="70" y="187"/>
                  </a:lnTo>
                  <a:lnTo>
                    <a:pt x="68" y="179"/>
                  </a:lnTo>
                  <a:lnTo>
                    <a:pt x="64" y="178"/>
                  </a:lnTo>
                  <a:lnTo>
                    <a:pt x="54" y="166"/>
                  </a:lnTo>
                  <a:lnTo>
                    <a:pt x="48" y="166"/>
                  </a:lnTo>
                  <a:lnTo>
                    <a:pt x="37" y="160"/>
                  </a:lnTo>
                  <a:lnTo>
                    <a:pt x="36" y="160"/>
                  </a:lnTo>
                  <a:lnTo>
                    <a:pt x="22" y="162"/>
                  </a:lnTo>
                  <a:lnTo>
                    <a:pt x="22" y="160"/>
                  </a:lnTo>
                  <a:lnTo>
                    <a:pt x="16" y="154"/>
                  </a:lnTo>
                  <a:lnTo>
                    <a:pt x="2" y="147"/>
                  </a:lnTo>
                  <a:lnTo>
                    <a:pt x="0" y="145"/>
                  </a:lnTo>
                  <a:lnTo>
                    <a:pt x="0" y="142"/>
                  </a:lnTo>
                  <a:lnTo>
                    <a:pt x="5" y="139"/>
                  </a:lnTo>
                  <a:lnTo>
                    <a:pt x="5" y="129"/>
                  </a:lnTo>
                  <a:lnTo>
                    <a:pt x="16" y="126"/>
                  </a:lnTo>
                  <a:lnTo>
                    <a:pt x="18" y="122"/>
                  </a:lnTo>
                  <a:lnTo>
                    <a:pt x="25" y="114"/>
                  </a:lnTo>
                  <a:lnTo>
                    <a:pt x="19" y="113"/>
                  </a:lnTo>
                  <a:lnTo>
                    <a:pt x="19" y="79"/>
                  </a:lnTo>
                  <a:lnTo>
                    <a:pt x="13" y="68"/>
                  </a:lnTo>
                  <a:lnTo>
                    <a:pt x="13" y="67"/>
                  </a:lnTo>
                  <a:lnTo>
                    <a:pt x="16" y="62"/>
                  </a:lnTo>
                  <a:lnTo>
                    <a:pt x="18" y="62"/>
                  </a:lnTo>
                  <a:lnTo>
                    <a:pt x="22" y="59"/>
                  </a:lnTo>
                  <a:lnTo>
                    <a:pt x="19" y="53"/>
                  </a:lnTo>
                  <a:lnTo>
                    <a:pt x="19" y="50"/>
                  </a:lnTo>
                  <a:lnTo>
                    <a:pt x="21" y="49"/>
                  </a:lnTo>
                  <a:lnTo>
                    <a:pt x="21" y="50"/>
                  </a:lnTo>
                  <a:lnTo>
                    <a:pt x="27" y="56"/>
                  </a:lnTo>
                  <a:lnTo>
                    <a:pt x="27" y="49"/>
                  </a:lnTo>
                  <a:lnTo>
                    <a:pt x="43" y="39"/>
                  </a:lnTo>
                  <a:lnTo>
                    <a:pt x="43" y="25"/>
                  </a:lnTo>
                  <a:lnTo>
                    <a:pt x="52" y="19"/>
                  </a:lnTo>
                  <a:lnTo>
                    <a:pt x="58" y="19"/>
                  </a:lnTo>
                  <a:lnTo>
                    <a:pt x="59" y="21"/>
                  </a:lnTo>
                  <a:lnTo>
                    <a:pt x="62" y="15"/>
                  </a:lnTo>
                  <a:lnTo>
                    <a:pt x="76" y="13"/>
                  </a:lnTo>
                  <a:lnTo>
                    <a:pt x="88" y="9"/>
                  </a:lnTo>
                  <a:lnTo>
                    <a:pt x="91" y="3"/>
                  </a:lnTo>
                  <a:lnTo>
                    <a:pt x="9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 name="Chile - Mainland">
              <a:extLst>
                <a:ext uri="{FF2B5EF4-FFF2-40B4-BE49-F238E27FC236}">
                  <a16:creationId xmlns:a16="http://schemas.microsoft.com/office/drawing/2014/main" id="{3CFB4255-4FAD-B40E-09E7-A47A88EC08DD}"/>
                </a:ext>
              </a:extLst>
            </p:cNvPr>
            <p:cNvSpPr>
              <a:spLocks noEditPoints="1"/>
            </p:cNvSpPr>
            <p:nvPr/>
          </p:nvSpPr>
          <p:spPr bwMode="auto">
            <a:xfrm>
              <a:off x="4040467" y="5006644"/>
              <a:ext cx="204198" cy="1087851"/>
            </a:xfrm>
            <a:custGeom>
              <a:avLst/>
              <a:gdLst>
                <a:gd name="T0" fmla="*/ 25 w 113"/>
                <a:gd name="T1" fmla="*/ 493 h 602"/>
                <a:gd name="T2" fmla="*/ 80 w 113"/>
                <a:gd name="T3" fmla="*/ 0 h 602"/>
                <a:gd name="T4" fmla="*/ 94 w 113"/>
                <a:gd name="T5" fmla="*/ 31 h 602"/>
                <a:gd name="T6" fmla="*/ 101 w 113"/>
                <a:gd name="T7" fmla="*/ 71 h 602"/>
                <a:gd name="T8" fmla="*/ 110 w 113"/>
                <a:gd name="T9" fmla="*/ 91 h 602"/>
                <a:gd name="T10" fmla="*/ 96 w 113"/>
                <a:gd name="T11" fmla="*/ 132 h 602"/>
                <a:gd name="T12" fmla="*/ 76 w 113"/>
                <a:gd name="T13" fmla="*/ 168 h 602"/>
                <a:gd name="T14" fmla="*/ 76 w 113"/>
                <a:gd name="T15" fmla="*/ 229 h 602"/>
                <a:gd name="T16" fmla="*/ 61 w 113"/>
                <a:gd name="T17" fmla="*/ 282 h 602"/>
                <a:gd name="T18" fmla="*/ 52 w 113"/>
                <a:gd name="T19" fmla="*/ 338 h 602"/>
                <a:gd name="T20" fmla="*/ 48 w 113"/>
                <a:gd name="T21" fmla="*/ 381 h 602"/>
                <a:gd name="T22" fmla="*/ 56 w 113"/>
                <a:gd name="T23" fmla="*/ 415 h 602"/>
                <a:gd name="T24" fmla="*/ 53 w 113"/>
                <a:gd name="T25" fmla="*/ 435 h 602"/>
                <a:gd name="T26" fmla="*/ 42 w 113"/>
                <a:gd name="T27" fmla="*/ 498 h 602"/>
                <a:gd name="T28" fmla="*/ 37 w 113"/>
                <a:gd name="T29" fmla="*/ 537 h 602"/>
                <a:gd name="T30" fmla="*/ 48 w 113"/>
                <a:gd name="T31" fmla="*/ 562 h 602"/>
                <a:gd name="T32" fmla="*/ 91 w 113"/>
                <a:gd name="T33" fmla="*/ 570 h 602"/>
                <a:gd name="T34" fmla="*/ 61 w 113"/>
                <a:gd name="T35" fmla="*/ 601 h 602"/>
                <a:gd name="T36" fmla="*/ 45 w 113"/>
                <a:gd name="T37" fmla="*/ 596 h 602"/>
                <a:gd name="T38" fmla="*/ 48 w 113"/>
                <a:gd name="T39" fmla="*/ 593 h 602"/>
                <a:gd name="T40" fmla="*/ 39 w 113"/>
                <a:gd name="T41" fmla="*/ 576 h 602"/>
                <a:gd name="T42" fmla="*/ 42 w 113"/>
                <a:gd name="T43" fmla="*/ 558 h 602"/>
                <a:gd name="T44" fmla="*/ 37 w 113"/>
                <a:gd name="T45" fmla="*/ 561 h 602"/>
                <a:gd name="T46" fmla="*/ 30 w 113"/>
                <a:gd name="T47" fmla="*/ 564 h 602"/>
                <a:gd name="T48" fmla="*/ 21 w 113"/>
                <a:gd name="T49" fmla="*/ 539 h 602"/>
                <a:gd name="T50" fmla="*/ 19 w 113"/>
                <a:gd name="T51" fmla="*/ 533 h 602"/>
                <a:gd name="T52" fmla="*/ 13 w 113"/>
                <a:gd name="T53" fmla="*/ 525 h 602"/>
                <a:gd name="T54" fmla="*/ 22 w 113"/>
                <a:gd name="T55" fmla="*/ 510 h 602"/>
                <a:gd name="T56" fmla="*/ 18 w 113"/>
                <a:gd name="T57" fmla="*/ 491 h 602"/>
                <a:gd name="T58" fmla="*/ 16 w 113"/>
                <a:gd name="T59" fmla="*/ 481 h 602"/>
                <a:gd name="T60" fmla="*/ 28 w 113"/>
                <a:gd name="T61" fmla="*/ 484 h 602"/>
                <a:gd name="T62" fmla="*/ 22 w 113"/>
                <a:gd name="T63" fmla="*/ 473 h 602"/>
                <a:gd name="T64" fmla="*/ 21 w 113"/>
                <a:gd name="T65" fmla="*/ 466 h 602"/>
                <a:gd name="T66" fmla="*/ 22 w 113"/>
                <a:gd name="T67" fmla="*/ 463 h 602"/>
                <a:gd name="T68" fmla="*/ 5 w 113"/>
                <a:gd name="T69" fmla="*/ 457 h 602"/>
                <a:gd name="T70" fmla="*/ 0 w 113"/>
                <a:gd name="T71" fmla="*/ 458 h 602"/>
                <a:gd name="T72" fmla="*/ 9 w 113"/>
                <a:gd name="T73" fmla="*/ 442 h 602"/>
                <a:gd name="T74" fmla="*/ 21 w 113"/>
                <a:gd name="T75" fmla="*/ 450 h 602"/>
                <a:gd name="T76" fmla="*/ 25 w 113"/>
                <a:gd name="T77" fmla="*/ 451 h 602"/>
                <a:gd name="T78" fmla="*/ 27 w 113"/>
                <a:gd name="T79" fmla="*/ 448 h 602"/>
                <a:gd name="T80" fmla="*/ 30 w 113"/>
                <a:gd name="T81" fmla="*/ 439 h 602"/>
                <a:gd name="T82" fmla="*/ 27 w 113"/>
                <a:gd name="T83" fmla="*/ 436 h 602"/>
                <a:gd name="T84" fmla="*/ 30 w 113"/>
                <a:gd name="T85" fmla="*/ 424 h 602"/>
                <a:gd name="T86" fmla="*/ 31 w 113"/>
                <a:gd name="T87" fmla="*/ 410 h 602"/>
                <a:gd name="T88" fmla="*/ 34 w 113"/>
                <a:gd name="T89" fmla="*/ 396 h 602"/>
                <a:gd name="T90" fmla="*/ 40 w 113"/>
                <a:gd name="T91" fmla="*/ 381 h 602"/>
                <a:gd name="T92" fmla="*/ 42 w 113"/>
                <a:gd name="T93" fmla="*/ 375 h 602"/>
                <a:gd name="T94" fmla="*/ 43 w 113"/>
                <a:gd name="T95" fmla="*/ 365 h 602"/>
                <a:gd name="T96" fmla="*/ 25 w 113"/>
                <a:gd name="T97" fmla="*/ 335 h 602"/>
                <a:gd name="T98" fmla="*/ 33 w 113"/>
                <a:gd name="T99" fmla="*/ 289 h 602"/>
                <a:gd name="T100" fmla="*/ 52 w 113"/>
                <a:gd name="T101" fmla="*/ 235 h 602"/>
                <a:gd name="T102" fmla="*/ 55 w 113"/>
                <a:gd name="T103" fmla="*/ 175 h 602"/>
                <a:gd name="T104" fmla="*/ 67 w 113"/>
                <a:gd name="T105" fmla="*/ 107 h 602"/>
                <a:gd name="T106" fmla="*/ 70 w 113"/>
                <a:gd name="T107" fmla="*/ 33 h 602"/>
                <a:gd name="T108" fmla="*/ 79 w 113"/>
                <a:gd name="T109"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3" h="602">
                  <a:moveTo>
                    <a:pt x="22" y="490"/>
                  </a:moveTo>
                  <a:lnTo>
                    <a:pt x="21" y="491"/>
                  </a:lnTo>
                  <a:lnTo>
                    <a:pt x="19" y="491"/>
                  </a:lnTo>
                  <a:lnTo>
                    <a:pt x="25" y="493"/>
                  </a:lnTo>
                  <a:lnTo>
                    <a:pt x="24" y="490"/>
                  </a:lnTo>
                  <a:lnTo>
                    <a:pt x="22" y="490"/>
                  </a:lnTo>
                  <a:close/>
                  <a:moveTo>
                    <a:pt x="79" y="0"/>
                  </a:moveTo>
                  <a:lnTo>
                    <a:pt x="80" y="0"/>
                  </a:lnTo>
                  <a:lnTo>
                    <a:pt x="86" y="6"/>
                  </a:lnTo>
                  <a:lnTo>
                    <a:pt x="88" y="18"/>
                  </a:lnTo>
                  <a:lnTo>
                    <a:pt x="94" y="23"/>
                  </a:lnTo>
                  <a:lnTo>
                    <a:pt x="94" y="31"/>
                  </a:lnTo>
                  <a:lnTo>
                    <a:pt x="91" y="33"/>
                  </a:lnTo>
                  <a:lnTo>
                    <a:pt x="91" y="37"/>
                  </a:lnTo>
                  <a:lnTo>
                    <a:pt x="96" y="46"/>
                  </a:lnTo>
                  <a:lnTo>
                    <a:pt x="101" y="71"/>
                  </a:lnTo>
                  <a:lnTo>
                    <a:pt x="111" y="73"/>
                  </a:lnTo>
                  <a:lnTo>
                    <a:pt x="113" y="79"/>
                  </a:lnTo>
                  <a:lnTo>
                    <a:pt x="111" y="91"/>
                  </a:lnTo>
                  <a:lnTo>
                    <a:pt x="110" y="91"/>
                  </a:lnTo>
                  <a:lnTo>
                    <a:pt x="95" y="98"/>
                  </a:lnTo>
                  <a:lnTo>
                    <a:pt x="94" y="112"/>
                  </a:lnTo>
                  <a:lnTo>
                    <a:pt x="96" y="131"/>
                  </a:lnTo>
                  <a:lnTo>
                    <a:pt x="96" y="132"/>
                  </a:lnTo>
                  <a:lnTo>
                    <a:pt x="89" y="137"/>
                  </a:lnTo>
                  <a:lnTo>
                    <a:pt x="88" y="143"/>
                  </a:lnTo>
                  <a:lnTo>
                    <a:pt x="80" y="150"/>
                  </a:lnTo>
                  <a:lnTo>
                    <a:pt x="76" y="168"/>
                  </a:lnTo>
                  <a:lnTo>
                    <a:pt x="76" y="183"/>
                  </a:lnTo>
                  <a:lnTo>
                    <a:pt x="68" y="198"/>
                  </a:lnTo>
                  <a:lnTo>
                    <a:pt x="68" y="203"/>
                  </a:lnTo>
                  <a:lnTo>
                    <a:pt x="76" y="229"/>
                  </a:lnTo>
                  <a:lnTo>
                    <a:pt x="77" y="242"/>
                  </a:lnTo>
                  <a:lnTo>
                    <a:pt x="68" y="260"/>
                  </a:lnTo>
                  <a:lnTo>
                    <a:pt x="68" y="273"/>
                  </a:lnTo>
                  <a:lnTo>
                    <a:pt x="61" y="282"/>
                  </a:lnTo>
                  <a:lnTo>
                    <a:pt x="59" y="300"/>
                  </a:lnTo>
                  <a:lnTo>
                    <a:pt x="61" y="312"/>
                  </a:lnTo>
                  <a:lnTo>
                    <a:pt x="56" y="321"/>
                  </a:lnTo>
                  <a:lnTo>
                    <a:pt x="52" y="338"/>
                  </a:lnTo>
                  <a:lnTo>
                    <a:pt x="51" y="359"/>
                  </a:lnTo>
                  <a:lnTo>
                    <a:pt x="53" y="368"/>
                  </a:lnTo>
                  <a:lnTo>
                    <a:pt x="53" y="369"/>
                  </a:lnTo>
                  <a:lnTo>
                    <a:pt x="48" y="381"/>
                  </a:lnTo>
                  <a:lnTo>
                    <a:pt x="51" y="405"/>
                  </a:lnTo>
                  <a:lnTo>
                    <a:pt x="51" y="412"/>
                  </a:lnTo>
                  <a:lnTo>
                    <a:pt x="56" y="414"/>
                  </a:lnTo>
                  <a:lnTo>
                    <a:pt x="56" y="415"/>
                  </a:lnTo>
                  <a:lnTo>
                    <a:pt x="58" y="418"/>
                  </a:lnTo>
                  <a:lnTo>
                    <a:pt x="51" y="421"/>
                  </a:lnTo>
                  <a:lnTo>
                    <a:pt x="56" y="427"/>
                  </a:lnTo>
                  <a:lnTo>
                    <a:pt x="53" y="435"/>
                  </a:lnTo>
                  <a:lnTo>
                    <a:pt x="53" y="455"/>
                  </a:lnTo>
                  <a:lnTo>
                    <a:pt x="45" y="476"/>
                  </a:lnTo>
                  <a:lnTo>
                    <a:pt x="45" y="490"/>
                  </a:lnTo>
                  <a:lnTo>
                    <a:pt x="42" y="498"/>
                  </a:lnTo>
                  <a:lnTo>
                    <a:pt x="33" y="513"/>
                  </a:lnTo>
                  <a:lnTo>
                    <a:pt x="31" y="525"/>
                  </a:lnTo>
                  <a:lnTo>
                    <a:pt x="31" y="537"/>
                  </a:lnTo>
                  <a:lnTo>
                    <a:pt x="37" y="537"/>
                  </a:lnTo>
                  <a:lnTo>
                    <a:pt x="40" y="536"/>
                  </a:lnTo>
                  <a:lnTo>
                    <a:pt x="45" y="536"/>
                  </a:lnTo>
                  <a:lnTo>
                    <a:pt x="45" y="558"/>
                  </a:lnTo>
                  <a:lnTo>
                    <a:pt x="48" y="562"/>
                  </a:lnTo>
                  <a:lnTo>
                    <a:pt x="77" y="564"/>
                  </a:lnTo>
                  <a:lnTo>
                    <a:pt x="96" y="568"/>
                  </a:lnTo>
                  <a:lnTo>
                    <a:pt x="96" y="570"/>
                  </a:lnTo>
                  <a:lnTo>
                    <a:pt x="91" y="570"/>
                  </a:lnTo>
                  <a:lnTo>
                    <a:pt x="88" y="568"/>
                  </a:lnTo>
                  <a:lnTo>
                    <a:pt x="85" y="568"/>
                  </a:lnTo>
                  <a:lnTo>
                    <a:pt x="64" y="580"/>
                  </a:lnTo>
                  <a:lnTo>
                    <a:pt x="61" y="601"/>
                  </a:lnTo>
                  <a:lnTo>
                    <a:pt x="61" y="602"/>
                  </a:lnTo>
                  <a:lnTo>
                    <a:pt x="53" y="602"/>
                  </a:lnTo>
                  <a:lnTo>
                    <a:pt x="46" y="598"/>
                  </a:lnTo>
                  <a:lnTo>
                    <a:pt x="45" y="596"/>
                  </a:lnTo>
                  <a:lnTo>
                    <a:pt x="43" y="592"/>
                  </a:lnTo>
                  <a:lnTo>
                    <a:pt x="43" y="590"/>
                  </a:lnTo>
                  <a:lnTo>
                    <a:pt x="48" y="590"/>
                  </a:lnTo>
                  <a:lnTo>
                    <a:pt x="48" y="593"/>
                  </a:lnTo>
                  <a:lnTo>
                    <a:pt x="56" y="586"/>
                  </a:lnTo>
                  <a:lnTo>
                    <a:pt x="59" y="582"/>
                  </a:lnTo>
                  <a:lnTo>
                    <a:pt x="53" y="576"/>
                  </a:lnTo>
                  <a:lnTo>
                    <a:pt x="39" y="576"/>
                  </a:lnTo>
                  <a:lnTo>
                    <a:pt x="42" y="568"/>
                  </a:lnTo>
                  <a:lnTo>
                    <a:pt x="39" y="564"/>
                  </a:lnTo>
                  <a:lnTo>
                    <a:pt x="39" y="562"/>
                  </a:lnTo>
                  <a:lnTo>
                    <a:pt x="42" y="558"/>
                  </a:lnTo>
                  <a:lnTo>
                    <a:pt x="40" y="558"/>
                  </a:lnTo>
                  <a:lnTo>
                    <a:pt x="40" y="559"/>
                  </a:lnTo>
                  <a:lnTo>
                    <a:pt x="37" y="559"/>
                  </a:lnTo>
                  <a:lnTo>
                    <a:pt x="37" y="561"/>
                  </a:lnTo>
                  <a:lnTo>
                    <a:pt x="34" y="564"/>
                  </a:lnTo>
                  <a:lnTo>
                    <a:pt x="33" y="564"/>
                  </a:lnTo>
                  <a:lnTo>
                    <a:pt x="31" y="565"/>
                  </a:lnTo>
                  <a:lnTo>
                    <a:pt x="30" y="564"/>
                  </a:lnTo>
                  <a:lnTo>
                    <a:pt x="28" y="564"/>
                  </a:lnTo>
                  <a:lnTo>
                    <a:pt x="27" y="550"/>
                  </a:lnTo>
                  <a:lnTo>
                    <a:pt x="21" y="544"/>
                  </a:lnTo>
                  <a:lnTo>
                    <a:pt x="21" y="539"/>
                  </a:lnTo>
                  <a:lnTo>
                    <a:pt x="25" y="537"/>
                  </a:lnTo>
                  <a:lnTo>
                    <a:pt x="21" y="537"/>
                  </a:lnTo>
                  <a:lnTo>
                    <a:pt x="19" y="534"/>
                  </a:lnTo>
                  <a:lnTo>
                    <a:pt x="19" y="533"/>
                  </a:lnTo>
                  <a:lnTo>
                    <a:pt x="21" y="533"/>
                  </a:lnTo>
                  <a:lnTo>
                    <a:pt x="22" y="531"/>
                  </a:lnTo>
                  <a:lnTo>
                    <a:pt x="15" y="525"/>
                  </a:lnTo>
                  <a:lnTo>
                    <a:pt x="13" y="525"/>
                  </a:lnTo>
                  <a:lnTo>
                    <a:pt x="13" y="524"/>
                  </a:lnTo>
                  <a:lnTo>
                    <a:pt x="19" y="515"/>
                  </a:lnTo>
                  <a:lnTo>
                    <a:pt x="24" y="513"/>
                  </a:lnTo>
                  <a:lnTo>
                    <a:pt x="22" y="510"/>
                  </a:lnTo>
                  <a:lnTo>
                    <a:pt x="24" y="506"/>
                  </a:lnTo>
                  <a:lnTo>
                    <a:pt x="19" y="510"/>
                  </a:lnTo>
                  <a:lnTo>
                    <a:pt x="18" y="510"/>
                  </a:lnTo>
                  <a:lnTo>
                    <a:pt x="18" y="491"/>
                  </a:lnTo>
                  <a:lnTo>
                    <a:pt x="16" y="491"/>
                  </a:lnTo>
                  <a:lnTo>
                    <a:pt x="16" y="490"/>
                  </a:lnTo>
                  <a:lnTo>
                    <a:pt x="15" y="481"/>
                  </a:lnTo>
                  <a:lnTo>
                    <a:pt x="16" y="481"/>
                  </a:lnTo>
                  <a:lnTo>
                    <a:pt x="19" y="485"/>
                  </a:lnTo>
                  <a:lnTo>
                    <a:pt x="19" y="482"/>
                  </a:lnTo>
                  <a:lnTo>
                    <a:pt x="21" y="482"/>
                  </a:lnTo>
                  <a:lnTo>
                    <a:pt x="28" y="484"/>
                  </a:lnTo>
                  <a:lnTo>
                    <a:pt x="24" y="476"/>
                  </a:lnTo>
                  <a:lnTo>
                    <a:pt x="22" y="478"/>
                  </a:lnTo>
                  <a:lnTo>
                    <a:pt x="21" y="478"/>
                  </a:lnTo>
                  <a:lnTo>
                    <a:pt x="22" y="473"/>
                  </a:lnTo>
                  <a:lnTo>
                    <a:pt x="16" y="472"/>
                  </a:lnTo>
                  <a:lnTo>
                    <a:pt x="16" y="470"/>
                  </a:lnTo>
                  <a:lnTo>
                    <a:pt x="21" y="467"/>
                  </a:lnTo>
                  <a:lnTo>
                    <a:pt x="21" y="466"/>
                  </a:lnTo>
                  <a:lnTo>
                    <a:pt x="19" y="466"/>
                  </a:lnTo>
                  <a:lnTo>
                    <a:pt x="19" y="464"/>
                  </a:lnTo>
                  <a:lnTo>
                    <a:pt x="21" y="464"/>
                  </a:lnTo>
                  <a:lnTo>
                    <a:pt x="22" y="463"/>
                  </a:lnTo>
                  <a:lnTo>
                    <a:pt x="19" y="458"/>
                  </a:lnTo>
                  <a:lnTo>
                    <a:pt x="13" y="460"/>
                  </a:lnTo>
                  <a:lnTo>
                    <a:pt x="8" y="455"/>
                  </a:lnTo>
                  <a:lnTo>
                    <a:pt x="5" y="457"/>
                  </a:lnTo>
                  <a:lnTo>
                    <a:pt x="6" y="461"/>
                  </a:lnTo>
                  <a:lnTo>
                    <a:pt x="5" y="461"/>
                  </a:lnTo>
                  <a:lnTo>
                    <a:pt x="2" y="460"/>
                  </a:lnTo>
                  <a:lnTo>
                    <a:pt x="0" y="458"/>
                  </a:lnTo>
                  <a:lnTo>
                    <a:pt x="2" y="454"/>
                  </a:lnTo>
                  <a:lnTo>
                    <a:pt x="3" y="454"/>
                  </a:lnTo>
                  <a:lnTo>
                    <a:pt x="12" y="447"/>
                  </a:lnTo>
                  <a:lnTo>
                    <a:pt x="9" y="442"/>
                  </a:lnTo>
                  <a:lnTo>
                    <a:pt x="9" y="441"/>
                  </a:lnTo>
                  <a:lnTo>
                    <a:pt x="19" y="441"/>
                  </a:lnTo>
                  <a:lnTo>
                    <a:pt x="22" y="447"/>
                  </a:lnTo>
                  <a:lnTo>
                    <a:pt x="21" y="450"/>
                  </a:lnTo>
                  <a:lnTo>
                    <a:pt x="22" y="451"/>
                  </a:lnTo>
                  <a:lnTo>
                    <a:pt x="24" y="448"/>
                  </a:lnTo>
                  <a:lnTo>
                    <a:pt x="25" y="448"/>
                  </a:lnTo>
                  <a:lnTo>
                    <a:pt x="25" y="451"/>
                  </a:lnTo>
                  <a:lnTo>
                    <a:pt x="30" y="448"/>
                  </a:lnTo>
                  <a:lnTo>
                    <a:pt x="30" y="447"/>
                  </a:lnTo>
                  <a:lnTo>
                    <a:pt x="28" y="448"/>
                  </a:lnTo>
                  <a:lnTo>
                    <a:pt x="27" y="448"/>
                  </a:lnTo>
                  <a:lnTo>
                    <a:pt x="27" y="441"/>
                  </a:lnTo>
                  <a:lnTo>
                    <a:pt x="28" y="441"/>
                  </a:lnTo>
                  <a:lnTo>
                    <a:pt x="31" y="439"/>
                  </a:lnTo>
                  <a:lnTo>
                    <a:pt x="30" y="439"/>
                  </a:lnTo>
                  <a:lnTo>
                    <a:pt x="30" y="436"/>
                  </a:lnTo>
                  <a:lnTo>
                    <a:pt x="28" y="438"/>
                  </a:lnTo>
                  <a:lnTo>
                    <a:pt x="27" y="438"/>
                  </a:lnTo>
                  <a:lnTo>
                    <a:pt x="27" y="436"/>
                  </a:lnTo>
                  <a:lnTo>
                    <a:pt x="28" y="433"/>
                  </a:lnTo>
                  <a:lnTo>
                    <a:pt x="33" y="432"/>
                  </a:lnTo>
                  <a:lnTo>
                    <a:pt x="30" y="430"/>
                  </a:lnTo>
                  <a:lnTo>
                    <a:pt x="30" y="424"/>
                  </a:lnTo>
                  <a:lnTo>
                    <a:pt x="39" y="420"/>
                  </a:lnTo>
                  <a:lnTo>
                    <a:pt x="39" y="415"/>
                  </a:lnTo>
                  <a:lnTo>
                    <a:pt x="33" y="411"/>
                  </a:lnTo>
                  <a:lnTo>
                    <a:pt x="31" y="410"/>
                  </a:lnTo>
                  <a:lnTo>
                    <a:pt x="33" y="410"/>
                  </a:lnTo>
                  <a:lnTo>
                    <a:pt x="36" y="404"/>
                  </a:lnTo>
                  <a:lnTo>
                    <a:pt x="34" y="398"/>
                  </a:lnTo>
                  <a:lnTo>
                    <a:pt x="34" y="396"/>
                  </a:lnTo>
                  <a:lnTo>
                    <a:pt x="39" y="389"/>
                  </a:lnTo>
                  <a:lnTo>
                    <a:pt x="37" y="384"/>
                  </a:lnTo>
                  <a:lnTo>
                    <a:pt x="37" y="383"/>
                  </a:lnTo>
                  <a:lnTo>
                    <a:pt x="40" y="381"/>
                  </a:lnTo>
                  <a:lnTo>
                    <a:pt x="39" y="378"/>
                  </a:lnTo>
                  <a:lnTo>
                    <a:pt x="39" y="377"/>
                  </a:lnTo>
                  <a:lnTo>
                    <a:pt x="40" y="375"/>
                  </a:lnTo>
                  <a:lnTo>
                    <a:pt x="42" y="375"/>
                  </a:lnTo>
                  <a:lnTo>
                    <a:pt x="42" y="372"/>
                  </a:lnTo>
                  <a:lnTo>
                    <a:pt x="37" y="371"/>
                  </a:lnTo>
                  <a:lnTo>
                    <a:pt x="37" y="369"/>
                  </a:lnTo>
                  <a:lnTo>
                    <a:pt x="43" y="365"/>
                  </a:lnTo>
                  <a:lnTo>
                    <a:pt x="36" y="364"/>
                  </a:lnTo>
                  <a:lnTo>
                    <a:pt x="30" y="368"/>
                  </a:lnTo>
                  <a:lnTo>
                    <a:pt x="24" y="361"/>
                  </a:lnTo>
                  <a:lnTo>
                    <a:pt x="25" y="335"/>
                  </a:lnTo>
                  <a:lnTo>
                    <a:pt x="30" y="328"/>
                  </a:lnTo>
                  <a:lnTo>
                    <a:pt x="27" y="313"/>
                  </a:lnTo>
                  <a:lnTo>
                    <a:pt x="27" y="291"/>
                  </a:lnTo>
                  <a:lnTo>
                    <a:pt x="33" y="289"/>
                  </a:lnTo>
                  <a:lnTo>
                    <a:pt x="31" y="282"/>
                  </a:lnTo>
                  <a:lnTo>
                    <a:pt x="31" y="281"/>
                  </a:lnTo>
                  <a:lnTo>
                    <a:pt x="36" y="281"/>
                  </a:lnTo>
                  <a:lnTo>
                    <a:pt x="52" y="235"/>
                  </a:lnTo>
                  <a:lnTo>
                    <a:pt x="53" y="215"/>
                  </a:lnTo>
                  <a:lnTo>
                    <a:pt x="51" y="187"/>
                  </a:lnTo>
                  <a:lnTo>
                    <a:pt x="52" y="181"/>
                  </a:lnTo>
                  <a:lnTo>
                    <a:pt x="55" y="175"/>
                  </a:lnTo>
                  <a:lnTo>
                    <a:pt x="53" y="160"/>
                  </a:lnTo>
                  <a:lnTo>
                    <a:pt x="64" y="131"/>
                  </a:lnTo>
                  <a:lnTo>
                    <a:pt x="64" y="116"/>
                  </a:lnTo>
                  <a:lnTo>
                    <a:pt x="67" y="107"/>
                  </a:lnTo>
                  <a:lnTo>
                    <a:pt x="65" y="80"/>
                  </a:lnTo>
                  <a:lnTo>
                    <a:pt x="70" y="73"/>
                  </a:lnTo>
                  <a:lnTo>
                    <a:pt x="71" y="55"/>
                  </a:lnTo>
                  <a:lnTo>
                    <a:pt x="70" y="33"/>
                  </a:lnTo>
                  <a:lnTo>
                    <a:pt x="67" y="9"/>
                  </a:lnTo>
                  <a:lnTo>
                    <a:pt x="67" y="8"/>
                  </a:lnTo>
                  <a:lnTo>
                    <a:pt x="76" y="6"/>
                  </a:lnTo>
                  <a:lnTo>
                    <a:pt x="7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 name="Chile - Offshore">
              <a:extLst>
                <a:ext uri="{FF2B5EF4-FFF2-40B4-BE49-F238E27FC236}">
                  <a16:creationId xmlns:a16="http://schemas.microsoft.com/office/drawing/2014/main" id="{EAC16C03-F920-B474-2887-7B44E73DC831}"/>
                </a:ext>
              </a:extLst>
            </p:cNvPr>
            <p:cNvSpPr>
              <a:spLocks/>
            </p:cNvSpPr>
            <p:nvPr/>
          </p:nvSpPr>
          <p:spPr bwMode="auto">
            <a:xfrm>
              <a:off x="4044081" y="5666222"/>
              <a:ext cx="180705" cy="505978"/>
            </a:xfrm>
            <a:custGeom>
              <a:avLst/>
              <a:gdLst/>
              <a:ahLst/>
              <a:cxnLst/>
              <a:rect l="l" t="t" r="r" b="b"/>
              <a:pathLst>
                <a:path w="182146" h="510011">
                  <a:moveTo>
                    <a:pt x="114752" y="482688"/>
                  </a:moveTo>
                  <a:lnTo>
                    <a:pt x="123860" y="482688"/>
                  </a:lnTo>
                  <a:lnTo>
                    <a:pt x="123860" y="491796"/>
                  </a:lnTo>
                  <a:lnTo>
                    <a:pt x="114752" y="486331"/>
                  </a:lnTo>
                  <a:close/>
                  <a:moveTo>
                    <a:pt x="85608" y="431688"/>
                  </a:moveTo>
                  <a:lnTo>
                    <a:pt x="89251" y="431688"/>
                  </a:lnTo>
                  <a:lnTo>
                    <a:pt x="107466" y="448082"/>
                  </a:lnTo>
                  <a:lnTo>
                    <a:pt x="109287" y="451725"/>
                  </a:lnTo>
                  <a:lnTo>
                    <a:pt x="107466" y="451725"/>
                  </a:lnTo>
                  <a:lnTo>
                    <a:pt x="83787" y="448082"/>
                  </a:lnTo>
                  <a:lnTo>
                    <a:pt x="80144" y="448082"/>
                  </a:lnTo>
                  <a:lnTo>
                    <a:pt x="80144" y="435331"/>
                  </a:lnTo>
                  <a:close/>
                  <a:moveTo>
                    <a:pt x="45537" y="413474"/>
                  </a:moveTo>
                  <a:lnTo>
                    <a:pt x="51001" y="413474"/>
                  </a:lnTo>
                  <a:lnTo>
                    <a:pt x="58287" y="415296"/>
                  </a:lnTo>
                  <a:lnTo>
                    <a:pt x="63752" y="415296"/>
                  </a:lnTo>
                  <a:lnTo>
                    <a:pt x="80145" y="431689"/>
                  </a:lnTo>
                  <a:lnTo>
                    <a:pt x="78323" y="442617"/>
                  </a:lnTo>
                  <a:lnTo>
                    <a:pt x="72859" y="442617"/>
                  </a:lnTo>
                  <a:lnTo>
                    <a:pt x="69216" y="446260"/>
                  </a:lnTo>
                  <a:lnTo>
                    <a:pt x="61930" y="446260"/>
                  </a:lnTo>
                  <a:lnTo>
                    <a:pt x="52823" y="440796"/>
                  </a:lnTo>
                  <a:lnTo>
                    <a:pt x="45537" y="415296"/>
                  </a:lnTo>
                  <a:close/>
                  <a:moveTo>
                    <a:pt x="18215" y="389794"/>
                  </a:moveTo>
                  <a:lnTo>
                    <a:pt x="20036" y="389794"/>
                  </a:lnTo>
                  <a:lnTo>
                    <a:pt x="58287" y="413474"/>
                  </a:lnTo>
                  <a:lnTo>
                    <a:pt x="58287" y="415295"/>
                  </a:lnTo>
                  <a:lnTo>
                    <a:pt x="25501" y="398902"/>
                  </a:lnTo>
                  <a:lnTo>
                    <a:pt x="20036" y="391616"/>
                  </a:lnTo>
                  <a:lnTo>
                    <a:pt x="18215" y="391616"/>
                  </a:lnTo>
                  <a:close/>
                  <a:moveTo>
                    <a:pt x="145717" y="378865"/>
                  </a:moveTo>
                  <a:lnTo>
                    <a:pt x="147539" y="378865"/>
                  </a:lnTo>
                  <a:lnTo>
                    <a:pt x="151182" y="384330"/>
                  </a:lnTo>
                  <a:lnTo>
                    <a:pt x="167575" y="384330"/>
                  </a:lnTo>
                  <a:lnTo>
                    <a:pt x="167575" y="477224"/>
                  </a:lnTo>
                  <a:lnTo>
                    <a:pt x="163932" y="477224"/>
                  </a:lnTo>
                  <a:lnTo>
                    <a:pt x="163104" y="478881"/>
                  </a:lnTo>
                  <a:lnTo>
                    <a:pt x="169396" y="477225"/>
                  </a:lnTo>
                  <a:lnTo>
                    <a:pt x="171217" y="477225"/>
                  </a:lnTo>
                  <a:lnTo>
                    <a:pt x="174860" y="482690"/>
                  </a:lnTo>
                  <a:lnTo>
                    <a:pt x="174860" y="486332"/>
                  </a:lnTo>
                  <a:lnTo>
                    <a:pt x="169396" y="486332"/>
                  </a:lnTo>
                  <a:lnTo>
                    <a:pt x="176682" y="488154"/>
                  </a:lnTo>
                  <a:lnTo>
                    <a:pt x="176682" y="491797"/>
                  </a:lnTo>
                  <a:lnTo>
                    <a:pt x="171217" y="493618"/>
                  </a:lnTo>
                  <a:lnTo>
                    <a:pt x="176682" y="493618"/>
                  </a:lnTo>
                  <a:lnTo>
                    <a:pt x="176682" y="497261"/>
                  </a:lnTo>
                  <a:lnTo>
                    <a:pt x="182146" y="508190"/>
                  </a:lnTo>
                  <a:lnTo>
                    <a:pt x="182146" y="510011"/>
                  </a:lnTo>
                  <a:lnTo>
                    <a:pt x="156646" y="491797"/>
                  </a:lnTo>
                  <a:lnTo>
                    <a:pt x="151181" y="493618"/>
                  </a:lnTo>
                  <a:lnTo>
                    <a:pt x="156646" y="502725"/>
                  </a:lnTo>
                  <a:lnTo>
                    <a:pt x="156646" y="504547"/>
                  </a:lnTo>
                  <a:lnTo>
                    <a:pt x="151181" y="504547"/>
                  </a:lnTo>
                  <a:lnTo>
                    <a:pt x="147538" y="502725"/>
                  </a:lnTo>
                  <a:lnTo>
                    <a:pt x="145717" y="502725"/>
                  </a:lnTo>
                  <a:lnTo>
                    <a:pt x="140252" y="493618"/>
                  </a:lnTo>
                  <a:lnTo>
                    <a:pt x="145717" y="488154"/>
                  </a:lnTo>
                  <a:lnTo>
                    <a:pt x="131145" y="488154"/>
                  </a:lnTo>
                  <a:lnTo>
                    <a:pt x="131145" y="486332"/>
                  </a:lnTo>
                  <a:lnTo>
                    <a:pt x="134788" y="486332"/>
                  </a:lnTo>
                  <a:lnTo>
                    <a:pt x="156016" y="480746"/>
                  </a:lnTo>
                  <a:lnTo>
                    <a:pt x="135108" y="476725"/>
                  </a:lnTo>
                  <a:lnTo>
                    <a:pt x="147539" y="480869"/>
                  </a:lnTo>
                  <a:lnTo>
                    <a:pt x="151182" y="480869"/>
                  </a:lnTo>
                  <a:lnTo>
                    <a:pt x="147539" y="482690"/>
                  </a:lnTo>
                  <a:lnTo>
                    <a:pt x="131145" y="482690"/>
                  </a:lnTo>
                  <a:lnTo>
                    <a:pt x="131145" y="475963"/>
                  </a:lnTo>
                  <a:lnTo>
                    <a:pt x="109288" y="471760"/>
                  </a:lnTo>
                  <a:lnTo>
                    <a:pt x="109288" y="468117"/>
                  </a:lnTo>
                  <a:lnTo>
                    <a:pt x="98359" y="468117"/>
                  </a:lnTo>
                  <a:lnTo>
                    <a:pt x="98359" y="459010"/>
                  </a:lnTo>
                  <a:lnTo>
                    <a:pt x="114752" y="451724"/>
                  </a:lnTo>
                  <a:lnTo>
                    <a:pt x="109289" y="442618"/>
                  </a:lnTo>
                  <a:lnTo>
                    <a:pt x="109288" y="442618"/>
                  </a:lnTo>
                  <a:lnTo>
                    <a:pt x="109288" y="442617"/>
                  </a:lnTo>
                  <a:lnTo>
                    <a:pt x="109288" y="442616"/>
                  </a:lnTo>
                  <a:lnTo>
                    <a:pt x="109288" y="440795"/>
                  </a:lnTo>
                  <a:lnTo>
                    <a:pt x="109288" y="440796"/>
                  </a:lnTo>
                  <a:lnTo>
                    <a:pt x="118396" y="420759"/>
                  </a:lnTo>
                  <a:lnTo>
                    <a:pt x="120217" y="420759"/>
                  </a:lnTo>
                  <a:lnTo>
                    <a:pt x="123860" y="440796"/>
                  </a:lnTo>
                  <a:lnTo>
                    <a:pt x="123860" y="442618"/>
                  </a:lnTo>
                  <a:lnTo>
                    <a:pt x="120217" y="442618"/>
                  </a:lnTo>
                  <a:lnTo>
                    <a:pt x="123860" y="446261"/>
                  </a:lnTo>
                  <a:lnTo>
                    <a:pt x="123860" y="448082"/>
                  </a:lnTo>
                  <a:lnTo>
                    <a:pt x="120217" y="448082"/>
                  </a:lnTo>
                  <a:lnTo>
                    <a:pt x="112931" y="442618"/>
                  </a:lnTo>
                  <a:lnTo>
                    <a:pt x="111515" y="442618"/>
                  </a:lnTo>
                  <a:lnTo>
                    <a:pt x="129324" y="457188"/>
                  </a:lnTo>
                  <a:lnTo>
                    <a:pt x="129324" y="453545"/>
                  </a:lnTo>
                  <a:lnTo>
                    <a:pt x="125681" y="453545"/>
                  </a:lnTo>
                  <a:lnTo>
                    <a:pt x="125681" y="451724"/>
                  </a:lnTo>
                  <a:lnTo>
                    <a:pt x="129324" y="448081"/>
                  </a:lnTo>
                  <a:lnTo>
                    <a:pt x="129324" y="446259"/>
                  </a:lnTo>
                  <a:lnTo>
                    <a:pt x="131146" y="448081"/>
                  </a:lnTo>
                  <a:lnTo>
                    <a:pt x="131146" y="446259"/>
                  </a:lnTo>
                  <a:lnTo>
                    <a:pt x="129324" y="429866"/>
                  </a:lnTo>
                  <a:lnTo>
                    <a:pt x="129324" y="426223"/>
                  </a:lnTo>
                  <a:lnTo>
                    <a:pt x="145717" y="415295"/>
                  </a:lnTo>
                  <a:lnTo>
                    <a:pt x="120217" y="413473"/>
                  </a:lnTo>
                  <a:lnTo>
                    <a:pt x="120217" y="397080"/>
                  </a:lnTo>
                  <a:lnTo>
                    <a:pt x="125681" y="397080"/>
                  </a:lnTo>
                  <a:lnTo>
                    <a:pt x="120217" y="391615"/>
                  </a:lnTo>
                  <a:lnTo>
                    <a:pt x="120217" y="389794"/>
                  </a:lnTo>
                  <a:lnTo>
                    <a:pt x="136610" y="386151"/>
                  </a:lnTo>
                  <a:close/>
                  <a:moveTo>
                    <a:pt x="36429" y="378865"/>
                  </a:moveTo>
                  <a:lnTo>
                    <a:pt x="45537" y="378865"/>
                  </a:lnTo>
                  <a:lnTo>
                    <a:pt x="41894" y="386151"/>
                  </a:lnTo>
                  <a:lnTo>
                    <a:pt x="40072" y="389794"/>
                  </a:lnTo>
                  <a:lnTo>
                    <a:pt x="40072" y="386151"/>
                  </a:lnTo>
                  <a:lnTo>
                    <a:pt x="36429" y="380687"/>
                  </a:lnTo>
                  <a:close/>
                  <a:moveTo>
                    <a:pt x="63752" y="358830"/>
                  </a:moveTo>
                  <a:lnTo>
                    <a:pt x="67395" y="358830"/>
                  </a:lnTo>
                  <a:lnTo>
                    <a:pt x="67395" y="362473"/>
                  </a:lnTo>
                  <a:lnTo>
                    <a:pt x="72859" y="373402"/>
                  </a:lnTo>
                  <a:lnTo>
                    <a:pt x="63752" y="386153"/>
                  </a:lnTo>
                  <a:lnTo>
                    <a:pt x="74681" y="395260"/>
                  </a:lnTo>
                  <a:lnTo>
                    <a:pt x="83788" y="386153"/>
                  </a:lnTo>
                  <a:lnTo>
                    <a:pt x="96538" y="386153"/>
                  </a:lnTo>
                  <a:lnTo>
                    <a:pt x="98360" y="395260"/>
                  </a:lnTo>
                  <a:lnTo>
                    <a:pt x="74681" y="408010"/>
                  </a:lnTo>
                  <a:lnTo>
                    <a:pt x="74681" y="418939"/>
                  </a:lnTo>
                  <a:lnTo>
                    <a:pt x="69216" y="418939"/>
                  </a:lnTo>
                  <a:lnTo>
                    <a:pt x="56466" y="408010"/>
                  </a:lnTo>
                  <a:lnTo>
                    <a:pt x="56466" y="404367"/>
                  </a:lnTo>
                  <a:lnTo>
                    <a:pt x="67395" y="404367"/>
                  </a:lnTo>
                  <a:lnTo>
                    <a:pt x="63752" y="398903"/>
                  </a:lnTo>
                  <a:lnTo>
                    <a:pt x="61930" y="398903"/>
                  </a:lnTo>
                  <a:lnTo>
                    <a:pt x="58287" y="402546"/>
                  </a:lnTo>
                  <a:lnTo>
                    <a:pt x="52823" y="402546"/>
                  </a:lnTo>
                  <a:lnTo>
                    <a:pt x="52823" y="398903"/>
                  </a:lnTo>
                  <a:lnTo>
                    <a:pt x="45537" y="391617"/>
                  </a:lnTo>
                  <a:lnTo>
                    <a:pt x="45537" y="378865"/>
                  </a:lnTo>
                  <a:lnTo>
                    <a:pt x="45537" y="367937"/>
                  </a:lnTo>
                  <a:lnTo>
                    <a:pt x="52823" y="367937"/>
                  </a:lnTo>
                  <a:lnTo>
                    <a:pt x="56466" y="364294"/>
                  </a:lnTo>
                  <a:lnTo>
                    <a:pt x="58287" y="364294"/>
                  </a:lnTo>
                  <a:lnTo>
                    <a:pt x="61930" y="369759"/>
                  </a:lnTo>
                  <a:lnTo>
                    <a:pt x="63752" y="362473"/>
                  </a:lnTo>
                  <a:close/>
                  <a:moveTo>
                    <a:pt x="30965" y="342436"/>
                  </a:moveTo>
                  <a:lnTo>
                    <a:pt x="34608" y="342436"/>
                  </a:lnTo>
                  <a:lnTo>
                    <a:pt x="41894" y="353365"/>
                  </a:lnTo>
                  <a:lnTo>
                    <a:pt x="41894" y="357008"/>
                  </a:lnTo>
                  <a:lnTo>
                    <a:pt x="40072" y="357008"/>
                  </a:lnTo>
                  <a:lnTo>
                    <a:pt x="34608" y="353365"/>
                  </a:lnTo>
                  <a:lnTo>
                    <a:pt x="30965" y="351543"/>
                  </a:lnTo>
                  <a:close/>
                  <a:moveTo>
                    <a:pt x="40072" y="335150"/>
                  </a:moveTo>
                  <a:lnTo>
                    <a:pt x="45537" y="340614"/>
                  </a:lnTo>
                  <a:lnTo>
                    <a:pt x="45537" y="351544"/>
                  </a:lnTo>
                  <a:lnTo>
                    <a:pt x="41894" y="351544"/>
                  </a:lnTo>
                  <a:lnTo>
                    <a:pt x="40072" y="336971"/>
                  </a:lnTo>
                  <a:close/>
                  <a:moveTo>
                    <a:pt x="16394" y="307829"/>
                  </a:moveTo>
                  <a:lnTo>
                    <a:pt x="18215" y="307829"/>
                  </a:lnTo>
                  <a:lnTo>
                    <a:pt x="29145" y="318758"/>
                  </a:lnTo>
                  <a:lnTo>
                    <a:pt x="29145" y="320579"/>
                  </a:lnTo>
                  <a:lnTo>
                    <a:pt x="25502" y="326044"/>
                  </a:lnTo>
                  <a:lnTo>
                    <a:pt x="25502" y="329687"/>
                  </a:lnTo>
                  <a:lnTo>
                    <a:pt x="23680" y="329687"/>
                  </a:lnTo>
                  <a:lnTo>
                    <a:pt x="23680" y="336972"/>
                  </a:lnTo>
                  <a:lnTo>
                    <a:pt x="18215" y="340615"/>
                  </a:lnTo>
                  <a:lnTo>
                    <a:pt x="16394" y="340615"/>
                  </a:lnTo>
                  <a:lnTo>
                    <a:pt x="16394" y="336972"/>
                  </a:lnTo>
                  <a:lnTo>
                    <a:pt x="20037" y="326043"/>
                  </a:lnTo>
                  <a:close/>
                  <a:moveTo>
                    <a:pt x="20037" y="300543"/>
                  </a:moveTo>
                  <a:lnTo>
                    <a:pt x="30966" y="307829"/>
                  </a:lnTo>
                  <a:lnTo>
                    <a:pt x="34609" y="313294"/>
                  </a:lnTo>
                  <a:lnTo>
                    <a:pt x="34609" y="316937"/>
                  </a:lnTo>
                  <a:lnTo>
                    <a:pt x="25501" y="311472"/>
                  </a:lnTo>
                  <a:close/>
                  <a:moveTo>
                    <a:pt x="12751" y="291435"/>
                  </a:moveTo>
                  <a:lnTo>
                    <a:pt x="18216" y="291435"/>
                  </a:lnTo>
                  <a:lnTo>
                    <a:pt x="18216" y="295078"/>
                  </a:lnTo>
                  <a:lnTo>
                    <a:pt x="16394" y="302364"/>
                  </a:lnTo>
                  <a:lnTo>
                    <a:pt x="12751" y="302364"/>
                  </a:lnTo>
                  <a:lnTo>
                    <a:pt x="1822" y="296899"/>
                  </a:lnTo>
                  <a:lnTo>
                    <a:pt x="1822" y="295078"/>
                  </a:lnTo>
                  <a:lnTo>
                    <a:pt x="10930" y="295078"/>
                  </a:lnTo>
                  <a:close/>
                  <a:moveTo>
                    <a:pt x="1821" y="269577"/>
                  </a:moveTo>
                  <a:lnTo>
                    <a:pt x="5464" y="269577"/>
                  </a:lnTo>
                  <a:lnTo>
                    <a:pt x="10929" y="278685"/>
                  </a:lnTo>
                  <a:lnTo>
                    <a:pt x="7286" y="278685"/>
                  </a:lnTo>
                  <a:lnTo>
                    <a:pt x="1821" y="275042"/>
                  </a:lnTo>
                  <a:lnTo>
                    <a:pt x="0" y="275042"/>
                  </a:lnTo>
                  <a:lnTo>
                    <a:pt x="0" y="273220"/>
                  </a:lnTo>
                  <a:close/>
                  <a:moveTo>
                    <a:pt x="16393" y="234970"/>
                  </a:moveTo>
                  <a:lnTo>
                    <a:pt x="18215" y="234970"/>
                  </a:lnTo>
                  <a:lnTo>
                    <a:pt x="25501" y="245899"/>
                  </a:lnTo>
                  <a:lnTo>
                    <a:pt x="23679" y="285971"/>
                  </a:lnTo>
                  <a:lnTo>
                    <a:pt x="16393" y="284149"/>
                  </a:lnTo>
                  <a:lnTo>
                    <a:pt x="16393" y="267756"/>
                  </a:lnTo>
                  <a:lnTo>
                    <a:pt x="7286" y="258649"/>
                  </a:lnTo>
                  <a:lnTo>
                    <a:pt x="7286" y="256827"/>
                  </a:lnTo>
                  <a:lnTo>
                    <a:pt x="10929" y="258649"/>
                  </a:lnTo>
                  <a:lnTo>
                    <a:pt x="7286" y="253184"/>
                  </a:lnTo>
                  <a:lnTo>
                    <a:pt x="7286" y="251363"/>
                  </a:lnTo>
                  <a:lnTo>
                    <a:pt x="12750" y="245899"/>
                  </a:lnTo>
                  <a:close/>
                  <a:moveTo>
                    <a:pt x="1822" y="227684"/>
                  </a:moveTo>
                  <a:lnTo>
                    <a:pt x="5465" y="227684"/>
                  </a:lnTo>
                  <a:lnTo>
                    <a:pt x="7287" y="234970"/>
                  </a:lnTo>
                  <a:lnTo>
                    <a:pt x="5465" y="240435"/>
                  </a:lnTo>
                  <a:lnTo>
                    <a:pt x="1822" y="240435"/>
                  </a:lnTo>
                  <a:close/>
                  <a:moveTo>
                    <a:pt x="5465" y="213112"/>
                  </a:moveTo>
                  <a:lnTo>
                    <a:pt x="7286" y="213112"/>
                  </a:lnTo>
                  <a:lnTo>
                    <a:pt x="12751" y="233148"/>
                  </a:lnTo>
                  <a:lnTo>
                    <a:pt x="12751" y="234970"/>
                  </a:lnTo>
                  <a:lnTo>
                    <a:pt x="10929" y="234970"/>
                  </a:lnTo>
                  <a:lnTo>
                    <a:pt x="1822" y="218576"/>
                  </a:lnTo>
                  <a:lnTo>
                    <a:pt x="1822" y="216755"/>
                  </a:lnTo>
                  <a:close/>
                  <a:moveTo>
                    <a:pt x="23680" y="196719"/>
                  </a:moveTo>
                  <a:lnTo>
                    <a:pt x="25501" y="196719"/>
                  </a:lnTo>
                  <a:lnTo>
                    <a:pt x="30966" y="205827"/>
                  </a:lnTo>
                  <a:lnTo>
                    <a:pt x="29144" y="205827"/>
                  </a:lnTo>
                  <a:lnTo>
                    <a:pt x="20037" y="200362"/>
                  </a:lnTo>
                  <a:close/>
                  <a:moveTo>
                    <a:pt x="40072" y="107467"/>
                  </a:moveTo>
                  <a:lnTo>
                    <a:pt x="41894" y="107467"/>
                  </a:lnTo>
                  <a:lnTo>
                    <a:pt x="41894" y="111110"/>
                  </a:lnTo>
                  <a:lnTo>
                    <a:pt x="45537" y="118396"/>
                  </a:lnTo>
                  <a:lnTo>
                    <a:pt x="45537" y="122039"/>
                  </a:lnTo>
                  <a:lnTo>
                    <a:pt x="41894" y="122039"/>
                  </a:lnTo>
                  <a:lnTo>
                    <a:pt x="41894" y="118396"/>
                  </a:lnTo>
                  <a:lnTo>
                    <a:pt x="30965" y="112931"/>
                  </a:lnTo>
                  <a:lnTo>
                    <a:pt x="30965" y="111110"/>
                  </a:lnTo>
                  <a:close/>
                  <a:moveTo>
                    <a:pt x="58287" y="85610"/>
                  </a:moveTo>
                  <a:lnTo>
                    <a:pt x="67395" y="94717"/>
                  </a:lnTo>
                  <a:lnTo>
                    <a:pt x="63752" y="102003"/>
                  </a:lnTo>
                  <a:lnTo>
                    <a:pt x="52823" y="107468"/>
                  </a:lnTo>
                  <a:lnTo>
                    <a:pt x="51001" y="107468"/>
                  </a:lnTo>
                  <a:lnTo>
                    <a:pt x="51001" y="105646"/>
                  </a:lnTo>
                  <a:lnTo>
                    <a:pt x="45537" y="94717"/>
                  </a:lnTo>
                  <a:lnTo>
                    <a:pt x="47358" y="94717"/>
                  </a:lnTo>
                  <a:close/>
                  <a:moveTo>
                    <a:pt x="40072" y="0"/>
                  </a:moveTo>
                  <a:lnTo>
                    <a:pt x="47358" y="5464"/>
                  </a:lnTo>
                  <a:lnTo>
                    <a:pt x="52823" y="23679"/>
                  </a:lnTo>
                  <a:lnTo>
                    <a:pt x="51001" y="23679"/>
                  </a:lnTo>
                  <a:lnTo>
                    <a:pt x="45537" y="32786"/>
                  </a:lnTo>
                  <a:lnTo>
                    <a:pt x="47358" y="38251"/>
                  </a:lnTo>
                  <a:lnTo>
                    <a:pt x="47358" y="51001"/>
                  </a:lnTo>
                  <a:lnTo>
                    <a:pt x="45537" y="51001"/>
                  </a:lnTo>
                  <a:lnTo>
                    <a:pt x="41894" y="56466"/>
                  </a:lnTo>
                  <a:lnTo>
                    <a:pt x="41894" y="60109"/>
                  </a:lnTo>
                  <a:lnTo>
                    <a:pt x="29143" y="56466"/>
                  </a:lnTo>
                  <a:lnTo>
                    <a:pt x="29143" y="54644"/>
                  </a:lnTo>
                  <a:lnTo>
                    <a:pt x="25500" y="49180"/>
                  </a:lnTo>
                  <a:lnTo>
                    <a:pt x="30964"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 name="Brazil">
              <a:extLst>
                <a:ext uri="{FF2B5EF4-FFF2-40B4-BE49-F238E27FC236}">
                  <a16:creationId xmlns:a16="http://schemas.microsoft.com/office/drawing/2014/main" id="{B8870797-2B78-1EDD-5BD1-703F503E8F0B}"/>
                </a:ext>
              </a:extLst>
            </p:cNvPr>
            <p:cNvSpPr>
              <a:spLocks/>
            </p:cNvSpPr>
            <p:nvPr/>
          </p:nvSpPr>
          <p:spPr bwMode="auto">
            <a:xfrm>
              <a:off x="4083837" y="4466333"/>
              <a:ext cx="921601" cy="966779"/>
            </a:xfrm>
            <a:custGeom>
              <a:avLst/>
              <a:gdLst/>
              <a:ahLst/>
              <a:cxnLst/>
              <a:rect l="l" t="t" r="r" b="b"/>
              <a:pathLst>
                <a:path w="928948" h="974486">
                  <a:moveTo>
                    <a:pt x="555547" y="162107"/>
                  </a:moveTo>
                  <a:lnTo>
                    <a:pt x="555547" y="167575"/>
                  </a:lnTo>
                  <a:lnTo>
                    <a:pt x="559190" y="167575"/>
                  </a:lnTo>
                  <a:lnTo>
                    <a:pt x="566841" y="165875"/>
                  </a:lnTo>
                  <a:lnTo>
                    <a:pt x="555548" y="162111"/>
                  </a:lnTo>
                  <a:close/>
                  <a:moveTo>
                    <a:pt x="564655" y="111109"/>
                  </a:moveTo>
                  <a:lnTo>
                    <a:pt x="566476" y="111109"/>
                  </a:lnTo>
                  <a:lnTo>
                    <a:pt x="575584" y="122038"/>
                  </a:lnTo>
                  <a:lnTo>
                    <a:pt x="575584" y="123860"/>
                  </a:lnTo>
                  <a:lnTo>
                    <a:pt x="561012" y="123860"/>
                  </a:lnTo>
                  <a:lnTo>
                    <a:pt x="559190" y="116573"/>
                  </a:lnTo>
                  <a:close/>
                  <a:moveTo>
                    <a:pt x="313292" y="0"/>
                  </a:moveTo>
                  <a:lnTo>
                    <a:pt x="331507" y="0"/>
                  </a:lnTo>
                  <a:lnTo>
                    <a:pt x="331507" y="16393"/>
                  </a:lnTo>
                  <a:lnTo>
                    <a:pt x="340614" y="16393"/>
                  </a:lnTo>
                  <a:lnTo>
                    <a:pt x="340614" y="18215"/>
                  </a:lnTo>
                  <a:lnTo>
                    <a:pt x="342436" y="32787"/>
                  </a:lnTo>
                  <a:lnTo>
                    <a:pt x="336971" y="38251"/>
                  </a:lnTo>
                  <a:lnTo>
                    <a:pt x="335150" y="63752"/>
                  </a:lnTo>
                  <a:lnTo>
                    <a:pt x="340614" y="69216"/>
                  </a:lnTo>
                  <a:lnTo>
                    <a:pt x="340614" y="80145"/>
                  </a:lnTo>
                  <a:lnTo>
                    <a:pt x="347900" y="85609"/>
                  </a:lnTo>
                  <a:lnTo>
                    <a:pt x="364293" y="91074"/>
                  </a:lnTo>
                  <a:lnTo>
                    <a:pt x="397080" y="74680"/>
                  </a:lnTo>
                  <a:lnTo>
                    <a:pt x="415295" y="78323"/>
                  </a:lnTo>
                  <a:lnTo>
                    <a:pt x="426223" y="78323"/>
                  </a:lnTo>
                  <a:lnTo>
                    <a:pt x="431688" y="67395"/>
                  </a:lnTo>
                  <a:lnTo>
                    <a:pt x="431688" y="63752"/>
                  </a:lnTo>
                  <a:lnTo>
                    <a:pt x="449902" y="61930"/>
                  </a:lnTo>
                  <a:lnTo>
                    <a:pt x="464474" y="67395"/>
                  </a:lnTo>
                  <a:lnTo>
                    <a:pt x="475403" y="74680"/>
                  </a:lnTo>
                  <a:lnTo>
                    <a:pt x="497261" y="72859"/>
                  </a:lnTo>
                  <a:lnTo>
                    <a:pt x="510011" y="61930"/>
                  </a:lnTo>
                  <a:lnTo>
                    <a:pt x="531868" y="27322"/>
                  </a:lnTo>
                  <a:lnTo>
                    <a:pt x="533690" y="23679"/>
                  </a:lnTo>
                  <a:lnTo>
                    <a:pt x="537333" y="23679"/>
                  </a:lnTo>
                  <a:lnTo>
                    <a:pt x="542797" y="29144"/>
                  </a:lnTo>
                  <a:lnTo>
                    <a:pt x="561012" y="80145"/>
                  </a:lnTo>
                  <a:lnTo>
                    <a:pt x="571941" y="83788"/>
                  </a:lnTo>
                  <a:lnTo>
                    <a:pt x="571941" y="85609"/>
                  </a:lnTo>
                  <a:lnTo>
                    <a:pt x="570119" y="100181"/>
                  </a:lnTo>
                  <a:lnTo>
                    <a:pt x="537333" y="134789"/>
                  </a:lnTo>
                  <a:lnTo>
                    <a:pt x="539154" y="151182"/>
                  </a:lnTo>
                  <a:lnTo>
                    <a:pt x="550083" y="142075"/>
                  </a:lnTo>
                  <a:lnTo>
                    <a:pt x="550083" y="140253"/>
                  </a:lnTo>
                  <a:lnTo>
                    <a:pt x="553726" y="140253"/>
                  </a:lnTo>
                  <a:lnTo>
                    <a:pt x="553726" y="142075"/>
                  </a:lnTo>
                  <a:lnTo>
                    <a:pt x="550083" y="147539"/>
                  </a:lnTo>
                  <a:lnTo>
                    <a:pt x="553726" y="153004"/>
                  </a:lnTo>
                  <a:lnTo>
                    <a:pt x="554940" y="153004"/>
                  </a:lnTo>
                  <a:lnTo>
                    <a:pt x="553726" y="134789"/>
                  </a:lnTo>
                  <a:lnTo>
                    <a:pt x="553726" y="132968"/>
                  </a:lnTo>
                  <a:lnTo>
                    <a:pt x="544619" y="142075"/>
                  </a:lnTo>
                  <a:lnTo>
                    <a:pt x="542797" y="142075"/>
                  </a:lnTo>
                  <a:lnTo>
                    <a:pt x="539154" y="134789"/>
                  </a:lnTo>
                  <a:lnTo>
                    <a:pt x="548262" y="127503"/>
                  </a:lnTo>
                  <a:lnTo>
                    <a:pt x="553727" y="123860"/>
                  </a:lnTo>
                  <a:lnTo>
                    <a:pt x="555548" y="123860"/>
                  </a:lnTo>
                  <a:lnTo>
                    <a:pt x="555548" y="127503"/>
                  </a:lnTo>
                  <a:lnTo>
                    <a:pt x="553727" y="129325"/>
                  </a:lnTo>
                  <a:lnTo>
                    <a:pt x="555548" y="129325"/>
                  </a:lnTo>
                  <a:lnTo>
                    <a:pt x="555548" y="130691"/>
                  </a:lnTo>
                  <a:lnTo>
                    <a:pt x="561012" y="129325"/>
                  </a:lnTo>
                  <a:lnTo>
                    <a:pt x="575584" y="128558"/>
                  </a:lnTo>
                  <a:lnTo>
                    <a:pt x="575584" y="127503"/>
                  </a:lnTo>
                  <a:lnTo>
                    <a:pt x="581049" y="122038"/>
                  </a:lnTo>
                  <a:lnTo>
                    <a:pt x="582870" y="123859"/>
                  </a:lnTo>
                  <a:lnTo>
                    <a:pt x="582870" y="127503"/>
                  </a:lnTo>
                  <a:lnTo>
                    <a:pt x="580477" y="128300"/>
                  </a:lnTo>
                  <a:lnTo>
                    <a:pt x="595620" y="127503"/>
                  </a:lnTo>
                  <a:lnTo>
                    <a:pt x="606549" y="129325"/>
                  </a:lnTo>
                  <a:lnTo>
                    <a:pt x="606549" y="131146"/>
                  </a:lnTo>
                  <a:lnTo>
                    <a:pt x="604728" y="142075"/>
                  </a:lnTo>
                  <a:lnTo>
                    <a:pt x="590156" y="162111"/>
                  </a:lnTo>
                  <a:lnTo>
                    <a:pt x="584084" y="163932"/>
                  </a:lnTo>
                  <a:lnTo>
                    <a:pt x="584691" y="163932"/>
                  </a:lnTo>
                  <a:lnTo>
                    <a:pt x="584691" y="178504"/>
                  </a:lnTo>
                  <a:lnTo>
                    <a:pt x="593798" y="163932"/>
                  </a:lnTo>
                  <a:lnTo>
                    <a:pt x="604727" y="158468"/>
                  </a:lnTo>
                  <a:lnTo>
                    <a:pt x="612013" y="140253"/>
                  </a:lnTo>
                  <a:lnTo>
                    <a:pt x="637513" y="140253"/>
                  </a:lnTo>
                  <a:lnTo>
                    <a:pt x="677586" y="153004"/>
                  </a:lnTo>
                  <a:lnTo>
                    <a:pt x="679407" y="162111"/>
                  </a:lnTo>
                  <a:lnTo>
                    <a:pt x="690336" y="158468"/>
                  </a:lnTo>
                  <a:lnTo>
                    <a:pt x="699443" y="167575"/>
                  </a:lnTo>
                  <a:lnTo>
                    <a:pt x="699443" y="169397"/>
                  </a:lnTo>
                  <a:lnTo>
                    <a:pt x="695800" y="174861"/>
                  </a:lnTo>
                  <a:lnTo>
                    <a:pt x="704908" y="174861"/>
                  </a:lnTo>
                  <a:lnTo>
                    <a:pt x="704908" y="178504"/>
                  </a:lnTo>
                  <a:lnTo>
                    <a:pt x="701265" y="185790"/>
                  </a:lnTo>
                  <a:lnTo>
                    <a:pt x="721301" y="178504"/>
                  </a:lnTo>
                  <a:lnTo>
                    <a:pt x="723122" y="178504"/>
                  </a:lnTo>
                  <a:lnTo>
                    <a:pt x="761373" y="191254"/>
                  </a:lnTo>
                  <a:lnTo>
                    <a:pt x="806910" y="191254"/>
                  </a:lnTo>
                  <a:lnTo>
                    <a:pt x="819660" y="196719"/>
                  </a:lnTo>
                  <a:lnTo>
                    <a:pt x="877947" y="242256"/>
                  </a:lnTo>
                  <a:lnTo>
                    <a:pt x="912555" y="245899"/>
                  </a:lnTo>
                  <a:lnTo>
                    <a:pt x="914376" y="245899"/>
                  </a:lnTo>
                  <a:lnTo>
                    <a:pt x="914376" y="247720"/>
                  </a:lnTo>
                  <a:lnTo>
                    <a:pt x="923484" y="258649"/>
                  </a:lnTo>
                  <a:lnTo>
                    <a:pt x="928948" y="291435"/>
                  </a:lnTo>
                  <a:lnTo>
                    <a:pt x="919841" y="336972"/>
                  </a:lnTo>
                  <a:lnTo>
                    <a:pt x="892519" y="371580"/>
                  </a:lnTo>
                  <a:lnTo>
                    <a:pt x="868840" y="393438"/>
                  </a:lnTo>
                  <a:lnTo>
                    <a:pt x="850625" y="429867"/>
                  </a:lnTo>
                  <a:lnTo>
                    <a:pt x="830589" y="440796"/>
                  </a:lnTo>
                  <a:lnTo>
                    <a:pt x="828767" y="469939"/>
                  </a:lnTo>
                  <a:lnTo>
                    <a:pt x="830589" y="502726"/>
                  </a:lnTo>
                  <a:lnTo>
                    <a:pt x="825125" y="548262"/>
                  </a:lnTo>
                  <a:lnTo>
                    <a:pt x="814196" y="561013"/>
                  </a:lnTo>
                  <a:lnTo>
                    <a:pt x="810553" y="593799"/>
                  </a:lnTo>
                  <a:lnTo>
                    <a:pt x="783231" y="637514"/>
                  </a:lnTo>
                  <a:lnTo>
                    <a:pt x="777766" y="655729"/>
                  </a:lnTo>
                  <a:lnTo>
                    <a:pt x="757730" y="672122"/>
                  </a:lnTo>
                  <a:lnTo>
                    <a:pt x="752266" y="679408"/>
                  </a:lnTo>
                  <a:lnTo>
                    <a:pt x="699443" y="683051"/>
                  </a:lnTo>
                  <a:lnTo>
                    <a:pt x="695800" y="688516"/>
                  </a:lnTo>
                  <a:lnTo>
                    <a:pt x="695800" y="690337"/>
                  </a:lnTo>
                  <a:lnTo>
                    <a:pt x="648442" y="710373"/>
                  </a:lnTo>
                  <a:lnTo>
                    <a:pt x="610191" y="748624"/>
                  </a:lnTo>
                  <a:lnTo>
                    <a:pt x="599263" y="763196"/>
                  </a:lnTo>
                  <a:lnTo>
                    <a:pt x="601084" y="785053"/>
                  </a:lnTo>
                  <a:lnTo>
                    <a:pt x="604727" y="790518"/>
                  </a:lnTo>
                  <a:lnTo>
                    <a:pt x="604727" y="794161"/>
                  </a:lnTo>
                  <a:lnTo>
                    <a:pt x="601084" y="795982"/>
                  </a:lnTo>
                  <a:lnTo>
                    <a:pt x="599263" y="823304"/>
                  </a:lnTo>
                  <a:lnTo>
                    <a:pt x="571941" y="852448"/>
                  </a:lnTo>
                  <a:lnTo>
                    <a:pt x="561012" y="883413"/>
                  </a:lnTo>
                  <a:lnTo>
                    <a:pt x="542797" y="908913"/>
                  </a:lnTo>
                  <a:lnTo>
                    <a:pt x="511832" y="930771"/>
                  </a:lnTo>
                  <a:lnTo>
                    <a:pt x="510011" y="947164"/>
                  </a:lnTo>
                  <a:lnTo>
                    <a:pt x="486332" y="974486"/>
                  </a:lnTo>
                  <a:lnTo>
                    <a:pt x="486332" y="972665"/>
                  </a:lnTo>
                  <a:lnTo>
                    <a:pt x="482689" y="956272"/>
                  </a:lnTo>
                  <a:lnTo>
                    <a:pt x="491796" y="945343"/>
                  </a:lnTo>
                  <a:lnTo>
                    <a:pt x="480867" y="934414"/>
                  </a:lnTo>
                  <a:lnTo>
                    <a:pt x="475403" y="923485"/>
                  </a:lnTo>
                  <a:lnTo>
                    <a:pt x="444438" y="905270"/>
                  </a:lnTo>
                  <a:lnTo>
                    <a:pt x="433509" y="890699"/>
                  </a:lnTo>
                  <a:lnTo>
                    <a:pt x="424402" y="896163"/>
                  </a:lnTo>
                  <a:lnTo>
                    <a:pt x="420759" y="896163"/>
                  </a:lnTo>
                  <a:lnTo>
                    <a:pt x="420759" y="885234"/>
                  </a:lnTo>
                  <a:lnTo>
                    <a:pt x="404366" y="872484"/>
                  </a:lnTo>
                  <a:lnTo>
                    <a:pt x="398901" y="872484"/>
                  </a:lnTo>
                  <a:lnTo>
                    <a:pt x="391615" y="874305"/>
                  </a:lnTo>
                  <a:lnTo>
                    <a:pt x="386151" y="874305"/>
                  </a:lnTo>
                  <a:lnTo>
                    <a:pt x="386151" y="872484"/>
                  </a:lnTo>
                  <a:lnTo>
                    <a:pt x="455367" y="799625"/>
                  </a:lnTo>
                  <a:lnTo>
                    <a:pt x="477224" y="788696"/>
                  </a:lnTo>
                  <a:lnTo>
                    <a:pt x="480867" y="768660"/>
                  </a:lnTo>
                  <a:lnTo>
                    <a:pt x="475403" y="752267"/>
                  </a:lnTo>
                  <a:lnTo>
                    <a:pt x="459010" y="750445"/>
                  </a:lnTo>
                  <a:lnTo>
                    <a:pt x="464474" y="721302"/>
                  </a:lnTo>
                  <a:lnTo>
                    <a:pt x="460831" y="706730"/>
                  </a:lnTo>
                  <a:lnTo>
                    <a:pt x="437152" y="704909"/>
                  </a:lnTo>
                  <a:lnTo>
                    <a:pt x="429866" y="666658"/>
                  </a:lnTo>
                  <a:lnTo>
                    <a:pt x="415295" y="661194"/>
                  </a:lnTo>
                  <a:lnTo>
                    <a:pt x="398901" y="664836"/>
                  </a:lnTo>
                  <a:lnTo>
                    <a:pt x="380687" y="659372"/>
                  </a:lnTo>
                  <a:lnTo>
                    <a:pt x="377044" y="659372"/>
                  </a:lnTo>
                  <a:lnTo>
                    <a:pt x="375222" y="610192"/>
                  </a:lnTo>
                  <a:lnTo>
                    <a:pt x="375222" y="606549"/>
                  </a:lnTo>
                  <a:lnTo>
                    <a:pt x="377044" y="606549"/>
                  </a:lnTo>
                  <a:lnTo>
                    <a:pt x="382508" y="559191"/>
                  </a:lnTo>
                  <a:lnTo>
                    <a:pt x="377044" y="542798"/>
                  </a:lnTo>
                  <a:lnTo>
                    <a:pt x="366115" y="537334"/>
                  </a:lnTo>
                  <a:lnTo>
                    <a:pt x="366115" y="515476"/>
                  </a:lnTo>
                  <a:lnTo>
                    <a:pt x="326043" y="515476"/>
                  </a:lnTo>
                  <a:lnTo>
                    <a:pt x="326043" y="513655"/>
                  </a:lnTo>
                  <a:lnTo>
                    <a:pt x="318757" y="488154"/>
                  </a:lnTo>
                  <a:lnTo>
                    <a:pt x="320578" y="475404"/>
                  </a:lnTo>
                  <a:lnTo>
                    <a:pt x="309649" y="449903"/>
                  </a:lnTo>
                  <a:lnTo>
                    <a:pt x="302364" y="444439"/>
                  </a:lnTo>
                  <a:lnTo>
                    <a:pt x="285970" y="444439"/>
                  </a:lnTo>
                  <a:lnTo>
                    <a:pt x="278685" y="437153"/>
                  </a:lnTo>
                  <a:lnTo>
                    <a:pt x="256827" y="431688"/>
                  </a:lnTo>
                  <a:lnTo>
                    <a:pt x="251363" y="424403"/>
                  </a:lnTo>
                  <a:lnTo>
                    <a:pt x="220398" y="418938"/>
                  </a:lnTo>
                  <a:lnTo>
                    <a:pt x="204004" y="408009"/>
                  </a:lnTo>
                  <a:lnTo>
                    <a:pt x="200361" y="393438"/>
                  </a:lnTo>
                  <a:lnTo>
                    <a:pt x="202183" y="364294"/>
                  </a:lnTo>
                  <a:lnTo>
                    <a:pt x="196719" y="353365"/>
                  </a:lnTo>
                  <a:lnTo>
                    <a:pt x="169397" y="357008"/>
                  </a:lnTo>
                  <a:lnTo>
                    <a:pt x="151182" y="377044"/>
                  </a:lnTo>
                  <a:lnTo>
                    <a:pt x="131146" y="387973"/>
                  </a:lnTo>
                  <a:lnTo>
                    <a:pt x="100181" y="382509"/>
                  </a:lnTo>
                  <a:lnTo>
                    <a:pt x="83788" y="387973"/>
                  </a:lnTo>
                  <a:lnTo>
                    <a:pt x="78323" y="382509"/>
                  </a:lnTo>
                  <a:lnTo>
                    <a:pt x="78323" y="346079"/>
                  </a:lnTo>
                  <a:lnTo>
                    <a:pt x="52823" y="362473"/>
                  </a:lnTo>
                  <a:lnTo>
                    <a:pt x="40072" y="358830"/>
                  </a:lnTo>
                  <a:lnTo>
                    <a:pt x="34608" y="347901"/>
                  </a:lnTo>
                  <a:lnTo>
                    <a:pt x="21858" y="347901"/>
                  </a:lnTo>
                  <a:lnTo>
                    <a:pt x="21858" y="336972"/>
                  </a:lnTo>
                  <a:lnTo>
                    <a:pt x="5465" y="320579"/>
                  </a:lnTo>
                  <a:lnTo>
                    <a:pt x="0" y="304186"/>
                  </a:lnTo>
                  <a:lnTo>
                    <a:pt x="0" y="302364"/>
                  </a:lnTo>
                  <a:lnTo>
                    <a:pt x="7286" y="284149"/>
                  </a:lnTo>
                  <a:lnTo>
                    <a:pt x="16393" y="278685"/>
                  </a:lnTo>
                  <a:lnTo>
                    <a:pt x="18215" y="264113"/>
                  </a:lnTo>
                  <a:lnTo>
                    <a:pt x="32787" y="242256"/>
                  </a:lnTo>
                  <a:lnTo>
                    <a:pt x="52823" y="231327"/>
                  </a:lnTo>
                  <a:lnTo>
                    <a:pt x="91073" y="220398"/>
                  </a:lnTo>
                  <a:lnTo>
                    <a:pt x="105645" y="153004"/>
                  </a:lnTo>
                  <a:lnTo>
                    <a:pt x="100181" y="136610"/>
                  </a:lnTo>
                  <a:lnTo>
                    <a:pt x="89252" y="129325"/>
                  </a:lnTo>
                  <a:lnTo>
                    <a:pt x="89252" y="111110"/>
                  </a:lnTo>
                  <a:lnTo>
                    <a:pt x="91073" y="111110"/>
                  </a:lnTo>
                  <a:lnTo>
                    <a:pt x="111110" y="107467"/>
                  </a:lnTo>
                  <a:lnTo>
                    <a:pt x="107467" y="100181"/>
                  </a:lnTo>
                  <a:lnTo>
                    <a:pt x="94716" y="100181"/>
                  </a:lnTo>
                  <a:lnTo>
                    <a:pt x="94716" y="80145"/>
                  </a:lnTo>
                  <a:lnTo>
                    <a:pt x="129324" y="80145"/>
                  </a:lnTo>
                  <a:lnTo>
                    <a:pt x="131146" y="74680"/>
                  </a:lnTo>
                  <a:lnTo>
                    <a:pt x="134789" y="74680"/>
                  </a:lnTo>
                  <a:lnTo>
                    <a:pt x="140253" y="80145"/>
                  </a:lnTo>
                  <a:lnTo>
                    <a:pt x="151182" y="74680"/>
                  </a:lnTo>
                  <a:lnTo>
                    <a:pt x="153003" y="74680"/>
                  </a:lnTo>
                  <a:lnTo>
                    <a:pt x="162111" y="94717"/>
                  </a:lnTo>
                  <a:lnTo>
                    <a:pt x="163932" y="91074"/>
                  </a:lnTo>
                  <a:lnTo>
                    <a:pt x="167575" y="91074"/>
                  </a:lnTo>
                  <a:lnTo>
                    <a:pt x="178504" y="105645"/>
                  </a:lnTo>
                  <a:lnTo>
                    <a:pt x="196719" y="105645"/>
                  </a:lnTo>
                  <a:lnTo>
                    <a:pt x="225862" y="85609"/>
                  </a:lnTo>
                  <a:lnTo>
                    <a:pt x="234969" y="78323"/>
                  </a:lnTo>
                  <a:lnTo>
                    <a:pt x="251363" y="72859"/>
                  </a:lnTo>
                  <a:lnTo>
                    <a:pt x="251363" y="69216"/>
                  </a:lnTo>
                  <a:lnTo>
                    <a:pt x="229505" y="67395"/>
                  </a:lnTo>
                  <a:lnTo>
                    <a:pt x="225862" y="51001"/>
                  </a:lnTo>
                  <a:lnTo>
                    <a:pt x="225862" y="38251"/>
                  </a:lnTo>
                  <a:lnTo>
                    <a:pt x="218576" y="32787"/>
                  </a:lnTo>
                  <a:lnTo>
                    <a:pt x="214933" y="32787"/>
                  </a:lnTo>
                  <a:lnTo>
                    <a:pt x="214933" y="21858"/>
                  </a:lnTo>
                  <a:lnTo>
                    <a:pt x="218576" y="21858"/>
                  </a:lnTo>
                  <a:lnTo>
                    <a:pt x="258648" y="32787"/>
                  </a:lnTo>
                  <a:lnTo>
                    <a:pt x="307828" y="1275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 name="Argentina">
              <a:extLst>
                <a:ext uri="{FF2B5EF4-FFF2-40B4-BE49-F238E27FC236}">
                  <a16:creationId xmlns:a16="http://schemas.microsoft.com/office/drawing/2014/main" id="{BE641880-360A-694B-C488-2F55546CDA97}"/>
                </a:ext>
              </a:extLst>
            </p:cNvPr>
            <p:cNvSpPr>
              <a:spLocks/>
            </p:cNvSpPr>
            <p:nvPr/>
          </p:nvSpPr>
          <p:spPr bwMode="auto">
            <a:xfrm>
              <a:off x="4094679" y="5111453"/>
              <a:ext cx="468029" cy="1042676"/>
            </a:xfrm>
            <a:custGeom>
              <a:avLst/>
              <a:gdLst/>
              <a:ahLst/>
              <a:cxnLst/>
              <a:rect l="l" t="t" r="r" b="b"/>
              <a:pathLst>
                <a:path w="471760" h="1050988">
                  <a:moveTo>
                    <a:pt x="213112" y="1029130"/>
                  </a:moveTo>
                  <a:lnTo>
                    <a:pt x="231327" y="1029130"/>
                  </a:lnTo>
                  <a:lnTo>
                    <a:pt x="213112" y="1036416"/>
                  </a:lnTo>
                  <a:lnTo>
                    <a:pt x="207647" y="1036416"/>
                  </a:lnTo>
                  <a:lnTo>
                    <a:pt x="207647" y="1034595"/>
                  </a:lnTo>
                  <a:close/>
                  <a:moveTo>
                    <a:pt x="112931" y="943520"/>
                  </a:moveTo>
                  <a:lnTo>
                    <a:pt x="116574" y="943520"/>
                  </a:lnTo>
                  <a:lnTo>
                    <a:pt x="125681" y="961735"/>
                  </a:lnTo>
                  <a:lnTo>
                    <a:pt x="125681" y="963556"/>
                  </a:lnTo>
                  <a:lnTo>
                    <a:pt x="118396" y="967199"/>
                  </a:lnTo>
                  <a:lnTo>
                    <a:pt x="131146" y="985414"/>
                  </a:lnTo>
                  <a:lnTo>
                    <a:pt x="174861" y="1021843"/>
                  </a:lnTo>
                  <a:lnTo>
                    <a:pt x="198540" y="1027308"/>
                  </a:lnTo>
                  <a:lnTo>
                    <a:pt x="198540" y="1029129"/>
                  </a:lnTo>
                  <a:lnTo>
                    <a:pt x="189433" y="1036415"/>
                  </a:lnTo>
                  <a:lnTo>
                    <a:pt x="185790" y="1036415"/>
                  </a:lnTo>
                  <a:lnTo>
                    <a:pt x="183968" y="1040058"/>
                  </a:lnTo>
                  <a:lnTo>
                    <a:pt x="174861" y="1040058"/>
                  </a:lnTo>
                  <a:lnTo>
                    <a:pt x="173040" y="1041879"/>
                  </a:lnTo>
                  <a:lnTo>
                    <a:pt x="169397" y="1041879"/>
                  </a:lnTo>
                  <a:lnTo>
                    <a:pt x="151342" y="1037365"/>
                  </a:lnTo>
                  <a:lnTo>
                    <a:pt x="153005" y="1047345"/>
                  </a:lnTo>
                  <a:lnTo>
                    <a:pt x="145719" y="1047345"/>
                  </a:lnTo>
                  <a:lnTo>
                    <a:pt x="142076" y="1050988"/>
                  </a:lnTo>
                  <a:lnTo>
                    <a:pt x="136611" y="1050988"/>
                  </a:lnTo>
                  <a:lnTo>
                    <a:pt x="125682" y="1047345"/>
                  </a:lnTo>
                  <a:lnTo>
                    <a:pt x="125682" y="1040059"/>
                  </a:lnTo>
                  <a:lnTo>
                    <a:pt x="136611" y="1040059"/>
                  </a:lnTo>
                  <a:lnTo>
                    <a:pt x="145719" y="1036416"/>
                  </a:lnTo>
                  <a:lnTo>
                    <a:pt x="147545" y="1036416"/>
                  </a:lnTo>
                  <a:lnTo>
                    <a:pt x="125681" y="1030950"/>
                  </a:lnTo>
                  <a:lnTo>
                    <a:pt x="116574" y="1036415"/>
                  </a:lnTo>
                  <a:lnTo>
                    <a:pt x="112931" y="1036415"/>
                  </a:lnTo>
                  <a:close/>
                  <a:moveTo>
                    <a:pt x="169397" y="0"/>
                  </a:moveTo>
                  <a:lnTo>
                    <a:pt x="173040" y="0"/>
                  </a:lnTo>
                  <a:lnTo>
                    <a:pt x="180325" y="9108"/>
                  </a:lnTo>
                  <a:lnTo>
                    <a:pt x="207647" y="10929"/>
                  </a:lnTo>
                  <a:lnTo>
                    <a:pt x="214933" y="21858"/>
                  </a:lnTo>
                  <a:lnTo>
                    <a:pt x="220398" y="5465"/>
                  </a:lnTo>
                  <a:lnTo>
                    <a:pt x="225862" y="5465"/>
                  </a:lnTo>
                  <a:lnTo>
                    <a:pt x="231326" y="9108"/>
                  </a:lnTo>
                  <a:lnTo>
                    <a:pt x="242255" y="9108"/>
                  </a:lnTo>
                  <a:lnTo>
                    <a:pt x="256827" y="14572"/>
                  </a:lnTo>
                  <a:lnTo>
                    <a:pt x="262291" y="14572"/>
                  </a:lnTo>
                  <a:lnTo>
                    <a:pt x="298721" y="56466"/>
                  </a:lnTo>
                  <a:lnTo>
                    <a:pt x="326043" y="61930"/>
                  </a:lnTo>
                  <a:lnTo>
                    <a:pt x="371579" y="92895"/>
                  </a:lnTo>
                  <a:lnTo>
                    <a:pt x="375222" y="100181"/>
                  </a:lnTo>
                  <a:lnTo>
                    <a:pt x="375222" y="102002"/>
                  </a:lnTo>
                  <a:lnTo>
                    <a:pt x="358829" y="129324"/>
                  </a:lnTo>
                  <a:lnTo>
                    <a:pt x="358829" y="138432"/>
                  </a:lnTo>
                  <a:lnTo>
                    <a:pt x="380687" y="140253"/>
                  </a:lnTo>
                  <a:lnTo>
                    <a:pt x="393437" y="149361"/>
                  </a:lnTo>
                  <a:lnTo>
                    <a:pt x="420759" y="145718"/>
                  </a:lnTo>
                  <a:lnTo>
                    <a:pt x="444438" y="122039"/>
                  </a:lnTo>
                  <a:lnTo>
                    <a:pt x="448081" y="100181"/>
                  </a:lnTo>
                  <a:lnTo>
                    <a:pt x="448081" y="98359"/>
                  </a:lnTo>
                  <a:lnTo>
                    <a:pt x="453545" y="98359"/>
                  </a:lnTo>
                  <a:lnTo>
                    <a:pt x="459010" y="100181"/>
                  </a:lnTo>
                  <a:lnTo>
                    <a:pt x="466296" y="100181"/>
                  </a:lnTo>
                  <a:lnTo>
                    <a:pt x="471760" y="118396"/>
                  </a:lnTo>
                  <a:lnTo>
                    <a:pt x="466296" y="138432"/>
                  </a:lnTo>
                  <a:lnTo>
                    <a:pt x="466296" y="140253"/>
                  </a:lnTo>
                  <a:lnTo>
                    <a:pt x="444438" y="151182"/>
                  </a:lnTo>
                  <a:lnTo>
                    <a:pt x="375222" y="224041"/>
                  </a:lnTo>
                  <a:lnTo>
                    <a:pt x="369758" y="233148"/>
                  </a:lnTo>
                  <a:lnTo>
                    <a:pt x="364294" y="296899"/>
                  </a:lnTo>
                  <a:lnTo>
                    <a:pt x="355186" y="329686"/>
                  </a:lnTo>
                  <a:lnTo>
                    <a:pt x="358829" y="346079"/>
                  </a:lnTo>
                  <a:lnTo>
                    <a:pt x="386151" y="364294"/>
                  </a:lnTo>
                  <a:lnTo>
                    <a:pt x="386151" y="367937"/>
                  </a:lnTo>
                  <a:lnTo>
                    <a:pt x="380687" y="384330"/>
                  </a:lnTo>
                  <a:lnTo>
                    <a:pt x="387973" y="395259"/>
                  </a:lnTo>
                  <a:lnTo>
                    <a:pt x="398901" y="395259"/>
                  </a:lnTo>
                  <a:lnTo>
                    <a:pt x="398901" y="397080"/>
                  </a:lnTo>
                  <a:lnTo>
                    <a:pt x="397080" y="418938"/>
                  </a:lnTo>
                  <a:lnTo>
                    <a:pt x="380687" y="440795"/>
                  </a:lnTo>
                  <a:lnTo>
                    <a:pt x="377044" y="451724"/>
                  </a:lnTo>
                  <a:lnTo>
                    <a:pt x="364294" y="462653"/>
                  </a:lnTo>
                  <a:lnTo>
                    <a:pt x="293256" y="475403"/>
                  </a:lnTo>
                  <a:lnTo>
                    <a:pt x="269577" y="475403"/>
                  </a:lnTo>
                  <a:lnTo>
                    <a:pt x="264113" y="473582"/>
                  </a:lnTo>
                  <a:lnTo>
                    <a:pt x="264113" y="484510"/>
                  </a:lnTo>
                  <a:lnTo>
                    <a:pt x="271399" y="488153"/>
                  </a:lnTo>
                  <a:lnTo>
                    <a:pt x="271399" y="491796"/>
                  </a:lnTo>
                  <a:lnTo>
                    <a:pt x="264113" y="510011"/>
                  </a:lnTo>
                  <a:lnTo>
                    <a:pt x="264113" y="530047"/>
                  </a:lnTo>
                  <a:lnTo>
                    <a:pt x="262291" y="537333"/>
                  </a:lnTo>
                  <a:lnTo>
                    <a:pt x="245898" y="546440"/>
                  </a:lnTo>
                  <a:lnTo>
                    <a:pt x="229505" y="546440"/>
                  </a:lnTo>
                  <a:lnTo>
                    <a:pt x="202183" y="530047"/>
                  </a:lnTo>
                  <a:lnTo>
                    <a:pt x="196719" y="535511"/>
                  </a:lnTo>
                  <a:lnTo>
                    <a:pt x="202183" y="571941"/>
                  </a:lnTo>
                  <a:lnTo>
                    <a:pt x="213112" y="582870"/>
                  </a:lnTo>
                  <a:lnTo>
                    <a:pt x="218576" y="581048"/>
                  </a:lnTo>
                  <a:lnTo>
                    <a:pt x="214933" y="577405"/>
                  </a:lnTo>
                  <a:lnTo>
                    <a:pt x="214933" y="575584"/>
                  </a:lnTo>
                  <a:lnTo>
                    <a:pt x="229505" y="570119"/>
                  </a:lnTo>
                  <a:lnTo>
                    <a:pt x="229505" y="571941"/>
                  </a:lnTo>
                  <a:lnTo>
                    <a:pt x="231326" y="577405"/>
                  </a:lnTo>
                  <a:lnTo>
                    <a:pt x="234969" y="588334"/>
                  </a:lnTo>
                  <a:lnTo>
                    <a:pt x="231326" y="597441"/>
                  </a:lnTo>
                  <a:lnTo>
                    <a:pt x="218576" y="597441"/>
                  </a:lnTo>
                  <a:lnTo>
                    <a:pt x="209469" y="588334"/>
                  </a:lnTo>
                  <a:lnTo>
                    <a:pt x="202183" y="593798"/>
                  </a:lnTo>
                  <a:lnTo>
                    <a:pt x="218576" y="602906"/>
                  </a:lnTo>
                  <a:lnTo>
                    <a:pt x="218576" y="604727"/>
                  </a:lnTo>
                  <a:lnTo>
                    <a:pt x="202183" y="613835"/>
                  </a:lnTo>
                  <a:lnTo>
                    <a:pt x="196719" y="621120"/>
                  </a:lnTo>
                  <a:lnTo>
                    <a:pt x="196719" y="648442"/>
                  </a:lnTo>
                  <a:lnTo>
                    <a:pt x="185790" y="659371"/>
                  </a:lnTo>
                  <a:lnTo>
                    <a:pt x="189433" y="670300"/>
                  </a:lnTo>
                  <a:lnTo>
                    <a:pt x="173040" y="670300"/>
                  </a:lnTo>
                  <a:lnTo>
                    <a:pt x="156646" y="677586"/>
                  </a:lnTo>
                  <a:lnTo>
                    <a:pt x="140253" y="703086"/>
                  </a:lnTo>
                  <a:lnTo>
                    <a:pt x="140253" y="710372"/>
                  </a:lnTo>
                  <a:lnTo>
                    <a:pt x="147539" y="721301"/>
                  </a:lnTo>
                  <a:lnTo>
                    <a:pt x="158468" y="734051"/>
                  </a:lnTo>
                  <a:lnTo>
                    <a:pt x="180325" y="739516"/>
                  </a:lnTo>
                  <a:lnTo>
                    <a:pt x="183968" y="739516"/>
                  </a:lnTo>
                  <a:lnTo>
                    <a:pt x="185790" y="755909"/>
                  </a:lnTo>
                  <a:lnTo>
                    <a:pt x="178504" y="777767"/>
                  </a:lnTo>
                  <a:lnTo>
                    <a:pt x="140253" y="810553"/>
                  </a:lnTo>
                  <a:lnTo>
                    <a:pt x="134789" y="843339"/>
                  </a:lnTo>
                  <a:lnTo>
                    <a:pt x="131146" y="843339"/>
                  </a:lnTo>
                  <a:lnTo>
                    <a:pt x="120217" y="848804"/>
                  </a:lnTo>
                  <a:lnTo>
                    <a:pt x="120217" y="850625"/>
                  </a:lnTo>
                  <a:lnTo>
                    <a:pt x="116574" y="845161"/>
                  </a:lnTo>
                  <a:lnTo>
                    <a:pt x="118395" y="850625"/>
                  </a:lnTo>
                  <a:lnTo>
                    <a:pt x="105645" y="861554"/>
                  </a:lnTo>
                  <a:lnTo>
                    <a:pt x="96538" y="883412"/>
                  </a:lnTo>
                  <a:lnTo>
                    <a:pt x="100181" y="883412"/>
                  </a:lnTo>
                  <a:lnTo>
                    <a:pt x="102002" y="879769"/>
                  </a:lnTo>
                  <a:lnTo>
                    <a:pt x="102002" y="883412"/>
                  </a:lnTo>
                  <a:lnTo>
                    <a:pt x="105645" y="901626"/>
                  </a:lnTo>
                  <a:lnTo>
                    <a:pt x="100181" y="905269"/>
                  </a:lnTo>
                  <a:lnTo>
                    <a:pt x="105645" y="905269"/>
                  </a:lnTo>
                  <a:lnTo>
                    <a:pt x="120217" y="932591"/>
                  </a:lnTo>
                  <a:lnTo>
                    <a:pt x="85609" y="923484"/>
                  </a:lnTo>
                  <a:lnTo>
                    <a:pt x="32787" y="921662"/>
                  </a:lnTo>
                  <a:lnTo>
                    <a:pt x="29144" y="921662"/>
                  </a:lnTo>
                  <a:lnTo>
                    <a:pt x="27322" y="910734"/>
                  </a:lnTo>
                  <a:lnTo>
                    <a:pt x="23679" y="872483"/>
                  </a:lnTo>
                  <a:lnTo>
                    <a:pt x="18215" y="872483"/>
                  </a:lnTo>
                  <a:lnTo>
                    <a:pt x="12750" y="876126"/>
                  </a:lnTo>
                  <a:lnTo>
                    <a:pt x="1822" y="876126"/>
                  </a:lnTo>
                  <a:lnTo>
                    <a:pt x="0" y="850625"/>
                  </a:lnTo>
                  <a:lnTo>
                    <a:pt x="1822" y="828768"/>
                  </a:lnTo>
                  <a:lnTo>
                    <a:pt x="18215" y="801446"/>
                  </a:lnTo>
                  <a:lnTo>
                    <a:pt x="23679" y="786874"/>
                  </a:lnTo>
                  <a:lnTo>
                    <a:pt x="23679" y="761373"/>
                  </a:lnTo>
                  <a:lnTo>
                    <a:pt x="40072" y="723123"/>
                  </a:lnTo>
                  <a:lnTo>
                    <a:pt x="40072" y="686693"/>
                  </a:lnTo>
                  <a:lnTo>
                    <a:pt x="45537" y="672121"/>
                  </a:lnTo>
                  <a:lnTo>
                    <a:pt x="34608" y="661193"/>
                  </a:lnTo>
                  <a:lnTo>
                    <a:pt x="34608" y="659371"/>
                  </a:lnTo>
                  <a:lnTo>
                    <a:pt x="47358" y="655728"/>
                  </a:lnTo>
                  <a:lnTo>
                    <a:pt x="45537" y="650264"/>
                  </a:lnTo>
                  <a:lnTo>
                    <a:pt x="34608" y="648442"/>
                  </a:lnTo>
                  <a:lnTo>
                    <a:pt x="34608" y="632049"/>
                  </a:lnTo>
                  <a:lnTo>
                    <a:pt x="29144" y="588334"/>
                  </a:lnTo>
                  <a:lnTo>
                    <a:pt x="40072" y="564655"/>
                  </a:lnTo>
                  <a:lnTo>
                    <a:pt x="34608" y="548262"/>
                  </a:lnTo>
                  <a:lnTo>
                    <a:pt x="38251" y="510011"/>
                  </a:lnTo>
                  <a:lnTo>
                    <a:pt x="47358" y="475403"/>
                  </a:lnTo>
                  <a:lnTo>
                    <a:pt x="52823" y="462653"/>
                  </a:lnTo>
                  <a:lnTo>
                    <a:pt x="51001" y="440795"/>
                  </a:lnTo>
                  <a:lnTo>
                    <a:pt x="52823" y="408009"/>
                  </a:lnTo>
                  <a:lnTo>
                    <a:pt x="67394" y="389794"/>
                  </a:lnTo>
                  <a:lnTo>
                    <a:pt x="67394" y="364294"/>
                  </a:lnTo>
                  <a:lnTo>
                    <a:pt x="83788" y="333329"/>
                  </a:lnTo>
                  <a:lnTo>
                    <a:pt x="80145" y="311471"/>
                  </a:lnTo>
                  <a:lnTo>
                    <a:pt x="67394" y="264113"/>
                  </a:lnTo>
                  <a:lnTo>
                    <a:pt x="67394" y="251363"/>
                  </a:lnTo>
                  <a:lnTo>
                    <a:pt x="80145" y="224041"/>
                  </a:lnTo>
                  <a:lnTo>
                    <a:pt x="80145" y="200362"/>
                  </a:lnTo>
                  <a:lnTo>
                    <a:pt x="91073" y="167575"/>
                  </a:lnTo>
                  <a:lnTo>
                    <a:pt x="102002" y="154825"/>
                  </a:lnTo>
                  <a:lnTo>
                    <a:pt x="105645" y="143896"/>
                  </a:lnTo>
                  <a:lnTo>
                    <a:pt x="118395" y="132967"/>
                  </a:lnTo>
                  <a:lnTo>
                    <a:pt x="112931" y="98359"/>
                  </a:lnTo>
                  <a:lnTo>
                    <a:pt x="116574" y="71037"/>
                  </a:lnTo>
                  <a:lnTo>
                    <a:pt x="145718" y="56466"/>
                  </a:lnTo>
                  <a:lnTo>
                    <a:pt x="147539" y="38251"/>
                  </a:lnTo>
                  <a:lnTo>
                    <a:pt x="145718" y="273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 name="The Bahamas">
              <a:extLst>
                <a:ext uri="{FF2B5EF4-FFF2-40B4-BE49-F238E27FC236}">
                  <a16:creationId xmlns:a16="http://schemas.microsoft.com/office/drawing/2014/main" id="{A0AA991B-37C0-F687-6CD2-E0E1E767DB8C}"/>
                </a:ext>
              </a:extLst>
            </p:cNvPr>
            <p:cNvSpPr>
              <a:spLocks/>
            </p:cNvSpPr>
            <p:nvPr/>
          </p:nvSpPr>
          <p:spPr bwMode="auto">
            <a:xfrm>
              <a:off x="3962763" y="3933249"/>
              <a:ext cx="142759" cy="151794"/>
            </a:xfrm>
            <a:custGeom>
              <a:avLst/>
              <a:gdLst/>
              <a:ahLst/>
              <a:cxnLst/>
              <a:rect l="l" t="t" r="r" b="b"/>
              <a:pathLst>
                <a:path w="143897" h="153004">
                  <a:moveTo>
                    <a:pt x="140254" y="140253"/>
                  </a:moveTo>
                  <a:lnTo>
                    <a:pt x="143897" y="140253"/>
                  </a:lnTo>
                  <a:lnTo>
                    <a:pt x="143897" y="142075"/>
                  </a:lnTo>
                  <a:lnTo>
                    <a:pt x="140254" y="147539"/>
                  </a:lnTo>
                  <a:lnTo>
                    <a:pt x="140254" y="151183"/>
                  </a:lnTo>
                  <a:lnTo>
                    <a:pt x="127503" y="153004"/>
                  </a:lnTo>
                  <a:lnTo>
                    <a:pt x="123860" y="153004"/>
                  </a:lnTo>
                  <a:lnTo>
                    <a:pt x="123860" y="147539"/>
                  </a:lnTo>
                  <a:lnTo>
                    <a:pt x="127503" y="147539"/>
                  </a:lnTo>
                  <a:lnTo>
                    <a:pt x="127503" y="145718"/>
                  </a:lnTo>
                  <a:close/>
                  <a:moveTo>
                    <a:pt x="107467" y="105645"/>
                  </a:moveTo>
                  <a:lnTo>
                    <a:pt x="112932" y="105645"/>
                  </a:lnTo>
                  <a:lnTo>
                    <a:pt x="116575" y="107467"/>
                  </a:lnTo>
                  <a:lnTo>
                    <a:pt x="122039" y="107467"/>
                  </a:lnTo>
                  <a:lnTo>
                    <a:pt x="116575" y="118396"/>
                  </a:lnTo>
                  <a:lnTo>
                    <a:pt x="116575" y="122039"/>
                  </a:lnTo>
                  <a:lnTo>
                    <a:pt x="112932" y="118396"/>
                  </a:lnTo>
                  <a:lnTo>
                    <a:pt x="112932" y="112931"/>
                  </a:lnTo>
                  <a:lnTo>
                    <a:pt x="107467" y="107467"/>
                  </a:lnTo>
                  <a:close/>
                  <a:moveTo>
                    <a:pt x="29145" y="67395"/>
                  </a:moveTo>
                  <a:lnTo>
                    <a:pt x="32788" y="67395"/>
                  </a:lnTo>
                  <a:lnTo>
                    <a:pt x="32788" y="83789"/>
                  </a:lnTo>
                  <a:lnTo>
                    <a:pt x="29145" y="83789"/>
                  </a:lnTo>
                  <a:lnTo>
                    <a:pt x="23680" y="74681"/>
                  </a:lnTo>
                  <a:lnTo>
                    <a:pt x="29145" y="69217"/>
                  </a:lnTo>
                  <a:close/>
                  <a:moveTo>
                    <a:pt x="72859" y="56466"/>
                  </a:moveTo>
                  <a:lnTo>
                    <a:pt x="76502" y="56466"/>
                  </a:lnTo>
                  <a:lnTo>
                    <a:pt x="89253" y="69217"/>
                  </a:lnTo>
                  <a:lnTo>
                    <a:pt x="89253" y="72860"/>
                  </a:lnTo>
                  <a:lnTo>
                    <a:pt x="81967" y="72860"/>
                  </a:lnTo>
                  <a:close/>
                  <a:moveTo>
                    <a:pt x="65574" y="43715"/>
                  </a:moveTo>
                  <a:lnTo>
                    <a:pt x="67395" y="43715"/>
                  </a:lnTo>
                  <a:lnTo>
                    <a:pt x="67395" y="58287"/>
                  </a:lnTo>
                  <a:lnTo>
                    <a:pt x="65574" y="58287"/>
                  </a:lnTo>
                  <a:lnTo>
                    <a:pt x="60109" y="52823"/>
                  </a:lnTo>
                  <a:lnTo>
                    <a:pt x="60109" y="51001"/>
                  </a:lnTo>
                  <a:close/>
                  <a:moveTo>
                    <a:pt x="16394" y="43715"/>
                  </a:moveTo>
                  <a:lnTo>
                    <a:pt x="20037" y="43715"/>
                  </a:lnTo>
                  <a:lnTo>
                    <a:pt x="21858" y="45537"/>
                  </a:lnTo>
                  <a:lnTo>
                    <a:pt x="27323" y="56466"/>
                  </a:lnTo>
                  <a:lnTo>
                    <a:pt x="23680" y="63752"/>
                  </a:lnTo>
                  <a:lnTo>
                    <a:pt x="23680" y="67395"/>
                  </a:lnTo>
                  <a:lnTo>
                    <a:pt x="14572" y="56466"/>
                  </a:lnTo>
                  <a:lnTo>
                    <a:pt x="10929" y="56466"/>
                  </a:lnTo>
                  <a:close/>
                  <a:moveTo>
                    <a:pt x="40074" y="5465"/>
                  </a:moveTo>
                  <a:lnTo>
                    <a:pt x="43717" y="5465"/>
                  </a:lnTo>
                  <a:lnTo>
                    <a:pt x="43717" y="7287"/>
                  </a:lnTo>
                  <a:lnTo>
                    <a:pt x="45538" y="12751"/>
                  </a:lnTo>
                  <a:lnTo>
                    <a:pt x="43717" y="27323"/>
                  </a:lnTo>
                  <a:lnTo>
                    <a:pt x="40074" y="27323"/>
                  </a:lnTo>
                  <a:lnTo>
                    <a:pt x="38252" y="16394"/>
                  </a:lnTo>
                  <a:close/>
                  <a:moveTo>
                    <a:pt x="10929" y="0"/>
                  </a:moveTo>
                  <a:lnTo>
                    <a:pt x="21859" y="0"/>
                  </a:lnTo>
                  <a:lnTo>
                    <a:pt x="21859" y="1822"/>
                  </a:lnTo>
                  <a:lnTo>
                    <a:pt x="27323" y="5465"/>
                  </a:lnTo>
                  <a:lnTo>
                    <a:pt x="27323" y="10929"/>
                  </a:lnTo>
                  <a:lnTo>
                    <a:pt x="23680" y="10929"/>
                  </a:lnTo>
                  <a:lnTo>
                    <a:pt x="0" y="5465"/>
                  </a:lnTo>
                  <a:lnTo>
                    <a:pt x="0" y="1822"/>
                  </a:lnTo>
                  <a:lnTo>
                    <a:pt x="5465" y="18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 name="Canada - Offshore">
              <a:extLst>
                <a:ext uri="{FF2B5EF4-FFF2-40B4-BE49-F238E27FC236}">
                  <a16:creationId xmlns:a16="http://schemas.microsoft.com/office/drawing/2014/main" id="{180D373F-F902-DCED-DBDC-A86B5B7F7A5F}"/>
                </a:ext>
              </a:extLst>
            </p:cNvPr>
            <p:cNvSpPr>
              <a:spLocks/>
            </p:cNvSpPr>
            <p:nvPr/>
          </p:nvSpPr>
          <p:spPr bwMode="auto">
            <a:xfrm>
              <a:off x="2616501" y="788821"/>
              <a:ext cx="1967892" cy="2596891"/>
            </a:xfrm>
            <a:custGeom>
              <a:avLst/>
              <a:gdLst/>
              <a:ahLst/>
              <a:cxnLst/>
              <a:rect l="l" t="t" r="r" b="b"/>
              <a:pathLst>
                <a:path w="1983579" h="2617593">
                  <a:moveTo>
                    <a:pt x="1256814" y="2601199"/>
                  </a:moveTo>
                  <a:lnTo>
                    <a:pt x="1289600" y="2601199"/>
                  </a:lnTo>
                  <a:lnTo>
                    <a:pt x="1289600" y="2612128"/>
                  </a:lnTo>
                  <a:lnTo>
                    <a:pt x="1287779" y="2617593"/>
                  </a:lnTo>
                  <a:lnTo>
                    <a:pt x="1284136" y="2617593"/>
                  </a:lnTo>
                  <a:lnTo>
                    <a:pt x="1256814" y="2604842"/>
                  </a:lnTo>
                  <a:lnTo>
                    <a:pt x="1254992" y="2604842"/>
                  </a:lnTo>
                  <a:close/>
                  <a:moveTo>
                    <a:pt x="1794147" y="2564770"/>
                  </a:moveTo>
                  <a:lnTo>
                    <a:pt x="1797790" y="2564770"/>
                  </a:lnTo>
                  <a:lnTo>
                    <a:pt x="1803254" y="2570235"/>
                  </a:lnTo>
                  <a:lnTo>
                    <a:pt x="1803254" y="2572056"/>
                  </a:lnTo>
                  <a:lnTo>
                    <a:pt x="1794147" y="2597556"/>
                  </a:lnTo>
                  <a:lnTo>
                    <a:pt x="1803254" y="2597556"/>
                  </a:lnTo>
                  <a:lnTo>
                    <a:pt x="1808718" y="2588449"/>
                  </a:lnTo>
                  <a:lnTo>
                    <a:pt x="1810540" y="2588449"/>
                  </a:lnTo>
                  <a:lnTo>
                    <a:pt x="1816004" y="2599378"/>
                  </a:lnTo>
                  <a:lnTo>
                    <a:pt x="1816004" y="2601199"/>
                  </a:lnTo>
                  <a:lnTo>
                    <a:pt x="1797790" y="2612128"/>
                  </a:lnTo>
                  <a:lnTo>
                    <a:pt x="1792325" y="2612128"/>
                  </a:lnTo>
                  <a:lnTo>
                    <a:pt x="1783218" y="2615771"/>
                  </a:lnTo>
                  <a:lnTo>
                    <a:pt x="1777754" y="2615771"/>
                  </a:lnTo>
                  <a:lnTo>
                    <a:pt x="1777754" y="2612128"/>
                  </a:lnTo>
                  <a:lnTo>
                    <a:pt x="1772289" y="2606664"/>
                  </a:lnTo>
                  <a:lnTo>
                    <a:pt x="1775932" y="2593914"/>
                  </a:lnTo>
                  <a:close/>
                  <a:moveTo>
                    <a:pt x="1714002" y="2564770"/>
                  </a:moveTo>
                  <a:lnTo>
                    <a:pt x="1715823" y="2564770"/>
                  </a:lnTo>
                  <a:lnTo>
                    <a:pt x="1715823" y="2566592"/>
                  </a:lnTo>
                  <a:lnTo>
                    <a:pt x="1714002" y="2572056"/>
                  </a:lnTo>
                  <a:lnTo>
                    <a:pt x="1721287" y="2581163"/>
                  </a:lnTo>
                  <a:lnTo>
                    <a:pt x="1761360" y="2586628"/>
                  </a:lnTo>
                  <a:lnTo>
                    <a:pt x="1761360" y="2588449"/>
                  </a:lnTo>
                  <a:lnTo>
                    <a:pt x="1748610" y="2601199"/>
                  </a:lnTo>
                  <a:lnTo>
                    <a:pt x="1746788" y="2601199"/>
                  </a:lnTo>
                  <a:lnTo>
                    <a:pt x="1737681" y="2592092"/>
                  </a:lnTo>
                  <a:lnTo>
                    <a:pt x="1726752" y="2593913"/>
                  </a:lnTo>
                  <a:lnTo>
                    <a:pt x="1724930" y="2593913"/>
                  </a:lnTo>
                  <a:lnTo>
                    <a:pt x="1704894" y="2577520"/>
                  </a:lnTo>
                  <a:lnTo>
                    <a:pt x="1704894" y="2575699"/>
                  </a:lnTo>
                  <a:close/>
                  <a:moveTo>
                    <a:pt x="1714002" y="2459125"/>
                  </a:moveTo>
                  <a:lnTo>
                    <a:pt x="1748610" y="2471875"/>
                  </a:lnTo>
                  <a:lnTo>
                    <a:pt x="1765004" y="2480982"/>
                  </a:lnTo>
                  <a:lnTo>
                    <a:pt x="1770468" y="2488268"/>
                  </a:lnTo>
                  <a:lnTo>
                    <a:pt x="1770468" y="2491911"/>
                  </a:lnTo>
                  <a:lnTo>
                    <a:pt x="1754075" y="2491911"/>
                  </a:lnTo>
                  <a:lnTo>
                    <a:pt x="1726752" y="2482804"/>
                  </a:lnTo>
                  <a:lnTo>
                    <a:pt x="1721288" y="2475518"/>
                  </a:lnTo>
                  <a:lnTo>
                    <a:pt x="1703073" y="2466411"/>
                  </a:lnTo>
                  <a:lnTo>
                    <a:pt x="1703073" y="2464589"/>
                  </a:lnTo>
                  <a:close/>
                  <a:moveTo>
                    <a:pt x="187613" y="2424516"/>
                  </a:moveTo>
                  <a:lnTo>
                    <a:pt x="191256" y="2424516"/>
                  </a:lnTo>
                  <a:lnTo>
                    <a:pt x="247721" y="2444552"/>
                  </a:lnTo>
                  <a:lnTo>
                    <a:pt x="269579" y="2475517"/>
                  </a:lnTo>
                  <a:lnTo>
                    <a:pt x="291437" y="2491911"/>
                  </a:lnTo>
                  <a:lnTo>
                    <a:pt x="304187" y="2513768"/>
                  </a:lnTo>
                  <a:lnTo>
                    <a:pt x="304187" y="2515590"/>
                  </a:lnTo>
                  <a:lnTo>
                    <a:pt x="302366" y="2515590"/>
                  </a:lnTo>
                  <a:lnTo>
                    <a:pt x="293258" y="2521054"/>
                  </a:lnTo>
                  <a:lnTo>
                    <a:pt x="265936" y="2510125"/>
                  </a:lnTo>
                  <a:lnTo>
                    <a:pt x="265936" y="2508304"/>
                  </a:lnTo>
                  <a:lnTo>
                    <a:pt x="258650" y="2502839"/>
                  </a:lnTo>
                  <a:lnTo>
                    <a:pt x="260472" y="2497375"/>
                  </a:lnTo>
                  <a:lnTo>
                    <a:pt x="255007" y="2497375"/>
                  </a:lnTo>
                  <a:lnTo>
                    <a:pt x="253186" y="2499196"/>
                  </a:lnTo>
                  <a:lnTo>
                    <a:pt x="247721" y="2499196"/>
                  </a:lnTo>
                  <a:lnTo>
                    <a:pt x="242257" y="2493732"/>
                  </a:lnTo>
                  <a:lnTo>
                    <a:pt x="242257" y="2491911"/>
                  </a:lnTo>
                  <a:lnTo>
                    <a:pt x="247721" y="2491911"/>
                  </a:lnTo>
                  <a:lnTo>
                    <a:pt x="242257" y="2486446"/>
                  </a:lnTo>
                  <a:lnTo>
                    <a:pt x="229507" y="2480982"/>
                  </a:lnTo>
                  <a:lnTo>
                    <a:pt x="225864" y="2480982"/>
                  </a:lnTo>
                  <a:lnTo>
                    <a:pt x="225864" y="2471874"/>
                  </a:lnTo>
                  <a:lnTo>
                    <a:pt x="231328" y="2471874"/>
                  </a:lnTo>
                  <a:lnTo>
                    <a:pt x="213114" y="2466410"/>
                  </a:lnTo>
                  <a:lnTo>
                    <a:pt x="213114" y="2464589"/>
                  </a:lnTo>
                  <a:lnTo>
                    <a:pt x="207649" y="2455481"/>
                  </a:lnTo>
                  <a:lnTo>
                    <a:pt x="207649" y="2459124"/>
                  </a:lnTo>
                  <a:lnTo>
                    <a:pt x="202185" y="2459124"/>
                  </a:lnTo>
                  <a:lnTo>
                    <a:pt x="198542" y="2455481"/>
                  </a:lnTo>
                  <a:lnTo>
                    <a:pt x="193077" y="2455481"/>
                  </a:lnTo>
                  <a:lnTo>
                    <a:pt x="191256" y="2442731"/>
                  </a:lnTo>
                  <a:lnTo>
                    <a:pt x="202185" y="2442731"/>
                  </a:lnTo>
                  <a:lnTo>
                    <a:pt x="202185" y="2437266"/>
                  </a:lnTo>
                  <a:lnTo>
                    <a:pt x="182149" y="2435445"/>
                  </a:lnTo>
                  <a:lnTo>
                    <a:pt x="180327" y="2435445"/>
                  </a:lnTo>
                  <a:lnTo>
                    <a:pt x="180327" y="2431802"/>
                  </a:lnTo>
                  <a:lnTo>
                    <a:pt x="182149" y="2431802"/>
                  </a:lnTo>
                  <a:lnTo>
                    <a:pt x="187613" y="2426338"/>
                  </a:lnTo>
                  <a:close/>
                  <a:moveTo>
                    <a:pt x="1908899" y="2399016"/>
                  </a:moveTo>
                  <a:lnTo>
                    <a:pt x="1916185" y="2399016"/>
                  </a:lnTo>
                  <a:lnTo>
                    <a:pt x="1916185" y="2402659"/>
                  </a:lnTo>
                  <a:lnTo>
                    <a:pt x="1908899" y="2408123"/>
                  </a:lnTo>
                  <a:lnTo>
                    <a:pt x="1910720" y="2415409"/>
                  </a:lnTo>
                  <a:lnTo>
                    <a:pt x="1908899" y="2424517"/>
                  </a:lnTo>
                  <a:lnTo>
                    <a:pt x="1908899" y="2426338"/>
                  </a:lnTo>
                  <a:lnTo>
                    <a:pt x="1899791" y="2426338"/>
                  </a:lnTo>
                  <a:lnTo>
                    <a:pt x="1899791" y="2437267"/>
                  </a:lnTo>
                  <a:lnTo>
                    <a:pt x="1887041" y="2455482"/>
                  </a:lnTo>
                  <a:lnTo>
                    <a:pt x="1888863" y="2470053"/>
                  </a:lnTo>
                  <a:lnTo>
                    <a:pt x="1903434" y="2453660"/>
                  </a:lnTo>
                  <a:lnTo>
                    <a:pt x="1903434" y="2459125"/>
                  </a:lnTo>
                  <a:lnTo>
                    <a:pt x="1916185" y="2460946"/>
                  </a:lnTo>
                  <a:lnTo>
                    <a:pt x="1918006" y="2460946"/>
                  </a:lnTo>
                  <a:lnTo>
                    <a:pt x="1918006" y="2464589"/>
                  </a:lnTo>
                  <a:lnTo>
                    <a:pt x="1916185" y="2464589"/>
                  </a:lnTo>
                  <a:lnTo>
                    <a:pt x="1905256" y="2470053"/>
                  </a:lnTo>
                  <a:lnTo>
                    <a:pt x="1908899" y="2477339"/>
                  </a:lnTo>
                  <a:lnTo>
                    <a:pt x="1910720" y="2477339"/>
                  </a:lnTo>
                  <a:lnTo>
                    <a:pt x="1912542" y="2475518"/>
                  </a:lnTo>
                  <a:lnTo>
                    <a:pt x="1918006" y="2475518"/>
                  </a:lnTo>
                  <a:lnTo>
                    <a:pt x="1921649" y="2471875"/>
                  </a:lnTo>
                  <a:lnTo>
                    <a:pt x="1923471" y="2471875"/>
                  </a:lnTo>
                  <a:lnTo>
                    <a:pt x="1923471" y="2475518"/>
                  </a:lnTo>
                  <a:lnTo>
                    <a:pt x="1921649" y="2482804"/>
                  </a:lnTo>
                  <a:lnTo>
                    <a:pt x="1939864" y="2477339"/>
                  </a:lnTo>
                  <a:lnTo>
                    <a:pt x="1961721" y="2480982"/>
                  </a:lnTo>
                  <a:lnTo>
                    <a:pt x="1965364" y="2480982"/>
                  </a:lnTo>
                  <a:lnTo>
                    <a:pt x="1965364" y="2482804"/>
                  </a:lnTo>
                  <a:lnTo>
                    <a:pt x="1954436" y="2513769"/>
                  </a:lnTo>
                  <a:lnTo>
                    <a:pt x="1972650" y="2508304"/>
                  </a:lnTo>
                  <a:lnTo>
                    <a:pt x="1976293" y="2508304"/>
                  </a:lnTo>
                  <a:lnTo>
                    <a:pt x="1972650" y="2515590"/>
                  </a:lnTo>
                  <a:lnTo>
                    <a:pt x="1956257" y="2526519"/>
                  </a:lnTo>
                  <a:lnTo>
                    <a:pt x="1961721" y="2528340"/>
                  </a:lnTo>
                  <a:lnTo>
                    <a:pt x="1959900" y="2539269"/>
                  </a:lnTo>
                  <a:lnTo>
                    <a:pt x="1961721" y="2542912"/>
                  </a:lnTo>
                  <a:lnTo>
                    <a:pt x="1978115" y="2522876"/>
                  </a:lnTo>
                  <a:lnTo>
                    <a:pt x="1981758" y="2522876"/>
                  </a:lnTo>
                  <a:lnTo>
                    <a:pt x="1981758" y="2526519"/>
                  </a:lnTo>
                  <a:lnTo>
                    <a:pt x="1976293" y="2544734"/>
                  </a:lnTo>
                  <a:lnTo>
                    <a:pt x="1978115" y="2539269"/>
                  </a:lnTo>
                  <a:lnTo>
                    <a:pt x="1981758" y="2539269"/>
                  </a:lnTo>
                  <a:lnTo>
                    <a:pt x="1983579" y="2550198"/>
                  </a:lnTo>
                  <a:lnTo>
                    <a:pt x="1976293" y="2577520"/>
                  </a:lnTo>
                  <a:lnTo>
                    <a:pt x="1972650" y="2577520"/>
                  </a:lnTo>
                  <a:lnTo>
                    <a:pt x="1965364" y="2581163"/>
                  </a:lnTo>
                  <a:lnTo>
                    <a:pt x="1959900" y="2564770"/>
                  </a:lnTo>
                  <a:lnTo>
                    <a:pt x="1950793" y="2572056"/>
                  </a:lnTo>
                  <a:lnTo>
                    <a:pt x="1948971" y="2572056"/>
                  </a:lnTo>
                  <a:lnTo>
                    <a:pt x="1948971" y="2570234"/>
                  </a:lnTo>
                  <a:lnTo>
                    <a:pt x="1954436" y="2553841"/>
                  </a:lnTo>
                  <a:lnTo>
                    <a:pt x="1948971" y="2533805"/>
                  </a:lnTo>
                  <a:lnTo>
                    <a:pt x="1943507" y="2550198"/>
                  </a:lnTo>
                  <a:lnTo>
                    <a:pt x="1912542" y="2572056"/>
                  </a:lnTo>
                  <a:lnTo>
                    <a:pt x="1910720" y="2572056"/>
                  </a:lnTo>
                  <a:lnTo>
                    <a:pt x="1905256" y="2566591"/>
                  </a:lnTo>
                  <a:lnTo>
                    <a:pt x="1905256" y="2564770"/>
                  </a:lnTo>
                  <a:lnTo>
                    <a:pt x="1928935" y="2544734"/>
                  </a:lnTo>
                  <a:lnTo>
                    <a:pt x="1921649" y="2542912"/>
                  </a:lnTo>
                  <a:lnTo>
                    <a:pt x="1918006" y="2550198"/>
                  </a:lnTo>
                  <a:lnTo>
                    <a:pt x="1899791" y="2550198"/>
                  </a:lnTo>
                  <a:lnTo>
                    <a:pt x="1899791" y="2548377"/>
                  </a:lnTo>
                  <a:lnTo>
                    <a:pt x="1908899" y="2542912"/>
                  </a:lnTo>
                  <a:lnTo>
                    <a:pt x="1908899" y="2539269"/>
                  </a:lnTo>
                  <a:lnTo>
                    <a:pt x="1887041" y="2548377"/>
                  </a:lnTo>
                  <a:lnTo>
                    <a:pt x="1832397" y="2548377"/>
                  </a:lnTo>
                  <a:lnTo>
                    <a:pt x="1825111" y="2542912"/>
                  </a:lnTo>
                  <a:lnTo>
                    <a:pt x="1825111" y="2533805"/>
                  </a:lnTo>
                  <a:lnTo>
                    <a:pt x="1843326" y="2519233"/>
                  </a:lnTo>
                  <a:lnTo>
                    <a:pt x="1830576" y="2515590"/>
                  </a:lnTo>
                  <a:lnTo>
                    <a:pt x="1826933" y="2513769"/>
                  </a:lnTo>
                  <a:lnTo>
                    <a:pt x="1839683" y="2508304"/>
                  </a:lnTo>
                  <a:lnTo>
                    <a:pt x="1845147" y="2491911"/>
                  </a:lnTo>
                  <a:lnTo>
                    <a:pt x="1854255" y="2491911"/>
                  </a:lnTo>
                  <a:lnTo>
                    <a:pt x="1850612" y="2480982"/>
                  </a:lnTo>
                  <a:lnTo>
                    <a:pt x="1859719" y="2475518"/>
                  </a:lnTo>
                  <a:lnTo>
                    <a:pt x="1865183" y="2453660"/>
                  </a:lnTo>
                  <a:lnTo>
                    <a:pt x="1870648" y="2450017"/>
                  </a:lnTo>
                  <a:lnTo>
                    <a:pt x="1867005" y="2450017"/>
                  </a:lnTo>
                  <a:lnTo>
                    <a:pt x="1867005" y="2448196"/>
                  </a:lnTo>
                  <a:lnTo>
                    <a:pt x="1872469" y="2437267"/>
                  </a:lnTo>
                  <a:lnTo>
                    <a:pt x="1870648" y="2431803"/>
                  </a:lnTo>
                  <a:lnTo>
                    <a:pt x="1888863" y="2408123"/>
                  </a:lnTo>
                  <a:lnTo>
                    <a:pt x="1899791" y="2402659"/>
                  </a:lnTo>
                  <a:lnTo>
                    <a:pt x="1905256" y="2402659"/>
                  </a:lnTo>
                  <a:close/>
                  <a:moveTo>
                    <a:pt x="1284136" y="2340729"/>
                  </a:moveTo>
                  <a:lnTo>
                    <a:pt x="1307815" y="2340729"/>
                  </a:lnTo>
                  <a:lnTo>
                    <a:pt x="1316922" y="2357123"/>
                  </a:lnTo>
                  <a:lnTo>
                    <a:pt x="1316922" y="2358944"/>
                  </a:lnTo>
                  <a:lnTo>
                    <a:pt x="1313279" y="2358944"/>
                  </a:lnTo>
                  <a:lnTo>
                    <a:pt x="1282314" y="2346194"/>
                  </a:lnTo>
                  <a:close/>
                  <a:moveTo>
                    <a:pt x="1621107" y="2012865"/>
                  </a:moveTo>
                  <a:lnTo>
                    <a:pt x="1624750" y="2012865"/>
                  </a:lnTo>
                  <a:lnTo>
                    <a:pt x="1624750" y="2021973"/>
                  </a:lnTo>
                  <a:lnTo>
                    <a:pt x="1613821" y="2029259"/>
                  </a:lnTo>
                  <a:lnTo>
                    <a:pt x="1610178" y="2029259"/>
                  </a:lnTo>
                  <a:lnTo>
                    <a:pt x="1610178" y="2018330"/>
                  </a:lnTo>
                  <a:close/>
                  <a:moveTo>
                    <a:pt x="466296" y="1983721"/>
                  </a:moveTo>
                  <a:lnTo>
                    <a:pt x="473582" y="1994650"/>
                  </a:lnTo>
                  <a:lnTo>
                    <a:pt x="471760" y="1994650"/>
                  </a:lnTo>
                  <a:lnTo>
                    <a:pt x="460831" y="1991007"/>
                  </a:lnTo>
                  <a:lnTo>
                    <a:pt x="460831" y="1989186"/>
                  </a:lnTo>
                  <a:close/>
                  <a:moveTo>
                    <a:pt x="1688501" y="1960043"/>
                  </a:moveTo>
                  <a:lnTo>
                    <a:pt x="1697608" y="1965508"/>
                  </a:lnTo>
                  <a:lnTo>
                    <a:pt x="1697608" y="1976437"/>
                  </a:lnTo>
                  <a:lnTo>
                    <a:pt x="1693965" y="1976437"/>
                  </a:lnTo>
                  <a:lnTo>
                    <a:pt x="1679393" y="1967329"/>
                  </a:lnTo>
                  <a:lnTo>
                    <a:pt x="1675750" y="1967329"/>
                  </a:lnTo>
                  <a:lnTo>
                    <a:pt x="1675750" y="1965508"/>
                  </a:lnTo>
                  <a:lnTo>
                    <a:pt x="1679393" y="1965508"/>
                  </a:lnTo>
                  <a:close/>
                  <a:moveTo>
                    <a:pt x="568299" y="1945470"/>
                  </a:moveTo>
                  <a:lnTo>
                    <a:pt x="566478" y="1956399"/>
                  </a:lnTo>
                  <a:lnTo>
                    <a:pt x="557370" y="1960042"/>
                  </a:lnTo>
                  <a:lnTo>
                    <a:pt x="546441" y="1954578"/>
                  </a:lnTo>
                  <a:lnTo>
                    <a:pt x="544619" y="1954578"/>
                  </a:lnTo>
                  <a:lnTo>
                    <a:pt x="544619" y="1950935"/>
                  </a:lnTo>
                  <a:lnTo>
                    <a:pt x="546441" y="1950935"/>
                  </a:lnTo>
                  <a:close/>
                  <a:moveTo>
                    <a:pt x="1329673" y="1923613"/>
                  </a:moveTo>
                  <a:lnTo>
                    <a:pt x="1349709" y="1929078"/>
                  </a:lnTo>
                  <a:lnTo>
                    <a:pt x="1335137" y="1967328"/>
                  </a:lnTo>
                  <a:lnTo>
                    <a:pt x="1324208" y="1956399"/>
                  </a:lnTo>
                  <a:lnTo>
                    <a:pt x="1324208" y="1932720"/>
                  </a:lnTo>
                  <a:close/>
                  <a:moveTo>
                    <a:pt x="590156" y="1910863"/>
                  </a:moveTo>
                  <a:lnTo>
                    <a:pt x="595620" y="1910863"/>
                  </a:lnTo>
                  <a:lnTo>
                    <a:pt x="599263" y="1912685"/>
                  </a:lnTo>
                  <a:lnTo>
                    <a:pt x="604728" y="1912685"/>
                  </a:lnTo>
                  <a:lnTo>
                    <a:pt x="604728" y="1916328"/>
                  </a:lnTo>
                  <a:lnTo>
                    <a:pt x="579227" y="1923614"/>
                  </a:lnTo>
                  <a:lnTo>
                    <a:pt x="577405" y="1921793"/>
                  </a:lnTo>
                  <a:lnTo>
                    <a:pt x="579227" y="1921793"/>
                  </a:lnTo>
                  <a:close/>
                  <a:moveTo>
                    <a:pt x="1271385" y="1898113"/>
                  </a:moveTo>
                  <a:lnTo>
                    <a:pt x="1287778" y="1898113"/>
                  </a:lnTo>
                  <a:lnTo>
                    <a:pt x="1287778" y="1899935"/>
                  </a:lnTo>
                  <a:lnTo>
                    <a:pt x="1282314" y="1910863"/>
                  </a:lnTo>
                  <a:lnTo>
                    <a:pt x="1256813" y="1934543"/>
                  </a:lnTo>
                  <a:lnTo>
                    <a:pt x="1240420" y="1940007"/>
                  </a:lnTo>
                  <a:lnTo>
                    <a:pt x="1240420" y="1938186"/>
                  </a:lnTo>
                  <a:lnTo>
                    <a:pt x="1254992" y="1907221"/>
                  </a:lnTo>
                  <a:close/>
                  <a:moveTo>
                    <a:pt x="1367923" y="1870790"/>
                  </a:moveTo>
                  <a:lnTo>
                    <a:pt x="1386139" y="1870790"/>
                  </a:lnTo>
                  <a:lnTo>
                    <a:pt x="1391603" y="1881719"/>
                  </a:lnTo>
                  <a:lnTo>
                    <a:pt x="1391603" y="1883541"/>
                  </a:lnTo>
                  <a:lnTo>
                    <a:pt x="1384317" y="1889005"/>
                  </a:lnTo>
                  <a:lnTo>
                    <a:pt x="1380674" y="1889005"/>
                  </a:lnTo>
                  <a:lnTo>
                    <a:pt x="1367923" y="1872612"/>
                  </a:lnTo>
                  <a:close/>
                  <a:moveTo>
                    <a:pt x="1205812" y="1736002"/>
                  </a:moveTo>
                  <a:lnTo>
                    <a:pt x="1209455" y="1736002"/>
                  </a:lnTo>
                  <a:lnTo>
                    <a:pt x="1209455" y="1737824"/>
                  </a:lnTo>
                  <a:lnTo>
                    <a:pt x="1214919" y="1748752"/>
                  </a:lnTo>
                  <a:lnTo>
                    <a:pt x="1214919" y="1765146"/>
                  </a:lnTo>
                  <a:lnTo>
                    <a:pt x="1225848" y="1756038"/>
                  </a:lnTo>
                  <a:lnTo>
                    <a:pt x="1227670" y="1756038"/>
                  </a:lnTo>
                  <a:lnTo>
                    <a:pt x="1234956" y="1765146"/>
                  </a:lnTo>
                  <a:lnTo>
                    <a:pt x="1234956" y="1772432"/>
                  </a:lnTo>
                  <a:lnTo>
                    <a:pt x="1284135" y="1803397"/>
                  </a:lnTo>
                  <a:lnTo>
                    <a:pt x="1287778" y="1803397"/>
                  </a:lnTo>
                  <a:lnTo>
                    <a:pt x="1293243" y="1832540"/>
                  </a:lnTo>
                  <a:lnTo>
                    <a:pt x="1311457" y="1832540"/>
                  </a:lnTo>
                  <a:lnTo>
                    <a:pt x="1329672" y="1850755"/>
                  </a:lnTo>
                  <a:lnTo>
                    <a:pt x="1329672" y="1854398"/>
                  </a:lnTo>
                  <a:lnTo>
                    <a:pt x="1305993" y="1870791"/>
                  </a:lnTo>
                  <a:lnTo>
                    <a:pt x="1273206" y="1859862"/>
                  </a:lnTo>
                  <a:lnTo>
                    <a:pt x="1273206" y="1843469"/>
                  </a:lnTo>
                  <a:lnTo>
                    <a:pt x="1256813" y="1839826"/>
                  </a:lnTo>
                  <a:lnTo>
                    <a:pt x="1260456" y="1832540"/>
                  </a:lnTo>
                  <a:lnTo>
                    <a:pt x="1245884" y="1834362"/>
                  </a:lnTo>
                  <a:lnTo>
                    <a:pt x="1245884" y="1854398"/>
                  </a:lnTo>
                  <a:lnTo>
                    <a:pt x="1209455" y="1887184"/>
                  </a:lnTo>
                  <a:lnTo>
                    <a:pt x="1205812" y="1887184"/>
                  </a:lnTo>
                  <a:lnTo>
                    <a:pt x="1198526" y="1878077"/>
                  </a:lnTo>
                  <a:lnTo>
                    <a:pt x="1194883" y="1854398"/>
                  </a:lnTo>
                  <a:lnTo>
                    <a:pt x="1194883" y="1856219"/>
                  </a:lnTo>
                  <a:lnTo>
                    <a:pt x="1165740" y="1865326"/>
                  </a:lnTo>
                  <a:lnTo>
                    <a:pt x="1162097" y="1865326"/>
                  </a:lnTo>
                  <a:lnTo>
                    <a:pt x="1160275" y="1856219"/>
                  </a:lnTo>
                  <a:lnTo>
                    <a:pt x="1165740" y="1843469"/>
                  </a:lnTo>
                  <a:lnTo>
                    <a:pt x="1182133" y="1828897"/>
                  </a:lnTo>
                  <a:lnTo>
                    <a:pt x="1178490" y="1808861"/>
                  </a:lnTo>
                  <a:lnTo>
                    <a:pt x="1183954" y="1759681"/>
                  </a:lnTo>
                  <a:lnTo>
                    <a:pt x="1193062" y="1741467"/>
                  </a:lnTo>
                  <a:lnTo>
                    <a:pt x="1194883" y="1741467"/>
                  </a:lnTo>
                  <a:close/>
                  <a:moveTo>
                    <a:pt x="1225849" y="1719609"/>
                  </a:moveTo>
                  <a:lnTo>
                    <a:pt x="1227671" y="1719609"/>
                  </a:lnTo>
                  <a:lnTo>
                    <a:pt x="1240421" y="1730538"/>
                  </a:lnTo>
                  <a:lnTo>
                    <a:pt x="1254992" y="1748754"/>
                  </a:lnTo>
                  <a:lnTo>
                    <a:pt x="1254992" y="1750575"/>
                  </a:lnTo>
                  <a:lnTo>
                    <a:pt x="1251349" y="1750575"/>
                  </a:lnTo>
                  <a:lnTo>
                    <a:pt x="1234956" y="1741467"/>
                  </a:lnTo>
                  <a:lnTo>
                    <a:pt x="1225849" y="1721431"/>
                  </a:lnTo>
                  <a:close/>
                  <a:moveTo>
                    <a:pt x="1464463" y="1597570"/>
                  </a:moveTo>
                  <a:lnTo>
                    <a:pt x="1468106" y="1597570"/>
                  </a:lnTo>
                  <a:lnTo>
                    <a:pt x="1486321" y="1615786"/>
                  </a:lnTo>
                  <a:lnTo>
                    <a:pt x="1486321" y="1619429"/>
                  </a:lnTo>
                  <a:lnTo>
                    <a:pt x="1475392" y="1619429"/>
                  </a:lnTo>
                  <a:lnTo>
                    <a:pt x="1469927" y="1621250"/>
                  </a:lnTo>
                  <a:lnTo>
                    <a:pt x="1462641" y="1621250"/>
                  </a:lnTo>
                  <a:lnTo>
                    <a:pt x="1455355" y="1604856"/>
                  </a:lnTo>
                  <a:close/>
                  <a:moveTo>
                    <a:pt x="1173026" y="1586641"/>
                  </a:moveTo>
                  <a:lnTo>
                    <a:pt x="1176669" y="1588463"/>
                  </a:lnTo>
                  <a:lnTo>
                    <a:pt x="1176669" y="1621249"/>
                  </a:lnTo>
                  <a:lnTo>
                    <a:pt x="1165740" y="1613963"/>
                  </a:lnTo>
                  <a:lnTo>
                    <a:pt x="1165740" y="1588463"/>
                  </a:lnTo>
                  <a:close/>
                  <a:moveTo>
                    <a:pt x="1418924" y="1584820"/>
                  </a:moveTo>
                  <a:lnTo>
                    <a:pt x="1418924" y="1586642"/>
                  </a:lnTo>
                  <a:lnTo>
                    <a:pt x="1444425" y="1592106"/>
                  </a:lnTo>
                  <a:lnTo>
                    <a:pt x="1446246" y="1592106"/>
                  </a:lnTo>
                  <a:lnTo>
                    <a:pt x="1449889" y="1604856"/>
                  </a:lnTo>
                  <a:lnTo>
                    <a:pt x="1449889" y="1635821"/>
                  </a:lnTo>
                  <a:lnTo>
                    <a:pt x="1435317" y="1652215"/>
                  </a:lnTo>
                  <a:lnTo>
                    <a:pt x="1435317" y="1654036"/>
                  </a:lnTo>
                  <a:lnTo>
                    <a:pt x="1402531" y="1654036"/>
                  </a:lnTo>
                  <a:lnTo>
                    <a:pt x="1402531" y="1652215"/>
                  </a:lnTo>
                  <a:lnTo>
                    <a:pt x="1395245" y="1635821"/>
                  </a:lnTo>
                  <a:lnTo>
                    <a:pt x="1397067" y="1615785"/>
                  </a:lnTo>
                  <a:lnTo>
                    <a:pt x="1417103" y="1586642"/>
                  </a:lnTo>
                  <a:close/>
                  <a:moveTo>
                    <a:pt x="1360639" y="1524710"/>
                  </a:moveTo>
                  <a:lnTo>
                    <a:pt x="1362461" y="1524710"/>
                  </a:lnTo>
                  <a:lnTo>
                    <a:pt x="1367925" y="1530175"/>
                  </a:lnTo>
                  <a:lnTo>
                    <a:pt x="1367925" y="1531996"/>
                  </a:lnTo>
                  <a:lnTo>
                    <a:pt x="1360639" y="1542925"/>
                  </a:lnTo>
                  <a:lnTo>
                    <a:pt x="1346067" y="1552033"/>
                  </a:lnTo>
                  <a:lnTo>
                    <a:pt x="1346067" y="1548390"/>
                  </a:lnTo>
                  <a:close/>
                  <a:moveTo>
                    <a:pt x="0" y="1521068"/>
                  </a:moveTo>
                  <a:lnTo>
                    <a:pt x="1821" y="1521068"/>
                  </a:lnTo>
                  <a:lnTo>
                    <a:pt x="25501" y="1542926"/>
                  </a:lnTo>
                  <a:lnTo>
                    <a:pt x="23679" y="1542926"/>
                  </a:lnTo>
                  <a:lnTo>
                    <a:pt x="7286" y="1541105"/>
                  </a:lnTo>
                  <a:lnTo>
                    <a:pt x="5464" y="1541105"/>
                  </a:lnTo>
                  <a:lnTo>
                    <a:pt x="5464" y="1537462"/>
                  </a:lnTo>
                  <a:lnTo>
                    <a:pt x="0" y="1524711"/>
                  </a:lnTo>
                  <a:close/>
                  <a:moveTo>
                    <a:pt x="1318743" y="1486461"/>
                  </a:moveTo>
                  <a:lnTo>
                    <a:pt x="1327851" y="1486461"/>
                  </a:lnTo>
                  <a:lnTo>
                    <a:pt x="1346066" y="1490104"/>
                  </a:lnTo>
                  <a:lnTo>
                    <a:pt x="1346066" y="1491926"/>
                  </a:lnTo>
                  <a:lnTo>
                    <a:pt x="1333315" y="1501033"/>
                  </a:lnTo>
                  <a:lnTo>
                    <a:pt x="1333315" y="1511962"/>
                  </a:lnTo>
                  <a:lnTo>
                    <a:pt x="1329672" y="1511962"/>
                  </a:lnTo>
                  <a:lnTo>
                    <a:pt x="1318743" y="1490104"/>
                  </a:lnTo>
                  <a:close/>
                  <a:moveTo>
                    <a:pt x="34609" y="1486461"/>
                  </a:moveTo>
                  <a:lnTo>
                    <a:pt x="36430" y="1486461"/>
                  </a:lnTo>
                  <a:lnTo>
                    <a:pt x="36430" y="1490104"/>
                  </a:lnTo>
                  <a:lnTo>
                    <a:pt x="41895" y="1501033"/>
                  </a:lnTo>
                  <a:lnTo>
                    <a:pt x="51002" y="1501033"/>
                  </a:lnTo>
                  <a:lnTo>
                    <a:pt x="51002" y="1502854"/>
                  </a:lnTo>
                  <a:lnTo>
                    <a:pt x="30966" y="1535641"/>
                  </a:lnTo>
                  <a:lnTo>
                    <a:pt x="30966" y="1537462"/>
                  </a:lnTo>
                  <a:lnTo>
                    <a:pt x="29144" y="1537462"/>
                  </a:lnTo>
                  <a:lnTo>
                    <a:pt x="23680" y="1535641"/>
                  </a:lnTo>
                  <a:lnTo>
                    <a:pt x="23680" y="1531998"/>
                  </a:lnTo>
                  <a:lnTo>
                    <a:pt x="29144" y="1526533"/>
                  </a:lnTo>
                  <a:lnTo>
                    <a:pt x="20037" y="1526533"/>
                  </a:lnTo>
                  <a:lnTo>
                    <a:pt x="12751" y="1511962"/>
                  </a:lnTo>
                  <a:lnTo>
                    <a:pt x="12751" y="1508319"/>
                  </a:lnTo>
                  <a:lnTo>
                    <a:pt x="14572" y="1508319"/>
                  </a:lnTo>
                  <a:lnTo>
                    <a:pt x="23680" y="1511962"/>
                  </a:lnTo>
                  <a:lnTo>
                    <a:pt x="34609" y="1508319"/>
                  </a:lnTo>
                  <a:lnTo>
                    <a:pt x="30966" y="1502854"/>
                  </a:lnTo>
                  <a:lnTo>
                    <a:pt x="34609" y="1490104"/>
                  </a:lnTo>
                  <a:close/>
                  <a:moveTo>
                    <a:pt x="903448" y="1479175"/>
                  </a:moveTo>
                  <a:lnTo>
                    <a:pt x="907091" y="1479175"/>
                  </a:lnTo>
                  <a:lnTo>
                    <a:pt x="930770" y="1502854"/>
                  </a:lnTo>
                  <a:lnTo>
                    <a:pt x="965378" y="1553855"/>
                  </a:lnTo>
                  <a:lnTo>
                    <a:pt x="970842" y="1552034"/>
                  </a:lnTo>
                  <a:lnTo>
                    <a:pt x="947163" y="1575713"/>
                  </a:lnTo>
                  <a:lnTo>
                    <a:pt x="943520" y="1575713"/>
                  </a:lnTo>
                  <a:lnTo>
                    <a:pt x="868840" y="1548391"/>
                  </a:lnTo>
                  <a:lnTo>
                    <a:pt x="868840" y="1535641"/>
                  </a:lnTo>
                  <a:lnTo>
                    <a:pt x="892519" y="1519248"/>
                  </a:lnTo>
                  <a:lnTo>
                    <a:pt x="890698" y="1508319"/>
                  </a:lnTo>
                  <a:lnTo>
                    <a:pt x="890698" y="1506497"/>
                  </a:lnTo>
                  <a:lnTo>
                    <a:pt x="897983" y="1506497"/>
                  </a:lnTo>
                  <a:lnTo>
                    <a:pt x="896162" y="1502854"/>
                  </a:lnTo>
                  <a:lnTo>
                    <a:pt x="896162" y="1501033"/>
                  </a:lnTo>
                  <a:close/>
                  <a:moveTo>
                    <a:pt x="932592" y="1235099"/>
                  </a:moveTo>
                  <a:lnTo>
                    <a:pt x="938057" y="1249671"/>
                  </a:lnTo>
                  <a:lnTo>
                    <a:pt x="938057" y="1251493"/>
                  </a:lnTo>
                  <a:lnTo>
                    <a:pt x="936236" y="1251493"/>
                  </a:lnTo>
                  <a:lnTo>
                    <a:pt x="927128" y="1260600"/>
                  </a:lnTo>
                  <a:lnTo>
                    <a:pt x="921663" y="1240564"/>
                  </a:lnTo>
                  <a:close/>
                  <a:moveTo>
                    <a:pt x="506367" y="1216884"/>
                  </a:moveTo>
                  <a:lnTo>
                    <a:pt x="517296" y="1224170"/>
                  </a:lnTo>
                  <a:lnTo>
                    <a:pt x="520939" y="1224170"/>
                  </a:lnTo>
                  <a:lnTo>
                    <a:pt x="522761" y="1249671"/>
                  </a:lnTo>
                  <a:lnTo>
                    <a:pt x="511832" y="1280636"/>
                  </a:lnTo>
                  <a:lnTo>
                    <a:pt x="531868" y="1273350"/>
                  </a:lnTo>
                  <a:lnTo>
                    <a:pt x="531868" y="1255135"/>
                  </a:lnTo>
                  <a:lnTo>
                    <a:pt x="533689" y="1255135"/>
                  </a:lnTo>
                  <a:lnTo>
                    <a:pt x="544618" y="1246028"/>
                  </a:lnTo>
                  <a:lnTo>
                    <a:pt x="546440" y="1246028"/>
                  </a:lnTo>
                  <a:lnTo>
                    <a:pt x="588333" y="1273350"/>
                  </a:lnTo>
                  <a:lnTo>
                    <a:pt x="590155" y="1273350"/>
                  </a:lnTo>
                  <a:lnTo>
                    <a:pt x="588333" y="1276993"/>
                  </a:lnTo>
                  <a:lnTo>
                    <a:pt x="573762" y="1300672"/>
                  </a:lnTo>
                  <a:lnTo>
                    <a:pt x="617477" y="1280636"/>
                  </a:lnTo>
                  <a:lnTo>
                    <a:pt x="612012" y="1273350"/>
                  </a:lnTo>
                  <a:lnTo>
                    <a:pt x="615655" y="1271528"/>
                  </a:lnTo>
                  <a:lnTo>
                    <a:pt x="619298" y="1271528"/>
                  </a:lnTo>
                  <a:lnTo>
                    <a:pt x="604727" y="1249671"/>
                  </a:lnTo>
                  <a:lnTo>
                    <a:pt x="604727" y="1246028"/>
                  </a:lnTo>
                  <a:lnTo>
                    <a:pt x="606548" y="1246028"/>
                  </a:lnTo>
                  <a:lnTo>
                    <a:pt x="628406" y="1255135"/>
                  </a:lnTo>
                  <a:lnTo>
                    <a:pt x="652085" y="1284279"/>
                  </a:lnTo>
                  <a:lnTo>
                    <a:pt x="655728" y="1324351"/>
                  </a:lnTo>
                  <a:lnTo>
                    <a:pt x="661192" y="1329815"/>
                  </a:lnTo>
                  <a:lnTo>
                    <a:pt x="657549" y="1346209"/>
                  </a:lnTo>
                  <a:lnTo>
                    <a:pt x="663014" y="1351673"/>
                  </a:lnTo>
                  <a:lnTo>
                    <a:pt x="677585" y="1333458"/>
                  </a:lnTo>
                  <a:lnTo>
                    <a:pt x="668478" y="1307958"/>
                  </a:lnTo>
                  <a:lnTo>
                    <a:pt x="657549" y="1235099"/>
                  </a:lnTo>
                  <a:lnTo>
                    <a:pt x="661192" y="1235099"/>
                  </a:lnTo>
                  <a:lnTo>
                    <a:pt x="666657" y="1229634"/>
                  </a:lnTo>
                  <a:lnTo>
                    <a:pt x="663014" y="1222348"/>
                  </a:lnTo>
                  <a:lnTo>
                    <a:pt x="690336" y="1233277"/>
                  </a:lnTo>
                  <a:lnTo>
                    <a:pt x="690336" y="1224170"/>
                  </a:lnTo>
                  <a:lnTo>
                    <a:pt x="697622" y="1224170"/>
                  </a:lnTo>
                  <a:lnTo>
                    <a:pt x="728586" y="1262421"/>
                  </a:lnTo>
                  <a:lnTo>
                    <a:pt x="728586" y="1271528"/>
                  </a:lnTo>
                  <a:lnTo>
                    <a:pt x="734051" y="1278814"/>
                  </a:lnTo>
                  <a:lnTo>
                    <a:pt x="739515" y="1324351"/>
                  </a:lnTo>
                  <a:lnTo>
                    <a:pt x="752266" y="1357137"/>
                  </a:lnTo>
                  <a:lnTo>
                    <a:pt x="750444" y="1395388"/>
                  </a:lnTo>
                  <a:lnTo>
                    <a:pt x="775945" y="1428175"/>
                  </a:lnTo>
                  <a:lnTo>
                    <a:pt x="792338" y="1428175"/>
                  </a:lnTo>
                  <a:lnTo>
                    <a:pt x="823303" y="1459140"/>
                  </a:lnTo>
                  <a:lnTo>
                    <a:pt x="836053" y="1459140"/>
                  </a:lnTo>
                  <a:lnTo>
                    <a:pt x="839696" y="1470069"/>
                  </a:lnTo>
                  <a:lnTo>
                    <a:pt x="836053" y="1495569"/>
                  </a:lnTo>
                  <a:lnTo>
                    <a:pt x="834232" y="1497391"/>
                  </a:lnTo>
                  <a:lnTo>
                    <a:pt x="828767" y="1497391"/>
                  </a:lnTo>
                  <a:lnTo>
                    <a:pt x="825124" y="1495569"/>
                  </a:lnTo>
                  <a:lnTo>
                    <a:pt x="823303" y="1484641"/>
                  </a:lnTo>
                  <a:lnTo>
                    <a:pt x="819660" y="1495569"/>
                  </a:lnTo>
                  <a:lnTo>
                    <a:pt x="819660" y="1497391"/>
                  </a:lnTo>
                  <a:lnTo>
                    <a:pt x="812374" y="1495569"/>
                  </a:lnTo>
                  <a:lnTo>
                    <a:pt x="812374" y="1491926"/>
                  </a:lnTo>
                  <a:lnTo>
                    <a:pt x="806910" y="1480998"/>
                  </a:lnTo>
                  <a:lnTo>
                    <a:pt x="795981" y="1490105"/>
                  </a:lnTo>
                  <a:lnTo>
                    <a:pt x="797802" y="1502855"/>
                  </a:lnTo>
                  <a:lnTo>
                    <a:pt x="797802" y="1506498"/>
                  </a:lnTo>
                  <a:lnTo>
                    <a:pt x="792338" y="1506498"/>
                  </a:lnTo>
                  <a:lnTo>
                    <a:pt x="790516" y="1502855"/>
                  </a:lnTo>
                  <a:lnTo>
                    <a:pt x="785052" y="1502855"/>
                  </a:lnTo>
                  <a:lnTo>
                    <a:pt x="785052" y="1521070"/>
                  </a:lnTo>
                  <a:lnTo>
                    <a:pt x="806910" y="1506498"/>
                  </a:lnTo>
                  <a:lnTo>
                    <a:pt x="808731" y="1506498"/>
                  </a:lnTo>
                  <a:lnTo>
                    <a:pt x="812374" y="1508320"/>
                  </a:lnTo>
                  <a:lnTo>
                    <a:pt x="812374" y="1511963"/>
                  </a:lnTo>
                  <a:lnTo>
                    <a:pt x="806910" y="1524713"/>
                  </a:lnTo>
                  <a:lnTo>
                    <a:pt x="819660" y="1530177"/>
                  </a:lnTo>
                  <a:lnTo>
                    <a:pt x="823303" y="1530177"/>
                  </a:lnTo>
                  <a:lnTo>
                    <a:pt x="823303" y="1531999"/>
                  </a:lnTo>
                  <a:lnTo>
                    <a:pt x="786873" y="1557499"/>
                  </a:lnTo>
                  <a:lnTo>
                    <a:pt x="781409" y="1557499"/>
                  </a:lnTo>
                  <a:lnTo>
                    <a:pt x="768659" y="1553856"/>
                  </a:lnTo>
                  <a:lnTo>
                    <a:pt x="752266" y="1548392"/>
                  </a:lnTo>
                  <a:lnTo>
                    <a:pt x="739515" y="1546571"/>
                  </a:lnTo>
                  <a:lnTo>
                    <a:pt x="730408" y="1546571"/>
                  </a:lnTo>
                  <a:lnTo>
                    <a:pt x="730408" y="1542928"/>
                  </a:lnTo>
                  <a:lnTo>
                    <a:pt x="735872" y="1535642"/>
                  </a:lnTo>
                  <a:lnTo>
                    <a:pt x="706729" y="1526534"/>
                  </a:lnTo>
                  <a:lnTo>
                    <a:pt x="703086" y="1526534"/>
                  </a:lnTo>
                  <a:lnTo>
                    <a:pt x="703086" y="1513784"/>
                  </a:lnTo>
                  <a:lnTo>
                    <a:pt x="701264" y="1508320"/>
                  </a:lnTo>
                  <a:lnTo>
                    <a:pt x="683050" y="1541106"/>
                  </a:lnTo>
                  <a:lnTo>
                    <a:pt x="652085" y="1542928"/>
                  </a:lnTo>
                  <a:lnTo>
                    <a:pt x="630227" y="1564785"/>
                  </a:lnTo>
                  <a:lnTo>
                    <a:pt x="624763" y="1564785"/>
                  </a:lnTo>
                  <a:lnTo>
                    <a:pt x="606548" y="1568428"/>
                  </a:lnTo>
                  <a:lnTo>
                    <a:pt x="584690" y="1570250"/>
                  </a:lnTo>
                  <a:lnTo>
                    <a:pt x="546440" y="1575714"/>
                  </a:lnTo>
                  <a:lnTo>
                    <a:pt x="540975" y="1575714"/>
                  </a:lnTo>
                  <a:lnTo>
                    <a:pt x="540975" y="1573893"/>
                  </a:lnTo>
                  <a:lnTo>
                    <a:pt x="544618" y="1568428"/>
                  </a:lnTo>
                  <a:lnTo>
                    <a:pt x="533689" y="1559321"/>
                  </a:lnTo>
                  <a:lnTo>
                    <a:pt x="531868" y="1548392"/>
                  </a:lnTo>
                  <a:lnTo>
                    <a:pt x="531868" y="1537463"/>
                  </a:lnTo>
                  <a:lnTo>
                    <a:pt x="504546" y="1521070"/>
                  </a:lnTo>
                  <a:lnTo>
                    <a:pt x="460831" y="1511963"/>
                  </a:lnTo>
                  <a:lnTo>
                    <a:pt x="442616" y="1470069"/>
                  </a:lnTo>
                  <a:lnTo>
                    <a:pt x="515475" y="1448211"/>
                  </a:lnTo>
                  <a:lnTo>
                    <a:pt x="557368" y="1453675"/>
                  </a:lnTo>
                  <a:lnTo>
                    <a:pt x="566476" y="1442747"/>
                  </a:lnTo>
                  <a:lnTo>
                    <a:pt x="526403" y="1424532"/>
                  </a:lnTo>
                  <a:lnTo>
                    <a:pt x="489974" y="1437282"/>
                  </a:lnTo>
                  <a:lnTo>
                    <a:pt x="438973" y="1429996"/>
                  </a:lnTo>
                  <a:lnTo>
                    <a:pt x="437151" y="1429996"/>
                  </a:lnTo>
                  <a:lnTo>
                    <a:pt x="420758" y="1400853"/>
                  </a:lnTo>
                  <a:lnTo>
                    <a:pt x="420758" y="1397210"/>
                  </a:lnTo>
                  <a:lnTo>
                    <a:pt x="422580" y="1397210"/>
                  </a:lnTo>
                  <a:lnTo>
                    <a:pt x="477224" y="1375352"/>
                  </a:lnTo>
                  <a:lnTo>
                    <a:pt x="473581" y="1369888"/>
                  </a:lnTo>
                  <a:lnTo>
                    <a:pt x="479045" y="1364423"/>
                  </a:lnTo>
                  <a:lnTo>
                    <a:pt x="473581" y="1364423"/>
                  </a:lnTo>
                  <a:lnTo>
                    <a:pt x="460831" y="1368066"/>
                  </a:lnTo>
                  <a:lnTo>
                    <a:pt x="444437" y="1373531"/>
                  </a:lnTo>
                  <a:lnTo>
                    <a:pt x="431687" y="1375352"/>
                  </a:lnTo>
                  <a:lnTo>
                    <a:pt x="422580" y="1375352"/>
                  </a:lnTo>
                  <a:lnTo>
                    <a:pt x="420758" y="1369888"/>
                  </a:lnTo>
                  <a:lnTo>
                    <a:pt x="420758" y="1368066"/>
                  </a:lnTo>
                  <a:lnTo>
                    <a:pt x="422580" y="1368066"/>
                  </a:lnTo>
                  <a:lnTo>
                    <a:pt x="431687" y="1362602"/>
                  </a:lnTo>
                  <a:lnTo>
                    <a:pt x="431687" y="1355316"/>
                  </a:lnTo>
                  <a:lnTo>
                    <a:pt x="417115" y="1355316"/>
                  </a:lnTo>
                  <a:lnTo>
                    <a:pt x="411651" y="1357137"/>
                  </a:lnTo>
                  <a:lnTo>
                    <a:pt x="406187" y="1357137"/>
                  </a:lnTo>
                  <a:lnTo>
                    <a:pt x="406187" y="1355316"/>
                  </a:lnTo>
                  <a:lnTo>
                    <a:pt x="404365" y="1338923"/>
                  </a:lnTo>
                  <a:lnTo>
                    <a:pt x="426223" y="1307958"/>
                  </a:lnTo>
                  <a:lnTo>
                    <a:pt x="417115" y="1300672"/>
                  </a:lnTo>
                  <a:lnTo>
                    <a:pt x="417115" y="1297029"/>
                  </a:lnTo>
                  <a:lnTo>
                    <a:pt x="422580" y="1276993"/>
                  </a:lnTo>
                  <a:close/>
                  <a:moveTo>
                    <a:pt x="1311456" y="1198669"/>
                  </a:moveTo>
                  <a:lnTo>
                    <a:pt x="1356993" y="1198669"/>
                  </a:lnTo>
                  <a:lnTo>
                    <a:pt x="1395244" y="1207777"/>
                  </a:lnTo>
                  <a:lnTo>
                    <a:pt x="1397065" y="1207777"/>
                  </a:lnTo>
                  <a:lnTo>
                    <a:pt x="1424387" y="1256957"/>
                  </a:lnTo>
                  <a:lnTo>
                    <a:pt x="1428030" y="1256957"/>
                  </a:lnTo>
                  <a:lnTo>
                    <a:pt x="1428030" y="1260600"/>
                  </a:lnTo>
                  <a:lnTo>
                    <a:pt x="1418923" y="1260600"/>
                  </a:lnTo>
                  <a:lnTo>
                    <a:pt x="1402530" y="1262421"/>
                  </a:lnTo>
                  <a:lnTo>
                    <a:pt x="1384315" y="1266064"/>
                  </a:lnTo>
                  <a:lnTo>
                    <a:pt x="1367922" y="1271529"/>
                  </a:lnTo>
                  <a:lnTo>
                    <a:pt x="1351528" y="1273350"/>
                  </a:lnTo>
                  <a:lnTo>
                    <a:pt x="1346064" y="1273350"/>
                  </a:lnTo>
                  <a:lnTo>
                    <a:pt x="1329671" y="1262421"/>
                  </a:lnTo>
                  <a:lnTo>
                    <a:pt x="1329671" y="1260600"/>
                  </a:lnTo>
                  <a:lnTo>
                    <a:pt x="1324206" y="1235099"/>
                  </a:lnTo>
                  <a:lnTo>
                    <a:pt x="1307813" y="1222348"/>
                  </a:lnTo>
                  <a:close/>
                  <a:moveTo>
                    <a:pt x="701265" y="1187742"/>
                  </a:moveTo>
                  <a:lnTo>
                    <a:pt x="719480" y="1187742"/>
                  </a:lnTo>
                  <a:lnTo>
                    <a:pt x="724944" y="1189564"/>
                  </a:lnTo>
                  <a:lnTo>
                    <a:pt x="744981" y="1189564"/>
                  </a:lnTo>
                  <a:lnTo>
                    <a:pt x="750445" y="1200492"/>
                  </a:lnTo>
                  <a:lnTo>
                    <a:pt x="750445" y="1202314"/>
                  </a:lnTo>
                  <a:lnTo>
                    <a:pt x="739516" y="1240565"/>
                  </a:lnTo>
                  <a:lnTo>
                    <a:pt x="730409" y="1256958"/>
                  </a:lnTo>
                  <a:lnTo>
                    <a:pt x="728587" y="1256958"/>
                  </a:lnTo>
                  <a:lnTo>
                    <a:pt x="688515" y="1211421"/>
                  </a:lnTo>
                  <a:lnTo>
                    <a:pt x="688515" y="1207778"/>
                  </a:lnTo>
                  <a:close/>
                  <a:moveTo>
                    <a:pt x="1151166" y="1187739"/>
                  </a:moveTo>
                  <a:lnTo>
                    <a:pt x="1214917" y="1187739"/>
                  </a:lnTo>
                  <a:lnTo>
                    <a:pt x="1183952" y="1235097"/>
                  </a:lnTo>
                  <a:lnTo>
                    <a:pt x="1173023" y="1278813"/>
                  </a:lnTo>
                  <a:lnTo>
                    <a:pt x="1182131" y="1297027"/>
                  </a:lnTo>
                  <a:lnTo>
                    <a:pt x="1176666" y="1324349"/>
                  </a:lnTo>
                  <a:lnTo>
                    <a:pt x="1182131" y="1335278"/>
                  </a:lnTo>
                  <a:lnTo>
                    <a:pt x="1214917" y="1380815"/>
                  </a:lnTo>
                  <a:lnTo>
                    <a:pt x="1183952" y="1395387"/>
                  </a:lnTo>
                  <a:lnTo>
                    <a:pt x="1209453" y="1389922"/>
                  </a:lnTo>
                  <a:lnTo>
                    <a:pt x="1211274" y="1389922"/>
                  </a:lnTo>
                  <a:lnTo>
                    <a:pt x="1211274" y="1391744"/>
                  </a:lnTo>
                  <a:lnTo>
                    <a:pt x="1214917" y="1400851"/>
                  </a:lnTo>
                  <a:lnTo>
                    <a:pt x="1214917" y="1397208"/>
                  </a:lnTo>
                  <a:lnTo>
                    <a:pt x="1216738" y="1357136"/>
                  </a:lnTo>
                  <a:lnTo>
                    <a:pt x="1203988" y="1351671"/>
                  </a:lnTo>
                  <a:lnTo>
                    <a:pt x="1200345" y="1351671"/>
                  </a:lnTo>
                  <a:lnTo>
                    <a:pt x="1187595" y="1329814"/>
                  </a:lnTo>
                  <a:lnTo>
                    <a:pt x="1187595" y="1327992"/>
                  </a:lnTo>
                  <a:lnTo>
                    <a:pt x="1211274" y="1300670"/>
                  </a:lnTo>
                  <a:lnTo>
                    <a:pt x="1198524" y="1295206"/>
                  </a:lnTo>
                  <a:lnTo>
                    <a:pt x="1193059" y="1260598"/>
                  </a:lnTo>
                  <a:lnTo>
                    <a:pt x="1193059" y="1256955"/>
                  </a:lnTo>
                  <a:lnTo>
                    <a:pt x="1194881" y="1256955"/>
                  </a:lnTo>
                  <a:lnTo>
                    <a:pt x="1227667" y="1266062"/>
                  </a:lnTo>
                  <a:lnTo>
                    <a:pt x="1198524" y="1244205"/>
                  </a:lnTo>
                  <a:lnTo>
                    <a:pt x="1198524" y="1240562"/>
                  </a:lnTo>
                  <a:lnTo>
                    <a:pt x="1211274" y="1240562"/>
                  </a:lnTo>
                  <a:lnTo>
                    <a:pt x="1216738" y="1244205"/>
                  </a:lnTo>
                  <a:lnTo>
                    <a:pt x="1229489" y="1244205"/>
                  </a:lnTo>
                  <a:lnTo>
                    <a:pt x="1214917" y="1235097"/>
                  </a:lnTo>
                  <a:lnTo>
                    <a:pt x="1209453" y="1229633"/>
                  </a:lnTo>
                  <a:lnTo>
                    <a:pt x="1209453" y="1222347"/>
                  </a:lnTo>
                  <a:lnTo>
                    <a:pt x="1211274" y="1222347"/>
                  </a:lnTo>
                  <a:lnTo>
                    <a:pt x="1225846" y="1227811"/>
                  </a:lnTo>
                  <a:lnTo>
                    <a:pt x="1222203" y="1213240"/>
                  </a:lnTo>
                  <a:lnTo>
                    <a:pt x="1225846" y="1213240"/>
                  </a:lnTo>
                  <a:lnTo>
                    <a:pt x="1244061" y="1222347"/>
                  </a:lnTo>
                  <a:lnTo>
                    <a:pt x="1244061" y="1216882"/>
                  </a:lnTo>
                  <a:lnTo>
                    <a:pt x="1234953" y="1211418"/>
                  </a:lnTo>
                  <a:lnTo>
                    <a:pt x="1234953" y="1207775"/>
                  </a:lnTo>
                  <a:lnTo>
                    <a:pt x="1244061" y="1200489"/>
                  </a:lnTo>
                  <a:lnTo>
                    <a:pt x="1295062" y="1187739"/>
                  </a:lnTo>
                  <a:lnTo>
                    <a:pt x="1302348" y="1222347"/>
                  </a:lnTo>
                  <a:lnTo>
                    <a:pt x="1298705" y="1229633"/>
                  </a:lnTo>
                  <a:lnTo>
                    <a:pt x="1316919" y="1240562"/>
                  </a:lnTo>
                  <a:lnTo>
                    <a:pt x="1316919" y="1244205"/>
                  </a:lnTo>
                  <a:lnTo>
                    <a:pt x="1313276" y="1256955"/>
                  </a:lnTo>
                  <a:lnTo>
                    <a:pt x="1322384" y="1271527"/>
                  </a:lnTo>
                  <a:lnTo>
                    <a:pt x="1324205" y="1271527"/>
                  </a:lnTo>
                  <a:lnTo>
                    <a:pt x="1324205" y="1273348"/>
                  </a:lnTo>
                  <a:lnTo>
                    <a:pt x="1311455" y="1313421"/>
                  </a:lnTo>
                  <a:lnTo>
                    <a:pt x="1316919" y="1318885"/>
                  </a:lnTo>
                  <a:lnTo>
                    <a:pt x="1316919" y="1322528"/>
                  </a:lnTo>
                  <a:lnTo>
                    <a:pt x="1307812" y="1324349"/>
                  </a:lnTo>
                  <a:lnTo>
                    <a:pt x="1307812" y="1333457"/>
                  </a:lnTo>
                  <a:lnTo>
                    <a:pt x="1327848" y="1311599"/>
                  </a:lnTo>
                  <a:lnTo>
                    <a:pt x="1333313" y="1286098"/>
                  </a:lnTo>
                  <a:lnTo>
                    <a:pt x="1335134" y="1286098"/>
                  </a:lnTo>
                  <a:lnTo>
                    <a:pt x="1335134" y="1300670"/>
                  </a:lnTo>
                  <a:lnTo>
                    <a:pt x="1355170" y="1307956"/>
                  </a:lnTo>
                  <a:lnTo>
                    <a:pt x="1367920" y="1297027"/>
                  </a:lnTo>
                  <a:lnTo>
                    <a:pt x="1362456" y="1286098"/>
                  </a:lnTo>
                  <a:lnTo>
                    <a:pt x="1362456" y="1284277"/>
                  </a:lnTo>
                  <a:lnTo>
                    <a:pt x="1386135" y="1271527"/>
                  </a:lnTo>
                  <a:lnTo>
                    <a:pt x="1386135" y="1267884"/>
                  </a:lnTo>
                  <a:lnTo>
                    <a:pt x="1389778" y="1267884"/>
                  </a:lnTo>
                  <a:lnTo>
                    <a:pt x="1435315" y="1280634"/>
                  </a:lnTo>
                  <a:lnTo>
                    <a:pt x="1451708" y="1302492"/>
                  </a:lnTo>
                  <a:lnTo>
                    <a:pt x="1451708" y="1306135"/>
                  </a:lnTo>
                  <a:lnTo>
                    <a:pt x="1449887" y="1318885"/>
                  </a:lnTo>
                  <a:lnTo>
                    <a:pt x="1468101" y="1322528"/>
                  </a:lnTo>
                  <a:lnTo>
                    <a:pt x="1468101" y="1340743"/>
                  </a:lnTo>
                  <a:lnTo>
                    <a:pt x="1455351" y="1349850"/>
                  </a:lnTo>
                  <a:lnTo>
                    <a:pt x="1484495" y="1344386"/>
                  </a:lnTo>
                  <a:lnTo>
                    <a:pt x="1486316" y="1344386"/>
                  </a:lnTo>
                  <a:lnTo>
                    <a:pt x="1475387" y="1364422"/>
                  </a:lnTo>
                  <a:lnTo>
                    <a:pt x="1484495" y="1358957"/>
                  </a:lnTo>
                  <a:lnTo>
                    <a:pt x="1484495" y="1369886"/>
                  </a:lnTo>
                  <a:lnTo>
                    <a:pt x="1489959" y="1375351"/>
                  </a:lnTo>
                  <a:lnTo>
                    <a:pt x="1489959" y="1362600"/>
                  </a:lnTo>
                  <a:lnTo>
                    <a:pt x="1500888" y="1362600"/>
                  </a:lnTo>
                  <a:lnTo>
                    <a:pt x="1508174" y="1349850"/>
                  </a:lnTo>
                  <a:lnTo>
                    <a:pt x="1511817" y="1349850"/>
                  </a:lnTo>
                  <a:lnTo>
                    <a:pt x="1537317" y="1364422"/>
                  </a:lnTo>
                  <a:lnTo>
                    <a:pt x="1546424" y="1386279"/>
                  </a:lnTo>
                  <a:lnTo>
                    <a:pt x="1542782" y="1391744"/>
                  </a:lnTo>
                  <a:lnTo>
                    <a:pt x="1542782" y="1395387"/>
                  </a:lnTo>
                  <a:lnTo>
                    <a:pt x="1530031" y="1397208"/>
                  </a:lnTo>
                  <a:lnTo>
                    <a:pt x="1557353" y="1397208"/>
                  </a:lnTo>
                  <a:lnTo>
                    <a:pt x="1557353" y="1400851"/>
                  </a:lnTo>
                  <a:lnTo>
                    <a:pt x="1559175" y="1408137"/>
                  </a:lnTo>
                  <a:lnTo>
                    <a:pt x="1551889" y="1424530"/>
                  </a:lnTo>
                  <a:lnTo>
                    <a:pt x="1573747" y="1413601"/>
                  </a:lnTo>
                  <a:lnTo>
                    <a:pt x="1573747" y="1417244"/>
                  </a:lnTo>
                  <a:lnTo>
                    <a:pt x="1564639" y="1433638"/>
                  </a:lnTo>
                  <a:lnTo>
                    <a:pt x="1581032" y="1419066"/>
                  </a:lnTo>
                  <a:lnTo>
                    <a:pt x="1608354" y="1429995"/>
                  </a:lnTo>
                  <a:lnTo>
                    <a:pt x="1608354" y="1448209"/>
                  </a:lnTo>
                  <a:lnTo>
                    <a:pt x="1606533" y="1448209"/>
                  </a:lnTo>
                  <a:lnTo>
                    <a:pt x="1584675" y="1462781"/>
                  </a:lnTo>
                  <a:lnTo>
                    <a:pt x="1590140" y="1462781"/>
                  </a:lnTo>
                  <a:lnTo>
                    <a:pt x="1597426" y="1459138"/>
                  </a:lnTo>
                  <a:lnTo>
                    <a:pt x="1606533" y="1459138"/>
                  </a:lnTo>
                  <a:lnTo>
                    <a:pt x="1606533" y="1462781"/>
                  </a:lnTo>
                  <a:lnTo>
                    <a:pt x="1597426" y="1473710"/>
                  </a:lnTo>
                  <a:lnTo>
                    <a:pt x="1610176" y="1464603"/>
                  </a:lnTo>
                  <a:lnTo>
                    <a:pt x="1613819" y="1453674"/>
                  </a:lnTo>
                  <a:lnTo>
                    <a:pt x="1613819" y="1451852"/>
                  </a:lnTo>
                  <a:lnTo>
                    <a:pt x="1615640" y="1451852"/>
                  </a:lnTo>
                  <a:lnTo>
                    <a:pt x="1615640" y="1453674"/>
                  </a:lnTo>
                  <a:lnTo>
                    <a:pt x="1637498" y="1479174"/>
                  </a:lnTo>
                  <a:lnTo>
                    <a:pt x="1641141" y="1484639"/>
                  </a:lnTo>
                  <a:lnTo>
                    <a:pt x="1641141" y="1486460"/>
                  </a:lnTo>
                  <a:lnTo>
                    <a:pt x="1637498" y="1491925"/>
                  </a:lnTo>
                  <a:lnTo>
                    <a:pt x="1602890" y="1506496"/>
                  </a:lnTo>
                  <a:lnTo>
                    <a:pt x="1653891" y="1521068"/>
                  </a:lnTo>
                  <a:lnTo>
                    <a:pt x="1653891" y="1524711"/>
                  </a:lnTo>
                  <a:lnTo>
                    <a:pt x="1608354" y="1530176"/>
                  </a:lnTo>
                  <a:lnTo>
                    <a:pt x="1624748" y="1541104"/>
                  </a:lnTo>
                  <a:lnTo>
                    <a:pt x="1615640" y="1548390"/>
                  </a:lnTo>
                  <a:lnTo>
                    <a:pt x="1626569" y="1562962"/>
                  </a:lnTo>
                  <a:lnTo>
                    <a:pt x="1624748" y="1562962"/>
                  </a:lnTo>
                  <a:lnTo>
                    <a:pt x="1624748" y="1564783"/>
                  </a:lnTo>
                  <a:lnTo>
                    <a:pt x="1613819" y="1568426"/>
                  </a:lnTo>
                  <a:lnTo>
                    <a:pt x="1648427" y="1581177"/>
                  </a:lnTo>
                  <a:lnTo>
                    <a:pt x="1652070" y="1581177"/>
                  </a:lnTo>
                  <a:lnTo>
                    <a:pt x="1646605" y="1592106"/>
                  </a:lnTo>
                  <a:lnTo>
                    <a:pt x="1662999" y="1592106"/>
                  </a:lnTo>
                  <a:lnTo>
                    <a:pt x="1664820" y="1597570"/>
                  </a:lnTo>
                  <a:lnTo>
                    <a:pt x="1664820" y="1599391"/>
                  </a:lnTo>
                  <a:lnTo>
                    <a:pt x="1662999" y="1604856"/>
                  </a:lnTo>
                  <a:lnTo>
                    <a:pt x="1668463" y="1610320"/>
                  </a:lnTo>
                  <a:lnTo>
                    <a:pt x="1688499" y="1603034"/>
                  </a:lnTo>
                  <a:lnTo>
                    <a:pt x="1692142" y="1603034"/>
                  </a:lnTo>
                  <a:lnTo>
                    <a:pt x="1688499" y="1615785"/>
                  </a:lnTo>
                  <a:lnTo>
                    <a:pt x="1703071" y="1619428"/>
                  </a:lnTo>
                  <a:lnTo>
                    <a:pt x="1715821" y="1643107"/>
                  </a:lnTo>
                  <a:lnTo>
                    <a:pt x="1715821" y="1646750"/>
                  </a:lnTo>
                  <a:lnTo>
                    <a:pt x="1710357" y="1654036"/>
                  </a:lnTo>
                  <a:lnTo>
                    <a:pt x="1719464" y="1654036"/>
                  </a:lnTo>
                  <a:lnTo>
                    <a:pt x="1724929" y="1652214"/>
                  </a:lnTo>
                  <a:lnTo>
                    <a:pt x="1737679" y="1652214"/>
                  </a:lnTo>
                  <a:lnTo>
                    <a:pt x="1732214" y="1672250"/>
                  </a:lnTo>
                  <a:lnTo>
                    <a:pt x="1757715" y="1666786"/>
                  </a:lnTo>
                  <a:lnTo>
                    <a:pt x="1775930" y="1692286"/>
                  </a:lnTo>
                  <a:lnTo>
                    <a:pt x="1777751" y="1692286"/>
                  </a:lnTo>
                  <a:lnTo>
                    <a:pt x="1775930" y="1694108"/>
                  </a:lnTo>
                  <a:lnTo>
                    <a:pt x="1770465" y="1705037"/>
                  </a:lnTo>
                  <a:lnTo>
                    <a:pt x="1772287" y="1708680"/>
                  </a:lnTo>
                  <a:lnTo>
                    <a:pt x="1772287" y="1710501"/>
                  </a:lnTo>
                  <a:lnTo>
                    <a:pt x="1770465" y="1714144"/>
                  </a:lnTo>
                  <a:lnTo>
                    <a:pt x="1754072" y="1714144"/>
                  </a:lnTo>
                  <a:lnTo>
                    <a:pt x="1748608" y="1725073"/>
                  </a:lnTo>
                  <a:lnTo>
                    <a:pt x="1759536" y="1725073"/>
                  </a:lnTo>
                  <a:lnTo>
                    <a:pt x="1761358" y="1726894"/>
                  </a:lnTo>
                  <a:lnTo>
                    <a:pt x="1759536" y="1726894"/>
                  </a:lnTo>
                  <a:lnTo>
                    <a:pt x="1752251" y="1732359"/>
                  </a:lnTo>
                  <a:lnTo>
                    <a:pt x="1746786" y="1754216"/>
                  </a:lnTo>
                  <a:lnTo>
                    <a:pt x="1743143" y="1754216"/>
                  </a:lnTo>
                  <a:lnTo>
                    <a:pt x="1730393" y="1745109"/>
                  </a:lnTo>
                  <a:lnTo>
                    <a:pt x="1732214" y="1766967"/>
                  </a:lnTo>
                  <a:lnTo>
                    <a:pt x="1724929" y="1792467"/>
                  </a:lnTo>
                  <a:lnTo>
                    <a:pt x="1721286" y="1792467"/>
                  </a:lnTo>
                  <a:lnTo>
                    <a:pt x="1708535" y="1772431"/>
                  </a:lnTo>
                  <a:lnTo>
                    <a:pt x="1699428" y="1776074"/>
                  </a:lnTo>
                  <a:lnTo>
                    <a:pt x="1693964" y="1770610"/>
                  </a:lnTo>
                  <a:lnTo>
                    <a:pt x="1693964" y="1759681"/>
                  </a:lnTo>
                  <a:lnTo>
                    <a:pt x="1692142" y="1761502"/>
                  </a:lnTo>
                  <a:lnTo>
                    <a:pt x="1688499" y="1761502"/>
                  </a:lnTo>
                  <a:lnTo>
                    <a:pt x="1681213" y="1745109"/>
                  </a:lnTo>
                  <a:lnTo>
                    <a:pt x="1681213" y="1730537"/>
                  </a:lnTo>
                  <a:lnTo>
                    <a:pt x="1675749" y="1730537"/>
                  </a:lnTo>
                  <a:lnTo>
                    <a:pt x="1673927" y="1732359"/>
                  </a:lnTo>
                  <a:lnTo>
                    <a:pt x="1668463" y="1732359"/>
                  </a:lnTo>
                  <a:lnTo>
                    <a:pt x="1668463" y="1730537"/>
                  </a:lnTo>
                  <a:lnTo>
                    <a:pt x="1664820" y="1721430"/>
                  </a:lnTo>
                  <a:lnTo>
                    <a:pt x="1642962" y="1710501"/>
                  </a:lnTo>
                  <a:lnTo>
                    <a:pt x="1641141" y="1708680"/>
                  </a:lnTo>
                  <a:lnTo>
                    <a:pt x="1642962" y="1697751"/>
                  </a:lnTo>
                  <a:lnTo>
                    <a:pt x="1632034" y="1697751"/>
                  </a:lnTo>
                  <a:lnTo>
                    <a:pt x="1637498" y="1708680"/>
                  </a:lnTo>
                  <a:lnTo>
                    <a:pt x="1637498" y="1710501"/>
                  </a:lnTo>
                  <a:lnTo>
                    <a:pt x="1635677" y="1710501"/>
                  </a:lnTo>
                  <a:lnTo>
                    <a:pt x="1624748" y="1703215"/>
                  </a:lnTo>
                  <a:lnTo>
                    <a:pt x="1615640" y="1705037"/>
                  </a:lnTo>
                  <a:lnTo>
                    <a:pt x="1641141" y="1730537"/>
                  </a:lnTo>
                  <a:lnTo>
                    <a:pt x="1641141" y="1732359"/>
                  </a:lnTo>
                  <a:lnTo>
                    <a:pt x="1621105" y="1736002"/>
                  </a:lnTo>
                  <a:lnTo>
                    <a:pt x="1621105" y="1748752"/>
                  </a:lnTo>
                  <a:lnTo>
                    <a:pt x="1637498" y="1748752"/>
                  </a:lnTo>
                  <a:lnTo>
                    <a:pt x="1637498" y="1770610"/>
                  </a:lnTo>
                  <a:lnTo>
                    <a:pt x="1642962" y="1772431"/>
                  </a:lnTo>
                  <a:lnTo>
                    <a:pt x="1648427" y="1792467"/>
                  </a:lnTo>
                  <a:lnTo>
                    <a:pt x="1652070" y="1788824"/>
                  </a:lnTo>
                  <a:lnTo>
                    <a:pt x="1664820" y="1788824"/>
                  </a:lnTo>
                  <a:lnTo>
                    <a:pt x="1662999" y="1794289"/>
                  </a:lnTo>
                  <a:lnTo>
                    <a:pt x="1673927" y="1792467"/>
                  </a:lnTo>
                  <a:lnTo>
                    <a:pt x="1675749" y="1792467"/>
                  </a:lnTo>
                  <a:lnTo>
                    <a:pt x="1675749" y="1803396"/>
                  </a:lnTo>
                  <a:lnTo>
                    <a:pt x="1681213" y="1799753"/>
                  </a:lnTo>
                  <a:lnTo>
                    <a:pt x="1692142" y="1808860"/>
                  </a:lnTo>
                  <a:lnTo>
                    <a:pt x="1686678" y="1832540"/>
                  </a:lnTo>
                  <a:lnTo>
                    <a:pt x="1699428" y="1838004"/>
                  </a:lnTo>
                  <a:lnTo>
                    <a:pt x="1704892" y="1854397"/>
                  </a:lnTo>
                  <a:lnTo>
                    <a:pt x="1703071" y="1878076"/>
                  </a:lnTo>
                  <a:lnTo>
                    <a:pt x="1699428" y="1878076"/>
                  </a:lnTo>
                  <a:lnTo>
                    <a:pt x="1692142" y="1872612"/>
                  </a:lnTo>
                  <a:lnTo>
                    <a:pt x="1692142" y="1878076"/>
                  </a:lnTo>
                  <a:lnTo>
                    <a:pt x="1699428" y="1889005"/>
                  </a:lnTo>
                  <a:lnTo>
                    <a:pt x="1703071" y="1899934"/>
                  </a:lnTo>
                  <a:lnTo>
                    <a:pt x="1703071" y="1901755"/>
                  </a:lnTo>
                  <a:lnTo>
                    <a:pt x="1699428" y="1901755"/>
                  </a:lnTo>
                  <a:lnTo>
                    <a:pt x="1697606" y="1899934"/>
                  </a:lnTo>
                  <a:lnTo>
                    <a:pt x="1692142" y="1899934"/>
                  </a:lnTo>
                  <a:lnTo>
                    <a:pt x="1697606" y="1912684"/>
                  </a:lnTo>
                  <a:lnTo>
                    <a:pt x="1697606" y="1916327"/>
                  </a:lnTo>
                  <a:lnTo>
                    <a:pt x="1693964" y="1918149"/>
                  </a:lnTo>
                  <a:lnTo>
                    <a:pt x="1692142" y="1918149"/>
                  </a:lnTo>
                  <a:lnTo>
                    <a:pt x="1679392" y="1894470"/>
                  </a:lnTo>
                  <a:lnTo>
                    <a:pt x="1648427" y="1892648"/>
                  </a:lnTo>
                  <a:lnTo>
                    <a:pt x="1626569" y="1865326"/>
                  </a:lnTo>
                  <a:lnTo>
                    <a:pt x="1619283" y="1870790"/>
                  </a:lnTo>
                  <a:lnTo>
                    <a:pt x="1615640" y="1870790"/>
                  </a:lnTo>
                  <a:lnTo>
                    <a:pt x="1602890" y="1854397"/>
                  </a:lnTo>
                  <a:lnTo>
                    <a:pt x="1601069" y="1854397"/>
                  </a:lnTo>
                  <a:lnTo>
                    <a:pt x="1606533" y="1861683"/>
                  </a:lnTo>
                  <a:lnTo>
                    <a:pt x="1626569" y="1892648"/>
                  </a:lnTo>
                  <a:lnTo>
                    <a:pt x="1664820" y="1927256"/>
                  </a:lnTo>
                  <a:lnTo>
                    <a:pt x="1668463" y="1949114"/>
                  </a:lnTo>
                  <a:lnTo>
                    <a:pt x="1668463" y="1950935"/>
                  </a:lnTo>
                  <a:lnTo>
                    <a:pt x="1657534" y="1950935"/>
                  </a:lnTo>
                  <a:lnTo>
                    <a:pt x="1646605" y="1940006"/>
                  </a:lnTo>
                  <a:lnTo>
                    <a:pt x="1635677" y="1943649"/>
                  </a:lnTo>
                  <a:lnTo>
                    <a:pt x="1606533" y="1932720"/>
                  </a:lnTo>
                  <a:lnTo>
                    <a:pt x="1601069" y="1921792"/>
                  </a:lnTo>
                  <a:lnTo>
                    <a:pt x="1595604" y="1923613"/>
                  </a:lnTo>
                  <a:lnTo>
                    <a:pt x="1591961" y="1923613"/>
                  </a:lnTo>
                  <a:lnTo>
                    <a:pt x="1584675" y="1905398"/>
                  </a:lnTo>
                  <a:lnTo>
                    <a:pt x="1575568" y="1907220"/>
                  </a:lnTo>
                  <a:lnTo>
                    <a:pt x="1573747" y="1907220"/>
                  </a:lnTo>
                  <a:lnTo>
                    <a:pt x="1573747" y="1899934"/>
                  </a:lnTo>
                  <a:lnTo>
                    <a:pt x="1564639" y="1905398"/>
                  </a:lnTo>
                  <a:lnTo>
                    <a:pt x="1562818" y="1905398"/>
                  </a:lnTo>
                  <a:lnTo>
                    <a:pt x="1540960" y="1894470"/>
                  </a:lnTo>
                  <a:lnTo>
                    <a:pt x="1519102" y="1865326"/>
                  </a:lnTo>
                  <a:lnTo>
                    <a:pt x="1519102" y="1861683"/>
                  </a:lnTo>
                  <a:lnTo>
                    <a:pt x="1522745" y="1861683"/>
                  </a:lnTo>
                  <a:lnTo>
                    <a:pt x="1528210" y="1867148"/>
                  </a:lnTo>
                  <a:lnTo>
                    <a:pt x="1535496" y="1861683"/>
                  </a:lnTo>
                  <a:lnTo>
                    <a:pt x="1500888" y="1843468"/>
                  </a:lnTo>
                  <a:lnTo>
                    <a:pt x="1484495" y="1808860"/>
                  </a:lnTo>
                  <a:lnTo>
                    <a:pt x="1458994" y="1803396"/>
                  </a:lnTo>
                  <a:lnTo>
                    <a:pt x="1458994" y="1794289"/>
                  </a:lnTo>
                  <a:lnTo>
                    <a:pt x="1455351" y="1797932"/>
                  </a:lnTo>
                  <a:lnTo>
                    <a:pt x="1462637" y="1814325"/>
                  </a:lnTo>
                  <a:lnTo>
                    <a:pt x="1458994" y="1819789"/>
                  </a:lnTo>
                  <a:lnTo>
                    <a:pt x="1435315" y="1808860"/>
                  </a:lnTo>
                  <a:lnTo>
                    <a:pt x="1429850" y="1810682"/>
                  </a:lnTo>
                  <a:lnTo>
                    <a:pt x="1433493" y="1819789"/>
                  </a:lnTo>
                  <a:lnTo>
                    <a:pt x="1429850" y="1819789"/>
                  </a:lnTo>
                  <a:lnTo>
                    <a:pt x="1411636" y="1828897"/>
                  </a:lnTo>
                  <a:lnTo>
                    <a:pt x="1407993" y="1828897"/>
                  </a:lnTo>
                  <a:lnTo>
                    <a:pt x="1386135" y="1819789"/>
                  </a:lnTo>
                  <a:lnTo>
                    <a:pt x="1377028" y="1805218"/>
                  </a:lnTo>
                  <a:lnTo>
                    <a:pt x="1377028" y="1803396"/>
                  </a:lnTo>
                  <a:lnTo>
                    <a:pt x="1378849" y="1783360"/>
                  </a:lnTo>
                  <a:lnTo>
                    <a:pt x="1391600" y="1772431"/>
                  </a:lnTo>
                  <a:lnTo>
                    <a:pt x="1391600" y="1765145"/>
                  </a:lnTo>
                  <a:lnTo>
                    <a:pt x="1395243" y="1765145"/>
                  </a:lnTo>
                  <a:lnTo>
                    <a:pt x="1391600" y="1761502"/>
                  </a:lnTo>
                  <a:lnTo>
                    <a:pt x="1391600" y="1759681"/>
                  </a:lnTo>
                  <a:lnTo>
                    <a:pt x="1402528" y="1759681"/>
                  </a:lnTo>
                  <a:lnTo>
                    <a:pt x="1418922" y="1761502"/>
                  </a:lnTo>
                  <a:lnTo>
                    <a:pt x="1435315" y="1766967"/>
                  </a:lnTo>
                  <a:lnTo>
                    <a:pt x="1444422" y="1766967"/>
                  </a:lnTo>
                  <a:lnTo>
                    <a:pt x="1469923" y="1754216"/>
                  </a:lnTo>
                  <a:lnTo>
                    <a:pt x="1484495" y="1759681"/>
                  </a:lnTo>
                  <a:lnTo>
                    <a:pt x="1484495" y="1748752"/>
                  </a:lnTo>
                  <a:lnTo>
                    <a:pt x="1462637" y="1719608"/>
                  </a:lnTo>
                  <a:lnTo>
                    <a:pt x="1462637" y="1715966"/>
                  </a:lnTo>
                  <a:lnTo>
                    <a:pt x="1497245" y="1683179"/>
                  </a:lnTo>
                  <a:lnTo>
                    <a:pt x="1500888" y="1670429"/>
                  </a:lnTo>
                  <a:lnTo>
                    <a:pt x="1513638" y="1652214"/>
                  </a:lnTo>
                  <a:lnTo>
                    <a:pt x="1497245" y="1597570"/>
                  </a:lnTo>
                  <a:lnTo>
                    <a:pt x="1479030" y="1586641"/>
                  </a:lnTo>
                  <a:lnTo>
                    <a:pt x="1475387" y="1562962"/>
                  </a:lnTo>
                  <a:lnTo>
                    <a:pt x="1469923" y="1562962"/>
                  </a:lnTo>
                  <a:lnTo>
                    <a:pt x="1469923" y="1573891"/>
                  </a:lnTo>
                  <a:lnTo>
                    <a:pt x="1468101" y="1573891"/>
                  </a:lnTo>
                  <a:lnTo>
                    <a:pt x="1451708" y="1553855"/>
                  </a:lnTo>
                  <a:lnTo>
                    <a:pt x="1451708" y="1546569"/>
                  </a:lnTo>
                  <a:lnTo>
                    <a:pt x="1438958" y="1546569"/>
                  </a:lnTo>
                  <a:lnTo>
                    <a:pt x="1413457" y="1564783"/>
                  </a:lnTo>
                  <a:lnTo>
                    <a:pt x="1411636" y="1564783"/>
                  </a:lnTo>
                  <a:lnTo>
                    <a:pt x="1411636" y="1537461"/>
                  </a:lnTo>
                  <a:lnTo>
                    <a:pt x="1424386" y="1537461"/>
                  </a:lnTo>
                  <a:lnTo>
                    <a:pt x="1433493" y="1531997"/>
                  </a:lnTo>
                  <a:lnTo>
                    <a:pt x="1429850" y="1524711"/>
                  </a:lnTo>
                  <a:lnTo>
                    <a:pt x="1400707" y="1501032"/>
                  </a:lnTo>
                  <a:lnTo>
                    <a:pt x="1400707" y="1497389"/>
                  </a:lnTo>
                  <a:lnTo>
                    <a:pt x="1406171" y="1495568"/>
                  </a:lnTo>
                  <a:lnTo>
                    <a:pt x="1402528" y="1486460"/>
                  </a:lnTo>
                  <a:lnTo>
                    <a:pt x="1386135" y="1486460"/>
                  </a:lnTo>
                  <a:lnTo>
                    <a:pt x="1386135" y="1459138"/>
                  </a:lnTo>
                  <a:lnTo>
                    <a:pt x="1380671" y="1459138"/>
                  </a:lnTo>
                  <a:lnTo>
                    <a:pt x="1378849" y="1462781"/>
                  </a:lnTo>
                  <a:lnTo>
                    <a:pt x="1373385" y="1462781"/>
                  </a:lnTo>
                  <a:lnTo>
                    <a:pt x="1360635" y="1448209"/>
                  </a:lnTo>
                  <a:lnTo>
                    <a:pt x="1351527" y="1448209"/>
                  </a:lnTo>
                  <a:lnTo>
                    <a:pt x="1355170" y="1451852"/>
                  </a:lnTo>
                  <a:lnTo>
                    <a:pt x="1362456" y="1475531"/>
                  </a:lnTo>
                  <a:lnTo>
                    <a:pt x="1362456" y="1479174"/>
                  </a:lnTo>
                  <a:lnTo>
                    <a:pt x="1360635" y="1480996"/>
                  </a:lnTo>
                  <a:lnTo>
                    <a:pt x="1338777" y="1486460"/>
                  </a:lnTo>
                  <a:lnTo>
                    <a:pt x="1335134" y="1486460"/>
                  </a:lnTo>
                  <a:lnTo>
                    <a:pt x="1333313" y="1475531"/>
                  </a:lnTo>
                  <a:lnTo>
                    <a:pt x="1295062" y="1468246"/>
                  </a:lnTo>
                  <a:lnTo>
                    <a:pt x="1307812" y="1484639"/>
                  </a:lnTo>
                  <a:lnTo>
                    <a:pt x="1311455" y="1490103"/>
                  </a:lnTo>
                  <a:lnTo>
                    <a:pt x="1311455" y="1491925"/>
                  </a:lnTo>
                  <a:lnTo>
                    <a:pt x="1302348" y="1491925"/>
                  </a:lnTo>
                  <a:lnTo>
                    <a:pt x="1293240" y="1479174"/>
                  </a:lnTo>
                  <a:lnTo>
                    <a:pt x="1287776" y="1490103"/>
                  </a:lnTo>
                  <a:lnTo>
                    <a:pt x="1284133" y="1490103"/>
                  </a:lnTo>
                  <a:lnTo>
                    <a:pt x="1256811" y="1473710"/>
                  </a:lnTo>
                  <a:lnTo>
                    <a:pt x="1189416" y="1473710"/>
                  </a:lnTo>
                  <a:lnTo>
                    <a:pt x="1176666" y="1457317"/>
                  </a:lnTo>
                  <a:lnTo>
                    <a:pt x="1173023" y="1442745"/>
                  </a:lnTo>
                  <a:lnTo>
                    <a:pt x="1162094" y="1453674"/>
                  </a:lnTo>
                  <a:lnTo>
                    <a:pt x="1154809" y="1453674"/>
                  </a:lnTo>
                  <a:lnTo>
                    <a:pt x="1149344" y="1451852"/>
                  </a:lnTo>
                  <a:lnTo>
                    <a:pt x="1136594" y="1451852"/>
                  </a:lnTo>
                  <a:lnTo>
                    <a:pt x="1105629" y="1411780"/>
                  </a:lnTo>
                  <a:lnTo>
                    <a:pt x="1109272" y="1402673"/>
                  </a:lnTo>
                  <a:lnTo>
                    <a:pt x="1105629" y="1400851"/>
                  </a:lnTo>
                  <a:lnTo>
                    <a:pt x="1105629" y="1397208"/>
                  </a:lnTo>
                  <a:lnTo>
                    <a:pt x="1127486" y="1397208"/>
                  </a:lnTo>
                  <a:lnTo>
                    <a:pt x="1143880" y="1400851"/>
                  </a:lnTo>
                  <a:lnTo>
                    <a:pt x="1151166" y="1400851"/>
                  </a:lnTo>
                  <a:lnTo>
                    <a:pt x="1092879" y="1369886"/>
                  </a:lnTo>
                  <a:lnTo>
                    <a:pt x="1089236" y="1369886"/>
                  </a:lnTo>
                  <a:lnTo>
                    <a:pt x="1094700" y="1346207"/>
                  </a:lnTo>
                  <a:lnTo>
                    <a:pt x="1087414" y="1329814"/>
                  </a:lnTo>
                  <a:lnTo>
                    <a:pt x="1087414" y="1327992"/>
                  </a:lnTo>
                  <a:lnTo>
                    <a:pt x="1098343" y="1317063"/>
                  </a:lnTo>
                  <a:lnTo>
                    <a:pt x="1094700" y="1317063"/>
                  </a:lnTo>
                  <a:lnTo>
                    <a:pt x="1094700" y="1313421"/>
                  </a:lnTo>
                  <a:lnTo>
                    <a:pt x="1092879" y="1297027"/>
                  </a:lnTo>
                  <a:lnTo>
                    <a:pt x="1103807" y="1267884"/>
                  </a:lnTo>
                  <a:lnTo>
                    <a:pt x="1105629" y="1267884"/>
                  </a:lnTo>
                  <a:lnTo>
                    <a:pt x="1105629" y="1266062"/>
                  </a:lnTo>
                  <a:lnTo>
                    <a:pt x="1111093" y="1238740"/>
                  </a:lnTo>
                  <a:close/>
                  <a:moveTo>
                    <a:pt x="848802" y="1173169"/>
                  </a:moveTo>
                  <a:lnTo>
                    <a:pt x="852445" y="1173169"/>
                  </a:lnTo>
                  <a:lnTo>
                    <a:pt x="881588" y="1187741"/>
                  </a:lnTo>
                  <a:lnTo>
                    <a:pt x="918018" y="1173169"/>
                  </a:lnTo>
                  <a:lnTo>
                    <a:pt x="919839" y="1173169"/>
                  </a:lnTo>
                  <a:lnTo>
                    <a:pt x="927125" y="1184098"/>
                  </a:lnTo>
                  <a:lnTo>
                    <a:pt x="930768" y="1187741"/>
                  </a:lnTo>
                  <a:lnTo>
                    <a:pt x="927125" y="1187741"/>
                  </a:lnTo>
                  <a:lnTo>
                    <a:pt x="914375" y="1207777"/>
                  </a:lnTo>
                  <a:lnTo>
                    <a:pt x="921661" y="1222349"/>
                  </a:lnTo>
                  <a:lnTo>
                    <a:pt x="921661" y="1224170"/>
                  </a:lnTo>
                  <a:lnTo>
                    <a:pt x="908910" y="1233277"/>
                  </a:lnTo>
                  <a:lnTo>
                    <a:pt x="897982" y="1255135"/>
                  </a:lnTo>
                  <a:lnTo>
                    <a:pt x="912553" y="1246028"/>
                  </a:lnTo>
                  <a:lnTo>
                    <a:pt x="914375" y="1246028"/>
                  </a:lnTo>
                  <a:lnTo>
                    <a:pt x="914375" y="1249671"/>
                  </a:lnTo>
                  <a:lnTo>
                    <a:pt x="927125" y="1271528"/>
                  </a:lnTo>
                  <a:lnTo>
                    <a:pt x="925303" y="1276993"/>
                  </a:lnTo>
                  <a:lnTo>
                    <a:pt x="936232" y="1271528"/>
                  </a:lnTo>
                  <a:lnTo>
                    <a:pt x="938054" y="1271528"/>
                  </a:lnTo>
                  <a:lnTo>
                    <a:pt x="943518" y="1291564"/>
                  </a:lnTo>
                  <a:lnTo>
                    <a:pt x="938054" y="1306136"/>
                  </a:lnTo>
                  <a:lnTo>
                    <a:pt x="941697" y="1340744"/>
                  </a:lnTo>
                  <a:lnTo>
                    <a:pt x="921661" y="1358959"/>
                  </a:lnTo>
                  <a:lnTo>
                    <a:pt x="907089" y="1358959"/>
                  </a:lnTo>
                  <a:lnTo>
                    <a:pt x="907089" y="1369887"/>
                  </a:lnTo>
                  <a:lnTo>
                    <a:pt x="896160" y="1384459"/>
                  </a:lnTo>
                  <a:lnTo>
                    <a:pt x="879767" y="1380816"/>
                  </a:lnTo>
                  <a:lnTo>
                    <a:pt x="879767" y="1378995"/>
                  </a:lnTo>
                  <a:lnTo>
                    <a:pt x="870660" y="1351673"/>
                  </a:lnTo>
                  <a:lnTo>
                    <a:pt x="857909" y="1335280"/>
                  </a:lnTo>
                  <a:lnTo>
                    <a:pt x="848802" y="1322529"/>
                  </a:lnTo>
                  <a:lnTo>
                    <a:pt x="823302" y="1317065"/>
                  </a:lnTo>
                  <a:lnTo>
                    <a:pt x="823302" y="1313422"/>
                  </a:lnTo>
                  <a:lnTo>
                    <a:pt x="797801" y="1273350"/>
                  </a:lnTo>
                  <a:lnTo>
                    <a:pt x="797801" y="1271528"/>
                  </a:lnTo>
                  <a:lnTo>
                    <a:pt x="801444" y="1255135"/>
                  </a:lnTo>
                  <a:lnTo>
                    <a:pt x="808730" y="1249671"/>
                  </a:lnTo>
                  <a:lnTo>
                    <a:pt x="812373" y="1249671"/>
                  </a:lnTo>
                  <a:lnTo>
                    <a:pt x="812373" y="1251492"/>
                  </a:lnTo>
                  <a:lnTo>
                    <a:pt x="830587" y="1276993"/>
                  </a:lnTo>
                  <a:lnTo>
                    <a:pt x="852445" y="1271528"/>
                  </a:lnTo>
                  <a:lnTo>
                    <a:pt x="848802" y="1260599"/>
                  </a:lnTo>
                  <a:lnTo>
                    <a:pt x="854266" y="1255135"/>
                  </a:lnTo>
                  <a:lnTo>
                    <a:pt x="846981" y="1235099"/>
                  </a:lnTo>
                  <a:lnTo>
                    <a:pt x="854266" y="1235099"/>
                  </a:lnTo>
                  <a:lnTo>
                    <a:pt x="823302" y="1213241"/>
                  </a:lnTo>
                  <a:lnTo>
                    <a:pt x="823302" y="1211420"/>
                  </a:lnTo>
                  <a:lnTo>
                    <a:pt x="830587" y="1211420"/>
                  </a:lnTo>
                  <a:lnTo>
                    <a:pt x="836052" y="1213241"/>
                  </a:lnTo>
                  <a:lnTo>
                    <a:pt x="841516" y="1213241"/>
                  </a:lnTo>
                  <a:lnTo>
                    <a:pt x="839695" y="1202313"/>
                  </a:lnTo>
                  <a:lnTo>
                    <a:pt x="828766" y="1195027"/>
                  </a:lnTo>
                  <a:lnTo>
                    <a:pt x="825123" y="1195027"/>
                  </a:lnTo>
                  <a:lnTo>
                    <a:pt x="825123" y="1193205"/>
                  </a:lnTo>
                  <a:lnTo>
                    <a:pt x="828766" y="1193205"/>
                  </a:lnTo>
                  <a:lnTo>
                    <a:pt x="848802" y="1189562"/>
                  </a:lnTo>
                  <a:lnTo>
                    <a:pt x="845159" y="1178633"/>
                  </a:lnTo>
                  <a:close/>
                  <a:moveTo>
                    <a:pt x="907092" y="1154954"/>
                  </a:moveTo>
                  <a:lnTo>
                    <a:pt x="908913" y="1154954"/>
                  </a:lnTo>
                  <a:lnTo>
                    <a:pt x="908913" y="1156776"/>
                  </a:lnTo>
                  <a:lnTo>
                    <a:pt x="890699" y="1182277"/>
                  </a:lnTo>
                  <a:lnTo>
                    <a:pt x="868841" y="1178634"/>
                  </a:lnTo>
                  <a:lnTo>
                    <a:pt x="868841" y="1176812"/>
                  </a:lnTo>
                  <a:lnTo>
                    <a:pt x="907092" y="1156776"/>
                  </a:lnTo>
                  <a:close/>
                  <a:moveTo>
                    <a:pt x="1010915" y="1149489"/>
                  </a:moveTo>
                  <a:lnTo>
                    <a:pt x="1087417" y="1171347"/>
                  </a:lnTo>
                  <a:lnTo>
                    <a:pt x="1087417" y="1173168"/>
                  </a:lnTo>
                  <a:lnTo>
                    <a:pt x="1076488" y="1200490"/>
                  </a:lnTo>
                  <a:lnTo>
                    <a:pt x="1071024" y="1200490"/>
                  </a:lnTo>
                  <a:lnTo>
                    <a:pt x="1065559" y="1224169"/>
                  </a:lnTo>
                  <a:lnTo>
                    <a:pt x="1060095" y="1229634"/>
                  </a:lnTo>
                  <a:lnTo>
                    <a:pt x="1063738" y="1229634"/>
                  </a:lnTo>
                  <a:lnTo>
                    <a:pt x="1060095" y="1240563"/>
                  </a:lnTo>
                  <a:lnTo>
                    <a:pt x="1043702" y="1273349"/>
                  </a:lnTo>
                  <a:lnTo>
                    <a:pt x="1036416" y="1273349"/>
                  </a:lnTo>
                  <a:lnTo>
                    <a:pt x="1016380" y="1271528"/>
                  </a:lnTo>
                  <a:lnTo>
                    <a:pt x="992701" y="1271528"/>
                  </a:lnTo>
                  <a:lnTo>
                    <a:pt x="1014558" y="1289742"/>
                  </a:lnTo>
                  <a:lnTo>
                    <a:pt x="1014558" y="1291564"/>
                  </a:lnTo>
                  <a:lnTo>
                    <a:pt x="998165" y="1322529"/>
                  </a:lnTo>
                  <a:lnTo>
                    <a:pt x="976307" y="1327993"/>
                  </a:lnTo>
                  <a:lnTo>
                    <a:pt x="970843" y="1324350"/>
                  </a:lnTo>
                  <a:lnTo>
                    <a:pt x="970843" y="1322529"/>
                  </a:lnTo>
                  <a:lnTo>
                    <a:pt x="976307" y="1317064"/>
                  </a:lnTo>
                  <a:lnTo>
                    <a:pt x="970843" y="1313421"/>
                  </a:lnTo>
                  <a:lnTo>
                    <a:pt x="970843" y="1295207"/>
                  </a:lnTo>
                  <a:lnTo>
                    <a:pt x="976307" y="1284278"/>
                  </a:lnTo>
                  <a:lnTo>
                    <a:pt x="959914" y="1273349"/>
                  </a:lnTo>
                  <a:lnTo>
                    <a:pt x="959914" y="1187740"/>
                  </a:lnTo>
                  <a:lnTo>
                    <a:pt x="981772" y="1193204"/>
                  </a:lnTo>
                  <a:lnTo>
                    <a:pt x="965378" y="1173168"/>
                  </a:lnTo>
                  <a:lnTo>
                    <a:pt x="965378" y="1171347"/>
                  </a:lnTo>
                  <a:lnTo>
                    <a:pt x="974486" y="1156775"/>
                  </a:lnTo>
                  <a:lnTo>
                    <a:pt x="974486" y="1154953"/>
                  </a:lnTo>
                  <a:close/>
                  <a:moveTo>
                    <a:pt x="338793" y="1109417"/>
                  </a:moveTo>
                  <a:lnTo>
                    <a:pt x="344258" y="1109417"/>
                  </a:lnTo>
                  <a:lnTo>
                    <a:pt x="344258" y="1111238"/>
                  </a:lnTo>
                  <a:lnTo>
                    <a:pt x="347901" y="1111238"/>
                  </a:lnTo>
                  <a:lnTo>
                    <a:pt x="389794" y="1144025"/>
                  </a:lnTo>
                  <a:lnTo>
                    <a:pt x="389794" y="1145846"/>
                  </a:lnTo>
                  <a:lnTo>
                    <a:pt x="387973" y="1154954"/>
                  </a:lnTo>
                  <a:lnTo>
                    <a:pt x="398902" y="1144025"/>
                  </a:lnTo>
                  <a:lnTo>
                    <a:pt x="400723" y="1144025"/>
                  </a:lnTo>
                  <a:lnTo>
                    <a:pt x="400723" y="1154954"/>
                  </a:lnTo>
                  <a:lnTo>
                    <a:pt x="406188" y="1140382"/>
                  </a:lnTo>
                  <a:lnTo>
                    <a:pt x="438974" y="1140382"/>
                  </a:lnTo>
                  <a:lnTo>
                    <a:pt x="493618" y="1205955"/>
                  </a:lnTo>
                  <a:lnTo>
                    <a:pt x="493618" y="1207777"/>
                  </a:lnTo>
                  <a:lnTo>
                    <a:pt x="404366" y="1273349"/>
                  </a:lnTo>
                  <a:lnTo>
                    <a:pt x="395259" y="1300672"/>
                  </a:lnTo>
                  <a:lnTo>
                    <a:pt x="377044" y="1307957"/>
                  </a:lnTo>
                  <a:lnTo>
                    <a:pt x="369758" y="1329815"/>
                  </a:lnTo>
                  <a:lnTo>
                    <a:pt x="371580" y="1346208"/>
                  </a:lnTo>
                  <a:lnTo>
                    <a:pt x="366115" y="1362602"/>
                  </a:lnTo>
                  <a:lnTo>
                    <a:pt x="347901" y="1373530"/>
                  </a:lnTo>
                  <a:lnTo>
                    <a:pt x="344258" y="1373530"/>
                  </a:lnTo>
                  <a:lnTo>
                    <a:pt x="338793" y="1364423"/>
                  </a:lnTo>
                  <a:lnTo>
                    <a:pt x="304186" y="1395388"/>
                  </a:lnTo>
                  <a:lnTo>
                    <a:pt x="280507" y="1346208"/>
                  </a:lnTo>
                  <a:lnTo>
                    <a:pt x="238613" y="1329815"/>
                  </a:lnTo>
                  <a:lnTo>
                    <a:pt x="238613" y="1327994"/>
                  </a:lnTo>
                  <a:lnTo>
                    <a:pt x="260471" y="1278814"/>
                  </a:lnTo>
                  <a:lnTo>
                    <a:pt x="255006" y="1255135"/>
                  </a:lnTo>
                  <a:lnTo>
                    <a:pt x="255006" y="1251492"/>
                  </a:lnTo>
                  <a:lnTo>
                    <a:pt x="265935" y="1249670"/>
                  </a:lnTo>
                  <a:lnTo>
                    <a:pt x="260471" y="1238742"/>
                  </a:lnTo>
                  <a:lnTo>
                    <a:pt x="260471" y="1235099"/>
                  </a:lnTo>
                  <a:lnTo>
                    <a:pt x="285971" y="1176812"/>
                  </a:lnTo>
                  <a:lnTo>
                    <a:pt x="276864" y="1162240"/>
                  </a:lnTo>
                  <a:lnTo>
                    <a:pt x="275042" y="1151311"/>
                  </a:lnTo>
                  <a:lnTo>
                    <a:pt x="276864" y="1144025"/>
                  </a:lnTo>
                  <a:lnTo>
                    <a:pt x="269578" y="1129453"/>
                  </a:lnTo>
                  <a:lnTo>
                    <a:pt x="269578" y="1127632"/>
                  </a:lnTo>
                  <a:lnTo>
                    <a:pt x="302364" y="1116703"/>
                  </a:lnTo>
                  <a:lnTo>
                    <a:pt x="304186" y="1116703"/>
                  </a:lnTo>
                  <a:lnTo>
                    <a:pt x="307829" y="1123989"/>
                  </a:lnTo>
                  <a:lnTo>
                    <a:pt x="307829" y="1116703"/>
                  </a:lnTo>
                  <a:lnTo>
                    <a:pt x="313293" y="1116703"/>
                  </a:lnTo>
                  <a:lnTo>
                    <a:pt x="316936" y="1114881"/>
                  </a:lnTo>
                  <a:lnTo>
                    <a:pt x="326043" y="1111238"/>
                  </a:lnTo>
                  <a:lnTo>
                    <a:pt x="333329" y="1111238"/>
                  </a:lnTo>
                  <a:close/>
                  <a:moveTo>
                    <a:pt x="746681" y="1035982"/>
                  </a:moveTo>
                  <a:cubicBezTo>
                    <a:pt x="757327" y="1032398"/>
                    <a:pt x="761619" y="1046132"/>
                    <a:pt x="764037" y="1053775"/>
                  </a:cubicBezTo>
                  <a:cubicBezTo>
                    <a:pt x="769843" y="1065482"/>
                    <a:pt x="754061" y="1077546"/>
                    <a:pt x="743298" y="1071631"/>
                  </a:cubicBezTo>
                  <a:cubicBezTo>
                    <a:pt x="739910" y="1069604"/>
                    <a:pt x="736826" y="1066977"/>
                    <a:pt x="734226" y="1063988"/>
                  </a:cubicBezTo>
                  <a:cubicBezTo>
                    <a:pt x="736221" y="1054137"/>
                    <a:pt x="738699" y="1042967"/>
                    <a:pt x="746681" y="1035982"/>
                  </a:cubicBezTo>
                  <a:close/>
                  <a:moveTo>
                    <a:pt x="948319" y="1035367"/>
                  </a:moveTo>
                  <a:cubicBezTo>
                    <a:pt x="949315" y="1036037"/>
                    <a:pt x="949827" y="1037305"/>
                    <a:pt x="948717" y="1038474"/>
                  </a:cubicBezTo>
                  <a:cubicBezTo>
                    <a:pt x="947066" y="1040925"/>
                    <a:pt x="942911" y="1038246"/>
                    <a:pt x="945017" y="1035852"/>
                  </a:cubicBezTo>
                  <a:cubicBezTo>
                    <a:pt x="945842" y="1034626"/>
                    <a:pt x="947322" y="1034697"/>
                    <a:pt x="948319" y="1035367"/>
                  </a:cubicBezTo>
                  <a:close/>
                  <a:moveTo>
                    <a:pt x="839340" y="1018550"/>
                  </a:moveTo>
                  <a:cubicBezTo>
                    <a:pt x="842979" y="1017445"/>
                    <a:pt x="846779" y="1017243"/>
                    <a:pt x="850608" y="1018643"/>
                  </a:cubicBezTo>
                  <a:cubicBezTo>
                    <a:pt x="843884" y="1022127"/>
                    <a:pt x="836404" y="1023123"/>
                    <a:pt x="829037" y="1023869"/>
                  </a:cubicBezTo>
                  <a:cubicBezTo>
                    <a:pt x="832223" y="1021660"/>
                    <a:pt x="835701" y="1019654"/>
                    <a:pt x="839340" y="1018550"/>
                  </a:cubicBezTo>
                  <a:close/>
                  <a:moveTo>
                    <a:pt x="981895" y="1016474"/>
                  </a:moveTo>
                  <a:cubicBezTo>
                    <a:pt x="990778" y="1023222"/>
                    <a:pt x="996626" y="1033069"/>
                    <a:pt x="1002887" y="1042199"/>
                  </a:cubicBezTo>
                  <a:cubicBezTo>
                    <a:pt x="1008430" y="1050021"/>
                    <a:pt x="1006699" y="1060284"/>
                    <a:pt x="1007835" y="1069240"/>
                  </a:cubicBezTo>
                  <a:cubicBezTo>
                    <a:pt x="1008247" y="1080945"/>
                    <a:pt x="1010634" y="1092757"/>
                    <a:pt x="1009147" y="1104462"/>
                  </a:cubicBezTo>
                  <a:cubicBezTo>
                    <a:pt x="1001926" y="1112159"/>
                    <a:pt x="989588" y="1108519"/>
                    <a:pt x="980408" y="1109051"/>
                  </a:cubicBezTo>
                  <a:cubicBezTo>
                    <a:pt x="972180" y="1108403"/>
                    <a:pt x="968665" y="1100222"/>
                    <a:pt x="964250" y="1094432"/>
                  </a:cubicBezTo>
                  <a:lnTo>
                    <a:pt x="959065" y="1100880"/>
                  </a:lnTo>
                  <a:lnTo>
                    <a:pt x="959957" y="1093357"/>
                  </a:lnTo>
                  <a:cubicBezTo>
                    <a:pt x="949168" y="1088816"/>
                    <a:pt x="935817" y="1082668"/>
                    <a:pt x="934383" y="1069482"/>
                  </a:cubicBezTo>
                  <a:cubicBezTo>
                    <a:pt x="935931" y="1053187"/>
                    <a:pt x="954536" y="1044174"/>
                    <a:pt x="954056" y="1027105"/>
                  </a:cubicBezTo>
                  <a:cubicBezTo>
                    <a:pt x="962642" y="1022031"/>
                    <a:pt x="971166" y="1015341"/>
                    <a:pt x="981895" y="1016474"/>
                  </a:cubicBezTo>
                  <a:close/>
                  <a:moveTo>
                    <a:pt x="940548" y="1015341"/>
                  </a:moveTo>
                  <a:cubicBezTo>
                    <a:pt x="944045" y="1016313"/>
                    <a:pt x="948929" y="1017403"/>
                    <a:pt x="950436" y="1021044"/>
                  </a:cubicBezTo>
                  <a:cubicBezTo>
                    <a:pt x="949471" y="1025656"/>
                    <a:pt x="946698" y="1029601"/>
                    <a:pt x="944528" y="1033724"/>
                  </a:cubicBezTo>
                  <a:lnTo>
                    <a:pt x="936933" y="1025170"/>
                  </a:lnTo>
                  <a:cubicBezTo>
                    <a:pt x="935063" y="1031904"/>
                    <a:pt x="931565" y="1038093"/>
                    <a:pt x="927164" y="1043433"/>
                  </a:cubicBezTo>
                  <a:cubicBezTo>
                    <a:pt x="925960" y="1039489"/>
                    <a:pt x="924272" y="1035666"/>
                    <a:pt x="923849" y="1031601"/>
                  </a:cubicBezTo>
                  <a:cubicBezTo>
                    <a:pt x="927468" y="1024564"/>
                    <a:pt x="934460" y="1020013"/>
                    <a:pt x="940548" y="1015341"/>
                  </a:cubicBezTo>
                  <a:close/>
                  <a:moveTo>
                    <a:pt x="350966" y="985240"/>
                  </a:moveTo>
                  <a:cubicBezTo>
                    <a:pt x="350019" y="992304"/>
                    <a:pt x="348894" y="999245"/>
                    <a:pt x="347828" y="1006309"/>
                  </a:cubicBezTo>
                  <a:lnTo>
                    <a:pt x="341435" y="1003996"/>
                  </a:lnTo>
                  <a:cubicBezTo>
                    <a:pt x="344750" y="997785"/>
                    <a:pt x="347651" y="991390"/>
                    <a:pt x="350966" y="985240"/>
                  </a:cubicBezTo>
                  <a:close/>
                  <a:moveTo>
                    <a:pt x="952788" y="983359"/>
                  </a:moveTo>
                  <a:cubicBezTo>
                    <a:pt x="956457" y="983236"/>
                    <a:pt x="956208" y="989256"/>
                    <a:pt x="952601" y="989133"/>
                  </a:cubicBezTo>
                  <a:cubicBezTo>
                    <a:pt x="948932" y="989133"/>
                    <a:pt x="949243" y="983236"/>
                    <a:pt x="952788" y="983359"/>
                  </a:cubicBezTo>
                  <a:close/>
                  <a:moveTo>
                    <a:pt x="984468" y="982232"/>
                  </a:moveTo>
                  <a:cubicBezTo>
                    <a:pt x="986059" y="989657"/>
                    <a:pt x="987709" y="997145"/>
                    <a:pt x="989064" y="1004691"/>
                  </a:cubicBezTo>
                  <a:cubicBezTo>
                    <a:pt x="973512" y="1009823"/>
                    <a:pt x="977694" y="993583"/>
                    <a:pt x="975456" y="985190"/>
                  </a:cubicBezTo>
                  <a:close/>
                  <a:moveTo>
                    <a:pt x="794632" y="982154"/>
                  </a:moveTo>
                  <a:cubicBezTo>
                    <a:pt x="798103" y="981311"/>
                    <a:pt x="801742" y="981394"/>
                    <a:pt x="805460" y="982787"/>
                  </a:cubicBezTo>
                  <a:cubicBezTo>
                    <a:pt x="800740" y="989376"/>
                    <a:pt x="794830" y="995008"/>
                    <a:pt x="789394" y="1001061"/>
                  </a:cubicBezTo>
                  <a:cubicBezTo>
                    <a:pt x="784678" y="1006813"/>
                    <a:pt x="776735" y="1004655"/>
                    <a:pt x="770344" y="1004356"/>
                  </a:cubicBezTo>
                  <a:cubicBezTo>
                    <a:pt x="775316" y="995547"/>
                    <a:pt x="784218" y="984684"/>
                    <a:pt x="794632" y="982154"/>
                  </a:cubicBezTo>
                  <a:close/>
                  <a:moveTo>
                    <a:pt x="974722" y="968186"/>
                  </a:moveTo>
                  <a:cubicBezTo>
                    <a:pt x="975784" y="969983"/>
                    <a:pt x="976906" y="971780"/>
                    <a:pt x="978027" y="973637"/>
                  </a:cubicBezTo>
                  <a:cubicBezTo>
                    <a:pt x="975844" y="974475"/>
                    <a:pt x="973659" y="975314"/>
                    <a:pt x="971476" y="976212"/>
                  </a:cubicBezTo>
                  <a:cubicBezTo>
                    <a:pt x="970650" y="973637"/>
                    <a:pt x="969823" y="971001"/>
                    <a:pt x="968997" y="968426"/>
                  </a:cubicBezTo>
                  <a:cubicBezTo>
                    <a:pt x="970886" y="968366"/>
                    <a:pt x="972833" y="968246"/>
                    <a:pt x="974722" y="968186"/>
                  </a:cubicBezTo>
                  <a:close/>
                  <a:moveTo>
                    <a:pt x="431732" y="967182"/>
                  </a:moveTo>
                  <a:cubicBezTo>
                    <a:pt x="428395" y="988374"/>
                    <a:pt x="423565" y="1011297"/>
                    <a:pt x="407597" y="1026639"/>
                  </a:cubicBezTo>
                  <a:cubicBezTo>
                    <a:pt x="399672" y="1026878"/>
                    <a:pt x="393176" y="1020908"/>
                    <a:pt x="386082" y="1018282"/>
                  </a:cubicBezTo>
                  <a:cubicBezTo>
                    <a:pt x="391802" y="1007895"/>
                    <a:pt x="396869" y="996791"/>
                    <a:pt x="405155" y="988195"/>
                  </a:cubicBezTo>
                  <a:cubicBezTo>
                    <a:pt x="413732" y="980852"/>
                    <a:pt x="422374" y="973510"/>
                    <a:pt x="431732" y="967182"/>
                  </a:cubicBezTo>
                  <a:close/>
                  <a:moveTo>
                    <a:pt x="1357850" y="966180"/>
                  </a:moveTo>
                  <a:cubicBezTo>
                    <a:pt x="1360785" y="973635"/>
                    <a:pt x="1355737" y="979649"/>
                    <a:pt x="1351453" y="984997"/>
                  </a:cubicBezTo>
                  <a:lnTo>
                    <a:pt x="1357791" y="994138"/>
                  </a:lnTo>
                  <a:cubicBezTo>
                    <a:pt x="1352098" y="993538"/>
                    <a:pt x="1343707" y="998286"/>
                    <a:pt x="1339716" y="992876"/>
                  </a:cubicBezTo>
                  <a:cubicBezTo>
                    <a:pt x="1343825" y="982833"/>
                    <a:pt x="1349810" y="973394"/>
                    <a:pt x="1357850" y="966180"/>
                  </a:cubicBezTo>
                  <a:close/>
                  <a:moveTo>
                    <a:pt x="787978" y="948622"/>
                  </a:moveTo>
                  <a:cubicBezTo>
                    <a:pt x="792164" y="956597"/>
                    <a:pt x="791570" y="965954"/>
                    <a:pt x="784627" y="972133"/>
                  </a:cubicBezTo>
                  <a:cubicBezTo>
                    <a:pt x="790071" y="971290"/>
                    <a:pt x="795636" y="971772"/>
                    <a:pt x="799942" y="975668"/>
                  </a:cubicBezTo>
                  <a:cubicBezTo>
                    <a:pt x="790369" y="984308"/>
                    <a:pt x="773144" y="982988"/>
                    <a:pt x="768060" y="996179"/>
                  </a:cubicBezTo>
                  <a:cubicBezTo>
                    <a:pt x="761477" y="996781"/>
                    <a:pt x="760162" y="990482"/>
                    <a:pt x="757829" y="986224"/>
                  </a:cubicBezTo>
                  <a:cubicBezTo>
                    <a:pt x="765543" y="982868"/>
                    <a:pt x="773024" y="979029"/>
                    <a:pt x="780144" y="974589"/>
                  </a:cubicBezTo>
                  <a:cubicBezTo>
                    <a:pt x="771828" y="975129"/>
                    <a:pt x="763393" y="976872"/>
                    <a:pt x="755078" y="975432"/>
                  </a:cubicBezTo>
                  <a:cubicBezTo>
                    <a:pt x="749634" y="973573"/>
                    <a:pt x="746345" y="968415"/>
                    <a:pt x="742754" y="964216"/>
                  </a:cubicBezTo>
                  <a:cubicBezTo>
                    <a:pt x="755135" y="953178"/>
                    <a:pt x="772126" y="950842"/>
                    <a:pt x="787978" y="948622"/>
                  </a:cubicBezTo>
                  <a:close/>
                  <a:moveTo>
                    <a:pt x="1233853" y="931004"/>
                  </a:moveTo>
                  <a:cubicBezTo>
                    <a:pt x="1236285" y="929058"/>
                    <a:pt x="1239386" y="933253"/>
                    <a:pt x="1236954" y="935139"/>
                  </a:cubicBezTo>
                  <a:cubicBezTo>
                    <a:pt x="1234522" y="937084"/>
                    <a:pt x="1231360" y="932889"/>
                    <a:pt x="1233853" y="931004"/>
                  </a:cubicBezTo>
                  <a:close/>
                  <a:moveTo>
                    <a:pt x="746579" y="913463"/>
                  </a:moveTo>
                  <a:cubicBezTo>
                    <a:pt x="757831" y="908992"/>
                    <a:pt x="761780" y="920625"/>
                    <a:pt x="768302" y="926229"/>
                  </a:cubicBezTo>
                  <a:cubicBezTo>
                    <a:pt x="771776" y="930289"/>
                    <a:pt x="777997" y="932854"/>
                    <a:pt x="779374" y="938221"/>
                  </a:cubicBezTo>
                  <a:cubicBezTo>
                    <a:pt x="774588" y="950628"/>
                    <a:pt x="759448" y="947647"/>
                    <a:pt x="748733" y="948659"/>
                  </a:cubicBezTo>
                  <a:cubicBezTo>
                    <a:pt x="745864" y="940132"/>
                    <a:pt x="741972" y="931958"/>
                    <a:pt x="740119" y="923190"/>
                  </a:cubicBezTo>
                  <a:cubicBezTo>
                    <a:pt x="738741" y="918714"/>
                    <a:pt x="743589" y="915791"/>
                    <a:pt x="746579" y="913463"/>
                  </a:cubicBezTo>
                  <a:close/>
                  <a:moveTo>
                    <a:pt x="879824" y="910692"/>
                  </a:moveTo>
                  <a:cubicBezTo>
                    <a:pt x="888845" y="909495"/>
                    <a:pt x="892786" y="917030"/>
                    <a:pt x="893504" y="924615"/>
                  </a:cubicBezTo>
                  <a:cubicBezTo>
                    <a:pt x="896782" y="923839"/>
                    <a:pt x="900073" y="923064"/>
                    <a:pt x="903365" y="922407"/>
                  </a:cubicBezTo>
                  <a:cubicBezTo>
                    <a:pt x="902525" y="924025"/>
                    <a:pt x="901631" y="925643"/>
                    <a:pt x="900791" y="927312"/>
                  </a:cubicBezTo>
                  <a:cubicBezTo>
                    <a:pt x="902823" y="928390"/>
                    <a:pt x="904855" y="929520"/>
                    <a:pt x="906886" y="930666"/>
                  </a:cubicBezTo>
                  <a:cubicBezTo>
                    <a:pt x="906642" y="955241"/>
                    <a:pt x="918833" y="984536"/>
                    <a:pt x="902457" y="1006128"/>
                  </a:cubicBezTo>
                  <a:lnTo>
                    <a:pt x="913808" y="1011151"/>
                  </a:lnTo>
                  <a:cubicBezTo>
                    <a:pt x="914227" y="1021011"/>
                    <a:pt x="914647" y="1030939"/>
                    <a:pt x="915487" y="1040867"/>
                  </a:cubicBezTo>
                  <a:cubicBezTo>
                    <a:pt x="912859" y="1034344"/>
                    <a:pt x="910286" y="1028006"/>
                    <a:pt x="906940" y="1021837"/>
                  </a:cubicBezTo>
                  <a:cubicBezTo>
                    <a:pt x="906548" y="1025933"/>
                    <a:pt x="906141" y="1030012"/>
                    <a:pt x="905749" y="1034108"/>
                  </a:cubicBezTo>
                  <a:cubicBezTo>
                    <a:pt x="904435" y="1031596"/>
                    <a:pt x="903175" y="1029085"/>
                    <a:pt x="901861" y="1026624"/>
                  </a:cubicBezTo>
                  <a:cubicBezTo>
                    <a:pt x="901685" y="1033198"/>
                    <a:pt x="901089" y="1039721"/>
                    <a:pt x="898638" y="1045940"/>
                  </a:cubicBezTo>
                  <a:cubicBezTo>
                    <a:pt x="903893" y="1050609"/>
                    <a:pt x="907238" y="1056880"/>
                    <a:pt x="910056" y="1063217"/>
                  </a:cubicBezTo>
                  <a:cubicBezTo>
                    <a:pt x="902281" y="1068611"/>
                    <a:pt x="894452" y="1075960"/>
                    <a:pt x="884416" y="1075960"/>
                  </a:cubicBezTo>
                  <a:cubicBezTo>
                    <a:pt x="871806" y="1076263"/>
                    <a:pt x="859264" y="1077039"/>
                    <a:pt x="846721" y="1078050"/>
                  </a:cubicBezTo>
                  <a:cubicBezTo>
                    <a:pt x="844026" y="1070870"/>
                    <a:pt x="841642" y="1063639"/>
                    <a:pt x="838893" y="1056526"/>
                  </a:cubicBezTo>
                  <a:lnTo>
                    <a:pt x="849471" y="1053407"/>
                  </a:lnTo>
                  <a:cubicBezTo>
                    <a:pt x="844324" y="1050121"/>
                    <a:pt x="838947" y="1047070"/>
                    <a:pt x="833637" y="1044036"/>
                  </a:cubicBezTo>
                  <a:cubicBezTo>
                    <a:pt x="835073" y="1043311"/>
                    <a:pt x="836495" y="1042536"/>
                    <a:pt x="837931" y="1041811"/>
                  </a:cubicBezTo>
                  <a:cubicBezTo>
                    <a:pt x="844270" y="1031478"/>
                    <a:pt x="859142" y="1025613"/>
                    <a:pt x="858370" y="1011741"/>
                  </a:cubicBezTo>
                  <a:cubicBezTo>
                    <a:pt x="834829" y="1017067"/>
                    <a:pt x="810991" y="1021180"/>
                    <a:pt x="787992" y="1028596"/>
                  </a:cubicBezTo>
                  <a:cubicBezTo>
                    <a:pt x="786435" y="1024719"/>
                    <a:pt x="784945" y="1020826"/>
                    <a:pt x="783387" y="1017000"/>
                  </a:cubicBezTo>
                  <a:cubicBezTo>
                    <a:pt x="788588" y="1012752"/>
                    <a:pt x="795929" y="1010544"/>
                    <a:pt x="799817" y="1004931"/>
                  </a:cubicBezTo>
                  <a:cubicBezTo>
                    <a:pt x="798381" y="1002285"/>
                    <a:pt x="796471" y="1000026"/>
                    <a:pt x="794737" y="997633"/>
                  </a:cubicBezTo>
                  <a:cubicBezTo>
                    <a:pt x="798449" y="994632"/>
                    <a:pt x="802092" y="991177"/>
                    <a:pt x="806806" y="990031"/>
                  </a:cubicBezTo>
                  <a:cubicBezTo>
                    <a:pt x="812359" y="994278"/>
                    <a:pt x="816720" y="999790"/>
                    <a:pt x="821623" y="1004678"/>
                  </a:cubicBezTo>
                  <a:cubicBezTo>
                    <a:pt x="819118" y="999419"/>
                    <a:pt x="816490" y="994228"/>
                    <a:pt x="813618" y="989205"/>
                  </a:cubicBezTo>
                  <a:cubicBezTo>
                    <a:pt x="814810" y="987047"/>
                    <a:pt x="815948" y="984890"/>
                    <a:pt x="817140" y="982800"/>
                  </a:cubicBezTo>
                  <a:cubicBezTo>
                    <a:pt x="813375" y="981367"/>
                    <a:pt x="808187" y="980895"/>
                    <a:pt x="806806" y="976344"/>
                  </a:cubicBezTo>
                  <a:cubicBezTo>
                    <a:pt x="803636" y="969939"/>
                    <a:pt x="810029" y="964444"/>
                    <a:pt x="812846" y="959185"/>
                  </a:cubicBezTo>
                  <a:cubicBezTo>
                    <a:pt x="808783" y="958949"/>
                    <a:pt x="804720" y="958764"/>
                    <a:pt x="800711" y="958646"/>
                  </a:cubicBezTo>
                  <a:cubicBezTo>
                    <a:pt x="802444" y="950640"/>
                    <a:pt x="800480" y="940172"/>
                    <a:pt x="807469" y="934543"/>
                  </a:cubicBezTo>
                  <a:cubicBezTo>
                    <a:pt x="814878" y="932520"/>
                    <a:pt x="821325" y="938082"/>
                    <a:pt x="823831" y="944588"/>
                  </a:cubicBezTo>
                  <a:cubicBezTo>
                    <a:pt x="829330" y="959354"/>
                    <a:pt x="841100" y="970124"/>
                    <a:pt x="848333" y="983811"/>
                  </a:cubicBezTo>
                  <a:cubicBezTo>
                    <a:pt x="850243" y="988598"/>
                    <a:pt x="855674" y="988901"/>
                    <a:pt x="859860" y="990267"/>
                  </a:cubicBezTo>
                  <a:cubicBezTo>
                    <a:pt x="853886" y="983036"/>
                    <a:pt x="849403" y="974844"/>
                    <a:pt x="846776" y="965826"/>
                  </a:cubicBezTo>
                  <a:lnTo>
                    <a:pt x="858546" y="964444"/>
                  </a:lnTo>
                  <a:cubicBezTo>
                    <a:pt x="852993" y="961579"/>
                    <a:pt x="846897" y="959893"/>
                    <a:pt x="840802" y="958696"/>
                  </a:cubicBezTo>
                  <a:lnTo>
                    <a:pt x="852518" y="948667"/>
                  </a:lnTo>
                  <a:cubicBezTo>
                    <a:pt x="844568" y="943510"/>
                    <a:pt x="832256" y="943459"/>
                    <a:pt x="828734" y="933413"/>
                  </a:cubicBezTo>
                  <a:cubicBezTo>
                    <a:pt x="825930" y="928087"/>
                    <a:pt x="833935" y="925289"/>
                    <a:pt x="836387" y="921631"/>
                  </a:cubicBezTo>
                  <a:cubicBezTo>
                    <a:pt x="842062" y="914451"/>
                    <a:pt x="852220" y="914586"/>
                    <a:pt x="860036" y="917451"/>
                  </a:cubicBezTo>
                  <a:cubicBezTo>
                    <a:pt x="867336" y="922525"/>
                    <a:pt x="869666" y="931745"/>
                    <a:pt x="872889" y="939565"/>
                  </a:cubicBezTo>
                  <a:cubicBezTo>
                    <a:pt x="879878" y="930902"/>
                    <a:pt x="869124" y="914990"/>
                    <a:pt x="886989" y="915108"/>
                  </a:cubicBezTo>
                  <a:close/>
                  <a:moveTo>
                    <a:pt x="838216" y="903076"/>
                  </a:moveTo>
                  <a:cubicBezTo>
                    <a:pt x="840857" y="903395"/>
                    <a:pt x="843596" y="904313"/>
                    <a:pt x="846093" y="904638"/>
                  </a:cubicBezTo>
                  <a:cubicBezTo>
                    <a:pt x="836041" y="912871"/>
                    <a:pt x="824845" y="926550"/>
                    <a:pt x="809975" y="921930"/>
                  </a:cubicBezTo>
                  <a:cubicBezTo>
                    <a:pt x="816899" y="916245"/>
                    <a:pt x="823880" y="910678"/>
                    <a:pt x="830924" y="905111"/>
                  </a:cubicBezTo>
                  <a:cubicBezTo>
                    <a:pt x="833031" y="903039"/>
                    <a:pt x="835575" y="902758"/>
                    <a:pt x="838216" y="903076"/>
                  </a:cubicBezTo>
                  <a:close/>
                  <a:moveTo>
                    <a:pt x="863283" y="902971"/>
                  </a:moveTo>
                  <a:cubicBezTo>
                    <a:pt x="863986" y="906630"/>
                    <a:pt x="864629" y="910289"/>
                    <a:pt x="865156" y="914008"/>
                  </a:cubicBezTo>
                  <a:cubicBezTo>
                    <a:pt x="861586" y="911142"/>
                    <a:pt x="858075" y="908215"/>
                    <a:pt x="854622" y="905227"/>
                  </a:cubicBezTo>
                  <a:cubicBezTo>
                    <a:pt x="857489" y="904435"/>
                    <a:pt x="860416" y="903703"/>
                    <a:pt x="863283" y="902971"/>
                  </a:cubicBezTo>
                  <a:close/>
                  <a:moveTo>
                    <a:pt x="630401" y="896864"/>
                  </a:moveTo>
                  <a:cubicBezTo>
                    <a:pt x="638478" y="893442"/>
                    <a:pt x="650922" y="901482"/>
                    <a:pt x="645606" y="910814"/>
                  </a:cubicBezTo>
                  <a:cubicBezTo>
                    <a:pt x="643675" y="917538"/>
                    <a:pt x="645843" y="924358"/>
                    <a:pt x="646972" y="931010"/>
                  </a:cubicBezTo>
                  <a:cubicBezTo>
                    <a:pt x="647803" y="938620"/>
                    <a:pt x="655584" y="942807"/>
                    <a:pt x="657485" y="949938"/>
                  </a:cubicBezTo>
                  <a:cubicBezTo>
                    <a:pt x="656713" y="958146"/>
                    <a:pt x="652050" y="965468"/>
                    <a:pt x="650209" y="973436"/>
                  </a:cubicBezTo>
                  <a:cubicBezTo>
                    <a:pt x="657069" y="972814"/>
                    <a:pt x="664256" y="973173"/>
                    <a:pt x="669750" y="977983"/>
                  </a:cubicBezTo>
                  <a:cubicBezTo>
                    <a:pt x="666780" y="984324"/>
                    <a:pt x="663899" y="990737"/>
                    <a:pt x="660900" y="997150"/>
                  </a:cubicBezTo>
                  <a:cubicBezTo>
                    <a:pt x="666899" y="992412"/>
                    <a:pt x="673700" y="989062"/>
                    <a:pt x="681362" y="988272"/>
                  </a:cubicBezTo>
                  <a:cubicBezTo>
                    <a:pt x="682490" y="993489"/>
                    <a:pt x="683619" y="998777"/>
                    <a:pt x="684836" y="1003970"/>
                  </a:cubicBezTo>
                  <a:cubicBezTo>
                    <a:pt x="687568" y="1002247"/>
                    <a:pt x="690330" y="1000572"/>
                    <a:pt x="693151" y="998825"/>
                  </a:cubicBezTo>
                  <a:lnTo>
                    <a:pt x="686380" y="995953"/>
                  </a:lnTo>
                  <a:cubicBezTo>
                    <a:pt x="685965" y="987674"/>
                    <a:pt x="686677" y="978150"/>
                    <a:pt x="693508" y="972455"/>
                  </a:cubicBezTo>
                  <a:cubicBezTo>
                    <a:pt x="708624" y="974441"/>
                    <a:pt x="724898" y="986956"/>
                    <a:pt x="722314" y="1003922"/>
                  </a:cubicBezTo>
                  <a:cubicBezTo>
                    <a:pt x="725195" y="1015719"/>
                    <a:pt x="717414" y="1025195"/>
                    <a:pt x="714979" y="1035963"/>
                  </a:cubicBezTo>
                  <a:cubicBezTo>
                    <a:pt x="714385" y="1047783"/>
                    <a:pt x="711386" y="1059868"/>
                    <a:pt x="705090" y="1070013"/>
                  </a:cubicBezTo>
                  <a:cubicBezTo>
                    <a:pt x="696181" y="1074440"/>
                    <a:pt x="687806" y="1080662"/>
                    <a:pt x="678125" y="1083414"/>
                  </a:cubicBezTo>
                  <a:cubicBezTo>
                    <a:pt x="671561" y="1083653"/>
                    <a:pt x="668324" y="1077144"/>
                    <a:pt x="665978" y="1072047"/>
                  </a:cubicBezTo>
                  <a:cubicBezTo>
                    <a:pt x="662236" y="1078221"/>
                    <a:pt x="657425" y="1083964"/>
                    <a:pt x="649912" y="1085041"/>
                  </a:cubicBezTo>
                  <a:cubicBezTo>
                    <a:pt x="647625" y="1079944"/>
                    <a:pt x="647744" y="1071497"/>
                    <a:pt x="641121" y="1070061"/>
                  </a:cubicBezTo>
                  <a:cubicBezTo>
                    <a:pt x="631975" y="1076714"/>
                    <a:pt x="625263" y="1087864"/>
                    <a:pt x="613354" y="1089898"/>
                  </a:cubicBezTo>
                  <a:cubicBezTo>
                    <a:pt x="607860" y="1090784"/>
                    <a:pt x="602841" y="1093201"/>
                    <a:pt x="598001" y="1095881"/>
                  </a:cubicBezTo>
                  <a:cubicBezTo>
                    <a:pt x="597585" y="1106481"/>
                    <a:pt x="586805" y="1110621"/>
                    <a:pt x="579291" y="1116196"/>
                  </a:cubicBezTo>
                  <a:cubicBezTo>
                    <a:pt x="565036" y="1125792"/>
                    <a:pt x="547396" y="1132731"/>
                    <a:pt x="530112" y="1129070"/>
                  </a:cubicBezTo>
                  <a:cubicBezTo>
                    <a:pt x="518827" y="1125552"/>
                    <a:pt x="509324" y="1116244"/>
                    <a:pt x="504899" y="1105476"/>
                  </a:cubicBezTo>
                  <a:cubicBezTo>
                    <a:pt x="510334" y="1095235"/>
                    <a:pt x="521737" y="1091262"/>
                    <a:pt x="532399" y="1089348"/>
                  </a:cubicBezTo>
                  <a:cubicBezTo>
                    <a:pt x="536111" y="1072406"/>
                    <a:pt x="556365" y="1077671"/>
                    <a:pt x="569164" y="1075804"/>
                  </a:cubicBezTo>
                  <a:cubicBezTo>
                    <a:pt x="578549" y="1070779"/>
                    <a:pt x="584310" y="1061088"/>
                    <a:pt x="590161" y="1052450"/>
                  </a:cubicBezTo>
                  <a:cubicBezTo>
                    <a:pt x="588260" y="1051851"/>
                    <a:pt x="586330" y="1051181"/>
                    <a:pt x="584429" y="1050583"/>
                  </a:cubicBezTo>
                  <a:cubicBezTo>
                    <a:pt x="578935" y="1062572"/>
                    <a:pt x="565155" y="1062883"/>
                    <a:pt x="553930" y="1064247"/>
                  </a:cubicBezTo>
                  <a:cubicBezTo>
                    <a:pt x="554702" y="1061447"/>
                    <a:pt x="555474" y="1058743"/>
                    <a:pt x="556246" y="1055991"/>
                  </a:cubicBezTo>
                  <a:cubicBezTo>
                    <a:pt x="553395" y="1056278"/>
                    <a:pt x="550455" y="1056589"/>
                    <a:pt x="547574" y="1056637"/>
                  </a:cubicBezTo>
                  <a:cubicBezTo>
                    <a:pt x="546802" y="1059461"/>
                    <a:pt x="545971" y="1062332"/>
                    <a:pt x="545139" y="1065204"/>
                  </a:cubicBezTo>
                  <a:cubicBezTo>
                    <a:pt x="536111" y="1067190"/>
                    <a:pt x="527202" y="1069535"/>
                    <a:pt x="518174" y="1071808"/>
                  </a:cubicBezTo>
                  <a:cubicBezTo>
                    <a:pt x="518530" y="1064199"/>
                    <a:pt x="518708" y="1056637"/>
                    <a:pt x="518827" y="1049100"/>
                  </a:cubicBezTo>
                  <a:cubicBezTo>
                    <a:pt x="522777" y="1044649"/>
                    <a:pt x="526667" y="1040294"/>
                    <a:pt x="530647" y="1035915"/>
                  </a:cubicBezTo>
                  <a:cubicBezTo>
                    <a:pt x="524737" y="1037901"/>
                    <a:pt x="518055" y="1039983"/>
                    <a:pt x="513363" y="1034359"/>
                  </a:cubicBezTo>
                  <a:cubicBezTo>
                    <a:pt x="511581" y="1045032"/>
                    <a:pt x="511462" y="1056637"/>
                    <a:pt x="506265" y="1066472"/>
                  </a:cubicBezTo>
                  <a:cubicBezTo>
                    <a:pt x="501662" y="1072047"/>
                    <a:pt x="495426" y="1076044"/>
                    <a:pt x="490050" y="1080781"/>
                  </a:cubicBezTo>
                  <a:cubicBezTo>
                    <a:pt x="488447" y="1074967"/>
                    <a:pt x="487051" y="1068937"/>
                    <a:pt x="485625" y="1063050"/>
                  </a:cubicBezTo>
                  <a:cubicBezTo>
                    <a:pt x="478201" y="1065036"/>
                    <a:pt x="477904" y="1072574"/>
                    <a:pt x="477488" y="1078987"/>
                  </a:cubicBezTo>
                  <a:cubicBezTo>
                    <a:pt x="472588" y="1076761"/>
                    <a:pt x="466619" y="1075517"/>
                    <a:pt x="463560" y="1070779"/>
                  </a:cubicBezTo>
                  <a:cubicBezTo>
                    <a:pt x="461244" y="1066113"/>
                    <a:pt x="461778" y="1060705"/>
                    <a:pt x="461481" y="1055680"/>
                  </a:cubicBezTo>
                  <a:cubicBezTo>
                    <a:pt x="456938" y="1058432"/>
                    <a:pt x="452750" y="1061806"/>
                    <a:pt x="447761" y="1063768"/>
                  </a:cubicBezTo>
                  <a:cubicBezTo>
                    <a:pt x="440545" y="1063002"/>
                    <a:pt x="433061" y="1059748"/>
                    <a:pt x="428220" y="1054244"/>
                  </a:cubicBezTo>
                  <a:cubicBezTo>
                    <a:pt x="428636" y="1046396"/>
                    <a:pt x="430626" y="1037781"/>
                    <a:pt x="436832" y="1032445"/>
                  </a:cubicBezTo>
                  <a:cubicBezTo>
                    <a:pt x="445148" y="1030220"/>
                    <a:pt x="453819" y="1029861"/>
                    <a:pt x="462253" y="1031727"/>
                  </a:cubicBezTo>
                  <a:cubicBezTo>
                    <a:pt x="470628" y="1025195"/>
                    <a:pt x="482893" y="1022012"/>
                    <a:pt x="486991" y="1011412"/>
                  </a:cubicBezTo>
                  <a:cubicBezTo>
                    <a:pt x="470569" y="1017226"/>
                    <a:pt x="454413" y="1026391"/>
                    <a:pt x="436417" y="1021366"/>
                  </a:cubicBezTo>
                  <a:cubicBezTo>
                    <a:pt x="438971" y="1014762"/>
                    <a:pt x="440545" y="1006985"/>
                    <a:pt x="446276" y="1002295"/>
                  </a:cubicBezTo>
                  <a:cubicBezTo>
                    <a:pt x="455067" y="1000093"/>
                    <a:pt x="464035" y="998657"/>
                    <a:pt x="472410" y="995116"/>
                  </a:cubicBezTo>
                  <a:lnTo>
                    <a:pt x="449038" y="990450"/>
                  </a:lnTo>
                  <a:cubicBezTo>
                    <a:pt x="451295" y="986549"/>
                    <a:pt x="453641" y="982649"/>
                    <a:pt x="456076" y="978868"/>
                  </a:cubicBezTo>
                  <a:cubicBezTo>
                    <a:pt x="447108" y="974800"/>
                    <a:pt x="454116" y="964128"/>
                    <a:pt x="461125" y="962453"/>
                  </a:cubicBezTo>
                  <a:cubicBezTo>
                    <a:pt x="473063" y="959581"/>
                    <a:pt x="485388" y="961926"/>
                    <a:pt x="497356" y="963410"/>
                  </a:cubicBezTo>
                  <a:cubicBezTo>
                    <a:pt x="488981" y="957906"/>
                    <a:pt x="478646" y="956830"/>
                    <a:pt x="469975" y="952403"/>
                  </a:cubicBezTo>
                  <a:cubicBezTo>
                    <a:pt x="467510" y="941060"/>
                    <a:pt x="479478" y="931967"/>
                    <a:pt x="489575" y="930699"/>
                  </a:cubicBezTo>
                  <a:cubicBezTo>
                    <a:pt x="496287" y="928857"/>
                    <a:pt x="505909" y="925626"/>
                    <a:pt x="510987" y="932326"/>
                  </a:cubicBezTo>
                  <a:cubicBezTo>
                    <a:pt x="513363" y="941372"/>
                    <a:pt x="514462" y="950847"/>
                    <a:pt x="517491" y="959773"/>
                  </a:cubicBezTo>
                  <a:cubicBezTo>
                    <a:pt x="524499" y="957906"/>
                    <a:pt x="531152" y="954078"/>
                    <a:pt x="538487" y="953719"/>
                  </a:cubicBezTo>
                  <a:cubicBezTo>
                    <a:pt x="548168" y="956399"/>
                    <a:pt x="554286" y="965157"/>
                    <a:pt x="555058" y="975159"/>
                  </a:cubicBezTo>
                  <a:cubicBezTo>
                    <a:pt x="561146" y="978222"/>
                    <a:pt x="566967" y="982122"/>
                    <a:pt x="571451" y="987387"/>
                  </a:cubicBezTo>
                  <a:cubicBezTo>
                    <a:pt x="566789" y="989852"/>
                    <a:pt x="562185" y="992364"/>
                    <a:pt x="557523" y="994924"/>
                  </a:cubicBezTo>
                  <a:cubicBezTo>
                    <a:pt x="560136" y="996360"/>
                    <a:pt x="562779" y="997940"/>
                    <a:pt x="565333" y="999423"/>
                  </a:cubicBezTo>
                  <a:cubicBezTo>
                    <a:pt x="567145" y="996241"/>
                    <a:pt x="568986" y="993130"/>
                    <a:pt x="570976" y="990019"/>
                  </a:cubicBezTo>
                  <a:cubicBezTo>
                    <a:pt x="571095" y="992292"/>
                    <a:pt x="571154" y="994566"/>
                    <a:pt x="571273" y="996911"/>
                  </a:cubicBezTo>
                  <a:cubicBezTo>
                    <a:pt x="572817" y="996719"/>
                    <a:pt x="574421" y="996552"/>
                    <a:pt x="576054" y="996432"/>
                  </a:cubicBezTo>
                  <a:cubicBezTo>
                    <a:pt x="577420" y="1006434"/>
                    <a:pt x="578935" y="1016437"/>
                    <a:pt x="580776" y="1026439"/>
                  </a:cubicBezTo>
                  <a:cubicBezTo>
                    <a:pt x="599248" y="1016389"/>
                    <a:pt x="619472" y="1027468"/>
                    <a:pt x="638538" y="1029262"/>
                  </a:cubicBezTo>
                  <a:cubicBezTo>
                    <a:pt x="638122" y="1022562"/>
                    <a:pt x="639369" y="1015838"/>
                    <a:pt x="638597" y="1009138"/>
                  </a:cubicBezTo>
                  <a:cubicBezTo>
                    <a:pt x="630757" y="1001457"/>
                    <a:pt x="620897" y="996312"/>
                    <a:pt x="611632" y="990617"/>
                  </a:cubicBezTo>
                  <a:cubicBezTo>
                    <a:pt x="612939" y="984922"/>
                    <a:pt x="614394" y="979347"/>
                    <a:pt x="615463" y="973676"/>
                  </a:cubicBezTo>
                  <a:lnTo>
                    <a:pt x="618522" y="985999"/>
                  </a:lnTo>
                  <a:cubicBezTo>
                    <a:pt x="623303" y="981094"/>
                    <a:pt x="630698" y="976786"/>
                    <a:pt x="627728" y="968220"/>
                  </a:cubicBezTo>
                  <a:cubicBezTo>
                    <a:pt x="621373" y="955322"/>
                    <a:pt x="599723" y="954915"/>
                    <a:pt x="601594" y="936873"/>
                  </a:cubicBezTo>
                  <a:cubicBezTo>
                    <a:pt x="606494" y="934073"/>
                    <a:pt x="612760" y="932614"/>
                    <a:pt x="616294" y="927947"/>
                  </a:cubicBezTo>
                  <a:cubicBezTo>
                    <a:pt x="620838" y="917538"/>
                    <a:pt x="624550" y="906627"/>
                    <a:pt x="630401" y="896864"/>
                  </a:cubicBezTo>
                  <a:close/>
                  <a:moveTo>
                    <a:pt x="919258" y="893258"/>
                  </a:moveTo>
                  <a:cubicBezTo>
                    <a:pt x="921691" y="891434"/>
                    <a:pt x="924852" y="895368"/>
                    <a:pt x="922420" y="897135"/>
                  </a:cubicBezTo>
                  <a:cubicBezTo>
                    <a:pt x="919987" y="898959"/>
                    <a:pt x="916826" y="895026"/>
                    <a:pt x="919258" y="893258"/>
                  </a:cubicBezTo>
                  <a:close/>
                  <a:moveTo>
                    <a:pt x="1091620" y="892939"/>
                  </a:moveTo>
                  <a:cubicBezTo>
                    <a:pt x="1102438" y="903535"/>
                    <a:pt x="1091801" y="918342"/>
                    <a:pt x="1099175" y="930260"/>
                  </a:cubicBezTo>
                  <a:lnTo>
                    <a:pt x="1089867" y="932068"/>
                  </a:lnTo>
                  <a:cubicBezTo>
                    <a:pt x="1085575" y="922497"/>
                    <a:pt x="1078928" y="913529"/>
                    <a:pt x="1077355" y="902933"/>
                  </a:cubicBezTo>
                  <a:cubicBezTo>
                    <a:pt x="1080014" y="897333"/>
                    <a:pt x="1086603" y="895709"/>
                    <a:pt x="1091620" y="892939"/>
                  </a:cubicBezTo>
                  <a:close/>
                  <a:moveTo>
                    <a:pt x="522180" y="886919"/>
                  </a:moveTo>
                  <a:cubicBezTo>
                    <a:pt x="525723" y="891837"/>
                    <a:pt x="534069" y="902464"/>
                    <a:pt x="525901" y="906530"/>
                  </a:cubicBezTo>
                  <a:cubicBezTo>
                    <a:pt x="515153" y="907988"/>
                    <a:pt x="504825" y="904588"/>
                    <a:pt x="494438" y="902342"/>
                  </a:cubicBezTo>
                  <a:cubicBezTo>
                    <a:pt x="497379" y="888984"/>
                    <a:pt x="510893" y="888133"/>
                    <a:pt x="522180" y="886919"/>
                  </a:cubicBezTo>
                  <a:close/>
                  <a:moveTo>
                    <a:pt x="916945" y="873542"/>
                  </a:moveTo>
                  <a:cubicBezTo>
                    <a:pt x="920518" y="872370"/>
                    <a:pt x="921843" y="878345"/>
                    <a:pt x="918271" y="879107"/>
                  </a:cubicBezTo>
                  <a:cubicBezTo>
                    <a:pt x="914640" y="880396"/>
                    <a:pt x="913315" y="874303"/>
                    <a:pt x="916945" y="873542"/>
                  </a:cubicBezTo>
                  <a:close/>
                  <a:moveTo>
                    <a:pt x="950483" y="870794"/>
                  </a:moveTo>
                  <a:cubicBezTo>
                    <a:pt x="954222" y="870351"/>
                    <a:pt x="958163" y="871096"/>
                    <a:pt x="961477" y="872830"/>
                  </a:cubicBezTo>
                  <a:cubicBezTo>
                    <a:pt x="970867" y="877607"/>
                    <a:pt x="981320" y="880381"/>
                    <a:pt x="989478" y="887316"/>
                  </a:cubicBezTo>
                  <a:cubicBezTo>
                    <a:pt x="993344" y="890655"/>
                    <a:pt x="998231" y="882410"/>
                    <a:pt x="1002140" y="886648"/>
                  </a:cubicBezTo>
                  <a:cubicBezTo>
                    <a:pt x="1008216" y="892864"/>
                    <a:pt x="1011997" y="901083"/>
                    <a:pt x="1015566" y="908916"/>
                  </a:cubicBezTo>
                  <a:cubicBezTo>
                    <a:pt x="1013442" y="917880"/>
                    <a:pt x="1010638" y="926742"/>
                    <a:pt x="1008131" y="935603"/>
                  </a:cubicBezTo>
                  <a:cubicBezTo>
                    <a:pt x="1011997" y="930081"/>
                    <a:pt x="1014972" y="923916"/>
                    <a:pt x="1019221" y="918651"/>
                  </a:cubicBezTo>
                  <a:cubicBezTo>
                    <a:pt x="1025679" y="917701"/>
                    <a:pt x="1032562" y="919678"/>
                    <a:pt x="1038723" y="916879"/>
                  </a:cubicBezTo>
                  <a:cubicBezTo>
                    <a:pt x="1046414" y="913642"/>
                    <a:pt x="1055167" y="909019"/>
                    <a:pt x="1063580" y="911844"/>
                  </a:cubicBezTo>
                  <a:cubicBezTo>
                    <a:pt x="1072885" y="916211"/>
                    <a:pt x="1078876" y="925355"/>
                    <a:pt x="1081765" y="934986"/>
                  </a:cubicBezTo>
                  <a:cubicBezTo>
                    <a:pt x="1072800" y="933368"/>
                    <a:pt x="1064047" y="930980"/>
                    <a:pt x="1055464" y="928180"/>
                  </a:cubicBezTo>
                  <a:cubicBezTo>
                    <a:pt x="1074457" y="937863"/>
                    <a:pt x="1091368" y="943437"/>
                    <a:pt x="1107514" y="950731"/>
                  </a:cubicBezTo>
                  <a:cubicBezTo>
                    <a:pt x="1112953" y="953428"/>
                    <a:pt x="1110276" y="961262"/>
                    <a:pt x="1105177" y="962392"/>
                  </a:cubicBezTo>
                  <a:cubicBezTo>
                    <a:pt x="1090136" y="966219"/>
                    <a:pt x="1074797" y="962803"/>
                    <a:pt x="1059713" y="961801"/>
                  </a:cubicBezTo>
                  <a:cubicBezTo>
                    <a:pt x="1064345" y="964138"/>
                    <a:pt x="1069146" y="966296"/>
                    <a:pt x="1073777" y="968556"/>
                  </a:cubicBezTo>
                  <a:cubicBezTo>
                    <a:pt x="1073565" y="970174"/>
                    <a:pt x="1073310" y="971792"/>
                    <a:pt x="1073098" y="973410"/>
                  </a:cubicBezTo>
                  <a:cubicBezTo>
                    <a:pt x="1078281" y="971202"/>
                    <a:pt x="1083720" y="971921"/>
                    <a:pt x="1088606" y="974592"/>
                  </a:cubicBezTo>
                  <a:cubicBezTo>
                    <a:pt x="1080618" y="976518"/>
                    <a:pt x="1072800" y="978856"/>
                    <a:pt x="1065067" y="981655"/>
                  </a:cubicBezTo>
                  <a:cubicBezTo>
                    <a:pt x="1074202" y="984583"/>
                    <a:pt x="1083975" y="983505"/>
                    <a:pt x="1093280" y="982092"/>
                  </a:cubicBezTo>
                  <a:cubicBezTo>
                    <a:pt x="1095362" y="986638"/>
                    <a:pt x="1096934" y="991415"/>
                    <a:pt x="1097997" y="996321"/>
                  </a:cubicBezTo>
                  <a:cubicBezTo>
                    <a:pt x="1103520" y="996373"/>
                    <a:pt x="1112868" y="998042"/>
                    <a:pt x="1112103" y="1005234"/>
                  </a:cubicBezTo>
                  <a:cubicBezTo>
                    <a:pt x="1115502" y="1015045"/>
                    <a:pt x="1105900" y="1016304"/>
                    <a:pt x="1100291" y="1019540"/>
                  </a:cubicBezTo>
                  <a:cubicBezTo>
                    <a:pt x="1110191" y="1019001"/>
                    <a:pt x="1112698" y="1028196"/>
                    <a:pt x="1116182" y="1034899"/>
                  </a:cubicBezTo>
                  <a:lnTo>
                    <a:pt x="1120176" y="1036107"/>
                  </a:lnTo>
                  <a:cubicBezTo>
                    <a:pt x="1119581" y="1027554"/>
                    <a:pt x="1119624" y="1018872"/>
                    <a:pt x="1121833" y="1010550"/>
                  </a:cubicBezTo>
                  <a:cubicBezTo>
                    <a:pt x="1126890" y="1016843"/>
                    <a:pt x="1130501" y="1024086"/>
                    <a:pt x="1133985" y="1031432"/>
                  </a:cubicBezTo>
                  <a:lnTo>
                    <a:pt x="1145118" y="1022288"/>
                  </a:lnTo>
                  <a:cubicBezTo>
                    <a:pt x="1147242" y="1024446"/>
                    <a:pt x="1149409" y="1026655"/>
                    <a:pt x="1151576" y="1028812"/>
                  </a:cubicBezTo>
                  <a:cubicBezTo>
                    <a:pt x="1152808" y="1024985"/>
                    <a:pt x="1154168" y="1021210"/>
                    <a:pt x="1155868" y="1017562"/>
                  </a:cubicBezTo>
                  <a:cubicBezTo>
                    <a:pt x="1162326" y="1024677"/>
                    <a:pt x="1169549" y="1031021"/>
                    <a:pt x="1177792" y="1035927"/>
                  </a:cubicBezTo>
                  <a:cubicBezTo>
                    <a:pt x="1176602" y="1037956"/>
                    <a:pt x="1175413" y="1039934"/>
                    <a:pt x="1174266" y="1041963"/>
                  </a:cubicBezTo>
                  <a:cubicBezTo>
                    <a:pt x="1179662" y="1039702"/>
                    <a:pt x="1185143" y="1037673"/>
                    <a:pt x="1190837" y="1036055"/>
                  </a:cubicBezTo>
                  <a:cubicBezTo>
                    <a:pt x="1188542" y="1033101"/>
                    <a:pt x="1186290" y="1030173"/>
                    <a:pt x="1184081" y="1027194"/>
                  </a:cubicBezTo>
                  <a:cubicBezTo>
                    <a:pt x="1203923" y="1020542"/>
                    <a:pt x="1224276" y="1013016"/>
                    <a:pt x="1239615" y="998170"/>
                  </a:cubicBezTo>
                  <a:cubicBezTo>
                    <a:pt x="1244331" y="1001047"/>
                    <a:pt x="1248877" y="1004463"/>
                    <a:pt x="1254231" y="1005953"/>
                  </a:cubicBezTo>
                  <a:cubicBezTo>
                    <a:pt x="1261752" y="1004515"/>
                    <a:pt x="1267573" y="998710"/>
                    <a:pt x="1274966" y="996912"/>
                  </a:cubicBezTo>
                  <a:cubicBezTo>
                    <a:pt x="1285121" y="996989"/>
                    <a:pt x="1294936" y="999737"/>
                    <a:pt x="1304369" y="1003384"/>
                  </a:cubicBezTo>
                  <a:cubicBezTo>
                    <a:pt x="1303052" y="1007160"/>
                    <a:pt x="1301862" y="1010987"/>
                    <a:pt x="1300630" y="1014814"/>
                  </a:cubicBezTo>
                  <a:cubicBezTo>
                    <a:pt x="1309510" y="1016432"/>
                    <a:pt x="1320090" y="1013119"/>
                    <a:pt x="1327696" y="1019103"/>
                  </a:cubicBezTo>
                  <a:cubicBezTo>
                    <a:pt x="1333135" y="1023187"/>
                    <a:pt x="1326124" y="1029095"/>
                    <a:pt x="1323914" y="1033101"/>
                  </a:cubicBezTo>
                  <a:cubicBezTo>
                    <a:pt x="1328588" y="1032768"/>
                    <a:pt x="1333390" y="1031869"/>
                    <a:pt x="1338021" y="1032768"/>
                  </a:cubicBezTo>
                  <a:cubicBezTo>
                    <a:pt x="1342057" y="1039035"/>
                    <a:pt x="1343884" y="1047228"/>
                    <a:pt x="1342397" y="1054651"/>
                  </a:cubicBezTo>
                  <a:cubicBezTo>
                    <a:pt x="1336534" y="1062844"/>
                    <a:pt x="1327738" y="1068521"/>
                    <a:pt x="1320813" y="1075892"/>
                  </a:cubicBezTo>
                  <a:cubicBezTo>
                    <a:pt x="1327356" y="1080669"/>
                    <a:pt x="1334197" y="1076483"/>
                    <a:pt x="1340443" y="1073606"/>
                  </a:cubicBezTo>
                  <a:cubicBezTo>
                    <a:pt x="1342695" y="1078461"/>
                    <a:pt x="1344989" y="1083264"/>
                    <a:pt x="1347241" y="1088092"/>
                  </a:cubicBezTo>
                  <a:cubicBezTo>
                    <a:pt x="1340825" y="1089762"/>
                    <a:pt x="1334409" y="1091277"/>
                    <a:pt x="1327823" y="1092048"/>
                  </a:cubicBezTo>
                  <a:cubicBezTo>
                    <a:pt x="1327059" y="1099214"/>
                    <a:pt x="1326931" y="1106457"/>
                    <a:pt x="1327356" y="1113648"/>
                  </a:cubicBezTo>
                  <a:cubicBezTo>
                    <a:pt x="1313292" y="1113597"/>
                    <a:pt x="1298633" y="1114059"/>
                    <a:pt x="1288180" y="1125078"/>
                  </a:cubicBezTo>
                  <a:cubicBezTo>
                    <a:pt x="1279767" y="1121302"/>
                    <a:pt x="1270717" y="1118965"/>
                    <a:pt x="1261454" y="1118734"/>
                  </a:cubicBezTo>
                  <a:cubicBezTo>
                    <a:pt x="1260520" y="1105275"/>
                    <a:pt x="1257036" y="1091868"/>
                    <a:pt x="1245691" y="1083726"/>
                  </a:cubicBezTo>
                  <a:cubicBezTo>
                    <a:pt x="1248665" y="1092176"/>
                    <a:pt x="1253041" y="1101191"/>
                    <a:pt x="1248793" y="1110053"/>
                  </a:cubicBezTo>
                  <a:cubicBezTo>
                    <a:pt x="1247475" y="1119196"/>
                    <a:pt x="1237108" y="1119505"/>
                    <a:pt x="1229715" y="1120583"/>
                  </a:cubicBezTo>
                  <a:cubicBezTo>
                    <a:pt x="1221302" y="1120994"/>
                    <a:pt x="1212889" y="1119864"/>
                    <a:pt x="1204518" y="1120943"/>
                  </a:cubicBezTo>
                  <a:cubicBezTo>
                    <a:pt x="1203244" y="1118554"/>
                    <a:pt x="1201926" y="1116217"/>
                    <a:pt x="1200609" y="1113880"/>
                  </a:cubicBezTo>
                  <a:cubicBezTo>
                    <a:pt x="1199250" y="1116448"/>
                    <a:pt x="1197932" y="1119094"/>
                    <a:pt x="1196615" y="1121662"/>
                  </a:cubicBezTo>
                  <a:lnTo>
                    <a:pt x="1185270" y="1124230"/>
                  </a:lnTo>
                  <a:cubicBezTo>
                    <a:pt x="1185143" y="1120943"/>
                    <a:pt x="1185015" y="1117707"/>
                    <a:pt x="1184973" y="1114419"/>
                  </a:cubicBezTo>
                  <a:cubicBezTo>
                    <a:pt x="1181744" y="1118143"/>
                    <a:pt x="1178217" y="1122201"/>
                    <a:pt x="1172948" y="1122561"/>
                  </a:cubicBezTo>
                  <a:cubicBezTo>
                    <a:pt x="1158119" y="1124359"/>
                    <a:pt x="1142611" y="1126208"/>
                    <a:pt x="1128207" y="1121354"/>
                  </a:cubicBezTo>
                  <a:cubicBezTo>
                    <a:pt x="1125445" y="1110720"/>
                    <a:pt x="1131436" y="1099650"/>
                    <a:pt x="1127060" y="1089043"/>
                  </a:cubicBezTo>
                  <a:cubicBezTo>
                    <a:pt x="1124128" y="1094077"/>
                    <a:pt x="1121918" y="1099291"/>
                    <a:pt x="1120346" y="1105018"/>
                  </a:cubicBezTo>
                  <a:cubicBezTo>
                    <a:pt x="1118986" y="1102167"/>
                    <a:pt x="1117627" y="1099342"/>
                    <a:pt x="1116182" y="1096542"/>
                  </a:cubicBezTo>
                  <a:cubicBezTo>
                    <a:pt x="1113718" y="1104248"/>
                    <a:pt x="1112486" y="1114188"/>
                    <a:pt x="1103605" y="1117244"/>
                  </a:cubicBezTo>
                  <a:cubicBezTo>
                    <a:pt x="1089796" y="1123280"/>
                    <a:pt x="1078579" y="1109333"/>
                    <a:pt x="1067659" y="1102810"/>
                  </a:cubicBezTo>
                  <a:cubicBezTo>
                    <a:pt x="1070038" y="1097364"/>
                    <a:pt x="1071993" y="1091739"/>
                    <a:pt x="1073735" y="1086012"/>
                  </a:cubicBezTo>
                  <a:cubicBezTo>
                    <a:pt x="1067701" y="1093255"/>
                    <a:pt x="1061243" y="1101371"/>
                    <a:pt x="1063452" y="1111491"/>
                  </a:cubicBezTo>
                  <a:cubicBezTo>
                    <a:pt x="1056272" y="1107715"/>
                    <a:pt x="1047434" y="1104479"/>
                    <a:pt x="1043610" y="1096902"/>
                  </a:cubicBezTo>
                  <a:cubicBezTo>
                    <a:pt x="1041698" y="1086731"/>
                    <a:pt x="1039913" y="1076123"/>
                    <a:pt x="1041400" y="1065721"/>
                  </a:cubicBezTo>
                  <a:cubicBezTo>
                    <a:pt x="1028271" y="1057528"/>
                    <a:pt x="1031798" y="1037905"/>
                    <a:pt x="1038553" y="1026475"/>
                  </a:cubicBezTo>
                  <a:cubicBezTo>
                    <a:pt x="1046287" y="1016663"/>
                    <a:pt x="1039871" y="1003795"/>
                    <a:pt x="1038723" y="993136"/>
                  </a:cubicBezTo>
                  <a:cubicBezTo>
                    <a:pt x="1027591" y="978856"/>
                    <a:pt x="1023597" y="960953"/>
                    <a:pt x="1017011" y="944387"/>
                  </a:cubicBezTo>
                  <a:cubicBezTo>
                    <a:pt x="1012125" y="946185"/>
                    <a:pt x="1007323" y="948214"/>
                    <a:pt x="1002437" y="950063"/>
                  </a:cubicBezTo>
                  <a:cubicBezTo>
                    <a:pt x="1002267" y="951990"/>
                    <a:pt x="1002055" y="953890"/>
                    <a:pt x="1001970" y="955868"/>
                  </a:cubicBezTo>
                  <a:cubicBezTo>
                    <a:pt x="994364" y="954430"/>
                    <a:pt x="986886" y="952118"/>
                    <a:pt x="979238" y="951681"/>
                  </a:cubicBezTo>
                  <a:cubicBezTo>
                    <a:pt x="973374" y="953608"/>
                    <a:pt x="968020" y="956844"/>
                    <a:pt x="962029" y="958385"/>
                  </a:cubicBezTo>
                  <a:cubicBezTo>
                    <a:pt x="964834" y="953839"/>
                    <a:pt x="968020" y="949601"/>
                    <a:pt x="971335" y="945414"/>
                  </a:cubicBezTo>
                  <a:cubicBezTo>
                    <a:pt x="960712" y="944027"/>
                    <a:pt x="949495" y="940791"/>
                    <a:pt x="943801" y="930877"/>
                  </a:cubicBezTo>
                  <a:lnTo>
                    <a:pt x="954381" y="925483"/>
                  </a:lnTo>
                  <a:cubicBezTo>
                    <a:pt x="943929" y="921117"/>
                    <a:pt x="936876" y="911613"/>
                    <a:pt x="926423" y="907221"/>
                  </a:cubicBezTo>
                  <a:cubicBezTo>
                    <a:pt x="926211" y="904293"/>
                    <a:pt x="925998" y="901365"/>
                    <a:pt x="925701" y="898437"/>
                  </a:cubicBezTo>
                  <a:cubicBezTo>
                    <a:pt x="929525" y="900004"/>
                    <a:pt x="933349" y="901442"/>
                    <a:pt x="937173" y="902855"/>
                  </a:cubicBezTo>
                  <a:cubicBezTo>
                    <a:pt x="937088" y="894019"/>
                    <a:pt x="923534" y="890732"/>
                    <a:pt x="930545" y="881511"/>
                  </a:cubicBezTo>
                  <a:cubicBezTo>
                    <a:pt x="927783" y="881922"/>
                    <a:pt x="925021" y="882410"/>
                    <a:pt x="922344" y="882949"/>
                  </a:cubicBezTo>
                  <a:cubicBezTo>
                    <a:pt x="928760" y="881280"/>
                    <a:pt x="936153" y="881331"/>
                    <a:pt x="940700" y="875886"/>
                  </a:cubicBezTo>
                  <a:cubicBezTo>
                    <a:pt x="943207" y="872868"/>
                    <a:pt x="946744" y="871237"/>
                    <a:pt x="950483" y="870794"/>
                  </a:cubicBezTo>
                  <a:close/>
                  <a:moveTo>
                    <a:pt x="520598" y="860251"/>
                  </a:moveTo>
                  <a:cubicBezTo>
                    <a:pt x="524000" y="858825"/>
                    <a:pt x="526041" y="864184"/>
                    <a:pt x="522392" y="865040"/>
                  </a:cubicBezTo>
                  <a:cubicBezTo>
                    <a:pt x="518928" y="866351"/>
                    <a:pt x="517011" y="861163"/>
                    <a:pt x="520598" y="860251"/>
                  </a:cubicBezTo>
                  <a:close/>
                  <a:moveTo>
                    <a:pt x="753457" y="856821"/>
                  </a:moveTo>
                  <a:lnTo>
                    <a:pt x="757804" y="863373"/>
                  </a:lnTo>
                  <a:cubicBezTo>
                    <a:pt x="753698" y="865981"/>
                    <a:pt x="749170" y="867862"/>
                    <a:pt x="744761" y="869864"/>
                  </a:cubicBezTo>
                  <a:cubicBezTo>
                    <a:pt x="747055" y="865072"/>
                    <a:pt x="750015" y="860764"/>
                    <a:pt x="753457" y="856821"/>
                  </a:cubicBezTo>
                  <a:close/>
                  <a:moveTo>
                    <a:pt x="1069801" y="850894"/>
                  </a:moveTo>
                  <a:cubicBezTo>
                    <a:pt x="1073296" y="851767"/>
                    <a:pt x="1075771" y="854647"/>
                    <a:pt x="1074691" y="859810"/>
                  </a:cubicBezTo>
                  <a:cubicBezTo>
                    <a:pt x="1069831" y="866853"/>
                    <a:pt x="1062690" y="857720"/>
                    <a:pt x="1058791" y="854021"/>
                  </a:cubicBezTo>
                  <a:cubicBezTo>
                    <a:pt x="1061791" y="851156"/>
                    <a:pt x="1066306" y="850021"/>
                    <a:pt x="1069801" y="850894"/>
                  </a:cubicBezTo>
                  <a:close/>
                  <a:moveTo>
                    <a:pt x="956456" y="848793"/>
                  </a:moveTo>
                  <a:cubicBezTo>
                    <a:pt x="960508" y="850805"/>
                    <a:pt x="964561" y="852934"/>
                    <a:pt x="968495" y="855242"/>
                  </a:cubicBezTo>
                  <a:lnTo>
                    <a:pt x="964384" y="861334"/>
                  </a:lnTo>
                  <a:cubicBezTo>
                    <a:pt x="961565" y="857252"/>
                    <a:pt x="958982" y="853052"/>
                    <a:pt x="956456" y="848793"/>
                  </a:cubicBezTo>
                  <a:close/>
                  <a:moveTo>
                    <a:pt x="448747" y="816184"/>
                  </a:moveTo>
                  <a:cubicBezTo>
                    <a:pt x="455680" y="816366"/>
                    <a:pt x="462362" y="818345"/>
                    <a:pt x="468287" y="822050"/>
                  </a:cubicBezTo>
                  <a:lnTo>
                    <a:pt x="458255" y="826717"/>
                  </a:lnTo>
                  <a:cubicBezTo>
                    <a:pt x="463676" y="827843"/>
                    <a:pt x="469187" y="828623"/>
                    <a:pt x="474626" y="829350"/>
                  </a:cubicBezTo>
                  <a:cubicBezTo>
                    <a:pt x="477075" y="834307"/>
                    <a:pt x="479939" y="839265"/>
                    <a:pt x="480893" y="844767"/>
                  </a:cubicBezTo>
                  <a:cubicBezTo>
                    <a:pt x="474806" y="851468"/>
                    <a:pt x="463622" y="853212"/>
                    <a:pt x="459984" y="862001"/>
                  </a:cubicBezTo>
                  <a:cubicBezTo>
                    <a:pt x="463856" y="870736"/>
                    <a:pt x="469907" y="878327"/>
                    <a:pt x="474554" y="886644"/>
                  </a:cubicBezTo>
                  <a:cubicBezTo>
                    <a:pt x="469187" y="885754"/>
                    <a:pt x="463802" y="884737"/>
                    <a:pt x="458490" y="883720"/>
                  </a:cubicBezTo>
                  <a:cubicBezTo>
                    <a:pt x="463334" y="891910"/>
                    <a:pt x="472051" y="899809"/>
                    <a:pt x="470862" y="910088"/>
                  </a:cubicBezTo>
                  <a:cubicBezTo>
                    <a:pt x="464937" y="919004"/>
                    <a:pt x="452745" y="919731"/>
                    <a:pt x="444623" y="925887"/>
                  </a:cubicBezTo>
                  <a:cubicBezTo>
                    <a:pt x="441165" y="934495"/>
                    <a:pt x="446477" y="947479"/>
                    <a:pt x="436915" y="952509"/>
                  </a:cubicBezTo>
                  <a:cubicBezTo>
                    <a:pt x="428198" y="955069"/>
                    <a:pt x="421553" y="945209"/>
                    <a:pt x="419644" y="937854"/>
                  </a:cubicBezTo>
                  <a:cubicBezTo>
                    <a:pt x="418563" y="923853"/>
                    <a:pt x="423048" y="910088"/>
                    <a:pt x="425569" y="896450"/>
                  </a:cubicBezTo>
                  <a:cubicBezTo>
                    <a:pt x="421733" y="898484"/>
                    <a:pt x="417681" y="900227"/>
                    <a:pt x="414097" y="902788"/>
                  </a:cubicBezTo>
                  <a:cubicBezTo>
                    <a:pt x="410801" y="910451"/>
                    <a:pt x="413142" y="919894"/>
                    <a:pt x="408478" y="927140"/>
                  </a:cubicBezTo>
                  <a:cubicBezTo>
                    <a:pt x="404894" y="927739"/>
                    <a:pt x="401184" y="927376"/>
                    <a:pt x="397546" y="927267"/>
                  </a:cubicBezTo>
                  <a:cubicBezTo>
                    <a:pt x="400230" y="931026"/>
                    <a:pt x="403273" y="934622"/>
                    <a:pt x="405074" y="938980"/>
                  </a:cubicBezTo>
                  <a:cubicBezTo>
                    <a:pt x="402805" y="950348"/>
                    <a:pt x="398501" y="961171"/>
                    <a:pt x="394485" y="971994"/>
                  </a:cubicBezTo>
                  <a:cubicBezTo>
                    <a:pt x="387029" y="964876"/>
                    <a:pt x="386363" y="954234"/>
                    <a:pt x="384040" y="944791"/>
                  </a:cubicBezTo>
                  <a:cubicBezTo>
                    <a:pt x="382725" y="945499"/>
                    <a:pt x="381338" y="946280"/>
                    <a:pt x="380024" y="947061"/>
                  </a:cubicBezTo>
                  <a:cubicBezTo>
                    <a:pt x="380690" y="958066"/>
                    <a:pt x="382239" y="969071"/>
                    <a:pt x="382725" y="980075"/>
                  </a:cubicBezTo>
                  <a:cubicBezTo>
                    <a:pt x="381284" y="990790"/>
                    <a:pt x="370659" y="995148"/>
                    <a:pt x="361564" y="997781"/>
                  </a:cubicBezTo>
                  <a:cubicBezTo>
                    <a:pt x="359007" y="983671"/>
                    <a:pt x="355585" y="969670"/>
                    <a:pt x="351713" y="955905"/>
                  </a:cubicBezTo>
                  <a:cubicBezTo>
                    <a:pt x="349624" y="964821"/>
                    <a:pt x="349084" y="973974"/>
                    <a:pt x="348417" y="983072"/>
                  </a:cubicBezTo>
                  <a:cubicBezTo>
                    <a:pt x="339161" y="986304"/>
                    <a:pt x="332173" y="979240"/>
                    <a:pt x="326374" y="973011"/>
                  </a:cubicBezTo>
                  <a:cubicBezTo>
                    <a:pt x="321296" y="979785"/>
                    <a:pt x="316163" y="986413"/>
                    <a:pt x="310472" y="992642"/>
                  </a:cubicBezTo>
                  <a:cubicBezTo>
                    <a:pt x="310130" y="987848"/>
                    <a:pt x="309824" y="983126"/>
                    <a:pt x="309698" y="978405"/>
                  </a:cubicBezTo>
                  <a:cubicBezTo>
                    <a:pt x="306708" y="978169"/>
                    <a:pt x="303737" y="977987"/>
                    <a:pt x="300801" y="977805"/>
                  </a:cubicBezTo>
                  <a:lnTo>
                    <a:pt x="300801" y="974391"/>
                  </a:lnTo>
                  <a:cubicBezTo>
                    <a:pt x="304745" y="974573"/>
                    <a:pt x="308689" y="974864"/>
                    <a:pt x="312633" y="975172"/>
                  </a:cubicBezTo>
                  <a:cubicBezTo>
                    <a:pt x="311318" y="970378"/>
                    <a:pt x="309770" y="965657"/>
                    <a:pt x="308275" y="960935"/>
                  </a:cubicBezTo>
                  <a:cubicBezTo>
                    <a:pt x="305754" y="963695"/>
                    <a:pt x="303250" y="966437"/>
                    <a:pt x="300801" y="969252"/>
                  </a:cubicBezTo>
                  <a:lnTo>
                    <a:pt x="300801" y="966982"/>
                  </a:lnTo>
                  <a:cubicBezTo>
                    <a:pt x="305393" y="954779"/>
                    <a:pt x="312093" y="942757"/>
                    <a:pt x="322376" y="934495"/>
                  </a:cubicBezTo>
                  <a:cubicBezTo>
                    <a:pt x="328823" y="935275"/>
                    <a:pt x="334316" y="938980"/>
                    <a:pt x="339827" y="942267"/>
                  </a:cubicBezTo>
                  <a:cubicBezTo>
                    <a:pt x="338332" y="935221"/>
                    <a:pt x="335937" y="927321"/>
                    <a:pt x="340115" y="920748"/>
                  </a:cubicBezTo>
                  <a:cubicBezTo>
                    <a:pt x="342799" y="914809"/>
                    <a:pt x="348958" y="909743"/>
                    <a:pt x="347535" y="902624"/>
                  </a:cubicBezTo>
                  <a:cubicBezTo>
                    <a:pt x="350867" y="903750"/>
                    <a:pt x="354216" y="904949"/>
                    <a:pt x="357620" y="906147"/>
                  </a:cubicBezTo>
                  <a:cubicBezTo>
                    <a:pt x="360249" y="899501"/>
                    <a:pt x="362338" y="892618"/>
                    <a:pt x="365634" y="886281"/>
                  </a:cubicBezTo>
                  <a:cubicBezTo>
                    <a:pt x="373216" y="870554"/>
                    <a:pt x="387984" y="858896"/>
                    <a:pt x="391675" y="841244"/>
                  </a:cubicBezTo>
                  <a:cubicBezTo>
                    <a:pt x="394017" y="843169"/>
                    <a:pt x="396412" y="845022"/>
                    <a:pt x="398861" y="846874"/>
                  </a:cubicBezTo>
                  <a:cubicBezTo>
                    <a:pt x="400104" y="843750"/>
                    <a:pt x="401364" y="840645"/>
                    <a:pt x="402625" y="837540"/>
                  </a:cubicBezTo>
                  <a:cubicBezTo>
                    <a:pt x="417014" y="835452"/>
                    <a:pt x="431530" y="837540"/>
                    <a:pt x="443614" y="846093"/>
                  </a:cubicBezTo>
                  <a:cubicBezTo>
                    <a:pt x="442227" y="843278"/>
                    <a:pt x="440913" y="840409"/>
                    <a:pt x="439598" y="837594"/>
                  </a:cubicBezTo>
                  <a:lnTo>
                    <a:pt x="450115" y="840645"/>
                  </a:lnTo>
                  <a:cubicBezTo>
                    <a:pt x="450421" y="839628"/>
                    <a:pt x="450710" y="838611"/>
                    <a:pt x="451016" y="837594"/>
                  </a:cubicBezTo>
                  <a:cubicBezTo>
                    <a:pt x="447018" y="833345"/>
                    <a:pt x="443362" y="828805"/>
                    <a:pt x="440210" y="823902"/>
                  </a:cubicBezTo>
                  <a:cubicBezTo>
                    <a:pt x="444677" y="825627"/>
                    <a:pt x="449161" y="827498"/>
                    <a:pt x="453591" y="829531"/>
                  </a:cubicBezTo>
                  <a:cubicBezTo>
                    <a:pt x="451916" y="825028"/>
                    <a:pt x="450295" y="820615"/>
                    <a:pt x="448747" y="816184"/>
                  </a:cubicBezTo>
                  <a:close/>
                  <a:moveTo>
                    <a:pt x="1211561" y="813676"/>
                  </a:moveTo>
                  <a:cubicBezTo>
                    <a:pt x="1213105" y="817237"/>
                    <a:pt x="1214648" y="820860"/>
                    <a:pt x="1216311" y="824421"/>
                  </a:cubicBezTo>
                  <a:lnTo>
                    <a:pt x="1209305" y="828224"/>
                  </a:lnTo>
                  <a:cubicBezTo>
                    <a:pt x="1206929" y="823756"/>
                    <a:pt x="1204376" y="819411"/>
                    <a:pt x="1201763" y="815125"/>
                  </a:cubicBezTo>
                  <a:cubicBezTo>
                    <a:pt x="1205029" y="814702"/>
                    <a:pt x="1208295" y="814219"/>
                    <a:pt x="1211561" y="813676"/>
                  </a:cubicBezTo>
                  <a:close/>
                  <a:moveTo>
                    <a:pt x="1073870" y="807288"/>
                  </a:moveTo>
                  <a:cubicBezTo>
                    <a:pt x="1077973" y="807146"/>
                    <a:pt x="1082023" y="807864"/>
                    <a:pt x="1085619" y="810078"/>
                  </a:cubicBezTo>
                  <a:cubicBezTo>
                    <a:pt x="1094990" y="818097"/>
                    <a:pt x="1100429" y="830781"/>
                    <a:pt x="1099463" y="843052"/>
                  </a:cubicBezTo>
                  <a:cubicBezTo>
                    <a:pt x="1097466" y="849456"/>
                    <a:pt x="1090695" y="859327"/>
                    <a:pt x="1082958" y="854781"/>
                  </a:cubicBezTo>
                  <a:cubicBezTo>
                    <a:pt x="1075522" y="849751"/>
                    <a:pt x="1067484" y="844067"/>
                    <a:pt x="1063556" y="835811"/>
                  </a:cubicBezTo>
                  <a:cubicBezTo>
                    <a:pt x="1061864" y="827255"/>
                    <a:pt x="1062347" y="818334"/>
                    <a:pt x="1061802" y="809659"/>
                  </a:cubicBezTo>
                  <a:cubicBezTo>
                    <a:pt x="1065611" y="808433"/>
                    <a:pt x="1069767" y="807430"/>
                    <a:pt x="1073870" y="807288"/>
                  </a:cubicBezTo>
                  <a:close/>
                  <a:moveTo>
                    <a:pt x="712017" y="793108"/>
                  </a:moveTo>
                  <a:cubicBezTo>
                    <a:pt x="723790" y="802208"/>
                    <a:pt x="734601" y="815253"/>
                    <a:pt x="732199" y="831056"/>
                  </a:cubicBezTo>
                  <a:cubicBezTo>
                    <a:pt x="743911" y="835067"/>
                    <a:pt x="750277" y="850929"/>
                    <a:pt x="745173" y="862005"/>
                  </a:cubicBezTo>
                  <a:cubicBezTo>
                    <a:pt x="736764" y="866850"/>
                    <a:pt x="725891" y="860265"/>
                    <a:pt x="722770" y="852065"/>
                  </a:cubicBezTo>
                  <a:cubicBezTo>
                    <a:pt x="715742" y="833570"/>
                    <a:pt x="711959" y="814176"/>
                    <a:pt x="706132" y="795320"/>
                  </a:cubicBezTo>
                  <a:close/>
                  <a:moveTo>
                    <a:pt x="1006431" y="791604"/>
                  </a:moveTo>
                  <a:cubicBezTo>
                    <a:pt x="1010561" y="795152"/>
                    <a:pt x="1014506" y="798881"/>
                    <a:pt x="1018159" y="802903"/>
                  </a:cubicBezTo>
                  <a:cubicBezTo>
                    <a:pt x="1010619" y="809705"/>
                    <a:pt x="1007444" y="819288"/>
                    <a:pt x="1007511" y="829228"/>
                  </a:cubicBezTo>
                  <a:cubicBezTo>
                    <a:pt x="992608" y="828340"/>
                    <a:pt x="978006" y="824081"/>
                    <a:pt x="962985" y="825680"/>
                  </a:cubicBezTo>
                  <a:cubicBezTo>
                    <a:pt x="954549" y="828754"/>
                    <a:pt x="946414" y="824672"/>
                    <a:pt x="942703" y="817395"/>
                  </a:cubicBezTo>
                  <a:cubicBezTo>
                    <a:pt x="934384" y="807399"/>
                    <a:pt x="946289" y="794031"/>
                    <a:pt x="956643" y="791841"/>
                  </a:cubicBezTo>
                  <a:cubicBezTo>
                    <a:pt x="964903" y="793022"/>
                    <a:pt x="973164" y="794087"/>
                    <a:pt x="981474" y="792609"/>
                  </a:cubicBezTo>
                  <a:cubicBezTo>
                    <a:pt x="989977" y="791604"/>
                    <a:pt x="998715" y="797579"/>
                    <a:pt x="1006431" y="791604"/>
                  </a:cubicBezTo>
                  <a:close/>
                  <a:moveTo>
                    <a:pt x="1390884" y="782073"/>
                  </a:moveTo>
                  <a:cubicBezTo>
                    <a:pt x="1389120" y="786699"/>
                    <a:pt x="1385776" y="790244"/>
                    <a:pt x="1381094" y="792106"/>
                  </a:cubicBezTo>
                  <a:lnTo>
                    <a:pt x="1380851" y="784356"/>
                  </a:lnTo>
                  <a:cubicBezTo>
                    <a:pt x="1384195" y="783515"/>
                    <a:pt x="1387479" y="782734"/>
                    <a:pt x="1390884" y="782073"/>
                  </a:cubicBezTo>
                  <a:close/>
                  <a:moveTo>
                    <a:pt x="803614" y="778388"/>
                  </a:moveTo>
                  <a:cubicBezTo>
                    <a:pt x="807692" y="777971"/>
                    <a:pt x="811709" y="778135"/>
                    <a:pt x="815458" y="780217"/>
                  </a:cubicBezTo>
                  <a:cubicBezTo>
                    <a:pt x="822711" y="783250"/>
                    <a:pt x="826908" y="790091"/>
                    <a:pt x="831045" y="796275"/>
                  </a:cubicBezTo>
                  <a:cubicBezTo>
                    <a:pt x="821573" y="797107"/>
                    <a:pt x="812759" y="801154"/>
                    <a:pt x="803525" y="802640"/>
                  </a:cubicBezTo>
                  <a:cubicBezTo>
                    <a:pt x="793994" y="799606"/>
                    <a:pt x="791775" y="788722"/>
                    <a:pt x="791414" y="780039"/>
                  </a:cubicBezTo>
                  <a:cubicBezTo>
                    <a:pt x="795401" y="779801"/>
                    <a:pt x="799537" y="778804"/>
                    <a:pt x="803614" y="778388"/>
                  </a:cubicBezTo>
                  <a:close/>
                  <a:moveTo>
                    <a:pt x="507330" y="758997"/>
                  </a:moveTo>
                  <a:cubicBezTo>
                    <a:pt x="514603" y="768348"/>
                    <a:pt x="521037" y="778232"/>
                    <a:pt x="527045" y="788414"/>
                  </a:cubicBezTo>
                  <a:cubicBezTo>
                    <a:pt x="522538" y="794073"/>
                    <a:pt x="516826" y="798661"/>
                    <a:pt x="510095" y="801637"/>
                  </a:cubicBezTo>
                  <a:cubicBezTo>
                    <a:pt x="502522" y="792167"/>
                    <a:pt x="494771" y="782760"/>
                    <a:pt x="489421" y="771802"/>
                  </a:cubicBezTo>
                  <a:cubicBezTo>
                    <a:pt x="495369" y="767512"/>
                    <a:pt x="501261" y="763167"/>
                    <a:pt x="507330" y="758997"/>
                  </a:cubicBezTo>
                  <a:close/>
                  <a:moveTo>
                    <a:pt x="613413" y="753132"/>
                  </a:moveTo>
                  <a:cubicBezTo>
                    <a:pt x="616710" y="753506"/>
                    <a:pt x="619888" y="754639"/>
                    <a:pt x="622878" y="757032"/>
                  </a:cubicBezTo>
                  <a:cubicBezTo>
                    <a:pt x="625870" y="775949"/>
                    <a:pt x="602362" y="779301"/>
                    <a:pt x="589256" y="782479"/>
                  </a:cubicBezTo>
                  <a:cubicBezTo>
                    <a:pt x="593206" y="791812"/>
                    <a:pt x="602296" y="791812"/>
                    <a:pt x="610729" y="793257"/>
                  </a:cubicBezTo>
                  <a:cubicBezTo>
                    <a:pt x="610073" y="803312"/>
                    <a:pt x="613609" y="816893"/>
                    <a:pt x="604754" y="824502"/>
                  </a:cubicBezTo>
                  <a:cubicBezTo>
                    <a:pt x="592727" y="831918"/>
                    <a:pt x="578187" y="833479"/>
                    <a:pt x="565748" y="840125"/>
                  </a:cubicBezTo>
                  <a:cubicBezTo>
                    <a:pt x="559462" y="843775"/>
                    <a:pt x="555213" y="837129"/>
                    <a:pt x="551620" y="833065"/>
                  </a:cubicBezTo>
                  <a:cubicBezTo>
                    <a:pt x="547314" y="827555"/>
                    <a:pt x="541273" y="823905"/>
                    <a:pt x="536610" y="818810"/>
                  </a:cubicBezTo>
                  <a:cubicBezTo>
                    <a:pt x="535888" y="814745"/>
                    <a:pt x="536488" y="810613"/>
                    <a:pt x="536667" y="806539"/>
                  </a:cubicBezTo>
                  <a:cubicBezTo>
                    <a:pt x="534697" y="797206"/>
                    <a:pt x="532061" y="787324"/>
                    <a:pt x="535410" y="778588"/>
                  </a:cubicBezTo>
                  <a:cubicBezTo>
                    <a:pt x="548871" y="767512"/>
                    <a:pt x="566039" y="762002"/>
                    <a:pt x="582380" y="756734"/>
                  </a:cubicBezTo>
                  <a:cubicBezTo>
                    <a:pt x="592561" y="757723"/>
                    <a:pt x="603523" y="752011"/>
                    <a:pt x="613413" y="753132"/>
                  </a:cubicBezTo>
                  <a:close/>
                  <a:moveTo>
                    <a:pt x="809642" y="741170"/>
                  </a:moveTo>
                  <a:cubicBezTo>
                    <a:pt x="813239" y="738930"/>
                    <a:pt x="815996" y="745287"/>
                    <a:pt x="812820" y="747346"/>
                  </a:cubicBezTo>
                  <a:cubicBezTo>
                    <a:pt x="809283" y="749465"/>
                    <a:pt x="806465" y="743228"/>
                    <a:pt x="809642" y="741170"/>
                  </a:cubicBezTo>
                  <a:close/>
                  <a:moveTo>
                    <a:pt x="779986" y="732912"/>
                  </a:moveTo>
                  <a:cubicBezTo>
                    <a:pt x="782270" y="735265"/>
                    <a:pt x="784554" y="737621"/>
                    <a:pt x="786899" y="739854"/>
                  </a:cubicBezTo>
                  <a:cubicBezTo>
                    <a:pt x="782991" y="744624"/>
                    <a:pt x="779024" y="749453"/>
                    <a:pt x="774815" y="753981"/>
                  </a:cubicBezTo>
                  <a:cubicBezTo>
                    <a:pt x="772351" y="746314"/>
                    <a:pt x="775777" y="739191"/>
                    <a:pt x="779986" y="732912"/>
                  </a:cubicBezTo>
                  <a:close/>
                  <a:moveTo>
                    <a:pt x="1138054" y="713348"/>
                  </a:moveTo>
                  <a:cubicBezTo>
                    <a:pt x="1137995" y="722322"/>
                    <a:pt x="1135858" y="731118"/>
                    <a:pt x="1132592" y="739434"/>
                  </a:cubicBezTo>
                  <a:cubicBezTo>
                    <a:pt x="1128021" y="730460"/>
                    <a:pt x="1133542" y="721127"/>
                    <a:pt x="1138054" y="713348"/>
                  </a:cubicBezTo>
                  <a:close/>
                  <a:moveTo>
                    <a:pt x="596367" y="676881"/>
                  </a:moveTo>
                  <a:cubicBezTo>
                    <a:pt x="608187" y="676224"/>
                    <a:pt x="613937" y="688653"/>
                    <a:pt x="621314" y="695763"/>
                  </a:cubicBezTo>
                  <a:cubicBezTo>
                    <a:pt x="630908" y="703535"/>
                    <a:pt x="631387" y="717993"/>
                    <a:pt x="627015" y="728750"/>
                  </a:cubicBezTo>
                  <a:cubicBezTo>
                    <a:pt x="618080" y="729884"/>
                    <a:pt x="609086" y="730362"/>
                    <a:pt x="600390" y="733054"/>
                  </a:cubicBezTo>
                  <a:cubicBezTo>
                    <a:pt x="593672" y="730720"/>
                    <a:pt x="589240" y="724267"/>
                    <a:pt x="583540" y="720082"/>
                  </a:cubicBezTo>
                  <a:cubicBezTo>
                    <a:pt x="582102" y="724506"/>
                    <a:pt x="580485" y="728870"/>
                    <a:pt x="578089" y="732869"/>
                  </a:cubicBezTo>
                  <a:cubicBezTo>
                    <a:pt x="569753" y="734427"/>
                    <a:pt x="566329" y="726177"/>
                    <a:pt x="559920" y="723252"/>
                  </a:cubicBezTo>
                  <a:cubicBezTo>
                    <a:pt x="549548" y="723909"/>
                    <a:pt x="542650" y="735920"/>
                    <a:pt x="531559" y="732451"/>
                  </a:cubicBezTo>
                  <a:cubicBezTo>
                    <a:pt x="533536" y="713868"/>
                    <a:pt x="552363" y="699768"/>
                    <a:pt x="570592" y="700544"/>
                  </a:cubicBezTo>
                  <a:cubicBezTo>
                    <a:pt x="578209" y="691823"/>
                    <a:pt x="585217" y="681245"/>
                    <a:pt x="596367" y="676881"/>
                  </a:cubicBezTo>
                  <a:close/>
                  <a:moveTo>
                    <a:pt x="896454" y="668811"/>
                  </a:moveTo>
                  <a:cubicBezTo>
                    <a:pt x="913458" y="667195"/>
                    <a:pt x="925210" y="682213"/>
                    <a:pt x="938926" y="690049"/>
                  </a:cubicBezTo>
                  <a:cubicBezTo>
                    <a:pt x="945664" y="692555"/>
                    <a:pt x="941432" y="699799"/>
                    <a:pt x="940718" y="704821"/>
                  </a:cubicBezTo>
                  <a:cubicBezTo>
                    <a:pt x="946560" y="707092"/>
                    <a:pt x="952698" y="706191"/>
                    <a:pt x="958789" y="706561"/>
                  </a:cubicBezTo>
                  <a:cubicBezTo>
                    <a:pt x="965585" y="710979"/>
                    <a:pt x="971018" y="717149"/>
                    <a:pt x="976498" y="723061"/>
                  </a:cubicBezTo>
                  <a:cubicBezTo>
                    <a:pt x="971847" y="728565"/>
                    <a:pt x="967014" y="733957"/>
                    <a:pt x="961944" y="739091"/>
                  </a:cubicBezTo>
                  <a:cubicBezTo>
                    <a:pt x="970531" y="745558"/>
                    <a:pt x="978528" y="759848"/>
                    <a:pt x="969102" y="768709"/>
                  </a:cubicBezTo>
                  <a:cubicBezTo>
                    <a:pt x="957769" y="774509"/>
                    <a:pt x="945721" y="781506"/>
                    <a:pt x="932664" y="779828"/>
                  </a:cubicBezTo>
                  <a:cubicBezTo>
                    <a:pt x="929861" y="782888"/>
                    <a:pt x="928546" y="786948"/>
                    <a:pt x="926697" y="790601"/>
                  </a:cubicBezTo>
                  <a:cubicBezTo>
                    <a:pt x="925324" y="789700"/>
                    <a:pt x="924009" y="788812"/>
                    <a:pt x="922703" y="787911"/>
                  </a:cubicBezTo>
                  <a:cubicBezTo>
                    <a:pt x="925506" y="775348"/>
                    <a:pt x="914230" y="769128"/>
                    <a:pt x="906062" y="763020"/>
                  </a:cubicBezTo>
                  <a:cubicBezTo>
                    <a:pt x="906958" y="761354"/>
                    <a:pt x="907844" y="759737"/>
                    <a:pt x="908807" y="758120"/>
                  </a:cubicBezTo>
                  <a:cubicBezTo>
                    <a:pt x="915364" y="756985"/>
                    <a:pt x="922227" y="756800"/>
                    <a:pt x="928727" y="755011"/>
                  </a:cubicBezTo>
                  <a:cubicBezTo>
                    <a:pt x="923533" y="746335"/>
                    <a:pt x="913753" y="742991"/>
                    <a:pt x="905042" y="739338"/>
                  </a:cubicBezTo>
                  <a:cubicBezTo>
                    <a:pt x="898189" y="729885"/>
                    <a:pt x="895082" y="718038"/>
                    <a:pt x="889601" y="707746"/>
                  </a:cubicBezTo>
                  <a:cubicBezTo>
                    <a:pt x="892041" y="705722"/>
                    <a:pt x="894672" y="703859"/>
                    <a:pt x="896873" y="701526"/>
                  </a:cubicBezTo>
                  <a:cubicBezTo>
                    <a:pt x="894843" y="690889"/>
                    <a:pt x="883215" y="676166"/>
                    <a:pt x="896454" y="668811"/>
                  </a:cubicBezTo>
                  <a:close/>
                  <a:moveTo>
                    <a:pt x="1196856" y="637796"/>
                  </a:moveTo>
                  <a:cubicBezTo>
                    <a:pt x="1201010" y="638428"/>
                    <a:pt x="1205387" y="640264"/>
                    <a:pt x="1209287" y="640927"/>
                  </a:cubicBezTo>
                  <a:cubicBezTo>
                    <a:pt x="1202440" y="653088"/>
                    <a:pt x="1188266" y="656339"/>
                    <a:pt x="1176178" y="660673"/>
                  </a:cubicBezTo>
                  <a:cubicBezTo>
                    <a:pt x="1178797" y="654171"/>
                    <a:pt x="1179989" y="646467"/>
                    <a:pt x="1185766" y="641891"/>
                  </a:cubicBezTo>
                  <a:cubicBezTo>
                    <a:pt x="1188773" y="637737"/>
                    <a:pt x="1192703" y="637165"/>
                    <a:pt x="1196856" y="637796"/>
                  </a:cubicBezTo>
                  <a:close/>
                  <a:moveTo>
                    <a:pt x="759819" y="598469"/>
                  </a:moveTo>
                  <a:cubicBezTo>
                    <a:pt x="766155" y="603000"/>
                    <a:pt x="773689" y="606292"/>
                    <a:pt x="779263" y="611888"/>
                  </a:cubicBezTo>
                  <a:cubicBezTo>
                    <a:pt x="790200" y="626818"/>
                    <a:pt x="785777" y="645969"/>
                    <a:pt x="790978" y="662680"/>
                  </a:cubicBezTo>
                  <a:cubicBezTo>
                    <a:pt x="793668" y="653017"/>
                    <a:pt x="793846" y="640953"/>
                    <a:pt x="804086" y="635938"/>
                  </a:cubicBezTo>
                  <a:cubicBezTo>
                    <a:pt x="807311" y="632724"/>
                    <a:pt x="810713" y="636713"/>
                    <a:pt x="813111" y="638920"/>
                  </a:cubicBezTo>
                  <a:cubicBezTo>
                    <a:pt x="817665" y="643935"/>
                    <a:pt x="821958" y="649241"/>
                    <a:pt x="827581" y="653075"/>
                  </a:cubicBezTo>
                  <a:cubicBezTo>
                    <a:pt x="825977" y="659930"/>
                    <a:pt x="824243" y="667094"/>
                    <a:pt x="826268" y="674065"/>
                  </a:cubicBezTo>
                  <a:cubicBezTo>
                    <a:pt x="831534" y="672226"/>
                    <a:pt x="836736" y="669651"/>
                    <a:pt x="842358" y="669070"/>
                  </a:cubicBezTo>
                  <a:cubicBezTo>
                    <a:pt x="850022" y="673949"/>
                    <a:pt x="855580" y="682314"/>
                    <a:pt x="853490" y="691609"/>
                  </a:cubicBezTo>
                  <a:cubicBezTo>
                    <a:pt x="857071" y="693294"/>
                    <a:pt x="860716" y="694843"/>
                    <a:pt x="864313" y="696450"/>
                  </a:cubicBezTo>
                  <a:cubicBezTo>
                    <a:pt x="860959" y="706229"/>
                    <a:pt x="852825" y="715853"/>
                    <a:pt x="858027" y="726774"/>
                  </a:cubicBezTo>
                  <a:cubicBezTo>
                    <a:pt x="863536" y="737753"/>
                    <a:pt x="872917" y="746932"/>
                    <a:pt x="875980" y="759169"/>
                  </a:cubicBezTo>
                  <a:cubicBezTo>
                    <a:pt x="876693" y="767709"/>
                    <a:pt x="874003" y="776113"/>
                    <a:pt x="872561" y="784478"/>
                  </a:cubicBezTo>
                  <a:cubicBezTo>
                    <a:pt x="863892" y="786085"/>
                    <a:pt x="854024" y="792107"/>
                    <a:pt x="845404" y="786802"/>
                  </a:cubicBezTo>
                  <a:cubicBezTo>
                    <a:pt x="830935" y="777004"/>
                    <a:pt x="833511" y="757911"/>
                    <a:pt x="827954" y="743175"/>
                  </a:cubicBezTo>
                  <a:lnTo>
                    <a:pt x="821310" y="745092"/>
                  </a:lnTo>
                  <a:cubicBezTo>
                    <a:pt x="816109" y="739651"/>
                    <a:pt x="810065" y="733396"/>
                    <a:pt x="802045" y="733203"/>
                  </a:cubicBezTo>
                  <a:cubicBezTo>
                    <a:pt x="795823" y="734345"/>
                    <a:pt x="789601" y="738218"/>
                    <a:pt x="783508" y="734461"/>
                  </a:cubicBezTo>
                  <a:cubicBezTo>
                    <a:pt x="784821" y="730279"/>
                    <a:pt x="786133" y="726057"/>
                    <a:pt x="787446" y="721817"/>
                  </a:cubicBezTo>
                  <a:cubicBezTo>
                    <a:pt x="776930" y="723075"/>
                    <a:pt x="767240" y="727665"/>
                    <a:pt x="759155" y="734345"/>
                  </a:cubicBezTo>
                  <a:cubicBezTo>
                    <a:pt x="752820" y="740425"/>
                    <a:pt x="742174" y="734229"/>
                    <a:pt x="739727" y="727122"/>
                  </a:cubicBezTo>
                  <a:cubicBezTo>
                    <a:pt x="734640" y="719241"/>
                    <a:pt x="726506" y="706171"/>
                    <a:pt x="736373" y="698425"/>
                  </a:cubicBezTo>
                  <a:cubicBezTo>
                    <a:pt x="748088" y="697457"/>
                    <a:pt x="757243" y="706771"/>
                    <a:pt x="769023" y="706422"/>
                  </a:cubicBezTo>
                  <a:cubicBezTo>
                    <a:pt x="769865" y="702066"/>
                    <a:pt x="770578" y="697709"/>
                    <a:pt x="771356" y="693352"/>
                  </a:cubicBezTo>
                  <a:cubicBezTo>
                    <a:pt x="766819" y="692984"/>
                    <a:pt x="762217" y="692635"/>
                    <a:pt x="757729" y="691551"/>
                  </a:cubicBezTo>
                  <a:cubicBezTo>
                    <a:pt x="764000" y="686245"/>
                    <a:pt x="773462" y="682373"/>
                    <a:pt x="772798" y="672652"/>
                  </a:cubicBezTo>
                  <a:lnTo>
                    <a:pt x="761132" y="676931"/>
                  </a:lnTo>
                  <a:cubicBezTo>
                    <a:pt x="761667" y="674782"/>
                    <a:pt x="762153" y="672652"/>
                    <a:pt x="762687" y="670503"/>
                  </a:cubicBezTo>
                  <a:lnTo>
                    <a:pt x="755688" y="676041"/>
                  </a:lnTo>
                  <a:lnTo>
                    <a:pt x="749174" y="674065"/>
                  </a:lnTo>
                  <a:cubicBezTo>
                    <a:pt x="752528" y="668876"/>
                    <a:pt x="756238" y="663880"/>
                    <a:pt x="760176" y="659097"/>
                  </a:cubicBezTo>
                  <a:lnTo>
                    <a:pt x="751621" y="648118"/>
                  </a:lnTo>
                  <a:cubicBezTo>
                    <a:pt x="742709" y="654624"/>
                    <a:pt x="743017" y="668760"/>
                    <a:pt x="731286" y="671935"/>
                  </a:cubicBezTo>
                  <a:cubicBezTo>
                    <a:pt x="733927" y="661421"/>
                    <a:pt x="737151" y="651042"/>
                    <a:pt x="739954" y="640605"/>
                  </a:cubicBezTo>
                  <a:cubicBezTo>
                    <a:pt x="733198" y="642096"/>
                    <a:pt x="726571" y="643819"/>
                    <a:pt x="719927" y="645620"/>
                  </a:cubicBezTo>
                  <a:cubicBezTo>
                    <a:pt x="714661" y="632356"/>
                    <a:pt x="716995" y="618104"/>
                    <a:pt x="720219" y="604743"/>
                  </a:cubicBezTo>
                  <a:cubicBezTo>
                    <a:pt x="733797" y="609332"/>
                    <a:pt x="746484" y="599670"/>
                    <a:pt x="759819" y="598469"/>
                  </a:cubicBezTo>
                  <a:close/>
                  <a:moveTo>
                    <a:pt x="856893" y="493124"/>
                  </a:moveTo>
                  <a:cubicBezTo>
                    <a:pt x="862068" y="497363"/>
                    <a:pt x="868374" y="498855"/>
                    <a:pt x="874742" y="496646"/>
                  </a:cubicBezTo>
                  <a:cubicBezTo>
                    <a:pt x="883548" y="515744"/>
                    <a:pt x="886227" y="538429"/>
                    <a:pt x="881111" y="558840"/>
                  </a:cubicBezTo>
                  <a:cubicBezTo>
                    <a:pt x="871469" y="552630"/>
                    <a:pt x="869269" y="541708"/>
                    <a:pt x="865758" y="531620"/>
                  </a:cubicBezTo>
                  <a:cubicBezTo>
                    <a:pt x="860043" y="529472"/>
                    <a:pt x="853797" y="529892"/>
                    <a:pt x="847904" y="528755"/>
                  </a:cubicBezTo>
                  <a:cubicBezTo>
                    <a:pt x="847845" y="516342"/>
                    <a:pt x="846597" y="502134"/>
                    <a:pt x="856893" y="493124"/>
                  </a:cubicBezTo>
                  <a:close/>
                  <a:moveTo>
                    <a:pt x="870400" y="488706"/>
                  </a:moveTo>
                  <a:cubicBezTo>
                    <a:pt x="871459" y="489428"/>
                    <a:pt x="872003" y="490796"/>
                    <a:pt x="870824" y="492073"/>
                  </a:cubicBezTo>
                  <a:cubicBezTo>
                    <a:pt x="869009" y="494627"/>
                    <a:pt x="864654" y="491769"/>
                    <a:pt x="866892" y="489215"/>
                  </a:cubicBezTo>
                  <a:cubicBezTo>
                    <a:pt x="867769" y="487908"/>
                    <a:pt x="869342" y="487984"/>
                    <a:pt x="870400" y="488706"/>
                  </a:cubicBezTo>
                  <a:close/>
                  <a:moveTo>
                    <a:pt x="961904" y="412895"/>
                  </a:moveTo>
                  <a:cubicBezTo>
                    <a:pt x="968331" y="413977"/>
                    <a:pt x="973409" y="418366"/>
                    <a:pt x="972805" y="426904"/>
                  </a:cubicBezTo>
                  <a:cubicBezTo>
                    <a:pt x="962498" y="425582"/>
                    <a:pt x="952614" y="422215"/>
                    <a:pt x="942910" y="418726"/>
                  </a:cubicBezTo>
                  <a:cubicBezTo>
                    <a:pt x="947701" y="414037"/>
                    <a:pt x="955477" y="411812"/>
                    <a:pt x="961904" y="412895"/>
                  </a:cubicBezTo>
                  <a:close/>
                  <a:moveTo>
                    <a:pt x="1005529" y="309016"/>
                  </a:moveTo>
                  <a:cubicBezTo>
                    <a:pt x="1022396" y="317379"/>
                    <a:pt x="1043017" y="327511"/>
                    <a:pt x="1047085" y="347775"/>
                  </a:cubicBezTo>
                  <a:cubicBezTo>
                    <a:pt x="1050071" y="364987"/>
                    <a:pt x="1057011" y="381181"/>
                    <a:pt x="1063127" y="397463"/>
                  </a:cubicBezTo>
                  <a:cubicBezTo>
                    <a:pt x="1064776" y="405958"/>
                    <a:pt x="1071973" y="411002"/>
                    <a:pt x="1076211" y="417949"/>
                  </a:cubicBezTo>
                  <a:cubicBezTo>
                    <a:pt x="1075557" y="422860"/>
                    <a:pt x="1074959" y="427949"/>
                    <a:pt x="1073992" y="432860"/>
                  </a:cubicBezTo>
                  <a:cubicBezTo>
                    <a:pt x="1081729" y="434143"/>
                    <a:pt x="1089323" y="437107"/>
                    <a:pt x="1094756" y="442992"/>
                  </a:cubicBezTo>
                  <a:cubicBezTo>
                    <a:pt x="1097202" y="440559"/>
                    <a:pt x="1099591" y="438037"/>
                    <a:pt x="1102521" y="436178"/>
                  </a:cubicBezTo>
                  <a:cubicBezTo>
                    <a:pt x="1107982" y="438125"/>
                    <a:pt x="1113842" y="442815"/>
                    <a:pt x="1114069" y="448788"/>
                  </a:cubicBezTo>
                  <a:cubicBezTo>
                    <a:pt x="1108636" y="464186"/>
                    <a:pt x="1109461" y="483388"/>
                    <a:pt x="1121379" y="495512"/>
                  </a:cubicBezTo>
                  <a:cubicBezTo>
                    <a:pt x="1124167" y="498565"/>
                    <a:pt x="1128490" y="498874"/>
                    <a:pt x="1131590" y="496175"/>
                  </a:cubicBezTo>
                  <a:cubicBezTo>
                    <a:pt x="1131761" y="485955"/>
                    <a:pt x="1122858" y="478300"/>
                    <a:pt x="1123569" y="467902"/>
                  </a:cubicBezTo>
                  <a:cubicBezTo>
                    <a:pt x="1121123" y="461487"/>
                    <a:pt x="1124821" y="454717"/>
                    <a:pt x="1130396" y="452107"/>
                  </a:cubicBezTo>
                  <a:cubicBezTo>
                    <a:pt x="1136369" y="452107"/>
                    <a:pt x="1142370" y="453876"/>
                    <a:pt x="1147547" y="456841"/>
                  </a:cubicBezTo>
                  <a:cubicBezTo>
                    <a:pt x="1150847" y="469982"/>
                    <a:pt x="1155085" y="490423"/>
                    <a:pt x="1138587" y="496529"/>
                  </a:cubicBezTo>
                  <a:cubicBezTo>
                    <a:pt x="1139071" y="499228"/>
                    <a:pt x="1139555" y="501883"/>
                    <a:pt x="1139953" y="504582"/>
                  </a:cubicBezTo>
                  <a:cubicBezTo>
                    <a:pt x="1144817" y="503387"/>
                    <a:pt x="1149823" y="502016"/>
                    <a:pt x="1154857" y="502679"/>
                  </a:cubicBezTo>
                  <a:cubicBezTo>
                    <a:pt x="1161257" y="509980"/>
                    <a:pt x="1165552" y="521218"/>
                    <a:pt x="1158100" y="529360"/>
                  </a:cubicBezTo>
                  <a:lnTo>
                    <a:pt x="1166092" y="527501"/>
                  </a:lnTo>
                  <a:cubicBezTo>
                    <a:pt x="1164613" y="543386"/>
                    <a:pt x="1164130" y="560995"/>
                    <a:pt x="1153350" y="573871"/>
                  </a:cubicBezTo>
                  <a:cubicBezTo>
                    <a:pt x="1153776" y="575818"/>
                    <a:pt x="1154260" y="577764"/>
                    <a:pt x="1154743" y="579711"/>
                  </a:cubicBezTo>
                  <a:cubicBezTo>
                    <a:pt x="1160773" y="572986"/>
                    <a:pt x="1166405" y="564845"/>
                    <a:pt x="1174540" y="560730"/>
                  </a:cubicBezTo>
                  <a:cubicBezTo>
                    <a:pt x="1185292" y="558872"/>
                    <a:pt x="1187141" y="572145"/>
                    <a:pt x="1186202" y="579977"/>
                  </a:cubicBezTo>
                  <a:lnTo>
                    <a:pt x="1189956" y="579048"/>
                  </a:lnTo>
                  <a:cubicBezTo>
                    <a:pt x="1191407" y="573871"/>
                    <a:pt x="1192886" y="568827"/>
                    <a:pt x="1194451" y="563739"/>
                  </a:cubicBezTo>
                  <a:cubicBezTo>
                    <a:pt x="1200623" y="579092"/>
                    <a:pt x="1207250" y="594224"/>
                    <a:pt x="1214304" y="609179"/>
                  </a:cubicBezTo>
                  <a:cubicBezTo>
                    <a:pt x="1206056" y="629576"/>
                    <a:pt x="1174113" y="627187"/>
                    <a:pt x="1171724" y="651212"/>
                  </a:cubicBezTo>
                  <a:cubicBezTo>
                    <a:pt x="1169392" y="649044"/>
                    <a:pt x="1167003" y="646876"/>
                    <a:pt x="1164613" y="644752"/>
                  </a:cubicBezTo>
                  <a:cubicBezTo>
                    <a:pt x="1165751" y="661477"/>
                    <a:pt x="1153776" y="674884"/>
                    <a:pt x="1149368" y="690370"/>
                  </a:cubicBezTo>
                  <a:cubicBezTo>
                    <a:pt x="1135544" y="679707"/>
                    <a:pt x="1141176" y="659929"/>
                    <a:pt x="1141887" y="644752"/>
                  </a:cubicBezTo>
                  <a:lnTo>
                    <a:pt x="1136084" y="645283"/>
                  </a:lnTo>
                  <a:cubicBezTo>
                    <a:pt x="1134179" y="658336"/>
                    <a:pt x="1133923" y="671831"/>
                    <a:pt x="1137165" y="684706"/>
                  </a:cubicBezTo>
                  <a:cubicBezTo>
                    <a:pt x="1136682" y="688865"/>
                    <a:pt x="1141773" y="692361"/>
                    <a:pt x="1142541" y="698024"/>
                  </a:cubicBezTo>
                  <a:cubicBezTo>
                    <a:pt x="1143309" y="704042"/>
                    <a:pt x="1138417" y="708599"/>
                    <a:pt x="1135487" y="713245"/>
                  </a:cubicBezTo>
                  <a:cubicBezTo>
                    <a:pt x="1131420" y="705856"/>
                    <a:pt x="1127893" y="698024"/>
                    <a:pt x="1122204" y="691741"/>
                  </a:cubicBezTo>
                  <a:cubicBezTo>
                    <a:pt x="1122375" y="701431"/>
                    <a:pt x="1125617" y="710679"/>
                    <a:pt x="1126328" y="720280"/>
                  </a:cubicBezTo>
                  <a:cubicBezTo>
                    <a:pt x="1125845" y="730368"/>
                    <a:pt x="1123029" y="740235"/>
                    <a:pt x="1120412" y="749969"/>
                  </a:cubicBezTo>
                  <a:cubicBezTo>
                    <a:pt x="1106588" y="733465"/>
                    <a:pt x="1100302" y="712183"/>
                    <a:pt x="1091656" y="692759"/>
                  </a:cubicBezTo>
                  <a:cubicBezTo>
                    <a:pt x="1090575" y="712891"/>
                    <a:pt x="1102948" y="729704"/>
                    <a:pt x="1104569" y="749394"/>
                  </a:cubicBezTo>
                  <a:cubicBezTo>
                    <a:pt x="1096918" y="742270"/>
                    <a:pt x="1092168" y="732801"/>
                    <a:pt x="1084516" y="725722"/>
                  </a:cubicBezTo>
                  <a:cubicBezTo>
                    <a:pt x="1084175" y="734261"/>
                    <a:pt x="1084459" y="742934"/>
                    <a:pt x="1084061" y="751473"/>
                  </a:cubicBezTo>
                  <a:cubicBezTo>
                    <a:pt x="1057011" y="750057"/>
                    <a:pt x="1028056" y="736607"/>
                    <a:pt x="1018982" y="709130"/>
                  </a:cubicBezTo>
                  <a:lnTo>
                    <a:pt x="1053001" y="701962"/>
                  </a:lnTo>
                  <a:cubicBezTo>
                    <a:pt x="1039974" y="698024"/>
                    <a:pt x="1026036" y="689573"/>
                    <a:pt x="1012639" y="697139"/>
                  </a:cubicBezTo>
                  <a:cubicBezTo>
                    <a:pt x="1008288" y="688910"/>
                    <a:pt x="1003537" y="680857"/>
                    <a:pt x="1000380" y="672052"/>
                  </a:cubicBezTo>
                  <a:cubicBezTo>
                    <a:pt x="1006723" y="674176"/>
                    <a:pt x="1012952" y="676654"/>
                    <a:pt x="1019352" y="678689"/>
                  </a:cubicBezTo>
                  <a:cubicBezTo>
                    <a:pt x="1015683" y="670238"/>
                    <a:pt x="1006894" y="668203"/>
                    <a:pt x="999072" y="665415"/>
                  </a:cubicBezTo>
                  <a:cubicBezTo>
                    <a:pt x="993980" y="660460"/>
                    <a:pt x="991961" y="652938"/>
                    <a:pt x="988292" y="646965"/>
                  </a:cubicBezTo>
                  <a:cubicBezTo>
                    <a:pt x="998588" y="642186"/>
                    <a:pt x="1008999" y="636567"/>
                    <a:pt x="1012156" y="624665"/>
                  </a:cubicBezTo>
                  <a:cubicBezTo>
                    <a:pt x="1032977" y="629930"/>
                    <a:pt x="1054622" y="623382"/>
                    <a:pt x="1074590" y="617763"/>
                  </a:cubicBezTo>
                  <a:cubicBezTo>
                    <a:pt x="1068787" y="613913"/>
                    <a:pt x="1062046" y="614488"/>
                    <a:pt x="1055817" y="616922"/>
                  </a:cubicBezTo>
                  <a:cubicBezTo>
                    <a:pt x="1046430" y="620240"/>
                    <a:pt x="1036134" y="618426"/>
                    <a:pt x="1027117" y="614975"/>
                  </a:cubicBezTo>
                  <a:cubicBezTo>
                    <a:pt x="1030815" y="608913"/>
                    <a:pt x="1037471" y="606790"/>
                    <a:pt x="1043671" y="604135"/>
                  </a:cubicBezTo>
                  <a:cubicBezTo>
                    <a:pt x="1038523" y="602277"/>
                    <a:pt x="1033460" y="600374"/>
                    <a:pt x="1028369" y="598339"/>
                  </a:cubicBezTo>
                  <a:cubicBezTo>
                    <a:pt x="1032209" y="594711"/>
                    <a:pt x="1036020" y="591127"/>
                    <a:pt x="1039718" y="587366"/>
                  </a:cubicBezTo>
                  <a:cubicBezTo>
                    <a:pt x="1028198" y="587764"/>
                    <a:pt x="1019949" y="595551"/>
                    <a:pt x="1012583" y="603294"/>
                  </a:cubicBezTo>
                  <a:cubicBezTo>
                    <a:pt x="1012156" y="600197"/>
                    <a:pt x="1011672" y="597144"/>
                    <a:pt x="1011217" y="594047"/>
                  </a:cubicBezTo>
                  <a:cubicBezTo>
                    <a:pt x="1006240" y="602232"/>
                    <a:pt x="1001945" y="611878"/>
                    <a:pt x="992018" y="614975"/>
                  </a:cubicBezTo>
                  <a:cubicBezTo>
                    <a:pt x="990624" y="608559"/>
                    <a:pt x="992957" y="602409"/>
                    <a:pt x="995886" y="596834"/>
                  </a:cubicBezTo>
                  <a:lnTo>
                    <a:pt x="985021" y="592056"/>
                  </a:lnTo>
                  <a:cubicBezTo>
                    <a:pt x="985248" y="594799"/>
                    <a:pt x="985476" y="597498"/>
                    <a:pt x="985675" y="600197"/>
                  </a:cubicBezTo>
                  <a:cubicBezTo>
                    <a:pt x="979872" y="604666"/>
                    <a:pt x="974127" y="609223"/>
                    <a:pt x="967613" y="612719"/>
                  </a:cubicBezTo>
                  <a:cubicBezTo>
                    <a:pt x="966902" y="607321"/>
                    <a:pt x="966163" y="602011"/>
                    <a:pt x="965622" y="596657"/>
                  </a:cubicBezTo>
                  <a:cubicBezTo>
                    <a:pt x="953619" y="599710"/>
                    <a:pt x="951287" y="584711"/>
                    <a:pt x="955354" y="576216"/>
                  </a:cubicBezTo>
                  <a:cubicBezTo>
                    <a:pt x="966902" y="570287"/>
                    <a:pt x="990880" y="567544"/>
                    <a:pt x="986983" y="549093"/>
                  </a:cubicBezTo>
                  <a:cubicBezTo>
                    <a:pt x="978792" y="558473"/>
                    <a:pt x="967187" y="567190"/>
                    <a:pt x="953960" y="563739"/>
                  </a:cubicBezTo>
                  <a:cubicBezTo>
                    <a:pt x="943692" y="553695"/>
                    <a:pt x="938544" y="539315"/>
                    <a:pt x="931120" y="527147"/>
                  </a:cubicBezTo>
                  <a:lnTo>
                    <a:pt x="942185" y="525997"/>
                  </a:lnTo>
                  <a:cubicBezTo>
                    <a:pt x="930779" y="518696"/>
                    <a:pt x="929869" y="504494"/>
                    <a:pt x="930694" y="492282"/>
                  </a:cubicBezTo>
                  <a:cubicBezTo>
                    <a:pt x="938544" y="496839"/>
                    <a:pt x="945826" y="502370"/>
                    <a:pt x="953847" y="506617"/>
                  </a:cubicBezTo>
                  <a:cubicBezTo>
                    <a:pt x="962949" y="510378"/>
                    <a:pt x="973103" y="508520"/>
                    <a:pt x="982489" y="511175"/>
                  </a:cubicBezTo>
                  <a:cubicBezTo>
                    <a:pt x="979929" y="507414"/>
                    <a:pt x="977426" y="503564"/>
                    <a:pt x="974952" y="499759"/>
                  </a:cubicBezTo>
                  <a:cubicBezTo>
                    <a:pt x="980811" y="496175"/>
                    <a:pt x="986670" y="492636"/>
                    <a:pt x="992672" y="489273"/>
                  </a:cubicBezTo>
                  <a:cubicBezTo>
                    <a:pt x="989003" y="488211"/>
                    <a:pt x="985305" y="487061"/>
                    <a:pt x="981721" y="485866"/>
                  </a:cubicBezTo>
                  <a:cubicBezTo>
                    <a:pt x="977057" y="491574"/>
                    <a:pt x="971567" y="497016"/>
                    <a:pt x="964086" y="498565"/>
                  </a:cubicBezTo>
                  <a:cubicBezTo>
                    <a:pt x="960417" y="496175"/>
                    <a:pt x="957146" y="493255"/>
                    <a:pt x="953960" y="490246"/>
                  </a:cubicBezTo>
                  <a:lnTo>
                    <a:pt x="963603" y="484495"/>
                  </a:lnTo>
                  <a:cubicBezTo>
                    <a:pt x="956549" y="484008"/>
                    <a:pt x="948585" y="487370"/>
                    <a:pt x="942498" y="482415"/>
                  </a:cubicBezTo>
                  <a:cubicBezTo>
                    <a:pt x="935956" y="478167"/>
                    <a:pt x="933936" y="470823"/>
                    <a:pt x="931604" y="463920"/>
                  </a:cubicBezTo>
                  <a:lnTo>
                    <a:pt x="939426" y="464938"/>
                  </a:lnTo>
                  <a:cubicBezTo>
                    <a:pt x="945712" y="455514"/>
                    <a:pt x="955354" y="463920"/>
                    <a:pt x="962749" y="467283"/>
                  </a:cubicBezTo>
                  <a:cubicBezTo>
                    <a:pt x="958824" y="459451"/>
                    <a:pt x="953079" y="452682"/>
                    <a:pt x="947930" y="445691"/>
                  </a:cubicBezTo>
                  <a:cubicBezTo>
                    <a:pt x="948755" y="441089"/>
                    <a:pt x="948755" y="436444"/>
                    <a:pt x="948158" y="431754"/>
                  </a:cubicBezTo>
                  <a:cubicBezTo>
                    <a:pt x="966362" y="425559"/>
                    <a:pt x="983286" y="434099"/>
                    <a:pt x="1000864" y="437461"/>
                  </a:cubicBezTo>
                  <a:cubicBezTo>
                    <a:pt x="994748" y="428302"/>
                    <a:pt x="977768" y="429718"/>
                    <a:pt x="979275" y="415825"/>
                  </a:cubicBezTo>
                  <a:lnTo>
                    <a:pt x="993013" y="413038"/>
                  </a:lnTo>
                  <a:cubicBezTo>
                    <a:pt x="991762" y="411489"/>
                    <a:pt x="990510" y="409985"/>
                    <a:pt x="989316" y="408436"/>
                  </a:cubicBezTo>
                  <a:cubicBezTo>
                    <a:pt x="985789" y="409056"/>
                    <a:pt x="982205" y="409896"/>
                    <a:pt x="978621" y="409941"/>
                  </a:cubicBezTo>
                  <a:cubicBezTo>
                    <a:pt x="974497" y="408082"/>
                    <a:pt x="973530" y="403171"/>
                    <a:pt x="971738" y="399499"/>
                  </a:cubicBezTo>
                  <a:cubicBezTo>
                    <a:pt x="967414" y="399499"/>
                    <a:pt x="962693" y="400383"/>
                    <a:pt x="958824" y="397994"/>
                  </a:cubicBezTo>
                  <a:cubicBezTo>
                    <a:pt x="957630" y="391933"/>
                    <a:pt x="963489" y="389676"/>
                    <a:pt x="967727" y="387242"/>
                  </a:cubicBezTo>
                  <a:cubicBezTo>
                    <a:pt x="964968" y="386402"/>
                    <a:pt x="962294" y="385605"/>
                    <a:pt x="959535" y="384897"/>
                  </a:cubicBezTo>
                  <a:cubicBezTo>
                    <a:pt x="963830" y="375916"/>
                    <a:pt x="965878" y="364854"/>
                    <a:pt x="974838" y="359191"/>
                  </a:cubicBezTo>
                  <a:cubicBezTo>
                    <a:pt x="981835" y="359545"/>
                    <a:pt x="983513" y="367509"/>
                    <a:pt x="986016" y="372641"/>
                  </a:cubicBezTo>
                  <a:cubicBezTo>
                    <a:pt x="988832" y="369367"/>
                    <a:pt x="991876" y="366358"/>
                    <a:pt x="994208" y="362730"/>
                  </a:cubicBezTo>
                  <a:cubicBezTo>
                    <a:pt x="991819" y="358881"/>
                    <a:pt x="988775" y="355607"/>
                    <a:pt x="986016" y="352111"/>
                  </a:cubicBezTo>
                  <a:cubicBezTo>
                    <a:pt x="995545" y="353218"/>
                    <a:pt x="1004988" y="354501"/>
                    <a:pt x="1014431" y="356270"/>
                  </a:cubicBezTo>
                  <a:cubicBezTo>
                    <a:pt x="1015455" y="349634"/>
                    <a:pt x="1020177" y="341227"/>
                    <a:pt x="1013407" y="336360"/>
                  </a:cubicBezTo>
                  <a:cubicBezTo>
                    <a:pt x="1005756" y="334767"/>
                    <a:pt x="997877" y="336714"/>
                    <a:pt x="990226" y="337112"/>
                  </a:cubicBezTo>
                  <a:cubicBezTo>
                    <a:pt x="985135" y="328750"/>
                    <a:pt x="988121" y="319370"/>
                    <a:pt x="990994" y="310874"/>
                  </a:cubicBezTo>
                  <a:cubicBezTo>
                    <a:pt x="996683" y="313573"/>
                    <a:pt x="1002229" y="316449"/>
                    <a:pt x="1007548" y="319724"/>
                  </a:cubicBezTo>
                  <a:cubicBezTo>
                    <a:pt x="1006837" y="316140"/>
                    <a:pt x="1006183" y="312556"/>
                    <a:pt x="1005529" y="309016"/>
                  </a:cubicBezTo>
                  <a:close/>
                  <a:moveTo>
                    <a:pt x="1648413" y="276576"/>
                  </a:moveTo>
                  <a:cubicBezTo>
                    <a:pt x="1650857" y="274704"/>
                    <a:pt x="1656233" y="274402"/>
                    <a:pt x="1657761" y="277482"/>
                  </a:cubicBezTo>
                  <a:cubicBezTo>
                    <a:pt x="1656356" y="280924"/>
                    <a:pt x="1648230" y="280381"/>
                    <a:pt x="1648413" y="276576"/>
                  </a:cubicBezTo>
                  <a:close/>
                  <a:moveTo>
                    <a:pt x="1692235" y="251326"/>
                  </a:moveTo>
                  <a:lnTo>
                    <a:pt x="1692877" y="259352"/>
                  </a:lnTo>
                  <a:lnTo>
                    <a:pt x="1685352" y="258667"/>
                  </a:lnTo>
                  <a:cubicBezTo>
                    <a:pt x="1687569" y="256117"/>
                    <a:pt x="1689844" y="253690"/>
                    <a:pt x="1692235" y="251326"/>
                  </a:cubicBezTo>
                  <a:close/>
                  <a:moveTo>
                    <a:pt x="1640423" y="65828"/>
                  </a:moveTo>
                  <a:cubicBezTo>
                    <a:pt x="1643717" y="65884"/>
                    <a:pt x="1643158" y="70731"/>
                    <a:pt x="1640050" y="70562"/>
                  </a:cubicBezTo>
                  <a:cubicBezTo>
                    <a:pt x="1636694" y="70562"/>
                    <a:pt x="1637316" y="65715"/>
                    <a:pt x="1640423" y="65828"/>
                  </a:cubicBezTo>
                  <a:close/>
                  <a:moveTo>
                    <a:pt x="1377339" y="28091"/>
                  </a:moveTo>
                  <a:cubicBezTo>
                    <a:pt x="1376353" y="34149"/>
                    <a:pt x="1374381" y="39972"/>
                    <a:pt x="1371132" y="45147"/>
                  </a:cubicBezTo>
                  <a:cubicBezTo>
                    <a:pt x="1370262" y="40736"/>
                    <a:pt x="1369043" y="36326"/>
                    <a:pt x="1368811" y="31796"/>
                  </a:cubicBezTo>
                  <a:cubicBezTo>
                    <a:pt x="1371538" y="30267"/>
                    <a:pt x="1374439" y="29268"/>
                    <a:pt x="1377339" y="28091"/>
                  </a:cubicBezTo>
                  <a:close/>
                  <a:moveTo>
                    <a:pt x="1476165" y="4014"/>
                  </a:moveTo>
                  <a:cubicBezTo>
                    <a:pt x="1475282" y="6226"/>
                    <a:pt x="1474340" y="8381"/>
                    <a:pt x="1473457" y="10536"/>
                  </a:cubicBezTo>
                  <a:cubicBezTo>
                    <a:pt x="1470514" y="8495"/>
                    <a:pt x="1467512" y="6396"/>
                    <a:pt x="1464627" y="4354"/>
                  </a:cubicBezTo>
                  <a:cubicBezTo>
                    <a:pt x="1468453" y="4184"/>
                    <a:pt x="1472339" y="4128"/>
                    <a:pt x="1476165" y="4014"/>
                  </a:cubicBezTo>
                  <a:close/>
                  <a:moveTo>
                    <a:pt x="1579062" y="0"/>
                  </a:moveTo>
                  <a:cubicBezTo>
                    <a:pt x="1578643" y="4485"/>
                    <a:pt x="1578165" y="9030"/>
                    <a:pt x="1577746" y="13515"/>
                  </a:cubicBezTo>
                  <a:lnTo>
                    <a:pt x="1583010" y="15667"/>
                  </a:lnTo>
                  <a:cubicBezTo>
                    <a:pt x="1581874" y="18239"/>
                    <a:pt x="1580737" y="20930"/>
                    <a:pt x="1579660" y="23561"/>
                  </a:cubicBezTo>
                  <a:lnTo>
                    <a:pt x="1593120" y="17162"/>
                  </a:lnTo>
                  <a:cubicBezTo>
                    <a:pt x="1594795" y="23561"/>
                    <a:pt x="1596649" y="29959"/>
                    <a:pt x="1598863" y="36238"/>
                  </a:cubicBezTo>
                  <a:cubicBezTo>
                    <a:pt x="1600538" y="31096"/>
                    <a:pt x="1601674" y="25534"/>
                    <a:pt x="1605263" y="21229"/>
                  </a:cubicBezTo>
                  <a:cubicBezTo>
                    <a:pt x="1611724" y="19255"/>
                    <a:pt x="1615672" y="26670"/>
                    <a:pt x="1616450" y="31993"/>
                  </a:cubicBezTo>
                  <a:cubicBezTo>
                    <a:pt x="1623748" y="29660"/>
                    <a:pt x="1631285" y="30498"/>
                    <a:pt x="1637866" y="34265"/>
                  </a:cubicBezTo>
                  <a:cubicBezTo>
                    <a:pt x="1639062" y="33189"/>
                    <a:pt x="1640199" y="32112"/>
                    <a:pt x="1641395" y="30976"/>
                  </a:cubicBezTo>
                  <a:cubicBezTo>
                    <a:pt x="1646540" y="32949"/>
                    <a:pt x="1651864" y="34265"/>
                    <a:pt x="1656709" y="36777"/>
                  </a:cubicBezTo>
                  <a:cubicBezTo>
                    <a:pt x="1658444" y="43235"/>
                    <a:pt x="1654077" y="49275"/>
                    <a:pt x="1650129" y="53879"/>
                  </a:cubicBezTo>
                  <a:cubicBezTo>
                    <a:pt x="1636669" y="70803"/>
                    <a:pt x="1613100" y="75527"/>
                    <a:pt x="1601435" y="94364"/>
                  </a:cubicBezTo>
                  <a:cubicBezTo>
                    <a:pt x="1612023" y="91673"/>
                    <a:pt x="1623090" y="89819"/>
                    <a:pt x="1632960" y="84915"/>
                  </a:cubicBezTo>
                  <a:cubicBezTo>
                    <a:pt x="1648813" y="74271"/>
                    <a:pt x="1660657" y="58304"/>
                    <a:pt x="1677586" y="49155"/>
                  </a:cubicBezTo>
                  <a:cubicBezTo>
                    <a:pt x="1679082" y="53281"/>
                    <a:pt x="1680577" y="57467"/>
                    <a:pt x="1682133" y="61593"/>
                  </a:cubicBezTo>
                  <a:cubicBezTo>
                    <a:pt x="1684645" y="55972"/>
                    <a:pt x="1687098" y="49992"/>
                    <a:pt x="1686081" y="43713"/>
                  </a:cubicBezTo>
                  <a:cubicBezTo>
                    <a:pt x="1688534" y="41860"/>
                    <a:pt x="1690926" y="39946"/>
                    <a:pt x="1693319" y="37973"/>
                  </a:cubicBezTo>
                  <a:cubicBezTo>
                    <a:pt x="1695054" y="38690"/>
                    <a:pt x="1696849" y="39348"/>
                    <a:pt x="1698643" y="40006"/>
                  </a:cubicBezTo>
                  <a:cubicBezTo>
                    <a:pt x="1696011" y="49095"/>
                    <a:pt x="1699241" y="58125"/>
                    <a:pt x="1703907" y="65899"/>
                  </a:cubicBezTo>
                  <a:cubicBezTo>
                    <a:pt x="1708155" y="61534"/>
                    <a:pt x="1711744" y="56451"/>
                    <a:pt x="1716948" y="53221"/>
                  </a:cubicBezTo>
                  <a:cubicBezTo>
                    <a:pt x="1721614" y="53461"/>
                    <a:pt x="1725921" y="55374"/>
                    <a:pt x="1730348" y="56690"/>
                  </a:cubicBezTo>
                  <a:cubicBezTo>
                    <a:pt x="1735792" y="67394"/>
                    <a:pt x="1716649" y="74689"/>
                    <a:pt x="1725383" y="83540"/>
                  </a:cubicBezTo>
                  <a:cubicBezTo>
                    <a:pt x="1729750" y="90357"/>
                    <a:pt x="1734655" y="96815"/>
                    <a:pt x="1738484" y="103991"/>
                  </a:cubicBezTo>
                  <a:cubicBezTo>
                    <a:pt x="1739620" y="111526"/>
                    <a:pt x="1736330" y="119240"/>
                    <a:pt x="1735313" y="126775"/>
                  </a:cubicBezTo>
                  <a:cubicBezTo>
                    <a:pt x="1739680" y="120556"/>
                    <a:pt x="1743868" y="112303"/>
                    <a:pt x="1752541" y="111885"/>
                  </a:cubicBezTo>
                  <a:cubicBezTo>
                    <a:pt x="1773299" y="118283"/>
                    <a:pt x="1792202" y="139452"/>
                    <a:pt x="1784067" y="162356"/>
                  </a:cubicBezTo>
                  <a:cubicBezTo>
                    <a:pt x="1782153" y="174435"/>
                    <a:pt x="1765941" y="177545"/>
                    <a:pt x="1763967" y="189564"/>
                  </a:cubicBezTo>
                  <a:cubicBezTo>
                    <a:pt x="1762053" y="199969"/>
                    <a:pt x="1752123" y="205650"/>
                    <a:pt x="1746440" y="213783"/>
                  </a:cubicBezTo>
                  <a:cubicBezTo>
                    <a:pt x="1738125" y="225085"/>
                    <a:pt x="1724605" y="231065"/>
                    <a:pt x="1717008" y="242965"/>
                  </a:cubicBezTo>
                  <a:cubicBezTo>
                    <a:pt x="1713897" y="240753"/>
                    <a:pt x="1710906" y="238480"/>
                    <a:pt x="1707915" y="236208"/>
                  </a:cubicBezTo>
                  <a:cubicBezTo>
                    <a:pt x="1709889" y="241949"/>
                    <a:pt x="1714137" y="249782"/>
                    <a:pt x="1706540" y="253370"/>
                  </a:cubicBezTo>
                  <a:cubicBezTo>
                    <a:pt x="1700079" y="254506"/>
                    <a:pt x="1693379" y="246852"/>
                    <a:pt x="1686440" y="249962"/>
                  </a:cubicBezTo>
                  <a:cubicBezTo>
                    <a:pt x="1679321" y="253191"/>
                    <a:pt x="1672203" y="256420"/>
                    <a:pt x="1664725" y="258812"/>
                  </a:cubicBezTo>
                  <a:cubicBezTo>
                    <a:pt x="1670887" y="259769"/>
                    <a:pt x="1677108" y="260427"/>
                    <a:pt x="1683329" y="260785"/>
                  </a:cubicBezTo>
                  <a:cubicBezTo>
                    <a:pt x="1676928" y="264852"/>
                    <a:pt x="1669870" y="267722"/>
                    <a:pt x="1662272" y="268380"/>
                  </a:cubicBezTo>
                  <a:cubicBezTo>
                    <a:pt x="1645224" y="269696"/>
                    <a:pt x="1629012" y="275974"/>
                    <a:pt x="1611963" y="277170"/>
                  </a:cubicBezTo>
                  <a:cubicBezTo>
                    <a:pt x="1603708" y="270234"/>
                    <a:pt x="1597427" y="261324"/>
                    <a:pt x="1589052" y="254566"/>
                  </a:cubicBezTo>
                  <a:cubicBezTo>
                    <a:pt x="1595273" y="264433"/>
                    <a:pt x="1602990" y="273224"/>
                    <a:pt x="1609271" y="283031"/>
                  </a:cubicBezTo>
                  <a:lnTo>
                    <a:pt x="1601614" y="287157"/>
                  </a:lnTo>
                  <a:cubicBezTo>
                    <a:pt x="1614835" y="289011"/>
                    <a:pt x="1626978" y="281177"/>
                    <a:pt x="1639840" y="279921"/>
                  </a:cubicBezTo>
                  <a:cubicBezTo>
                    <a:pt x="1644446" y="281057"/>
                    <a:pt x="1648394" y="283988"/>
                    <a:pt x="1652402" y="286439"/>
                  </a:cubicBezTo>
                  <a:cubicBezTo>
                    <a:pt x="1636729" y="301329"/>
                    <a:pt x="1618125" y="312572"/>
                    <a:pt x="1600418" y="324950"/>
                  </a:cubicBezTo>
                  <a:cubicBezTo>
                    <a:pt x="1595812" y="328419"/>
                    <a:pt x="1589890" y="328000"/>
                    <a:pt x="1584446" y="327940"/>
                  </a:cubicBezTo>
                  <a:cubicBezTo>
                    <a:pt x="1584446" y="329555"/>
                    <a:pt x="1584506" y="331169"/>
                    <a:pt x="1584566" y="332784"/>
                  </a:cubicBezTo>
                  <a:cubicBezTo>
                    <a:pt x="1579062" y="336432"/>
                    <a:pt x="1573678" y="340079"/>
                    <a:pt x="1568235" y="343787"/>
                  </a:cubicBezTo>
                  <a:lnTo>
                    <a:pt x="1576490" y="344564"/>
                  </a:lnTo>
                  <a:cubicBezTo>
                    <a:pt x="1576310" y="346478"/>
                    <a:pt x="1576131" y="348451"/>
                    <a:pt x="1575951" y="350425"/>
                  </a:cubicBezTo>
                  <a:cubicBezTo>
                    <a:pt x="1582472" y="344325"/>
                    <a:pt x="1588454" y="337269"/>
                    <a:pt x="1596829" y="333502"/>
                  </a:cubicBezTo>
                  <a:cubicBezTo>
                    <a:pt x="1625662" y="319389"/>
                    <a:pt x="1653000" y="302226"/>
                    <a:pt x="1681893" y="288114"/>
                  </a:cubicBezTo>
                  <a:cubicBezTo>
                    <a:pt x="1688892" y="285064"/>
                    <a:pt x="1696490" y="283748"/>
                    <a:pt x="1703848" y="281895"/>
                  </a:cubicBezTo>
                  <a:cubicBezTo>
                    <a:pt x="1709889" y="303482"/>
                    <a:pt x="1689790" y="321422"/>
                    <a:pt x="1673578" y="332066"/>
                  </a:cubicBezTo>
                  <a:cubicBezTo>
                    <a:pt x="1662033" y="336312"/>
                    <a:pt x="1657965" y="348990"/>
                    <a:pt x="1653359" y="359215"/>
                  </a:cubicBezTo>
                  <a:cubicBezTo>
                    <a:pt x="1648334" y="371115"/>
                    <a:pt x="1634635" y="375720"/>
                    <a:pt x="1628294" y="386723"/>
                  </a:cubicBezTo>
                  <a:cubicBezTo>
                    <a:pt x="1620039" y="399879"/>
                    <a:pt x="1609391" y="411301"/>
                    <a:pt x="1600119" y="423679"/>
                  </a:cubicBezTo>
                  <a:cubicBezTo>
                    <a:pt x="1592402" y="433845"/>
                    <a:pt x="1592940" y="447778"/>
                    <a:pt x="1586420" y="458542"/>
                  </a:cubicBezTo>
                  <a:cubicBezTo>
                    <a:pt x="1582053" y="465419"/>
                    <a:pt x="1572422" y="464941"/>
                    <a:pt x="1565662" y="466854"/>
                  </a:cubicBezTo>
                  <a:cubicBezTo>
                    <a:pt x="1567756" y="455791"/>
                    <a:pt x="1564047" y="445626"/>
                    <a:pt x="1556330" y="437852"/>
                  </a:cubicBezTo>
                  <a:cubicBezTo>
                    <a:pt x="1558663" y="445865"/>
                    <a:pt x="1561654" y="453938"/>
                    <a:pt x="1561355" y="462429"/>
                  </a:cubicBezTo>
                  <a:cubicBezTo>
                    <a:pt x="1560398" y="469904"/>
                    <a:pt x="1568773" y="473133"/>
                    <a:pt x="1573200" y="477618"/>
                  </a:cubicBezTo>
                  <a:cubicBezTo>
                    <a:pt x="1571226" y="482462"/>
                    <a:pt x="1569969" y="490057"/>
                    <a:pt x="1562970" y="488621"/>
                  </a:cubicBezTo>
                  <a:cubicBezTo>
                    <a:pt x="1551126" y="486110"/>
                    <a:pt x="1542691" y="494841"/>
                    <a:pt x="1532940" y="499266"/>
                  </a:cubicBezTo>
                  <a:cubicBezTo>
                    <a:pt x="1527377" y="495558"/>
                    <a:pt x="1522831" y="490535"/>
                    <a:pt x="1517567" y="486528"/>
                  </a:cubicBezTo>
                  <a:cubicBezTo>
                    <a:pt x="1520258" y="490774"/>
                    <a:pt x="1523070" y="494960"/>
                    <a:pt x="1526001" y="499086"/>
                  </a:cubicBezTo>
                  <a:cubicBezTo>
                    <a:pt x="1523190" y="501598"/>
                    <a:pt x="1520498" y="504229"/>
                    <a:pt x="1517806" y="506860"/>
                  </a:cubicBezTo>
                  <a:cubicBezTo>
                    <a:pt x="1532402" y="507040"/>
                    <a:pt x="1545503" y="500641"/>
                    <a:pt x="1558304" y="494542"/>
                  </a:cubicBezTo>
                  <a:cubicBezTo>
                    <a:pt x="1559919" y="501598"/>
                    <a:pt x="1560637" y="509910"/>
                    <a:pt x="1554835" y="515412"/>
                  </a:cubicBezTo>
                  <a:cubicBezTo>
                    <a:pt x="1548314" y="519478"/>
                    <a:pt x="1540956" y="522229"/>
                    <a:pt x="1535453" y="527790"/>
                  </a:cubicBezTo>
                  <a:cubicBezTo>
                    <a:pt x="1541136" y="528029"/>
                    <a:pt x="1546759" y="528209"/>
                    <a:pt x="1552442" y="528627"/>
                  </a:cubicBezTo>
                  <a:cubicBezTo>
                    <a:pt x="1546041" y="544295"/>
                    <a:pt x="1532462" y="558706"/>
                    <a:pt x="1514875" y="560142"/>
                  </a:cubicBezTo>
                  <a:cubicBezTo>
                    <a:pt x="1501116" y="562534"/>
                    <a:pt x="1501355" y="548301"/>
                    <a:pt x="1496091" y="540527"/>
                  </a:cubicBezTo>
                  <a:cubicBezTo>
                    <a:pt x="1491305" y="538733"/>
                    <a:pt x="1486161" y="538554"/>
                    <a:pt x="1481076" y="538255"/>
                  </a:cubicBezTo>
                  <a:cubicBezTo>
                    <a:pt x="1479640" y="535863"/>
                    <a:pt x="1478205" y="533531"/>
                    <a:pt x="1476769" y="531258"/>
                  </a:cubicBezTo>
                  <a:cubicBezTo>
                    <a:pt x="1468873" y="532634"/>
                    <a:pt x="1461096" y="534607"/>
                    <a:pt x="1453439" y="537059"/>
                  </a:cubicBezTo>
                  <a:cubicBezTo>
                    <a:pt x="1464984" y="542202"/>
                    <a:pt x="1477786" y="543338"/>
                    <a:pt x="1489511" y="548002"/>
                  </a:cubicBezTo>
                  <a:cubicBezTo>
                    <a:pt x="1495194" y="556434"/>
                    <a:pt x="1497228" y="567198"/>
                    <a:pt x="1496091" y="577244"/>
                  </a:cubicBezTo>
                  <a:cubicBezTo>
                    <a:pt x="1492382" y="580653"/>
                    <a:pt x="1487477" y="582088"/>
                    <a:pt x="1482990" y="584061"/>
                  </a:cubicBezTo>
                  <a:cubicBezTo>
                    <a:pt x="1481315" y="581968"/>
                    <a:pt x="1479760" y="579875"/>
                    <a:pt x="1478145" y="577842"/>
                  </a:cubicBezTo>
                  <a:lnTo>
                    <a:pt x="1475453" y="591656"/>
                  </a:lnTo>
                  <a:cubicBezTo>
                    <a:pt x="1467018" y="592134"/>
                    <a:pt x="1459421" y="588905"/>
                    <a:pt x="1452901" y="584002"/>
                  </a:cubicBezTo>
                  <a:cubicBezTo>
                    <a:pt x="1453260" y="589383"/>
                    <a:pt x="1453678" y="594706"/>
                    <a:pt x="1454097" y="600088"/>
                  </a:cubicBezTo>
                  <a:cubicBezTo>
                    <a:pt x="1433579" y="596858"/>
                    <a:pt x="1420717" y="575988"/>
                    <a:pt x="1398344" y="578799"/>
                  </a:cubicBezTo>
                  <a:cubicBezTo>
                    <a:pt x="1405942" y="581968"/>
                    <a:pt x="1414137" y="583942"/>
                    <a:pt x="1421555" y="587709"/>
                  </a:cubicBezTo>
                  <a:cubicBezTo>
                    <a:pt x="1425563" y="592194"/>
                    <a:pt x="1427058" y="598353"/>
                    <a:pt x="1429690" y="603735"/>
                  </a:cubicBezTo>
                  <a:cubicBezTo>
                    <a:pt x="1421256" y="603018"/>
                    <a:pt x="1413000" y="602181"/>
                    <a:pt x="1404685" y="601044"/>
                  </a:cubicBezTo>
                  <a:cubicBezTo>
                    <a:pt x="1403429" y="597038"/>
                    <a:pt x="1402053" y="593031"/>
                    <a:pt x="1400857" y="589025"/>
                  </a:cubicBezTo>
                  <a:lnTo>
                    <a:pt x="1395652" y="588128"/>
                  </a:lnTo>
                  <a:cubicBezTo>
                    <a:pt x="1397028" y="593749"/>
                    <a:pt x="1398344" y="599430"/>
                    <a:pt x="1399660" y="605051"/>
                  </a:cubicBezTo>
                  <a:cubicBezTo>
                    <a:pt x="1392362" y="603676"/>
                    <a:pt x="1385124" y="602300"/>
                    <a:pt x="1377826" y="601224"/>
                  </a:cubicBezTo>
                  <a:cubicBezTo>
                    <a:pt x="1382791" y="604274"/>
                    <a:pt x="1387876" y="607443"/>
                    <a:pt x="1393499" y="609177"/>
                  </a:cubicBezTo>
                  <a:cubicBezTo>
                    <a:pt x="1417666" y="612406"/>
                    <a:pt x="1441953" y="615576"/>
                    <a:pt x="1466420" y="616532"/>
                  </a:cubicBezTo>
                  <a:cubicBezTo>
                    <a:pt x="1463608" y="618984"/>
                    <a:pt x="1460737" y="621376"/>
                    <a:pt x="1457806" y="623649"/>
                  </a:cubicBezTo>
                  <a:cubicBezTo>
                    <a:pt x="1460976" y="629509"/>
                    <a:pt x="1463728" y="635608"/>
                    <a:pt x="1466181" y="641828"/>
                  </a:cubicBezTo>
                  <a:cubicBezTo>
                    <a:pt x="1455174" y="643861"/>
                    <a:pt x="1444645" y="641230"/>
                    <a:pt x="1434596" y="636804"/>
                  </a:cubicBezTo>
                  <a:cubicBezTo>
                    <a:pt x="1431784" y="630705"/>
                    <a:pt x="1431006" y="620120"/>
                    <a:pt x="1421914" y="621615"/>
                  </a:cubicBezTo>
                  <a:cubicBezTo>
                    <a:pt x="1409052" y="623230"/>
                    <a:pt x="1396310" y="621675"/>
                    <a:pt x="1383509" y="620898"/>
                  </a:cubicBezTo>
                  <a:cubicBezTo>
                    <a:pt x="1397626" y="627117"/>
                    <a:pt x="1413539" y="626639"/>
                    <a:pt x="1427597" y="633097"/>
                  </a:cubicBezTo>
                  <a:cubicBezTo>
                    <a:pt x="1407616" y="631901"/>
                    <a:pt x="1390089" y="639675"/>
                    <a:pt x="1380219" y="653608"/>
                  </a:cubicBezTo>
                  <a:cubicBezTo>
                    <a:pt x="1397985" y="644220"/>
                    <a:pt x="1420538" y="637821"/>
                    <a:pt x="1434476" y="652233"/>
                  </a:cubicBezTo>
                  <a:lnTo>
                    <a:pt x="1421973" y="660963"/>
                  </a:lnTo>
                  <a:cubicBezTo>
                    <a:pt x="1431904" y="662638"/>
                    <a:pt x="1445423" y="656777"/>
                    <a:pt x="1453020" y="665927"/>
                  </a:cubicBezTo>
                  <a:cubicBezTo>
                    <a:pt x="1458883" y="672923"/>
                    <a:pt x="1466779" y="677588"/>
                    <a:pt x="1473359" y="683867"/>
                  </a:cubicBezTo>
                  <a:cubicBezTo>
                    <a:pt x="1468095" y="684405"/>
                    <a:pt x="1462831" y="683687"/>
                    <a:pt x="1457686" y="682372"/>
                  </a:cubicBezTo>
                  <a:cubicBezTo>
                    <a:pt x="1458404" y="687215"/>
                    <a:pt x="1459301" y="692119"/>
                    <a:pt x="1460139" y="696963"/>
                  </a:cubicBezTo>
                  <a:cubicBezTo>
                    <a:pt x="1448893" y="703122"/>
                    <a:pt x="1436570" y="706411"/>
                    <a:pt x="1424247" y="709461"/>
                  </a:cubicBezTo>
                  <a:cubicBezTo>
                    <a:pt x="1433638" y="714125"/>
                    <a:pt x="1443449" y="718311"/>
                    <a:pt x="1450029" y="727042"/>
                  </a:cubicBezTo>
                  <a:cubicBezTo>
                    <a:pt x="1445303" y="731228"/>
                    <a:pt x="1441535" y="736311"/>
                    <a:pt x="1438364" y="741753"/>
                  </a:cubicBezTo>
                  <a:cubicBezTo>
                    <a:pt x="1427656" y="739600"/>
                    <a:pt x="1416590" y="737208"/>
                    <a:pt x="1405762" y="739839"/>
                  </a:cubicBezTo>
                  <a:lnTo>
                    <a:pt x="1407258" y="745699"/>
                  </a:lnTo>
                  <a:lnTo>
                    <a:pt x="1438065" y="752995"/>
                  </a:lnTo>
                  <a:cubicBezTo>
                    <a:pt x="1435971" y="758377"/>
                    <a:pt x="1433818" y="763759"/>
                    <a:pt x="1431545" y="769081"/>
                  </a:cubicBezTo>
                  <a:cubicBezTo>
                    <a:pt x="1427597" y="768004"/>
                    <a:pt x="1423648" y="766569"/>
                    <a:pt x="1419521" y="766510"/>
                  </a:cubicBezTo>
                  <a:cubicBezTo>
                    <a:pt x="1414735" y="769739"/>
                    <a:pt x="1411624" y="774822"/>
                    <a:pt x="1408454" y="779546"/>
                  </a:cubicBezTo>
                  <a:cubicBezTo>
                    <a:pt x="1396550" y="772310"/>
                    <a:pt x="1382552" y="771234"/>
                    <a:pt x="1369092" y="773805"/>
                  </a:cubicBezTo>
                  <a:cubicBezTo>
                    <a:pt x="1377527" y="785107"/>
                    <a:pt x="1381176" y="798622"/>
                    <a:pt x="1384466" y="812077"/>
                  </a:cubicBezTo>
                  <a:cubicBezTo>
                    <a:pt x="1380279" y="825233"/>
                    <a:pt x="1372921" y="837611"/>
                    <a:pt x="1360657" y="844667"/>
                  </a:cubicBezTo>
                  <a:cubicBezTo>
                    <a:pt x="1360897" y="842156"/>
                    <a:pt x="1361136" y="839644"/>
                    <a:pt x="1361435" y="837133"/>
                  </a:cubicBezTo>
                  <a:cubicBezTo>
                    <a:pt x="1352462" y="847478"/>
                    <a:pt x="1337985" y="847059"/>
                    <a:pt x="1325543" y="846162"/>
                  </a:cubicBezTo>
                  <a:cubicBezTo>
                    <a:pt x="1310468" y="843531"/>
                    <a:pt x="1302213" y="829897"/>
                    <a:pt x="1292402" y="819731"/>
                  </a:cubicBezTo>
                  <a:lnTo>
                    <a:pt x="1288095" y="830674"/>
                  </a:lnTo>
                  <a:cubicBezTo>
                    <a:pt x="1293658" y="834621"/>
                    <a:pt x="1299222" y="838628"/>
                    <a:pt x="1304127" y="843352"/>
                  </a:cubicBezTo>
                  <a:cubicBezTo>
                    <a:pt x="1295872" y="844010"/>
                    <a:pt x="1287617" y="844129"/>
                    <a:pt x="1279361" y="844249"/>
                  </a:cubicBezTo>
                  <a:cubicBezTo>
                    <a:pt x="1282532" y="849511"/>
                    <a:pt x="1285702" y="854833"/>
                    <a:pt x="1288514" y="860395"/>
                  </a:cubicBezTo>
                  <a:lnTo>
                    <a:pt x="1305264" y="847717"/>
                  </a:lnTo>
                  <a:cubicBezTo>
                    <a:pt x="1312980" y="850169"/>
                    <a:pt x="1320398" y="853757"/>
                    <a:pt x="1328414" y="855132"/>
                  </a:cubicBezTo>
                  <a:cubicBezTo>
                    <a:pt x="1335952" y="855073"/>
                    <a:pt x="1345044" y="849511"/>
                    <a:pt x="1351325" y="856269"/>
                  </a:cubicBezTo>
                  <a:cubicBezTo>
                    <a:pt x="1360119" y="864760"/>
                    <a:pt x="1349950" y="876301"/>
                    <a:pt x="1346001" y="884255"/>
                  </a:cubicBezTo>
                  <a:cubicBezTo>
                    <a:pt x="1354496" y="883537"/>
                    <a:pt x="1357666" y="890294"/>
                    <a:pt x="1360777" y="896155"/>
                  </a:cubicBezTo>
                  <a:cubicBezTo>
                    <a:pt x="1364486" y="887962"/>
                    <a:pt x="1369331" y="880248"/>
                    <a:pt x="1376091" y="874208"/>
                  </a:cubicBezTo>
                  <a:cubicBezTo>
                    <a:pt x="1383210" y="886886"/>
                    <a:pt x="1390627" y="905902"/>
                    <a:pt x="1379321" y="918101"/>
                  </a:cubicBezTo>
                  <a:cubicBezTo>
                    <a:pt x="1375134" y="923782"/>
                    <a:pt x="1371724" y="930061"/>
                    <a:pt x="1367477" y="935742"/>
                  </a:cubicBezTo>
                  <a:cubicBezTo>
                    <a:pt x="1366759" y="931735"/>
                    <a:pt x="1365981" y="927729"/>
                    <a:pt x="1365264" y="923722"/>
                  </a:cubicBezTo>
                  <a:cubicBezTo>
                    <a:pt x="1356949" y="932752"/>
                    <a:pt x="1353898" y="942081"/>
                    <a:pt x="1347676" y="948718"/>
                  </a:cubicBezTo>
                  <a:cubicBezTo>
                    <a:pt x="1333379" y="953562"/>
                    <a:pt x="1320279" y="961336"/>
                    <a:pt x="1305981" y="966180"/>
                  </a:cubicBezTo>
                  <a:cubicBezTo>
                    <a:pt x="1306998" y="956193"/>
                    <a:pt x="1311964" y="947104"/>
                    <a:pt x="1312681" y="937177"/>
                  </a:cubicBezTo>
                  <a:cubicBezTo>
                    <a:pt x="1307178" y="926652"/>
                    <a:pt x="1293359" y="931855"/>
                    <a:pt x="1284207" y="930779"/>
                  </a:cubicBezTo>
                  <a:cubicBezTo>
                    <a:pt x="1284147" y="919955"/>
                    <a:pt x="1276191" y="912540"/>
                    <a:pt x="1267876" y="906799"/>
                  </a:cubicBezTo>
                  <a:cubicBezTo>
                    <a:pt x="1270927" y="912659"/>
                    <a:pt x="1275054" y="917802"/>
                    <a:pt x="1279780" y="922347"/>
                  </a:cubicBezTo>
                  <a:cubicBezTo>
                    <a:pt x="1279002" y="928805"/>
                    <a:pt x="1278344" y="935084"/>
                    <a:pt x="1277985" y="941662"/>
                  </a:cubicBezTo>
                  <a:cubicBezTo>
                    <a:pt x="1273020" y="939270"/>
                    <a:pt x="1265423" y="942798"/>
                    <a:pt x="1261176" y="938254"/>
                  </a:cubicBezTo>
                  <a:cubicBezTo>
                    <a:pt x="1258783" y="929044"/>
                    <a:pt x="1257587" y="918998"/>
                    <a:pt x="1250229" y="912181"/>
                  </a:cubicBezTo>
                  <a:cubicBezTo>
                    <a:pt x="1251784" y="921510"/>
                    <a:pt x="1253938" y="930719"/>
                    <a:pt x="1255852" y="939988"/>
                  </a:cubicBezTo>
                  <a:cubicBezTo>
                    <a:pt x="1240897" y="941602"/>
                    <a:pt x="1236709" y="926712"/>
                    <a:pt x="1230967" y="916606"/>
                  </a:cubicBezTo>
                  <a:cubicBezTo>
                    <a:pt x="1230368" y="922526"/>
                    <a:pt x="1229950" y="928506"/>
                    <a:pt x="1230129" y="934426"/>
                  </a:cubicBezTo>
                  <a:cubicBezTo>
                    <a:pt x="1227078" y="935084"/>
                    <a:pt x="1224087" y="935862"/>
                    <a:pt x="1221096" y="936759"/>
                  </a:cubicBezTo>
                  <a:cubicBezTo>
                    <a:pt x="1217567" y="931197"/>
                    <a:pt x="1213918" y="925755"/>
                    <a:pt x="1209850" y="920613"/>
                  </a:cubicBezTo>
                  <a:cubicBezTo>
                    <a:pt x="1207457" y="933529"/>
                    <a:pt x="1216729" y="941782"/>
                    <a:pt x="1225164" y="949197"/>
                  </a:cubicBezTo>
                  <a:cubicBezTo>
                    <a:pt x="1209012" y="954160"/>
                    <a:pt x="1194536" y="946566"/>
                    <a:pt x="1179940" y="941124"/>
                  </a:cubicBezTo>
                  <a:cubicBezTo>
                    <a:pt x="1178923" y="938313"/>
                    <a:pt x="1178025" y="935563"/>
                    <a:pt x="1177068" y="932812"/>
                  </a:cubicBezTo>
                  <a:lnTo>
                    <a:pt x="1172821" y="932274"/>
                  </a:lnTo>
                  <a:lnTo>
                    <a:pt x="1169292" y="945788"/>
                  </a:lnTo>
                  <a:cubicBezTo>
                    <a:pt x="1162173" y="940167"/>
                    <a:pt x="1156131" y="933290"/>
                    <a:pt x="1151525" y="925456"/>
                  </a:cubicBezTo>
                  <a:cubicBezTo>
                    <a:pt x="1152662" y="932632"/>
                    <a:pt x="1152482" y="940107"/>
                    <a:pt x="1149790" y="946925"/>
                  </a:cubicBezTo>
                  <a:cubicBezTo>
                    <a:pt x="1143509" y="944652"/>
                    <a:pt x="1137108" y="942619"/>
                    <a:pt x="1130767" y="940466"/>
                  </a:cubicBezTo>
                  <a:cubicBezTo>
                    <a:pt x="1129092" y="928207"/>
                    <a:pt x="1131724" y="913915"/>
                    <a:pt x="1124187" y="903151"/>
                  </a:cubicBezTo>
                  <a:cubicBezTo>
                    <a:pt x="1124366" y="914095"/>
                    <a:pt x="1126221" y="924978"/>
                    <a:pt x="1125742" y="936041"/>
                  </a:cubicBezTo>
                  <a:cubicBezTo>
                    <a:pt x="1124965" y="931556"/>
                    <a:pt x="1124247" y="927071"/>
                    <a:pt x="1123589" y="922586"/>
                  </a:cubicBezTo>
                  <a:cubicBezTo>
                    <a:pt x="1121555" y="928147"/>
                    <a:pt x="1119641" y="933828"/>
                    <a:pt x="1117846" y="939450"/>
                  </a:cubicBezTo>
                  <a:cubicBezTo>
                    <a:pt x="1110548" y="935503"/>
                    <a:pt x="1105942" y="928626"/>
                    <a:pt x="1100977" y="922227"/>
                  </a:cubicBezTo>
                  <a:cubicBezTo>
                    <a:pt x="1106121" y="912719"/>
                    <a:pt x="1105284" y="901776"/>
                    <a:pt x="1105882" y="891490"/>
                  </a:cubicBezTo>
                  <a:cubicBezTo>
                    <a:pt x="1114795" y="883118"/>
                    <a:pt x="1125144" y="876002"/>
                    <a:pt x="1131545" y="865298"/>
                  </a:cubicBezTo>
                  <a:cubicBezTo>
                    <a:pt x="1138903" y="864222"/>
                    <a:pt x="1146560" y="864162"/>
                    <a:pt x="1153798" y="866255"/>
                  </a:cubicBezTo>
                  <a:cubicBezTo>
                    <a:pt x="1154337" y="863684"/>
                    <a:pt x="1154875" y="861172"/>
                    <a:pt x="1155473" y="858660"/>
                  </a:cubicBezTo>
                  <a:cubicBezTo>
                    <a:pt x="1161216" y="859617"/>
                    <a:pt x="1166959" y="860454"/>
                    <a:pt x="1172761" y="860634"/>
                  </a:cubicBezTo>
                  <a:cubicBezTo>
                    <a:pt x="1169052" y="858541"/>
                    <a:pt x="1165224" y="856687"/>
                    <a:pt x="1161336" y="854893"/>
                  </a:cubicBezTo>
                  <a:cubicBezTo>
                    <a:pt x="1162412" y="852621"/>
                    <a:pt x="1163489" y="850348"/>
                    <a:pt x="1164626" y="848076"/>
                  </a:cubicBezTo>
                  <a:lnTo>
                    <a:pt x="1158644" y="846760"/>
                  </a:lnTo>
                  <a:cubicBezTo>
                    <a:pt x="1162053" y="843711"/>
                    <a:pt x="1164925" y="840063"/>
                    <a:pt x="1168394" y="837073"/>
                  </a:cubicBezTo>
                  <a:cubicBezTo>
                    <a:pt x="1162711" y="838209"/>
                    <a:pt x="1157148" y="840541"/>
                    <a:pt x="1151345" y="840601"/>
                  </a:cubicBezTo>
                  <a:cubicBezTo>
                    <a:pt x="1144287" y="840182"/>
                    <a:pt x="1146620" y="831990"/>
                    <a:pt x="1146979" y="827326"/>
                  </a:cubicBezTo>
                  <a:cubicBezTo>
                    <a:pt x="1150747" y="813153"/>
                    <a:pt x="1125623" y="808728"/>
                    <a:pt x="1135493" y="792821"/>
                  </a:cubicBezTo>
                  <a:cubicBezTo>
                    <a:pt x="1135254" y="785645"/>
                    <a:pt x="1143569" y="784629"/>
                    <a:pt x="1148414" y="781938"/>
                  </a:cubicBezTo>
                  <a:cubicBezTo>
                    <a:pt x="1159062" y="775420"/>
                    <a:pt x="1172163" y="781041"/>
                    <a:pt x="1180418" y="788695"/>
                  </a:cubicBezTo>
                  <a:cubicBezTo>
                    <a:pt x="1191425" y="799100"/>
                    <a:pt x="1188913" y="815844"/>
                    <a:pt x="1194775" y="828821"/>
                  </a:cubicBezTo>
                  <a:cubicBezTo>
                    <a:pt x="1204287" y="835159"/>
                    <a:pt x="1215294" y="839345"/>
                    <a:pt x="1224446" y="846461"/>
                  </a:cubicBezTo>
                  <a:cubicBezTo>
                    <a:pt x="1223310" y="842335"/>
                    <a:pt x="1222113" y="838209"/>
                    <a:pt x="1220977" y="834083"/>
                  </a:cubicBezTo>
                  <a:cubicBezTo>
                    <a:pt x="1230189" y="835040"/>
                    <a:pt x="1239282" y="837073"/>
                    <a:pt x="1248195" y="839465"/>
                  </a:cubicBezTo>
                  <a:cubicBezTo>
                    <a:pt x="1245563" y="835877"/>
                    <a:pt x="1242871" y="832289"/>
                    <a:pt x="1240299" y="828701"/>
                  </a:cubicBezTo>
                  <a:cubicBezTo>
                    <a:pt x="1262552" y="811419"/>
                    <a:pt x="1268773" y="781758"/>
                    <a:pt x="1275054" y="755805"/>
                  </a:cubicBezTo>
                  <a:cubicBezTo>
                    <a:pt x="1272003" y="758496"/>
                    <a:pt x="1267577" y="760410"/>
                    <a:pt x="1266560" y="764716"/>
                  </a:cubicBezTo>
                  <a:cubicBezTo>
                    <a:pt x="1260937" y="785227"/>
                    <a:pt x="1253459" y="805439"/>
                    <a:pt x="1241435" y="823080"/>
                  </a:cubicBezTo>
                  <a:cubicBezTo>
                    <a:pt x="1231924" y="820209"/>
                    <a:pt x="1217447" y="824635"/>
                    <a:pt x="1212542" y="813332"/>
                  </a:cubicBezTo>
                  <a:cubicBezTo>
                    <a:pt x="1206679" y="807054"/>
                    <a:pt x="1208235" y="798084"/>
                    <a:pt x="1205483" y="790609"/>
                  </a:cubicBezTo>
                  <a:cubicBezTo>
                    <a:pt x="1202671" y="784689"/>
                    <a:pt x="1199082" y="779247"/>
                    <a:pt x="1195493" y="773865"/>
                  </a:cubicBezTo>
                  <a:cubicBezTo>
                    <a:pt x="1201236" y="767765"/>
                    <a:pt x="1210029" y="763101"/>
                    <a:pt x="1211704" y="754251"/>
                  </a:cubicBezTo>
                  <a:cubicBezTo>
                    <a:pt x="1213978" y="744443"/>
                    <a:pt x="1214576" y="734337"/>
                    <a:pt x="1215593" y="724351"/>
                  </a:cubicBezTo>
                  <a:cubicBezTo>
                    <a:pt x="1208354" y="735414"/>
                    <a:pt x="1206859" y="752696"/>
                    <a:pt x="1192801" y="757360"/>
                  </a:cubicBezTo>
                  <a:cubicBezTo>
                    <a:pt x="1188733" y="758915"/>
                    <a:pt x="1184247" y="758437"/>
                    <a:pt x="1180000" y="758377"/>
                  </a:cubicBezTo>
                  <a:cubicBezTo>
                    <a:pt x="1183708" y="749347"/>
                    <a:pt x="1187716" y="740437"/>
                    <a:pt x="1191306" y="731347"/>
                  </a:cubicBezTo>
                  <a:cubicBezTo>
                    <a:pt x="1183768" y="738165"/>
                    <a:pt x="1176769" y="745639"/>
                    <a:pt x="1168873" y="752098"/>
                  </a:cubicBezTo>
                  <a:cubicBezTo>
                    <a:pt x="1162951" y="756942"/>
                    <a:pt x="1155593" y="753294"/>
                    <a:pt x="1149611" y="750782"/>
                  </a:cubicBezTo>
                  <a:cubicBezTo>
                    <a:pt x="1153379" y="747852"/>
                    <a:pt x="1157208" y="745161"/>
                    <a:pt x="1161156" y="742530"/>
                  </a:cubicBezTo>
                  <a:cubicBezTo>
                    <a:pt x="1158285" y="741753"/>
                    <a:pt x="1155413" y="741095"/>
                    <a:pt x="1152542" y="740557"/>
                  </a:cubicBezTo>
                  <a:cubicBezTo>
                    <a:pt x="1152243" y="732842"/>
                    <a:pt x="1150927" y="725068"/>
                    <a:pt x="1151585" y="717414"/>
                  </a:cubicBezTo>
                  <a:cubicBezTo>
                    <a:pt x="1155054" y="707487"/>
                    <a:pt x="1161635" y="698936"/>
                    <a:pt x="1164446" y="688770"/>
                  </a:cubicBezTo>
                  <a:cubicBezTo>
                    <a:pt x="1166899" y="683747"/>
                    <a:pt x="1166959" y="674957"/>
                    <a:pt x="1173479" y="672684"/>
                  </a:cubicBezTo>
                  <a:cubicBezTo>
                    <a:pt x="1186101" y="668737"/>
                    <a:pt x="1198245" y="663415"/>
                    <a:pt x="1209611" y="656718"/>
                  </a:cubicBezTo>
                  <a:cubicBezTo>
                    <a:pt x="1217866" y="662638"/>
                    <a:pt x="1228155" y="663176"/>
                    <a:pt x="1237427" y="666585"/>
                  </a:cubicBezTo>
                  <a:cubicBezTo>
                    <a:pt x="1254057" y="674119"/>
                    <a:pt x="1264047" y="690086"/>
                    <a:pt x="1277746" y="701448"/>
                  </a:cubicBezTo>
                  <a:cubicBezTo>
                    <a:pt x="1275952" y="685182"/>
                    <a:pt x="1261236" y="677229"/>
                    <a:pt x="1252801" y="665030"/>
                  </a:cubicBezTo>
                  <a:cubicBezTo>
                    <a:pt x="1265662" y="665329"/>
                    <a:pt x="1278464" y="664492"/>
                    <a:pt x="1291266" y="663475"/>
                  </a:cubicBezTo>
                  <a:cubicBezTo>
                    <a:pt x="1291266" y="656179"/>
                    <a:pt x="1291864" y="648944"/>
                    <a:pt x="1292821" y="641768"/>
                  </a:cubicBezTo>
                  <a:cubicBezTo>
                    <a:pt x="1286779" y="647389"/>
                    <a:pt x="1282532" y="655402"/>
                    <a:pt x="1274935" y="658990"/>
                  </a:cubicBezTo>
                  <a:cubicBezTo>
                    <a:pt x="1259680" y="655641"/>
                    <a:pt x="1244007" y="653608"/>
                    <a:pt x="1228933" y="649482"/>
                  </a:cubicBezTo>
                  <a:cubicBezTo>
                    <a:pt x="1220378" y="647030"/>
                    <a:pt x="1213320" y="634054"/>
                    <a:pt x="1223190" y="628791"/>
                  </a:cubicBezTo>
                  <a:cubicBezTo>
                    <a:pt x="1233838" y="627595"/>
                    <a:pt x="1236530" y="642426"/>
                    <a:pt x="1246699" y="644279"/>
                  </a:cubicBezTo>
                  <a:cubicBezTo>
                    <a:pt x="1243828" y="634831"/>
                    <a:pt x="1236769" y="627835"/>
                    <a:pt x="1230787" y="620300"/>
                  </a:cubicBezTo>
                  <a:cubicBezTo>
                    <a:pt x="1224326" y="610493"/>
                    <a:pt x="1226360" y="597337"/>
                    <a:pt x="1218703" y="588068"/>
                  </a:cubicBezTo>
                  <a:cubicBezTo>
                    <a:pt x="1212602" y="580174"/>
                    <a:pt x="1212362" y="569769"/>
                    <a:pt x="1207278" y="561517"/>
                  </a:cubicBezTo>
                  <a:cubicBezTo>
                    <a:pt x="1198364" y="555716"/>
                    <a:pt x="1187716" y="553324"/>
                    <a:pt x="1178863" y="547464"/>
                  </a:cubicBezTo>
                  <a:cubicBezTo>
                    <a:pt x="1173479" y="536581"/>
                    <a:pt x="1181854" y="523604"/>
                    <a:pt x="1176111" y="512661"/>
                  </a:cubicBezTo>
                  <a:cubicBezTo>
                    <a:pt x="1170428" y="500282"/>
                    <a:pt x="1171625" y="485990"/>
                    <a:pt x="1174317" y="473014"/>
                  </a:cubicBezTo>
                  <a:cubicBezTo>
                    <a:pt x="1179581" y="466675"/>
                    <a:pt x="1189212" y="467692"/>
                    <a:pt x="1195672" y="471758"/>
                  </a:cubicBezTo>
                  <a:cubicBezTo>
                    <a:pt x="1208654" y="479771"/>
                    <a:pt x="1225463" y="472894"/>
                    <a:pt x="1238923" y="479233"/>
                  </a:cubicBezTo>
                  <a:cubicBezTo>
                    <a:pt x="1250468" y="491851"/>
                    <a:pt x="1257946" y="507578"/>
                    <a:pt x="1270029" y="519837"/>
                  </a:cubicBezTo>
                  <a:cubicBezTo>
                    <a:pt x="1283070" y="531199"/>
                    <a:pt x="1280259" y="551889"/>
                    <a:pt x="1293958" y="562653"/>
                  </a:cubicBezTo>
                  <a:cubicBezTo>
                    <a:pt x="1300059" y="566121"/>
                    <a:pt x="1306819" y="567975"/>
                    <a:pt x="1313220" y="570786"/>
                  </a:cubicBezTo>
                  <a:cubicBezTo>
                    <a:pt x="1320937" y="566420"/>
                    <a:pt x="1329371" y="562892"/>
                    <a:pt x="1335772" y="556494"/>
                  </a:cubicBezTo>
                  <a:cubicBezTo>
                    <a:pt x="1328055" y="557510"/>
                    <a:pt x="1320937" y="560799"/>
                    <a:pt x="1313399" y="562414"/>
                  </a:cubicBezTo>
                  <a:cubicBezTo>
                    <a:pt x="1307238" y="559843"/>
                    <a:pt x="1302033" y="555417"/>
                    <a:pt x="1296291" y="552128"/>
                  </a:cubicBezTo>
                  <a:cubicBezTo>
                    <a:pt x="1294616" y="542022"/>
                    <a:pt x="1293658" y="531737"/>
                    <a:pt x="1290967" y="521870"/>
                  </a:cubicBezTo>
                  <a:cubicBezTo>
                    <a:pt x="1285942" y="515113"/>
                    <a:pt x="1277866" y="511106"/>
                    <a:pt x="1273678" y="503571"/>
                  </a:cubicBezTo>
                  <a:cubicBezTo>
                    <a:pt x="1266201" y="491791"/>
                    <a:pt x="1259800" y="479293"/>
                    <a:pt x="1253579" y="466795"/>
                  </a:cubicBezTo>
                  <a:cubicBezTo>
                    <a:pt x="1274935" y="459080"/>
                    <a:pt x="1297846" y="456748"/>
                    <a:pt x="1318843" y="448077"/>
                  </a:cubicBezTo>
                  <a:cubicBezTo>
                    <a:pt x="1334277" y="431034"/>
                    <a:pt x="1360298" y="437852"/>
                    <a:pt x="1380338" y="430975"/>
                  </a:cubicBezTo>
                  <a:cubicBezTo>
                    <a:pt x="1364665" y="424815"/>
                    <a:pt x="1347916" y="426789"/>
                    <a:pt x="1331644" y="427925"/>
                  </a:cubicBezTo>
                  <a:cubicBezTo>
                    <a:pt x="1343190" y="416264"/>
                    <a:pt x="1356769" y="406277"/>
                    <a:pt x="1372083" y="400118"/>
                  </a:cubicBezTo>
                  <a:cubicBezTo>
                    <a:pt x="1385244" y="393540"/>
                    <a:pt x="1400318" y="394916"/>
                    <a:pt x="1414496" y="392464"/>
                  </a:cubicBezTo>
                  <a:lnTo>
                    <a:pt x="1414615" y="386783"/>
                  </a:lnTo>
                  <a:cubicBezTo>
                    <a:pt x="1395114" y="382477"/>
                    <a:pt x="1374715" y="382118"/>
                    <a:pt x="1356590" y="392045"/>
                  </a:cubicBezTo>
                  <a:cubicBezTo>
                    <a:pt x="1356649" y="385288"/>
                    <a:pt x="1355274" y="378232"/>
                    <a:pt x="1357128" y="371713"/>
                  </a:cubicBezTo>
                  <a:cubicBezTo>
                    <a:pt x="1361854" y="363581"/>
                    <a:pt x="1368374" y="356285"/>
                    <a:pt x="1370049" y="346717"/>
                  </a:cubicBezTo>
                  <a:cubicBezTo>
                    <a:pt x="1376510" y="324591"/>
                    <a:pt x="1402292" y="316698"/>
                    <a:pt x="1411086" y="296426"/>
                  </a:cubicBezTo>
                  <a:cubicBezTo>
                    <a:pt x="1398943" y="303422"/>
                    <a:pt x="1387457" y="311675"/>
                    <a:pt x="1376390" y="320286"/>
                  </a:cubicBezTo>
                  <a:cubicBezTo>
                    <a:pt x="1368075" y="329136"/>
                    <a:pt x="1364007" y="341096"/>
                    <a:pt x="1360179" y="352338"/>
                  </a:cubicBezTo>
                  <a:cubicBezTo>
                    <a:pt x="1356590" y="350963"/>
                    <a:pt x="1353060" y="349588"/>
                    <a:pt x="1349531" y="348093"/>
                  </a:cubicBezTo>
                  <a:cubicBezTo>
                    <a:pt x="1351266" y="351860"/>
                    <a:pt x="1352761" y="355926"/>
                    <a:pt x="1350488" y="359813"/>
                  </a:cubicBezTo>
                  <a:cubicBezTo>
                    <a:pt x="1346959" y="366750"/>
                    <a:pt x="1350727" y="374703"/>
                    <a:pt x="1347617" y="381700"/>
                  </a:cubicBezTo>
                  <a:cubicBezTo>
                    <a:pt x="1342233" y="400896"/>
                    <a:pt x="1322432" y="409626"/>
                    <a:pt x="1307776" y="420510"/>
                  </a:cubicBezTo>
                  <a:cubicBezTo>
                    <a:pt x="1290907" y="428941"/>
                    <a:pt x="1272721" y="438988"/>
                    <a:pt x="1253280" y="437433"/>
                  </a:cubicBezTo>
                  <a:cubicBezTo>
                    <a:pt x="1255852" y="428044"/>
                    <a:pt x="1258604" y="416922"/>
                    <a:pt x="1269072" y="413693"/>
                  </a:cubicBezTo>
                  <a:cubicBezTo>
                    <a:pt x="1278344" y="410703"/>
                    <a:pt x="1290129" y="404842"/>
                    <a:pt x="1286719" y="393002"/>
                  </a:cubicBezTo>
                  <a:cubicBezTo>
                    <a:pt x="1272901" y="400776"/>
                    <a:pt x="1261894" y="419194"/>
                    <a:pt x="1244247" y="415786"/>
                  </a:cubicBezTo>
                  <a:cubicBezTo>
                    <a:pt x="1247956" y="408012"/>
                    <a:pt x="1253280" y="401195"/>
                    <a:pt x="1256869" y="393361"/>
                  </a:cubicBezTo>
                  <a:cubicBezTo>
                    <a:pt x="1251006" y="398324"/>
                    <a:pt x="1244665" y="403347"/>
                    <a:pt x="1240837" y="410164"/>
                  </a:cubicBezTo>
                  <a:cubicBezTo>
                    <a:pt x="1240179" y="417998"/>
                    <a:pt x="1243529" y="425952"/>
                    <a:pt x="1240957" y="433606"/>
                  </a:cubicBezTo>
                  <a:cubicBezTo>
                    <a:pt x="1238564" y="439406"/>
                    <a:pt x="1231445" y="440363"/>
                    <a:pt x="1226001" y="441260"/>
                  </a:cubicBezTo>
                  <a:cubicBezTo>
                    <a:pt x="1214516" y="441559"/>
                    <a:pt x="1202911" y="441260"/>
                    <a:pt x="1191605" y="438808"/>
                  </a:cubicBezTo>
                  <a:cubicBezTo>
                    <a:pt x="1192083" y="436775"/>
                    <a:pt x="1192562" y="434742"/>
                    <a:pt x="1193040" y="432769"/>
                  </a:cubicBezTo>
                  <a:cubicBezTo>
                    <a:pt x="1186400" y="441499"/>
                    <a:pt x="1175573" y="437313"/>
                    <a:pt x="1169770" y="429838"/>
                  </a:cubicBezTo>
                  <a:cubicBezTo>
                    <a:pt x="1171924" y="412616"/>
                    <a:pt x="1183349" y="398264"/>
                    <a:pt x="1189511" y="382358"/>
                  </a:cubicBezTo>
                  <a:cubicBezTo>
                    <a:pt x="1195194" y="367647"/>
                    <a:pt x="1213320" y="365793"/>
                    <a:pt x="1226121" y="361428"/>
                  </a:cubicBezTo>
                  <a:cubicBezTo>
                    <a:pt x="1242632" y="354431"/>
                    <a:pt x="1260937" y="351441"/>
                    <a:pt x="1276370" y="341993"/>
                  </a:cubicBezTo>
                  <a:cubicBezTo>
                    <a:pt x="1261296" y="341395"/>
                    <a:pt x="1248494" y="350544"/>
                    <a:pt x="1234077" y="353355"/>
                  </a:cubicBezTo>
                  <a:cubicBezTo>
                    <a:pt x="1217507" y="358139"/>
                    <a:pt x="1196510" y="356225"/>
                    <a:pt x="1185324" y="371713"/>
                  </a:cubicBezTo>
                  <a:cubicBezTo>
                    <a:pt x="1174257" y="388936"/>
                    <a:pt x="1165762" y="407713"/>
                    <a:pt x="1156370" y="425892"/>
                  </a:cubicBezTo>
                  <a:cubicBezTo>
                    <a:pt x="1149192" y="426490"/>
                    <a:pt x="1143150" y="421945"/>
                    <a:pt x="1137587" y="418058"/>
                  </a:cubicBezTo>
                  <a:cubicBezTo>
                    <a:pt x="1125024" y="407234"/>
                    <a:pt x="1111385" y="396590"/>
                    <a:pt x="1102951" y="381999"/>
                  </a:cubicBezTo>
                  <a:cubicBezTo>
                    <a:pt x="1113419" y="376677"/>
                    <a:pt x="1123589" y="368544"/>
                    <a:pt x="1136091" y="369561"/>
                  </a:cubicBezTo>
                  <a:cubicBezTo>
                    <a:pt x="1147696" y="368903"/>
                    <a:pt x="1159601" y="373089"/>
                    <a:pt x="1170727" y="367767"/>
                  </a:cubicBezTo>
                  <a:cubicBezTo>
                    <a:pt x="1181316" y="362743"/>
                    <a:pt x="1190408" y="354671"/>
                    <a:pt x="1195972" y="344325"/>
                  </a:cubicBezTo>
                  <a:cubicBezTo>
                    <a:pt x="1200638" y="334817"/>
                    <a:pt x="1210568" y="330452"/>
                    <a:pt x="1219182" y="325429"/>
                  </a:cubicBezTo>
                  <a:cubicBezTo>
                    <a:pt x="1216011" y="323934"/>
                    <a:pt x="1212961" y="319807"/>
                    <a:pt x="1209192" y="321781"/>
                  </a:cubicBezTo>
                  <a:cubicBezTo>
                    <a:pt x="1199980" y="325847"/>
                    <a:pt x="1190947" y="331528"/>
                    <a:pt x="1184905" y="339780"/>
                  </a:cubicBezTo>
                  <a:cubicBezTo>
                    <a:pt x="1176769" y="353714"/>
                    <a:pt x="1159182" y="357063"/>
                    <a:pt x="1144466" y="359275"/>
                  </a:cubicBezTo>
                  <a:cubicBezTo>
                    <a:pt x="1126640" y="359454"/>
                    <a:pt x="1109411" y="364179"/>
                    <a:pt x="1092063" y="367527"/>
                  </a:cubicBezTo>
                  <a:cubicBezTo>
                    <a:pt x="1086201" y="358079"/>
                    <a:pt x="1076749" y="340558"/>
                    <a:pt x="1089970" y="333442"/>
                  </a:cubicBezTo>
                  <a:cubicBezTo>
                    <a:pt x="1096789" y="331229"/>
                    <a:pt x="1104147" y="333681"/>
                    <a:pt x="1111206" y="333621"/>
                  </a:cubicBezTo>
                  <a:lnTo>
                    <a:pt x="1091645" y="317356"/>
                  </a:lnTo>
                  <a:cubicBezTo>
                    <a:pt x="1104685" y="311675"/>
                    <a:pt x="1112582" y="299356"/>
                    <a:pt x="1121615" y="288951"/>
                  </a:cubicBezTo>
                  <a:cubicBezTo>
                    <a:pt x="1129212" y="284107"/>
                    <a:pt x="1139022" y="286499"/>
                    <a:pt x="1147577" y="286499"/>
                  </a:cubicBezTo>
                  <a:cubicBezTo>
                    <a:pt x="1141236" y="281715"/>
                    <a:pt x="1132681" y="277529"/>
                    <a:pt x="1124845" y="281476"/>
                  </a:cubicBezTo>
                  <a:cubicBezTo>
                    <a:pt x="1108813" y="288532"/>
                    <a:pt x="1096370" y="301688"/>
                    <a:pt x="1081894" y="311376"/>
                  </a:cubicBezTo>
                  <a:cubicBezTo>
                    <a:pt x="1078006" y="307130"/>
                    <a:pt x="1073998" y="303064"/>
                    <a:pt x="1069930" y="298997"/>
                  </a:cubicBezTo>
                  <a:cubicBezTo>
                    <a:pt x="1079860" y="288174"/>
                    <a:pt x="1091346" y="279084"/>
                    <a:pt x="1102771" y="269935"/>
                  </a:cubicBezTo>
                  <a:lnTo>
                    <a:pt x="1091286" y="271250"/>
                  </a:lnTo>
                  <a:cubicBezTo>
                    <a:pt x="1089551" y="267423"/>
                    <a:pt x="1087756" y="263596"/>
                    <a:pt x="1085902" y="259769"/>
                  </a:cubicBezTo>
                  <a:cubicBezTo>
                    <a:pt x="1080159" y="263656"/>
                    <a:pt x="1072622" y="266227"/>
                    <a:pt x="1070109" y="273284"/>
                  </a:cubicBezTo>
                  <a:cubicBezTo>
                    <a:pt x="1069032" y="280758"/>
                    <a:pt x="1063589" y="284885"/>
                    <a:pt x="1057367" y="287576"/>
                  </a:cubicBezTo>
                  <a:cubicBezTo>
                    <a:pt x="1056650" y="283748"/>
                    <a:pt x="1055872" y="279921"/>
                    <a:pt x="1055094" y="276094"/>
                  </a:cubicBezTo>
                  <a:cubicBezTo>
                    <a:pt x="1053778" y="278964"/>
                    <a:pt x="1052522" y="281835"/>
                    <a:pt x="1051206" y="284705"/>
                  </a:cubicBezTo>
                  <a:cubicBezTo>
                    <a:pt x="1049411" y="283808"/>
                    <a:pt x="1047617" y="282851"/>
                    <a:pt x="1045822" y="282014"/>
                  </a:cubicBezTo>
                  <a:cubicBezTo>
                    <a:pt x="1046839" y="271071"/>
                    <a:pt x="1044745" y="257496"/>
                    <a:pt x="1054556" y="249902"/>
                  </a:cubicBezTo>
                  <a:cubicBezTo>
                    <a:pt x="1062692" y="243982"/>
                    <a:pt x="1069391" y="236447"/>
                    <a:pt x="1076630" y="229451"/>
                  </a:cubicBezTo>
                  <a:cubicBezTo>
                    <a:pt x="1082313" y="223650"/>
                    <a:pt x="1090987" y="223949"/>
                    <a:pt x="1098404" y="222155"/>
                  </a:cubicBezTo>
                  <a:cubicBezTo>
                    <a:pt x="1099900" y="228075"/>
                    <a:pt x="1103609" y="232919"/>
                    <a:pt x="1107677" y="237284"/>
                  </a:cubicBezTo>
                  <a:cubicBezTo>
                    <a:pt x="1106002" y="230288"/>
                    <a:pt x="1104985" y="223052"/>
                    <a:pt x="1106002" y="215876"/>
                  </a:cubicBezTo>
                  <a:cubicBezTo>
                    <a:pt x="1109052" y="218148"/>
                    <a:pt x="1112043" y="220540"/>
                    <a:pt x="1114915" y="222992"/>
                  </a:cubicBezTo>
                  <a:cubicBezTo>
                    <a:pt x="1106959" y="202122"/>
                    <a:pt x="1134117" y="183345"/>
                    <a:pt x="1152243" y="192853"/>
                  </a:cubicBezTo>
                  <a:cubicBezTo>
                    <a:pt x="1159003" y="198534"/>
                    <a:pt x="1158105" y="207803"/>
                    <a:pt x="1158045" y="215637"/>
                  </a:cubicBezTo>
                  <a:cubicBezTo>
                    <a:pt x="1162532" y="209836"/>
                    <a:pt x="1165164" y="203019"/>
                    <a:pt x="1166241" y="195843"/>
                  </a:cubicBezTo>
                  <a:cubicBezTo>
                    <a:pt x="1179521" y="195245"/>
                    <a:pt x="1188853" y="202900"/>
                    <a:pt x="1193698" y="214800"/>
                  </a:cubicBezTo>
                  <a:cubicBezTo>
                    <a:pt x="1194237" y="211929"/>
                    <a:pt x="1194835" y="209119"/>
                    <a:pt x="1195792" y="206368"/>
                  </a:cubicBezTo>
                  <a:cubicBezTo>
                    <a:pt x="1201774" y="203797"/>
                    <a:pt x="1206021" y="207863"/>
                    <a:pt x="1209312" y="211511"/>
                  </a:cubicBezTo>
                  <a:cubicBezTo>
                    <a:pt x="1210867" y="209717"/>
                    <a:pt x="1212482" y="207983"/>
                    <a:pt x="1214037" y="206189"/>
                  </a:cubicBezTo>
                  <a:cubicBezTo>
                    <a:pt x="1216131" y="212886"/>
                    <a:pt x="1218045" y="219703"/>
                    <a:pt x="1220259" y="226401"/>
                  </a:cubicBezTo>
                  <a:cubicBezTo>
                    <a:pt x="1218045" y="219404"/>
                    <a:pt x="1221694" y="205710"/>
                    <a:pt x="1211884" y="202840"/>
                  </a:cubicBezTo>
                  <a:cubicBezTo>
                    <a:pt x="1198484" y="198654"/>
                    <a:pt x="1185682" y="192793"/>
                    <a:pt x="1173659" y="185558"/>
                  </a:cubicBezTo>
                  <a:cubicBezTo>
                    <a:pt x="1167676" y="182149"/>
                    <a:pt x="1167078" y="174614"/>
                    <a:pt x="1164925" y="168754"/>
                  </a:cubicBezTo>
                  <a:cubicBezTo>
                    <a:pt x="1177846" y="166960"/>
                    <a:pt x="1191425" y="165046"/>
                    <a:pt x="1202612" y="157751"/>
                  </a:cubicBezTo>
                  <a:cubicBezTo>
                    <a:pt x="1199322" y="147166"/>
                    <a:pt x="1199322" y="134369"/>
                    <a:pt x="1188793" y="127851"/>
                  </a:cubicBezTo>
                  <a:cubicBezTo>
                    <a:pt x="1199082" y="121273"/>
                    <a:pt x="1211465" y="118941"/>
                    <a:pt x="1222652" y="124562"/>
                  </a:cubicBezTo>
                  <a:cubicBezTo>
                    <a:pt x="1220378" y="126894"/>
                    <a:pt x="1218045" y="129107"/>
                    <a:pt x="1215772" y="131379"/>
                  </a:cubicBezTo>
                  <a:cubicBezTo>
                    <a:pt x="1220498" y="135565"/>
                    <a:pt x="1225104" y="140887"/>
                    <a:pt x="1231744" y="141784"/>
                  </a:cubicBezTo>
                  <a:cubicBezTo>
                    <a:pt x="1238085" y="142861"/>
                    <a:pt x="1245563" y="144655"/>
                    <a:pt x="1247178" y="152010"/>
                  </a:cubicBezTo>
                  <a:cubicBezTo>
                    <a:pt x="1251724" y="166302"/>
                    <a:pt x="1265662" y="182149"/>
                    <a:pt x="1256390" y="197219"/>
                  </a:cubicBezTo>
                  <a:cubicBezTo>
                    <a:pt x="1264945" y="195604"/>
                    <a:pt x="1273499" y="194348"/>
                    <a:pt x="1282113" y="193092"/>
                  </a:cubicBezTo>
                  <a:lnTo>
                    <a:pt x="1268534" y="190401"/>
                  </a:lnTo>
                  <a:cubicBezTo>
                    <a:pt x="1264646" y="179339"/>
                    <a:pt x="1259920" y="168575"/>
                    <a:pt x="1257288" y="157153"/>
                  </a:cubicBezTo>
                  <a:cubicBezTo>
                    <a:pt x="1267457" y="153206"/>
                    <a:pt x="1272123" y="163910"/>
                    <a:pt x="1277926" y="170249"/>
                  </a:cubicBezTo>
                  <a:cubicBezTo>
                    <a:pt x="1292342" y="187112"/>
                    <a:pt x="1310229" y="201106"/>
                    <a:pt x="1329730" y="211750"/>
                  </a:cubicBezTo>
                  <a:cubicBezTo>
                    <a:pt x="1334994" y="221079"/>
                    <a:pt x="1339122" y="232082"/>
                    <a:pt x="1348992" y="237763"/>
                  </a:cubicBezTo>
                  <a:cubicBezTo>
                    <a:pt x="1344745" y="225982"/>
                    <a:pt x="1339002" y="214740"/>
                    <a:pt x="1332302" y="204275"/>
                  </a:cubicBezTo>
                  <a:cubicBezTo>
                    <a:pt x="1323210" y="197876"/>
                    <a:pt x="1306101" y="194288"/>
                    <a:pt x="1308853" y="179757"/>
                  </a:cubicBezTo>
                  <a:cubicBezTo>
                    <a:pt x="1288454" y="174674"/>
                    <a:pt x="1279481" y="154582"/>
                    <a:pt x="1266141" y="140588"/>
                  </a:cubicBezTo>
                  <a:cubicBezTo>
                    <a:pt x="1266560" y="132097"/>
                    <a:pt x="1268594" y="123785"/>
                    <a:pt x="1272482" y="116250"/>
                  </a:cubicBezTo>
                  <a:lnTo>
                    <a:pt x="1294436" y="118223"/>
                  </a:lnTo>
                  <a:cubicBezTo>
                    <a:pt x="1287796" y="112842"/>
                    <a:pt x="1280139" y="108177"/>
                    <a:pt x="1275114" y="101181"/>
                  </a:cubicBezTo>
                  <a:cubicBezTo>
                    <a:pt x="1270747" y="95141"/>
                    <a:pt x="1276011" y="88623"/>
                    <a:pt x="1279122" y="83420"/>
                  </a:cubicBezTo>
                  <a:cubicBezTo>
                    <a:pt x="1288275" y="88384"/>
                    <a:pt x="1296949" y="94124"/>
                    <a:pt x="1304366" y="101480"/>
                  </a:cubicBezTo>
                  <a:cubicBezTo>
                    <a:pt x="1303290" y="103214"/>
                    <a:pt x="1302213" y="105008"/>
                    <a:pt x="1301136" y="106742"/>
                  </a:cubicBezTo>
                  <a:cubicBezTo>
                    <a:pt x="1306639" y="108416"/>
                    <a:pt x="1312143" y="109911"/>
                    <a:pt x="1317886" y="110390"/>
                  </a:cubicBezTo>
                  <a:cubicBezTo>
                    <a:pt x="1312442" y="91493"/>
                    <a:pt x="1299461" y="76244"/>
                    <a:pt x="1291385" y="58544"/>
                  </a:cubicBezTo>
                  <a:cubicBezTo>
                    <a:pt x="1301196" y="57826"/>
                    <a:pt x="1312083" y="55972"/>
                    <a:pt x="1320578" y="62251"/>
                  </a:cubicBezTo>
                  <a:cubicBezTo>
                    <a:pt x="1327995" y="68231"/>
                    <a:pt x="1327278" y="78816"/>
                    <a:pt x="1329311" y="87367"/>
                  </a:cubicBezTo>
                  <a:cubicBezTo>
                    <a:pt x="1330927" y="84198"/>
                    <a:pt x="1332482" y="80968"/>
                    <a:pt x="1333918" y="77739"/>
                  </a:cubicBezTo>
                  <a:cubicBezTo>
                    <a:pt x="1342592" y="82882"/>
                    <a:pt x="1352103" y="86530"/>
                    <a:pt x="1362452" y="86410"/>
                  </a:cubicBezTo>
                  <a:cubicBezTo>
                    <a:pt x="1350787" y="80191"/>
                    <a:pt x="1331465" y="77141"/>
                    <a:pt x="1331704" y="60457"/>
                  </a:cubicBezTo>
                  <a:lnTo>
                    <a:pt x="1338823" y="57706"/>
                  </a:lnTo>
                  <a:cubicBezTo>
                    <a:pt x="1331286" y="55195"/>
                    <a:pt x="1320039" y="52683"/>
                    <a:pt x="1321774" y="42458"/>
                  </a:cubicBezTo>
                  <a:cubicBezTo>
                    <a:pt x="1327816" y="35102"/>
                    <a:pt x="1336968" y="29361"/>
                    <a:pt x="1346420" y="27807"/>
                  </a:cubicBezTo>
                  <a:cubicBezTo>
                    <a:pt x="1351684" y="30976"/>
                    <a:pt x="1353299" y="37375"/>
                    <a:pt x="1356231" y="42398"/>
                  </a:cubicBezTo>
                  <a:lnTo>
                    <a:pt x="1363409" y="32890"/>
                  </a:lnTo>
                  <a:cubicBezTo>
                    <a:pt x="1366101" y="38750"/>
                    <a:pt x="1368314" y="44730"/>
                    <a:pt x="1370827" y="50650"/>
                  </a:cubicBezTo>
                  <a:cubicBezTo>
                    <a:pt x="1374835" y="45687"/>
                    <a:pt x="1378843" y="40723"/>
                    <a:pt x="1382791" y="35640"/>
                  </a:cubicBezTo>
                  <a:cubicBezTo>
                    <a:pt x="1388534" y="41142"/>
                    <a:pt x="1395234" y="45687"/>
                    <a:pt x="1400378" y="51786"/>
                  </a:cubicBezTo>
                  <a:cubicBezTo>
                    <a:pt x="1406300" y="62311"/>
                    <a:pt x="1408215" y="74630"/>
                    <a:pt x="1413658" y="85394"/>
                  </a:cubicBezTo>
                  <a:cubicBezTo>
                    <a:pt x="1417846" y="90895"/>
                    <a:pt x="1424247" y="94244"/>
                    <a:pt x="1428494" y="99686"/>
                  </a:cubicBezTo>
                  <a:cubicBezTo>
                    <a:pt x="1427716" y="109852"/>
                    <a:pt x="1423050" y="119240"/>
                    <a:pt x="1420777" y="129047"/>
                  </a:cubicBezTo>
                  <a:cubicBezTo>
                    <a:pt x="1427896" y="117984"/>
                    <a:pt x="1434237" y="106443"/>
                    <a:pt x="1440996" y="95201"/>
                  </a:cubicBezTo>
                  <a:cubicBezTo>
                    <a:pt x="1433100" y="89340"/>
                    <a:pt x="1423888" y="83241"/>
                    <a:pt x="1420777" y="73493"/>
                  </a:cubicBezTo>
                  <a:cubicBezTo>
                    <a:pt x="1419521" y="67693"/>
                    <a:pt x="1426221" y="65361"/>
                    <a:pt x="1429750" y="62251"/>
                  </a:cubicBezTo>
                  <a:cubicBezTo>
                    <a:pt x="1426280" y="62431"/>
                    <a:pt x="1422751" y="62670"/>
                    <a:pt x="1419281" y="62311"/>
                  </a:cubicBezTo>
                  <a:cubicBezTo>
                    <a:pt x="1412641" y="55195"/>
                    <a:pt x="1412163" y="43952"/>
                    <a:pt x="1404147" y="37674"/>
                  </a:cubicBezTo>
                  <a:cubicBezTo>
                    <a:pt x="1399720" y="32770"/>
                    <a:pt x="1389431" y="25714"/>
                    <a:pt x="1397088" y="19016"/>
                  </a:cubicBezTo>
                  <a:cubicBezTo>
                    <a:pt x="1404984" y="19196"/>
                    <a:pt x="1413359" y="21229"/>
                    <a:pt x="1420418" y="16265"/>
                  </a:cubicBezTo>
                  <a:cubicBezTo>
                    <a:pt x="1429989" y="9747"/>
                    <a:pt x="1440697" y="19495"/>
                    <a:pt x="1450388" y="14830"/>
                  </a:cubicBezTo>
                  <a:cubicBezTo>
                    <a:pt x="1457686" y="11721"/>
                    <a:pt x="1465164" y="17222"/>
                    <a:pt x="1470308" y="21886"/>
                  </a:cubicBezTo>
                  <a:cubicBezTo>
                    <a:pt x="1475752" y="31096"/>
                    <a:pt x="1477128" y="41919"/>
                    <a:pt x="1481196" y="51667"/>
                  </a:cubicBezTo>
                  <a:cubicBezTo>
                    <a:pt x="1488195" y="63208"/>
                    <a:pt x="1498364" y="72417"/>
                    <a:pt x="1508833" y="80789"/>
                  </a:cubicBezTo>
                  <a:lnTo>
                    <a:pt x="1511943" y="75766"/>
                  </a:lnTo>
                  <a:cubicBezTo>
                    <a:pt x="1502671" y="66856"/>
                    <a:pt x="1494117" y="56989"/>
                    <a:pt x="1489511" y="44849"/>
                  </a:cubicBezTo>
                  <a:cubicBezTo>
                    <a:pt x="1481674" y="29959"/>
                    <a:pt x="1497646" y="17581"/>
                    <a:pt x="1505363" y="6339"/>
                  </a:cubicBezTo>
                  <a:cubicBezTo>
                    <a:pt x="1514635" y="5322"/>
                    <a:pt x="1523728" y="3169"/>
                    <a:pt x="1532940" y="1674"/>
                  </a:cubicBezTo>
                  <a:cubicBezTo>
                    <a:pt x="1531624" y="8611"/>
                    <a:pt x="1530129" y="15548"/>
                    <a:pt x="1528753" y="22484"/>
                  </a:cubicBezTo>
                  <a:cubicBezTo>
                    <a:pt x="1534376" y="32112"/>
                    <a:pt x="1542033" y="40544"/>
                    <a:pt x="1552801" y="44371"/>
                  </a:cubicBezTo>
                  <a:cubicBezTo>
                    <a:pt x="1548075" y="35102"/>
                    <a:pt x="1542452" y="26371"/>
                    <a:pt x="1537068" y="17521"/>
                  </a:cubicBezTo>
                  <a:cubicBezTo>
                    <a:pt x="1540956" y="13275"/>
                    <a:pt x="1544007" y="8013"/>
                    <a:pt x="1548853" y="4784"/>
                  </a:cubicBezTo>
                  <a:cubicBezTo>
                    <a:pt x="1558304" y="717"/>
                    <a:pt x="1568952" y="1136"/>
                    <a:pt x="1579062" y="0"/>
                  </a:cubicBez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 name="Canada - Mainland">
              <a:extLst>
                <a:ext uri="{FF2B5EF4-FFF2-40B4-BE49-F238E27FC236}">
                  <a16:creationId xmlns:a16="http://schemas.microsoft.com/office/drawing/2014/main" id="{6C93E50B-31CB-83EA-282E-631994D78C38}"/>
                </a:ext>
              </a:extLst>
            </p:cNvPr>
            <p:cNvSpPr>
              <a:spLocks noEditPoints="1"/>
            </p:cNvSpPr>
            <p:nvPr/>
          </p:nvSpPr>
          <p:spPr bwMode="auto">
            <a:xfrm>
              <a:off x="2497236" y="2108118"/>
              <a:ext cx="2016681" cy="1393245"/>
            </a:xfrm>
            <a:custGeom>
              <a:avLst/>
              <a:gdLst>
                <a:gd name="T0" fmla="*/ 581 w 1116"/>
                <a:gd name="T1" fmla="*/ 586 h 771"/>
                <a:gd name="T2" fmla="*/ 568 w 1116"/>
                <a:gd name="T3" fmla="*/ 575 h 771"/>
                <a:gd name="T4" fmla="*/ 564 w 1116"/>
                <a:gd name="T5" fmla="*/ 531 h 771"/>
                <a:gd name="T6" fmla="*/ 426 w 1116"/>
                <a:gd name="T7" fmla="*/ 408 h 771"/>
                <a:gd name="T8" fmla="*/ 344 w 1116"/>
                <a:gd name="T9" fmla="*/ 340 h 771"/>
                <a:gd name="T10" fmla="*/ 381 w 1116"/>
                <a:gd name="T11" fmla="*/ 340 h 771"/>
                <a:gd name="T12" fmla="*/ 374 w 1116"/>
                <a:gd name="T13" fmla="*/ 335 h 771"/>
                <a:gd name="T14" fmla="*/ 684 w 1116"/>
                <a:gd name="T15" fmla="*/ 228 h 771"/>
                <a:gd name="T16" fmla="*/ 257 w 1116"/>
                <a:gd name="T17" fmla="*/ 223 h 771"/>
                <a:gd name="T18" fmla="*/ 269 w 1116"/>
                <a:gd name="T19" fmla="*/ 243 h 771"/>
                <a:gd name="T20" fmla="*/ 272 w 1116"/>
                <a:gd name="T21" fmla="*/ 209 h 771"/>
                <a:gd name="T22" fmla="*/ 610 w 1116"/>
                <a:gd name="T23" fmla="*/ 2 h 771"/>
                <a:gd name="T24" fmla="*/ 656 w 1116"/>
                <a:gd name="T25" fmla="*/ 97 h 771"/>
                <a:gd name="T26" fmla="*/ 676 w 1116"/>
                <a:gd name="T27" fmla="*/ 105 h 771"/>
                <a:gd name="T28" fmla="*/ 736 w 1116"/>
                <a:gd name="T29" fmla="*/ 114 h 771"/>
                <a:gd name="T30" fmla="*/ 780 w 1116"/>
                <a:gd name="T31" fmla="*/ 131 h 771"/>
                <a:gd name="T32" fmla="*/ 749 w 1116"/>
                <a:gd name="T33" fmla="*/ 212 h 771"/>
                <a:gd name="T34" fmla="*/ 693 w 1116"/>
                <a:gd name="T35" fmla="*/ 240 h 771"/>
                <a:gd name="T36" fmla="*/ 639 w 1116"/>
                <a:gd name="T37" fmla="*/ 288 h 771"/>
                <a:gd name="T38" fmla="*/ 638 w 1116"/>
                <a:gd name="T39" fmla="*/ 319 h 771"/>
                <a:gd name="T40" fmla="*/ 611 w 1116"/>
                <a:gd name="T41" fmla="*/ 427 h 771"/>
                <a:gd name="T42" fmla="*/ 728 w 1116"/>
                <a:gd name="T43" fmla="*/ 504 h 771"/>
                <a:gd name="T44" fmla="*/ 786 w 1116"/>
                <a:gd name="T45" fmla="*/ 596 h 771"/>
                <a:gd name="T46" fmla="*/ 839 w 1116"/>
                <a:gd name="T47" fmla="*/ 485 h 771"/>
                <a:gd name="T48" fmla="*/ 827 w 1116"/>
                <a:gd name="T49" fmla="*/ 393 h 771"/>
                <a:gd name="T50" fmla="*/ 862 w 1116"/>
                <a:gd name="T51" fmla="*/ 332 h 771"/>
                <a:gd name="T52" fmla="*/ 934 w 1116"/>
                <a:gd name="T53" fmla="*/ 362 h 771"/>
                <a:gd name="T54" fmla="*/ 930 w 1116"/>
                <a:gd name="T55" fmla="*/ 420 h 771"/>
                <a:gd name="T56" fmla="*/ 980 w 1116"/>
                <a:gd name="T57" fmla="*/ 429 h 771"/>
                <a:gd name="T58" fmla="*/ 1007 w 1116"/>
                <a:gd name="T59" fmla="*/ 402 h 771"/>
                <a:gd name="T60" fmla="*/ 1023 w 1116"/>
                <a:gd name="T61" fmla="*/ 427 h 771"/>
                <a:gd name="T62" fmla="*/ 1041 w 1116"/>
                <a:gd name="T63" fmla="*/ 466 h 771"/>
                <a:gd name="T64" fmla="*/ 1042 w 1116"/>
                <a:gd name="T65" fmla="*/ 485 h 771"/>
                <a:gd name="T66" fmla="*/ 1094 w 1116"/>
                <a:gd name="T67" fmla="*/ 522 h 771"/>
                <a:gd name="T68" fmla="*/ 1085 w 1116"/>
                <a:gd name="T69" fmla="*/ 532 h 771"/>
                <a:gd name="T70" fmla="*/ 1114 w 1116"/>
                <a:gd name="T71" fmla="*/ 567 h 771"/>
                <a:gd name="T72" fmla="*/ 971 w 1116"/>
                <a:gd name="T73" fmla="*/ 621 h 771"/>
                <a:gd name="T74" fmla="*/ 992 w 1116"/>
                <a:gd name="T75" fmla="*/ 658 h 771"/>
                <a:gd name="T76" fmla="*/ 1025 w 1116"/>
                <a:gd name="T77" fmla="*/ 703 h 771"/>
                <a:gd name="T78" fmla="*/ 1007 w 1116"/>
                <a:gd name="T79" fmla="*/ 725 h 771"/>
                <a:gd name="T80" fmla="*/ 986 w 1116"/>
                <a:gd name="T81" fmla="*/ 712 h 771"/>
                <a:gd name="T82" fmla="*/ 909 w 1116"/>
                <a:gd name="T83" fmla="*/ 718 h 771"/>
                <a:gd name="T84" fmla="*/ 756 w 1116"/>
                <a:gd name="T85" fmla="*/ 771 h 771"/>
                <a:gd name="T86" fmla="*/ 781 w 1116"/>
                <a:gd name="T87" fmla="*/ 712 h 771"/>
                <a:gd name="T88" fmla="*/ 736 w 1116"/>
                <a:gd name="T89" fmla="*/ 681 h 771"/>
                <a:gd name="T90" fmla="*/ 682 w 1116"/>
                <a:gd name="T91" fmla="*/ 650 h 771"/>
                <a:gd name="T92" fmla="*/ 227 w 1116"/>
                <a:gd name="T93" fmla="*/ 632 h 771"/>
                <a:gd name="T94" fmla="*/ 186 w 1116"/>
                <a:gd name="T95" fmla="*/ 602 h 771"/>
                <a:gd name="T96" fmla="*/ 166 w 1116"/>
                <a:gd name="T97" fmla="*/ 567 h 771"/>
                <a:gd name="T98" fmla="*/ 86 w 1116"/>
                <a:gd name="T99" fmla="*/ 421 h 771"/>
                <a:gd name="T100" fmla="*/ 76 w 1116"/>
                <a:gd name="T101" fmla="*/ 128 h 771"/>
                <a:gd name="T102" fmla="*/ 132 w 1116"/>
                <a:gd name="T103" fmla="*/ 97 h 771"/>
                <a:gd name="T104" fmla="*/ 196 w 1116"/>
                <a:gd name="T105" fmla="*/ 101 h 771"/>
                <a:gd name="T106" fmla="*/ 275 w 1116"/>
                <a:gd name="T107" fmla="*/ 101 h 771"/>
                <a:gd name="T108" fmla="*/ 409 w 1116"/>
                <a:gd name="T109" fmla="*/ 159 h 771"/>
                <a:gd name="T110" fmla="*/ 438 w 1116"/>
                <a:gd name="T111" fmla="*/ 181 h 771"/>
                <a:gd name="T112" fmla="*/ 448 w 1116"/>
                <a:gd name="T113" fmla="*/ 141 h 771"/>
                <a:gd name="T114" fmla="*/ 466 w 1116"/>
                <a:gd name="T115" fmla="*/ 132 h 771"/>
                <a:gd name="T116" fmla="*/ 572 w 1116"/>
                <a:gd name="T117" fmla="*/ 162 h 771"/>
                <a:gd name="T118" fmla="*/ 589 w 1116"/>
                <a:gd name="T119" fmla="*/ 142 h 771"/>
                <a:gd name="T120" fmla="*/ 605 w 1116"/>
                <a:gd name="T121" fmla="*/ 148 h 771"/>
                <a:gd name="T122" fmla="*/ 583 w 1116"/>
                <a:gd name="T123" fmla="*/ 48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6" h="771">
                  <a:moveTo>
                    <a:pt x="1004" y="710"/>
                  </a:moveTo>
                  <a:lnTo>
                    <a:pt x="1005" y="713"/>
                  </a:lnTo>
                  <a:lnTo>
                    <a:pt x="1013" y="710"/>
                  </a:lnTo>
                  <a:lnTo>
                    <a:pt x="1004" y="710"/>
                  </a:lnTo>
                  <a:close/>
                  <a:moveTo>
                    <a:pt x="581" y="586"/>
                  </a:moveTo>
                  <a:lnTo>
                    <a:pt x="578" y="595"/>
                  </a:lnTo>
                  <a:lnTo>
                    <a:pt x="581" y="593"/>
                  </a:lnTo>
                  <a:lnTo>
                    <a:pt x="583" y="593"/>
                  </a:lnTo>
                  <a:lnTo>
                    <a:pt x="583" y="595"/>
                  </a:lnTo>
                  <a:lnTo>
                    <a:pt x="577" y="607"/>
                  </a:lnTo>
                  <a:lnTo>
                    <a:pt x="578" y="611"/>
                  </a:lnTo>
                  <a:lnTo>
                    <a:pt x="580" y="611"/>
                  </a:lnTo>
                  <a:lnTo>
                    <a:pt x="581" y="607"/>
                  </a:lnTo>
                  <a:lnTo>
                    <a:pt x="583" y="607"/>
                  </a:lnTo>
                  <a:lnTo>
                    <a:pt x="586" y="595"/>
                  </a:lnTo>
                  <a:lnTo>
                    <a:pt x="581" y="586"/>
                  </a:lnTo>
                  <a:close/>
                  <a:moveTo>
                    <a:pt x="559" y="529"/>
                  </a:moveTo>
                  <a:lnTo>
                    <a:pt x="562" y="531"/>
                  </a:lnTo>
                  <a:lnTo>
                    <a:pt x="561" y="535"/>
                  </a:lnTo>
                  <a:lnTo>
                    <a:pt x="564" y="541"/>
                  </a:lnTo>
                  <a:lnTo>
                    <a:pt x="564" y="543"/>
                  </a:lnTo>
                  <a:lnTo>
                    <a:pt x="552" y="540"/>
                  </a:lnTo>
                  <a:lnTo>
                    <a:pt x="547" y="549"/>
                  </a:lnTo>
                  <a:lnTo>
                    <a:pt x="549" y="552"/>
                  </a:lnTo>
                  <a:lnTo>
                    <a:pt x="558" y="555"/>
                  </a:lnTo>
                  <a:lnTo>
                    <a:pt x="558" y="556"/>
                  </a:lnTo>
                  <a:lnTo>
                    <a:pt x="552" y="559"/>
                  </a:lnTo>
                  <a:lnTo>
                    <a:pt x="555" y="565"/>
                  </a:lnTo>
                  <a:lnTo>
                    <a:pt x="561" y="571"/>
                  </a:lnTo>
                  <a:lnTo>
                    <a:pt x="562" y="580"/>
                  </a:lnTo>
                  <a:lnTo>
                    <a:pt x="565" y="580"/>
                  </a:lnTo>
                  <a:lnTo>
                    <a:pt x="568" y="575"/>
                  </a:lnTo>
                  <a:lnTo>
                    <a:pt x="570" y="575"/>
                  </a:lnTo>
                  <a:lnTo>
                    <a:pt x="574" y="589"/>
                  </a:lnTo>
                  <a:lnTo>
                    <a:pt x="575" y="584"/>
                  </a:lnTo>
                  <a:lnTo>
                    <a:pt x="577" y="584"/>
                  </a:lnTo>
                  <a:lnTo>
                    <a:pt x="580" y="586"/>
                  </a:lnTo>
                  <a:lnTo>
                    <a:pt x="581" y="586"/>
                  </a:lnTo>
                  <a:lnTo>
                    <a:pt x="575" y="575"/>
                  </a:lnTo>
                  <a:lnTo>
                    <a:pt x="572" y="558"/>
                  </a:lnTo>
                  <a:lnTo>
                    <a:pt x="568" y="553"/>
                  </a:lnTo>
                  <a:lnTo>
                    <a:pt x="565" y="541"/>
                  </a:lnTo>
                  <a:lnTo>
                    <a:pt x="565" y="537"/>
                  </a:lnTo>
                  <a:lnTo>
                    <a:pt x="568" y="535"/>
                  </a:lnTo>
                  <a:lnTo>
                    <a:pt x="567" y="534"/>
                  </a:lnTo>
                  <a:lnTo>
                    <a:pt x="562" y="537"/>
                  </a:lnTo>
                  <a:lnTo>
                    <a:pt x="562" y="535"/>
                  </a:lnTo>
                  <a:lnTo>
                    <a:pt x="564" y="531"/>
                  </a:lnTo>
                  <a:lnTo>
                    <a:pt x="562" y="529"/>
                  </a:lnTo>
                  <a:lnTo>
                    <a:pt x="559" y="529"/>
                  </a:lnTo>
                  <a:close/>
                  <a:moveTo>
                    <a:pt x="415" y="395"/>
                  </a:moveTo>
                  <a:lnTo>
                    <a:pt x="414" y="396"/>
                  </a:lnTo>
                  <a:lnTo>
                    <a:pt x="417" y="398"/>
                  </a:lnTo>
                  <a:lnTo>
                    <a:pt x="417" y="399"/>
                  </a:lnTo>
                  <a:lnTo>
                    <a:pt x="411" y="400"/>
                  </a:lnTo>
                  <a:lnTo>
                    <a:pt x="395" y="420"/>
                  </a:lnTo>
                  <a:lnTo>
                    <a:pt x="402" y="420"/>
                  </a:lnTo>
                  <a:lnTo>
                    <a:pt x="402" y="418"/>
                  </a:lnTo>
                  <a:lnTo>
                    <a:pt x="404" y="418"/>
                  </a:lnTo>
                  <a:lnTo>
                    <a:pt x="417" y="412"/>
                  </a:lnTo>
                  <a:lnTo>
                    <a:pt x="449" y="409"/>
                  </a:lnTo>
                  <a:lnTo>
                    <a:pt x="436" y="406"/>
                  </a:lnTo>
                  <a:lnTo>
                    <a:pt x="429" y="406"/>
                  </a:lnTo>
                  <a:lnTo>
                    <a:pt x="426" y="408"/>
                  </a:lnTo>
                  <a:lnTo>
                    <a:pt x="420" y="408"/>
                  </a:lnTo>
                  <a:lnTo>
                    <a:pt x="420" y="406"/>
                  </a:lnTo>
                  <a:lnTo>
                    <a:pt x="421" y="406"/>
                  </a:lnTo>
                  <a:lnTo>
                    <a:pt x="423" y="405"/>
                  </a:lnTo>
                  <a:lnTo>
                    <a:pt x="417" y="405"/>
                  </a:lnTo>
                  <a:lnTo>
                    <a:pt x="417" y="399"/>
                  </a:lnTo>
                  <a:lnTo>
                    <a:pt x="423" y="395"/>
                  </a:lnTo>
                  <a:lnTo>
                    <a:pt x="415" y="395"/>
                  </a:lnTo>
                  <a:close/>
                  <a:moveTo>
                    <a:pt x="323" y="310"/>
                  </a:moveTo>
                  <a:lnTo>
                    <a:pt x="332" y="323"/>
                  </a:lnTo>
                  <a:lnTo>
                    <a:pt x="343" y="329"/>
                  </a:lnTo>
                  <a:lnTo>
                    <a:pt x="343" y="331"/>
                  </a:lnTo>
                  <a:lnTo>
                    <a:pt x="341" y="334"/>
                  </a:lnTo>
                  <a:lnTo>
                    <a:pt x="347" y="335"/>
                  </a:lnTo>
                  <a:lnTo>
                    <a:pt x="347" y="337"/>
                  </a:lnTo>
                  <a:lnTo>
                    <a:pt x="344" y="340"/>
                  </a:lnTo>
                  <a:lnTo>
                    <a:pt x="346" y="341"/>
                  </a:lnTo>
                  <a:lnTo>
                    <a:pt x="346" y="343"/>
                  </a:lnTo>
                  <a:lnTo>
                    <a:pt x="338" y="343"/>
                  </a:lnTo>
                  <a:lnTo>
                    <a:pt x="337" y="353"/>
                  </a:lnTo>
                  <a:lnTo>
                    <a:pt x="331" y="353"/>
                  </a:lnTo>
                  <a:lnTo>
                    <a:pt x="331" y="360"/>
                  </a:lnTo>
                  <a:lnTo>
                    <a:pt x="329" y="360"/>
                  </a:lnTo>
                  <a:lnTo>
                    <a:pt x="300" y="350"/>
                  </a:lnTo>
                  <a:lnTo>
                    <a:pt x="295" y="355"/>
                  </a:lnTo>
                  <a:lnTo>
                    <a:pt x="304" y="353"/>
                  </a:lnTo>
                  <a:lnTo>
                    <a:pt x="306" y="353"/>
                  </a:lnTo>
                  <a:lnTo>
                    <a:pt x="325" y="369"/>
                  </a:lnTo>
                  <a:lnTo>
                    <a:pt x="355" y="365"/>
                  </a:lnTo>
                  <a:lnTo>
                    <a:pt x="358" y="356"/>
                  </a:lnTo>
                  <a:lnTo>
                    <a:pt x="374" y="349"/>
                  </a:lnTo>
                  <a:lnTo>
                    <a:pt x="381" y="340"/>
                  </a:lnTo>
                  <a:lnTo>
                    <a:pt x="383" y="334"/>
                  </a:lnTo>
                  <a:lnTo>
                    <a:pt x="392" y="329"/>
                  </a:lnTo>
                  <a:lnTo>
                    <a:pt x="392" y="323"/>
                  </a:lnTo>
                  <a:lnTo>
                    <a:pt x="398" y="323"/>
                  </a:lnTo>
                  <a:lnTo>
                    <a:pt x="402" y="325"/>
                  </a:lnTo>
                  <a:lnTo>
                    <a:pt x="405" y="325"/>
                  </a:lnTo>
                  <a:lnTo>
                    <a:pt x="401" y="320"/>
                  </a:lnTo>
                  <a:lnTo>
                    <a:pt x="404" y="319"/>
                  </a:lnTo>
                  <a:lnTo>
                    <a:pt x="405" y="319"/>
                  </a:lnTo>
                  <a:lnTo>
                    <a:pt x="412" y="322"/>
                  </a:lnTo>
                  <a:lnTo>
                    <a:pt x="417" y="319"/>
                  </a:lnTo>
                  <a:lnTo>
                    <a:pt x="405" y="313"/>
                  </a:lnTo>
                  <a:lnTo>
                    <a:pt x="395" y="314"/>
                  </a:lnTo>
                  <a:lnTo>
                    <a:pt x="384" y="320"/>
                  </a:lnTo>
                  <a:lnTo>
                    <a:pt x="375" y="335"/>
                  </a:lnTo>
                  <a:lnTo>
                    <a:pt x="374" y="335"/>
                  </a:lnTo>
                  <a:lnTo>
                    <a:pt x="365" y="337"/>
                  </a:lnTo>
                  <a:lnTo>
                    <a:pt x="361" y="337"/>
                  </a:lnTo>
                  <a:lnTo>
                    <a:pt x="361" y="329"/>
                  </a:lnTo>
                  <a:lnTo>
                    <a:pt x="355" y="332"/>
                  </a:lnTo>
                  <a:lnTo>
                    <a:pt x="352" y="323"/>
                  </a:lnTo>
                  <a:lnTo>
                    <a:pt x="350" y="323"/>
                  </a:lnTo>
                  <a:lnTo>
                    <a:pt x="346" y="326"/>
                  </a:lnTo>
                  <a:lnTo>
                    <a:pt x="332" y="317"/>
                  </a:lnTo>
                  <a:lnTo>
                    <a:pt x="329" y="310"/>
                  </a:lnTo>
                  <a:lnTo>
                    <a:pt x="323" y="310"/>
                  </a:lnTo>
                  <a:close/>
                  <a:moveTo>
                    <a:pt x="666" y="223"/>
                  </a:moveTo>
                  <a:lnTo>
                    <a:pt x="664" y="224"/>
                  </a:lnTo>
                  <a:lnTo>
                    <a:pt x="679" y="239"/>
                  </a:lnTo>
                  <a:lnTo>
                    <a:pt x="693" y="240"/>
                  </a:lnTo>
                  <a:lnTo>
                    <a:pt x="693" y="239"/>
                  </a:lnTo>
                  <a:lnTo>
                    <a:pt x="684" y="228"/>
                  </a:lnTo>
                  <a:lnTo>
                    <a:pt x="666" y="223"/>
                  </a:lnTo>
                  <a:close/>
                  <a:moveTo>
                    <a:pt x="276" y="187"/>
                  </a:moveTo>
                  <a:lnTo>
                    <a:pt x="251" y="202"/>
                  </a:lnTo>
                  <a:lnTo>
                    <a:pt x="211" y="211"/>
                  </a:lnTo>
                  <a:lnTo>
                    <a:pt x="209" y="215"/>
                  </a:lnTo>
                  <a:lnTo>
                    <a:pt x="212" y="220"/>
                  </a:lnTo>
                  <a:lnTo>
                    <a:pt x="215" y="214"/>
                  </a:lnTo>
                  <a:lnTo>
                    <a:pt x="218" y="214"/>
                  </a:lnTo>
                  <a:lnTo>
                    <a:pt x="223" y="215"/>
                  </a:lnTo>
                  <a:lnTo>
                    <a:pt x="226" y="215"/>
                  </a:lnTo>
                  <a:lnTo>
                    <a:pt x="230" y="217"/>
                  </a:lnTo>
                  <a:lnTo>
                    <a:pt x="233" y="217"/>
                  </a:lnTo>
                  <a:lnTo>
                    <a:pt x="235" y="212"/>
                  </a:lnTo>
                  <a:lnTo>
                    <a:pt x="258" y="217"/>
                  </a:lnTo>
                  <a:lnTo>
                    <a:pt x="258" y="218"/>
                  </a:lnTo>
                  <a:lnTo>
                    <a:pt x="257" y="223"/>
                  </a:lnTo>
                  <a:lnTo>
                    <a:pt x="254" y="223"/>
                  </a:lnTo>
                  <a:lnTo>
                    <a:pt x="249" y="221"/>
                  </a:lnTo>
                  <a:lnTo>
                    <a:pt x="243" y="221"/>
                  </a:lnTo>
                  <a:lnTo>
                    <a:pt x="246" y="226"/>
                  </a:lnTo>
                  <a:lnTo>
                    <a:pt x="246" y="231"/>
                  </a:lnTo>
                  <a:lnTo>
                    <a:pt x="239" y="237"/>
                  </a:lnTo>
                  <a:lnTo>
                    <a:pt x="238" y="243"/>
                  </a:lnTo>
                  <a:lnTo>
                    <a:pt x="238" y="245"/>
                  </a:lnTo>
                  <a:lnTo>
                    <a:pt x="232" y="246"/>
                  </a:lnTo>
                  <a:lnTo>
                    <a:pt x="249" y="252"/>
                  </a:lnTo>
                  <a:lnTo>
                    <a:pt x="254" y="248"/>
                  </a:lnTo>
                  <a:lnTo>
                    <a:pt x="255" y="239"/>
                  </a:lnTo>
                  <a:lnTo>
                    <a:pt x="269" y="233"/>
                  </a:lnTo>
                  <a:lnTo>
                    <a:pt x="270" y="233"/>
                  </a:lnTo>
                  <a:lnTo>
                    <a:pt x="270" y="239"/>
                  </a:lnTo>
                  <a:lnTo>
                    <a:pt x="269" y="243"/>
                  </a:lnTo>
                  <a:lnTo>
                    <a:pt x="257" y="254"/>
                  </a:lnTo>
                  <a:lnTo>
                    <a:pt x="258" y="258"/>
                  </a:lnTo>
                  <a:lnTo>
                    <a:pt x="276" y="240"/>
                  </a:lnTo>
                  <a:lnTo>
                    <a:pt x="280" y="240"/>
                  </a:lnTo>
                  <a:lnTo>
                    <a:pt x="276" y="234"/>
                  </a:lnTo>
                  <a:lnTo>
                    <a:pt x="280" y="227"/>
                  </a:lnTo>
                  <a:lnTo>
                    <a:pt x="288" y="227"/>
                  </a:lnTo>
                  <a:lnTo>
                    <a:pt x="292" y="228"/>
                  </a:lnTo>
                  <a:lnTo>
                    <a:pt x="295" y="228"/>
                  </a:lnTo>
                  <a:lnTo>
                    <a:pt x="306" y="214"/>
                  </a:lnTo>
                  <a:lnTo>
                    <a:pt x="304" y="211"/>
                  </a:lnTo>
                  <a:lnTo>
                    <a:pt x="306" y="206"/>
                  </a:lnTo>
                  <a:lnTo>
                    <a:pt x="304" y="206"/>
                  </a:lnTo>
                  <a:lnTo>
                    <a:pt x="306" y="200"/>
                  </a:lnTo>
                  <a:lnTo>
                    <a:pt x="295" y="209"/>
                  </a:lnTo>
                  <a:lnTo>
                    <a:pt x="272" y="209"/>
                  </a:lnTo>
                  <a:lnTo>
                    <a:pt x="269" y="206"/>
                  </a:lnTo>
                  <a:lnTo>
                    <a:pt x="272" y="200"/>
                  </a:lnTo>
                  <a:lnTo>
                    <a:pt x="286" y="191"/>
                  </a:lnTo>
                  <a:lnTo>
                    <a:pt x="276" y="187"/>
                  </a:lnTo>
                  <a:close/>
                  <a:moveTo>
                    <a:pt x="596" y="172"/>
                  </a:moveTo>
                  <a:lnTo>
                    <a:pt x="595" y="175"/>
                  </a:lnTo>
                  <a:lnTo>
                    <a:pt x="596" y="177"/>
                  </a:lnTo>
                  <a:lnTo>
                    <a:pt x="596" y="172"/>
                  </a:lnTo>
                  <a:close/>
                  <a:moveTo>
                    <a:pt x="618" y="101"/>
                  </a:moveTo>
                  <a:lnTo>
                    <a:pt x="617" y="107"/>
                  </a:lnTo>
                  <a:lnTo>
                    <a:pt x="618" y="105"/>
                  </a:lnTo>
                  <a:lnTo>
                    <a:pt x="618" y="101"/>
                  </a:lnTo>
                  <a:close/>
                  <a:moveTo>
                    <a:pt x="601" y="0"/>
                  </a:moveTo>
                  <a:lnTo>
                    <a:pt x="602" y="0"/>
                  </a:lnTo>
                  <a:lnTo>
                    <a:pt x="608" y="2"/>
                  </a:lnTo>
                  <a:lnTo>
                    <a:pt x="610" y="2"/>
                  </a:lnTo>
                  <a:lnTo>
                    <a:pt x="610" y="3"/>
                  </a:lnTo>
                  <a:lnTo>
                    <a:pt x="608" y="8"/>
                  </a:lnTo>
                  <a:lnTo>
                    <a:pt x="610" y="11"/>
                  </a:lnTo>
                  <a:lnTo>
                    <a:pt x="617" y="8"/>
                  </a:lnTo>
                  <a:lnTo>
                    <a:pt x="618" y="8"/>
                  </a:lnTo>
                  <a:lnTo>
                    <a:pt x="618" y="9"/>
                  </a:lnTo>
                  <a:lnTo>
                    <a:pt x="620" y="18"/>
                  </a:lnTo>
                  <a:lnTo>
                    <a:pt x="627" y="27"/>
                  </a:lnTo>
                  <a:lnTo>
                    <a:pt x="629" y="48"/>
                  </a:lnTo>
                  <a:lnTo>
                    <a:pt x="648" y="74"/>
                  </a:lnTo>
                  <a:lnTo>
                    <a:pt x="644" y="74"/>
                  </a:lnTo>
                  <a:lnTo>
                    <a:pt x="641" y="73"/>
                  </a:lnTo>
                  <a:lnTo>
                    <a:pt x="638" y="73"/>
                  </a:lnTo>
                  <a:lnTo>
                    <a:pt x="642" y="80"/>
                  </a:lnTo>
                  <a:lnTo>
                    <a:pt x="632" y="91"/>
                  </a:lnTo>
                  <a:lnTo>
                    <a:pt x="656" y="97"/>
                  </a:lnTo>
                  <a:lnTo>
                    <a:pt x="657" y="97"/>
                  </a:lnTo>
                  <a:lnTo>
                    <a:pt x="657" y="98"/>
                  </a:lnTo>
                  <a:lnTo>
                    <a:pt x="656" y="104"/>
                  </a:lnTo>
                  <a:lnTo>
                    <a:pt x="656" y="105"/>
                  </a:lnTo>
                  <a:lnTo>
                    <a:pt x="654" y="105"/>
                  </a:lnTo>
                  <a:lnTo>
                    <a:pt x="651" y="104"/>
                  </a:lnTo>
                  <a:lnTo>
                    <a:pt x="661" y="122"/>
                  </a:lnTo>
                  <a:lnTo>
                    <a:pt x="663" y="122"/>
                  </a:lnTo>
                  <a:lnTo>
                    <a:pt x="663" y="123"/>
                  </a:lnTo>
                  <a:lnTo>
                    <a:pt x="660" y="134"/>
                  </a:lnTo>
                  <a:lnTo>
                    <a:pt x="663" y="140"/>
                  </a:lnTo>
                  <a:lnTo>
                    <a:pt x="669" y="126"/>
                  </a:lnTo>
                  <a:lnTo>
                    <a:pt x="669" y="114"/>
                  </a:lnTo>
                  <a:lnTo>
                    <a:pt x="673" y="107"/>
                  </a:lnTo>
                  <a:lnTo>
                    <a:pt x="675" y="107"/>
                  </a:lnTo>
                  <a:lnTo>
                    <a:pt x="676" y="105"/>
                  </a:lnTo>
                  <a:lnTo>
                    <a:pt x="681" y="105"/>
                  </a:lnTo>
                  <a:lnTo>
                    <a:pt x="691" y="120"/>
                  </a:lnTo>
                  <a:lnTo>
                    <a:pt x="696" y="141"/>
                  </a:lnTo>
                  <a:lnTo>
                    <a:pt x="693" y="141"/>
                  </a:lnTo>
                  <a:lnTo>
                    <a:pt x="691" y="142"/>
                  </a:lnTo>
                  <a:lnTo>
                    <a:pt x="690" y="142"/>
                  </a:lnTo>
                  <a:lnTo>
                    <a:pt x="688" y="154"/>
                  </a:lnTo>
                  <a:lnTo>
                    <a:pt x="701" y="177"/>
                  </a:lnTo>
                  <a:lnTo>
                    <a:pt x="712" y="171"/>
                  </a:lnTo>
                  <a:lnTo>
                    <a:pt x="712" y="160"/>
                  </a:lnTo>
                  <a:lnTo>
                    <a:pt x="721" y="140"/>
                  </a:lnTo>
                  <a:lnTo>
                    <a:pt x="722" y="128"/>
                  </a:lnTo>
                  <a:lnTo>
                    <a:pt x="734" y="125"/>
                  </a:lnTo>
                  <a:lnTo>
                    <a:pt x="730" y="122"/>
                  </a:lnTo>
                  <a:lnTo>
                    <a:pt x="730" y="120"/>
                  </a:lnTo>
                  <a:lnTo>
                    <a:pt x="736" y="114"/>
                  </a:lnTo>
                  <a:lnTo>
                    <a:pt x="725" y="105"/>
                  </a:lnTo>
                  <a:lnTo>
                    <a:pt x="725" y="86"/>
                  </a:lnTo>
                  <a:lnTo>
                    <a:pt x="730" y="86"/>
                  </a:lnTo>
                  <a:lnTo>
                    <a:pt x="739" y="88"/>
                  </a:lnTo>
                  <a:lnTo>
                    <a:pt x="750" y="89"/>
                  </a:lnTo>
                  <a:lnTo>
                    <a:pt x="759" y="91"/>
                  </a:lnTo>
                  <a:lnTo>
                    <a:pt x="764" y="91"/>
                  </a:lnTo>
                  <a:lnTo>
                    <a:pt x="765" y="98"/>
                  </a:lnTo>
                  <a:lnTo>
                    <a:pt x="764" y="100"/>
                  </a:lnTo>
                  <a:lnTo>
                    <a:pt x="768" y="107"/>
                  </a:lnTo>
                  <a:lnTo>
                    <a:pt x="781" y="111"/>
                  </a:lnTo>
                  <a:lnTo>
                    <a:pt x="781" y="113"/>
                  </a:lnTo>
                  <a:lnTo>
                    <a:pt x="774" y="120"/>
                  </a:lnTo>
                  <a:lnTo>
                    <a:pt x="781" y="122"/>
                  </a:lnTo>
                  <a:lnTo>
                    <a:pt x="781" y="123"/>
                  </a:lnTo>
                  <a:lnTo>
                    <a:pt x="780" y="131"/>
                  </a:lnTo>
                  <a:lnTo>
                    <a:pt x="773" y="138"/>
                  </a:lnTo>
                  <a:lnTo>
                    <a:pt x="770" y="134"/>
                  </a:lnTo>
                  <a:lnTo>
                    <a:pt x="765" y="135"/>
                  </a:lnTo>
                  <a:lnTo>
                    <a:pt x="768" y="140"/>
                  </a:lnTo>
                  <a:lnTo>
                    <a:pt x="768" y="145"/>
                  </a:lnTo>
                  <a:lnTo>
                    <a:pt x="771" y="144"/>
                  </a:lnTo>
                  <a:lnTo>
                    <a:pt x="773" y="144"/>
                  </a:lnTo>
                  <a:lnTo>
                    <a:pt x="771" y="154"/>
                  </a:lnTo>
                  <a:lnTo>
                    <a:pt x="781" y="168"/>
                  </a:lnTo>
                  <a:lnTo>
                    <a:pt x="781" y="178"/>
                  </a:lnTo>
                  <a:lnTo>
                    <a:pt x="764" y="200"/>
                  </a:lnTo>
                  <a:lnTo>
                    <a:pt x="755" y="206"/>
                  </a:lnTo>
                  <a:lnTo>
                    <a:pt x="753" y="206"/>
                  </a:lnTo>
                  <a:lnTo>
                    <a:pt x="746" y="197"/>
                  </a:lnTo>
                  <a:lnTo>
                    <a:pt x="744" y="200"/>
                  </a:lnTo>
                  <a:lnTo>
                    <a:pt x="749" y="212"/>
                  </a:lnTo>
                  <a:lnTo>
                    <a:pt x="749" y="214"/>
                  </a:lnTo>
                  <a:lnTo>
                    <a:pt x="740" y="208"/>
                  </a:lnTo>
                  <a:lnTo>
                    <a:pt x="740" y="212"/>
                  </a:lnTo>
                  <a:lnTo>
                    <a:pt x="736" y="212"/>
                  </a:lnTo>
                  <a:lnTo>
                    <a:pt x="733" y="211"/>
                  </a:lnTo>
                  <a:lnTo>
                    <a:pt x="730" y="211"/>
                  </a:lnTo>
                  <a:lnTo>
                    <a:pt x="728" y="200"/>
                  </a:lnTo>
                  <a:lnTo>
                    <a:pt x="713" y="200"/>
                  </a:lnTo>
                  <a:lnTo>
                    <a:pt x="712" y="206"/>
                  </a:lnTo>
                  <a:lnTo>
                    <a:pt x="719" y="208"/>
                  </a:lnTo>
                  <a:lnTo>
                    <a:pt x="719" y="215"/>
                  </a:lnTo>
                  <a:lnTo>
                    <a:pt x="703" y="237"/>
                  </a:lnTo>
                  <a:lnTo>
                    <a:pt x="703" y="239"/>
                  </a:lnTo>
                  <a:lnTo>
                    <a:pt x="700" y="239"/>
                  </a:lnTo>
                  <a:lnTo>
                    <a:pt x="697" y="240"/>
                  </a:lnTo>
                  <a:lnTo>
                    <a:pt x="693" y="240"/>
                  </a:lnTo>
                  <a:lnTo>
                    <a:pt x="707" y="242"/>
                  </a:lnTo>
                  <a:lnTo>
                    <a:pt x="709" y="242"/>
                  </a:lnTo>
                  <a:lnTo>
                    <a:pt x="709" y="243"/>
                  </a:lnTo>
                  <a:lnTo>
                    <a:pt x="693" y="274"/>
                  </a:lnTo>
                  <a:lnTo>
                    <a:pt x="693" y="276"/>
                  </a:lnTo>
                  <a:lnTo>
                    <a:pt x="679" y="280"/>
                  </a:lnTo>
                  <a:lnTo>
                    <a:pt x="678" y="280"/>
                  </a:lnTo>
                  <a:lnTo>
                    <a:pt x="670" y="277"/>
                  </a:lnTo>
                  <a:lnTo>
                    <a:pt x="670" y="282"/>
                  </a:lnTo>
                  <a:lnTo>
                    <a:pt x="667" y="282"/>
                  </a:lnTo>
                  <a:lnTo>
                    <a:pt x="667" y="289"/>
                  </a:lnTo>
                  <a:lnTo>
                    <a:pt x="666" y="289"/>
                  </a:lnTo>
                  <a:lnTo>
                    <a:pt x="660" y="295"/>
                  </a:lnTo>
                  <a:lnTo>
                    <a:pt x="658" y="295"/>
                  </a:lnTo>
                  <a:lnTo>
                    <a:pt x="647" y="286"/>
                  </a:lnTo>
                  <a:lnTo>
                    <a:pt x="639" y="288"/>
                  </a:lnTo>
                  <a:lnTo>
                    <a:pt x="623" y="279"/>
                  </a:lnTo>
                  <a:lnTo>
                    <a:pt x="621" y="282"/>
                  </a:lnTo>
                  <a:lnTo>
                    <a:pt x="623" y="283"/>
                  </a:lnTo>
                  <a:lnTo>
                    <a:pt x="623" y="280"/>
                  </a:lnTo>
                  <a:lnTo>
                    <a:pt x="624" y="280"/>
                  </a:lnTo>
                  <a:lnTo>
                    <a:pt x="639" y="289"/>
                  </a:lnTo>
                  <a:lnTo>
                    <a:pt x="639" y="291"/>
                  </a:lnTo>
                  <a:lnTo>
                    <a:pt x="644" y="288"/>
                  </a:lnTo>
                  <a:lnTo>
                    <a:pt x="656" y="294"/>
                  </a:lnTo>
                  <a:lnTo>
                    <a:pt x="657" y="295"/>
                  </a:lnTo>
                  <a:lnTo>
                    <a:pt x="660" y="309"/>
                  </a:lnTo>
                  <a:lnTo>
                    <a:pt x="660" y="310"/>
                  </a:lnTo>
                  <a:lnTo>
                    <a:pt x="658" y="310"/>
                  </a:lnTo>
                  <a:lnTo>
                    <a:pt x="648" y="314"/>
                  </a:lnTo>
                  <a:lnTo>
                    <a:pt x="636" y="314"/>
                  </a:lnTo>
                  <a:lnTo>
                    <a:pt x="638" y="319"/>
                  </a:lnTo>
                  <a:lnTo>
                    <a:pt x="642" y="320"/>
                  </a:lnTo>
                  <a:lnTo>
                    <a:pt x="642" y="322"/>
                  </a:lnTo>
                  <a:lnTo>
                    <a:pt x="633" y="322"/>
                  </a:lnTo>
                  <a:lnTo>
                    <a:pt x="633" y="337"/>
                  </a:lnTo>
                  <a:lnTo>
                    <a:pt x="629" y="334"/>
                  </a:lnTo>
                  <a:lnTo>
                    <a:pt x="624" y="340"/>
                  </a:lnTo>
                  <a:lnTo>
                    <a:pt x="623" y="340"/>
                  </a:lnTo>
                  <a:lnTo>
                    <a:pt x="624" y="343"/>
                  </a:lnTo>
                  <a:lnTo>
                    <a:pt x="621" y="349"/>
                  </a:lnTo>
                  <a:lnTo>
                    <a:pt x="608" y="355"/>
                  </a:lnTo>
                  <a:lnTo>
                    <a:pt x="613" y="360"/>
                  </a:lnTo>
                  <a:lnTo>
                    <a:pt x="605" y="380"/>
                  </a:lnTo>
                  <a:lnTo>
                    <a:pt x="605" y="412"/>
                  </a:lnTo>
                  <a:lnTo>
                    <a:pt x="604" y="415"/>
                  </a:lnTo>
                  <a:lnTo>
                    <a:pt x="610" y="421"/>
                  </a:lnTo>
                  <a:lnTo>
                    <a:pt x="611" y="427"/>
                  </a:lnTo>
                  <a:lnTo>
                    <a:pt x="613" y="423"/>
                  </a:lnTo>
                  <a:lnTo>
                    <a:pt x="613" y="421"/>
                  </a:lnTo>
                  <a:lnTo>
                    <a:pt x="614" y="421"/>
                  </a:lnTo>
                  <a:lnTo>
                    <a:pt x="615" y="423"/>
                  </a:lnTo>
                  <a:lnTo>
                    <a:pt x="621" y="423"/>
                  </a:lnTo>
                  <a:lnTo>
                    <a:pt x="623" y="424"/>
                  </a:lnTo>
                  <a:lnTo>
                    <a:pt x="626" y="424"/>
                  </a:lnTo>
                  <a:lnTo>
                    <a:pt x="636" y="455"/>
                  </a:lnTo>
                  <a:lnTo>
                    <a:pt x="636" y="463"/>
                  </a:lnTo>
                  <a:lnTo>
                    <a:pt x="633" y="466"/>
                  </a:lnTo>
                  <a:lnTo>
                    <a:pt x="653" y="458"/>
                  </a:lnTo>
                  <a:lnTo>
                    <a:pt x="678" y="470"/>
                  </a:lnTo>
                  <a:lnTo>
                    <a:pt x="691" y="479"/>
                  </a:lnTo>
                  <a:lnTo>
                    <a:pt x="698" y="491"/>
                  </a:lnTo>
                  <a:lnTo>
                    <a:pt x="721" y="497"/>
                  </a:lnTo>
                  <a:lnTo>
                    <a:pt x="728" y="504"/>
                  </a:lnTo>
                  <a:lnTo>
                    <a:pt x="728" y="506"/>
                  </a:lnTo>
                  <a:lnTo>
                    <a:pt x="733" y="506"/>
                  </a:lnTo>
                  <a:lnTo>
                    <a:pt x="764" y="510"/>
                  </a:lnTo>
                  <a:lnTo>
                    <a:pt x="768" y="510"/>
                  </a:lnTo>
                  <a:lnTo>
                    <a:pt x="767" y="532"/>
                  </a:lnTo>
                  <a:lnTo>
                    <a:pt x="770" y="552"/>
                  </a:lnTo>
                  <a:lnTo>
                    <a:pt x="768" y="558"/>
                  </a:lnTo>
                  <a:lnTo>
                    <a:pt x="780" y="571"/>
                  </a:lnTo>
                  <a:lnTo>
                    <a:pt x="780" y="572"/>
                  </a:lnTo>
                  <a:lnTo>
                    <a:pt x="779" y="572"/>
                  </a:lnTo>
                  <a:lnTo>
                    <a:pt x="773" y="577"/>
                  </a:lnTo>
                  <a:lnTo>
                    <a:pt x="783" y="577"/>
                  </a:lnTo>
                  <a:lnTo>
                    <a:pt x="789" y="583"/>
                  </a:lnTo>
                  <a:lnTo>
                    <a:pt x="790" y="590"/>
                  </a:lnTo>
                  <a:lnTo>
                    <a:pt x="790" y="592"/>
                  </a:lnTo>
                  <a:lnTo>
                    <a:pt x="786" y="596"/>
                  </a:lnTo>
                  <a:lnTo>
                    <a:pt x="792" y="592"/>
                  </a:lnTo>
                  <a:lnTo>
                    <a:pt x="793" y="592"/>
                  </a:lnTo>
                  <a:lnTo>
                    <a:pt x="801" y="596"/>
                  </a:lnTo>
                  <a:lnTo>
                    <a:pt x="801" y="590"/>
                  </a:lnTo>
                  <a:lnTo>
                    <a:pt x="802" y="590"/>
                  </a:lnTo>
                  <a:lnTo>
                    <a:pt x="805" y="589"/>
                  </a:lnTo>
                  <a:lnTo>
                    <a:pt x="813" y="593"/>
                  </a:lnTo>
                  <a:lnTo>
                    <a:pt x="814" y="589"/>
                  </a:lnTo>
                  <a:lnTo>
                    <a:pt x="810" y="583"/>
                  </a:lnTo>
                  <a:lnTo>
                    <a:pt x="810" y="581"/>
                  </a:lnTo>
                  <a:lnTo>
                    <a:pt x="819" y="574"/>
                  </a:lnTo>
                  <a:lnTo>
                    <a:pt x="814" y="568"/>
                  </a:lnTo>
                  <a:lnTo>
                    <a:pt x="811" y="537"/>
                  </a:lnTo>
                  <a:lnTo>
                    <a:pt x="802" y="524"/>
                  </a:lnTo>
                  <a:lnTo>
                    <a:pt x="827" y="504"/>
                  </a:lnTo>
                  <a:lnTo>
                    <a:pt x="839" y="485"/>
                  </a:lnTo>
                  <a:lnTo>
                    <a:pt x="841" y="485"/>
                  </a:lnTo>
                  <a:lnTo>
                    <a:pt x="847" y="483"/>
                  </a:lnTo>
                  <a:lnTo>
                    <a:pt x="844" y="478"/>
                  </a:lnTo>
                  <a:lnTo>
                    <a:pt x="841" y="483"/>
                  </a:lnTo>
                  <a:lnTo>
                    <a:pt x="839" y="483"/>
                  </a:lnTo>
                  <a:lnTo>
                    <a:pt x="838" y="467"/>
                  </a:lnTo>
                  <a:lnTo>
                    <a:pt x="829" y="435"/>
                  </a:lnTo>
                  <a:lnTo>
                    <a:pt x="813" y="423"/>
                  </a:lnTo>
                  <a:lnTo>
                    <a:pt x="813" y="415"/>
                  </a:lnTo>
                  <a:lnTo>
                    <a:pt x="814" y="414"/>
                  </a:lnTo>
                  <a:lnTo>
                    <a:pt x="827" y="409"/>
                  </a:lnTo>
                  <a:lnTo>
                    <a:pt x="827" y="400"/>
                  </a:lnTo>
                  <a:lnTo>
                    <a:pt x="830" y="400"/>
                  </a:lnTo>
                  <a:lnTo>
                    <a:pt x="830" y="399"/>
                  </a:lnTo>
                  <a:lnTo>
                    <a:pt x="833" y="393"/>
                  </a:lnTo>
                  <a:lnTo>
                    <a:pt x="827" y="393"/>
                  </a:lnTo>
                  <a:lnTo>
                    <a:pt x="827" y="392"/>
                  </a:lnTo>
                  <a:lnTo>
                    <a:pt x="829" y="387"/>
                  </a:lnTo>
                  <a:lnTo>
                    <a:pt x="826" y="380"/>
                  </a:lnTo>
                  <a:lnTo>
                    <a:pt x="824" y="374"/>
                  </a:lnTo>
                  <a:lnTo>
                    <a:pt x="824" y="372"/>
                  </a:lnTo>
                  <a:lnTo>
                    <a:pt x="827" y="372"/>
                  </a:lnTo>
                  <a:lnTo>
                    <a:pt x="822" y="371"/>
                  </a:lnTo>
                  <a:lnTo>
                    <a:pt x="822" y="369"/>
                  </a:lnTo>
                  <a:lnTo>
                    <a:pt x="830" y="346"/>
                  </a:lnTo>
                  <a:lnTo>
                    <a:pt x="822" y="344"/>
                  </a:lnTo>
                  <a:lnTo>
                    <a:pt x="822" y="343"/>
                  </a:lnTo>
                  <a:lnTo>
                    <a:pt x="820" y="331"/>
                  </a:lnTo>
                  <a:lnTo>
                    <a:pt x="820" y="329"/>
                  </a:lnTo>
                  <a:lnTo>
                    <a:pt x="829" y="320"/>
                  </a:lnTo>
                  <a:lnTo>
                    <a:pt x="830" y="320"/>
                  </a:lnTo>
                  <a:lnTo>
                    <a:pt x="862" y="332"/>
                  </a:lnTo>
                  <a:lnTo>
                    <a:pt x="878" y="323"/>
                  </a:lnTo>
                  <a:lnTo>
                    <a:pt x="894" y="332"/>
                  </a:lnTo>
                  <a:lnTo>
                    <a:pt x="894" y="334"/>
                  </a:lnTo>
                  <a:lnTo>
                    <a:pt x="893" y="341"/>
                  </a:lnTo>
                  <a:lnTo>
                    <a:pt x="899" y="340"/>
                  </a:lnTo>
                  <a:lnTo>
                    <a:pt x="902" y="347"/>
                  </a:lnTo>
                  <a:lnTo>
                    <a:pt x="900" y="349"/>
                  </a:lnTo>
                  <a:lnTo>
                    <a:pt x="909" y="349"/>
                  </a:lnTo>
                  <a:lnTo>
                    <a:pt x="909" y="350"/>
                  </a:lnTo>
                  <a:lnTo>
                    <a:pt x="905" y="353"/>
                  </a:lnTo>
                  <a:lnTo>
                    <a:pt x="907" y="360"/>
                  </a:lnTo>
                  <a:lnTo>
                    <a:pt x="924" y="362"/>
                  </a:lnTo>
                  <a:lnTo>
                    <a:pt x="925" y="362"/>
                  </a:lnTo>
                  <a:lnTo>
                    <a:pt x="927" y="368"/>
                  </a:lnTo>
                  <a:lnTo>
                    <a:pt x="933" y="362"/>
                  </a:lnTo>
                  <a:lnTo>
                    <a:pt x="934" y="362"/>
                  </a:lnTo>
                  <a:lnTo>
                    <a:pt x="937" y="366"/>
                  </a:lnTo>
                  <a:lnTo>
                    <a:pt x="933" y="378"/>
                  </a:lnTo>
                  <a:lnTo>
                    <a:pt x="937" y="389"/>
                  </a:lnTo>
                  <a:lnTo>
                    <a:pt x="937" y="390"/>
                  </a:lnTo>
                  <a:lnTo>
                    <a:pt x="919" y="390"/>
                  </a:lnTo>
                  <a:lnTo>
                    <a:pt x="933" y="393"/>
                  </a:lnTo>
                  <a:lnTo>
                    <a:pt x="934" y="393"/>
                  </a:lnTo>
                  <a:lnTo>
                    <a:pt x="937" y="400"/>
                  </a:lnTo>
                  <a:lnTo>
                    <a:pt x="934" y="408"/>
                  </a:lnTo>
                  <a:lnTo>
                    <a:pt x="939" y="408"/>
                  </a:lnTo>
                  <a:lnTo>
                    <a:pt x="939" y="409"/>
                  </a:lnTo>
                  <a:lnTo>
                    <a:pt x="936" y="412"/>
                  </a:lnTo>
                  <a:lnTo>
                    <a:pt x="939" y="417"/>
                  </a:lnTo>
                  <a:lnTo>
                    <a:pt x="939" y="418"/>
                  </a:lnTo>
                  <a:lnTo>
                    <a:pt x="933" y="421"/>
                  </a:lnTo>
                  <a:lnTo>
                    <a:pt x="930" y="420"/>
                  </a:lnTo>
                  <a:lnTo>
                    <a:pt x="930" y="423"/>
                  </a:lnTo>
                  <a:lnTo>
                    <a:pt x="948" y="420"/>
                  </a:lnTo>
                  <a:lnTo>
                    <a:pt x="949" y="420"/>
                  </a:lnTo>
                  <a:lnTo>
                    <a:pt x="952" y="430"/>
                  </a:lnTo>
                  <a:lnTo>
                    <a:pt x="952" y="435"/>
                  </a:lnTo>
                  <a:lnTo>
                    <a:pt x="955" y="426"/>
                  </a:lnTo>
                  <a:lnTo>
                    <a:pt x="956" y="426"/>
                  </a:lnTo>
                  <a:lnTo>
                    <a:pt x="956" y="430"/>
                  </a:lnTo>
                  <a:lnTo>
                    <a:pt x="958" y="430"/>
                  </a:lnTo>
                  <a:lnTo>
                    <a:pt x="958" y="432"/>
                  </a:lnTo>
                  <a:lnTo>
                    <a:pt x="959" y="438"/>
                  </a:lnTo>
                  <a:lnTo>
                    <a:pt x="971" y="429"/>
                  </a:lnTo>
                  <a:lnTo>
                    <a:pt x="974" y="420"/>
                  </a:lnTo>
                  <a:lnTo>
                    <a:pt x="976" y="420"/>
                  </a:lnTo>
                  <a:lnTo>
                    <a:pt x="980" y="424"/>
                  </a:lnTo>
                  <a:lnTo>
                    <a:pt x="980" y="429"/>
                  </a:lnTo>
                  <a:lnTo>
                    <a:pt x="983" y="426"/>
                  </a:lnTo>
                  <a:lnTo>
                    <a:pt x="979" y="420"/>
                  </a:lnTo>
                  <a:lnTo>
                    <a:pt x="979" y="418"/>
                  </a:lnTo>
                  <a:lnTo>
                    <a:pt x="983" y="418"/>
                  </a:lnTo>
                  <a:lnTo>
                    <a:pt x="985" y="412"/>
                  </a:lnTo>
                  <a:lnTo>
                    <a:pt x="985" y="408"/>
                  </a:lnTo>
                  <a:lnTo>
                    <a:pt x="989" y="405"/>
                  </a:lnTo>
                  <a:lnTo>
                    <a:pt x="986" y="399"/>
                  </a:lnTo>
                  <a:lnTo>
                    <a:pt x="986" y="398"/>
                  </a:lnTo>
                  <a:lnTo>
                    <a:pt x="995" y="383"/>
                  </a:lnTo>
                  <a:lnTo>
                    <a:pt x="1001" y="383"/>
                  </a:lnTo>
                  <a:lnTo>
                    <a:pt x="1004" y="390"/>
                  </a:lnTo>
                  <a:lnTo>
                    <a:pt x="1002" y="393"/>
                  </a:lnTo>
                  <a:lnTo>
                    <a:pt x="1004" y="393"/>
                  </a:lnTo>
                  <a:lnTo>
                    <a:pt x="1004" y="395"/>
                  </a:lnTo>
                  <a:lnTo>
                    <a:pt x="1007" y="402"/>
                  </a:lnTo>
                  <a:lnTo>
                    <a:pt x="1011" y="402"/>
                  </a:lnTo>
                  <a:lnTo>
                    <a:pt x="1011" y="403"/>
                  </a:lnTo>
                  <a:lnTo>
                    <a:pt x="1008" y="406"/>
                  </a:lnTo>
                  <a:lnTo>
                    <a:pt x="1016" y="411"/>
                  </a:lnTo>
                  <a:lnTo>
                    <a:pt x="1017" y="411"/>
                  </a:lnTo>
                  <a:lnTo>
                    <a:pt x="1016" y="412"/>
                  </a:lnTo>
                  <a:lnTo>
                    <a:pt x="1008" y="417"/>
                  </a:lnTo>
                  <a:lnTo>
                    <a:pt x="1010" y="417"/>
                  </a:lnTo>
                  <a:lnTo>
                    <a:pt x="1011" y="415"/>
                  </a:lnTo>
                  <a:lnTo>
                    <a:pt x="1014" y="415"/>
                  </a:lnTo>
                  <a:lnTo>
                    <a:pt x="1016" y="414"/>
                  </a:lnTo>
                  <a:lnTo>
                    <a:pt x="1019" y="414"/>
                  </a:lnTo>
                  <a:lnTo>
                    <a:pt x="1019" y="415"/>
                  </a:lnTo>
                  <a:lnTo>
                    <a:pt x="1017" y="421"/>
                  </a:lnTo>
                  <a:lnTo>
                    <a:pt x="1023" y="426"/>
                  </a:lnTo>
                  <a:lnTo>
                    <a:pt x="1023" y="427"/>
                  </a:lnTo>
                  <a:lnTo>
                    <a:pt x="1016" y="430"/>
                  </a:lnTo>
                  <a:lnTo>
                    <a:pt x="1026" y="432"/>
                  </a:lnTo>
                  <a:lnTo>
                    <a:pt x="1028" y="432"/>
                  </a:lnTo>
                  <a:lnTo>
                    <a:pt x="1028" y="433"/>
                  </a:lnTo>
                  <a:lnTo>
                    <a:pt x="1020" y="439"/>
                  </a:lnTo>
                  <a:lnTo>
                    <a:pt x="1026" y="438"/>
                  </a:lnTo>
                  <a:lnTo>
                    <a:pt x="1028" y="438"/>
                  </a:lnTo>
                  <a:lnTo>
                    <a:pt x="1029" y="440"/>
                  </a:lnTo>
                  <a:lnTo>
                    <a:pt x="1029" y="442"/>
                  </a:lnTo>
                  <a:lnTo>
                    <a:pt x="1028" y="443"/>
                  </a:lnTo>
                  <a:lnTo>
                    <a:pt x="1031" y="443"/>
                  </a:lnTo>
                  <a:lnTo>
                    <a:pt x="1036" y="451"/>
                  </a:lnTo>
                  <a:lnTo>
                    <a:pt x="1036" y="452"/>
                  </a:lnTo>
                  <a:lnTo>
                    <a:pt x="1031" y="455"/>
                  </a:lnTo>
                  <a:lnTo>
                    <a:pt x="1035" y="455"/>
                  </a:lnTo>
                  <a:lnTo>
                    <a:pt x="1041" y="466"/>
                  </a:lnTo>
                  <a:lnTo>
                    <a:pt x="1036" y="472"/>
                  </a:lnTo>
                  <a:lnTo>
                    <a:pt x="1038" y="473"/>
                  </a:lnTo>
                  <a:lnTo>
                    <a:pt x="1038" y="475"/>
                  </a:lnTo>
                  <a:lnTo>
                    <a:pt x="1036" y="475"/>
                  </a:lnTo>
                  <a:lnTo>
                    <a:pt x="1032" y="473"/>
                  </a:lnTo>
                  <a:lnTo>
                    <a:pt x="1031" y="473"/>
                  </a:lnTo>
                  <a:lnTo>
                    <a:pt x="1026" y="475"/>
                  </a:lnTo>
                  <a:lnTo>
                    <a:pt x="1036" y="476"/>
                  </a:lnTo>
                  <a:lnTo>
                    <a:pt x="1035" y="479"/>
                  </a:lnTo>
                  <a:lnTo>
                    <a:pt x="1038" y="482"/>
                  </a:lnTo>
                  <a:lnTo>
                    <a:pt x="1038" y="483"/>
                  </a:lnTo>
                  <a:lnTo>
                    <a:pt x="1036" y="485"/>
                  </a:lnTo>
                  <a:lnTo>
                    <a:pt x="1038" y="485"/>
                  </a:lnTo>
                  <a:lnTo>
                    <a:pt x="1039" y="483"/>
                  </a:lnTo>
                  <a:lnTo>
                    <a:pt x="1042" y="483"/>
                  </a:lnTo>
                  <a:lnTo>
                    <a:pt x="1042" y="485"/>
                  </a:lnTo>
                  <a:lnTo>
                    <a:pt x="1044" y="491"/>
                  </a:lnTo>
                  <a:lnTo>
                    <a:pt x="1056" y="494"/>
                  </a:lnTo>
                  <a:lnTo>
                    <a:pt x="1056" y="495"/>
                  </a:lnTo>
                  <a:lnTo>
                    <a:pt x="1057" y="503"/>
                  </a:lnTo>
                  <a:lnTo>
                    <a:pt x="1054" y="506"/>
                  </a:lnTo>
                  <a:lnTo>
                    <a:pt x="1057" y="506"/>
                  </a:lnTo>
                  <a:lnTo>
                    <a:pt x="1060" y="504"/>
                  </a:lnTo>
                  <a:lnTo>
                    <a:pt x="1065" y="504"/>
                  </a:lnTo>
                  <a:lnTo>
                    <a:pt x="1066" y="507"/>
                  </a:lnTo>
                  <a:lnTo>
                    <a:pt x="1066" y="512"/>
                  </a:lnTo>
                  <a:lnTo>
                    <a:pt x="1069" y="507"/>
                  </a:lnTo>
                  <a:lnTo>
                    <a:pt x="1071" y="507"/>
                  </a:lnTo>
                  <a:lnTo>
                    <a:pt x="1076" y="516"/>
                  </a:lnTo>
                  <a:lnTo>
                    <a:pt x="1081" y="518"/>
                  </a:lnTo>
                  <a:lnTo>
                    <a:pt x="1085" y="513"/>
                  </a:lnTo>
                  <a:lnTo>
                    <a:pt x="1094" y="522"/>
                  </a:lnTo>
                  <a:lnTo>
                    <a:pt x="1094" y="524"/>
                  </a:lnTo>
                  <a:lnTo>
                    <a:pt x="1093" y="524"/>
                  </a:lnTo>
                  <a:lnTo>
                    <a:pt x="1075" y="531"/>
                  </a:lnTo>
                  <a:lnTo>
                    <a:pt x="1076" y="531"/>
                  </a:lnTo>
                  <a:lnTo>
                    <a:pt x="1078" y="532"/>
                  </a:lnTo>
                  <a:lnTo>
                    <a:pt x="1076" y="532"/>
                  </a:lnTo>
                  <a:lnTo>
                    <a:pt x="1062" y="538"/>
                  </a:lnTo>
                  <a:lnTo>
                    <a:pt x="1059" y="544"/>
                  </a:lnTo>
                  <a:lnTo>
                    <a:pt x="1057" y="544"/>
                  </a:lnTo>
                  <a:lnTo>
                    <a:pt x="1048" y="540"/>
                  </a:lnTo>
                  <a:lnTo>
                    <a:pt x="1047" y="541"/>
                  </a:lnTo>
                  <a:lnTo>
                    <a:pt x="1056" y="544"/>
                  </a:lnTo>
                  <a:lnTo>
                    <a:pt x="1057" y="546"/>
                  </a:lnTo>
                  <a:lnTo>
                    <a:pt x="1056" y="550"/>
                  </a:lnTo>
                  <a:lnTo>
                    <a:pt x="1076" y="534"/>
                  </a:lnTo>
                  <a:lnTo>
                    <a:pt x="1085" y="532"/>
                  </a:lnTo>
                  <a:lnTo>
                    <a:pt x="1084" y="532"/>
                  </a:lnTo>
                  <a:lnTo>
                    <a:pt x="1084" y="531"/>
                  </a:lnTo>
                  <a:lnTo>
                    <a:pt x="1096" y="531"/>
                  </a:lnTo>
                  <a:lnTo>
                    <a:pt x="1096" y="546"/>
                  </a:lnTo>
                  <a:lnTo>
                    <a:pt x="1099" y="540"/>
                  </a:lnTo>
                  <a:lnTo>
                    <a:pt x="1099" y="538"/>
                  </a:lnTo>
                  <a:lnTo>
                    <a:pt x="1100" y="538"/>
                  </a:lnTo>
                  <a:lnTo>
                    <a:pt x="1114" y="544"/>
                  </a:lnTo>
                  <a:lnTo>
                    <a:pt x="1114" y="546"/>
                  </a:lnTo>
                  <a:lnTo>
                    <a:pt x="1112" y="546"/>
                  </a:lnTo>
                  <a:lnTo>
                    <a:pt x="1116" y="553"/>
                  </a:lnTo>
                  <a:lnTo>
                    <a:pt x="1109" y="553"/>
                  </a:lnTo>
                  <a:lnTo>
                    <a:pt x="1114" y="556"/>
                  </a:lnTo>
                  <a:lnTo>
                    <a:pt x="1116" y="565"/>
                  </a:lnTo>
                  <a:lnTo>
                    <a:pt x="1115" y="565"/>
                  </a:lnTo>
                  <a:lnTo>
                    <a:pt x="1114" y="567"/>
                  </a:lnTo>
                  <a:lnTo>
                    <a:pt x="1116" y="571"/>
                  </a:lnTo>
                  <a:lnTo>
                    <a:pt x="1114" y="571"/>
                  </a:lnTo>
                  <a:lnTo>
                    <a:pt x="1116" y="574"/>
                  </a:lnTo>
                  <a:lnTo>
                    <a:pt x="1116" y="575"/>
                  </a:lnTo>
                  <a:lnTo>
                    <a:pt x="1105" y="589"/>
                  </a:lnTo>
                  <a:lnTo>
                    <a:pt x="1081" y="593"/>
                  </a:lnTo>
                  <a:lnTo>
                    <a:pt x="1060" y="615"/>
                  </a:lnTo>
                  <a:lnTo>
                    <a:pt x="1059" y="615"/>
                  </a:lnTo>
                  <a:lnTo>
                    <a:pt x="1057" y="614"/>
                  </a:lnTo>
                  <a:lnTo>
                    <a:pt x="1056" y="614"/>
                  </a:lnTo>
                  <a:lnTo>
                    <a:pt x="1056" y="612"/>
                  </a:lnTo>
                  <a:lnTo>
                    <a:pt x="1039" y="618"/>
                  </a:lnTo>
                  <a:lnTo>
                    <a:pt x="1038" y="618"/>
                  </a:lnTo>
                  <a:lnTo>
                    <a:pt x="1031" y="615"/>
                  </a:lnTo>
                  <a:lnTo>
                    <a:pt x="977" y="615"/>
                  </a:lnTo>
                  <a:lnTo>
                    <a:pt x="971" y="621"/>
                  </a:lnTo>
                  <a:lnTo>
                    <a:pt x="965" y="633"/>
                  </a:lnTo>
                  <a:lnTo>
                    <a:pt x="964" y="633"/>
                  </a:lnTo>
                  <a:lnTo>
                    <a:pt x="955" y="635"/>
                  </a:lnTo>
                  <a:lnTo>
                    <a:pt x="945" y="644"/>
                  </a:lnTo>
                  <a:lnTo>
                    <a:pt x="937" y="654"/>
                  </a:lnTo>
                  <a:lnTo>
                    <a:pt x="933" y="657"/>
                  </a:lnTo>
                  <a:lnTo>
                    <a:pt x="925" y="670"/>
                  </a:lnTo>
                  <a:lnTo>
                    <a:pt x="918" y="679"/>
                  </a:lnTo>
                  <a:lnTo>
                    <a:pt x="919" y="678"/>
                  </a:lnTo>
                  <a:lnTo>
                    <a:pt x="934" y="660"/>
                  </a:lnTo>
                  <a:lnTo>
                    <a:pt x="949" y="647"/>
                  </a:lnTo>
                  <a:lnTo>
                    <a:pt x="973" y="636"/>
                  </a:lnTo>
                  <a:lnTo>
                    <a:pt x="993" y="635"/>
                  </a:lnTo>
                  <a:lnTo>
                    <a:pt x="1004" y="639"/>
                  </a:lnTo>
                  <a:lnTo>
                    <a:pt x="1004" y="650"/>
                  </a:lnTo>
                  <a:lnTo>
                    <a:pt x="992" y="658"/>
                  </a:lnTo>
                  <a:lnTo>
                    <a:pt x="990" y="658"/>
                  </a:lnTo>
                  <a:lnTo>
                    <a:pt x="983" y="657"/>
                  </a:lnTo>
                  <a:lnTo>
                    <a:pt x="977" y="658"/>
                  </a:lnTo>
                  <a:lnTo>
                    <a:pt x="985" y="660"/>
                  </a:lnTo>
                  <a:lnTo>
                    <a:pt x="986" y="664"/>
                  </a:lnTo>
                  <a:lnTo>
                    <a:pt x="993" y="661"/>
                  </a:lnTo>
                  <a:lnTo>
                    <a:pt x="998" y="663"/>
                  </a:lnTo>
                  <a:lnTo>
                    <a:pt x="998" y="664"/>
                  </a:lnTo>
                  <a:lnTo>
                    <a:pt x="992" y="676"/>
                  </a:lnTo>
                  <a:lnTo>
                    <a:pt x="998" y="676"/>
                  </a:lnTo>
                  <a:lnTo>
                    <a:pt x="998" y="688"/>
                  </a:lnTo>
                  <a:lnTo>
                    <a:pt x="1001" y="691"/>
                  </a:lnTo>
                  <a:lnTo>
                    <a:pt x="1011" y="696"/>
                  </a:lnTo>
                  <a:lnTo>
                    <a:pt x="1011" y="697"/>
                  </a:lnTo>
                  <a:lnTo>
                    <a:pt x="1010" y="697"/>
                  </a:lnTo>
                  <a:lnTo>
                    <a:pt x="1025" y="703"/>
                  </a:lnTo>
                  <a:lnTo>
                    <a:pt x="1033" y="700"/>
                  </a:lnTo>
                  <a:lnTo>
                    <a:pt x="1033" y="698"/>
                  </a:lnTo>
                  <a:lnTo>
                    <a:pt x="1035" y="698"/>
                  </a:lnTo>
                  <a:lnTo>
                    <a:pt x="1035" y="700"/>
                  </a:lnTo>
                  <a:lnTo>
                    <a:pt x="1036" y="703"/>
                  </a:lnTo>
                  <a:lnTo>
                    <a:pt x="1042" y="704"/>
                  </a:lnTo>
                  <a:lnTo>
                    <a:pt x="1044" y="704"/>
                  </a:lnTo>
                  <a:lnTo>
                    <a:pt x="1044" y="706"/>
                  </a:lnTo>
                  <a:lnTo>
                    <a:pt x="1042" y="709"/>
                  </a:lnTo>
                  <a:lnTo>
                    <a:pt x="1047" y="710"/>
                  </a:lnTo>
                  <a:lnTo>
                    <a:pt x="1048" y="710"/>
                  </a:lnTo>
                  <a:lnTo>
                    <a:pt x="1047" y="712"/>
                  </a:lnTo>
                  <a:lnTo>
                    <a:pt x="1023" y="721"/>
                  </a:lnTo>
                  <a:lnTo>
                    <a:pt x="1014" y="722"/>
                  </a:lnTo>
                  <a:lnTo>
                    <a:pt x="1014" y="725"/>
                  </a:lnTo>
                  <a:lnTo>
                    <a:pt x="1007" y="725"/>
                  </a:lnTo>
                  <a:lnTo>
                    <a:pt x="1004" y="730"/>
                  </a:lnTo>
                  <a:lnTo>
                    <a:pt x="990" y="744"/>
                  </a:lnTo>
                  <a:lnTo>
                    <a:pt x="989" y="744"/>
                  </a:lnTo>
                  <a:lnTo>
                    <a:pt x="980" y="738"/>
                  </a:lnTo>
                  <a:lnTo>
                    <a:pt x="980" y="737"/>
                  </a:lnTo>
                  <a:lnTo>
                    <a:pt x="979" y="731"/>
                  </a:lnTo>
                  <a:lnTo>
                    <a:pt x="982" y="725"/>
                  </a:lnTo>
                  <a:lnTo>
                    <a:pt x="979" y="725"/>
                  </a:lnTo>
                  <a:lnTo>
                    <a:pt x="979" y="724"/>
                  </a:lnTo>
                  <a:lnTo>
                    <a:pt x="980" y="724"/>
                  </a:lnTo>
                  <a:lnTo>
                    <a:pt x="1001" y="710"/>
                  </a:lnTo>
                  <a:lnTo>
                    <a:pt x="996" y="710"/>
                  </a:lnTo>
                  <a:lnTo>
                    <a:pt x="996" y="707"/>
                  </a:lnTo>
                  <a:lnTo>
                    <a:pt x="1002" y="700"/>
                  </a:lnTo>
                  <a:lnTo>
                    <a:pt x="1001" y="700"/>
                  </a:lnTo>
                  <a:lnTo>
                    <a:pt x="986" y="712"/>
                  </a:lnTo>
                  <a:lnTo>
                    <a:pt x="967" y="713"/>
                  </a:lnTo>
                  <a:lnTo>
                    <a:pt x="961" y="713"/>
                  </a:lnTo>
                  <a:lnTo>
                    <a:pt x="961" y="712"/>
                  </a:lnTo>
                  <a:lnTo>
                    <a:pt x="959" y="706"/>
                  </a:lnTo>
                  <a:lnTo>
                    <a:pt x="958" y="704"/>
                  </a:lnTo>
                  <a:lnTo>
                    <a:pt x="956" y="704"/>
                  </a:lnTo>
                  <a:lnTo>
                    <a:pt x="956" y="679"/>
                  </a:lnTo>
                  <a:lnTo>
                    <a:pt x="950" y="673"/>
                  </a:lnTo>
                  <a:lnTo>
                    <a:pt x="945" y="676"/>
                  </a:lnTo>
                  <a:lnTo>
                    <a:pt x="943" y="676"/>
                  </a:lnTo>
                  <a:lnTo>
                    <a:pt x="937" y="672"/>
                  </a:lnTo>
                  <a:lnTo>
                    <a:pt x="928" y="684"/>
                  </a:lnTo>
                  <a:lnTo>
                    <a:pt x="921" y="710"/>
                  </a:lnTo>
                  <a:lnTo>
                    <a:pt x="921" y="712"/>
                  </a:lnTo>
                  <a:lnTo>
                    <a:pt x="910" y="712"/>
                  </a:lnTo>
                  <a:lnTo>
                    <a:pt x="909" y="718"/>
                  </a:lnTo>
                  <a:lnTo>
                    <a:pt x="863" y="718"/>
                  </a:lnTo>
                  <a:lnTo>
                    <a:pt x="854" y="725"/>
                  </a:lnTo>
                  <a:lnTo>
                    <a:pt x="838" y="734"/>
                  </a:lnTo>
                  <a:lnTo>
                    <a:pt x="836" y="733"/>
                  </a:lnTo>
                  <a:lnTo>
                    <a:pt x="836" y="737"/>
                  </a:lnTo>
                  <a:lnTo>
                    <a:pt x="823" y="737"/>
                  </a:lnTo>
                  <a:lnTo>
                    <a:pt x="808" y="740"/>
                  </a:lnTo>
                  <a:lnTo>
                    <a:pt x="802" y="747"/>
                  </a:lnTo>
                  <a:lnTo>
                    <a:pt x="810" y="749"/>
                  </a:lnTo>
                  <a:lnTo>
                    <a:pt x="811" y="749"/>
                  </a:lnTo>
                  <a:lnTo>
                    <a:pt x="813" y="756"/>
                  </a:lnTo>
                  <a:lnTo>
                    <a:pt x="796" y="756"/>
                  </a:lnTo>
                  <a:lnTo>
                    <a:pt x="790" y="761"/>
                  </a:lnTo>
                  <a:lnTo>
                    <a:pt x="783" y="759"/>
                  </a:lnTo>
                  <a:lnTo>
                    <a:pt x="765" y="771"/>
                  </a:lnTo>
                  <a:lnTo>
                    <a:pt x="756" y="771"/>
                  </a:lnTo>
                  <a:lnTo>
                    <a:pt x="756" y="770"/>
                  </a:lnTo>
                  <a:lnTo>
                    <a:pt x="759" y="764"/>
                  </a:lnTo>
                  <a:lnTo>
                    <a:pt x="759" y="762"/>
                  </a:lnTo>
                  <a:lnTo>
                    <a:pt x="761" y="762"/>
                  </a:lnTo>
                  <a:lnTo>
                    <a:pt x="764" y="764"/>
                  </a:lnTo>
                  <a:lnTo>
                    <a:pt x="762" y="759"/>
                  </a:lnTo>
                  <a:lnTo>
                    <a:pt x="765" y="752"/>
                  </a:lnTo>
                  <a:lnTo>
                    <a:pt x="765" y="750"/>
                  </a:lnTo>
                  <a:lnTo>
                    <a:pt x="774" y="746"/>
                  </a:lnTo>
                  <a:lnTo>
                    <a:pt x="774" y="731"/>
                  </a:lnTo>
                  <a:lnTo>
                    <a:pt x="779" y="721"/>
                  </a:lnTo>
                  <a:lnTo>
                    <a:pt x="776" y="712"/>
                  </a:lnTo>
                  <a:lnTo>
                    <a:pt x="776" y="710"/>
                  </a:lnTo>
                  <a:lnTo>
                    <a:pt x="779" y="710"/>
                  </a:lnTo>
                  <a:lnTo>
                    <a:pt x="780" y="712"/>
                  </a:lnTo>
                  <a:lnTo>
                    <a:pt x="781" y="712"/>
                  </a:lnTo>
                  <a:lnTo>
                    <a:pt x="783" y="716"/>
                  </a:lnTo>
                  <a:lnTo>
                    <a:pt x="786" y="716"/>
                  </a:lnTo>
                  <a:lnTo>
                    <a:pt x="786" y="722"/>
                  </a:lnTo>
                  <a:lnTo>
                    <a:pt x="787" y="721"/>
                  </a:lnTo>
                  <a:lnTo>
                    <a:pt x="789" y="721"/>
                  </a:lnTo>
                  <a:lnTo>
                    <a:pt x="796" y="724"/>
                  </a:lnTo>
                  <a:lnTo>
                    <a:pt x="796" y="718"/>
                  </a:lnTo>
                  <a:lnTo>
                    <a:pt x="799" y="719"/>
                  </a:lnTo>
                  <a:lnTo>
                    <a:pt x="796" y="715"/>
                  </a:lnTo>
                  <a:lnTo>
                    <a:pt x="796" y="710"/>
                  </a:lnTo>
                  <a:lnTo>
                    <a:pt x="787" y="700"/>
                  </a:lnTo>
                  <a:lnTo>
                    <a:pt x="743" y="693"/>
                  </a:lnTo>
                  <a:lnTo>
                    <a:pt x="741" y="690"/>
                  </a:lnTo>
                  <a:lnTo>
                    <a:pt x="739" y="690"/>
                  </a:lnTo>
                  <a:lnTo>
                    <a:pt x="739" y="682"/>
                  </a:lnTo>
                  <a:lnTo>
                    <a:pt x="736" y="681"/>
                  </a:lnTo>
                  <a:lnTo>
                    <a:pt x="736" y="672"/>
                  </a:lnTo>
                  <a:lnTo>
                    <a:pt x="731" y="667"/>
                  </a:lnTo>
                  <a:lnTo>
                    <a:pt x="733" y="661"/>
                  </a:lnTo>
                  <a:lnTo>
                    <a:pt x="722" y="661"/>
                  </a:lnTo>
                  <a:lnTo>
                    <a:pt x="713" y="645"/>
                  </a:lnTo>
                  <a:lnTo>
                    <a:pt x="706" y="645"/>
                  </a:lnTo>
                  <a:lnTo>
                    <a:pt x="706" y="654"/>
                  </a:lnTo>
                  <a:lnTo>
                    <a:pt x="704" y="654"/>
                  </a:lnTo>
                  <a:lnTo>
                    <a:pt x="700" y="644"/>
                  </a:lnTo>
                  <a:lnTo>
                    <a:pt x="693" y="641"/>
                  </a:lnTo>
                  <a:lnTo>
                    <a:pt x="688" y="651"/>
                  </a:lnTo>
                  <a:lnTo>
                    <a:pt x="687" y="651"/>
                  </a:lnTo>
                  <a:lnTo>
                    <a:pt x="687" y="647"/>
                  </a:lnTo>
                  <a:lnTo>
                    <a:pt x="684" y="653"/>
                  </a:lnTo>
                  <a:lnTo>
                    <a:pt x="682" y="653"/>
                  </a:lnTo>
                  <a:lnTo>
                    <a:pt x="682" y="650"/>
                  </a:lnTo>
                  <a:lnTo>
                    <a:pt x="676" y="658"/>
                  </a:lnTo>
                  <a:lnTo>
                    <a:pt x="670" y="661"/>
                  </a:lnTo>
                  <a:lnTo>
                    <a:pt x="656" y="657"/>
                  </a:lnTo>
                  <a:lnTo>
                    <a:pt x="650" y="658"/>
                  </a:lnTo>
                  <a:lnTo>
                    <a:pt x="630" y="648"/>
                  </a:lnTo>
                  <a:lnTo>
                    <a:pt x="607" y="647"/>
                  </a:lnTo>
                  <a:lnTo>
                    <a:pt x="601" y="635"/>
                  </a:lnTo>
                  <a:lnTo>
                    <a:pt x="601" y="642"/>
                  </a:lnTo>
                  <a:lnTo>
                    <a:pt x="239" y="641"/>
                  </a:lnTo>
                  <a:lnTo>
                    <a:pt x="236" y="638"/>
                  </a:lnTo>
                  <a:lnTo>
                    <a:pt x="236" y="636"/>
                  </a:lnTo>
                  <a:lnTo>
                    <a:pt x="239" y="636"/>
                  </a:lnTo>
                  <a:lnTo>
                    <a:pt x="233" y="635"/>
                  </a:lnTo>
                  <a:lnTo>
                    <a:pt x="233" y="627"/>
                  </a:lnTo>
                  <a:lnTo>
                    <a:pt x="229" y="632"/>
                  </a:lnTo>
                  <a:lnTo>
                    <a:pt x="227" y="632"/>
                  </a:lnTo>
                  <a:lnTo>
                    <a:pt x="227" y="626"/>
                  </a:lnTo>
                  <a:lnTo>
                    <a:pt x="224" y="621"/>
                  </a:lnTo>
                  <a:lnTo>
                    <a:pt x="224" y="624"/>
                  </a:lnTo>
                  <a:lnTo>
                    <a:pt x="221" y="624"/>
                  </a:lnTo>
                  <a:lnTo>
                    <a:pt x="215" y="621"/>
                  </a:lnTo>
                  <a:lnTo>
                    <a:pt x="212" y="618"/>
                  </a:lnTo>
                  <a:lnTo>
                    <a:pt x="212" y="617"/>
                  </a:lnTo>
                  <a:lnTo>
                    <a:pt x="214" y="612"/>
                  </a:lnTo>
                  <a:lnTo>
                    <a:pt x="196" y="610"/>
                  </a:lnTo>
                  <a:lnTo>
                    <a:pt x="195" y="610"/>
                  </a:lnTo>
                  <a:lnTo>
                    <a:pt x="195" y="608"/>
                  </a:lnTo>
                  <a:lnTo>
                    <a:pt x="197" y="605"/>
                  </a:lnTo>
                  <a:lnTo>
                    <a:pt x="192" y="602"/>
                  </a:lnTo>
                  <a:lnTo>
                    <a:pt x="192" y="601"/>
                  </a:lnTo>
                  <a:lnTo>
                    <a:pt x="189" y="601"/>
                  </a:lnTo>
                  <a:lnTo>
                    <a:pt x="186" y="602"/>
                  </a:lnTo>
                  <a:lnTo>
                    <a:pt x="181" y="602"/>
                  </a:lnTo>
                  <a:lnTo>
                    <a:pt x="175" y="598"/>
                  </a:lnTo>
                  <a:lnTo>
                    <a:pt x="174" y="595"/>
                  </a:lnTo>
                  <a:lnTo>
                    <a:pt x="174" y="593"/>
                  </a:lnTo>
                  <a:lnTo>
                    <a:pt x="177" y="593"/>
                  </a:lnTo>
                  <a:lnTo>
                    <a:pt x="174" y="592"/>
                  </a:lnTo>
                  <a:lnTo>
                    <a:pt x="174" y="590"/>
                  </a:lnTo>
                  <a:lnTo>
                    <a:pt x="178" y="589"/>
                  </a:lnTo>
                  <a:lnTo>
                    <a:pt x="177" y="589"/>
                  </a:lnTo>
                  <a:lnTo>
                    <a:pt x="177" y="584"/>
                  </a:lnTo>
                  <a:lnTo>
                    <a:pt x="174" y="587"/>
                  </a:lnTo>
                  <a:lnTo>
                    <a:pt x="172" y="587"/>
                  </a:lnTo>
                  <a:lnTo>
                    <a:pt x="172" y="569"/>
                  </a:lnTo>
                  <a:lnTo>
                    <a:pt x="168" y="571"/>
                  </a:lnTo>
                  <a:lnTo>
                    <a:pt x="166" y="571"/>
                  </a:lnTo>
                  <a:lnTo>
                    <a:pt x="166" y="567"/>
                  </a:lnTo>
                  <a:lnTo>
                    <a:pt x="160" y="568"/>
                  </a:lnTo>
                  <a:lnTo>
                    <a:pt x="156" y="558"/>
                  </a:lnTo>
                  <a:lnTo>
                    <a:pt x="156" y="547"/>
                  </a:lnTo>
                  <a:lnTo>
                    <a:pt x="154" y="549"/>
                  </a:lnTo>
                  <a:lnTo>
                    <a:pt x="153" y="549"/>
                  </a:lnTo>
                  <a:lnTo>
                    <a:pt x="143" y="537"/>
                  </a:lnTo>
                  <a:lnTo>
                    <a:pt x="143" y="535"/>
                  </a:lnTo>
                  <a:lnTo>
                    <a:pt x="144" y="531"/>
                  </a:lnTo>
                  <a:lnTo>
                    <a:pt x="138" y="526"/>
                  </a:lnTo>
                  <a:lnTo>
                    <a:pt x="138" y="525"/>
                  </a:lnTo>
                  <a:lnTo>
                    <a:pt x="140" y="519"/>
                  </a:lnTo>
                  <a:lnTo>
                    <a:pt x="143" y="519"/>
                  </a:lnTo>
                  <a:lnTo>
                    <a:pt x="143" y="489"/>
                  </a:lnTo>
                  <a:lnTo>
                    <a:pt x="119" y="476"/>
                  </a:lnTo>
                  <a:lnTo>
                    <a:pt x="94" y="426"/>
                  </a:lnTo>
                  <a:lnTo>
                    <a:pt x="86" y="421"/>
                  </a:lnTo>
                  <a:lnTo>
                    <a:pt x="73" y="398"/>
                  </a:lnTo>
                  <a:lnTo>
                    <a:pt x="63" y="403"/>
                  </a:lnTo>
                  <a:lnTo>
                    <a:pt x="58" y="414"/>
                  </a:lnTo>
                  <a:lnTo>
                    <a:pt x="46" y="420"/>
                  </a:lnTo>
                  <a:lnTo>
                    <a:pt x="42" y="411"/>
                  </a:lnTo>
                  <a:lnTo>
                    <a:pt x="24" y="390"/>
                  </a:lnTo>
                  <a:lnTo>
                    <a:pt x="23" y="390"/>
                  </a:lnTo>
                  <a:lnTo>
                    <a:pt x="24" y="384"/>
                  </a:lnTo>
                  <a:lnTo>
                    <a:pt x="14" y="387"/>
                  </a:lnTo>
                  <a:lnTo>
                    <a:pt x="0" y="384"/>
                  </a:lnTo>
                  <a:lnTo>
                    <a:pt x="0" y="88"/>
                  </a:lnTo>
                  <a:lnTo>
                    <a:pt x="24" y="94"/>
                  </a:lnTo>
                  <a:lnTo>
                    <a:pt x="46" y="117"/>
                  </a:lnTo>
                  <a:lnTo>
                    <a:pt x="60" y="117"/>
                  </a:lnTo>
                  <a:lnTo>
                    <a:pt x="74" y="128"/>
                  </a:lnTo>
                  <a:lnTo>
                    <a:pt x="76" y="128"/>
                  </a:lnTo>
                  <a:lnTo>
                    <a:pt x="73" y="120"/>
                  </a:lnTo>
                  <a:lnTo>
                    <a:pt x="71" y="120"/>
                  </a:lnTo>
                  <a:lnTo>
                    <a:pt x="73" y="119"/>
                  </a:lnTo>
                  <a:lnTo>
                    <a:pt x="76" y="119"/>
                  </a:lnTo>
                  <a:lnTo>
                    <a:pt x="79" y="120"/>
                  </a:lnTo>
                  <a:lnTo>
                    <a:pt x="83" y="120"/>
                  </a:lnTo>
                  <a:lnTo>
                    <a:pt x="89" y="129"/>
                  </a:lnTo>
                  <a:lnTo>
                    <a:pt x="89" y="126"/>
                  </a:lnTo>
                  <a:lnTo>
                    <a:pt x="83" y="114"/>
                  </a:lnTo>
                  <a:lnTo>
                    <a:pt x="83" y="113"/>
                  </a:lnTo>
                  <a:lnTo>
                    <a:pt x="92" y="104"/>
                  </a:lnTo>
                  <a:lnTo>
                    <a:pt x="149" y="68"/>
                  </a:lnTo>
                  <a:lnTo>
                    <a:pt x="150" y="68"/>
                  </a:lnTo>
                  <a:lnTo>
                    <a:pt x="153" y="76"/>
                  </a:lnTo>
                  <a:lnTo>
                    <a:pt x="150" y="80"/>
                  </a:lnTo>
                  <a:lnTo>
                    <a:pt x="132" y="97"/>
                  </a:lnTo>
                  <a:lnTo>
                    <a:pt x="120" y="97"/>
                  </a:lnTo>
                  <a:lnTo>
                    <a:pt x="110" y="108"/>
                  </a:lnTo>
                  <a:lnTo>
                    <a:pt x="131" y="98"/>
                  </a:lnTo>
                  <a:lnTo>
                    <a:pt x="131" y="105"/>
                  </a:lnTo>
                  <a:lnTo>
                    <a:pt x="140" y="91"/>
                  </a:lnTo>
                  <a:lnTo>
                    <a:pt x="159" y="79"/>
                  </a:lnTo>
                  <a:lnTo>
                    <a:pt x="159" y="80"/>
                  </a:lnTo>
                  <a:lnTo>
                    <a:pt x="157" y="86"/>
                  </a:lnTo>
                  <a:lnTo>
                    <a:pt x="174" y="70"/>
                  </a:lnTo>
                  <a:lnTo>
                    <a:pt x="166" y="64"/>
                  </a:lnTo>
                  <a:lnTo>
                    <a:pt x="166" y="62"/>
                  </a:lnTo>
                  <a:lnTo>
                    <a:pt x="169" y="57"/>
                  </a:lnTo>
                  <a:lnTo>
                    <a:pt x="171" y="57"/>
                  </a:lnTo>
                  <a:lnTo>
                    <a:pt x="180" y="67"/>
                  </a:lnTo>
                  <a:lnTo>
                    <a:pt x="187" y="89"/>
                  </a:lnTo>
                  <a:lnTo>
                    <a:pt x="196" y="101"/>
                  </a:lnTo>
                  <a:lnTo>
                    <a:pt x="200" y="100"/>
                  </a:lnTo>
                  <a:lnTo>
                    <a:pt x="206" y="97"/>
                  </a:lnTo>
                  <a:lnTo>
                    <a:pt x="203" y="94"/>
                  </a:lnTo>
                  <a:lnTo>
                    <a:pt x="211" y="79"/>
                  </a:lnTo>
                  <a:lnTo>
                    <a:pt x="214" y="79"/>
                  </a:lnTo>
                  <a:lnTo>
                    <a:pt x="214" y="77"/>
                  </a:lnTo>
                  <a:lnTo>
                    <a:pt x="212" y="74"/>
                  </a:lnTo>
                  <a:lnTo>
                    <a:pt x="212" y="73"/>
                  </a:lnTo>
                  <a:lnTo>
                    <a:pt x="217" y="73"/>
                  </a:lnTo>
                  <a:lnTo>
                    <a:pt x="217" y="88"/>
                  </a:lnTo>
                  <a:lnTo>
                    <a:pt x="223" y="89"/>
                  </a:lnTo>
                  <a:lnTo>
                    <a:pt x="217" y="101"/>
                  </a:lnTo>
                  <a:lnTo>
                    <a:pt x="229" y="101"/>
                  </a:lnTo>
                  <a:lnTo>
                    <a:pt x="235" y="86"/>
                  </a:lnTo>
                  <a:lnTo>
                    <a:pt x="252" y="86"/>
                  </a:lnTo>
                  <a:lnTo>
                    <a:pt x="275" y="101"/>
                  </a:lnTo>
                  <a:lnTo>
                    <a:pt x="315" y="117"/>
                  </a:lnTo>
                  <a:lnTo>
                    <a:pt x="326" y="122"/>
                  </a:lnTo>
                  <a:lnTo>
                    <a:pt x="323" y="116"/>
                  </a:lnTo>
                  <a:lnTo>
                    <a:pt x="338" y="116"/>
                  </a:lnTo>
                  <a:lnTo>
                    <a:pt x="338" y="117"/>
                  </a:lnTo>
                  <a:lnTo>
                    <a:pt x="352" y="131"/>
                  </a:lnTo>
                  <a:lnTo>
                    <a:pt x="353" y="141"/>
                  </a:lnTo>
                  <a:lnTo>
                    <a:pt x="344" y="141"/>
                  </a:lnTo>
                  <a:lnTo>
                    <a:pt x="344" y="142"/>
                  </a:lnTo>
                  <a:lnTo>
                    <a:pt x="337" y="145"/>
                  </a:lnTo>
                  <a:lnTo>
                    <a:pt x="337" y="151"/>
                  </a:lnTo>
                  <a:lnTo>
                    <a:pt x="334" y="153"/>
                  </a:lnTo>
                  <a:lnTo>
                    <a:pt x="344" y="159"/>
                  </a:lnTo>
                  <a:lnTo>
                    <a:pt x="381" y="160"/>
                  </a:lnTo>
                  <a:lnTo>
                    <a:pt x="405" y="148"/>
                  </a:lnTo>
                  <a:lnTo>
                    <a:pt x="409" y="159"/>
                  </a:lnTo>
                  <a:lnTo>
                    <a:pt x="420" y="159"/>
                  </a:lnTo>
                  <a:lnTo>
                    <a:pt x="421" y="168"/>
                  </a:lnTo>
                  <a:lnTo>
                    <a:pt x="423" y="162"/>
                  </a:lnTo>
                  <a:lnTo>
                    <a:pt x="424" y="162"/>
                  </a:lnTo>
                  <a:lnTo>
                    <a:pt x="424" y="171"/>
                  </a:lnTo>
                  <a:lnTo>
                    <a:pt x="432" y="172"/>
                  </a:lnTo>
                  <a:lnTo>
                    <a:pt x="432" y="174"/>
                  </a:lnTo>
                  <a:lnTo>
                    <a:pt x="435" y="180"/>
                  </a:lnTo>
                  <a:lnTo>
                    <a:pt x="435" y="181"/>
                  </a:lnTo>
                  <a:lnTo>
                    <a:pt x="427" y="183"/>
                  </a:lnTo>
                  <a:lnTo>
                    <a:pt x="433" y="191"/>
                  </a:lnTo>
                  <a:lnTo>
                    <a:pt x="433" y="187"/>
                  </a:lnTo>
                  <a:lnTo>
                    <a:pt x="441" y="187"/>
                  </a:lnTo>
                  <a:lnTo>
                    <a:pt x="439" y="183"/>
                  </a:lnTo>
                  <a:lnTo>
                    <a:pt x="438" y="183"/>
                  </a:lnTo>
                  <a:lnTo>
                    <a:pt x="438" y="181"/>
                  </a:lnTo>
                  <a:lnTo>
                    <a:pt x="441" y="181"/>
                  </a:lnTo>
                  <a:lnTo>
                    <a:pt x="430" y="160"/>
                  </a:lnTo>
                  <a:lnTo>
                    <a:pt x="430" y="159"/>
                  </a:lnTo>
                  <a:lnTo>
                    <a:pt x="435" y="153"/>
                  </a:lnTo>
                  <a:lnTo>
                    <a:pt x="433" y="151"/>
                  </a:lnTo>
                  <a:lnTo>
                    <a:pt x="436" y="148"/>
                  </a:lnTo>
                  <a:lnTo>
                    <a:pt x="451" y="141"/>
                  </a:lnTo>
                  <a:lnTo>
                    <a:pt x="457" y="128"/>
                  </a:lnTo>
                  <a:lnTo>
                    <a:pt x="451" y="131"/>
                  </a:lnTo>
                  <a:lnTo>
                    <a:pt x="451" y="132"/>
                  </a:lnTo>
                  <a:lnTo>
                    <a:pt x="452" y="134"/>
                  </a:lnTo>
                  <a:lnTo>
                    <a:pt x="449" y="134"/>
                  </a:lnTo>
                  <a:lnTo>
                    <a:pt x="449" y="135"/>
                  </a:lnTo>
                  <a:lnTo>
                    <a:pt x="451" y="135"/>
                  </a:lnTo>
                  <a:lnTo>
                    <a:pt x="449" y="141"/>
                  </a:lnTo>
                  <a:lnTo>
                    <a:pt x="448" y="141"/>
                  </a:lnTo>
                  <a:lnTo>
                    <a:pt x="438" y="138"/>
                  </a:lnTo>
                  <a:lnTo>
                    <a:pt x="433" y="141"/>
                  </a:lnTo>
                  <a:lnTo>
                    <a:pt x="438" y="144"/>
                  </a:lnTo>
                  <a:lnTo>
                    <a:pt x="438" y="145"/>
                  </a:lnTo>
                  <a:lnTo>
                    <a:pt x="436" y="145"/>
                  </a:lnTo>
                  <a:lnTo>
                    <a:pt x="432" y="147"/>
                  </a:lnTo>
                  <a:lnTo>
                    <a:pt x="421" y="138"/>
                  </a:lnTo>
                  <a:lnTo>
                    <a:pt x="420" y="138"/>
                  </a:lnTo>
                  <a:lnTo>
                    <a:pt x="420" y="137"/>
                  </a:lnTo>
                  <a:lnTo>
                    <a:pt x="427" y="128"/>
                  </a:lnTo>
                  <a:lnTo>
                    <a:pt x="454" y="116"/>
                  </a:lnTo>
                  <a:lnTo>
                    <a:pt x="455" y="116"/>
                  </a:lnTo>
                  <a:lnTo>
                    <a:pt x="464" y="123"/>
                  </a:lnTo>
                  <a:lnTo>
                    <a:pt x="464" y="125"/>
                  </a:lnTo>
                  <a:lnTo>
                    <a:pt x="463" y="126"/>
                  </a:lnTo>
                  <a:lnTo>
                    <a:pt x="466" y="132"/>
                  </a:lnTo>
                  <a:lnTo>
                    <a:pt x="466" y="134"/>
                  </a:lnTo>
                  <a:lnTo>
                    <a:pt x="464" y="135"/>
                  </a:lnTo>
                  <a:lnTo>
                    <a:pt x="475" y="141"/>
                  </a:lnTo>
                  <a:lnTo>
                    <a:pt x="476" y="142"/>
                  </a:lnTo>
                  <a:lnTo>
                    <a:pt x="476" y="145"/>
                  </a:lnTo>
                  <a:lnTo>
                    <a:pt x="494" y="145"/>
                  </a:lnTo>
                  <a:lnTo>
                    <a:pt x="507" y="160"/>
                  </a:lnTo>
                  <a:lnTo>
                    <a:pt x="531" y="154"/>
                  </a:lnTo>
                  <a:lnTo>
                    <a:pt x="556" y="159"/>
                  </a:lnTo>
                  <a:lnTo>
                    <a:pt x="552" y="150"/>
                  </a:lnTo>
                  <a:lnTo>
                    <a:pt x="555" y="147"/>
                  </a:lnTo>
                  <a:lnTo>
                    <a:pt x="556" y="147"/>
                  </a:lnTo>
                  <a:lnTo>
                    <a:pt x="556" y="148"/>
                  </a:lnTo>
                  <a:lnTo>
                    <a:pt x="561" y="159"/>
                  </a:lnTo>
                  <a:lnTo>
                    <a:pt x="571" y="163"/>
                  </a:lnTo>
                  <a:lnTo>
                    <a:pt x="572" y="162"/>
                  </a:lnTo>
                  <a:lnTo>
                    <a:pt x="572" y="154"/>
                  </a:lnTo>
                  <a:lnTo>
                    <a:pt x="570" y="154"/>
                  </a:lnTo>
                  <a:lnTo>
                    <a:pt x="565" y="156"/>
                  </a:lnTo>
                  <a:lnTo>
                    <a:pt x="562" y="156"/>
                  </a:lnTo>
                  <a:lnTo>
                    <a:pt x="553" y="138"/>
                  </a:lnTo>
                  <a:lnTo>
                    <a:pt x="553" y="137"/>
                  </a:lnTo>
                  <a:lnTo>
                    <a:pt x="556" y="137"/>
                  </a:lnTo>
                  <a:lnTo>
                    <a:pt x="561" y="135"/>
                  </a:lnTo>
                  <a:lnTo>
                    <a:pt x="564" y="135"/>
                  </a:lnTo>
                  <a:lnTo>
                    <a:pt x="568" y="134"/>
                  </a:lnTo>
                  <a:lnTo>
                    <a:pt x="572" y="134"/>
                  </a:lnTo>
                  <a:lnTo>
                    <a:pt x="577" y="140"/>
                  </a:lnTo>
                  <a:lnTo>
                    <a:pt x="583" y="140"/>
                  </a:lnTo>
                  <a:lnTo>
                    <a:pt x="583" y="141"/>
                  </a:lnTo>
                  <a:lnTo>
                    <a:pt x="581" y="148"/>
                  </a:lnTo>
                  <a:lnTo>
                    <a:pt x="589" y="142"/>
                  </a:lnTo>
                  <a:lnTo>
                    <a:pt x="587" y="159"/>
                  </a:lnTo>
                  <a:lnTo>
                    <a:pt x="589" y="162"/>
                  </a:lnTo>
                  <a:lnTo>
                    <a:pt x="589" y="163"/>
                  </a:lnTo>
                  <a:lnTo>
                    <a:pt x="584" y="166"/>
                  </a:lnTo>
                  <a:lnTo>
                    <a:pt x="589" y="168"/>
                  </a:lnTo>
                  <a:lnTo>
                    <a:pt x="589" y="174"/>
                  </a:lnTo>
                  <a:lnTo>
                    <a:pt x="595" y="171"/>
                  </a:lnTo>
                  <a:lnTo>
                    <a:pt x="596" y="171"/>
                  </a:lnTo>
                  <a:lnTo>
                    <a:pt x="596" y="166"/>
                  </a:lnTo>
                  <a:lnTo>
                    <a:pt x="593" y="160"/>
                  </a:lnTo>
                  <a:lnTo>
                    <a:pt x="595" y="151"/>
                  </a:lnTo>
                  <a:lnTo>
                    <a:pt x="593" y="148"/>
                  </a:lnTo>
                  <a:lnTo>
                    <a:pt x="593" y="147"/>
                  </a:lnTo>
                  <a:lnTo>
                    <a:pt x="599" y="147"/>
                  </a:lnTo>
                  <a:lnTo>
                    <a:pt x="602" y="148"/>
                  </a:lnTo>
                  <a:lnTo>
                    <a:pt x="605" y="148"/>
                  </a:lnTo>
                  <a:lnTo>
                    <a:pt x="620" y="131"/>
                  </a:lnTo>
                  <a:lnTo>
                    <a:pt x="617" y="120"/>
                  </a:lnTo>
                  <a:lnTo>
                    <a:pt x="614" y="125"/>
                  </a:lnTo>
                  <a:lnTo>
                    <a:pt x="610" y="125"/>
                  </a:lnTo>
                  <a:lnTo>
                    <a:pt x="608" y="126"/>
                  </a:lnTo>
                  <a:lnTo>
                    <a:pt x="605" y="126"/>
                  </a:lnTo>
                  <a:lnTo>
                    <a:pt x="605" y="125"/>
                  </a:lnTo>
                  <a:lnTo>
                    <a:pt x="613" y="102"/>
                  </a:lnTo>
                  <a:lnTo>
                    <a:pt x="617" y="100"/>
                  </a:lnTo>
                  <a:lnTo>
                    <a:pt x="617" y="98"/>
                  </a:lnTo>
                  <a:lnTo>
                    <a:pt x="610" y="101"/>
                  </a:lnTo>
                  <a:lnTo>
                    <a:pt x="608" y="101"/>
                  </a:lnTo>
                  <a:lnTo>
                    <a:pt x="580" y="76"/>
                  </a:lnTo>
                  <a:lnTo>
                    <a:pt x="580" y="64"/>
                  </a:lnTo>
                  <a:lnTo>
                    <a:pt x="587" y="54"/>
                  </a:lnTo>
                  <a:lnTo>
                    <a:pt x="583" y="48"/>
                  </a:lnTo>
                  <a:lnTo>
                    <a:pt x="581" y="48"/>
                  </a:lnTo>
                  <a:lnTo>
                    <a:pt x="583" y="28"/>
                  </a:lnTo>
                  <a:lnTo>
                    <a:pt x="589" y="24"/>
                  </a:lnTo>
                  <a:lnTo>
                    <a:pt x="590" y="24"/>
                  </a:lnTo>
                  <a:lnTo>
                    <a:pt x="593" y="27"/>
                  </a:lnTo>
                  <a:lnTo>
                    <a:pt x="595" y="21"/>
                  </a:lnTo>
                  <a:lnTo>
                    <a:pt x="590" y="16"/>
                  </a:lnTo>
                  <a:lnTo>
                    <a:pt x="590" y="15"/>
                  </a:lnTo>
                  <a:lnTo>
                    <a:pt x="60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 name="Alaska - Mainland">
              <a:extLst>
                <a:ext uri="{FF2B5EF4-FFF2-40B4-BE49-F238E27FC236}">
                  <a16:creationId xmlns:a16="http://schemas.microsoft.com/office/drawing/2014/main" id="{08C4B66E-D38E-4443-DA3F-C765273F71CA}"/>
                </a:ext>
              </a:extLst>
            </p:cNvPr>
            <p:cNvSpPr>
              <a:spLocks noEditPoints="1"/>
            </p:cNvSpPr>
            <p:nvPr/>
          </p:nvSpPr>
          <p:spPr bwMode="auto">
            <a:xfrm>
              <a:off x="1857537" y="2153295"/>
              <a:ext cx="899916" cy="892689"/>
            </a:xfrm>
            <a:custGeom>
              <a:avLst/>
              <a:gdLst>
                <a:gd name="T0" fmla="*/ 234 w 498"/>
                <a:gd name="T1" fmla="*/ 318 h 494"/>
                <a:gd name="T2" fmla="*/ 166 w 498"/>
                <a:gd name="T3" fmla="*/ 8 h 494"/>
                <a:gd name="T4" fmla="*/ 196 w 498"/>
                <a:gd name="T5" fmla="*/ 17 h 494"/>
                <a:gd name="T6" fmla="*/ 212 w 498"/>
                <a:gd name="T7" fmla="*/ 30 h 494"/>
                <a:gd name="T8" fmla="*/ 308 w 498"/>
                <a:gd name="T9" fmla="*/ 52 h 494"/>
                <a:gd name="T10" fmla="*/ 356 w 498"/>
                <a:gd name="T11" fmla="*/ 358 h 494"/>
                <a:gd name="T12" fmla="*/ 393 w 498"/>
                <a:gd name="T13" fmla="*/ 375 h 494"/>
                <a:gd name="T14" fmla="*/ 415 w 498"/>
                <a:gd name="T15" fmla="*/ 377 h 494"/>
                <a:gd name="T16" fmla="*/ 498 w 498"/>
                <a:gd name="T17" fmla="*/ 488 h 494"/>
                <a:gd name="T18" fmla="*/ 483 w 498"/>
                <a:gd name="T19" fmla="*/ 463 h 494"/>
                <a:gd name="T20" fmla="*/ 476 w 498"/>
                <a:gd name="T21" fmla="*/ 460 h 494"/>
                <a:gd name="T22" fmla="*/ 461 w 498"/>
                <a:gd name="T23" fmla="*/ 441 h 494"/>
                <a:gd name="T24" fmla="*/ 454 w 498"/>
                <a:gd name="T25" fmla="*/ 427 h 494"/>
                <a:gd name="T26" fmla="*/ 448 w 498"/>
                <a:gd name="T27" fmla="*/ 417 h 494"/>
                <a:gd name="T28" fmla="*/ 433 w 498"/>
                <a:gd name="T29" fmla="*/ 405 h 494"/>
                <a:gd name="T30" fmla="*/ 420 w 498"/>
                <a:gd name="T31" fmla="*/ 407 h 494"/>
                <a:gd name="T32" fmla="*/ 411 w 498"/>
                <a:gd name="T33" fmla="*/ 411 h 494"/>
                <a:gd name="T34" fmla="*/ 369 w 498"/>
                <a:gd name="T35" fmla="*/ 378 h 494"/>
                <a:gd name="T36" fmla="*/ 359 w 498"/>
                <a:gd name="T37" fmla="*/ 374 h 494"/>
                <a:gd name="T38" fmla="*/ 302 w 498"/>
                <a:gd name="T39" fmla="*/ 355 h 494"/>
                <a:gd name="T40" fmla="*/ 279 w 498"/>
                <a:gd name="T41" fmla="*/ 346 h 494"/>
                <a:gd name="T42" fmla="*/ 267 w 498"/>
                <a:gd name="T43" fmla="*/ 341 h 494"/>
                <a:gd name="T44" fmla="*/ 257 w 498"/>
                <a:gd name="T45" fmla="*/ 353 h 494"/>
                <a:gd name="T46" fmla="*/ 240 w 498"/>
                <a:gd name="T47" fmla="*/ 375 h 494"/>
                <a:gd name="T48" fmla="*/ 214 w 498"/>
                <a:gd name="T49" fmla="*/ 389 h 494"/>
                <a:gd name="T50" fmla="*/ 216 w 498"/>
                <a:gd name="T51" fmla="*/ 377 h 494"/>
                <a:gd name="T52" fmla="*/ 243 w 498"/>
                <a:gd name="T53" fmla="*/ 341 h 494"/>
                <a:gd name="T54" fmla="*/ 214 w 498"/>
                <a:gd name="T55" fmla="*/ 343 h 494"/>
                <a:gd name="T56" fmla="*/ 188 w 498"/>
                <a:gd name="T57" fmla="*/ 390 h 494"/>
                <a:gd name="T58" fmla="*/ 182 w 498"/>
                <a:gd name="T59" fmla="*/ 413 h 494"/>
                <a:gd name="T60" fmla="*/ 153 w 498"/>
                <a:gd name="T61" fmla="*/ 439 h 494"/>
                <a:gd name="T62" fmla="*/ 133 w 498"/>
                <a:gd name="T63" fmla="*/ 454 h 494"/>
                <a:gd name="T64" fmla="*/ 110 w 498"/>
                <a:gd name="T65" fmla="*/ 475 h 494"/>
                <a:gd name="T66" fmla="*/ 73 w 498"/>
                <a:gd name="T67" fmla="*/ 485 h 494"/>
                <a:gd name="T68" fmla="*/ 59 w 498"/>
                <a:gd name="T69" fmla="*/ 484 h 494"/>
                <a:gd name="T70" fmla="*/ 99 w 498"/>
                <a:gd name="T71" fmla="*/ 460 h 494"/>
                <a:gd name="T72" fmla="*/ 138 w 498"/>
                <a:gd name="T73" fmla="*/ 410 h 494"/>
                <a:gd name="T74" fmla="*/ 125 w 498"/>
                <a:gd name="T75" fmla="*/ 396 h 494"/>
                <a:gd name="T76" fmla="*/ 119 w 498"/>
                <a:gd name="T77" fmla="*/ 407 h 494"/>
                <a:gd name="T78" fmla="*/ 77 w 498"/>
                <a:gd name="T79" fmla="*/ 401 h 494"/>
                <a:gd name="T80" fmla="*/ 79 w 498"/>
                <a:gd name="T81" fmla="*/ 386 h 494"/>
                <a:gd name="T82" fmla="*/ 67 w 498"/>
                <a:gd name="T83" fmla="*/ 375 h 494"/>
                <a:gd name="T84" fmla="*/ 49 w 498"/>
                <a:gd name="T85" fmla="*/ 367 h 494"/>
                <a:gd name="T86" fmla="*/ 43 w 498"/>
                <a:gd name="T87" fmla="*/ 338 h 494"/>
                <a:gd name="T88" fmla="*/ 28 w 498"/>
                <a:gd name="T89" fmla="*/ 328 h 494"/>
                <a:gd name="T90" fmla="*/ 30 w 498"/>
                <a:gd name="T91" fmla="*/ 315 h 494"/>
                <a:gd name="T92" fmla="*/ 77 w 498"/>
                <a:gd name="T93" fmla="*/ 269 h 494"/>
                <a:gd name="T94" fmla="*/ 71 w 498"/>
                <a:gd name="T95" fmla="*/ 248 h 494"/>
                <a:gd name="T96" fmla="*/ 27 w 498"/>
                <a:gd name="T97" fmla="*/ 238 h 494"/>
                <a:gd name="T98" fmla="*/ 33 w 498"/>
                <a:gd name="T99" fmla="*/ 189 h 494"/>
                <a:gd name="T100" fmla="*/ 58 w 498"/>
                <a:gd name="T101" fmla="*/ 184 h 494"/>
                <a:gd name="T102" fmla="*/ 82 w 498"/>
                <a:gd name="T103" fmla="*/ 178 h 494"/>
                <a:gd name="T104" fmla="*/ 90 w 498"/>
                <a:gd name="T105" fmla="*/ 171 h 494"/>
                <a:gd name="T106" fmla="*/ 80 w 498"/>
                <a:gd name="T107" fmla="*/ 160 h 494"/>
                <a:gd name="T108" fmla="*/ 55 w 498"/>
                <a:gd name="T109" fmla="*/ 143 h 494"/>
                <a:gd name="T110" fmla="*/ 55 w 498"/>
                <a:gd name="T111" fmla="*/ 91 h 494"/>
                <a:gd name="T112" fmla="*/ 68 w 498"/>
                <a:gd name="T113" fmla="*/ 63 h 494"/>
                <a:gd name="T114" fmla="*/ 80 w 498"/>
                <a:gd name="T115" fmla="*/ 42 h 494"/>
                <a:gd name="T116" fmla="*/ 105 w 498"/>
                <a:gd name="T117" fmla="*/ 40 h 494"/>
                <a:gd name="T118" fmla="*/ 120 w 498"/>
                <a:gd name="T119" fmla="*/ 1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8" h="494">
                  <a:moveTo>
                    <a:pt x="375" y="368"/>
                  </a:moveTo>
                  <a:lnTo>
                    <a:pt x="377" y="371"/>
                  </a:lnTo>
                  <a:lnTo>
                    <a:pt x="378" y="370"/>
                  </a:lnTo>
                  <a:lnTo>
                    <a:pt x="375" y="368"/>
                  </a:lnTo>
                  <a:close/>
                  <a:moveTo>
                    <a:pt x="233" y="310"/>
                  </a:moveTo>
                  <a:lnTo>
                    <a:pt x="228" y="330"/>
                  </a:lnTo>
                  <a:lnTo>
                    <a:pt x="234" y="318"/>
                  </a:lnTo>
                  <a:lnTo>
                    <a:pt x="233" y="310"/>
                  </a:lnTo>
                  <a:close/>
                  <a:moveTo>
                    <a:pt x="89" y="184"/>
                  </a:moveTo>
                  <a:lnTo>
                    <a:pt x="92" y="187"/>
                  </a:lnTo>
                  <a:lnTo>
                    <a:pt x="93" y="186"/>
                  </a:lnTo>
                  <a:lnTo>
                    <a:pt x="89" y="184"/>
                  </a:lnTo>
                  <a:close/>
                  <a:moveTo>
                    <a:pt x="150" y="0"/>
                  </a:moveTo>
                  <a:lnTo>
                    <a:pt x="166" y="8"/>
                  </a:lnTo>
                  <a:lnTo>
                    <a:pt x="166" y="9"/>
                  </a:lnTo>
                  <a:lnTo>
                    <a:pt x="157" y="20"/>
                  </a:lnTo>
                  <a:lnTo>
                    <a:pt x="168" y="24"/>
                  </a:lnTo>
                  <a:lnTo>
                    <a:pt x="166" y="14"/>
                  </a:lnTo>
                  <a:lnTo>
                    <a:pt x="172" y="9"/>
                  </a:lnTo>
                  <a:lnTo>
                    <a:pt x="182" y="21"/>
                  </a:lnTo>
                  <a:lnTo>
                    <a:pt x="196" y="17"/>
                  </a:lnTo>
                  <a:lnTo>
                    <a:pt x="200" y="23"/>
                  </a:lnTo>
                  <a:lnTo>
                    <a:pt x="203" y="23"/>
                  </a:lnTo>
                  <a:lnTo>
                    <a:pt x="206" y="21"/>
                  </a:lnTo>
                  <a:lnTo>
                    <a:pt x="211" y="21"/>
                  </a:lnTo>
                  <a:lnTo>
                    <a:pt x="211" y="23"/>
                  </a:lnTo>
                  <a:lnTo>
                    <a:pt x="209" y="29"/>
                  </a:lnTo>
                  <a:lnTo>
                    <a:pt x="212" y="30"/>
                  </a:lnTo>
                  <a:lnTo>
                    <a:pt x="218" y="32"/>
                  </a:lnTo>
                  <a:lnTo>
                    <a:pt x="218" y="33"/>
                  </a:lnTo>
                  <a:lnTo>
                    <a:pt x="216" y="34"/>
                  </a:lnTo>
                  <a:lnTo>
                    <a:pt x="246" y="34"/>
                  </a:lnTo>
                  <a:lnTo>
                    <a:pt x="299" y="54"/>
                  </a:lnTo>
                  <a:lnTo>
                    <a:pt x="302" y="54"/>
                  </a:lnTo>
                  <a:lnTo>
                    <a:pt x="308" y="52"/>
                  </a:lnTo>
                  <a:lnTo>
                    <a:pt x="317" y="49"/>
                  </a:lnTo>
                  <a:lnTo>
                    <a:pt x="323" y="48"/>
                  </a:lnTo>
                  <a:lnTo>
                    <a:pt x="326" y="48"/>
                  </a:lnTo>
                  <a:lnTo>
                    <a:pt x="351" y="66"/>
                  </a:lnTo>
                  <a:lnTo>
                    <a:pt x="354" y="63"/>
                  </a:lnTo>
                  <a:lnTo>
                    <a:pt x="356" y="63"/>
                  </a:lnTo>
                  <a:lnTo>
                    <a:pt x="356" y="358"/>
                  </a:lnTo>
                  <a:lnTo>
                    <a:pt x="368" y="361"/>
                  </a:lnTo>
                  <a:lnTo>
                    <a:pt x="378" y="358"/>
                  </a:lnTo>
                  <a:lnTo>
                    <a:pt x="380" y="358"/>
                  </a:lnTo>
                  <a:lnTo>
                    <a:pt x="378" y="365"/>
                  </a:lnTo>
                  <a:lnTo>
                    <a:pt x="393" y="380"/>
                  </a:lnTo>
                  <a:lnTo>
                    <a:pt x="394" y="378"/>
                  </a:lnTo>
                  <a:lnTo>
                    <a:pt x="393" y="375"/>
                  </a:lnTo>
                  <a:lnTo>
                    <a:pt x="394" y="375"/>
                  </a:lnTo>
                  <a:lnTo>
                    <a:pt x="396" y="378"/>
                  </a:lnTo>
                  <a:lnTo>
                    <a:pt x="394" y="381"/>
                  </a:lnTo>
                  <a:lnTo>
                    <a:pt x="397" y="386"/>
                  </a:lnTo>
                  <a:lnTo>
                    <a:pt x="400" y="393"/>
                  </a:lnTo>
                  <a:lnTo>
                    <a:pt x="411" y="387"/>
                  </a:lnTo>
                  <a:lnTo>
                    <a:pt x="415" y="377"/>
                  </a:lnTo>
                  <a:lnTo>
                    <a:pt x="427" y="371"/>
                  </a:lnTo>
                  <a:lnTo>
                    <a:pt x="428" y="371"/>
                  </a:lnTo>
                  <a:lnTo>
                    <a:pt x="442" y="395"/>
                  </a:lnTo>
                  <a:lnTo>
                    <a:pt x="449" y="401"/>
                  </a:lnTo>
                  <a:lnTo>
                    <a:pt x="474" y="450"/>
                  </a:lnTo>
                  <a:lnTo>
                    <a:pt x="498" y="464"/>
                  </a:lnTo>
                  <a:lnTo>
                    <a:pt x="498" y="488"/>
                  </a:lnTo>
                  <a:lnTo>
                    <a:pt x="488" y="494"/>
                  </a:lnTo>
                  <a:lnTo>
                    <a:pt x="486" y="494"/>
                  </a:lnTo>
                  <a:lnTo>
                    <a:pt x="486" y="487"/>
                  </a:lnTo>
                  <a:lnTo>
                    <a:pt x="491" y="484"/>
                  </a:lnTo>
                  <a:lnTo>
                    <a:pt x="489" y="481"/>
                  </a:lnTo>
                  <a:lnTo>
                    <a:pt x="486" y="481"/>
                  </a:lnTo>
                  <a:lnTo>
                    <a:pt x="483" y="463"/>
                  </a:lnTo>
                  <a:lnTo>
                    <a:pt x="476" y="467"/>
                  </a:lnTo>
                  <a:lnTo>
                    <a:pt x="471" y="475"/>
                  </a:lnTo>
                  <a:lnTo>
                    <a:pt x="470" y="475"/>
                  </a:lnTo>
                  <a:lnTo>
                    <a:pt x="468" y="472"/>
                  </a:lnTo>
                  <a:lnTo>
                    <a:pt x="468" y="470"/>
                  </a:lnTo>
                  <a:lnTo>
                    <a:pt x="473" y="460"/>
                  </a:lnTo>
                  <a:lnTo>
                    <a:pt x="476" y="460"/>
                  </a:lnTo>
                  <a:lnTo>
                    <a:pt x="470" y="456"/>
                  </a:lnTo>
                  <a:lnTo>
                    <a:pt x="467" y="448"/>
                  </a:lnTo>
                  <a:lnTo>
                    <a:pt x="461" y="444"/>
                  </a:lnTo>
                  <a:lnTo>
                    <a:pt x="458" y="441"/>
                  </a:lnTo>
                  <a:lnTo>
                    <a:pt x="458" y="439"/>
                  </a:lnTo>
                  <a:lnTo>
                    <a:pt x="460" y="439"/>
                  </a:lnTo>
                  <a:lnTo>
                    <a:pt x="461" y="441"/>
                  </a:lnTo>
                  <a:lnTo>
                    <a:pt x="461" y="439"/>
                  </a:lnTo>
                  <a:lnTo>
                    <a:pt x="454" y="438"/>
                  </a:lnTo>
                  <a:lnTo>
                    <a:pt x="452" y="436"/>
                  </a:lnTo>
                  <a:lnTo>
                    <a:pt x="454" y="436"/>
                  </a:lnTo>
                  <a:lnTo>
                    <a:pt x="455" y="433"/>
                  </a:lnTo>
                  <a:lnTo>
                    <a:pt x="454" y="433"/>
                  </a:lnTo>
                  <a:lnTo>
                    <a:pt x="454" y="427"/>
                  </a:lnTo>
                  <a:lnTo>
                    <a:pt x="451" y="427"/>
                  </a:lnTo>
                  <a:lnTo>
                    <a:pt x="451" y="423"/>
                  </a:lnTo>
                  <a:lnTo>
                    <a:pt x="452" y="423"/>
                  </a:lnTo>
                  <a:lnTo>
                    <a:pt x="457" y="426"/>
                  </a:lnTo>
                  <a:lnTo>
                    <a:pt x="452" y="421"/>
                  </a:lnTo>
                  <a:lnTo>
                    <a:pt x="449" y="421"/>
                  </a:lnTo>
                  <a:lnTo>
                    <a:pt x="448" y="417"/>
                  </a:lnTo>
                  <a:lnTo>
                    <a:pt x="446" y="417"/>
                  </a:lnTo>
                  <a:lnTo>
                    <a:pt x="443" y="411"/>
                  </a:lnTo>
                  <a:lnTo>
                    <a:pt x="436" y="408"/>
                  </a:lnTo>
                  <a:lnTo>
                    <a:pt x="436" y="407"/>
                  </a:lnTo>
                  <a:lnTo>
                    <a:pt x="427" y="384"/>
                  </a:lnTo>
                  <a:lnTo>
                    <a:pt x="427" y="387"/>
                  </a:lnTo>
                  <a:lnTo>
                    <a:pt x="433" y="405"/>
                  </a:lnTo>
                  <a:lnTo>
                    <a:pt x="431" y="410"/>
                  </a:lnTo>
                  <a:lnTo>
                    <a:pt x="431" y="411"/>
                  </a:lnTo>
                  <a:lnTo>
                    <a:pt x="427" y="411"/>
                  </a:lnTo>
                  <a:lnTo>
                    <a:pt x="425" y="405"/>
                  </a:lnTo>
                  <a:lnTo>
                    <a:pt x="421" y="408"/>
                  </a:lnTo>
                  <a:lnTo>
                    <a:pt x="421" y="407"/>
                  </a:lnTo>
                  <a:lnTo>
                    <a:pt x="420" y="407"/>
                  </a:lnTo>
                  <a:lnTo>
                    <a:pt x="421" y="402"/>
                  </a:lnTo>
                  <a:lnTo>
                    <a:pt x="418" y="395"/>
                  </a:lnTo>
                  <a:lnTo>
                    <a:pt x="417" y="398"/>
                  </a:lnTo>
                  <a:lnTo>
                    <a:pt x="408" y="393"/>
                  </a:lnTo>
                  <a:lnTo>
                    <a:pt x="418" y="404"/>
                  </a:lnTo>
                  <a:lnTo>
                    <a:pt x="418" y="408"/>
                  </a:lnTo>
                  <a:lnTo>
                    <a:pt x="411" y="411"/>
                  </a:lnTo>
                  <a:lnTo>
                    <a:pt x="397" y="402"/>
                  </a:lnTo>
                  <a:lnTo>
                    <a:pt x="399" y="399"/>
                  </a:lnTo>
                  <a:lnTo>
                    <a:pt x="391" y="392"/>
                  </a:lnTo>
                  <a:lnTo>
                    <a:pt x="390" y="392"/>
                  </a:lnTo>
                  <a:lnTo>
                    <a:pt x="390" y="384"/>
                  </a:lnTo>
                  <a:lnTo>
                    <a:pt x="385" y="389"/>
                  </a:lnTo>
                  <a:lnTo>
                    <a:pt x="369" y="378"/>
                  </a:lnTo>
                  <a:lnTo>
                    <a:pt x="369" y="377"/>
                  </a:lnTo>
                  <a:lnTo>
                    <a:pt x="372" y="375"/>
                  </a:lnTo>
                  <a:lnTo>
                    <a:pt x="374" y="367"/>
                  </a:lnTo>
                  <a:lnTo>
                    <a:pt x="372" y="365"/>
                  </a:lnTo>
                  <a:lnTo>
                    <a:pt x="369" y="371"/>
                  </a:lnTo>
                  <a:lnTo>
                    <a:pt x="368" y="371"/>
                  </a:lnTo>
                  <a:lnTo>
                    <a:pt x="359" y="374"/>
                  </a:lnTo>
                  <a:lnTo>
                    <a:pt x="350" y="370"/>
                  </a:lnTo>
                  <a:lnTo>
                    <a:pt x="348" y="370"/>
                  </a:lnTo>
                  <a:lnTo>
                    <a:pt x="348" y="365"/>
                  </a:lnTo>
                  <a:lnTo>
                    <a:pt x="337" y="365"/>
                  </a:lnTo>
                  <a:lnTo>
                    <a:pt x="326" y="367"/>
                  </a:lnTo>
                  <a:lnTo>
                    <a:pt x="314" y="367"/>
                  </a:lnTo>
                  <a:lnTo>
                    <a:pt x="302" y="355"/>
                  </a:lnTo>
                  <a:lnTo>
                    <a:pt x="298" y="358"/>
                  </a:lnTo>
                  <a:lnTo>
                    <a:pt x="291" y="352"/>
                  </a:lnTo>
                  <a:lnTo>
                    <a:pt x="291" y="349"/>
                  </a:lnTo>
                  <a:lnTo>
                    <a:pt x="283" y="349"/>
                  </a:lnTo>
                  <a:lnTo>
                    <a:pt x="286" y="346"/>
                  </a:lnTo>
                  <a:lnTo>
                    <a:pt x="279" y="347"/>
                  </a:lnTo>
                  <a:lnTo>
                    <a:pt x="279" y="346"/>
                  </a:lnTo>
                  <a:lnTo>
                    <a:pt x="282" y="344"/>
                  </a:lnTo>
                  <a:lnTo>
                    <a:pt x="279" y="344"/>
                  </a:lnTo>
                  <a:lnTo>
                    <a:pt x="280" y="338"/>
                  </a:lnTo>
                  <a:lnTo>
                    <a:pt x="270" y="341"/>
                  </a:lnTo>
                  <a:lnTo>
                    <a:pt x="268" y="341"/>
                  </a:lnTo>
                  <a:lnTo>
                    <a:pt x="267" y="338"/>
                  </a:lnTo>
                  <a:lnTo>
                    <a:pt x="267" y="341"/>
                  </a:lnTo>
                  <a:lnTo>
                    <a:pt x="264" y="343"/>
                  </a:lnTo>
                  <a:lnTo>
                    <a:pt x="262" y="343"/>
                  </a:lnTo>
                  <a:lnTo>
                    <a:pt x="264" y="335"/>
                  </a:lnTo>
                  <a:lnTo>
                    <a:pt x="255" y="344"/>
                  </a:lnTo>
                  <a:lnTo>
                    <a:pt x="259" y="346"/>
                  </a:lnTo>
                  <a:lnTo>
                    <a:pt x="259" y="347"/>
                  </a:lnTo>
                  <a:lnTo>
                    <a:pt x="257" y="353"/>
                  </a:lnTo>
                  <a:lnTo>
                    <a:pt x="262" y="352"/>
                  </a:lnTo>
                  <a:lnTo>
                    <a:pt x="257" y="367"/>
                  </a:lnTo>
                  <a:lnTo>
                    <a:pt x="255" y="367"/>
                  </a:lnTo>
                  <a:lnTo>
                    <a:pt x="245" y="365"/>
                  </a:lnTo>
                  <a:lnTo>
                    <a:pt x="242" y="374"/>
                  </a:lnTo>
                  <a:lnTo>
                    <a:pt x="240" y="374"/>
                  </a:lnTo>
                  <a:lnTo>
                    <a:pt x="240" y="375"/>
                  </a:lnTo>
                  <a:lnTo>
                    <a:pt x="236" y="375"/>
                  </a:lnTo>
                  <a:lnTo>
                    <a:pt x="233" y="383"/>
                  </a:lnTo>
                  <a:lnTo>
                    <a:pt x="231" y="383"/>
                  </a:lnTo>
                  <a:lnTo>
                    <a:pt x="231" y="378"/>
                  </a:lnTo>
                  <a:lnTo>
                    <a:pt x="224" y="386"/>
                  </a:lnTo>
                  <a:lnTo>
                    <a:pt x="215" y="389"/>
                  </a:lnTo>
                  <a:lnTo>
                    <a:pt x="214" y="389"/>
                  </a:lnTo>
                  <a:lnTo>
                    <a:pt x="214" y="387"/>
                  </a:lnTo>
                  <a:lnTo>
                    <a:pt x="211" y="386"/>
                  </a:lnTo>
                  <a:lnTo>
                    <a:pt x="211" y="384"/>
                  </a:lnTo>
                  <a:lnTo>
                    <a:pt x="212" y="380"/>
                  </a:lnTo>
                  <a:lnTo>
                    <a:pt x="218" y="380"/>
                  </a:lnTo>
                  <a:lnTo>
                    <a:pt x="222" y="374"/>
                  </a:lnTo>
                  <a:lnTo>
                    <a:pt x="216" y="377"/>
                  </a:lnTo>
                  <a:lnTo>
                    <a:pt x="216" y="375"/>
                  </a:lnTo>
                  <a:lnTo>
                    <a:pt x="212" y="374"/>
                  </a:lnTo>
                  <a:lnTo>
                    <a:pt x="212" y="373"/>
                  </a:lnTo>
                  <a:lnTo>
                    <a:pt x="218" y="358"/>
                  </a:lnTo>
                  <a:lnTo>
                    <a:pt x="219" y="346"/>
                  </a:lnTo>
                  <a:lnTo>
                    <a:pt x="231" y="340"/>
                  </a:lnTo>
                  <a:lnTo>
                    <a:pt x="243" y="341"/>
                  </a:lnTo>
                  <a:lnTo>
                    <a:pt x="236" y="338"/>
                  </a:lnTo>
                  <a:lnTo>
                    <a:pt x="236" y="337"/>
                  </a:lnTo>
                  <a:lnTo>
                    <a:pt x="242" y="330"/>
                  </a:lnTo>
                  <a:lnTo>
                    <a:pt x="236" y="334"/>
                  </a:lnTo>
                  <a:lnTo>
                    <a:pt x="234" y="334"/>
                  </a:lnTo>
                  <a:lnTo>
                    <a:pt x="228" y="332"/>
                  </a:lnTo>
                  <a:lnTo>
                    <a:pt x="214" y="343"/>
                  </a:lnTo>
                  <a:lnTo>
                    <a:pt x="203" y="361"/>
                  </a:lnTo>
                  <a:lnTo>
                    <a:pt x="202" y="361"/>
                  </a:lnTo>
                  <a:lnTo>
                    <a:pt x="197" y="359"/>
                  </a:lnTo>
                  <a:lnTo>
                    <a:pt x="202" y="367"/>
                  </a:lnTo>
                  <a:lnTo>
                    <a:pt x="184" y="381"/>
                  </a:lnTo>
                  <a:lnTo>
                    <a:pt x="182" y="389"/>
                  </a:lnTo>
                  <a:lnTo>
                    <a:pt x="188" y="390"/>
                  </a:lnTo>
                  <a:lnTo>
                    <a:pt x="193" y="395"/>
                  </a:lnTo>
                  <a:lnTo>
                    <a:pt x="193" y="396"/>
                  </a:lnTo>
                  <a:lnTo>
                    <a:pt x="184" y="405"/>
                  </a:lnTo>
                  <a:lnTo>
                    <a:pt x="182" y="408"/>
                  </a:lnTo>
                  <a:lnTo>
                    <a:pt x="184" y="411"/>
                  </a:lnTo>
                  <a:lnTo>
                    <a:pt x="184" y="413"/>
                  </a:lnTo>
                  <a:lnTo>
                    <a:pt x="182" y="413"/>
                  </a:lnTo>
                  <a:lnTo>
                    <a:pt x="171" y="417"/>
                  </a:lnTo>
                  <a:lnTo>
                    <a:pt x="166" y="424"/>
                  </a:lnTo>
                  <a:lnTo>
                    <a:pt x="163" y="423"/>
                  </a:lnTo>
                  <a:lnTo>
                    <a:pt x="162" y="427"/>
                  </a:lnTo>
                  <a:lnTo>
                    <a:pt x="153" y="433"/>
                  </a:lnTo>
                  <a:lnTo>
                    <a:pt x="154" y="433"/>
                  </a:lnTo>
                  <a:lnTo>
                    <a:pt x="153" y="439"/>
                  </a:lnTo>
                  <a:lnTo>
                    <a:pt x="139" y="445"/>
                  </a:lnTo>
                  <a:lnTo>
                    <a:pt x="139" y="451"/>
                  </a:lnTo>
                  <a:lnTo>
                    <a:pt x="133" y="451"/>
                  </a:lnTo>
                  <a:lnTo>
                    <a:pt x="133" y="453"/>
                  </a:lnTo>
                  <a:lnTo>
                    <a:pt x="135" y="453"/>
                  </a:lnTo>
                  <a:lnTo>
                    <a:pt x="135" y="454"/>
                  </a:lnTo>
                  <a:lnTo>
                    <a:pt x="133" y="454"/>
                  </a:lnTo>
                  <a:lnTo>
                    <a:pt x="123" y="457"/>
                  </a:lnTo>
                  <a:lnTo>
                    <a:pt x="120" y="456"/>
                  </a:lnTo>
                  <a:lnTo>
                    <a:pt x="125" y="463"/>
                  </a:lnTo>
                  <a:lnTo>
                    <a:pt x="125" y="464"/>
                  </a:lnTo>
                  <a:lnTo>
                    <a:pt x="114" y="467"/>
                  </a:lnTo>
                  <a:lnTo>
                    <a:pt x="111" y="475"/>
                  </a:lnTo>
                  <a:lnTo>
                    <a:pt x="110" y="475"/>
                  </a:lnTo>
                  <a:lnTo>
                    <a:pt x="107" y="469"/>
                  </a:lnTo>
                  <a:lnTo>
                    <a:pt x="88" y="479"/>
                  </a:lnTo>
                  <a:lnTo>
                    <a:pt x="86" y="479"/>
                  </a:lnTo>
                  <a:lnTo>
                    <a:pt x="86" y="473"/>
                  </a:lnTo>
                  <a:lnTo>
                    <a:pt x="80" y="485"/>
                  </a:lnTo>
                  <a:lnTo>
                    <a:pt x="74" y="487"/>
                  </a:lnTo>
                  <a:lnTo>
                    <a:pt x="73" y="485"/>
                  </a:lnTo>
                  <a:lnTo>
                    <a:pt x="73" y="487"/>
                  </a:lnTo>
                  <a:lnTo>
                    <a:pt x="65" y="485"/>
                  </a:lnTo>
                  <a:lnTo>
                    <a:pt x="64" y="490"/>
                  </a:lnTo>
                  <a:lnTo>
                    <a:pt x="64" y="491"/>
                  </a:lnTo>
                  <a:lnTo>
                    <a:pt x="62" y="491"/>
                  </a:lnTo>
                  <a:lnTo>
                    <a:pt x="59" y="485"/>
                  </a:lnTo>
                  <a:lnTo>
                    <a:pt x="59" y="484"/>
                  </a:lnTo>
                  <a:lnTo>
                    <a:pt x="61" y="484"/>
                  </a:lnTo>
                  <a:lnTo>
                    <a:pt x="62" y="482"/>
                  </a:lnTo>
                  <a:lnTo>
                    <a:pt x="89" y="463"/>
                  </a:lnTo>
                  <a:lnTo>
                    <a:pt x="98" y="466"/>
                  </a:lnTo>
                  <a:lnTo>
                    <a:pt x="98" y="464"/>
                  </a:lnTo>
                  <a:lnTo>
                    <a:pt x="99" y="463"/>
                  </a:lnTo>
                  <a:lnTo>
                    <a:pt x="99" y="460"/>
                  </a:lnTo>
                  <a:lnTo>
                    <a:pt x="102" y="457"/>
                  </a:lnTo>
                  <a:lnTo>
                    <a:pt x="102" y="454"/>
                  </a:lnTo>
                  <a:lnTo>
                    <a:pt x="123" y="444"/>
                  </a:lnTo>
                  <a:lnTo>
                    <a:pt x="125" y="438"/>
                  </a:lnTo>
                  <a:lnTo>
                    <a:pt x="132" y="433"/>
                  </a:lnTo>
                  <a:lnTo>
                    <a:pt x="141" y="410"/>
                  </a:lnTo>
                  <a:lnTo>
                    <a:pt x="138" y="410"/>
                  </a:lnTo>
                  <a:lnTo>
                    <a:pt x="138" y="408"/>
                  </a:lnTo>
                  <a:lnTo>
                    <a:pt x="139" y="402"/>
                  </a:lnTo>
                  <a:lnTo>
                    <a:pt x="147" y="392"/>
                  </a:lnTo>
                  <a:lnTo>
                    <a:pt x="132" y="401"/>
                  </a:lnTo>
                  <a:lnTo>
                    <a:pt x="131" y="402"/>
                  </a:lnTo>
                  <a:lnTo>
                    <a:pt x="131" y="401"/>
                  </a:lnTo>
                  <a:lnTo>
                    <a:pt x="125" y="396"/>
                  </a:lnTo>
                  <a:lnTo>
                    <a:pt x="125" y="393"/>
                  </a:lnTo>
                  <a:lnTo>
                    <a:pt x="122" y="398"/>
                  </a:lnTo>
                  <a:lnTo>
                    <a:pt x="123" y="404"/>
                  </a:lnTo>
                  <a:lnTo>
                    <a:pt x="123" y="405"/>
                  </a:lnTo>
                  <a:lnTo>
                    <a:pt x="120" y="407"/>
                  </a:lnTo>
                  <a:lnTo>
                    <a:pt x="120" y="408"/>
                  </a:lnTo>
                  <a:lnTo>
                    <a:pt x="119" y="407"/>
                  </a:lnTo>
                  <a:lnTo>
                    <a:pt x="111" y="395"/>
                  </a:lnTo>
                  <a:lnTo>
                    <a:pt x="102" y="395"/>
                  </a:lnTo>
                  <a:lnTo>
                    <a:pt x="102" y="387"/>
                  </a:lnTo>
                  <a:lnTo>
                    <a:pt x="96" y="393"/>
                  </a:lnTo>
                  <a:lnTo>
                    <a:pt x="79" y="402"/>
                  </a:lnTo>
                  <a:lnTo>
                    <a:pt x="77" y="402"/>
                  </a:lnTo>
                  <a:lnTo>
                    <a:pt x="77" y="401"/>
                  </a:lnTo>
                  <a:lnTo>
                    <a:pt x="85" y="396"/>
                  </a:lnTo>
                  <a:lnTo>
                    <a:pt x="83" y="392"/>
                  </a:lnTo>
                  <a:lnTo>
                    <a:pt x="83" y="390"/>
                  </a:lnTo>
                  <a:lnTo>
                    <a:pt x="85" y="389"/>
                  </a:lnTo>
                  <a:lnTo>
                    <a:pt x="80" y="387"/>
                  </a:lnTo>
                  <a:lnTo>
                    <a:pt x="79" y="387"/>
                  </a:lnTo>
                  <a:lnTo>
                    <a:pt x="79" y="386"/>
                  </a:lnTo>
                  <a:lnTo>
                    <a:pt x="83" y="377"/>
                  </a:lnTo>
                  <a:lnTo>
                    <a:pt x="74" y="358"/>
                  </a:lnTo>
                  <a:lnTo>
                    <a:pt x="83" y="347"/>
                  </a:lnTo>
                  <a:lnTo>
                    <a:pt x="77" y="352"/>
                  </a:lnTo>
                  <a:lnTo>
                    <a:pt x="74" y="358"/>
                  </a:lnTo>
                  <a:lnTo>
                    <a:pt x="76" y="362"/>
                  </a:lnTo>
                  <a:lnTo>
                    <a:pt x="67" y="375"/>
                  </a:lnTo>
                  <a:lnTo>
                    <a:pt x="64" y="375"/>
                  </a:lnTo>
                  <a:lnTo>
                    <a:pt x="59" y="374"/>
                  </a:lnTo>
                  <a:lnTo>
                    <a:pt x="55" y="374"/>
                  </a:lnTo>
                  <a:lnTo>
                    <a:pt x="50" y="368"/>
                  </a:lnTo>
                  <a:lnTo>
                    <a:pt x="52" y="368"/>
                  </a:lnTo>
                  <a:lnTo>
                    <a:pt x="52" y="367"/>
                  </a:lnTo>
                  <a:lnTo>
                    <a:pt x="49" y="367"/>
                  </a:lnTo>
                  <a:lnTo>
                    <a:pt x="48" y="361"/>
                  </a:lnTo>
                  <a:lnTo>
                    <a:pt x="48" y="359"/>
                  </a:lnTo>
                  <a:lnTo>
                    <a:pt x="56" y="344"/>
                  </a:lnTo>
                  <a:lnTo>
                    <a:pt x="48" y="344"/>
                  </a:lnTo>
                  <a:lnTo>
                    <a:pt x="45" y="343"/>
                  </a:lnTo>
                  <a:lnTo>
                    <a:pt x="46" y="338"/>
                  </a:lnTo>
                  <a:lnTo>
                    <a:pt x="43" y="338"/>
                  </a:lnTo>
                  <a:lnTo>
                    <a:pt x="39" y="340"/>
                  </a:lnTo>
                  <a:lnTo>
                    <a:pt x="37" y="340"/>
                  </a:lnTo>
                  <a:lnTo>
                    <a:pt x="34" y="334"/>
                  </a:lnTo>
                  <a:lnTo>
                    <a:pt x="34" y="332"/>
                  </a:lnTo>
                  <a:lnTo>
                    <a:pt x="36" y="330"/>
                  </a:lnTo>
                  <a:lnTo>
                    <a:pt x="28" y="330"/>
                  </a:lnTo>
                  <a:lnTo>
                    <a:pt x="28" y="328"/>
                  </a:lnTo>
                  <a:lnTo>
                    <a:pt x="30" y="328"/>
                  </a:lnTo>
                  <a:lnTo>
                    <a:pt x="34" y="324"/>
                  </a:lnTo>
                  <a:lnTo>
                    <a:pt x="25" y="327"/>
                  </a:lnTo>
                  <a:lnTo>
                    <a:pt x="24" y="327"/>
                  </a:lnTo>
                  <a:lnTo>
                    <a:pt x="27" y="321"/>
                  </a:lnTo>
                  <a:lnTo>
                    <a:pt x="25" y="318"/>
                  </a:lnTo>
                  <a:lnTo>
                    <a:pt x="30" y="315"/>
                  </a:lnTo>
                  <a:lnTo>
                    <a:pt x="34" y="301"/>
                  </a:lnTo>
                  <a:lnTo>
                    <a:pt x="46" y="291"/>
                  </a:lnTo>
                  <a:lnTo>
                    <a:pt x="53" y="291"/>
                  </a:lnTo>
                  <a:lnTo>
                    <a:pt x="53" y="287"/>
                  </a:lnTo>
                  <a:lnTo>
                    <a:pt x="58" y="284"/>
                  </a:lnTo>
                  <a:lnTo>
                    <a:pt x="67" y="282"/>
                  </a:lnTo>
                  <a:lnTo>
                    <a:pt x="77" y="269"/>
                  </a:lnTo>
                  <a:lnTo>
                    <a:pt x="92" y="267"/>
                  </a:lnTo>
                  <a:lnTo>
                    <a:pt x="96" y="258"/>
                  </a:lnTo>
                  <a:lnTo>
                    <a:pt x="88" y="239"/>
                  </a:lnTo>
                  <a:lnTo>
                    <a:pt x="93" y="239"/>
                  </a:lnTo>
                  <a:lnTo>
                    <a:pt x="96" y="233"/>
                  </a:lnTo>
                  <a:lnTo>
                    <a:pt x="85" y="230"/>
                  </a:lnTo>
                  <a:lnTo>
                    <a:pt x="71" y="248"/>
                  </a:lnTo>
                  <a:lnTo>
                    <a:pt x="68" y="241"/>
                  </a:lnTo>
                  <a:lnTo>
                    <a:pt x="67" y="242"/>
                  </a:lnTo>
                  <a:lnTo>
                    <a:pt x="67" y="244"/>
                  </a:lnTo>
                  <a:lnTo>
                    <a:pt x="59" y="239"/>
                  </a:lnTo>
                  <a:lnTo>
                    <a:pt x="43" y="242"/>
                  </a:lnTo>
                  <a:lnTo>
                    <a:pt x="27" y="239"/>
                  </a:lnTo>
                  <a:lnTo>
                    <a:pt x="27" y="238"/>
                  </a:lnTo>
                  <a:lnTo>
                    <a:pt x="16" y="218"/>
                  </a:lnTo>
                  <a:lnTo>
                    <a:pt x="24" y="215"/>
                  </a:lnTo>
                  <a:lnTo>
                    <a:pt x="10" y="214"/>
                  </a:lnTo>
                  <a:lnTo>
                    <a:pt x="0" y="203"/>
                  </a:lnTo>
                  <a:lnTo>
                    <a:pt x="0" y="202"/>
                  </a:lnTo>
                  <a:lnTo>
                    <a:pt x="24" y="187"/>
                  </a:lnTo>
                  <a:lnTo>
                    <a:pt x="33" y="189"/>
                  </a:lnTo>
                  <a:lnTo>
                    <a:pt x="30" y="186"/>
                  </a:lnTo>
                  <a:lnTo>
                    <a:pt x="30" y="184"/>
                  </a:lnTo>
                  <a:lnTo>
                    <a:pt x="31" y="184"/>
                  </a:lnTo>
                  <a:lnTo>
                    <a:pt x="46" y="174"/>
                  </a:lnTo>
                  <a:lnTo>
                    <a:pt x="55" y="174"/>
                  </a:lnTo>
                  <a:lnTo>
                    <a:pt x="58" y="175"/>
                  </a:lnTo>
                  <a:lnTo>
                    <a:pt x="58" y="184"/>
                  </a:lnTo>
                  <a:lnTo>
                    <a:pt x="55" y="186"/>
                  </a:lnTo>
                  <a:lnTo>
                    <a:pt x="59" y="192"/>
                  </a:lnTo>
                  <a:lnTo>
                    <a:pt x="83" y="195"/>
                  </a:lnTo>
                  <a:lnTo>
                    <a:pt x="86" y="184"/>
                  </a:lnTo>
                  <a:lnTo>
                    <a:pt x="82" y="184"/>
                  </a:lnTo>
                  <a:lnTo>
                    <a:pt x="80" y="183"/>
                  </a:lnTo>
                  <a:lnTo>
                    <a:pt x="82" y="178"/>
                  </a:lnTo>
                  <a:lnTo>
                    <a:pt x="79" y="172"/>
                  </a:lnTo>
                  <a:lnTo>
                    <a:pt x="79" y="171"/>
                  </a:lnTo>
                  <a:lnTo>
                    <a:pt x="80" y="171"/>
                  </a:lnTo>
                  <a:lnTo>
                    <a:pt x="85" y="178"/>
                  </a:lnTo>
                  <a:lnTo>
                    <a:pt x="98" y="181"/>
                  </a:lnTo>
                  <a:lnTo>
                    <a:pt x="111" y="175"/>
                  </a:lnTo>
                  <a:lnTo>
                    <a:pt x="90" y="171"/>
                  </a:lnTo>
                  <a:lnTo>
                    <a:pt x="90" y="177"/>
                  </a:lnTo>
                  <a:lnTo>
                    <a:pt x="89" y="177"/>
                  </a:lnTo>
                  <a:lnTo>
                    <a:pt x="82" y="169"/>
                  </a:lnTo>
                  <a:lnTo>
                    <a:pt x="82" y="168"/>
                  </a:lnTo>
                  <a:lnTo>
                    <a:pt x="86" y="162"/>
                  </a:lnTo>
                  <a:lnTo>
                    <a:pt x="86" y="160"/>
                  </a:lnTo>
                  <a:lnTo>
                    <a:pt x="80" y="160"/>
                  </a:lnTo>
                  <a:lnTo>
                    <a:pt x="77" y="162"/>
                  </a:lnTo>
                  <a:lnTo>
                    <a:pt x="74" y="162"/>
                  </a:lnTo>
                  <a:lnTo>
                    <a:pt x="74" y="158"/>
                  </a:lnTo>
                  <a:lnTo>
                    <a:pt x="71" y="162"/>
                  </a:lnTo>
                  <a:lnTo>
                    <a:pt x="70" y="162"/>
                  </a:lnTo>
                  <a:lnTo>
                    <a:pt x="59" y="158"/>
                  </a:lnTo>
                  <a:lnTo>
                    <a:pt x="55" y="143"/>
                  </a:lnTo>
                  <a:lnTo>
                    <a:pt x="49" y="137"/>
                  </a:lnTo>
                  <a:lnTo>
                    <a:pt x="16" y="115"/>
                  </a:lnTo>
                  <a:lnTo>
                    <a:pt x="16" y="113"/>
                  </a:lnTo>
                  <a:lnTo>
                    <a:pt x="24" y="109"/>
                  </a:lnTo>
                  <a:lnTo>
                    <a:pt x="24" y="95"/>
                  </a:lnTo>
                  <a:lnTo>
                    <a:pt x="25" y="95"/>
                  </a:lnTo>
                  <a:lnTo>
                    <a:pt x="55" y="91"/>
                  </a:lnTo>
                  <a:lnTo>
                    <a:pt x="65" y="76"/>
                  </a:lnTo>
                  <a:lnTo>
                    <a:pt x="67" y="67"/>
                  </a:lnTo>
                  <a:lnTo>
                    <a:pt x="67" y="66"/>
                  </a:lnTo>
                  <a:lnTo>
                    <a:pt x="68" y="66"/>
                  </a:lnTo>
                  <a:lnTo>
                    <a:pt x="67" y="64"/>
                  </a:lnTo>
                  <a:lnTo>
                    <a:pt x="67" y="63"/>
                  </a:lnTo>
                  <a:lnTo>
                    <a:pt x="68" y="63"/>
                  </a:lnTo>
                  <a:lnTo>
                    <a:pt x="68" y="61"/>
                  </a:lnTo>
                  <a:lnTo>
                    <a:pt x="74" y="52"/>
                  </a:lnTo>
                  <a:lnTo>
                    <a:pt x="76" y="52"/>
                  </a:lnTo>
                  <a:lnTo>
                    <a:pt x="80" y="55"/>
                  </a:lnTo>
                  <a:lnTo>
                    <a:pt x="77" y="52"/>
                  </a:lnTo>
                  <a:lnTo>
                    <a:pt x="77" y="51"/>
                  </a:lnTo>
                  <a:lnTo>
                    <a:pt x="80" y="42"/>
                  </a:lnTo>
                  <a:lnTo>
                    <a:pt x="83" y="42"/>
                  </a:lnTo>
                  <a:lnTo>
                    <a:pt x="85" y="43"/>
                  </a:lnTo>
                  <a:lnTo>
                    <a:pt x="83" y="46"/>
                  </a:lnTo>
                  <a:lnTo>
                    <a:pt x="104" y="30"/>
                  </a:lnTo>
                  <a:lnTo>
                    <a:pt x="107" y="33"/>
                  </a:lnTo>
                  <a:lnTo>
                    <a:pt x="107" y="34"/>
                  </a:lnTo>
                  <a:lnTo>
                    <a:pt x="105" y="40"/>
                  </a:lnTo>
                  <a:lnTo>
                    <a:pt x="107" y="42"/>
                  </a:lnTo>
                  <a:lnTo>
                    <a:pt x="108" y="34"/>
                  </a:lnTo>
                  <a:lnTo>
                    <a:pt x="113" y="33"/>
                  </a:lnTo>
                  <a:lnTo>
                    <a:pt x="105" y="29"/>
                  </a:lnTo>
                  <a:lnTo>
                    <a:pt x="108" y="24"/>
                  </a:lnTo>
                  <a:lnTo>
                    <a:pt x="119" y="17"/>
                  </a:lnTo>
                  <a:lnTo>
                    <a:pt x="120" y="17"/>
                  </a:lnTo>
                  <a:lnTo>
                    <a:pt x="120" y="18"/>
                  </a:lnTo>
                  <a:lnTo>
                    <a:pt x="114" y="24"/>
                  </a:lnTo>
                  <a:lnTo>
                    <a:pt x="117" y="26"/>
                  </a:lnTo>
                  <a:lnTo>
                    <a:pt x="117" y="23"/>
                  </a:lnTo>
                  <a:lnTo>
                    <a:pt x="133" y="20"/>
                  </a:lnTo>
                  <a:lnTo>
                    <a:pt x="15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 name="Alaska - Offshore">
              <a:extLst>
                <a:ext uri="{FF2B5EF4-FFF2-40B4-BE49-F238E27FC236}">
                  <a16:creationId xmlns:a16="http://schemas.microsoft.com/office/drawing/2014/main" id="{1AD53918-93A6-A590-BF28-E57635E37104}"/>
                </a:ext>
              </a:extLst>
            </p:cNvPr>
            <p:cNvSpPr>
              <a:spLocks/>
            </p:cNvSpPr>
            <p:nvPr/>
          </p:nvSpPr>
          <p:spPr bwMode="auto">
            <a:xfrm>
              <a:off x="1866572" y="2446039"/>
              <a:ext cx="907145" cy="701140"/>
            </a:xfrm>
            <a:custGeom>
              <a:avLst/>
              <a:gdLst/>
              <a:ahLst/>
              <a:cxnLst/>
              <a:rect l="l" t="t" r="r" b="b"/>
              <a:pathLst>
                <a:path w="914377" h="706729">
                  <a:moveTo>
                    <a:pt x="892519" y="639334"/>
                  </a:moveTo>
                  <a:lnTo>
                    <a:pt x="903448" y="644799"/>
                  </a:lnTo>
                  <a:lnTo>
                    <a:pt x="912556" y="655728"/>
                  </a:lnTo>
                  <a:lnTo>
                    <a:pt x="914377" y="655728"/>
                  </a:lnTo>
                  <a:lnTo>
                    <a:pt x="912556" y="666657"/>
                  </a:lnTo>
                  <a:lnTo>
                    <a:pt x="908913" y="666657"/>
                  </a:lnTo>
                  <a:lnTo>
                    <a:pt x="901741" y="654704"/>
                  </a:lnTo>
                  <a:lnTo>
                    <a:pt x="903448" y="666656"/>
                  </a:lnTo>
                  <a:lnTo>
                    <a:pt x="887054" y="648441"/>
                  </a:lnTo>
                  <a:lnTo>
                    <a:pt x="887054" y="644798"/>
                  </a:lnTo>
                  <a:lnTo>
                    <a:pt x="898336" y="649029"/>
                  </a:lnTo>
                  <a:close/>
                  <a:moveTo>
                    <a:pt x="25501" y="633870"/>
                  </a:moveTo>
                  <a:lnTo>
                    <a:pt x="34608" y="633870"/>
                  </a:lnTo>
                  <a:lnTo>
                    <a:pt x="29144" y="644799"/>
                  </a:lnTo>
                  <a:lnTo>
                    <a:pt x="30965" y="644799"/>
                  </a:lnTo>
                  <a:lnTo>
                    <a:pt x="30965" y="648442"/>
                  </a:lnTo>
                  <a:lnTo>
                    <a:pt x="29144" y="648442"/>
                  </a:lnTo>
                  <a:lnTo>
                    <a:pt x="20036" y="655728"/>
                  </a:lnTo>
                  <a:lnTo>
                    <a:pt x="0" y="664836"/>
                  </a:lnTo>
                  <a:lnTo>
                    <a:pt x="0" y="661193"/>
                  </a:lnTo>
                  <a:lnTo>
                    <a:pt x="14572" y="644799"/>
                  </a:lnTo>
                  <a:lnTo>
                    <a:pt x="12750" y="637513"/>
                  </a:lnTo>
                  <a:lnTo>
                    <a:pt x="18215" y="637513"/>
                  </a:lnTo>
                  <a:close/>
                  <a:moveTo>
                    <a:pt x="887056" y="628405"/>
                  </a:moveTo>
                  <a:lnTo>
                    <a:pt x="890699" y="628405"/>
                  </a:lnTo>
                  <a:lnTo>
                    <a:pt x="892520" y="637513"/>
                  </a:lnTo>
                  <a:lnTo>
                    <a:pt x="892520" y="639334"/>
                  </a:lnTo>
                  <a:lnTo>
                    <a:pt x="885234" y="637513"/>
                  </a:lnTo>
                  <a:lnTo>
                    <a:pt x="881591" y="633870"/>
                  </a:lnTo>
                  <a:close/>
                  <a:moveTo>
                    <a:pt x="823304" y="626583"/>
                  </a:moveTo>
                  <a:lnTo>
                    <a:pt x="839697" y="626583"/>
                  </a:lnTo>
                  <a:lnTo>
                    <a:pt x="839697" y="632048"/>
                  </a:lnTo>
                  <a:lnTo>
                    <a:pt x="843340" y="626583"/>
                  </a:lnTo>
                  <a:lnTo>
                    <a:pt x="843340" y="628405"/>
                  </a:lnTo>
                  <a:lnTo>
                    <a:pt x="846983" y="637512"/>
                  </a:lnTo>
                  <a:lnTo>
                    <a:pt x="848804" y="632048"/>
                  </a:lnTo>
                  <a:lnTo>
                    <a:pt x="854269" y="626583"/>
                  </a:lnTo>
                  <a:lnTo>
                    <a:pt x="857912" y="626583"/>
                  </a:lnTo>
                  <a:lnTo>
                    <a:pt x="859733" y="633869"/>
                  </a:lnTo>
                  <a:lnTo>
                    <a:pt x="854269" y="659369"/>
                  </a:lnTo>
                  <a:lnTo>
                    <a:pt x="854269" y="661191"/>
                  </a:lnTo>
                  <a:lnTo>
                    <a:pt x="854257" y="661200"/>
                  </a:lnTo>
                  <a:lnTo>
                    <a:pt x="854269" y="661192"/>
                  </a:lnTo>
                  <a:lnTo>
                    <a:pt x="854269" y="664835"/>
                  </a:lnTo>
                  <a:lnTo>
                    <a:pt x="857912" y="664835"/>
                  </a:lnTo>
                  <a:lnTo>
                    <a:pt x="859733" y="670300"/>
                  </a:lnTo>
                  <a:lnTo>
                    <a:pt x="859733" y="672121"/>
                  </a:lnTo>
                  <a:lnTo>
                    <a:pt x="857912" y="672121"/>
                  </a:lnTo>
                  <a:lnTo>
                    <a:pt x="859733" y="675764"/>
                  </a:lnTo>
                  <a:lnTo>
                    <a:pt x="859733" y="677585"/>
                  </a:lnTo>
                  <a:lnTo>
                    <a:pt x="854269" y="677585"/>
                  </a:lnTo>
                  <a:lnTo>
                    <a:pt x="854269" y="686693"/>
                  </a:lnTo>
                  <a:lnTo>
                    <a:pt x="868841" y="706729"/>
                  </a:lnTo>
                  <a:lnTo>
                    <a:pt x="846983" y="686693"/>
                  </a:lnTo>
                  <a:lnTo>
                    <a:pt x="846983" y="681228"/>
                  </a:lnTo>
                  <a:lnTo>
                    <a:pt x="843340" y="681228"/>
                  </a:lnTo>
                  <a:lnTo>
                    <a:pt x="843340" y="672121"/>
                  </a:lnTo>
                  <a:lnTo>
                    <a:pt x="841518" y="672121"/>
                  </a:lnTo>
                  <a:lnTo>
                    <a:pt x="841518" y="670300"/>
                  </a:lnTo>
                  <a:lnTo>
                    <a:pt x="841520" y="670298"/>
                  </a:lnTo>
                  <a:lnTo>
                    <a:pt x="841519" y="670298"/>
                  </a:lnTo>
                  <a:lnTo>
                    <a:pt x="839697" y="659369"/>
                  </a:lnTo>
                  <a:lnTo>
                    <a:pt x="841519" y="655726"/>
                  </a:lnTo>
                  <a:lnTo>
                    <a:pt x="830590" y="650262"/>
                  </a:lnTo>
                  <a:lnTo>
                    <a:pt x="823304" y="633869"/>
                  </a:lnTo>
                  <a:close/>
                  <a:moveTo>
                    <a:pt x="40072" y="621119"/>
                  </a:moveTo>
                  <a:lnTo>
                    <a:pt x="41893" y="621119"/>
                  </a:lnTo>
                  <a:lnTo>
                    <a:pt x="47358" y="628405"/>
                  </a:lnTo>
                  <a:lnTo>
                    <a:pt x="41893" y="628405"/>
                  </a:lnTo>
                  <a:lnTo>
                    <a:pt x="40072" y="632048"/>
                  </a:lnTo>
                  <a:lnTo>
                    <a:pt x="36429" y="632048"/>
                  </a:lnTo>
                  <a:lnTo>
                    <a:pt x="36429" y="628405"/>
                  </a:lnTo>
                  <a:lnTo>
                    <a:pt x="40072" y="622941"/>
                  </a:lnTo>
                  <a:close/>
                  <a:moveTo>
                    <a:pt x="96539" y="588333"/>
                  </a:moveTo>
                  <a:lnTo>
                    <a:pt x="109289" y="602905"/>
                  </a:lnTo>
                  <a:lnTo>
                    <a:pt x="109289" y="604726"/>
                  </a:lnTo>
                  <a:lnTo>
                    <a:pt x="107468" y="604726"/>
                  </a:lnTo>
                  <a:lnTo>
                    <a:pt x="85610" y="608369"/>
                  </a:lnTo>
                  <a:lnTo>
                    <a:pt x="78324" y="617476"/>
                  </a:lnTo>
                  <a:lnTo>
                    <a:pt x="74681" y="617476"/>
                  </a:lnTo>
                  <a:lnTo>
                    <a:pt x="63752" y="610190"/>
                  </a:lnTo>
                  <a:lnTo>
                    <a:pt x="63752" y="608369"/>
                  </a:lnTo>
                  <a:lnTo>
                    <a:pt x="74681" y="593797"/>
                  </a:lnTo>
                  <a:close/>
                  <a:moveTo>
                    <a:pt x="163932" y="575583"/>
                  </a:moveTo>
                  <a:lnTo>
                    <a:pt x="165753" y="575583"/>
                  </a:lnTo>
                  <a:lnTo>
                    <a:pt x="169396" y="577405"/>
                  </a:lnTo>
                  <a:lnTo>
                    <a:pt x="171218" y="586512"/>
                  </a:lnTo>
                  <a:lnTo>
                    <a:pt x="163932" y="586512"/>
                  </a:lnTo>
                  <a:close/>
                  <a:moveTo>
                    <a:pt x="870662" y="553725"/>
                  </a:moveTo>
                  <a:lnTo>
                    <a:pt x="879769" y="586511"/>
                  </a:lnTo>
                  <a:lnTo>
                    <a:pt x="876126" y="586511"/>
                  </a:lnTo>
                  <a:lnTo>
                    <a:pt x="865197" y="582868"/>
                  </a:lnTo>
                  <a:lnTo>
                    <a:pt x="865197" y="575582"/>
                  </a:lnTo>
                  <a:lnTo>
                    <a:pt x="863376" y="581047"/>
                  </a:lnTo>
                  <a:lnTo>
                    <a:pt x="859733" y="581047"/>
                  </a:lnTo>
                  <a:lnTo>
                    <a:pt x="854268" y="575582"/>
                  </a:lnTo>
                  <a:lnTo>
                    <a:pt x="857911" y="559189"/>
                  </a:lnTo>
                  <a:lnTo>
                    <a:pt x="857911" y="555546"/>
                  </a:lnTo>
                  <a:lnTo>
                    <a:pt x="859733" y="555546"/>
                  </a:lnTo>
                  <a:close/>
                  <a:moveTo>
                    <a:pt x="218576" y="537332"/>
                  </a:moveTo>
                  <a:lnTo>
                    <a:pt x="220397" y="537332"/>
                  </a:lnTo>
                  <a:lnTo>
                    <a:pt x="225862" y="542797"/>
                  </a:lnTo>
                  <a:lnTo>
                    <a:pt x="224040" y="553726"/>
                  </a:lnTo>
                  <a:lnTo>
                    <a:pt x="220397" y="553726"/>
                  </a:lnTo>
                  <a:lnTo>
                    <a:pt x="218576" y="539154"/>
                  </a:lnTo>
                  <a:close/>
                  <a:moveTo>
                    <a:pt x="812374" y="535510"/>
                  </a:moveTo>
                  <a:lnTo>
                    <a:pt x="817838" y="535510"/>
                  </a:lnTo>
                  <a:lnTo>
                    <a:pt x="823303" y="537331"/>
                  </a:lnTo>
                  <a:lnTo>
                    <a:pt x="825124" y="537331"/>
                  </a:lnTo>
                  <a:lnTo>
                    <a:pt x="825124" y="548260"/>
                  </a:lnTo>
                  <a:lnTo>
                    <a:pt x="834231" y="548260"/>
                  </a:lnTo>
                  <a:lnTo>
                    <a:pt x="846982" y="571939"/>
                  </a:lnTo>
                  <a:lnTo>
                    <a:pt x="846982" y="575582"/>
                  </a:lnTo>
                  <a:lnTo>
                    <a:pt x="841517" y="571939"/>
                  </a:lnTo>
                  <a:lnTo>
                    <a:pt x="843339" y="577404"/>
                  </a:lnTo>
                  <a:lnTo>
                    <a:pt x="852446" y="582868"/>
                  </a:lnTo>
                  <a:lnTo>
                    <a:pt x="852446" y="586511"/>
                  </a:lnTo>
                  <a:lnTo>
                    <a:pt x="848803" y="591976"/>
                  </a:lnTo>
                  <a:lnTo>
                    <a:pt x="852446" y="591976"/>
                  </a:lnTo>
                  <a:lnTo>
                    <a:pt x="852446" y="604726"/>
                  </a:lnTo>
                  <a:lnTo>
                    <a:pt x="843339" y="604726"/>
                  </a:lnTo>
                  <a:lnTo>
                    <a:pt x="836053" y="586511"/>
                  </a:lnTo>
                  <a:lnTo>
                    <a:pt x="823304" y="581047"/>
                  </a:lnTo>
                  <a:lnTo>
                    <a:pt x="834232" y="602904"/>
                  </a:lnTo>
                  <a:lnTo>
                    <a:pt x="834232" y="604726"/>
                  </a:lnTo>
                  <a:lnTo>
                    <a:pt x="830589" y="604726"/>
                  </a:lnTo>
                  <a:lnTo>
                    <a:pt x="823303" y="593797"/>
                  </a:lnTo>
                  <a:lnTo>
                    <a:pt x="823303" y="581047"/>
                  </a:lnTo>
                  <a:lnTo>
                    <a:pt x="823303" y="577404"/>
                  </a:lnTo>
                  <a:lnTo>
                    <a:pt x="828767" y="575582"/>
                  </a:lnTo>
                  <a:lnTo>
                    <a:pt x="828767" y="570118"/>
                  </a:lnTo>
                  <a:lnTo>
                    <a:pt x="817838" y="566475"/>
                  </a:lnTo>
                  <a:lnTo>
                    <a:pt x="819660" y="548260"/>
                  </a:lnTo>
                  <a:lnTo>
                    <a:pt x="812374" y="555546"/>
                  </a:lnTo>
                  <a:lnTo>
                    <a:pt x="808731" y="555546"/>
                  </a:lnTo>
                  <a:lnTo>
                    <a:pt x="808731" y="553725"/>
                  </a:lnTo>
                  <a:lnTo>
                    <a:pt x="814195" y="542796"/>
                  </a:lnTo>
                  <a:lnTo>
                    <a:pt x="812374" y="537331"/>
                  </a:lnTo>
                  <a:close/>
                  <a:moveTo>
                    <a:pt x="841517" y="531867"/>
                  </a:moveTo>
                  <a:lnTo>
                    <a:pt x="843339" y="531867"/>
                  </a:lnTo>
                  <a:lnTo>
                    <a:pt x="848803" y="537332"/>
                  </a:lnTo>
                  <a:lnTo>
                    <a:pt x="848803" y="544618"/>
                  </a:lnTo>
                  <a:lnTo>
                    <a:pt x="846982" y="542796"/>
                  </a:lnTo>
                  <a:close/>
                  <a:moveTo>
                    <a:pt x="825125" y="531867"/>
                  </a:moveTo>
                  <a:lnTo>
                    <a:pt x="836054" y="531867"/>
                  </a:lnTo>
                  <a:lnTo>
                    <a:pt x="834233" y="539153"/>
                  </a:lnTo>
                  <a:lnTo>
                    <a:pt x="830590" y="539153"/>
                  </a:lnTo>
                  <a:lnTo>
                    <a:pt x="825125" y="535510"/>
                  </a:lnTo>
                  <a:close/>
                  <a:moveTo>
                    <a:pt x="309649" y="526403"/>
                  </a:moveTo>
                  <a:lnTo>
                    <a:pt x="315114" y="530046"/>
                  </a:lnTo>
                  <a:lnTo>
                    <a:pt x="315114" y="531868"/>
                  </a:lnTo>
                  <a:lnTo>
                    <a:pt x="311471" y="535511"/>
                  </a:lnTo>
                  <a:lnTo>
                    <a:pt x="309649" y="535511"/>
                  </a:lnTo>
                  <a:close/>
                  <a:moveTo>
                    <a:pt x="806910" y="502724"/>
                  </a:moveTo>
                  <a:lnTo>
                    <a:pt x="808731" y="502724"/>
                  </a:lnTo>
                  <a:lnTo>
                    <a:pt x="812374" y="504545"/>
                  </a:lnTo>
                  <a:lnTo>
                    <a:pt x="819660" y="504545"/>
                  </a:lnTo>
                  <a:lnTo>
                    <a:pt x="823303" y="508188"/>
                  </a:lnTo>
                  <a:lnTo>
                    <a:pt x="825125" y="508188"/>
                  </a:lnTo>
                  <a:lnTo>
                    <a:pt x="828768" y="520938"/>
                  </a:lnTo>
                  <a:lnTo>
                    <a:pt x="828768" y="524580"/>
                  </a:lnTo>
                  <a:lnTo>
                    <a:pt x="830590" y="519116"/>
                  </a:lnTo>
                  <a:lnTo>
                    <a:pt x="830590" y="515473"/>
                  </a:lnTo>
                  <a:lnTo>
                    <a:pt x="834233" y="515473"/>
                  </a:lnTo>
                  <a:lnTo>
                    <a:pt x="834233" y="519116"/>
                  </a:lnTo>
                  <a:lnTo>
                    <a:pt x="836054" y="526402"/>
                  </a:lnTo>
                  <a:lnTo>
                    <a:pt x="828768" y="526402"/>
                  </a:lnTo>
                  <a:lnTo>
                    <a:pt x="828768" y="524581"/>
                  </a:lnTo>
                  <a:lnTo>
                    <a:pt x="823303" y="519117"/>
                  </a:lnTo>
                  <a:lnTo>
                    <a:pt x="825125" y="530045"/>
                  </a:lnTo>
                  <a:lnTo>
                    <a:pt x="825125" y="531867"/>
                  </a:lnTo>
                  <a:lnTo>
                    <a:pt x="812374" y="531867"/>
                  </a:lnTo>
                  <a:lnTo>
                    <a:pt x="808732" y="519726"/>
                  </a:lnTo>
                  <a:lnTo>
                    <a:pt x="808732" y="526402"/>
                  </a:lnTo>
                  <a:lnTo>
                    <a:pt x="806910" y="526402"/>
                  </a:lnTo>
                  <a:lnTo>
                    <a:pt x="806910" y="548260"/>
                  </a:lnTo>
                  <a:lnTo>
                    <a:pt x="803267" y="548260"/>
                  </a:lnTo>
                  <a:lnTo>
                    <a:pt x="803267" y="544617"/>
                  </a:lnTo>
                  <a:lnTo>
                    <a:pt x="797803" y="539153"/>
                  </a:lnTo>
                  <a:lnTo>
                    <a:pt x="797803" y="530045"/>
                  </a:lnTo>
                  <a:lnTo>
                    <a:pt x="801446" y="530045"/>
                  </a:lnTo>
                  <a:lnTo>
                    <a:pt x="792338" y="513652"/>
                  </a:lnTo>
                  <a:lnTo>
                    <a:pt x="806910" y="515473"/>
                  </a:lnTo>
                  <a:lnTo>
                    <a:pt x="807456" y="515473"/>
                  </a:lnTo>
                  <a:lnTo>
                    <a:pt x="806910" y="513652"/>
                  </a:lnTo>
                  <a:lnTo>
                    <a:pt x="803267" y="504545"/>
                  </a:lnTo>
                  <a:lnTo>
                    <a:pt x="806910" y="504545"/>
                  </a:lnTo>
                  <a:close/>
                  <a:moveTo>
                    <a:pt x="344258" y="464473"/>
                  </a:moveTo>
                  <a:lnTo>
                    <a:pt x="347901" y="464473"/>
                  </a:lnTo>
                  <a:lnTo>
                    <a:pt x="355187" y="471759"/>
                  </a:lnTo>
                  <a:lnTo>
                    <a:pt x="360651" y="466295"/>
                  </a:lnTo>
                  <a:lnTo>
                    <a:pt x="364294" y="466295"/>
                  </a:lnTo>
                  <a:lnTo>
                    <a:pt x="364294" y="480866"/>
                  </a:lnTo>
                  <a:lnTo>
                    <a:pt x="371580" y="480866"/>
                  </a:lnTo>
                  <a:lnTo>
                    <a:pt x="371580" y="482688"/>
                  </a:lnTo>
                  <a:lnTo>
                    <a:pt x="369759" y="488152"/>
                  </a:lnTo>
                  <a:lnTo>
                    <a:pt x="366116" y="488152"/>
                  </a:lnTo>
                  <a:lnTo>
                    <a:pt x="355187" y="486331"/>
                  </a:lnTo>
                  <a:lnTo>
                    <a:pt x="360651" y="493617"/>
                  </a:lnTo>
                  <a:lnTo>
                    <a:pt x="360651" y="497260"/>
                  </a:lnTo>
                  <a:lnTo>
                    <a:pt x="355187" y="497260"/>
                  </a:lnTo>
                  <a:lnTo>
                    <a:pt x="353365" y="493617"/>
                  </a:lnTo>
                  <a:lnTo>
                    <a:pt x="347901" y="493617"/>
                  </a:lnTo>
                  <a:lnTo>
                    <a:pt x="331507" y="519117"/>
                  </a:lnTo>
                  <a:lnTo>
                    <a:pt x="327864" y="519117"/>
                  </a:lnTo>
                  <a:lnTo>
                    <a:pt x="327864" y="510010"/>
                  </a:lnTo>
                  <a:lnTo>
                    <a:pt x="326043" y="504545"/>
                  </a:lnTo>
                  <a:lnTo>
                    <a:pt x="326043" y="502724"/>
                  </a:lnTo>
                  <a:lnTo>
                    <a:pt x="322400" y="513653"/>
                  </a:lnTo>
                  <a:lnTo>
                    <a:pt x="322400" y="515474"/>
                  </a:lnTo>
                  <a:lnTo>
                    <a:pt x="320578" y="515474"/>
                  </a:lnTo>
                  <a:lnTo>
                    <a:pt x="320578" y="513653"/>
                  </a:lnTo>
                  <a:lnTo>
                    <a:pt x="307828" y="493617"/>
                  </a:lnTo>
                  <a:lnTo>
                    <a:pt x="307828" y="491795"/>
                  </a:lnTo>
                  <a:lnTo>
                    <a:pt x="322400" y="477223"/>
                  </a:lnTo>
                  <a:lnTo>
                    <a:pt x="326043" y="477223"/>
                  </a:lnTo>
                  <a:lnTo>
                    <a:pt x="331507" y="486331"/>
                  </a:lnTo>
                  <a:lnTo>
                    <a:pt x="333329" y="480866"/>
                  </a:lnTo>
                  <a:lnTo>
                    <a:pt x="327864" y="469938"/>
                  </a:lnTo>
                  <a:lnTo>
                    <a:pt x="331507" y="469938"/>
                  </a:lnTo>
                  <a:lnTo>
                    <a:pt x="338793" y="475402"/>
                  </a:lnTo>
                  <a:lnTo>
                    <a:pt x="347901" y="469938"/>
                  </a:lnTo>
                  <a:lnTo>
                    <a:pt x="344258" y="466295"/>
                  </a:lnTo>
                  <a:close/>
                  <a:moveTo>
                    <a:pt x="792338" y="457186"/>
                  </a:moveTo>
                  <a:lnTo>
                    <a:pt x="795981" y="457186"/>
                  </a:lnTo>
                  <a:lnTo>
                    <a:pt x="797802" y="460829"/>
                  </a:lnTo>
                  <a:lnTo>
                    <a:pt x="806910" y="491794"/>
                  </a:lnTo>
                  <a:lnTo>
                    <a:pt x="806910" y="493615"/>
                  </a:lnTo>
                  <a:lnTo>
                    <a:pt x="801445" y="491794"/>
                  </a:lnTo>
                  <a:lnTo>
                    <a:pt x="801445" y="499080"/>
                  </a:lnTo>
                  <a:lnTo>
                    <a:pt x="792338" y="508187"/>
                  </a:lnTo>
                  <a:lnTo>
                    <a:pt x="790516" y="508187"/>
                  </a:lnTo>
                  <a:lnTo>
                    <a:pt x="790516" y="491794"/>
                  </a:lnTo>
                  <a:lnTo>
                    <a:pt x="792338" y="488151"/>
                  </a:lnTo>
                  <a:lnTo>
                    <a:pt x="790516" y="486329"/>
                  </a:lnTo>
                  <a:lnTo>
                    <a:pt x="790516" y="482686"/>
                  </a:lnTo>
                  <a:lnTo>
                    <a:pt x="786873" y="482686"/>
                  </a:lnTo>
                  <a:lnTo>
                    <a:pt x="785052" y="460829"/>
                  </a:lnTo>
                  <a:lnTo>
                    <a:pt x="785052" y="459007"/>
                  </a:lnTo>
                  <a:close/>
                  <a:moveTo>
                    <a:pt x="757730" y="448080"/>
                  </a:moveTo>
                  <a:lnTo>
                    <a:pt x="775945" y="459009"/>
                  </a:lnTo>
                  <a:lnTo>
                    <a:pt x="781409" y="464473"/>
                  </a:lnTo>
                  <a:lnTo>
                    <a:pt x="781409" y="466294"/>
                  </a:lnTo>
                  <a:lnTo>
                    <a:pt x="775945" y="466294"/>
                  </a:lnTo>
                  <a:lnTo>
                    <a:pt x="779587" y="471759"/>
                  </a:lnTo>
                  <a:lnTo>
                    <a:pt x="775945" y="471759"/>
                  </a:lnTo>
                  <a:lnTo>
                    <a:pt x="781409" y="475402"/>
                  </a:lnTo>
                  <a:lnTo>
                    <a:pt x="781409" y="488152"/>
                  </a:lnTo>
                  <a:lnTo>
                    <a:pt x="779587" y="488152"/>
                  </a:lnTo>
                  <a:lnTo>
                    <a:pt x="763194" y="475402"/>
                  </a:lnTo>
                  <a:lnTo>
                    <a:pt x="764713" y="484510"/>
                  </a:lnTo>
                  <a:lnTo>
                    <a:pt x="765016" y="482687"/>
                  </a:lnTo>
                  <a:lnTo>
                    <a:pt x="768660" y="482687"/>
                  </a:lnTo>
                  <a:lnTo>
                    <a:pt x="781410" y="493616"/>
                  </a:lnTo>
                  <a:lnTo>
                    <a:pt x="790518" y="524581"/>
                  </a:lnTo>
                  <a:lnTo>
                    <a:pt x="786875" y="542796"/>
                  </a:lnTo>
                  <a:lnTo>
                    <a:pt x="785053" y="542796"/>
                  </a:lnTo>
                  <a:lnTo>
                    <a:pt x="779589" y="526403"/>
                  </a:lnTo>
                  <a:lnTo>
                    <a:pt x="779589" y="520938"/>
                  </a:lnTo>
                  <a:lnTo>
                    <a:pt x="770481" y="513652"/>
                  </a:lnTo>
                  <a:lnTo>
                    <a:pt x="768660" y="513652"/>
                  </a:lnTo>
                  <a:lnTo>
                    <a:pt x="774124" y="504545"/>
                  </a:lnTo>
                  <a:lnTo>
                    <a:pt x="763195" y="493616"/>
                  </a:lnTo>
                  <a:lnTo>
                    <a:pt x="763802" y="489971"/>
                  </a:lnTo>
                  <a:lnTo>
                    <a:pt x="763194" y="491795"/>
                  </a:lnTo>
                  <a:lnTo>
                    <a:pt x="761373" y="491795"/>
                  </a:lnTo>
                  <a:lnTo>
                    <a:pt x="746801" y="471759"/>
                  </a:lnTo>
                  <a:lnTo>
                    <a:pt x="750444" y="466294"/>
                  </a:lnTo>
                  <a:lnTo>
                    <a:pt x="744980" y="459009"/>
                  </a:lnTo>
                  <a:lnTo>
                    <a:pt x="744980" y="457187"/>
                  </a:lnTo>
                  <a:lnTo>
                    <a:pt x="746801" y="457187"/>
                  </a:lnTo>
                  <a:close/>
                  <a:moveTo>
                    <a:pt x="355186" y="442616"/>
                  </a:moveTo>
                  <a:lnTo>
                    <a:pt x="369758" y="442616"/>
                  </a:lnTo>
                  <a:lnTo>
                    <a:pt x="369758" y="446259"/>
                  </a:lnTo>
                  <a:lnTo>
                    <a:pt x="371580" y="446259"/>
                  </a:lnTo>
                  <a:lnTo>
                    <a:pt x="375223" y="453545"/>
                  </a:lnTo>
                  <a:lnTo>
                    <a:pt x="375223" y="457188"/>
                  </a:lnTo>
                  <a:lnTo>
                    <a:pt x="353365" y="460831"/>
                  </a:lnTo>
                  <a:lnTo>
                    <a:pt x="347900" y="457188"/>
                  </a:lnTo>
                  <a:lnTo>
                    <a:pt x="347900" y="453545"/>
                  </a:lnTo>
                  <a:lnTo>
                    <a:pt x="355186" y="451723"/>
                  </a:lnTo>
                  <a:lnTo>
                    <a:pt x="353365" y="448080"/>
                  </a:lnTo>
                  <a:close/>
                  <a:moveTo>
                    <a:pt x="488154" y="351542"/>
                  </a:moveTo>
                  <a:lnTo>
                    <a:pt x="489975" y="351542"/>
                  </a:lnTo>
                  <a:lnTo>
                    <a:pt x="495440" y="357006"/>
                  </a:lnTo>
                  <a:lnTo>
                    <a:pt x="495440" y="358828"/>
                  </a:lnTo>
                  <a:lnTo>
                    <a:pt x="482689" y="378863"/>
                  </a:lnTo>
                  <a:lnTo>
                    <a:pt x="471760" y="380685"/>
                  </a:lnTo>
                  <a:lnTo>
                    <a:pt x="468117" y="380685"/>
                  </a:lnTo>
                  <a:lnTo>
                    <a:pt x="473582" y="373399"/>
                  </a:lnTo>
                  <a:close/>
                  <a:moveTo>
                    <a:pt x="36430" y="351542"/>
                  </a:moveTo>
                  <a:lnTo>
                    <a:pt x="51001" y="357006"/>
                  </a:lnTo>
                  <a:lnTo>
                    <a:pt x="52823" y="357006"/>
                  </a:lnTo>
                  <a:lnTo>
                    <a:pt x="52823" y="369756"/>
                  </a:lnTo>
                  <a:lnTo>
                    <a:pt x="40073" y="384328"/>
                  </a:lnTo>
                  <a:lnTo>
                    <a:pt x="14572" y="373399"/>
                  </a:lnTo>
                  <a:lnTo>
                    <a:pt x="3643" y="362471"/>
                  </a:lnTo>
                  <a:lnTo>
                    <a:pt x="3643" y="358828"/>
                  </a:lnTo>
                  <a:close/>
                  <a:moveTo>
                    <a:pt x="500904" y="346077"/>
                  </a:moveTo>
                  <a:lnTo>
                    <a:pt x="504547" y="346077"/>
                  </a:lnTo>
                  <a:lnTo>
                    <a:pt x="515476" y="351541"/>
                  </a:lnTo>
                  <a:lnTo>
                    <a:pt x="515476" y="353363"/>
                  </a:lnTo>
                  <a:lnTo>
                    <a:pt x="499082" y="353363"/>
                  </a:lnTo>
                  <a:lnTo>
                    <a:pt x="499082" y="351541"/>
                  </a:lnTo>
                  <a:lnTo>
                    <a:pt x="500904" y="347898"/>
                  </a:lnTo>
                  <a:close/>
                  <a:moveTo>
                    <a:pt x="67395" y="329685"/>
                  </a:moveTo>
                  <a:lnTo>
                    <a:pt x="85609" y="342436"/>
                  </a:lnTo>
                  <a:lnTo>
                    <a:pt x="74680" y="353365"/>
                  </a:lnTo>
                  <a:lnTo>
                    <a:pt x="72859" y="353365"/>
                  </a:lnTo>
                  <a:lnTo>
                    <a:pt x="58287" y="340614"/>
                  </a:lnTo>
                  <a:lnTo>
                    <a:pt x="56466" y="340614"/>
                  </a:lnTo>
                  <a:close/>
                  <a:moveTo>
                    <a:pt x="74681" y="216754"/>
                  </a:moveTo>
                  <a:lnTo>
                    <a:pt x="78324" y="216754"/>
                  </a:lnTo>
                  <a:lnTo>
                    <a:pt x="81967" y="218575"/>
                  </a:lnTo>
                  <a:lnTo>
                    <a:pt x="81967" y="231326"/>
                  </a:lnTo>
                  <a:lnTo>
                    <a:pt x="80145" y="231326"/>
                  </a:lnTo>
                  <a:lnTo>
                    <a:pt x="69216" y="236791"/>
                  </a:lnTo>
                  <a:lnTo>
                    <a:pt x="67395" y="236791"/>
                  </a:lnTo>
                  <a:lnTo>
                    <a:pt x="67395" y="227683"/>
                  </a:lnTo>
                  <a:close/>
                  <a:moveTo>
                    <a:pt x="125682" y="0"/>
                  </a:moveTo>
                  <a:lnTo>
                    <a:pt x="129325" y="0"/>
                  </a:lnTo>
                  <a:lnTo>
                    <a:pt x="140254" y="10930"/>
                  </a:lnTo>
                  <a:lnTo>
                    <a:pt x="140254" y="12751"/>
                  </a:lnTo>
                  <a:lnTo>
                    <a:pt x="129325" y="12751"/>
                  </a:lnTo>
                  <a:lnTo>
                    <a:pt x="125682" y="18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8" name="USA - Mainland">
              <a:extLst>
                <a:ext uri="{FF2B5EF4-FFF2-40B4-BE49-F238E27FC236}">
                  <a16:creationId xmlns:a16="http://schemas.microsoft.com/office/drawing/2014/main" id="{865F62A2-B420-3FDB-525D-44338F80015C}"/>
                </a:ext>
              </a:extLst>
            </p:cNvPr>
            <p:cNvSpPr>
              <a:spLocks noEditPoints="1"/>
            </p:cNvSpPr>
            <p:nvPr/>
          </p:nvSpPr>
          <p:spPr bwMode="auto">
            <a:xfrm>
              <a:off x="2885754" y="3250181"/>
              <a:ext cx="1360718" cy="728247"/>
            </a:xfrm>
            <a:custGeom>
              <a:avLst/>
              <a:gdLst>
                <a:gd name="T0" fmla="*/ 162 w 753"/>
                <a:gd name="T1" fmla="*/ 160 h 403"/>
                <a:gd name="T2" fmla="*/ 151 w 753"/>
                <a:gd name="T3" fmla="*/ 144 h 403"/>
                <a:gd name="T4" fmla="*/ 393 w 753"/>
                <a:gd name="T5" fmla="*/ 13 h 403"/>
                <a:gd name="T6" fmla="*/ 436 w 753"/>
                <a:gd name="T7" fmla="*/ 43 h 403"/>
                <a:gd name="T8" fmla="*/ 481 w 753"/>
                <a:gd name="T9" fmla="*/ 37 h 403"/>
                <a:gd name="T10" fmla="*/ 488 w 753"/>
                <a:gd name="T11" fmla="*/ 56 h 403"/>
                <a:gd name="T12" fmla="*/ 526 w 753"/>
                <a:gd name="T13" fmla="*/ 56 h 403"/>
                <a:gd name="T14" fmla="*/ 519 w 753"/>
                <a:gd name="T15" fmla="*/ 69 h 403"/>
                <a:gd name="T16" fmla="*/ 481 w 753"/>
                <a:gd name="T17" fmla="*/ 90 h 403"/>
                <a:gd name="T18" fmla="*/ 485 w 753"/>
                <a:gd name="T19" fmla="*/ 93 h 403"/>
                <a:gd name="T20" fmla="*/ 500 w 753"/>
                <a:gd name="T21" fmla="*/ 127 h 403"/>
                <a:gd name="T22" fmla="*/ 509 w 753"/>
                <a:gd name="T23" fmla="*/ 86 h 403"/>
                <a:gd name="T24" fmla="*/ 525 w 753"/>
                <a:gd name="T25" fmla="*/ 71 h 403"/>
                <a:gd name="T26" fmla="*/ 534 w 753"/>
                <a:gd name="T27" fmla="*/ 108 h 403"/>
                <a:gd name="T28" fmla="*/ 549 w 753"/>
                <a:gd name="T29" fmla="*/ 127 h 403"/>
                <a:gd name="T30" fmla="*/ 543 w 753"/>
                <a:gd name="T31" fmla="*/ 145 h 403"/>
                <a:gd name="T32" fmla="*/ 623 w 753"/>
                <a:gd name="T33" fmla="*/ 114 h 403"/>
                <a:gd name="T34" fmla="*/ 638 w 753"/>
                <a:gd name="T35" fmla="*/ 92 h 403"/>
                <a:gd name="T36" fmla="*/ 721 w 753"/>
                <a:gd name="T37" fmla="*/ 38 h 403"/>
                <a:gd name="T38" fmla="*/ 743 w 753"/>
                <a:gd name="T39" fmla="*/ 71 h 403"/>
                <a:gd name="T40" fmla="*/ 752 w 753"/>
                <a:gd name="T41" fmla="*/ 86 h 403"/>
                <a:gd name="T42" fmla="*/ 727 w 753"/>
                <a:gd name="T43" fmla="*/ 104 h 403"/>
                <a:gd name="T44" fmla="*/ 713 w 753"/>
                <a:gd name="T45" fmla="*/ 139 h 403"/>
                <a:gd name="T46" fmla="*/ 706 w 753"/>
                <a:gd name="T47" fmla="*/ 145 h 403"/>
                <a:gd name="T48" fmla="*/ 660 w 753"/>
                <a:gd name="T49" fmla="*/ 161 h 403"/>
                <a:gd name="T50" fmla="*/ 650 w 753"/>
                <a:gd name="T51" fmla="*/ 187 h 403"/>
                <a:gd name="T52" fmla="*/ 639 w 753"/>
                <a:gd name="T53" fmla="*/ 207 h 403"/>
                <a:gd name="T54" fmla="*/ 635 w 753"/>
                <a:gd name="T55" fmla="*/ 182 h 403"/>
                <a:gd name="T56" fmla="*/ 632 w 753"/>
                <a:gd name="T57" fmla="*/ 209 h 403"/>
                <a:gd name="T58" fmla="*/ 632 w 753"/>
                <a:gd name="T59" fmla="*/ 224 h 403"/>
                <a:gd name="T60" fmla="*/ 630 w 753"/>
                <a:gd name="T61" fmla="*/ 238 h 403"/>
                <a:gd name="T62" fmla="*/ 636 w 753"/>
                <a:gd name="T63" fmla="*/ 240 h 403"/>
                <a:gd name="T64" fmla="*/ 629 w 753"/>
                <a:gd name="T65" fmla="*/ 247 h 403"/>
                <a:gd name="T66" fmla="*/ 630 w 753"/>
                <a:gd name="T67" fmla="*/ 259 h 403"/>
                <a:gd name="T68" fmla="*/ 574 w 753"/>
                <a:gd name="T69" fmla="*/ 293 h 403"/>
                <a:gd name="T70" fmla="*/ 581 w 753"/>
                <a:gd name="T71" fmla="*/ 390 h 403"/>
                <a:gd name="T72" fmla="*/ 555 w 753"/>
                <a:gd name="T73" fmla="*/ 378 h 403"/>
                <a:gd name="T74" fmla="*/ 529 w 753"/>
                <a:gd name="T75" fmla="*/ 330 h 403"/>
                <a:gd name="T76" fmla="*/ 489 w 753"/>
                <a:gd name="T77" fmla="*/ 324 h 403"/>
                <a:gd name="T78" fmla="*/ 448 w 753"/>
                <a:gd name="T79" fmla="*/ 327 h 403"/>
                <a:gd name="T80" fmla="*/ 457 w 753"/>
                <a:gd name="T81" fmla="*/ 338 h 403"/>
                <a:gd name="T82" fmla="*/ 441 w 753"/>
                <a:gd name="T83" fmla="*/ 345 h 403"/>
                <a:gd name="T84" fmla="*/ 389 w 753"/>
                <a:gd name="T85" fmla="*/ 339 h 403"/>
                <a:gd name="T86" fmla="*/ 368 w 753"/>
                <a:gd name="T87" fmla="*/ 353 h 403"/>
                <a:gd name="T88" fmla="*/ 356 w 753"/>
                <a:gd name="T89" fmla="*/ 373 h 403"/>
                <a:gd name="T90" fmla="*/ 325 w 753"/>
                <a:gd name="T91" fmla="*/ 367 h 403"/>
                <a:gd name="T92" fmla="*/ 277 w 753"/>
                <a:gd name="T93" fmla="*/ 348 h 403"/>
                <a:gd name="T94" fmla="*/ 214 w 753"/>
                <a:gd name="T95" fmla="*/ 313 h 403"/>
                <a:gd name="T96" fmla="*/ 101 w 753"/>
                <a:gd name="T97" fmla="*/ 295 h 403"/>
                <a:gd name="T98" fmla="*/ 80 w 753"/>
                <a:gd name="T99" fmla="*/ 271 h 403"/>
                <a:gd name="T100" fmla="*/ 28 w 753"/>
                <a:gd name="T101" fmla="*/ 212 h 403"/>
                <a:gd name="T102" fmla="*/ 28 w 753"/>
                <a:gd name="T103" fmla="*/ 207 h 403"/>
                <a:gd name="T104" fmla="*/ 5 w 753"/>
                <a:gd name="T105" fmla="*/ 167 h 403"/>
                <a:gd name="T106" fmla="*/ 9 w 753"/>
                <a:gd name="T107" fmla="*/ 64 h 403"/>
                <a:gd name="T108" fmla="*/ 9 w 753"/>
                <a:gd name="T109" fmla="*/ 53 h 403"/>
                <a:gd name="T110" fmla="*/ 6 w 753"/>
                <a:gd name="T111" fmla="*/ 46 h 403"/>
                <a:gd name="T112" fmla="*/ 23 w 753"/>
                <a:gd name="T113" fmla="*/ 35 h 403"/>
                <a:gd name="T114" fmla="*/ 30 w 753"/>
                <a:gd name="T115" fmla="*/ 1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3" h="403">
                  <a:moveTo>
                    <a:pt x="160" y="147"/>
                  </a:moveTo>
                  <a:lnTo>
                    <a:pt x="160" y="151"/>
                  </a:lnTo>
                  <a:lnTo>
                    <a:pt x="159" y="151"/>
                  </a:lnTo>
                  <a:lnTo>
                    <a:pt x="156" y="149"/>
                  </a:lnTo>
                  <a:lnTo>
                    <a:pt x="160" y="157"/>
                  </a:lnTo>
                  <a:lnTo>
                    <a:pt x="162" y="160"/>
                  </a:lnTo>
                  <a:lnTo>
                    <a:pt x="165" y="158"/>
                  </a:lnTo>
                  <a:lnTo>
                    <a:pt x="166" y="157"/>
                  </a:lnTo>
                  <a:lnTo>
                    <a:pt x="162" y="152"/>
                  </a:lnTo>
                  <a:lnTo>
                    <a:pt x="163" y="148"/>
                  </a:lnTo>
                  <a:lnTo>
                    <a:pt x="160" y="147"/>
                  </a:lnTo>
                  <a:close/>
                  <a:moveTo>
                    <a:pt x="151" y="144"/>
                  </a:moveTo>
                  <a:lnTo>
                    <a:pt x="154" y="148"/>
                  </a:lnTo>
                  <a:lnTo>
                    <a:pt x="156" y="145"/>
                  </a:lnTo>
                  <a:lnTo>
                    <a:pt x="151" y="144"/>
                  </a:lnTo>
                  <a:close/>
                  <a:moveTo>
                    <a:pt x="384" y="0"/>
                  </a:moveTo>
                  <a:lnTo>
                    <a:pt x="386" y="0"/>
                  </a:lnTo>
                  <a:lnTo>
                    <a:pt x="393" y="13"/>
                  </a:lnTo>
                  <a:lnTo>
                    <a:pt x="415" y="15"/>
                  </a:lnTo>
                  <a:lnTo>
                    <a:pt x="435" y="25"/>
                  </a:lnTo>
                  <a:lnTo>
                    <a:pt x="441" y="23"/>
                  </a:lnTo>
                  <a:lnTo>
                    <a:pt x="455" y="28"/>
                  </a:lnTo>
                  <a:lnTo>
                    <a:pt x="455" y="29"/>
                  </a:lnTo>
                  <a:lnTo>
                    <a:pt x="436" y="43"/>
                  </a:lnTo>
                  <a:lnTo>
                    <a:pt x="427" y="53"/>
                  </a:lnTo>
                  <a:lnTo>
                    <a:pt x="439" y="49"/>
                  </a:lnTo>
                  <a:lnTo>
                    <a:pt x="441" y="49"/>
                  </a:lnTo>
                  <a:lnTo>
                    <a:pt x="441" y="55"/>
                  </a:lnTo>
                  <a:lnTo>
                    <a:pt x="449" y="55"/>
                  </a:lnTo>
                  <a:lnTo>
                    <a:pt x="481" y="37"/>
                  </a:lnTo>
                  <a:lnTo>
                    <a:pt x="481" y="38"/>
                  </a:lnTo>
                  <a:lnTo>
                    <a:pt x="473" y="49"/>
                  </a:lnTo>
                  <a:lnTo>
                    <a:pt x="473" y="52"/>
                  </a:lnTo>
                  <a:lnTo>
                    <a:pt x="478" y="49"/>
                  </a:lnTo>
                  <a:lnTo>
                    <a:pt x="479" y="49"/>
                  </a:lnTo>
                  <a:lnTo>
                    <a:pt x="488" y="56"/>
                  </a:lnTo>
                  <a:lnTo>
                    <a:pt x="495" y="58"/>
                  </a:lnTo>
                  <a:lnTo>
                    <a:pt x="501" y="52"/>
                  </a:lnTo>
                  <a:lnTo>
                    <a:pt x="516" y="52"/>
                  </a:lnTo>
                  <a:lnTo>
                    <a:pt x="518" y="55"/>
                  </a:lnTo>
                  <a:lnTo>
                    <a:pt x="524" y="56"/>
                  </a:lnTo>
                  <a:lnTo>
                    <a:pt x="526" y="56"/>
                  </a:lnTo>
                  <a:lnTo>
                    <a:pt x="526" y="58"/>
                  </a:lnTo>
                  <a:lnTo>
                    <a:pt x="531" y="65"/>
                  </a:lnTo>
                  <a:lnTo>
                    <a:pt x="531" y="66"/>
                  </a:lnTo>
                  <a:lnTo>
                    <a:pt x="522" y="66"/>
                  </a:lnTo>
                  <a:lnTo>
                    <a:pt x="521" y="69"/>
                  </a:lnTo>
                  <a:lnTo>
                    <a:pt x="519" y="69"/>
                  </a:lnTo>
                  <a:lnTo>
                    <a:pt x="513" y="65"/>
                  </a:lnTo>
                  <a:lnTo>
                    <a:pt x="495" y="74"/>
                  </a:lnTo>
                  <a:lnTo>
                    <a:pt x="495" y="69"/>
                  </a:lnTo>
                  <a:lnTo>
                    <a:pt x="489" y="74"/>
                  </a:lnTo>
                  <a:lnTo>
                    <a:pt x="481" y="89"/>
                  </a:lnTo>
                  <a:lnTo>
                    <a:pt x="481" y="90"/>
                  </a:lnTo>
                  <a:lnTo>
                    <a:pt x="485" y="87"/>
                  </a:lnTo>
                  <a:lnTo>
                    <a:pt x="488" y="78"/>
                  </a:lnTo>
                  <a:lnTo>
                    <a:pt x="489" y="78"/>
                  </a:lnTo>
                  <a:lnTo>
                    <a:pt x="491" y="81"/>
                  </a:lnTo>
                  <a:lnTo>
                    <a:pt x="491" y="83"/>
                  </a:lnTo>
                  <a:lnTo>
                    <a:pt x="485" y="93"/>
                  </a:lnTo>
                  <a:lnTo>
                    <a:pt x="481" y="117"/>
                  </a:lnTo>
                  <a:lnTo>
                    <a:pt x="481" y="133"/>
                  </a:lnTo>
                  <a:lnTo>
                    <a:pt x="485" y="141"/>
                  </a:lnTo>
                  <a:lnTo>
                    <a:pt x="489" y="144"/>
                  </a:lnTo>
                  <a:lnTo>
                    <a:pt x="494" y="139"/>
                  </a:lnTo>
                  <a:lnTo>
                    <a:pt x="500" y="127"/>
                  </a:lnTo>
                  <a:lnTo>
                    <a:pt x="500" y="118"/>
                  </a:lnTo>
                  <a:lnTo>
                    <a:pt x="497" y="109"/>
                  </a:lnTo>
                  <a:lnTo>
                    <a:pt x="500" y="90"/>
                  </a:lnTo>
                  <a:lnTo>
                    <a:pt x="507" y="81"/>
                  </a:lnTo>
                  <a:lnTo>
                    <a:pt x="509" y="81"/>
                  </a:lnTo>
                  <a:lnTo>
                    <a:pt x="509" y="86"/>
                  </a:lnTo>
                  <a:lnTo>
                    <a:pt x="510" y="86"/>
                  </a:lnTo>
                  <a:lnTo>
                    <a:pt x="510" y="78"/>
                  </a:lnTo>
                  <a:lnTo>
                    <a:pt x="512" y="78"/>
                  </a:lnTo>
                  <a:lnTo>
                    <a:pt x="516" y="77"/>
                  </a:lnTo>
                  <a:lnTo>
                    <a:pt x="516" y="71"/>
                  </a:lnTo>
                  <a:lnTo>
                    <a:pt x="525" y="71"/>
                  </a:lnTo>
                  <a:lnTo>
                    <a:pt x="537" y="78"/>
                  </a:lnTo>
                  <a:lnTo>
                    <a:pt x="538" y="78"/>
                  </a:lnTo>
                  <a:lnTo>
                    <a:pt x="538" y="80"/>
                  </a:lnTo>
                  <a:lnTo>
                    <a:pt x="540" y="95"/>
                  </a:lnTo>
                  <a:lnTo>
                    <a:pt x="532" y="106"/>
                  </a:lnTo>
                  <a:lnTo>
                    <a:pt x="534" y="108"/>
                  </a:lnTo>
                  <a:lnTo>
                    <a:pt x="538" y="104"/>
                  </a:lnTo>
                  <a:lnTo>
                    <a:pt x="544" y="101"/>
                  </a:lnTo>
                  <a:lnTo>
                    <a:pt x="546" y="101"/>
                  </a:lnTo>
                  <a:lnTo>
                    <a:pt x="546" y="102"/>
                  </a:lnTo>
                  <a:lnTo>
                    <a:pt x="552" y="120"/>
                  </a:lnTo>
                  <a:lnTo>
                    <a:pt x="549" y="127"/>
                  </a:lnTo>
                  <a:lnTo>
                    <a:pt x="549" y="129"/>
                  </a:lnTo>
                  <a:lnTo>
                    <a:pt x="547" y="129"/>
                  </a:lnTo>
                  <a:lnTo>
                    <a:pt x="546" y="132"/>
                  </a:lnTo>
                  <a:lnTo>
                    <a:pt x="543" y="139"/>
                  </a:lnTo>
                  <a:lnTo>
                    <a:pt x="538" y="144"/>
                  </a:lnTo>
                  <a:lnTo>
                    <a:pt x="543" y="145"/>
                  </a:lnTo>
                  <a:lnTo>
                    <a:pt x="559" y="145"/>
                  </a:lnTo>
                  <a:lnTo>
                    <a:pt x="583" y="135"/>
                  </a:lnTo>
                  <a:lnTo>
                    <a:pt x="596" y="124"/>
                  </a:lnTo>
                  <a:lnTo>
                    <a:pt x="595" y="117"/>
                  </a:lnTo>
                  <a:lnTo>
                    <a:pt x="607" y="112"/>
                  </a:lnTo>
                  <a:lnTo>
                    <a:pt x="623" y="114"/>
                  </a:lnTo>
                  <a:lnTo>
                    <a:pt x="632" y="111"/>
                  </a:lnTo>
                  <a:lnTo>
                    <a:pt x="632" y="105"/>
                  </a:lnTo>
                  <a:lnTo>
                    <a:pt x="633" y="102"/>
                  </a:lnTo>
                  <a:lnTo>
                    <a:pt x="630" y="102"/>
                  </a:lnTo>
                  <a:lnTo>
                    <a:pt x="630" y="101"/>
                  </a:lnTo>
                  <a:lnTo>
                    <a:pt x="638" y="92"/>
                  </a:lnTo>
                  <a:lnTo>
                    <a:pt x="648" y="84"/>
                  </a:lnTo>
                  <a:lnTo>
                    <a:pt x="692" y="84"/>
                  </a:lnTo>
                  <a:lnTo>
                    <a:pt x="695" y="80"/>
                  </a:lnTo>
                  <a:lnTo>
                    <a:pt x="704" y="78"/>
                  </a:lnTo>
                  <a:lnTo>
                    <a:pt x="713" y="50"/>
                  </a:lnTo>
                  <a:lnTo>
                    <a:pt x="721" y="38"/>
                  </a:lnTo>
                  <a:lnTo>
                    <a:pt x="722" y="38"/>
                  </a:lnTo>
                  <a:lnTo>
                    <a:pt x="728" y="43"/>
                  </a:lnTo>
                  <a:lnTo>
                    <a:pt x="735" y="40"/>
                  </a:lnTo>
                  <a:lnTo>
                    <a:pt x="737" y="40"/>
                  </a:lnTo>
                  <a:lnTo>
                    <a:pt x="743" y="46"/>
                  </a:lnTo>
                  <a:lnTo>
                    <a:pt x="743" y="71"/>
                  </a:lnTo>
                  <a:lnTo>
                    <a:pt x="746" y="72"/>
                  </a:lnTo>
                  <a:lnTo>
                    <a:pt x="746" y="74"/>
                  </a:lnTo>
                  <a:lnTo>
                    <a:pt x="747" y="80"/>
                  </a:lnTo>
                  <a:lnTo>
                    <a:pt x="753" y="80"/>
                  </a:lnTo>
                  <a:lnTo>
                    <a:pt x="753" y="81"/>
                  </a:lnTo>
                  <a:lnTo>
                    <a:pt x="752" y="86"/>
                  </a:lnTo>
                  <a:lnTo>
                    <a:pt x="753" y="89"/>
                  </a:lnTo>
                  <a:lnTo>
                    <a:pt x="752" y="90"/>
                  </a:lnTo>
                  <a:lnTo>
                    <a:pt x="735" y="99"/>
                  </a:lnTo>
                  <a:lnTo>
                    <a:pt x="730" y="95"/>
                  </a:lnTo>
                  <a:lnTo>
                    <a:pt x="727" y="102"/>
                  </a:lnTo>
                  <a:lnTo>
                    <a:pt x="727" y="104"/>
                  </a:lnTo>
                  <a:lnTo>
                    <a:pt x="725" y="104"/>
                  </a:lnTo>
                  <a:lnTo>
                    <a:pt x="712" y="109"/>
                  </a:lnTo>
                  <a:lnTo>
                    <a:pt x="703" y="133"/>
                  </a:lnTo>
                  <a:lnTo>
                    <a:pt x="710" y="142"/>
                  </a:lnTo>
                  <a:lnTo>
                    <a:pt x="713" y="142"/>
                  </a:lnTo>
                  <a:lnTo>
                    <a:pt x="713" y="139"/>
                  </a:lnTo>
                  <a:lnTo>
                    <a:pt x="715" y="138"/>
                  </a:lnTo>
                  <a:lnTo>
                    <a:pt x="715" y="139"/>
                  </a:lnTo>
                  <a:lnTo>
                    <a:pt x="716" y="144"/>
                  </a:lnTo>
                  <a:lnTo>
                    <a:pt x="712" y="144"/>
                  </a:lnTo>
                  <a:lnTo>
                    <a:pt x="709" y="145"/>
                  </a:lnTo>
                  <a:lnTo>
                    <a:pt x="706" y="145"/>
                  </a:lnTo>
                  <a:lnTo>
                    <a:pt x="703" y="147"/>
                  </a:lnTo>
                  <a:lnTo>
                    <a:pt x="700" y="147"/>
                  </a:lnTo>
                  <a:lnTo>
                    <a:pt x="698" y="145"/>
                  </a:lnTo>
                  <a:lnTo>
                    <a:pt x="694" y="149"/>
                  </a:lnTo>
                  <a:lnTo>
                    <a:pt x="675" y="152"/>
                  </a:lnTo>
                  <a:lnTo>
                    <a:pt x="660" y="161"/>
                  </a:lnTo>
                  <a:lnTo>
                    <a:pt x="660" y="164"/>
                  </a:lnTo>
                  <a:lnTo>
                    <a:pt x="663" y="170"/>
                  </a:lnTo>
                  <a:lnTo>
                    <a:pt x="660" y="179"/>
                  </a:lnTo>
                  <a:lnTo>
                    <a:pt x="651" y="191"/>
                  </a:lnTo>
                  <a:lnTo>
                    <a:pt x="650" y="191"/>
                  </a:lnTo>
                  <a:lnTo>
                    <a:pt x="650" y="187"/>
                  </a:lnTo>
                  <a:lnTo>
                    <a:pt x="644" y="182"/>
                  </a:lnTo>
                  <a:lnTo>
                    <a:pt x="650" y="197"/>
                  </a:lnTo>
                  <a:lnTo>
                    <a:pt x="638" y="221"/>
                  </a:lnTo>
                  <a:lnTo>
                    <a:pt x="636" y="221"/>
                  </a:lnTo>
                  <a:lnTo>
                    <a:pt x="635" y="215"/>
                  </a:lnTo>
                  <a:lnTo>
                    <a:pt x="639" y="207"/>
                  </a:lnTo>
                  <a:lnTo>
                    <a:pt x="632" y="200"/>
                  </a:lnTo>
                  <a:lnTo>
                    <a:pt x="632" y="198"/>
                  </a:lnTo>
                  <a:lnTo>
                    <a:pt x="633" y="192"/>
                  </a:lnTo>
                  <a:lnTo>
                    <a:pt x="632" y="192"/>
                  </a:lnTo>
                  <a:lnTo>
                    <a:pt x="632" y="191"/>
                  </a:lnTo>
                  <a:lnTo>
                    <a:pt x="635" y="182"/>
                  </a:lnTo>
                  <a:lnTo>
                    <a:pt x="629" y="187"/>
                  </a:lnTo>
                  <a:lnTo>
                    <a:pt x="629" y="198"/>
                  </a:lnTo>
                  <a:lnTo>
                    <a:pt x="632" y="204"/>
                  </a:lnTo>
                  <a:lnTo>
                    <a:pt x="630" y="204"/>
                  </a:lnTo>
                  <a:lnTo>
                    <a:pt x="620" y="198"/>
                  </a:lnTo>
                  <a:lnTo>
                    <a:pt x="632" y="209"/>
                  </a:lnTo>
                  <a:lnTo>
                    <a:pt x="633" y="209"/>
                  </a:lnTo>
                  <a:lnTo>
                    <a:pt x="633" y="210"/>
                  </a:lnTo>
                  <a:lnTo>
                    <a:pt x="630" y="212"/>
                  </a:lnTo>
                  <a:lnTo>
                    <a:pt x="633" y="221"/>
                  </a:lnTo>
                  <a:lnTo>
                    <a:pt x="633" y="222"/>
                  </a:lnTo>
                  <a:lnTo>
                    <a:pt x="632" y="224"/>
                  </a:lnTo>
                  <a:lnTo>
                    <a:pt x="636" y="224"/>
                  </a:lnTo>
                  <a:lnTo>
                    <a:pt x="639" y="237"/>
                  </a:lnTo>
                  <a:lnTo>
                    <a:pt x="639" y="238"/>
                  </a:lnTo>
                  <a:lnTo>
                    <a:pt x="638" y="238"/>
                  </a:lnTo>
                  <a:lnTo>
                    <a:pt x="633" y="237"/>
                  </a:lnTo>
                  <a:lnTo>
                    <a:pt x="630" y="238"/>
                  </a:lnTo>
                  <a:lnTo>
                    <a:pt x="629" y="238"/>
                  </a:lnTo>
                  <a:lnTo>
                    <a:pt x="627" y="237"/>
                  </a:lnTo>
                  <a:lnTo>
                    <a:pt x="627" y="240"/>
                  </a:lnTo>
                  <a:lnTo>
                    <a:pt x="635" y="240"/>
                  </a:lnTo>
                  <a:lnTo>
                    <a:pt x="636" y="241"/>
                  </a:lnTo>
                  <a:lnTo>
                    <a:pt x="636" y="240"/>
                  </a:lnTo>
                  <a:lnTo>
                    <a:pt x="638" y="240"/>
                  </a:lnTo>
                  <a:lnTo>
                    <a:pt x="639" y="244"/>
                  </a:lnTo>
                  <a:lnTo>
                    <a:pt x="641" y="244"/>
                  </a:lnTo>
                  <a:lnTo>
                    <a:pt x="635" y="250"/>
                  </a:lnTo>
                  <a:lnTo>
                    <a:pt x="633" y="250"/>
                  </a:lnTo>
                  <a:lnTo>
                    <a:pt x="629" y="247"/>
                  </a:lnTo>
                  <a:lnTo>
                    <a:pt x="627" y="249"/>
                  </a:lnTo>
                  <a:lnTo>
                    <a:pt x="630" y="250"/>
                  </a:lnTo>
                  <a:lnTo>
                    <a:pt x="630" y="252"/>
                  </a:lnTo>
                  <a:lnTo>
                    <a:pt x="629" y="253"/>
                  </a:lnTo>
                  <a:lnTo>
                    <a:pt x="630" y="253"/>
                  </a:lnTo>
                  <a:lnTo>
                    <a:pt x="630" y="259"/>
                  </a:lnTo>
                  <a:lnTo>
                    <a:pt x="617" y="264"/>
                  </a:lnTo>
                  <a:lnTo>
                    <a:pt x="612" y="270"/>
                  </a:lnTo>
                  <a:lnTo>
                    <a:pt x="598" y="277"/>
                  </a:lnTo>
                  <a:lnTo>
                    <a:pt x="593" y="284"/>
                  </a:lnTo>
                  <a:lnTo>
                    <a:pt x="581" y="293"/>
                  </a:lnTo>
                  <a:lnTo>
                    <a:pt x="574" y="293"/>
                  </a:lnTo>
                  <a:lnTo>
                    <a:pt x="575" y="296"/>
                  </a:lnTo>
                  <a:lnTo>
                    <a:pt x="575" y="298"/>
                  </a:lnTo>
                  <a:lnTo>
                    <a:pt x="571" y="301"/>
                  </a:lnTo>
                  <a:lnTo>
                    <a:pt x="562" y="323"/>
                  </a:lnTo>
                  <a:lnTo>
                    <a:pt x="581" y="376"/>
                  </a:lnTo>
                  <a:lnTo>
                    <a:pt x="581" y="390"/>
                  </a:lnTo>
                  <a:lnTo>
                    <a:pt x="578" y="400"/>
                  </a:lnTo>
                  <a:lnTo>
                    <a:pt x="568" y="403"/>
                  </a:lnTo>
                  <a:lnTo>
                    <a:pt x="566" y="403"/>
                  </a:lnTo>
                  <a:lnTo>
                    <a:pt x="564" y="394"/>
                  </a:lnTo>
                  <a:lnTo>
                    <a:pt x="559" y="391"/>
                  </a:lnTo>
                  <a:lnTo>
                    <a:pt x="555" y="378"/>
                  </a:lnTo>
                  <a:lnTo>
                    <a:pt x="553" y="378"/>
                  </a:lnTo>
                  <a:lnTo>
                    <a:pt x="547" y="370"/>
                  </a:lnTo>
                  <a:lnTo>
                    <a:pt x="549" y="364"/>
                  </a:lnTo>
                  <a:lnTo>
                    <a:pt x="546" y="364"/>
                  </a:lnTo>
                  <a:lnTo>
                    <a:pt x="546" y="344"/>
                  </a:lnTo>
                  <a:lnTo>
                    <a:pt x="529" y="330"/>
                  </a:lnTo>
                  <a:lnTo>
                    <a:pt x="513" y="336"/>
                  </a:lnTo>
                  <a:lnTo>
                    <a:pt x="500" y="324"/>
                  </a:lnTo>
                  <a:lnTo>
                    <a:pt x="497" y="324"/>
                  </a:lnTo>
                  <a:lnTo>
                    <a:pt x="494" y="326"/>
                  </a:lnTo>
                  <a:lnTo>
                    <a:pt x="489" y="326"/>
                  </a:lnTo>
                  <a:lnTo>
                    <a:pt x="489" y="324"/>
                  </a:lnTo>
                  <a:lnTo>
                    <a:pt x="479" y="329"/>
                  </a:lnTo>
                  <a:lnTo>
                    <a:pt x="478" y="329"/>
                  </a:lnTo>
                  <a:lnTo>
                    <a:pt x="478" y="321"/>
                  </a:lnTo>
                  <a:lnTo>
                    <a:pt x="475" y="326"/>
                  </a:lnTo>
                  <a:lnTo>
                    <a:pt x="475" y="327"/>
                  </a:lnTo>
                  <a:lnTo>
                    <a:pt x="448" y="327"/>
                  </a:lnTo>
                  <a:lnTo>
                    <a:pt x="448" y="330"/>
                  </a:lnTo>
                  <a:lnTo>
                    <a:pt x="451" y="330"/>
                  </a:lnTo>
                  <a:lnTo>
                    <a:pt x="454" y="329"/>
                  </a:lnTo>
                  <a:lnTo>
                    <a:pt x="461" y="329"/>
                  </a:lnTo>
                  <a:lnTo>
                    <a:pt x="461" y="330"/>
                  </a:lnTo>
                  <a:lnTo>
                    <a:pt x="457" y="338"/>
                  </a:lnTo>
                  <a:lnTo>
                    <a:pt x="463" y="344"/>
                  </a:lnTo>
                  <a:lnTo>
                    <a:pt x="463" y="345"/>
                  </a:lnTo>
                  <a:lnTo>
                    <a:pt x="460" y="347"/>
                  </a:lnTo>
                  <a:lnTo>
                    <a:pt x="452" y="341"/>
                  </a:lnTo>
                  <a:lnTo>
                    <a:pt x="449" y="345"/>
                  </a:lnTo>
                  <a:lnTo>
                    <a:pt x="441" y="345"/>
                  </a:lnTo>
                  <a:lnTo>
                    <a:pt x="427" y="336"/>
                  </a:lnTo>
                  <a:lnTo>
                    <a:pt x="423" y="339"/>
                  </a:lnTo>
                  <a:lnTo>
                    <a:pt x="400" y="336"/>
                  </a:lnTo>
                  <a:lnTo>
                    <a:pt x="390" y="341"/>
                  </a:lnTo>
                  <a:lnTo>
                    <a:pt x="389" y="341"/>
                  </a:lnTo>
                  <a:lnTo>
                    <a:pt x="389" y="339"/>
                  </a:lnTo>
                  <a:lnTo>
                    <a:pt x="390" y="338"/>
                  </a:lnTo>
                  <a:lnTo>
                    <a:pt x="389" y="336"/>
                  </a:lnTo>
                  <a:lnTo>
                    <a:pt x="386" y="348"/>
                  </a:lnTo>
                  <a:lnTo>
                    <a:pt x="386" y="350"/>
                  </a:lnTo>
                  <a:lnTo>
                    <a:pt x="378" y="353"/>
                  </a:lnTo>
                  <a:lnTo>
                    <a:pt x="368" y="353"/>
                  </a:lnTo>
                  <a:lnTo>
                    <a:pt x="369" y="356"/>
                  </a:lnTo>
                  <a:lnTo>
                    <a:pt x="369" y="357"/>
                  </a:lnTo>
                  <a:lnTo>
                    <a:pt x="357" y="364"/>
                  </a:lnTo>
                  <a:lnTo>
                    <a:pt x="359" y="372"/>
                  </a:lnTo>
                  <a:lnTo>
                    <a:pt x="359" y="373"/>
                  </a:lnTo>
                  <a:lnTo>
                    <a:pt x="356" y="373"/>
                  </a:lnTo>
                  <a:lnTo>
                    <a:pt x="357" y="375"/>
                  </a:lnTo>
                  <a:lnTo>
                    <a:pt x="356" y="381"/>
                  </a:lnTo>
                  <a:lnTo>
                    <a:pt x="360" y="393"/>
                  </a:lnTo>
                  <a:lnTo>
                    <a:pt x="360" y="394"/>
                  </a:lnTo>
                  <a:lnTo>
                    <a:pt x="334" y="385"/>
                  </a:lnTo>
                  <a:lnTo>
                    <a:pt x="325" y="367"/>
                  </a:lnTo>
                  <a:lnTo>
                    <a:pt x="316" y="357"/>
                  </a:lnTo>
                  <a:lnTo>
                    <a:pt x="312" y="345"/>
                  </a:lnTo>
                  <a:lnTo>
                    <a:pt x="301" y="335"/>
                  </a:lnTo>
                  <a:lnTo>
                    <a:pt x="286" y="336"/>
                  </a:lnTo>
                  <a:lnTo>
                    <a:pt x="279" y="348"/>
                  </a:lnTo>
                  <a:lnTo>
                    <a:pt x="277" y="348"/>
                  </a:lnTo>
                  <a:lnTo>
                    <a:pt x="264" y="339"/>
                  </a:lnTo>
                  <a:lnTo>
                    <a:pt x="258" y="332"/>
                  </a:lnTo>
                  <a:lnTo>
                    <a:pt x="255" y="323"/>
                  </a:lnTo>
                  <a:lnTo>
                    <a:pt x="237" y="305"/>
                  </a:lnTo>
                  <a:lnTo>
                    <a:pt x="214" y="305"/>
                  </a:lnTo>
                  <a:lnTo>
                    <a:pt x="214" y="313"/>
                  </a:lnTo>
                  <a:lnTo>
                    <a:pt x="178" y="314"/>
                  </a:lnTo>
                  <a:lnTo>
                    <a:pt x="128" y="292"/>
                  </a:lnTo>
                  <a:lnTo>
                    <a:pt x="125" y="292"/>
                  </a:lnTo>
                  <a:lnTo>
                    <a:pt x="117" y="293"/>
                  </a:lnTo>
                  <a:lnTo>
                    <a:pt x="108" y="293"/>
                  </a:lnTo>
                  <a:lnTo>
                    <a:pt x="101" y="295"/>
                  </a:lnTo>
                  <a:lnTo>
                    <a:pt x="98" y="295"/>
                  </a:lnTo>
                  <a:lnTo>
                    <a:pt x="98" y="293"/>
                  </a:lnTo>
                  <a:lnTo>
                    <a:pt x="95" y="284"/>
                  </a:lnTo>
                  <a:lnTo>
                    <a:pt x="88" y="277"/>
                  </a:lnTo>
                  <a:lnTo>
                    <a:pt x="83" y="276"/>
                  </a:lnTo>
                  <a:lnTo>
                    <a:pt x="80" y="271"/>
                  </a:lnTo>
                  <a:lnTo>
                    <a:pt x="54" y="262"/>
                  </a:lnTo>
                  <a:lnTo>
                    <a:pt x="54" y="253"/>
                  </a:lnTo>
                  <a:lnTo>
                    <a:pt x="37" y="234"/>
                  </a:lnTo>
                  <a:lnTo>
                    <a:pt x="37" y="225"/>
                  </a:lnTo>
                  <a:lnTo>
                    <a:pt x="31" y="221"/>
                  </a:lnTo>
                  <a:lnTo>
                    <a:pt x="28" y="212"/>
                  </a:lnTo>
                  <a:lnTo>
                    <a:pt x="30" y="210"/>
                  </a:lnTo>
                  <a:lnTo>
                    <a:pt x="31" y="210"/>
                  </a:lnTo>
                  <a:lnTo>
                    <a:pt x="30" y="207"/>
                  </a:lnTo>
                  <a:lnTo>
                    <a:pt x="33" y="204"/>
                  </a:lnTo>
                  <a:lnTo>
                    <a:pt x="30" y="204"/>
                  </a:lnTo>
                  <a:lnTo>
                    <a:pt x="28" y="207"/>
                  </a:lnTo>
                  <a:lnTo>
                    <a:pt x="28" y="209"/>
                  </a:lnTo>
                  <a:lnTo>
                    <a:pt x="27" y="209"/>
                  </a:lnTo>
                  <a:lnTo>
                    <a:pt x="23" y="206"/>
                  </a:lnTo>
                  <a:lnTo>
                    <a:pt x="14" y="192"/>
                  </a:lnTo>
                  <a:lnTo>
                    <a:pt x="12" y="178"/>
                  </a:lnTo>
                  <a:lnTo>
                    <a:pt x="5" y="167"/>
                  </a:lnTo>
                  <a:lnTo>
                    <a:pt x="8" y="148"/>
                  </a:lnTo>
                  <a:lnTo>
                    <a:pt x="6" y="141"/>
                  </a:lnTo>
                  <a:lnTo>
                    <a:pt x="3" y="123"/>
                  </a:lnTo>
                  <a:lnTo>
                    <a:pt x="6" y="112"/>
                  </a:lnTo>
                  <a:lnTo>
                    <a:pt x="9" y="65"/>
                  </a:lnTo>
                  <a:lnTo>
                    <a:pt x="9" y="64"/>
                  </a:lnTo>
                  <a:lnTo>
                    <a:pt x="11" y="64"/>
                  </a:lnTo>
                  <a:lnTo>
                    <a:pt x="17" y="62"/>
                  </a:lnTo>
                  <a:lnTo>
                    <a:pt x="9" y="59"/>
                  </a:lnTo>
                  <a:lnTo>
                    <a:pt x="8" y="59"/>
                  </a:lnTo>
                  <a:lnTo>
                    <a:pt x="8" y="53"/>
                  </a:lnTo>
                  <a:lnTo>
                    <a:pt x="9" y="53"/>
                  </a:lnTo>
                  <a:lnTo>
                    <a:pt x="11" y="55"/>
                  </a:lnTo>
                  <a:lnTo>
                    <a:pt x="11" y="53"/>
                  </a:lnTo>
                  <a:lnTo>
                    <a:pt x="8" y="52"/>
                  </a:lnTo>
                  <a:lnTo>
                    <a:pt x="8" y="47"/>
                  </a:lnTo>
                  <a:lnTo>
                    <a:pt x="6" y="47"/>
                  </a:lnTo>
                  <a:lnTo>
                    <a:pt x="6" y="46"/>
                  </a:lnTo>
                  <a:lnTo>
                    <a:pt x="0" y="23"/>
                  </a:lnTo>
                  <a:lnTo>
                    <a:pt x="0" y="19"/>
                  </a:lnTo>
                  <a:lnTo>
                    <a:pt x="2" y="19"/>
                  </a:lnTo>
                  <a:lnTo>
                    <a:pt x="25" y="23"/>
                  </a:lnTo>
                  <a:lnTo>
                    <a:pt x="25" y="29"/>
                  </a:lnTo>
                  <a:lnTo>
                    <a:pt x="23" y="35"/>
                  </a:lnTo>
                  <a:lnTo>
                    <a:pt x="24" y="38"/>
                  </a:lnTo>
                  <a:lnTo>
                    <a:pt x="30" y="28"/>
                  </a:lnTo>
                  <a:lnTo>
                    <a:pt x="30" y="21"/>
                  </a:lnTo>
                  <a:lnTo>
                    <a:pt x="27" y="19"/>
                  </a:lnTo>
                  <a:lnTo>
                    <a:pt x="27" y="18"/>
                  </a:lnTo>
                  <a:lnTo>
                    <a:pt x="30" y="13"/>
                  </a:lnTo>
                  <a:lnTo>
                    <a:pt x="24" y="9"/>
                  </a:lnTo>
                  <a:lnTo>
                    <a:pt x="24" y="7"/>
                  </a:lnTo>
                  <a:lnTo>
                    <a:pt x="384" y="9"/>
                  </a:lnTo>
                  <a:lnTo>
                    <a:pt x="38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9" name="USA - Offshore">
              <a:extLst>
                <a:ext uri="{FF2B5EF4-FFF2-40B4-BE49-F238E27FC236}">
                  <a16:creationId xmlns:a16="http://schemas.microsoft.com/office/drawing/2014/main" id="{6EBD93B0-9FEB-A20F-481B-C06A4E7ECE13}"/>
                </a:ext>
              </a:extLst>
            </p:cNvPr>
            <p:cNvSpPr>
              <a:spLocks/>
            </p:cNvSpPr>
            <p:nvPr/>
          </p:nvSpPr>
          <p:spPr bwMode="auto">
            <a:xfrm>
              <a:off x="3536295" y="3524854"/>
              <a:ext cx="590909" cy="388519"/>
            </a:xfrm>
            <a:custGeom>
              <a:avLst/>
              <a:gdLst/>
              <a:ahLst/>
              <a:cxnLst/>
              <a:rect l="l" t="t" r="r" b="b"/>
              <a:pathLst>
                <a:path w="595620" h="391616">
                  <a:moveTo>
                    <a:pt x="14572" y="373401"/>
                  </a:moveTo>
                  <a:lnTo>
                    <a:pt x="16394" y="373401"/>
                  </a:lnTo>
                  <a:lnTo>
                    <a:pt x="16394" y="377044"/>
                  </a:lnTo>
                  <a:lnTo>
                    <a:pt x="3643" y="391616"/>
                  </a:lnTo>
                  <a:lnTo>
                    <a:pt x="0" y="391616"/>
                  </a:lnTo>
                  <a:lnTo>
                    <a:pt x="0" y="389795"/>
                  </a:lnTo>
                  <a:lnTo>
                    <a:pt x="3643" y="384330"/>
                  </a:lnTo>
                  <a:lnTo>
                    <a:pt x="3643" y="382509"/>
                  </a:lnTo>
                  <a:close/>
                  <a:moveTo>
                    <a:pt x="591977" y="0"/>
                  </a:moveTo>
                  <a:lnTo>
                    <a:pt x="595620" y="0"/>
                  </a:lnTo>
                  <a:lnTo>
                    <a:pt x="586513" y="10929"/>
                  </a:lnTo>
                  <a:lnTo>
                    <a:pt x="551905" y="21858"/>
                  </a:lnTo>
                  <a:lnTo>
                    <a:pt x="551905" y="20037"/>
                  </a:lnTo>
                  <a:lnTo>
                    <a:pt x="557370"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0" name="Hawaii">
              <a:extLst>
                <a:ext uri="{FF2B5EF4-FFF2-40B4-BE49-F238E27FC236}">
                  <a16:creationId xmlns:a16="http://schemas.microsoft.com/office/drawing/2014/main" id="{58C7816D-F281-3CB7-6F06-AAD713DD26AF}"/>
                </a:ext>
              </a:extLst>
            </p:cNvPr>
            <p:cNvSpPr>
              <a:spLocks/>
            </p:cNvSpPr>
            <p:nvPr/>
          </p:nvSpPr>
          <p:spPr bwMode="auto">
            <a:xfrm>
              <a:off x="2056313" y="4056129"/>
              <a:ext cx="119266" cy="84933"/>
            </a:xfrm>
            <a:custGeom>
              <a:avLst/>
              <a:gdLst/>
              <a:ahLst/>
              <a:cxnLst/>
              <a:rect l="l" t="t" r="r" b="b"/>
              <a:pathLst>
                <a:path w="120217" h="85610">
                  <a:moveTo>
                    <a:pt x="91073" y="51001"/>
                  </a:moveTo>
                  <a:lnTo>
                    <a:pt x="94716" y="51001"/>
                  </a:lnTo>
                  <a:lnTo>
                    <a:pt x="111109" y="56466"/>
                  </a:lnTo>
                  <a:lnTo>
                    <a:pt x="120217" y="67395"/>
                  </a:lnTo>
                  <a:lnTo>
                    <a:pt x="118396" y="76502"/>
                  </a:lnTo>
                  <a:lnTo>
                    <a:pt x="118396" y="78324"/>
                  </a:lnTo>
                  <a:lnTo>
                    <a:pt x="107466" y="78324"/>
                  </a:lnTo>
                  <a:lnTo>
                    <a:pt x="100180" y="85610"/>
                  </a:lnTo>
                  <a:lnTo>
                    <a:pt x="96537" y="85610"/>
                  </a:lnTo>
                  <a:lnTo>
                    <a:pt x="96537" y="83789"/>
                  </a:lnTo>
                  <a:lnTo>
                    <a:pt x="94716" y="83789"/>
                  </a:lnTo>
                  <a:lnTo>
                    <a:pt x="89251" y="67395"/>
                  </a:lnTo>
                  <a:lnTo>
                    <a:pt x="91073" y="54644"/>
                  </a:lnTo>
                  <a:close/>
                  <a:moveTo>
                    <a:pt x="58287" y="23680"/>
                  </a:moveTo>
                  <a:lnTo>
                    <a:pt x="61930" y="23680"/>
                  </a:lnTo>
                  <a:lnTo>
                    <a:pt x="72859" y="29145"/>
                  </a:lnTo>
                  <a:lnTo>
                    <a:pt x="74681" y="29145"/>
                  </a:lnTo>
                  <a:lnTo>
                    <a:pt x="74681" y="32787"/>
                  </a:lnTo>
                  <a:lnTo>
                    <a:pt x="83788" y="32787"/>
                  </a:lnTo>
                  <a:lnTo>
                    <a:pt x="91074" y="38251"/>
                  </a:lnTo>
                  <a:lnTo>
                    <a:pt x="91074" y="40073"/>
                  </a:lnTo>
                  <a:lnTo>
                    <a:pt x="83788" y="43716"/>
                  </a:lnTo>
                  <a:lnTo>
                    <a:pt x="80145" y="43716"/>
                  </a:lnTo>
                  <a:lnTo>
                    <a:pt x="72860" y="32788"/>
                  </a:lnTo>
                  <a:lnTo>
                    <a:pt x="58287" y="32788"/>
                  </a:lnTo>
                  <a:close/>
                  <a:moveTo>
                    <a:pt x="40072" y="12751"/>
                  </a:moveTo>
                  <a:lnTo>
                    <a:pt x="41893" y="12751"/>
                  </a:lnTo>
                  <a:lnTo>
                    <a:pt x="51001" y="21858"/>
                  </a:lnTo>
                  <a:lnTo>
                    <a:pt x="51001" y="23680"/>
                  </a:lnTo>
                  <a:lnTo>
                    <a:pt x="41893" y="23680"/>
                  </a:lnTo>
                  <a:lnTo>
                    <a:pt x="40072" y="18215"/>
                  </a:lnTo>
                  <a:close/>
                  <a:moveTo>
                    <a:pt x="1822" y="0"/>
                  </a:moveTo>
                  <a:lnTo>
                    <a:pt x="5465" y="0"/>
                  </a:lnTo>
                  <a:lnTo>
                    <a:pt x="12751" y="1821"/>
                  </a:lnTo>
                  <a:lnTo>
                    <a:pt x="12751" y="5465"/>
                  </a:lnTo>
                  <a:lnTo>
                    <a:pt x="7286" y="10929"/>
                  </a:lnTo>
                  <a:lnTo>
                    <a:pt x="7286" y="12751"/>
                  </a:lnTo>
                  <a:lnTo>
                    <a:pt x="5465" y="12751"/>
                  </a:lnTo>
                  <a:lnTo>
                    <a:pt x="5465" y="10929"/>
                  </a:lnTo>
                  <a:lnTo>
                    <a:pt x="0" y="7286"/>
                  </a:lnTo>
                  <a:lnTo>
                    <a:pt x="0" y="5465"/>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1" name="Puerto Rico">
              <a:extLst>
                <a:ext uri="{FF2B5EF4-FFF2-40B4-BE49-F238E27FC236}">
                  <a16:creationId xmlns:a16="http://schemas.microsoft.com/office/drawing/2014/main" id="{B6FF4175-7557-AEA3-7EB1-F05232E5B93E}"/>
                </a:ext>
              </a:extLst>
            </p:cNvPr>
            <p:cNvSpPr>
              <a:spLocks/>
            </p:cNvSpPr>
            <p:nvPr/>
          </p:nvSpPr>
          <p:spPr bwMode="auto">
            <a:xfrm>
              <a:off x="4239243" y="4144677"/>
              <a:ext cx="37948" cy="16264"/>
            </a:xfrm>
            <a:custGeom>
              <a:avLst/>
              <a:gdLst>
                <a:gd name="T0" fmla="*/ 1 w 21"/>
                <a:gd name="T1" fmla="*/ 0 h 9"/>
                <a:gd name="T2" fmla="*/ 19 w 21"/>
                <a:gd name="T3" fmla="*/ 0 h 9"/>
                <a:gd name="T4" fmla="*/ 19 w 21"/>
                <a:gd name="T5" fmla="*/ 1 h 9"/>
                <a:gd name="T6" fmla="*/ 21 w 21"/>
                <a:gd name="T7" fmla="*/ 4 h 9"/>
                <a:gd name="T8" fmla="*/ 21 w 21"/>
                <a:gd name="T9" fmla="*/ 6 h 9"/>
                <a:gd name="T10" fmla="*/ 13 w 21"/>
                <a:gd name="T11" fmla="*/ 9 h 9"/>
                <a:gd name="T12" fmla="*/ 3 w 21"/>
                <a:gd name="T13" fmla="*/ 9 h 9"/>
                <a:gd name="T14" fmla="*/ 0 w 21"/>
                <a:gd name="T15" fmla="*/ 4 h 9"/>
                <a:gd name="T16" fmla="*/ 1 w 21"/>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1" y="0"/>
                  </a:moveTo>
                  <a:lnTo>
                    <a:pt x="19" y="0"/>
                  </a:lnTo>
                  <a:lnTo>
                    <a:pt x="19" y="1"/>
                  </a:lnTo>
                  <a:lnTo>
                    <a:pt x="21" y="4"/>
                  </a:lnTo>
                  <a:lnTo>
                    <a:pt x="21" y="6"/>
                  </a:lnTo>
                  <a:lnTo>
                    <a:pt x="13" y="9"/>
                  </a:lnTo>
                  <a:lnTo>
                    <a:pt x="3" y="9"/>
                  </a:lnTo>
                  <a:lnTo>
                    <a:pt x="0" y="4"/>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2" name="Panama">
              <a:extLst>
                <a:ext uri="{FF2B5EF4-FFF2-40B4-BE49-F238E27FC236}">
                  <a16:creationId xmlns:a16="http://schemas.microsoft.com/office/drawing/2014/main" id="{6EA25F1D-3AA2-EBDB-ECB0-9957C78A6951}"/>
                </a:ext>
              </a:extLst>
            </p:cNvPr>
            <p:cNvSpPr>
              <a:spLocks/>
            </p:cNvSpPr>
            <p:nvPr/>
          </p:nvSpPr>
          <p:spPr bwMode="auto">
            <a:xfrm>
              <a:off x="3866989" y="4361524"/>
              <a:ext cx="139145" cy="59634"/>
            </a:xfrm>
            <a:custGeom>
              <a:avLst/>
              <a:gdLst>
                <a:gd name="T0" fmla="*/ 6 w 77"/>
                <a:gd name="T1" fmla="*/ 0 h 33"/>
                <a:gd name="T2" fmla="*/ 10 w 77"/>
                <a:gd name="T3" fmla="*/ 2 h 33"/>
                <a:gd name="T4" fmla="*/ 12 w 77"/>
                <a:gd name="T5" fmla="*/ 7 h 33"/>
                <a:gd name="T6" fmla="*/ 23 w 77"/>
                <a:gd name="T7" fmla="*/ 10 h 33"/>
                <a:gd name="T8" fmla="*/ 37 w 77"/>
                <a:gd name="T9" fmla="*/ 4 h 33"/>
                <a:gd name="T10" fmla="*/ 38 w 77"/>
                <a:gd name="T11" fmla="*/ 4 h 33"/>
                <a:gd name="T12" fmla="*/ 40 w 77"/>
                <a:gd name="T13" fmla="*/ 6 h 33"/>
                <a:gd name="T14" fmla="*/ 43 w 77"/>
                <a:gd name="T15" fmla="*/ 0 h 33"/>
                <a:gd name="T16" fmla="*/ 50 w 77"/>
                <a:gd name="T17" fmla="*/ 0 h 33"/>
                <a:gd name="T18" fmla="*/ 64 w 77"/>
                <a:gd name="T19" fmla="*/ 3 h 33"/>
                <a:gd name="T20" fmla="*/ 74 w 77"/>
                <a:gd name="T21" fmla="*/ 13 h 33"/>
                <a:gd name="T22" fmla="*/ 74 w 77"/>
                <a:gd name="T23" fmla="*/ 16 h 33"/>
                <a:gd name="T24" fmla="*/ 77 w 77"/>
                <a:gd name="T25" fmla="*/ 21 h 33"/>
                <a:gd name="T26" fmla="*/ 77 w 77"/>
                <a:gd name="T27" fmla="*/ 22 h 33"/>
                <a:gd name="T28" fmla="*/ 72 w 77"/>
                <a:gd name="T29" fmla="*/ 27 h 33"/>
                <a:gd name="T30" fmla="*/ 69 w 77"/>
                <a:gd name="T31" fmla="*/ 27 h 33"/>
                <a:gd name="T32" fmla="*/ 68 w 77"/>
                <a:gd name="T33" fmla="*/ 31 h 33"/>
                <a:gd name="T34" fmla="*/ 66 w 77"/>
                <a:gd name="T35" fmla="*/ 31 h 33"/>
                <a:gd name="T36" fmla="*/ 61 w 77"/>
                <a:gd name="T37" fmla="*/ 22 h 33"/>
                <a:gd name="T38" fmla="*/ 64 w 77"/>
                <a:gd name="T39" fmla="*/ 16 h 33"/>
                <a:gd name="T40" fmla="*/ 61 w 77"/>
                <a:gd name="T41" fmla="*/ 16 h 33"/>
                <a:gd name="T42" fmla="*/ 50 w 77"/>
                <a:gd name="T43" fmla="*/ 9 h 33"/>
                <a:gd name="T44" fmla="*/ 34 w 77"/>
                <a:gd name="T45" fmla="*/ 19 h 33"/>
                <a:gd name="T46" fmla="*/ 34 w 77"/>
                <a:gd name="T47" fmla="*/ 22 h 33"/>
                <a:gd name="T48" fmla="*/ 38 w 77"/>
                <a:gd name="T49" fmla="*/ 28 h 33"/>
                <a:gd name="T50" fmla="*/ 38 w 77"/>
                <a:gd name="T51" fmla="*/ 30 h 33"/>
                <a:gd name="T52" fmla="*/ 32 w 77"/>
                <a:gd name="T53" fmla="*/ 33 h 33"/>
                <a:gd name="T54" fmla="*/ 28 w 77"/>
                <a:gd name="T55" fmla="*/ 33 h 33"/>
                <a:gd name="T56" fmla="*/ 26 w 77"/>
                <a:gd name="T57" fmla="*/ 27 h 33"/>
                <a:gd name="T58" fmla="*/ 22 w 77"/>
                <a:gd name="T59" fmla="*/ 27 h 33"/>
                <a:gd name="T60" fmla="*/ 16 w 77"/>
                <a:gd name="T61" fmla="*/ 19 h 33"/>
                <a:gd name="T62" fmla="*/ 4 w 77"/>
                <a:gd name="T63" fmla="*/ 18 h 33"/>
                <a:gd name="T64" fmla="*/ 3 w 77"/>
                <a:gd name="T65" fmla="*/ 21 h 33"/>
                <a:gd name="T66" fmla="*/ 1 w 77"/>
                <a:gd name="T67" fmla="*/ 21 h 33"/>
                <a:gd name="T68" fmla="*/ 0 w 77"/>
                <a:gd name="T69" fmla="*/ 16 h 33"/>
                <a:gd name="T70" fmla="*/ 3 w 77"/>
                <a:gd name="T71" fmla="*/ 7 h 33"/>
                <a:gd name="T72" fmla="*/ 1 w 77"/>
                <a:gd name="T73" fmla="*/ 6 h 33"/>
                <a:gd name="T74" fmla="*/ 1 w 77"/>
                <a:gd name="T75" fmla="*/ 2 h 33"/>
                <a:gd name="T76" fmla="*/ 6 w 77"/>
                <a:gd name="T7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 h="33">
                  <a:moveTo>
                    <a:pt x="6" y="0"/>
                  </a:moveTo>
                  <a:lnTo>
                    <a:pt x="10" y="2"/>
                  </a:lnTo>
                  <a:lnTo>
                    <a:pt x="12" y="7"/>
                  </a:lnTo>
                  <a:lnTo>
                    <a:pt x="23" y="10"/>
                  </a:lnTo>
                  <a:lnTo>
                    <a:pt x="37" y="4"/>
                  </a:lnTo>
                  <a:lnTo>
                    <a:pt x="38" y="4"/>
                  </a:lnTo>
                  <a:lnTo>
                    <a:pt x="40" y="6"/>
                  </a:lnTo>
                  <a:lnTo>
                    <a:pt x="43" y="0"/>
                  </a:lnTo>
                  <a:lnTo>
                    <a:pt x="50" y="0"/>
                  </a:lnTo>
                  <a:lnTo>
                    <a:pt x="64" y="3"/>
                  </a:lnTo>
                  <a:lnTo>
                    <a:pt x="74" y="13"/>
                  </a:lnTo>
                  <a:lnTo>
                    <a:pt x="74" y="16"/>
                  </a:lnTo>
                  <a:lnTo>
                    <a:pt x="77" y="21"/>
                  </a:lnTo>
                  <a:lnTo>
                    <a:pt x="77" y="22"/>
                  </a:lnTo>
                  <a:lnTo>
                    <a:pt x="72" y="27"/>
                  </a:lnTo>
                  <a:lnTo>
                    <a:pt x="69" y="27"/>
                  </a:lnTo>
                  <a:lnTo>
                    <a:pt x="68" y="31"/>
                  </a:lnTo>
                  <a:lnTo>
                    <a:pt x="66" y="31"/>
                  </a:lnTo>
                  <a:lnTo>
                    <a:pt x="61" y="22"/>
                  </a:lnTo>
                  <a:lnTo>
                    <a:pt x="64" y="16"/>
                  </a:lnTo>
                  <a:lnTo>
                    <a:pt x="61" y="16"/>
                  </a:lnTo>
                  <a:lnTo>
                    <a:pt x="50" y="9"/>
                  </a:lnTo>
                  <a:lnTo>
                    <a:pt x="34" y="19"/>
                  </a:lnTo>
                  <a:lnTo>
                    <a:pt x="34" y="22"/>
                  </a:lnTo>
                  <a:lnTo>
                    <a:pt x="38" y="28"/>
                  </a:lnTo>
                  <a:lnTo>
                    <a:pt x="38" y="30"/>
                  </a:lnTo>
                  <a:lnTo>
                    <a:pt x="32" y="33"/>
                  </a:lnTo>
                  <a:lnTo>
                    <a:pt x="28" y="33"/>
                  </a:lnTo>
                  <a:lnTo>
                    <a:pt x="26" y="27"/>
                  </a:lnTo>
                  <a:lnTo>
                    <a:pt x="22" y="27"/>
                  </a:lnTo>
                  <a:lnTo>
                    <a:pt x="16" y="19"/>
                  </a:lnTo>
                  <a:lnTo>
                    <a:pt x="4" y="18"/>
                  </a:lnTo>
                  <a:lnTo>
                    <a:pt x="3" y="21"/>
                  </a:lnTo>
                  <a:lnTo>
                    <a:pt x="1" y="21"/>
                  </a:lnTo>
                  <a:lnTo>
                    <a:pt x="0" y="16"/>
                  </a:lnTo>
                  <a:lnTo>
                    <a:pt x="3" y="7"/>
                  </a:lnTo>
                  <a:lnTo>
                    <a:pt x="1" y="6"/>
                  </a:lnTo>
                  <a:lnTo>
                    <a:pt x="1" y="2"/>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3" name="Nicaragua">
              <a:extLst>
                <a:ext uri="{FF2B5EF4-FFF2-40B4-BE49-F238E27FC236}">
                  <a16:creationId xmlns:a16="http://schemas.microsoft.com/office/drawing/2014/main" id="{C582AC56-42BA-1312-AA31-25B465EA18CE}"/>
                </a:ext>
              </a:extLst>
            </p:cNvPr>
            <p:cNvSpPr>
              <a:spLocks/>
            </p:cNvSpPr>
            <p:nvPr/>
          </p:nvSpPr>
          <p:spPr bwMode="auto">
            <a:xfrm>
              <a:off x="3758565" y="4233222"/>
              <a:ext cx="104809" cy="104809"/>
            </a:xfrm>
            <a:custGeom>
              <a:avLst/>
              <a:gdLst>
                <a:gd name="T0" fmla="*/ 57 w 58"/>
                <a:gd name="T1" fmla="*/ 0 h 58"/>
                <a:gd name="T2" fmla="*/ 58 w 58"/>
                <a:gd name="T3" fmla="*/ 0 h 58"/>
                <a:gd name="T4" fmla="*/ 51 w 58"/>
                <a:gd name="T5" fmla="*/ 47 h 58"/>
                <a:gd name="T6" fmla="*/ 52 w 58"/>
                <a:gd name="T7" fmla="*/ 53 h 58"/>
                <a:gd name="T8" fmla="*/ 52 w 58"/>
                <a:gd name="T9" fmla="*/ 55 h 58"/>
                <a:gd name="T10" fmla="*/ 46 w 58"/>
                <a:gd name="T11" fmla="*/ 58 h 58"/>
                <a:gd name="T12" fmla="*/ 45 w 58"/>
                <a:gd name="T13" fmla="*/ 58 h 58"/>
                <a:gd name="T14" fmla="*/ 41 w 58"/>
                <a:gd name="T15" fmla="*/ 53 h 58"/>
                <a:gd name="T16" fmla="*/ 24 w 58"/>
                <a:gd name="T17" fmla="*/ 52 h 58"/>
                <a:gd name="T18" fmla="*/ 0 w 58"/>
                <a:gd name="T19" fmla="*/ 28 h 58"/>
                <a:gd name="T20" fmla="*/ 0 w 58"/>
                <a:gd name="T21" fmla="*/ 27 h 58"/>
                <a:gd name="T22" fmla="*/ 3 w 58"/>
                <a:gd name="T23" fmla="*/ 27 h 58"/>
                <a:gd name="T24" fmla="*/ 8 w 58"/>
                <a:gd name="T25" fmla="*/ 25 h 58"/>
                <a:gd name="T26" fmla="*/ 11 w 58"/>
                <a:gd name="T27" fmla="*/ 22 h 58"/>
                <a:gd name="T28" fmla="*/ 11 w 58"/>
                <a:gd name="T29" fmla="*/ 16 h 58"/>
                <a:gd name="T30" fmla="*/ 17 w 58"/>
                <a:gd name="T31" fmla="*/ 16 h 58"/>
                <a:gd name="T32" fmla="*/ 18 w 58"/>
                <a:gd name="T33" fmla="*/ 12 h 58"/>
                <a:gd name="T34" fmla="*/ 20 w 58"/>
                <a:gd name="T35" fmla="*/ 12 h 58"/>
                <a:gd name="T36" fmla="*/ 24 w 58"/>
                <a:gd name="T37" fmla="*/ 13 h 58"/>
                <a:gd name="T38" fmla="*/ 32 w 58"/>
                <a:gd name="T39" fmla="*/ 9 h 58"/>
                <a:gd name="T40" fmla="*/ 36 w 58"/>
                <a:gd name="T41" fmla="*/ 1 h 58"/>
                <a:gd name="T42" fmla="*/ 38 w 58"/>
                <a:gd name="T43" fmla="*/ 1 h 58"/>
                <a:gd name="T44" fmla="*/ 43 w 58"/>
                <a:gd name="T45" fmla="*/ 4 h 58"/>
                <a:gd name="T46" fmla="*/ 57 w 58"/>
                <a:gd name="T4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58">
                  <a:moveTo>
                    <a:pt x="57" y="0"/>
                  </a:moveTo>
                  <a:lnTo>
                    <a:pt x="58" y="0"/>
                  </a:lnTo>
                  <a:lnTo>
                    <a:pt x="51" y="47"/>
                  </a:lnTo>
                  <a:lnTo>
                    <a:pt x="52" y="53"/>
                  </a:lnTo>
                  <a:lnTo>
                    <a:pt x="52" y="55"/>
                  </a:lnTo>
                  <a:lnTo>
                    <a:pt x="46" y="58"/>
                  </a:lnTo>
                  <a:lnTo>
                    <a:pt x="45" y="58"/>
                  </a:lnTo>
                  <a:lnTo>
                    <a:pt x="41" y="53"/>
                  </a:lnTo>
                  <a:lnTo>
                    <a:pt x="24" y="52"/>
                  </a:lnTo>
                  <a:lnTo>
                    <a:pt x="0" y="28"/>
                  </a:lnTo>
                  <a:lnTo>
                    <a:pt x="0" y="27"/>
                  </a:lnTo>
                  <a:lnTo>
                    <a:pt x="3" y="27"/>
                  </a:lnTo>
                  <a:lnTo>
                    <a:pt x="8" y="25"/>
                  </a:lnTo>
                  <a:lnTo>
                    <a:pt x="11" y="22"/>
                  </a:lnTo>
                  <a:lnTo>
                    <a:pt x="11" y="16"/>
                  </a:lnTo>
                  <a:lnTo>
                    <a:pt x="17" y="16"/>
                  </a:lnTo>
                  <a:lnTo>
                    <a:pt x="18" y="12"/>
                  </a:lnTo>
                  <a:lnTo>
                    <a:pt x="20" y="12"/>
                  </a:lnTo>
                  <a:lnTo>
                    <a:pt x="24" y="13"/>
                  </a:lnTo>
                  <a:lnTo>
                    <a:pt x="32" y="9"/>
                  </a:lnTo>
                  <a:lnTo>
                    <a:pt x="36" y="1"/>
                  </a:lnTo>
                  <a:lnTo>
                    <a:pt x="38" y="1"/>
                  </a:lnTo>
                  <a:lnTo>
                    <a:pt x="43" y="4"/>
                  </a:lnTo>
                  <a:lnTo>
                    <a:pt x="5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4" name="Mexico">
              <a:extLst>
                <a:ext uri="{FF2B5EF4-FFF2-40B4-BE49-F238E27FC236}">
                  <a16:creationId xmlns:a16="http://schemas.microsoft.com/office/drawing/2014/main" id="{98B7590E-B82A-8E22-8766-CFA73F46EA16}"/>
                </a:ext>
              </a:extLst>
            </p:cNvPr>
            <p:cNvSpPr>
              <a:spLocks/>
            </p:cNvSpPr>
            <p:nvPr/>
          </p:nvSpPr>
          <p:spPr bwMode="auto">
            <a:xfrm>
              <a:off x="3062846" y="3774229"/>
              <a:ext cx="715596" cy="469837"/>
            </a:xfrm>
            <a:custGeom>
              <a:avLst/>
              <a:gdLst>
                <a:gd name="T0" fmla="*/ 114 w 396"/>
                <a:gd name="T1" fmla="*/ 21 h 260"/>
                <a:gd name="T2" fmla="*/ 139 w 396"/>
                <a:gd name="T3" fmla="*/ 14 h 260"/>
                <a:gd name="T4" fmla="*/ 162 w 396"/>
                <a:gd name="T5" fmla="*/ 40 h 260"/>
                <a:gd name="T6" fmla="*/ 187 w 396"/>
                <a:gd name="T7" fmla="*/ 45 h 260"/>
                <a:gd name="T8" fmla="*/ 205 w 396"/>
                <a:gd name="T9" fmla="*/ 43 h 260"/>
                <a:gd name="T10" fmla="*/ 228 w 396"/>
                <a:gd name="T11" fmla="*/ 77 h 260"/>
                <a:gd name="T12" fmla="*/ 262 w 396"/>
                <a:gd name="T13" fmla="*/ 109 h 260"/>
                <a:gd name="T14" fmla="*/ 255 w 396"/>
                <a:gd name="T15" fmla="*/ 138 h 260"/>
                <a:gd name="T16" fmla="*/ 261 w 396"/>
                <a:gd name="T17" fmla="*/ 172 h 260"/>
                <a:gd name="T18" fmla="*/ 280 w 396"/>
                <a:gd name="T19" fmla="*/ 200 h 260"/>
                <a:gd name="T20" fmla="*/ 322 w 396"/>
                <a:gd name="T21" fmla="*/ 202 h 260"/>
                <a:gd name="T22" fmla="*/ 337 w 396"/>
                <a:gd name="T23" fmla="*/ 199 h 260"/>
                <a:gd name="T24" fmla="*/ 378 w 396"/>
                <a:gd name="T25" fmla="*/ 162 h 260"/>
                <a:gd name="T26" fmla="*/ 385 w 396"/>
                <a:gd name="T27" fmla="*/ 163 h 260"/>
                <a:gd name="T28" fmla="*/ 390 w 396"/>
                <a:gd name="T29" fmla="*/ 163 h 260"/>
                <a:gd name="T30" fmla="*/ 396 w 396"/>
                <a:gd name="T31" fmla="*/ 168 h 260"/>
                <a:gd name="T32" fmla="*/ 387 w 396"/>
                <a:gd name="T33" fmla="*/ 190 h 260"/>
                <a:gd name="T34" fmla="*/ 387 w 396"/>
                <a:gd name="T35" fmla="*/ 195 h 260"/>
                <a:gd name="T36" fmla="*/ 378 w 396"/>
                <a:gd name="T37" fmla="*/ 206 h 260"/>
                <a:gd name="T38" fmla="*/ 374 w 396"/>
                <a:gd name="T39" fmla="*/ 208 h 260"/>
                <a:gd name="T40" fmla="*/ 343 w 396"/>
                <a:gd name="T41" fmla="*/ 215 h 260"/>
                <a:gd name="T42" fmla="*/ 338 w 396"/>
                <a:gd name="T43" fmla="*/ 221 h 260"/>
                <a:gd name="T44" fmla="*/ 348 w 396"/>
                <a:gd name="T45" fmla="*/ 238 h 260"/>
                <a:gd name="T46" fmla="*/ 328 w 396"/>
                <a:gd name="T47" fmla="*/ 252 h 260"/>
                <a:gd name="T48" fmla="*/ 308 w 396"/>
                <a:gd name="T49" fmla="*/ 243 h 260"/>
                <a:gd name="T50" fmla="*/ 274 w 396"/>
                <a:gd name="T51" fmla="*/ 246 h 260"/>
                <a:gd name="T52" fmla="*/ 240 w 396"/>
                <a:gd name="T53" fmla="*/ 233 h 260"/>
                <a:gd name="T54" fmla="*/ 181 w 396"/>
                <a:gd name="T55" fmla="*/ 209 h 260"/>
                <a:gd name="T56" fmla="*/ 154 w 396"/>
                <a:gd name="T57" fmla="*/ 190 h 260"/>
                <a:gd name="T58" fmla="*/ 156 w 396"/>
                <a:gd name="T59" fmla="*/ 178 h 260"/>
                <a:gd name="T60" fmla="*/ 150 w 396"/>
                <a:gd name="T61" fmla="*/ 150 h 260"/>
                <a:gd name="T62" fmla="*/ 122 w 396"/>
                <a:gd name="T63" fmla="*/ 123 h 260"/>
                <a:gd name="T64" fmla="*/ 116 w 396"/>
                <a:gd name="T65" fmla="*/ 113 h 260"/>
                <a:gd name="T66" fmla="*/ 107 w 396"/>
                <a:gd name="T67" fmla="*/ 107 h 260"/>
                <a:gd name="T68" fmla="*/ 101 w 396"/>
                <a:gd name="T69" fmla="*/ 103 h 260"/>
                <a:gd name="T70" fmla="*/ 86 w 396"/>
                <a:gd name="T71" fmla="*/ 74 h 260"/>
                <a:gd name="T72" fmla="*/ 58 w 396"/>
                <a:gd name="T73" fmla="*/ 43 h 260"/>
                <a:gd name="T74" fmla="*/ 39 w 396"/>
                <a:gd name="T75" fmla="*/ 21 h 260"/>
                <a:gd name="T76" fmla="*/ 39 w 396"/>
                <a:gd name="T77" fmla="*/ 46 h 260"/>
                <a:gd name="T78" fmla="*/ 52 w 396"/>
                <a:gd name="T79" fmla="*/ 60 h 260"/>
                <a:gd name="T80" fmla="*/ 71 w 396"/>
                <a:gd name="T81" fmla="*/ 89 h 260"/>
                <a:gd name="T82" fmla="*/ 89 w 396"/>
                <a:gd name="T83" fmla="*/ 126 h 260"/>
                <a:gd name="T84" fmla="*/ 102 w 396"/>
                <a:gd name="T85" fmla="*/ 137 h 260"/>
                <a:gd name="T86" fmla="*/ 88 w 396"/>
                <a:gd name="T87" fmla="*/ 135 h 260"/>
                <a:gd name="T88" fmla="*/ 64 w 396"/>
                <a:gd name="T89" fmla="*/ 119 h 260"/>
                <a:gd name="T90" fmla="*/ 55 w 396"/>
                <a:gd name="T91" fmla="*/ 94 h 260"/>
                <a:gd name="T92" fmla="*/ 48 w 396"/>
                <a:gd name="T93" fmla="*/ 91 h 260"/>
                <a:gd name="T94" fmla="*/ 39 w 396"/>
                <a:gd name="T95" fmla="*/ 74 h 260"/>
                <a:gd name="T96" fmla="*/ 19 w 396"/>
                <a:gd name="T97" fmla="*/ 46 h 260"/>
                <a:gd name="T98" fmla="*/ 8 w 396"/>
                <a:gd name="T99" fmla="*/ 15 h 260"/>
                <a:gd name="T100" fmla="*/ 31 w 396"/>
                <a:gd name="T10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6" h="260">
                  <a:moveTo>
                    <a:pt x="31" y="0"/>
                  </a:moveTo>
                  <a:lnTo>
                    <a:pt x="80" y="23"/>
                  </a:lnTo>
                  <a:lnTo>
                    <a:pt x="114" y="21"/>
                  </a:lnTo>
                  <a:lnTo>
                    <a:pt x="114" y="15"/>
                  </a:lnTo>
                  <a:lnTo>
                    <a:pt x="116" y="14"/>
                  </a:lnTo>
                  <a:lnTo>
                    <a:pt x="139" y="14"/>
                  </a:lnTo>
                  <a:lnTo>
                    <a:pt x="139" y="15"/>
                  </a:lnTo>
                  <a:lnTo>
                    <a:pt x="159" y="31"/>
                  </a:lnTo>
                  <a:lnTo>
                    <a:pt x="162" y="40"/>
                  </a:lnTo>
                  <a:lnTo>
                    <a:pt x="166" y="48"/>
                  </a:lnTo>
                  <a:lnTo>
                    <a:pt x="179" y="57"/>
                  </a:lnTo>
                  <a:lnTo>
                    <a:pt x="187" y="45"/>
                  </a:lnTo>
                  <a:lnTo>
                    <a:pt x="193" y="45"/>
                  </a:lnTo>
                  <a:lnTo>
                    <a:pt x="197" y="43"/>
                  </a:lnTo>
                  <a:lnTo>
                    <a:pt x="205" y="43"/>
                  </a:lnTo>
                  <a:lnTo>
                    <a:pt x="215" y="54"/>
                  </a:lnTo>
                  <a:lnTo>
                    <a:pt x="219" y="66"/>
                  </a:lnTo>
                  <a:lnTo>
                    <a:pt x="228" y="77"/>
                  </a:lnTo>
                  <a:lnTo>
                    <a:pt x="236" y="94"/>
                  </a:lnTo>
                  <a:lnTo>
                    <a:pt x="262" y="103"/>
                  </a:lnTo>
                  <a:lnTo>
                    <a:pt x="262" y="109"/>
                  </a:lnTo>
                  <a:lnTo>
                    <a:pt x="257" y="112"/>
                  </a:lnTo>
                  <a:lnTo>
                    <a:pt x="252" y="120"/>
                  </a:lnTo>
                  <a:lnTo>
                    <a:pt x="255" y="138"/>
                  </a:lnTo>
                  <a:lnTo>
                    <a:pt x="255" y="156"/>
                  </a:lnTo>
                  <a:lnTo>
                    <a:pt x="261" y="165"/>
                  </a:lnTo>
                  <a:lnTo>
                    <a:pt x="261" y="172"/>
                  </a:lnTo>
                  <a:lnTo>
                    <a:pt x="270" y="186"/>
                  </a:lnTo>
                  <a:lnTo>
                    <a:pt x="274" y="196"/>
                  </a:lnTo>
                  <a:lnTo>
                    <a:pt x="280" y="200"/>
                  </a:lnTo>
                  <a:lnTo>
                    <a:pt x="289" y="203"/>
                  </a:lnTo>
                  <a:lnTo>
                    <a:pt x="297" y="209"/>
                  </a:lnTo>
                  <a:lnTo>
                    <a:pt x="322" y="202"/>
                  </a:lnTo>
                  <a:lnTo>
                    <a:pt x="334" y="205"/>
                  </a:lnTo>
                  <a:lnTo>
                    <a:pt x="337" y="203"/>
                  </a:lnTo>
                  <a:lnTo>
                    <a:pt x="337" y="199"/>
                  </a:lnTo>
                  <a:lnTo>
                    <a:pt x="343" y="195"/>
                  </a:lnTo>
                  <a:lnTo>
                    <a:pt x="348" y="169"/>
                  </a:lnTo>
                  <a:lnTo>
                    <a:pt x="378" y="162"/>
                  </a:lnTo>
                  <a:lnTo>
                    <a:pt x="384" y="162"/>
                  </a:lnTo>
                  <a:lnTo>
                    <a:pt x="384" y="165"/>
                  </a:lnTo>
                  <a:lnTo>
                    <a:pt x="385" y="163"/>
                  </a:lnTo>
                  <a:lnTo>
                    <a:pt x="385" y="162"/>
                  </a:lnTo>
                  <a:lnTo>
                    <a:pt x="388" y="162"/>
                  </a:lnTo>
                  <a:lnTo>
                    <a:pt x="390" y="163"/>
                  </a:lnTo>
                  <a:lnTo>
                    <a:pt x="393" y="163"/>
                  </a:lnTo>
                  <a:lnTo>
                    <a:pt x="393" y="165"/>
                  </a:lnTo>
                  <a:lnTo>
                    <a:pt x="396" y="168"/>
                  </a:lnTo>
                  <a:lnTo>
                    <a:pt x="396" y="169"/>
                  </a:lnTo>
                  <a:lnTo>
                    <a:pt x="385" y="190"/>
                  </a:lnTo>
                  <a:lnTo>
                    <a:pt x="387" y="190"/>
                  </a:lnTo>
                  <a:lnTo>
                    <a:pt x="387" y="192"/>
                  </a:lnTo>
                  <a:lnTo>
                    <a:pt x="385" y="193"/>
                  </a:lnTo>
                  <a:lnTo>
                    <a:pt x="387" y="195"/>
                  </a:lnTo>
                  <a:lnTo>
                    <a:pt x="383" y="212"/>
                  </a:lnTo>
                  <a:lnTo>
                    <a:pt x="381" y="212"/>
                  </a:lnTo>
                  <a:lnTo>
                    <a:pt x="378" y="206"/>
                  </a:lnTo>
                  <a:lnTo>
                    <a:pt x="378" y="202"/>
                  </a:lnTo>
                  <a:lnTo>
                    <a:pt x="375" y="206"/>
                  </a:lnTo>
                  <a:lnTo>
                    <a:pt x="374" y="208"/>
                  </a:lnTo>
                  <a:lnTo>
                    <a:pt x="369" y="214"/>
                  </a:lnTo>
                  <a:lnTo>
                    <a:pt x="365" y="215"/>
                  </a:lnTo>
                  <a:lnTo>
                    <a:pt x="343" y="215"/>
                  </a:lnTo>
                  <a:lnTo>
                    <a:pt x="343" y="223"/>
                  </a:lnTo>
                  <a:lnTo>
                    <a:pt x="340" y="223"/>
                  </a:lnTo>
                  <a:lnTo>
                    <a:pt x="338" y="221"/>
                  </a:lnTo>
                  <a:lnTo>
                    <a:pt x="337" y="221"/>
                  </a:lnTo>
                  <a:lnTo>
                    <a:pt x="344" y="229"/>
                  </a:lnTo>
                  <a:lnTo>
                    <a:pt x="348" y="238"/>
                  </a:lnTo>
                  <a:lnTo>
                    <a:pt x="348" y="239"/>
                  </a:lnTo>
                  <a:lnTo>
                    <a:pt x="335" y="239"/>
                  </a:lnTo>
                  <a:lnTo>
                    <a:pt x="328" y="252"/>
                  </a:lnTo>
                  <a:lnTo>
                    <a:pt x="325" y="258"/>
                  </a:lnTo>
                  <a:lnTo>
                    <a:pt x="325" y="260"/>
                  </a:lnTo>
                  <a:lnTo>
                    <a:pt x="308" y="243"/>
                  </a:lnTo>
                  <a:lnTo>
                    <a:pt x="294" y="238"/>
                  </a:lnTo>
                  <a:lnTo>
                    <a:pt x="289" y="239"/>
                  </a:lnTo>
                  <a:lnTo>
                    <a:pt x="274" y="246"/>
                  </a:lnTo>
                  <a:lnTo>
                    <a:pt x="273" y="246"/>
                  </a:lnTo>
                  <a:lnTo>
                    <a:pt x="254" y="241"/>
                  </a:lnTo>
                  <a:lnTo>
                    <a:pt x="240" y="233"/>
                  </a:lnTo>
                  <a:lnTo>
                    <a:pt x="212" y="226"/>
                  </a:lnTo>
                  <a:lnTo>
                    <a:pt x="200" y="214"/>
                  </a:lnTo>
                  <a:lnTo>
                    <a:pt x="181" y="209"/>
                  </a:lnTo>
                  <a:lnTo>
                    <a:pt x="174" y="203"/>
                  </a:lnTo>
                  <a:lnTo>
                    <a:pt x="162" y="196"/>
                  </a:lnTo>
                  <a:lnTo>
                    <a:pt x="154" y="190"/>
                  </a:lnTo>
                  <a:lnTo>
                    <a:pt x="151" y="181"/>
                  </a:lnTo>
                  <a:lnTo>
                    <a:pt x="151" y="180"/>
                  </a:lnTo>
                  <a:lnTo>
                    <a:pt x="156" y="178"/>
                  </a:lnTo>
                  <a:lnTo>
                    <a:pt x="154" y="175"/>
                  </a:lnTo>
                  <a:lnTo>
                    <a:pt x="157" y="168"/>
                  </a:lnTo>
                  <a:lnTo>
                    <a:pt x="150" y="150"/>
                  </a:lnTo>
                  <a:lnTo>
                    <a:pt x="141" y="143"/>
                  </a:lnTo>
                  <a:lnTo>
                    <a:pt x="134" y="132"/>
                  </a:lnTo>
                  <a:lnTo>
                    <a:pt x="122" y="123"/>
                  </a:lnTo>
                  <a:lnTo>
                    <a:pt x="122" y="122"/>
                  </a:lnTo>
                  <a:lnTo>
                    <a:pt x="120" y="116"/>
                  </a:lnTo>
                  <a:lnTo>
                    <a:pt x="116" y="113"/>
                  </a:lnTo>
                  <a:lnTo>
                    <a:pt x="108" y="110"/>
                  </a:lnTo>
                  <a:lnTo>
                    <a:pt x="107" y="110"/>
                  </a:lnTo>
                  <a:lnTo>
                    <a:pt x="107" y="107"/>
                  </a:lnTo>
                  <a:lnTo>
                    <a:pt x="104" y="107"/>
                  </a:lnTo>
                  <a:lnTo>
                    <a:pt x="101" y="104"/>
                  </a:lnTo>
                  <a:lnTo>
                    <a:pt x="101" y="103"/>
                  </a:lnTo>
                  <a:lnTo>
                    <a:pt x="105" y="97"/>
                  </a:lnTo>
                  <a:lnTo>
                    <a:pt x="88" y="83"/>
                  </a:lnTo>
                  <a:lnTo>
                    <a:pt x="86" y="74"/>
                  </a:lnTo>
                  <a:lnTo>
                    <a:pt x="80" y="73"/>
                  </a:lnTo>
                  <a:lnTo>
                    <a:pt x="70" y="63"/>
                  </a:lnTo>
                  <a:lnTo>
                    <a:pt x="58" y="43"/>
                  </a:lnTo>
                  <a:lnTo>
                    <a:pt x="52" y="26"/>
                  </a:lnTo>
                  <a:lnTo>
                    <a:pt x="45" y="20"/>
                  </a:lnTo>
                  <a:lnTo>
                    <a:pt x="39" y="21"/>
                  </a:lnTo>
                  <a:lnTo>
                    <a:pt x="31" y="14"/>
                  </a:lnTo>
                  <a:lnTo>
                    <a:pt x="36" y="40"/>
                  </a:lnTo>
                  <a:lnTo>
                    <a:pt x="39" y="46"/>
                  </a:lnTo>
                  <a:lnTo>
                    <a:pt x="48" y="52"/>
                  </a:lnTo>
                  <a:lnTo>
                    <a:pt x="50" y="58"/>
                  </a:lnTo>
                  <a:lnTo>
                    <a:pt x="52" y="60"/>
                  </a:lnTo>
                  <a:lnTo>
                    <a:pt x="53" y="60"/>
                  </a:lnTo>
                  <a:lnTo>
                    <a:pt x="70" y="89"/>
                  </a:lnTo>
                  <a:lnTo>
                    <a:pt x="71" y="89"/>
                  </a:lnTo>
                  <a:lnTo>
                    <a:pt x="74" y="91"/>
                  </a:lnTo>
                  <a:lnTo>
                    <a:pt x="88" y="126"/>
                  </a:lnTo>
                  <a:lnTo>
                    <a:pt x="89" y="126"/>
                  </a:lnTo>
                  <a:lnTo>
                    <a:pt x="92" y="125"/>
                  </a:lnTo>
                  <a:lnTo>
                    <a:pt x="92" y="126"/>
                  </a:lnTo>
                  <a:lnTo>
                    <a:pt x="102" y="137"/>
                  </a:lnTo>
                  <a:lnTo>
                    <a:pt x="101" y="143"/>
                  </a:lnTo>
                  <a:lnTo>
                    <a:pt x="95" y="147"/>
                  </a:lnTo>
                  <a:lnTo>
                    <a:pt x="88" y="135"/>
                  </a:lnTo>
                  <a:lnTo>
                    <a:pt x="70" y="120"/>
                  </a:lnTo>
                  <a:lnTo>
                    <a:pt x="64" y="120"/>
                  </a:lnTo>
                  <a:lnTo>
                    <a:pt x="64" y="119"/>
                  </a:lnTo>
                  <a:lnTo>
                    <a:pt x="65" y="106"/>
                  </a:lnTo>
                  <a:lnTo>
                    <a:pt x="64" y="98"/>
                  </a:lnTo>
                  <a:lnTo>
                    <a:pt x="55" y="94"/>
                  </a:lnTo>
                  <a:lnTo>
                    <a:pt x="53" y="89"/>
                  </a:lnTo>
                  <a:lnTo>
                    <a:pt x="52" y="91"/>
                  </a:lnTo>
                  <a:lnTo>
                    <a:pt x="48" y="91"/>
                  </a:lnTo>
                  <a:lnTo>
                    <a:pt x="28" y="77"/>
                  </a:lnTo>
                  <a:lnTo>
                    <a:pt x="28" y="74"/>
                  </a:lnTo>
                  <a:lnTo>
                    <a:pt x="39" y="74"/>
                  </a:lnTo>
                  <a:lnTo>
                    <a:pt x="40" y="66"/>
                  </a:lnTo>
                  <a:lnTo>
                    <a:pt x="28" y="51"/>
                  </a:lnTo>
                  <a:lnTo>
                    <a:pt x="19" y="46"/>
                  </a:lnTo>
                  <a:lnTo>
                    <a:pt x="18" y="37"/>
                  </a:lnTo>
                  <a:lnTo>
                    <a:pt x="15" y="37"/>
                  </a:lnTo>
                  <a:lnTo>
                    <a:pt x="8" y="15"/>
                  </a:lnTo>
                  <a:lnTo>
                    <a:pt x="0" y="5"/>
                  </a:lnTo>
                  <a:lnTo>
                    <a:pt x="0" y="3"/>
                  </a:lnTo>
                  <a:lnTo>
                    <a:pt x="3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5" name="Martinique">
              <a:extLst>
                <a:ext uri="{FF2B5EF4-FFF2-40B4-BE49-F238E27FC236}">
                  <a16:creationId xmlns:a16="http://schemas.microsoft.com/office/drawing/2014/main" id="{F7E3BBEC-1A18-797F-A1FC-ACD03156667D}"/>
                </a:ext>
              </a:extLst>
            </p:cNvPr>
            <p:cNvSpPr>
              <a:spLocks/>
            </p:cNvSpPr>
            <p:nvPr/>
          </p:nvSpPr>
          <p:spPr bwMode="auto">
            <a:xfrm>
              <a:off x="4380195" y="4235030"/>
              <a:ext cx="10843" cy="14457"/>
            </a:xfrm>
            <a:custGeom>
              <a:avLst/>
              <a:gdLst>
                <a:gd name="T0" fmla="*/ 0 w 6"/>
                <a:gd name="T1" fmla="*/ 0 h 8"/>
                <a:gd name="T2" fmla="*/ 2 w 6"/>
                <a:gd name="T3" fmla="*/ 0 h 8"/>
                <a:gd name="T4" fmla="*/ 6 w 6"/>
                <a:gd name="T5" fmla="*/ 6 h 8"/>
                <a:gd name="T6" fmla="*/ 6 w 6"/>
                <a:gd name="T7" fmla="*/ 8 h 8"/>
                <a:gd name="T8" fmla="*/ 3 w 6"/>
                <a:gd name="T9" fmla="*/ 8 h 8"/>
                <a:gd name="T10" fmla="*/ 3 w 6"/>
                <a:gd name="T11" fmla="*/ 6 h 8"/>
                <a:gd name="T12" fmla="*/ 0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0"/>
                  </a:moveTo>
                  <a:lnTo>
                    <a:pt x="2" y="0"/>
                  </a:lnTo>
                  <a:lnTo>
                    <a:pt x="6" y="6"/>
                  </a:lnTo>
                  <a:lnTo>
                    <a:pt x="6" y="8"/>
                  </a:lnTo>
                  <a:lnTo>
                    <a:pt x="3" y="8"/>
                  </a:lnTo>
                  <a:lnTo>
                    <a:pt x="3" y="6"/>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6" name="Lago de Nicaragua">
              <a:extLst>
                <a:ext uri="{FF2B5EF4-FFF2-40B4-BE49-F238E27FC236}">
                  <a16:creationId xmlns:a16="http://schemas.microsoft.com/office/drawing/2014/main" id="{1881C5FD-B60B-E130-4A21-A0B91778F211}"/>
                </a:ext>
              </a:extLst>
            </p:cNvPr>
            <p:cNvSpPr>
              <a:spLocks/>
            </p:cNvSpPr>
            <p:nvPr/>
          </p:nvSpPr>
          <p:spPr bwMode="auto">
            <a:xfrm>
              <a:off x="3800127" y="4301891"/>
              <a:ext cx="23493" cy="25299"/>
            </a:xfrm>
            <a:custGeom>
              <a:avLst/>
              <a:gdLst>
                <a:gd name="T0" fmla="*/ 0 w 13"/>
                <a:gd name="T1" fmla="*/ 0 h 14"/>
                <a:gd name="T2" fmla="*/ 3 w 13"/>
                <a:gd name="T3" fmla="*/ 0 h 14"/>
                <a:gd name="T4" fmla="*/ 10 w 13"/>
                <a:gd name="T5" fmla="*/ 6 h 14"/>
                <a:gd name="T6" fmla="*/ 13 w 13"/>
                <a:gd name="T7" fmla="*/ 14 h 14"/>
                <a:gd name="T8" fmla="*/ 3 w 13"/>
                <a:gd name="T9" fmla="*/ 11 h 14"/>
                <a:gd name="T10" fmla="*/ 0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0" y="0"/>
                  </a:moveTo>
                  <a:lnTo>
                    <a:pt x="3" y="0"/>
                  </a:lnTo>
                  <a:lnTo>
                    <a:pt x="10" y="6"/>
                  </a:lnTo>
                  <a:lnTo>
                    <a:pt x="13" y="14"/>
                  </a:lnTo>
                  <a:lnTo>
                    <a:pt x="3" y="11"/>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7" name="Honduras">
              <a:extLst>
                <a:ext uri="{FF2B5EF4-FFF2-40B4-BE49-F238E27FC236}">
                  <a16:creationId xmlns:a16="http://schemas.microsoft.com/office/drawing/2014/main" id="{79C11938-4406-57F3-A52A-1BC4DDE283A6}"/>
                </a:ext>
              </a:extLst>
            </p:cNvPr>
            <p:cNvSpPr>
              <a:spLocks/>
            </p:cNvSpPr>
            <p:nvPr/>
          </p:nvSpPr>
          <p:spPr bwMode="auto">
            <a:xfrm>
              <a:off x="3717003" y="4206117"/>
              <a:ext cx="144565" cy="75897"/>
            </a:xfrm>
            <a:custGeom>
              <a:avLst/>
              <a:gdLst>
                <a:gd name="T0" fmla="*/ 56 w 80"/>
                <a:gd name="T1" fmla="*/ 0 h 42"/>
                <a:gd name="T2" fmla="*/ 69 w 80"/>
                <a:gd name="T3" fmla="*/ 4 h 42"/>
                <a:gd name="T4" fmla="*/ 80 w 80"/>
                <a:gd name="T5" fmla="*/ 15 h 42"/>
                <a:gd name="T6" fmla="*/ 80 w 80"/>
                <a:gd name="T7" fmla="*/ 16 h 42"/>
                <a:gd name="T8" fmla="*/ 66 w 80"/>
                <a:gd name="T9" fmla="*/ 21 h 42"/>
                <a:gd name="T10" fmla="*/ 61 w 80"/>
                <a:gd name="T11" fmla="*/ 18 h 42"/>
                <a:gd name="T12" fmla="*/ 56 w 80"/>
                <a:gd name="T13" fmla="*/ 24 h 42"/>
                <a:gd name="T14" fmla="*/ 47 w 80"/>
                <a:gd name="T15" fmla="*/ 30 h 42"/>
                <a:gd name="T16" fmla="*/ 43 w 80"/>
                <a:gd name="T17" fmla="*/ 28 h 42"/>
                <a:gd name="T18" fmla="*/ 41 w 80"/>
                <a:gd name="T19" fmla="*/ 33 h 42"/>
                <a:gd name="T20" fmla="*/ 35 w 80"/>
                <a:gd name="T21" fmla="*/ 33 h 42"/>
                <a:gd name="T22" fmla="*/ 35 w 80"/>
                <a:gd name="T23" fmla="*/ 37 h 42"/>
                <a:gd name="T24" fmla="*/ 31 w 80"/>
                <a:gd name="T25" fmla="*/ 40 h 42"/>
                <a:gd name="T26" fmla="*/ 26 w 80"/>
                <a:gd name="T27" fmla="*/ 42 h 42"/>
                <a:gd name="T28" fmla="*/ 23 w 80"/>
                <a:gd name="T29" fmla="*/ 37 h 42"/>
                <a:gd name="T30" fmla="*/ 21 w 80"/>
                <a:gd name="T31" fmla="*/ 37 h 42"/>
                <a:gd name="T32" fmla="*/ 19 w 80"/>
                <a:gd name="T33" fmla="*/ 30 h 42"/>
                <a:gd name="T34" fmla="*/ 12 w 80"/>
                <a:gd name="T35" fmla="*/ 30 h 42"/>
                <a:gd name="T36" fmla="*/ 0 w 80"/>
                <a:gd name="T37" fmla="*/ 22 h 42"/>
                <a:gd name="T38" fmla="*/ 1 w 80"/>
                <a:gd name="T39" fmla="*/ 19 h 42"/>
                <a:gd name="T40" fmla="*/ 1 w 80"/>
                <a:gd name="T41" fmla="*/ 15 h 42"/>
                <a:gd name="T42" fmla="*/ 12 w 80"/>
                <a:gd name="T43" fmla="*/ 6 h 42"/>
                <a:gd name="T44" fmla="*/ 13 w 80"/>
                <a:gd name="T45" fmla="*/ 3 h 42"/>
                <a:gd name="T46" fmla="*/ 56 w 80"/>
                <a:gd name="T4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42">
                  <a:moveTo>
                    <a:pt x="56" y="0"/>
                  </a:moveTo>
                  <a:lnTo>
                    <a:pt x="69" y="4"/>
                  </a:lnTo>
                  <a:lnTo>
                    <a:pt x="80" y="15"/>
                  </a:lnTo>
                  <a:lnTo>
                    <a:pt x="80" y="16"/>
                  </a:lnTo>
                  <a:lnTo>
                    <a:pt x="66" y="21"/>
                  </a:lnTo>
                  <a:lnTo>
                    <a:pt x="61" y="18"/>
                  </a:lnTo>
                  <a:lnTo>
                    <a:pt x="56" y="24"/>
                  </a:lnTo>
                  <a:lnTo>
                    <a:pt x="47" y="30"/>
                  </a:lnTo>
                  <a:lnTo>
                    <a:pt x="43" y="28"/>
                  </a:lnTo>
                  <a:lnTo>
                    <a:pt x="41" y="33"/>
                  </a:lnTo>
                  <a:lnTo>
                    <a:pt x="35" y="33"/>
                  </a:lnTo>
                  <a:lnTo>
                    <a:pt x="35" y="37"/>
                  </a:lnTo>
                  <a:lnTo>
                    <a:pt x="31" y="40"/>
                  </a:lnTo>
                  <a:lnTo>
                    <a:pt x="26" y="42"/>
                  </a:lnTo>
                  <a:lnTo>
                    <a:pt x="23" y="37"/>
                  </a:lnTo>
                  <a:lnTo>
                    <a:pt x="21" y="37"/>
                  </a:lnTo>
                  <a:lnTo>
                    <a:pt x="19" y="30"/>
                  </a:lnTo>
                  <a:lnTo>
                    <a:pt x="12" y="30"/>
                  </a:lnTo>
                  <a:lnTo>
                    <a:pt x="0" y="22"/>
                  </a:lnTo>
                  <a:lnTo>
                    <a:pt x="1" y="19"/>
                  </a:lnTo>
                  <a:lnTo>
                    <a:pt x="1" y="15"/>
                  </a:lnTo>
                  <a:lnTo>
                    <a:pt x="12" y="6"/>
                  </a:lnTo>
                  <a:lnTo>
                    <a:pt x="13" y="3"/>
                  </a:lnTo>
                  <a:lnTo>
                    <a:pt x="5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8" name="Haiti">
              <a:extLst>
                <a:ext uri="{FF2B5EF4-FFF2-40B4-BE49-F238E27FC236}">
                  <a16:creationId xmlns:a16="http://schemas.microsoft.com/office/drawing/2014/main" id="{A44673DC-460A-9D1D-6786-7487782CCE8B}"/>
                </a:ext>
              </a:extLst>
            </p:cNvPr>
            <p:cNvSpPr>
              <a:spLocks/>
            </p:cNvSpPr>
            <p:nvPr/>
          </p:nvSpPr>
          <p:spPr bwMode="auto">
            <a:xfrm>
              <a:off x="4069380" y="4106729"/>
              <a:ext cx="66862" cy="50597"/>
            </a:xfrm>
            <a:custGeom>
              <a:avLst/>
              <a:gdLst/>
              <a:ahLst/>
              <a:cxnLst/>
              <a:rect l="l" t="t" r="r" b="b"/>
              <a:pathLst>
                <a:path w="67395" h="51000">
                  <a:moveTo>
                    <a:pt x="27322" y="27322"/>
                  </a:moveTo>
                  <a:lnTo>
                    <a:pt x="36430" y="27322"/>
                  </a:lnTo>
                  <a:lnTo>
                    <a:pt x="38251" y="32787"/>
                  </a:lnTo>
                  <a:lnTo>
                    <a:pt x="41894" y="34608"/>
                  </a:lnTo>
                  <a:lnTo>
                    <a:pt x="38251" y="34608"/>
                  </a:lnTo>
                  <a:lnTo>
                    <a:pt x="30965" y="32787"/>
                  </a:lnTo>
                  <a:lnTo>
                    <a:pt x="27322" y="29144"/>
                  </a:lnTo>
                  <a:close/>
                  <a:moveTo>
                    <a:pt x="36430" y="0"/>
                  </a:moveTo>
                  <a:lnTo>
                    <a:pt x="38252" y="0"/>
                  </a:lnTo>
                  <a:lnTo>
                    <a:pt x="43716" y="3643"/>
                  </a:lnTo>
                  <a:lnTo>
                    <a:pt x="43716" y="5465"/>
                  </a:lnTo>
                  <a:lnTo>
                    <a:pt x="41899" y="5465"/>
                  </a:lnTo>
                  <a:lnTo>
                    <a:pt x="52823" y="9107"/>
                  </a:lnTo>
                  <a:lnTo>
                    <a:pt x="63752" y="5464"/>
                  </a:lnTo>
                  <a:lnTo>
                    <a:pt x="67395" y="21857"/>
                  </a:lnTo>
                  <a:lnTo>
                    <a:pt x="63752" y="38250"/>
                  </a:lnTo>
                  <a:lnTo>
                    <a:pt x="65574" y="51000"/>
                  </a:lnTo>
                  <a:lnTo>
                    <a:pt x="63752" y="51000"/>
                  </a:lnTo>
                  <a:lnTo>
                    <a:pt x="54645" y="49179"/>
                  </a:lnTo>
                  <a:lnTo>
                    <a:pt x="41894" y="51000"/>
                  </a:lnTo>
                  <a:lnTo>
                    <a:pt x="21858" y="45536"/>
                  </a:lnTo>
                  <a:lnTo>
                    <a:pt x="14572" y="51000"/>
                  </a:lnTo>
                  <a:lnTo>
                    <a:pt x="0" y="40071"/>
                  </a:lnTo>
                  <a:lnTo>
                    <a:pt x="0" y="38250"/>
                  </a:lnTo>
                  <a:lnTo>
                    <a:pt x="47359" y="38250"/>
                  </a:lnTo>
                  <a:lnTo>
                    <a:pt x="47359" y="34607"/>
                  </a:lnTo>
                  <a:lnTo>
                    <a:pt x="38251" y="29143"/>
                  </a:lnTo>
                  <a:lnTo>
                    <a:pt x="38251" y="16392"/>
                  </a:lnTo>
                  <a:lnTo>
                    <a:pt x="25501" y="10928"/>
                  </a:lnTo>
                  <a:lnTo>
                    <a:pt x="21858" y="10928"/>
                  </a:lnTo>
                  <a:lnTo>
                    <a:pt x="21858" y="9107"/>
                  </a:lnTo>
                  <a:lnTo>
                    <a:pt x="36430" y="3642"/>
                  </a:lnTo>
                  <a:lnTo>
                    <a:pt x="36430" y="364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9" name="Jamaica">
              <a:extLst>
                <a:ext uri="{FF2B5EF4-FFF2-40B4-BE49-F238E27FC236}">
                  <a16:creationId xmlns:a16="http://schemas.microsoft.com/office/drawing/2014/main" id="{6C1AADCB-FD11-476B-7460-C3D916B3198E}"/>
                </a:ext>
              </a:extLst>
            </p:cNvPr>
            <p:cNvSpPr>
              <a:spLocks/>
            </p:cNvSpPr>
            <p:nvPr/>
          </p:nvSpPr>
          <p:spPr bwMode="auto">
            <a:xfrm>
              <a:off x="3977219" y="4144677"/>
              <a:ext cx="52405" cy="21685"/>
            </a:xfrm>
            <a:custGeom>
              <a:avLst/>
              <a:gdLst>
                <a:gd name="T0" fmla="*/ 5 w 29"/>
                <a:gd name="T1" fmla="*/ 0 h 12"/>
                <a:gd name="T2" fmla="*/ 16 w 29"/>
                <a:gd name="T3" fmla="*/ 0 h 12"/>
                <a:gd name="T4" fmla="*/ 26 w 29"/>
                <a:gd name="T5" fmla="*/ 4 h 12"/>
                <a:gd name="T6" fmla="*/ 29 w 29"/>
                <a:gd name="T7" fmla="*/ 9 h 12"/>
                <a:gd name="T8" fmla="*/ 22 w 29"/>
                <a:gd name="T9" fmla="*/ 9 h 12"/>
                <a:gd name="T10" fmla="*/ 16 w 29"/>
                <a:gd name="T11" fmla="*/ 12 h 12"/>
                <a:gd name="T12" fmla="*/ 8 w 29"/>
                <a:gd name="T13" fmla="*/ 10 h 12"/>
                <a:gd name="T14" fmla="*/ 0 w 29"/>
                <a:gd name="T15" fmla="*/ 4 h 12"/>
                <a:gd name="T16" fmla="*/ 0 w 29"/>
                <a:gd name="T17" fmla="*/ 3 h 12"/>
                <a:gd name="T18" fmla="*/ 5 w 29"/>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2">
                  <a:moveTo>
                    <a:pt x="5" y="0"/>
                  </a:moveTo>
                  <a:lnTo>
                    <a:pt x="16" y="0"/>
                  </a:lnTo>
                  <a:lnTo>
                    <a:pt x="26" y="4"/>
                  </a:lnTo>
                  <a:lnTo>
                    <a:pt x="29" y="9"/>
                  </a:lnTo>
                  <a:lnTo>
                    <a:pt x="22" y="9"/>
                  </a:lnTo>
                  <a:lnTo>
                    <a:pt x="16" y="12"/>
                  </a:lnTo>
                  <a:lnTo>
                    <a:pt x="8" y="10"/>
                  </a:lnTo>
                  <a:lnTo>
                    <a:pt x="0" y="4"/>
                  </a:lnTo>
                  <a:lnTo>
                    <a:pt x="0" y="3"/>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0" name="Guadeloupe">
              <a:extLst>
                <a:ext uri="{FF2B5EF4-FFF2-40B4-BE49-F238E27FC236}">
                  <a16:creationId xmlns:a16="http://schemas.microsoft.com/office/drawing/2014/main" id="{14A5DB2E-EAF8-8188-E82A-97D4B28D7B2E}"/>
                </a:ext>
              </a:extLst>
            </p:cNvPr>
            <p:cNvSpPr>
              <a:spLocks/>
            </p:cNvSpPr>
            <p:nvPr/>
          </p:nvSpPr>
          <p:spPr bwMode="auto">
            <a:xfrm>
              <a:off x="4367546" y="4195275"/>
              <a:ext cx="16264" cy="14457"/>
            </a:xfrm>
            <a:custGeom>
              <a:avLst/>
              <a:gdLst>
                <a:gd name="T0" fmla="*/ 4 w 9"/>
                <a:gd name="T1" fmla="*/ 0 h 8"/>
                <a:gd name="T2" fmla="*/ 6 w 9"/>
                <a:gd name="T3" fmla="*/ 0 h 8"/>
                <a:gd name="T4" fmla="*/ 9 w 9"/>
                <a:gd name="T5" fmla="*/ 3 h 8"/>
                <a:gd name="T6" fmla="*/ 9 w 9"/>
                <a:gd name="T7" fmla="*/ 5 h 8"/>
                <a:gd name="T8" fmla="*/ 1 w 9"/>
                <a:gd name="T9" fmla="*/ 8 h 8"/>
                <a:gd name="T10" fmla="*/ 0 w 9"/>
                <a:gd name="T11" fmla="*/ 8 h 8"/>
                <a:gd name="T12" fmla="*/ 0 w 9"/>
                <a:gd name="T13" fmla="*/ 2 h 8"/>
                <a:gd name="T14" fmla="*/ 1 w 9"/>
                <a:gd name="T15" fmla="*/ 2 h 8"/>
                <a:gd name="T16" fmla="*/ 4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0"/>
                  </a:moveTo>
                  <a:lnTo>
                    <a:pt x="6" y="0"/>
                  </a:lnTo>
                  <a:lnTo>
                    <a:pt x="9" y="3"/>
                  </a:lnTo>
                  <a:lnTo>
                    <a:pt x="9" y="5"/>
                  </a:lnTo>
                  <a:lnTo>
                    <a:pt x="1" y="8"/>
                  </a:lnTo>
                  <a:lnTo>
                    <a:pt x="0" y="8"/>
                  </a:lnTo>
                  <a:lnTo>
                    <a:pt x="0" y="2"/>
                  </a:lnTo>
                  <a:lnTo>
                    <a:pt x="1" y="2"/>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1" name="Guatemala">
              <a:extLst>
                <a:ext uri="{FF2B5EF4-FFF2-40B4-BE49-F238E27FC236}">
                  <a16:creationId xmlns:a16="http://schemas.microsoft.com/office/drawing/2014/main" id="{B771541B-9576-870A-B5EF-85A45740396D}"/>
                </a:ext>
              </a:extLst>
            </p:cNvPr>
            <p:cNvSpPr>
              <a:spLocks/>
            </p:cNvSpPr>
            <p:nvPr/>
          </p:nvSpPr>
          <p:spPr bwMode="auto">
            <a:xfrm>
              <a:off x="3646527" y="4160940"/>
              <a:ext cx="97581" cy="104809"/>
            </a:xfrm>
            <a:custGeom>
              <a:avLst/>
              <a:gdLst>
                <a:gd name="T0" fmla="*/ 20 w 54"/>
                <a:gd name="T1" fmla="*/ 0 h 58"/>
                <a:gd name="T2" fmla="*/ 42 w 54"/>
                <a:gd name="T3" fmla="*/ 0 h 58"/>
                <a:gd name="T4" fmla="*/ 42 w 54"/>
                <a:gd name="T5" fmla="*/ 25 h 58"/>
                <a:gd name="T6" fmla="*/ 46 w 54"/>
                <a:gd name="T7" fmla="*/ 25 h 58"/>
                <a:gd name="T8" fmla="*/ 54 w 54"/>
                <a:gd name="T9" fmla="*/ 28 h 58"/>
                <a:gd name="T10" fmla="*/ 54 w 54"/>
                <a:gd name="T11" fmla="*/ 29 h 58"/>
                <a:gd name="T12" fmla="*/ 52 w 54"/>
                <a:gd name="T13" fmla="*/ 32 h 58"/>
                <a:gd name="T14" fmla="*/ 42 w 54"/>
                <a:gd name="T15" fmla="*/ 40 h 58"/>
                <a:gd name="T16" fmla="*/ 42 w 54"/>
                <a:gd name="T17" fmla="*/ 44 h 58"/>
                <a:gd name="T18" fmla="*/ 39 w 54"/>
                <a:gd name="T19" fmla="*/ 47 h 58"/>
                <a:gd name="T20" fmla="*/ 31 w 54"/>
                <a:gd name="T21" fmla="*/ 58 h 58"/>
                <a:gd name="T22" fmla="*/ 30 w 54"/>
                <a:gd name="T23" fmla="*/ 58 h 58"/>
                <a:gd name="T24" fmla="*/ 14 w 54"/>
                <a:gd name="T25" fmla="*/ 55 h 58"/>
                <a:gd name="T26" fmla="*/ 2 w 54"/>
                <a:gd name="T27" fmla="*/ 46 h 58"/>
                <a:gd name="T28" fmla="*/ 0 w 54"/>
                <a:gd name="T29" fmla="*/ 44 h 58"/>
                <a:gd name="T30" fmla="*/ 3 w 54"/>
                <a:gd name="T31" fmla="*/ 38 h 58"/>
                <a:gd name="T32" fmla="*/ 12 w 54"/>
                <a:gd name="T33" fmla="*/ 25 h 58"/>
                <a:gd name="T34" fmla="*/ 12 w 54"/>
                <a:gd name="T35" fmla="*/ 24 h 58"/>
                <a:gd name="T36" fmla="*/ 22 w 54"/>
                <a:gd name="T37" fmla="*/ 24 h 58"/>
                <a:gd name="T38" fmla="*/ 20 w 54"/>
                <a:gd name="T39" fmla="*/ 16 h 58"/>
                <a:gd name="T40" fmla="*/ 11 w 54"/>
                <a:gd name="T41" fmla="*/ 7 h 58"/>
                <a:gd name="T42" fmla="*/ 11 w 54"/>
                <a:gd name="T43" fmla="*/ 6 h 58"/>
                <a:gd name="T44" fmla="*/ 14 w 54"/>
                <a:gd name="T45" fmla="*/ 6 h 58"/>
                <a:gd name="T46" fmla="*/ 15 w 54"/>
                <a:gd name="T47" fmla="*/ 7 h 58"/>
                <a:gd name="T48" fmla="*/ 18 w 54"/>
                <a:gd name="T49" fmla="*/ 7 h 58"/>
                <a:gd name="T50" fmla="*/ 20 w 54"/>
                <a:gd name="T51" fmla="*/ 1 h 58"/>
                <a:gd name="T52" fmla="*/ 20 w 54"/>
                <a:gd name="T5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8">
                  <a:moveTo>
                    <a:pt x="20" y="0"/>
                  </a:moveTo>
                  <a:lnTo>
                    <a:pt x="42" y="0"/>
                  </a:lnTo>
                  <a:lnTo>
                    <a:pt x="42" y="25"/>
                  </a:lnTo>
                  <a:lnTo>
                    <a:pt x="46" y="25"/>
                  </a:lnTo>
                  <a:lnTo>
                    <a:pt x="54" y="28"/>
                  </a:lnTo>
                  <a:lnTo>
                    <a:pt x="54" y="29"/>
                  </a:lnTo>
                  <a:lnTo>
                    <a:pt x="52" y="32"/>
                  </a:lnTo>
                  <a:lnTo>
                    <a:pt x="42" y="40"/>
                  </a:lnTo>
                  <a:lnTo>
                    <a:pt x="42" y="44"/>
                  </a:lnTo>
                  <a:lnTo>
                    <a:pt x="39" y="47"/>
                  </a:lnTo>
                  <a:lnTo>
                    <a:pt x="31" y="58"/>
                  </a:lnTo>
                  <a:lnTo>
                    <a:pt x="30" y="58"/>
                  </a:lnTo>
                  <a:lnTo>
                    <a:pt x="14" y="55"/>
                  </a:lnTo>
                  <a:lnTo>
                    <a:pt x="2" y="46"/>
                  </a:lnTo>
                  <a:lnTo>
                    <a:pt x="0" y="44"/>
                  </a:lnTo>
                  <a:lnTo>
                    <a:pt x="3" y="38"/>
                  </a:lnTo>
                  <a:lnTo>
                    <a:pt x="12" y="25"/>
                  </a:lnTo>
                  <a:lnTo>
                    <a:pt x="12" y="24"/>
                  </a:lnTo>
                  <a:lnTo>
                    <a:pt x="22" y="24"/>
                  </a:lnTo>
                  <a:lnTo>
                    <a:pt x="20" y="16"/>
                  </a:lnTo>
                  <a:lnTo>
                    <a:pt x="11" y="7"/>
                  </a:lnTo>
                  <a:lnTo>
                    <a:pt x="11" y="6"/>
                  </a:lnTo>
                  <a:lnTo>
                    <a:pt x="14" y="6"/>
                  </a:lnTo>
                  <a:lnTo>
                    <a:pt x="15" y="7"/>
                  </a:lnTo>
                  <a:lnTo>
                    <a:pt x="18" y="7"/>
                  </a:lnTo>
                  <a:lnTo>
                    <a:pt x="20" y="1"/>
                  </a:lnTo>
                  <a:lnTo>
                    <a:pt x="2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2" name="El Salvador">
              <a:extLst>
                <a:ext uri="{FF2B5EF4-FFF2-40B4-BE49-F238E27FC236}">
                  <a16:creationId xmlns:a16="http://schemas.microsoft.com/office/drawing/2014/main" id="{7FAB0236-19D3-B686-1D77-733C81194221}"/>
                </a:ext>
              </a:extLst>
            </p:cNvPr>
            <p:cNvSpPr>
              <a:spLocks/>
            </p:cNvSpPr>
            <p:nvPr/>
          </p:nvSpPr>
          <p:spPr bwMode="auto">
            <a:xfrm>
              <a:off x="3700739" y="4245872"/>
              <a:ext cx="56019" cy="32527"/>
            </a:xfrm>
            <a:custGeom>
              <a:avLst/>
              <a:gdLst>
                <a:gd name="T0" fmla="*/ 9 w 31"/>
                <a:gd name="T1" fmla="*/ 0 h 18"/>
                <a:gd name="T2" fmla="*/ 21 w 31"/>
                <a:gd name="T3" fmla="*/ 8 h 18"/>
                <a:gd name="T4" fmla="*/ 28 w 31"/>
                <a:gd name="T5" fmla="*/ 6 h 18"/>
                <a:gd name="T6" fmla="*/ 30 w 31"/>
                <a:gd name="T7" fmla="*/ 6 h 18"/>
                <a:gd name="T8" fmla="*/ 30 w 31"/>
                <a:gd name="T9" fmla="*/ 8 h 18"/>
                <a:gd name="T10" fmla="*/ 31 w 31"/>
                <a:gd name="T11" fmla="*/ 14 h 18"/>
                <a:gd name="T12" fmla="*/ 31 w 31"/>
                <a:gd name="T13" fmla="*/ 15 h 18"/>
                <a:gd name="T14" fmla="*/ 25 w 31"/>
                <a:gd name="T15" fmla="*/ 18 h 18"/>
                <a:gd name="T16" fmla="*/ 18 w 31"/>
                <a:gd name="T17" fmla="*/ 18 h 18"/>
                <a:gd name="T18" fmla="*/ 0 w 31"/>
                <a:gd name="T19" fmla="*/ 11 h 18"/>
                <a:gd name="T20" fmla="*/ 0 w 31"/>
                <a:gd name="T21" fmla="*/ 9 h 18"/>
                <a:gd name="T22" fmla="*/ 9 w 31"/>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8">
                  <a:moveTo>
                    <a:pt x="9" y="0"/>
                  </a:moveTo>
                  <a:lnTo>
                    <a:pt x="21" y="8"/>
                  </a:lnTo>
                  <a:lnTo>
                    <a:pt x="28" y="6"/>
                  </a:lnTo>
                  <a:lnTo>
                    <a:pt x="30" y="6"/>
                  </a:lnTo>
                  <a:lnTo>
                    <a:pt x="30" y="8"/>
                  </a:lnTo>
                  <a:lnTo>
                    <a:pt x="31" y="14"/>
                  </a:lnTo>
                  <a:lnTo>
                    <a:pt x="31" y="15"/>
                  </a:lnTo>
                  <a:lnTo>
                    <a:pt x="25" y="18"/>
                  </a:lnTo>
                  <a:lnTo>
                    <a:pt x="18" y="18"/>
                  </a:lnTo>
                  <a:lnTo>
                    <a:pt x="0" y="11"/>
                  </a:lnTo>
                  <a:lnTo>
                    <a:pt x="0" y="9"/>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3" name="Dominican Republic">
              <a:extLst>
                <a:ext uri="{FF2B5EF4-FFF2-40B4-BE49-F238E27FC236}">
                  <a16:creationId xmlns:a16="http://schemas.microsoft.com/office/drawing/2014/main" id="{281675A8-EE7D-3ED5-4620-1434EBC5F099}"/>
                </a:ext>
              </a:extLst>
            </p:cNvPr>
            <p:cNvSpPr>
              <a:spLocks/>
            </p:cNvSpPr>
            <p:nvPr/>
          </p:nvSpPr>
          <p:spPr bwMode="auto">
            <a:xfrm>
              <a:off x="4129012" y="4110342"/>
              <a:ext cx="84933" cy="57826"/>
            </a:xfrm>
            <a:custGeom>
              <a:avLst/>
              <a:gdLst>
                <a:gd name="T0" fmla="*/ 15 w 47"/>
                <a:gd name="T1" fmla="*/ 0 h 32"/>
                <a:gd name="T2" fmla="*/ 25 w 47"/>
                <a:gd name="T3" fmla="*/ 3 h 32"/>
                <a:gd name="T4" fmla="*/ 28 w 47"/>
                <a:gd name="T5" fmla="*/ 7 h 32"/>
                <a:gd name="T6" fmla="*/ 36 w 47"/>
                <a:gd name="T7" fmla="*/ 9 h 32"/>
                <a:gd name="T8" fmla="*/ 36 w 47"/>
                <a:gd name="T9" fmla="*/ 10 h 32"/>
                <a:gd name="T10" fmla="*/ 33 w 47"/>
                <a:gd name="T11" fmla="*/ 12 h 32"/>
                <a:gd name="T12" fmla="*/ 40 w 47"/>
                <a:gd name="T13" fmla="*/ 13 h 32"/>
                <a:gd name="T14" fmla="*/ 47 w 47"/>
                <a:gd name="T15" fmla="*/ 17 h 32"/>
                <a:gd name="T16" fmla="*/ 47 w 47"/>
                <a:gd name="T17" fmla="*/ 19 h 32"/>
                <a:gd name="T18" fmla="*/ 45 w 47"/>
                <a:gd name="T19" fmla="*/ 23 h 32"/>
                <a:gd name="T20" fmla="*/ 43 w 47"/>
                <a:gd name="T21" fmla="*/ 23 h 32"/>
                <a:gd name="T22" fmla="*/ 42 w 47"/>
                <a:gd name="T23" fmla="*/ 22 h 32"/>
                <a:gd name="T24" fmla="*/ 34 w 47"/>
                <a:gd name="T25" fmla="*/ 22 h 32"/>
                <a:gd name="T26" fmla="*/ 33 w 47"/>
                <a:gd name="T27" fmla="*/ 20 h 32"/>
                <a:gd name="T28" fmla="*/ 31 w 47"/>
                <a:gd name="T29" fmla="*/ 20 h 32"/>
                <a:gd name="T30" fmla="*/ 18 w 47"/>
                <a:gd name="T31" fmla="*/ 26 h 32"/>
                <a:gd name="T32" fmla="*/ 18 w 47"/>
                <a:gd name="T33" fmla="*/ 25 h 32"/>
                <a:gd name="T34" fmla="*/ 15 w 47"/>
                <a:gd name="T35" fmla="*/ 22 h 32"/>
                <a:gd name="T36" fmla="*/ 6 w 47"/>
                <a:gd name="T37" fmla="*/ 32 h 32"/>
                <a:gd name="T38" fmla="*/ 4 w 47"/>
                <a:gd name="T39" fmla="*/ 32 h 32"/>
                <a:gd name="T40" fmla="*/ 2 w 47"/>
                <a:gd name="T41" fmla="*/ 26 h 32"/>
                <a:gd name="T42" fmla="*/ 0 w 47"/>
                <a:gd name="T43" fmla="*/ 19 h 32"/>
                <a:gd name="T44" fmla="*/ 3 w 47"/>
                <a:gd name="T45" fmla="*/ 10 h 32"/>
                <a:gd name="T46" fmla="*/ 2 w 47"/>
                <a:gd name="T47" fmla="*/ 1 h 32"/>
                <a:gd name="T48" fmla="*/ 15 w 47"/>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32">
                  <a:moveTo>
                    <a:pt x="15" y="0"/>
                  </a:moveTo>
                  <a:lnTo>
                    <a:pt x="25" y="3"/>
                  </a:lnTo>
                  <a:lnTo>
                    <a:pt x="28" y="7"/>
                  </a:lnTo>
                  <a:lnTo>
                    <a:pt x="36" y="9"/>
                  </a:lnTo>
                  <a:lnTo>
                    <a:pt x="36" y="10"/>
                  </a:lnTo>
                  <a:lnTo>
                    <a:pt x="33" y="12"/>
                  </a:lnTo>
                  <a:lnTo>
                    <a:pt x="40" y="13"/>
                  </a:lnTo>
                  <a:lnTo>
                    <a:pt x="47" y="17"/>
                  </a:lnTo>
                  <a:lnTo>
                    <a:pt x="47" y="19"/>
                  </a:lnTo>
                  <a:lnTo>
                    <a:pt x="45" y="23"/>
                  </a:lnTo>
                  <a:lnTo>
                    <a:pt x="43" y="23"/>
                  </a:lnTo>
                  <a:lnTo>
                    <a:pt x="42" y="22"/>
                  </a:lnTo>
                  <a:lnTo>
                    <a:pt x="34" y="22"/>
                  </a:lnTo>
                  <a:lnTo>
                    <a:pt x="33" y="20"/>
                  </a:lnTo>
                  <a:lnTo>
                    <a:pt x="31" y="20"/>
                  </a:lnTo>
                  <a:lnTo>
                    <a:pt x="18" y="26"/>
                  </a:lnTo>
                  <a:lnTo>
                    <a:pt x="18" y="25"/>
                  </a:lnTo>
                  <a:lnTo>
                    <a:pt x="15" y="22"/>
                  </a:lnTo>
                  <a:lnTo>
                    <a:pt x="6" y="32"/>
                  </a:lnTo>
                  <a:lnTo>
                    <a:pt x="4" y="32"/>
                  </a:lnTo>
                  <a:lnTo>
                    <a:pt x="2" y="26"/>
                  </a:lnTo>
                  <a:lnTo>
                    <a:pt x="0" y="19"/>
                  </a:lnTo>
                  <a:lnTo>
                    <a:pt x="3" y="10"/>
                  </a:lnTo>
                  <a:lnTo>
                    <a:pt x="2" y="1"/>
                  </a:lnTo>
                  <a:lnTo>
                    <a:pt x="1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4" name="Costa Rica">
              <a:extLst>
                <a:ext uri="{FF2B5EF4-FFF2-40B4-BE49-F238E27FC236}">
                  <a16:creationId xmlns:a16="http://schemas.microsoft.com/office/drawing/2014/main" id="{9D814AAB-45A9-CFFE-9215-558151BB12C6}"/>
                </a:ext>
              </a:extLst>
            </p:cNvPr>
            <p:cNvSpPr>
              <a:spLocks/>
            </p:cNvSpPr>
            <p:nvPr/>
          </p:nvSpPr>
          <p:spPr bwMode="auto">
            <a:xfrm>
              <a:off x="3800127" y="4323576"/>
              <a:ext cx="77705" cy="70476"/>
            </a:xfrm>
            <a:custGeom>
              <a:avLst/>
              <a:gdLst>
                <a:gd name="T0" fmla="*/ 1 w 43"/>
                <a:gd name="T1" fmla="*/ 0 h 39"/>
                <a:gd name="T2" fmla="*/ 7 w 43"/>
                <a:gd name="T3" fmla="*/ 0 h 39"/>
                <a:gd name="T4" fmla="*/ 12 w 43"/>
                <a:gd name="T5" fmla="*/ 2 h 39"/>
                <a:gd name="T6" fmla="*/ 18 w 43"/>
                <a:gd name="T7" fmla="*/ 2 h 39"/>
                <a:gd name="T8" fmla="*/ 22 w 43"/>
                <a:gd name="T9" fmla="*/ 6 h 39"/>
                <a:gd name="T10" fmla="*/ 28 w 43"/>
                <a:gd name="T11" fmla="*/ 3 h 39"/>
                <a:gd name="T12" fmla="*/ 29 w 43"/>
                <a:gd name="T13" fmla="*/ 3 h 39"/>
                <a:gd name="T14" fmla="*/ 34 w 43"/>
                <a:gd name="T15" fmla="*/ 14 h 39"/>
                <a:gd name="T16" fmla="*/ 43 w 43"/>
                <a:gd name="T17" fmla="*/ 21 h 39"/>
                <a:gd name="T18" fmla="*/ 40 w 43"/>
                <a:gd name="T19" fmla="*/ 24 h 39"/>
                <a:gd name="T20" fmla="*/ 40 w 43"/>
                <a:gd name="T21" fmla="*/ 27 h 39"/>
                <a:gd name="T22" fmla="*/ 41 w 43"/>
                <a:gd name="T23" fmla="*/ 27 h 39"/>
                <a:gd name="T24" fmla="*/ 41 w 43"/>
                <a:gd name="T25" fmla="*/ 28 h 39"/>
                <a:gd name="T26" fmla="*/ 38 w 43"/>
                <a:gd name="T27" fmla="*/ 37 h 39"/>
                <a:gd name="T28" fmla="*/ 38 w 43"/>
                <a:gd name="T29" fmla="*/ 39 h 39"/>
                <a:gd name="T30" fmla="*/ 37 w 43"/>
                <a:gd name="T31" fmla="*/ 39 h 39"/>
                <a:gd name="T32" fmla="*/ 37 w 43"/>
                <a:gd name="T33" fmla="*/ 37 h 39"/>
                <a:gd name="T34" fmla="*/ 34 w 43"/>
                <a:gd name="T35" fmla="*/ 36 h 39"/>
                <a:gd name="T36" fmla="*/ 34 w 43"/>
                <a:gd name="T37" fmla="*/ 37 h 39"/>
                <a:gd name="T38" fmla="*/ 32 w 43"/>
                <a:gd name="T39" fmla="*/ 37 h 39"/>
                <a:gd name="T40" fmla="*/ 28 w 43"/>
                <a:gd name="T41" fmla="*/ 36 h 39"/>
                <a:gd name="T42" fmla="*/ 28 w 43"/>
                <a:gd name="T43" fmla="*/ 28 h 39"/>
                <a:gd name="T44" fmla="*/ 18 w 43"/>
                <a:gd name="T45" fmla="*/ 24 h 39"/>
                <a:gd name="T46" fmla="*/ 12 w 43"/>
                <a:gd name="T47" fmla="*/ 15 h 39"/>
                <a:gd name="T48" fmla="*/ 12 w 43"/>
                <a:gd name="T49" fmla="*/ 21 h 39"/>
                <a:gd name="T50" fmla="*/ 10 w 43"/>
                <a:gd name="T51" fmla="*/ 21 h 39"/>
                <a:gd name="T52" fmla="*/ 3 w 43"/>
                <a:gd name="T53" fmla="*/ 17 h 39"/>
                <a:gd name="T54" fmla="*/ 0 w 43"/>
                <a:gd name="T55" fmla="*/ 11 h 39"/>
                <a:gd name="T56" fmla="*/ 1 w 43"/>
                <a:gd name="T57" fmla="*/ 2 h 39"/>
                <a:gd name="T58" fmla="*/ 1 w 43"/>
                <a:gd name="T5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39">
                  <a:moveTo>
                    <a:pt x="1" y="0"/>
                  </a:moveTo>
                  <a:lnTo>
                    <a:pt x="7" y="0"/>
                  </a:lnTo>
                  <a:lnTo>
                    <a:pt x="12" y="2"/>
                  </a:lnTo>
                  <a:lnTo>
                    <a:pt x="18" y="2"/>
                  </a:lnTo>
                  <a:lnTo>
                    <a:pt x="22" y="6"/>
                  </a:lnTo>
                  <a:lnTo>
                    <a:pt x="28" y="3"/>
                  </a:lnTo>
                  <a:lnTo>
                    <a:pt x="29" y="3"/>
                  </a:lnTo>
                  <a:lnTo>
                    <a:pt x="34" y="14"/>
                  </a:lnTo>
                  <a:lnTo>
                    <a:pt x="43" y="21"/>
                  </a:lnTo>
                  <a:lnTo>
                    <a:pt x="40" y="24"/>
                  </a:lnTo>
                  <a:lnTo>
                    <a:pt x="40" y="27"/>
                  </a:lnTo>
                  <a:lnTo>
                    <a:pt x="41" y="27"/>
                  </a:lnTo>
                  <a:lnTo>
                    <a:pt x="41" y="28"/>
                  </a:lnTo>
                  <a:lnTo>
                    <a:pt x="38" y="37"/>
                  </a:lnTo>
                  <a:lnTo>
                    <a:pt x="38" y="39"/>
                  </a:lnTo>
                  <a:lnTo>
                    <a:pt x="37" y="39"/>
                  </a:lnTo>
                  <a:lnTo>
                    <a:pt x="37" y="37"/>
                  </a:lnTo>
                  <a:lnTo>
                    <a:pt x="34" y="36"/>
                  </a:lnTo>
                  <a:lnTo>
                    <a:pt x="34" y="37"/>
                  </a:lnTo>
                  <a:lnTo>
                    <a:pt x="32" y="37"/>
                  </a:lnTo>
                  <a:lnTo>
                    <a:pt x="28" y="36"/>
                  </a:lnTo>
                  <a:lnTo>
                    <a:pt x="28" y="28"/>
                  </a:lnTo>
                  <a:lnTo>
                    <a:pt x="18" y="24"/>
                  </a:lnTo>
                  <a:lnTo>
                    <a:pt x="12" y="15"/>
                  </a:lnTo>
                  <a:lnTo>
                    <a:pt x="12" y="21"/>
                  </a:lnTo>
                  <a:lnTo>
                    <a:pt x="10" y="21"/>
                  </a:lnTo>
                  <a:lnTo>
                    <a:pt x="3" y="17"/>
                  </a:lnTo>
                  <a:lnTo>
                    <a:pt x="0" y="11"/>
                  </a:lnTo>
                  <a:lnTo>
                    <a:pt x="1" y="2"/>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5" name="Cuba">
              <a:extLst>
                <a:ext uri="{FF2B5EF4-FFF2-40B4-BE49-F238E27FC236}">
                  <a16:creationId xmlns:a16="http://schemas.microsoft.com/office/drawing/2014/main" id="{4077485E-1A3D-F14C-8A0D-A28B3326EDFE}"/>
                </a:ext>
              </a:extLst>
            </p:cNvPr>
            <p:cNvSpPr>
              <a:spLocks/>
            </p:cNvSpPr>
            <p:nvPr/>
          </p:nvSpPr>
          <p:spPr bwMode="auto">
            <a:xfrm>
              <a:off x="3823620" y="4027217"/>
              <a:ext cx="251182" cy="88546"/>
            </a:xfrm>
            <a:custGeom>
              <a:avLst/>
              <a:gdLst/>
              <a:ahLst/>
              <a:cxnLst/>
              <a:rect l="l" t="t" r="r" b="b"/>
              <a:pathLst>
                <a:path w="253184" h="89252">
                  <a:moveTo>
                    <a:pt x="43715" y="34608"/>
                  </a:moveTo>
                  <a:lnTo>
                    <a:pt x="51001" y="34608"/>
                  </a:lnTo>
                  <a:lnTo>
                    <a:pt x="51001" y="45538"/>
                  </a:lnTo>
                  <a:lnTo>
                    <a:pt x="49180" y="45538"/>
                  </a:lnTo>
                  <a:lnTo>
                    <a:pt x="45536" y="47359"/>
                  </a:lnTo>
                  <a:lnTo>
                    <a:pt x="40072" y="47359"/>
                  </a:lnTo>
                  <a:lnTo>
                    <a:pt x="38250" y="45538"/>
                  </a:lnTo>
                  <a:close/>
                  <a:moveTo>
                    <a:pt x="56466" y="0"/>
                  </a:moveTo>
                  <a:lnTo>
                    <a:pt x="76502" y="0"/>
                  </a:lnTo>
                  <a:lnTo>
                    <a:pt x="111110" y="5465"/>
                  </a:lnTo>
                  <a:lnTo>
                    <a:pt x="129324" y="21858"/>
                  </a:lnTo>
                  <a:lnTo>
                    <a:pt x="149360" y="21858"/>
                  </a:lnTo>
                  <a:lnTo>
                    <a:pt x="162111" y="30965"/>
                  </a:lnTo>
                  <a:lnTo>
                    <a:pt x="163930" y="31875"/>
                  </a:lnTo>
                  <a:lnTo>
                    <a:pt x="145717" y="18215"/>
                  </a:lnTo>
                  <a:lnTo>
                    <a:pt x="162111" y="23680"/>
                  </a:lnTo>
                  <a:lnTo>
                    <a:pt x="169397" y="29144"/>
                  </a:lnTo>
                  <a:lnTo>
                    <a:pt x="173040" y="29144"/>
                  </a:lnTo>
                  <a:lnTo>
                    <a:pt x="173040" y="34609"/>
                  </a:lnTo>
                  <a:lnTo>
                    <a:pt x="169399" y="34609"/>
                  </a:lnTo>
                  <a:lnTo>
                    <a:pt x="180325" y="40072"/>
                  </a:lnTo>
                  <a:lnTo>
                    <a:pt x="194897" y="47358"/>
                  </a:lnTo>
                  <a:lnTo>
                    <a:pt x="218576" y="52823"/>
                  </a:lnTo>
                  <a:lnTo>
                    <a:pt x="218576" y="63752"/>
                  </a:lnTo>
                  <a:lnTo>
                    <a:pt x="238612" y="63752"/>
                  </a:lnTo>
                  <a:lnTo>
                    <a:pt x="253184" y="74680"/>
                  </a:lnTo>
                  <a:lnTo>
                    <a:pt x="253184" y="78323"/>
                  </a:lnTo>
                  <a:lnTo>
                    <a:pt x="227684" y="85609"/>
                  </a:lnTo>
                  <a:lnTo>
                    <a:pt x="227684" y="89252"/>
                  </a:lnTo>
                  <a:lnTo>
                    <a:pt x="173040" y="89252"/>
                  </a:lnTo>
                  <a:lnTo>
                    <a:pt x="167575" y="85609"/>
                  </a:lnTo>
                  <a:lnTo>
                    <a:pt x="167575" y="83788"/>
                  </a:lnTo>
                  <a:lnTo>
                    <a:pt x="180325" y="72859"/>
                  </a:lnTo>
                  <a:lnTo>
                    <a:pt x="160289" y="67394"/>
                  </a:lnTo>
                  <a:lnTo>
                    <a:pt x="145718" y="45537"/>
                  </a:lnTo>
                  <a:lnTo>
                    <a:pt x="116574" y="41894"/>
                  </a:lnTo>
                  <a:lnTo>
                    <a:pt x="100181" y="30965"/>
                  </a:lnTo>
                  <a:lnTo>
                    <a:pt x="67394" y="29144"/>
                  </a:lnTo>
                  <a:lnTo>
                    <a:pt x="61930" y="23679"/>
                  </a:lnTo>
                  <a:lnTo>
                    <a:pt x="65573" y="21858"/>
                  </a:lnTo>
                  <a:lnTo>
                    <a:pt x="71037" y="18215"/>
                  </a:lnTo>
                  <a:lnTo>
                    <a:pt x="51001" y="18215"/>
                  </a:lnTo>
                  <a:lnTo>
                    <a:pt x="40072" y="27322"/>
                  </a:lnTo>
                  <a:lnTo>
                    <a:pt x="23679" y="29144"/>
                  </a:lnTo>
                  <a:lnTo>
                    <a:pt x="10929" y="40072"/>
                  </a:lnTo>
                  <a:lnTo>
                    <a:pt x="9107" y="40072"/>
                  </a:lnTo>
                  <a:lnTo>
                    <a:pt x="0" y="36430"/>
                  </a:lnTo>
                  <a:lnTo>
                    <a:pt x="0" y="34608"/>
                  </a:lnTo>
                  <a:lnTo>
                    <a:pt x="9107" y="30965"/>
                  </a:lnTo>
                  <a:lnTo>
                    <a:pt x="10929" y="18215"/>
                  </a:lnTo>
                  <a:lnTo>
                    <a:pt x="23679"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6" name="Belize">
              <a:extLst>
                <a:ext uri="{FF2B5EF4-FFF2-40B4-BE49-F238E27FC236}">
                  <a16:creationId xmlns:a16="http://schemas.microsoft.com/office/drawing/2014/main" id="{6BC5DF5A-2BC9-54AB-A522-616ACC90337E}"/>
                </a:ext>
              </a:extLst>
            </p:cNvPr>
            <p:cNvSpPr>
              <a:spLocks/>
            </p:cNvSpPr>
            <p:nvPr/>
          </p:nvSpPr>
          <p:spPr bwMode="auto">
            <a:xfrm>
              <a:off x="3718810" y="4146484"/>
              <a:ext cx="30721" cy="63248"/>
            </a:xfrm>
            <a:custGeom>
              <a:avLst/>
              <a:gdLst>
                <a:gd name="T0" fmla="*/ 9 w 17"/>
                <a:gd name="T1" fmla="*/ 0 h 35"/>
                <a:gd name="T2" fmla="*/ 12 w 17"/>
                <a:gd name="T3" fmla="*/ 0 h 35"/>
                <a:gd name="T4" fmla="*/ 17 w 17"/>
                <a:gd name="T5" fmla="*/ 3 h 35"/>
                <a:gd name="T6" fmla="*/ 14 w 17"/>
                <a:gd name="T7" fmla="*/ 21 h 35"/>
                <a:gd name="T8" fmla="*/ 6 w 17"/>
                <a:gd name="T9" fmla="*/ 35 h 35"/>
                <a:gd name="T10" fmla="*/ 0 w 17"/>
                <a:gd name="T11" fmla="*/ 35 h 35"/>
                <a:gd name="T12" fmla="*/ 0 w 17"/>
                <a:gd name="T13" fmla="*/ 8 h 35"/>
                <a:gd name="T14" fmla="*/ 2 w 17"/>
                <a:gd name="T15" fmla="*/ 8 h 35"/>
                <a:gd name="T16" fmla="*/ 6 w 17"/>
                <a:gd name="T17" fmla="*/ 6 h 35"/>
                <a:gd name="T18" fmla="*/ 9 w 17"/>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35">
                  <a:moveTo>
                    <a:pt x="9" y="0"/>
                  </a:moveTo>
                  <a:lnTo>
                    <a:pt x="12" y="0"/>
                  </a:lnTo>
                  <a:lnTo>
                    <a:pt x="17" y="3"/>
                  </a:lnTo>
                  <a:lnTo>
                    <a:pt x="14" y="21"/>
                  </a:lnTo>
                  <a:lnTo>
                    <a:pt x="6" y="35"/>
                  </a:lnTo>
                  <a:lnTo>
                    <a:pt x="0" y="35"/>
                  </a:lnTo>
                  <a:lnTo>
                    <a:pt x="0" y="8"/>
                  </a:lnTo>
                  <a:lnTo>
                    <a:pt x="2" y="8"/>
                  </a:lnTo>
                  <a:lnTo>
                    <a:pt x="6" y="6"/>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7" name="Greenland - Offshore">
              <a:extLst>
                <a:ext uri="{FF2B5EF4-FFF2-40B4-BE49-F238E27FC236}">
                  <a16:creationId xmlns:a16="http://schemas.microsoft.com/office/drawing/2014/main" id="{2DFCBFB5-D88D-BEF8-001A-DAD66D2B5CE3}"/>
                </a:ext>
              </a:extLst>
            </p:cNvPr>
            <p:cNvSpPr/>
            <p:nvPr/>
          </p:nvSpPr>
          <p:spPr>
            <a:xfrm>
              <a:off x="4114830" y="727607"/>
              <a:ext cx="1315871" cy="1577254"/>
            </a:xfrm>
            <a:custGeom>
              <a:avLst/>
              <a:gdLst/>
              <a:ahLst/>
              <a:cxnLst/>
              <a:rect l="l" t="t" r="r" b="b"/>
              <a:pathLst>
                <a:path w="1326361" h="1589827">
                  <a:moveTo>
                    <a:pt x="507533" y="1543579"/>
                  </a:moveTo>
                  <a:cubicBezTo>
                    <a:pt x="512900" y="1544838"/>
                    <a:pt x="518803" y="1546575"/>
                    <a:pt x="524230" y="1548071"/>
                  </a:cubicBezTo>
                  <a:cubicBezTo>
                    <a:pt x="520712" y="1557115"/>
                    <a:pt x="518208" y="1566522"/>
                    <a:pt x="514986" y="1575685"/>
                  </a:cubicBezTo>
                  <a:cubicBezTo>
                    <a:pt x="511052" y="1570295"/>
                    <a:pt x="507175" y="1563764"/>
                    <a:pt x="509738" y="1556935"/>
                  </a:cubicBezTo>
                  <a:cubicBezTo>
                    <a:pt x="511886" y="1552264"/>
                    <a:pt x="509561" y="1547772"/>
                    <a:pt x="507533" y="1543579"/>
                  </a:cubicBezTo>
                  <a:close/>
                  <a:moveTo>
                    <a:pt x="435827" y="1516730"/>
                  </a:moveTo>
                  <a:cubicBezTo>
                    <a:pt x="440086" y="1516856"/>
                    <a:pt x="444712" y="1518259"/>
                    <a:pt x="448332" y="1519095"/>
                  </a:cubicBezTo>
                  <a:cubicBezTo>
                    <a:pt x="466780" y="1522381"/>
                    <a:pt x="471689" y="1544779"/>
                    <a:pt x="488641" y="1550805"/>
                  </a:cubicBezTo>
                  <a:cubicBezTo>
                    <a:pt x="501156" y="1555291"/>
                    <a:pt x="497141" y="1573798"/>
                    <a:pt x="486065" y="1577738"/>
                  </a:cubicBezTo>
                  <a:cubicBezTo>
                    <a:pt x="472948" y="1583590"/>
                    <a:pt x="456484" y="1596254"/>
                    <a:pt x="442644" y="1585866"/>
                  </a:cubicBezTo>
                  <a:cubicBezTo>
                    <a:pt x="437613" y="1583474"/>
                    <a:pt x="439832" y="1578160"/>
                    <a:pt x="440726" y="1574096"/>
                  </a:cubicBezTo>
                  <a:cubicBezTo>
                    <a:pt x="432469" y="1570877"/>
                    <a:pt x="424383" y="1566631"/>
                    <a:pt x="419889" y="1558693"/>
                  </a:cubicBezTo>
                  <a:cubicBezTo>
                    <a:pt x="424619" y="1558329"/>
                    <a:pt x="429349" y="1558213"/>
                    <a:pt x="434143" y="1558213"/>
                  </a:cubicBezTo>
                  <a:lnTo>
                    <a:pt x="422221" y="1551939"/>
                  </a:lnTo>
                  <a:cubicBezTo>
                    <a:pt x="424440" y="1548239"/>
                    <a:pt x="426837" y="1544597"/>
                    <a:pt x="429292" y="1541071"/>
                  </a:cubicBezTo>
                  <a:cubicBezTo>
                    <a:pt x="427731" y="1534863"/>
                    <a:pt x="423961" y="1528473"/>
                    <a:pt x="425521" y="1522025"/>
                  </a:cubicBezTo>
                  <a:cubicBezTo>
                    <a:pt x="427675" y="1517755"/>
                    <a:pt x="431567" y="1516604"/>
                    <a:pt x="435827" y="1516730"/>
                  </a:cubicBezTo>
                  <a:close/>
                  <a:moveTo>
                    <a:pt x="491142" y="1467836"/>
                  </a:moveTo>
                  <a:cubicBezTo>
                    <a:pt x="495965" y="1471117"/>
                    <a:pt x="500551" y="1474697"/>
                    <a:pt x="504667" y="1478873"/>
                  </a:cubicBezTo>
                  <a:cubicBezTo>
                    <a:pt x="499257" y="1478337"/>
                    <a:pt x="493907" y="1477680"/>
                    <a:pt x="488614" y="1476845"/>
                  </a:cubicBezTo>
                  <a:cubicBezTo>
                    <a:pt x="489495" y="1473861"/>
                    <a:pt x="490319" y="1470819"/>
                    <a:pt x="491142" y="1467836"/>
                  </a:cubicBezTo>
                  <a:close/>
                  <a:moveTo>
                    <a:pt x="1130402" y="1459810"/>
                  </a:moveTo>
                  <a:cubicBezTo>
                    <a:pt x="1128682" y="1462037"/>
                    <a:pt x="1127016" y="1464323"/>
                    <a:pt x="1125289" y="1466550"/>
                  </a:cubicBezTo>
                  <a:cubicBezTo>
                    <a:pt x="1130700" y="1474013"/>
                    <a:pt x="1131655" y="1483521"/>
                    <a:pt x="1133734" y="1492306"/>
                  </a:cubicBezTo>
                  <a:cubicBezTo>
                    <a:pt x="1125648" y="1496578"/>
                    <a:pt x="1117975" y="1501568"/>
                    <a:pt x="1109835" y="1505664"/>
                  </a:cubicBezTo>
                  <a:cubicBezTo>
                    <a:pt x="1108467" y="1504036"/>
                    <a:pt x="1107336" y="1502355"/>
                    <a:pt x="1106205" y="1500669"/>
                  </a:cubicBezTo>
                  <a:cubicBezTo>
                    <a:pt x="1092945" y="1504159"/>
                    <a:pt x="1079508" y="1506927"/>
                    <a:pt x="1066011" y="1508972"/>
                  </a:cubicBezTo>
                  <a:cubicBezTo>
                    <a:pt x="1067440" y="1499764"/>
                    <a:pt x="1073501" y="1493024"/>
                    <a:pt x="1080700" y="1487729"/>
                  </a:cubicBezTo>
                  <a:cubicBezTo>
                    <a:pt x="1077964" y="1484843"/>
                    <a:pt x="1073860" y="1481953"/>
                    <a:pt x="1075343" y="1477381"/>
                  </a:cubicBezTo>
                  <a:cubicBezTo>
                    <a:pt x="1078262" y="1471845"/>
                    <a:pt x="1084025" y="1476176"/>
                    <a:pt x="1087296" y="1478944"/>
                  </a:cubicBezTo>
                  <a:cubicBezTo>
                    <a:pt x="1102995" y="1475758"/>
                    <a:pt x="1116194" y="1466732"/>
                    <a:pt x="1130402" y="1459810"/>
                  </a:cubicBezTo>
                  <a:close/>
                  <a:moveTo>
                    <a:pt x="456196" y="1443761"/>
                  </a:moveTo>
                  <a:cubicBezTo>
                    <a:pt x="458846" y="1451381"/>
                    <a:pt x="461027" y="1459659"/>
                    <a:pt x="457432" y="1467338"/>
                  </a:cubicBezTo>
                  <a:cubicBezTo>
                    <a:pt x="453426" y="1463679"/>
                    <a:pt x="444471" y="1461279"/>
                    <a:pt x="447122" y="1454260"/>
                  </a:cubicBezTo>
                  <a:cubicBezTo>
                    <a:pt x="448595" y="1449641"/>
                    <a:pt x="452719" y="1446760"/>
                    <a:pt x="456196" y="1443761"/>
                  </a:cubicBezTo>
                  <a:close/>
                  <a:moveTo>
                    <a:pt x="462472" y="1416624"/>
                  </a:moveTo>
                  <a:cubicBezTo>
                    <a:pt x="465245" y="1414724"/>
                    <a:pt x="469375" y="1414812"/>
                    <a:pt x="475069" y="1417969"/>
                  </a:cubicBezTo>
                  <a:cubicBezTo>
                    <a:pt x="470538" y="1422821"/>
                    <a:pt x="464812" y="1426388"/>
                    <a:pt x="458014" y="1427206"/>
                  </a:cubicBezTo>
                  <a:cubicBezTo>
                    <a:pt x="458283" y="1422412"/>
                    <a:pt x="459699" y="1418525"/>
                    <a:pt x="462472" y="1416624"/>
                  </a:cubicBezTo>
                  <a:close/>
                  <a:moveTo>
                    <a:pt x="394347" y="1327877"/>
                  </a:moveTo>
                  <a:lnTo>
                    <a:pt x="403415" y="1328229"/>
                  </a:lnTo>
                  <a:cubicBezTo>
                    <a:pt x="403534" y="1330981"/>
                    <a:pt x="403653" y="1333792"/>
                    <a:pt x="403832" y="1336661"/>
                  </a:cubicBezTo>
                  <a:cubicBezTo>
                    <a:pt x="400134" y="1337540"/>
                    <a:pt x="396435" y="1338477"/>
                    <a:pt x="392796" y="1339414"/>
                  </a:cubicBezTo>
                  <a:cubicBezTo>
                    <a:pt x="393393" y="1335549"/>
                    <a:pt x="393930" y="1331683"/>
                    <a:pt x="394347" y="1327877"/>
                  </a:cubicBezTo>
                  <a:close/>
                  <a:moveTo>
                    <a:pt x="1152289" y="1322477"/>
                  </a:moveTo>
                  <a:cubicBezTo>
                    <a:pt x="1163487" y="1320854"/>
                    <a:pt x="1175042" y="1322117"/>
                    <a:pt x="1185637" y="1326203"/>
                  </a:cubicBezTo>
                  <a:cubicBezTo>
                    <a:pt x="1192047" y="1331790"/>
                    <a:pt x="1194980" y="1340810"/>
                    <a:pt x="1202820" y="1344834"/>
                  </a:cubicBezTo>
                  <a:cubicBezTo>
                    <a:pt x="1208687" y="1348803"/>
                    <a:pt x="1218508" y="1351926"/>
                    <a:pt x="1215515" y="1361002"/>
                  </a:cubicBezTo>
                  <a:cubicBezTo>
                    <a:pt x="1208449" y="1359378"/>
                    <a:pt x="1201383" y="1357817"/>
                    <a:pt x="1194258" y="1356672"/>
                  </a:cubicBezTo>
                  <a:cubicBezTo>
                    <a:pt x="1198748" y="1362924"/>
                    <a:pt x="1205337" y="1366955"/>
                    <a:pt x="1211084" y="1371819"/>
                  </a:cubicBezTo>
                  <a:cubicBezTo>
                    <a:pt x="1211025" y="1375608"/>
                    <a:pt x="1210303" y="1379334"/>
                    <a:pt x="1209946" y="1383060"/>
                  </a:cubicBezTo>
                  <a:cubicBezTo>
                    <a:pt x="1201086" y="1381797"/>
                    <a:pt x="1194258" y="1376087"/>
                    <a:pt x="1188391" y="1369897"/>
                  </a:cubicBezTo>
                  <a:cubicBezTo>
                    <a:pt x="1180492" y="1360342"/>
                    <a:pt x="1167440" y="1357518"/>
                    <a:pt x="1159831" y="1347658"/>
                  </a:cubicBezTo>
                  <a:cubicBezTo>
                    <a:pt x="1153488" y="1341046"/>
                    <a:pt x="1154925" y="1330589"/>
                    <a:pt x="1152289" y="1322477"/>
                  </a:cubicBezTo>
                  <a:close/>
                  <a:moveTo>
                    <a:pt x="1146272" y="1317342"/>
                  </a:moveTo>
                  <a:cubicBezTo>
                    <a:pt x="1145610" y="1321335"/>
                    <a:pt x="1144947" y="1325330"/>
                    <a:pt x="1144285" y="1329381"/>
                  </a:cubicBezTo>
                  <a:cubicBezTo>
                    <a:pt x="1140372" y="1328340"/>
                    <a:pt x="1136520" y="1327239"/>
                    <a:pt x="1132727" y="1326198"/>
                  </a:cubicBezTo>
                  <a:cubicBezTo>
                    <a:pt x="1136820" y="1322725"/>
                    <a:pt x="1141456" y="1319831"/>
                    <a:pt x="1146272" y="1317342"/>
                  </a:cubicBezTo>
                  <a:close/>
                  <a:moveTo>
                    <a:pt x="396431" y="1278717"/>
                  </a:moveTo>
                  <a:lnTo>
                    <a:pt x="406842" y="1281285"/>
                  </a:lnTo>
                  <a:cubicBezTo>
                    <a:pt x="405088" y="1289341"/>
                    <a:pt x="401227" y="1296803"/>
                    <a:pt x="395028" y="1302294"/>
                  </a:cubicBezTo>
                  <a:cubicBezTo>
                    <a:pt x="397074" y="1295728"/>
                    <a:pt x="400057" y="1289520"/>
                    <a:pt x="402981" y="1283312"/>
                  </a:cubicBezTo>
                  <a:lnTo>
                    <a:pt x="393799" y="1287252"/>
                  </a:lnTo>
                  <a:cubicBezTo>
                    <a:pt x="394677" y="1284387"/>
                    <a:pt x="395553" y="1281582"/>
                    <a:pt x="396431" y="1278717"/>
                  </a:cubicBezTo>
                  <a:close/>
                  <a:moveTo>
                    <a:pt x="390786" y="1253633"/>
                  </a:moveTo>
                  <a:cubicBezTo>
                    <a:pt x="385695" y="1258037"/>
                    <a:pt x="379211" y="1260656"/>
                    <a:pt x="372725" y="1257263"/>
                  </a:cubicBezTo>
                  <a:cubicBezTo>
                    <a:pt x="378241" y="1254288"/>
                    <a:pt x="384544" y="1253693"/>
                    <a:pt x="390786" y="1253633"/>
                  </a:cubicBezTo>
                  <a:close/>
                  <a:moveTo>
                    <a:pt x="370893" y="1171591"/>
                  </a:moveTo>
                  <a:cubicBezTo>
                    <a:pt x="373537" y="1170361"/>
                    <a:pt x="377744" y="1173559"/>
                    <a:pt x="375820" y="1176450"/>
                  </a:cubicBezTo>
                  <a:cubicBezTo>
                    <a:pt x="372936" y="1179894"/>
                    <a:pt x="366205" y="1173989"/>
                    <a:pt x="370893" y="1171591"/>
                  </a:cubicBezTo>
                  <a:close/>
                  <a:moveTo>
                    <a:pt x="1289843" y="1166349"/>
                  </a:moveTo>
                  <a:cubicBezTo>
                    <a:pt x="1290793" y="1170845"/>
                    <a:pt x="1291800" y="1175339"/>
                    <a:pt x="1292748" y="1179894"/>
                  </a:cubicBezTo>
                  <a:lnTo>
                    <a:pt x="1278702" y="1177497"/>
                  </a:lnTo>
                  <a:cubicBezTo>
                    <a:pt x="1282259" y="1173661"/>
                    <a:pt x="1285992" y="1169945"/>
                    <a:pt x="1289843" y="1166349"/>
                  </a:cubicBezTo>
                  <a:close/>
                  <a:moveTo>
                    <a:pt x="1257462" y="1134418"/>
                  </a:moveTo>
                  <a:cubicBezTo>
                    <a:pt x="1260468" y="1140962"/>
                    <a:pt x="1264914" y="1146910"/>
                    <a:pt x="1266657" y="1153928"/>
                  </a:cubicBezTo>
                  <a:cubicBezTo>
                    <a:pt x="1264973" y="1159104"/>
                    <a:pt x="1259986" y="1167849"/>
                    <a:pt x="1253495" y="1163446"/>
                  </a:cubicBezTo>
                  <a:cubicBezTo>
                    <a:pt x="1242077" y="1157974"/>
                    <a:pt x="1242738" y="1134240"/>
                    <a:pt x="1257462" y="1134418"/>
                  </a:cubicBezTo>
                  <a:close/>
                  <a:moveTo>
                    <a:pt x="1307932" y="1096613"/>
                  </a:moveTo>
                  <a:cubicBezTo>
                    <a:pt x="1310296" y="1101310"/>
                    <a:pt x="1312543" y="1106129"/>
                    <a:pt x="1314319" y="1111123"/>
                  </a:cubicBezTo>
                  <a:cubicBezTo>
                    <a:pt x="1311243" y="1112490"/>
                    <a:pt x="1308224" y="1113919"/>
                    <a:pt x="1305266" y="1115343"/>
                  </a:cubicBezTo>
                  <a:cubicBezTo>
                    <a:pt x="1308106" y="1120577"/>
                    <a:pt x="1310829" y="1125868"/>
                    <a:pt x="1313608" y="1131164"/>
                  </a:cubicBezTo>
                  <a:cubicBezTo>
                    <a:pt x="1317630" y="1128664"/>
                    <a:pt x="1321653" y="1126165"/>
                    <a:pt x="1325850" y="1123850"/>
                  </a:cubicBezTo>
                  <a:cubicBezTo>
                    <a:pt x="1325139" y="1130744"/>
                    <a:pt x="1323368" y="1137463"/>
                    <a:pt x="1320410" y="1143768"/>
                  </a:cubicBezTo>
                  <a:cubicBezTo>
                    <a:pt x="1318163" y="1140854"/>
                    <a:pt x="1316326" y="1137166"/>
                    <a:pt x="1312779" y="1135681"/>
                  </a:cubicBezTo>
                  <a:cubicBezTo>
                    <a:pt x="1304559" y="1136987"/>
                    <a:pt x="1296514" y="1142042"/>
                    <a:pt x="1288351" y="1137407"/>
                  </a:cubicBezTo>
                  <a:cubicBezTo>
                    <a:pt x="1290720" y="1126585"/>
                    <a:pt x="1285218" y="1112966"/>
                    <a:pt x="1292788" y="1103630"/>
                  </a:cubicBezTo>
                  <a:cubicBezTo>
                    <a:pt x="1297107" y="1105115"/>
                    <a:pt x="1300951" y="1107732"/>
                    <a:pt x="1304913" y="1110114"/>
                  </a:cubicBezTo>
                  <a:cubicBezTo>
                    <a:pt x="1305859" y="1105591"/>
                    <a:pt x="1306806" y="1101074"/>
                    <a:pt x="1307932" y="1096613"/>
                  </a:cubicBezTo>
                  <a:close/>
                  <a:moveTo>
                    <a:pt x="58997" y="996528"/>
                  </a:moveTo>
                  <a:cubicBezTo>
                    <a:pt x="61628" y="993775"/>
                    <a:pt x="66215" y="998302"/>
                    <a:pt x="63401" y="1000993"/>
                  </a:cubicBezTo>
                  <a:cubicBezTo>
                    <a:pt x="60771" y="1003807"/>
                    <a:pt x="56183" y="999220"/>
                    <a:pt x="58997" y="996528"/>
                  </a:cubicBezTo>
                  <a:close/>
                  <a:moveTo>
                    <a:pt x="1245884" y="988757"/>
                  </a:moveTo>
                  <a:cubicBezTo>
                    <a:pt x="1244377" y="992790"/>
                    <a:pt x="1242806" y="996703"/>
                    <a:pt x="1241237" y="1000676"/>
                  </a:cubicBezTo>
                  <a:cubicBezTo>
                    <a:pt x="1246851" y="1001098"/>
                    <a:pt x="1252523" y="1001338"/>
                    <a:pt x="1258133" y="1001879"/>
                  </a:cubicBezTo>
                  <a:cubicBezTo>
                    <a:pt x="1249504" y="1004708"/>
                    <a:pt x="1240513" y="1005311"/>
                    <a:pt x="1232549" y="1000735"/>
                  </a:cubicBezTo>
                  <a:cubicBezTo>
                    <a:pt x="1235445" y="995138"/>
                    <a:pt x="1238945" y="989360"/>
                    <a:pt x="1245884" y="988757"/>
                  </a:cubicBezTo>
                  <a:close/>
                  <a:moveTo>
                    <a:pt x="72320" y="981535"/>
                  </a:moveTo>
                  <a:cubicBezTo>
                    <a:pt x="75409" y="983167"/>
                    <a:pt x="76964" y="985720"/>
                    <a:pt x="72162" y="986928"/>
                  </a:cubicBezTo>
                  <a:cubicBezTo>
                    <a:pt x="69260" y="991764"/>
                    <a:pt x="53674" y="984149"/>
                    <a:pt x="63279" y="981670"/>
                  </a:cubicBezTo>
                  <a:cubicBezTo>
                    <a:pt x="64609" y="979193"/>
                    <a:pt x="69231" y="979903"/>
                    <a:pt x="72320" y="981535"/>
                  </a:cubicBezTo>
                  <a:close/>
                  <a:moveTo>
                    <a:pt x="1226952" y="977216"/>
                  </a:moveTo>
                  <a:cubicBezTo>
                    <a:pt x="1229781" y="978287"/>
                    <a:pt x="1232611" y="979358"/>
                    <a:pt x="1235561" y="980251"/>
                  </a:cubicBezTo>
                  <a:cubicBezTo>
                    <a:pt x="1234537" y="982750"/>
                    <a:pt x="1233514" y="985250"/>
                    <a:pt x="1232551" y="987749"/>
                  </a:cubicBezTo>
                  <a:lnTo>
                    <a:pt x="1222016" y="983286"/>
                  </a:lnTo>
                  <a:cubicBezTo>
                    <a:pt x="1223642" y="981203"/>
                    <a:pt x="1225267" y="979179"/>
                    <a:pt x="1226952" y="977216"/>
                  </a:cubicBezTo>
                  <a:close/>
                  <a:moveTo>
                    <a:pt x="1280804" y="968186"/>
                  </a:moveTo>
                  <a:cubicBezTo>
                    <a:pt x="1284085" y="969320"/>
                    <a:pt x="1288800" y="968543"/>
                    <a:pt x="1291187" y="971586"/>
                  </a:cubicBezTo>
                  <a:cubicBezTo>
                    <a:pt x="1295006" y="979695"/>
                    <a:pt x="1290114" y="988461"/>
                    <a:pt x="1291485" y="996934"/>
                  </a:cubicBezTo>
                  <a:cubicBezTo>
                    <a:pt x="1294231" y="1013690"/>
                    <a:pt x="1298767" y="1030271"/>
                    <a:pt x="1298409" y="1047447"/>
                  </a:cubicBezTo>
                  <a:cubicBezTo>
                    <a:pt x="1291665" y="1027346"/>
                    <a:pt x="1286353" y="1006770"/>
                    <a:pt x="1281340" y="986194"/>
                  </a:cubicBezTo>
                  <a:lnTo>
                    <a:pt x="1289635" y="985782"/>
                  </a:lnTo>
                  <a:cubicBezTo>
                    <a:pt x="1284562" y="981367"/>
                    <a:pt x="1280206" y="975645"/>
                    <a:pt x="1280804" y="968186"/>
                  </a:cubicBezTo>
                  <a:close/>
                  <a:moveTo>
                    <a:pt x="0" y="892298"/>
                  </a:moveTo>
                  <a:cubicBezTo>
                    <a:pt x="11154" y="890430"/>
                    <a:pt x="22427" y="892478"/>
                    <a:pt x="30601" y="900735"/>
                  </a:cubicBezTo>
                  <a:cubicBezTo>
                    <a:pt x="19805" y="907485"/>
                    <a:pt x="6203" y="903147"/>
                    <a:pt x="0" y="892298"/>
                  </a:cubicBezTo>
                  <a:close/>
                  <a:moveTo>
                    <a:pt x="32607" y="887776"/>
                  </a:moveTo>
                  <a:cubicBezTo>
                    <a:pt x="42291" y="887419"/>
                    <a:pt x="51380" y="890683"/>
                    <a:pt x="59696" y="895312"/>
                  </a:cubicBezTo>
                  <a:cubicBezTo>
                    <a:pt x="51499" y="896261"/>
                    <a:pt x="43418" y="897388"/>
                    <a:pt x="35281" y="898456"/>
                  </a:cubicBezTo>
                  <a:close/>
                  <a:moveTo>
                    <a:pt x="149779" y="881835"/>
                  </a:moveTo>
                  <a:cubicBezTo>
                    <a:pt x="150889" y="882506"/>
                    <a:pt x="151558" y="883803"/>
                    <a:pt x="150616" y="885087"/>
                  </a:cubicBezTo>
                  <a:cubicBezTo>
                    <a:pt x="148974" y="887420"/>
                    <a:pt x="144474" y="884795"/>
                    <a:pt x="146298" y="882345"/>
                  </a:cubicBezTo>
                  <a:cubicBezTo>
                    <a:pt x="147119" y="881121"/>
                    <a:pt x="148670" y="881164"/>
                    <a:pt x="149779" y="881835"/>
                  </a:cubicBezTo>
                  <a:close/>
                  <a:moveTo>
                    <a:pt x="1257634" y="869360"/>
                  </a:moveTo>
                  <a:cubicBezTo>
                    <a:pt x="1260585" y="876111"/>
                    <a:pt x="1263772" y="882677"/>
                    <a:pt x="1266664" y="889427"/>
                  </a:cubicBezTo>
                  <a:cubicBezTo>
                    <a:pt x="1261648" y="884440"/>
                    <a:pt x="1257103" y="879089"/>
                    <a:pt x="1252618" y="873678"/>
                  </a:cubicBezTo>
                  <a:cubicBezTo>
                    <a:pt x="1254211" y="872218"/>
                    <a:pt x="1255923" y="870819"/>
                    <a:pt x="1257634" y="869360"/>
                  </a:cubicBezTo>
                  <a:close/>
                  <a:moveTo>
                    <a:pt x="138730" y="868974"/>
                  </a:moveTo>
                  <a:cubicBezTo>
                    <a:pt x="145978" y="867853"/>
                    <a:pt x="138791" y="878385"/>
                    <a:pt x="136948" y="871467"/>
                  </a:cubicBezTo>
                  <a:close/>
                  <a:moveTo>
                    <a:pt x="1317271" y="840264"/>
                  </a:moveTo>
                  <a:cubicBezTo>
                    <a:pt x="1320341" y="850829"/>
                    <a:pt x="1316327" y="861277"/>
                    <a:pt x="1313494" y="871366"/>
                  </a:cubicBezTo>
                  <a:lnTo>
                    <a:pt x="1304287" y="871366"/>
                  </a:lnTo>
                  <a:cubicBezTo>
                    <a:pt x="1307357" y="860801"/>
                    <a:pt x="1307297" y="847010"/>
                    <a:pt x="1317271" y="840264"/>
                  </a:cubicBezTo>
                  <a:close/>
                  <a:moveTo>
                    <a:pt x="1250612" y="835247"/>
                  </a:moveTo>
                  <a:cubicBezTo>
                    <a:pt x="1263442" y="835666"/>
                    <a:pt x="1272236" y="846093"/>
                    <a:pt x="1282718" y="851904"/>
                  </a:cubicBezTo>
                  <a:lnTo>
                    <a:pt x="1279585" y="856818"/>
                  </a:lnTo>
                  <a:cubicBezTo>
                    <a:pt x="1268502" y="852025"/>
                    <a:pt x="1255011" y="847829"/>
                    <a:pt x="1250612" y="835247"/>
                  </a:cubicBezTo>
                  <a:close/>
                  <a:moveTo>
                    <a:pt x="1253043" y="825974"/>
                  </a:moveTo>
                  <a:cubicBezTo>
                    <a:pt x="1254125" y="829978"/>
                    <a:pt x="1245595" y="830733"/>
                    <a:pt x="1246196" y="826496"/>
                  </a:cubicBezTo>
                  <a:cubicBezTo>
                    <a:pt x="1247277" y="824117"/>
                    <a:pt x="1251542" y="823710"/>
                    <a:pt x="1253043" y="825974"/>
                  </a:cubicBezTo>
                  <a:close/>
                  <a:moveTo>
                    <a:pt x="1255629" y="807408"/>
                  </a:moveTo>
                  <a:cubicBezTo>
                    <a:pt x="1252870" y="810167"/>
                    <a:pt x="1250110" y="812986"/>
                    <a:pt x="1247291" y="815686"/>
                  </a:cubicBezTo>
                  <a:cubicBezTo>
                    <a:pt x="1244592" y="808908"/>
                    <a:pt x="1248851" y="804649"/>
                    <a:pt x="1255629" y="807408"/>
                  </a:cubicBezTo>
                  <a:close/>
                  <a:moveTo>
                    <a:pt x="1272566" y="785584"/>
                  </a:moveTo>
                  <a:cubicBezTo>
                    <a:pt x="1274147" y="790333"/>
                    <a:pt x="1274966" y="795263"/>
                    <a:pt x="1276195" y="800132"/>
                  </a:cubicBezTo>
                  <a:lnTo>
                    <a:pt x="1269172" y="797697"/>
                  </a:lnTo>
                  <a:cubicBezTo>
                    <a:pt x="1270343" y="793680"/>
                    <a:pt x="1271396" y="789602"/>
                    <a:pt x="1272566" y="785584"/>
                  </a:cubicBezTo>
                  <a:close/>
                  <a:moveTo>
                    <a:pt x="1279575" y="782575"/>
                  </a:moveTo>
                  <a:cubicBezTo>
                    <a:pt x="1282841" y="789207"/>
                    <a:pt x="1286109" y="795781"/>
                    <a:pt x="1289739" y="802234"/>
                  </a:cubicBezTo>
                  <a:lnTo>
                    <a:pt x="1281209" y="806655"/>
                  </a:lnTo>
                  <a:cubicBezTo>
                    <a:pt x="1279515" y="798709"/>
                    <a:pt x="1277699" y="790642"/>
                    <a:pt x="1279575" y="782575"/>
                  </a:cubicBezTo>
                  <a:close/>
                  <a:moveTo>
                    <a:pt x="1284312" y="717865"/>
                  </a:moveTo>
                  <a:cubicBezTo>
                    <a:pt x="1284131" y="725319"/>
                    <a:pt x="1283773" y="733254"/>
                    <a:pt x="1279516" y="739690"/>
                  </a:cubicBezTo>
                  <a:cubicBezTo>
                    <a:pt x="1286230" y="744197"/>
                    <a:pt x="1280835" y="747083"/>
                    <a:pt x="1275200" y="748466"/>
                  </a:cubicBezTo>
                  <a:cubicBezTo>
                    <a:pt x="1267167" y="737284"/>
                    <a:pt x="1275560" y="725319"/>
                    <a:pt x="1284312" y="717865"/>
                  </a:cubicBezTo>
                  <a:close/>
                  <a:moveTo>
                    <a:pt x="1321370" y="684253"/>
                  </a:moveTo>
                  <a:cubicBezTo>
                    <a:pt x="1322244" y="690052"/>
                    <a:pt x="1323352" y="695851"/>
                    <a:pt x="1323235" y="701831"/>
                  </a:cubicBezTo>
                  <a:cubicBezTo>
                    <a:pt x="1319972" y="706919"/>
                    <a:pt x="1315601" y="711182"/>
                    <a:pt x="1311813" y="715856"/>
                  </a:cubicBezTo>
                  <a:cubicBezTo>
                    <a:pt x="1312571" y="704729"/>
                    <a:pt x="1313561" y="692833"/>
                    <a:pt x="1321370" y="684253"/>
                  </a:cubicBezTo>
                  <a:close/>
                  <a:moveTo>
                    <a:pt x="1277316" y="543791"/>
                  </a:moveTo>
                  <a:cubicBezTo>
                    <a:pt x="1282332" y="547591"/>
                    <a:pt x="1287231" y="551452"/>
                    <a:pt x="1292248" y="555310"/>
                  </a:cubicBezTo>
                  <a:lnTo>
                    <a:pt x="1291775" y="560774"/>
                  </a:lnTo>
                  <a:cubicBezTo>
                    <a:pt x="1284222" y="564870"/>
                    <a:pt x="1276963" y="569325"/>
                    <a:pt x="1269172" y="572886"/>
                  </a:cubicBezTo>
                  <a:cubicBezTo>
                    <a:pt x="1270884" y="562909"/>
                    <a:pt x="1272714" y="552875"/>
                    <a:pt x="1277316" y="543791"/>
                  </a:cubicBezTo>
                  <a:close/>
                  <a:moveTo>
                    <a:pt x="139955" y="475563"/>
                  </a:moveTo>
                  <a:cubicBezTo>
                    <a:pt x="143661" y="480109"/>
                    <a:pt x="146308" y="485313"/>
                    <a:pt x="147485" y="491115"/>
                  </a:cubicBezTo>
                  <a:cubicBezTo>
                    <a:pt x="141073" y="488423"/>
                    <a:pt x="137954" y="482383"/>
                    <a:pt x="139955" y="475563"/>
                  </a:cubicBezTo>
                  <a:close/>
                  <a:moveTo>
                    <a:pt x="1313282" y="312026"/>
                  </a:moveTo>
                  <a:cubicBezTo>
                    <a:pt x="1318623" y="321604"/>
                    <a:pt x="1323541" y="331476"/>
                    <a:pt x="1326361" y="342125"/>
                  </a:cubicBezTo>
                  <a:lnTo>
                    <a:pt x="1318022" y="341710"/>
                  </a:lnTo>
                  <a:cubicBezTo>
                    <a:pt x="1312863" y="333559"/>
                    <a:pt x="1307643" y="325468"/>
                    <a:pt x="1302783" y="317200"/>
                  </a:cubicBezTo>
                  <a:close/>
                  <a:moveTo>
                    <a:pt x="1275647" y="247312"/>
                  </a:moveTo>
                  <a:lnTo>
                    <a:pt x="1281244" y="247312"/>
                  </a:lnTo>
                  <a:cubicBezTo>
                    <a:pt x="1285946" y="265816"/>
                    <a:pt x="1294043" y="283657"/>
                    <a:pt x="1294758" y="302996"/>
                  </a:cubicBezTo>
                  <a:cubicBezTo>
                    <a:pt x="1288089" y="301743"/>
                    <a:pt x="1280707" y="299293"/>
                    <a:pt x="1280528" y="290701"/>
                  </a:cubicBezTo>
                  <a:cubicBezTo>
                    <a:pt x="1275945" y="277036"/>
                    <a:pt x="1267669" y="261339"/>
                    <a:pt x="1275647" y="247312"/>
                  </a:cubicBezTo>
                  <a:close/>
                  <a:moveTo>
                    <a:pt x="1307848" y="241293"/>
                  </a:moveTo>
                  <a:cubicBezTo>
                    <a:pt x="1311854" y="256183"/>
                    <a:pt x="1316230" y="271073"/>
                    <a:pt x="1317833" y="286441"/>
                  </a:cubicBezTo>
                  <a:cubicBezTo>
                    <a:pt x="1314629" y="283931"/>
                    <a:pt x="1310806" y="281299"/>
                    <a:pt x="1311299" y="276815"/>
                  </a:cubicBezTo>
                  <a:cubicBezTo>
                    <a:pt x="1311299" y="264856"/>
                    <a:pt x="1303287" y="253013"/>
                    <a:pt x="1307848" y="241293"/>
                  </a:cubicBezTo>
                  <a:close/>
                  <a:moveTo>
                    <a:pt x="434381" y="226833"/>
                  </a:moveTo>
                  <a:lnTo>
                    <a:pt x="440614" y="227771"/>
                  </a:lnTo>
                  <a:cubicBezTo>
                    <a:pt x="444343" y="242152"/>
                    <a:pt x="468530" y="252469"/>
                    <a:pt x="478653" y="265756"/>
                  </a:cubicBezTo>
                  <a:cubicBezTo>
                    <a:pt x="482435" y="271592"/>
                    <a:pt x="485898" y="276802"/>
                    <a:pt x="487603" y="283263"/>
                  </a:cubicBezTo>
                  <a:cubicBezTo>
                    <a:pt x="475083" y="289099"/>
                    <a:pt x="464322" y="271175"/>
                    <a:pt x="450044" y="271696"/>
                  </a:cubicBezTo>
                  <a:cubicBezTo>
                    <a:pt x="435020" y="272425"/>
                    <a:pt x="425750" y="263151"/>
                    <a:pt x="426549" y="253719"/>
                  </a:cubicBezTo>
                  <a:cubicBezTo>
                    <a:pt x="425537" y="241891"/>
                    <a:pt x="429959" y="235691"/>
                    <a:pt x="434381" y="226833"/>
                  </a:cubicBezTo>
                  <a:close/>
                  <a:moveTo>
                    <a:pt x="459009" y="226746"/>
                  </a:moveTo>
                  <a:cubicBezTo>
                    <a:pt x="465492" y="228440"/>
                    <a:pt x="469893" y="233109"/>
                    <a:pt x="470547" y="239763"/>
                  </a:cubicBezTo>
                  <a:lnTo>
                    <a:pt x="462399" y="242799"/>
                  </a:lnTo>
                  <a:cubicBezTo>
                    <a:pt x="460793" y="237545"/>
                    <a:pt x="459782" y="232116"/>
                    <a:pt x="459009" y="226746"/>
                  </a:cubicBezTo>
                  <a:close/>
                  <a:moveTo>
                    <a:pt x="509920" y="129928"/>
                  </a:moveTo>
                  <a:cubicBezTo>
                    <a:pt x="513077" y="132244"/>
                    <a:pt x="516173" y="134618"/>
                    <a:pt x="519208" y="136992"/>
                  </a:cubicBezTo>
                  <a:lnTo>
                    <a:pt x="509677" y="139961"/>
                  </a:lnTo>
                  <a:cubicBezTo>
                    <a:pt x="509738" y="136636"/>
                    <a:pt x="509859" y="133253"/>
                    <a:pt x="509920" y="129928"/>
                  </a:cubicBezTo>
                  <a:close/>
                  <a:moveTo>
                    <a:pt x="537330" y="122402"/>
                  </a:moveTo>
                  <a:lnTo>
                    <a:pt x="542936" y="122868"/>
                  </a:lnTo>
                  <a:cubicBezTo>
                    <a:pt x="543890" y="124906"/>
                    <a:pt x="544845" y="126944"/>
                    <a:pt x="545799" y="128924"/>
                  </a:cubicBezTo>
                  <a:cubicBezTo>
                    <a:pt x="542936" y="128866"/>
                    <a:pt x="540133" y="128749"/>
                    <a:pt x="537270" y="128633"/>
                  </a:cubicBezTo>
                  <a:close/>
                  <a:moveTo>
                    <a:pt x="551334" y="112870"/>
                  </a:moveTo>
                  <a:cubicBezTo>
                    <a:pt x="561164" y="118391"/>
                    <a:pt x="574390" y="124150"/>
                    <a:pt x="574031" y="137450"/>
                  </a:cubicBezTo>
                  <a:lnTo>
                    <a:pt x="552049" y="137035"/>
                  </a:lnTo>
                  <a:cubicBezTo>
                    <a:pt x="549307" y="129257"/>
                    <a:pt x="549486" y="120827"/>
                    <a:pt x="551334" y="112870"/>
                  </a:cubicBezTo>
                  <a:close/>
                  <a:moveTo>
                    <a:pt x="578780" y="102835"/>
                  </a:moveTo>
                  <a:cubicBezTo>
                    <a:pt x="589201" y="107743"/>
                    <a:pt x="601020" y="113600"/>
                    <a:pt x="603989" y="125485"/>
                  </a:cubicBezTo>
                  <a:cubicBezTo>
                    <a:pt x="596112" y="127437"/>
                    <a:pt x="585869" y="130926"/>
                    <a:pt x="579628" y="123771"/>
                  </a:cubicBezTo>
                  <a:cubicBezTo>
                    <a:pt x="576900" y="116970"/>
                    <a:pt x="577626" y="109813"/>
                    <a:pt x="578780" y="102835"/>
                  </a:cubicBezTo>
                  <a:close/>
                  <a:moveTo>
                    <a:pt x="604489" y="94807"/>
                  </a:moveTo>
                  <a:cubicBezTo>
                    <a:pt x="614398" y="98470"/>
                    <a:pt x="620006" y="107779"/>
                    <a:pt x="625558" y="116125"/>
                  </a:cubicBezTo>
                  <a:lnTo>
                    <a:pt x="620723" y="118887"/>
                  </a:lnTo>
                  <a:cubicBezTo>
                    <a:pt x="614815" y="111261"/>
                    <a:pt x="608368" y="103815"/>
                    <a:pt x="604489" y="94807"/>
                  </a:cubicBezTo>
                  <a:close/>
                  <a:moveTo>
                    <a:pt x="612515" y="84275"/>
                  </a:moveTo>
                  <a:cubicBezTo>
                    <a:pt x="623146" y="95008"/>
                    <a:pt x="638287" y="100858"/>
                    <a:pt x="646124" y="114305"/>
                  </a:cubicBezTo>
                  <a:cubicBezTo>
                    <a:pt x="626231" y="118888"/>
                    <a:pt x="619223" y="98324"/>
                    <a:pt x="612515" y="84275"/>
                  </a:cubicBezTo>
                  <a:close/>
                  <a:moveTo>
                    <a:pt x="803143" y="67218"/>
                  </a:moveTo>
                  <a:cubicBezTo>
                    <a:pt x="799033" y="72401"/>
                    <a:pt x="795110" y="77762"/>
                    <a:pt x="790517" y="82409"/>
                  </a:cubicBezTo>
                  <a:cubicBezTo>
                    <a:pt x="781695" y="84851"/>
                    <a:pt x="772576" y="85507"/>
                    <a:pt x="763512" y="86281"/>
                  </a:cubicBezTo>
                  <a:cubicBezTo>
                    <a:pt x="769374" y="70196"/>
                    <a:pt x="789007" y="71269"/>
                    <a:pt x="803143" y="67218"/>
                  </a:cubicBezTo>
                  <a:close/>
                  <a:moveTo>
                    <a:pt x="705321" y="58188"/>
                  </a:moveTo>
                  <a:cubicBezTo>
                    <a:pt x="710889" y="58546"/>
                    <a:pt x="716165" y="58968"/>
                    <a:pt x="721795" y="59923"/>
                  </a:cubicBezTo>
                  <a:cubicBezTo>
                    <a:pt x="725986" y="65974"/>
                    <a:pt x="729638" y="72383"/>
                    <a:pt x="733475" y="78727"/>
                  </a:cubicBezTo>
                  <a:cubicBezTo>
                    <a:pt x="731975" y="72204"/>
                    <a:pt x="730419" y="65675"/>
                    <a:pt x="728863" y="59207"/>
                  </a:cubicBezTo>
                  <a:cubicBezTo>
                    <a:pt x="742038" y="59923"/>
                    <a:pt x="753359" y="67292"/>
                    <a:pt x="761506" y="77171"/>
                  </a:cubicBezTo>
                  <a:cubicBezTo>
                    <a:pt x="761265" y="90824"/>
                    <a:pt x="747432" y="100828"/>
                    <a:pt x="734015" y="96875"/>
                  </a:cubicBezTo>
                  <a:cubicBezTo>
                    <a:pt x="722812" y="85315"/>
                    <a:pt x="713828" y="71781"/>
                    <a:pt x="705321" y="58188"/>
                  </a:cubicBezTo>
                  <a:close/>
                  <a:moveTo>
                    <a:pt x="745452" y="46649"/>
                  </a:moveTo>
                  <a:cubicBezTo>
                    <a:pt x="760352" y="53824"/>
                    <a:pt x="780415" y="51232"/>
                    <a:pt x="791102" y="65464"/>
                  </a:cubicBezTo>
                  <a:cubicBezTo>
                    <a:pt x="780119" y="67753"/>
                    <a:pt x="768368" y="70226"/>
                    <a:pt x="757563" y="65824"/>
                  </a:cubicBezTo>
                  <a:cubicBezTo>
                    <a:pt x="751861" y="60819"/>
                    <a:pt x="749606" y="52800"/>
                    <a:pt x="745452" y="46649"/>
                  </a:cubicBezTo>
                  <a:close/>
                  <a:moveTo>
                    <a:pt x="812674" y="45646"/>
                  </a:moveTo>
                  <a:cubicBezTo>
                    <a:pt x="818722" y="45946"/>
                    <a:pt x="824710" y="48761"/>
                    <a:pt x="829729" y="52115"/>
                  </a:cubicBezTo>
                  <a:cubicBezTo>
                    <a:pt x="824952" y="54091"/>
                    <a:pt x="820114" y="55948"/>
                    <a:pt x="815214" y="57685"/>
                  </a:cubicBezTo>
                  <a:cubicBezTo>
                    <a:pt x="814306" y="53672"/>
                    <a:pt x="813460" y="49659"/>
                    <a:pt x="812674" y="45646"/>
                  </a:cubicBezTo>
                  <a:close/>
                  <a:moveTo>
                    <a:pt x="703818" y="41135"/>
                  </a:moveTo>
                  <a:cubicBezTo>
                    <a:pt x="710412" y="42803"/>
                    <a:pt x="716473" y="46020"/>
                    <a:pt x="721879" y="50071"/>
                  </a:cubicBezTo>
                  <a:lnTo>
                    <a:pt x="706314" y="50667"/>
                  </a:lnTo>
                  <a:cubicBezTo>
                    <a:pt x="705422" y="47509"/>
                    <a:pt x="704591" y="44352"/>
                    <a:pt x="703818" y="41135"/>
                  </a:cubicBezTo>
                  <a:close/>
                  <a:moveTo>
                    <a:pt x="691332" y="37620"/>
                  </a:moveTo>
                  <a:cubicBezTo>
                    <a:pt x="691942" y="39667"/>
                    <a:pt x="692612" y="41713"/>
                    <a:pt x="693282" y="43821"/>
                  </a:cubicBezTo>
                  <a:cubicBezTo>
                    <a:pt x="691150" y="44724"/>
                    <a:pt x="689018" y="45687"/>
                    <a:pt x="686946" y="46650"/>
                  </a:cubicBezTo>
                  <a:cubicBezTo>
                    <a:pt x="687068" y="41293"/>
                    <a:pt x="689262" y="39546"/>
                    <a:pt x="691332" y="37620"/>
                  </a:cubicBezTo>
                  <a:close/>
                  <a:moveTo>
                    <a:pt x="741918" y="30597"/>
                  </a:moveTo>
                  <a:cubicBezTo>
                    <a:pt x="745684" y="33598"/>
                    <a:pt x="749390" y="36657"/>
                    <a:pt x="752977" y="39834"/>
                  </a:cubicBezTo>
                  <a:cubicBezTo>
                    <a:pt x="749091" y="39894"/>
                    <a:pt x="745265" y="40012"/>
                    <a:pt x="741439" y="40129"/>
                  </a:cubicBezTo>
                  <a:cubicBezTo>
                    <a:pt x="741618" y="36952"/>
                    <a:pt x="741738" y="33774"/>
                    <a:pt x="741918" y="30597"/>
                  </a:cubicBezTo>
                  <a:close/>
                  <a:moveTo>
                    <a:pt x="699802" y="27922"/>
                  </a:moveTo>
                  <a:cubicBezTo>
                    <a:pt x="710570" y="21567"/>
                    <a:pt x="712424" y="31311"/>
                    <a:pt x="715356" y="37120"/>
                  </a:cubicBezTo>
                  <a:cubicBezTo>
                    <a:pt x="709254" y="35789"/>
                    <a:pt x="703750" y="32883"/>
                    <a:pt x="699802" y="27922"/>
                  </a:cubicBezTo>
                  <a:close/>
                  <a:moveTo>
                    <a:pt x="767316" y="9530"/>
                  </a:moveTo>
                  <a:cubicBezTo>
                    <a:pt x="775352" y="16578"/>
                    <a:pt x="783750" y="23331"/>
                    <a:pt x="790241" y="31991"/>
                  </a:cubicBezTo>
                  <a:cubicBezTo>
                    <a:pt x="797269" y="41788"/>
                    <a:pt x="808820" y="47699"/>
                    <a:pt x="814179" y="58870"/>
                  </a:cubicBezTo>
                  <a:lnTo>
                    <a:pt x="809357" y="61200"/>
                  </a:lnTo>
                  <a:cubicBezTo>
                    <a:pt x="796971" y="55046"/>
                    <a:pt x="785300" y="47104"/>
                    <a:pt x="780353" y="33365"/>
                  </a:cubicBezTo>
                  <a:cubicBezTo>
                    <a:pt x="774815" y="31991"/>
                    <a:pt x="769874" y="30554"/>
                    <a:pt x="764515" y="29180"/>
                  </a:cubicBezTo>
                  <a:cubicBezTo>
                    <a:pt x="765111" y="22551"/>
                    <a:pt x="766184" y="16040"/>
                    <a:pt x="767316" y="9530"/>
                  </a:cubicBezTo>
                  <a:close/>
                  <a:moveTo>
                    <a:pt x="792477" y="0"/>
                  </a:moveTo>
                  <a:lnTo>
                    <a:pt x="798624" y="61"/>
                  </a:lnTo>
                  <a:cubicBezTo>
                    <a:pt x="801309" y="8962"/>
                    <a:pt x="804293" y="17744"/>
                    <a:pt x="807157" y="26587"/>
                  </a:cubicBezTo>
                  <a:cubicBezTo>
                    <a:pt x="801608" y="24782"/>
                    <a:pt x="795461" y="23218"/>
                    <a:pt x="791761" y="18345"/>
                  </a:cubicBezTo>
                  <a:cubicBezTo>
                    <a:pt x="791104" y="12211"/>
                    <a:pt x="792297" y="6136"/>
                    <a:pt x="792477" y="0"/>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8" name="Greenland - Mainland">
              <a:extLst>
                <a:ext uri="{FF2B5EF4-FFF2-40B4-BE49-F238E27FC236}">
                  <a16:creationId xmlns:a16="http://schemas.microsoft.com/office/drawing/2014/main" id="{2B21CF2A-3351-8E91-1C80-07C772335AA8}"/>
                </a:ext>
              </a:extLst>
            </p:cNvPr>
            <p:cNvSpPr>
              <a:spLocks/>
            </p:cNvSpPr>
            <p:nvPr/>
          </p:nvSpPr>
          <p:spPr bwMode="auto">
            <a:xfrm flipV="1">
              <a:off x="4109360" y="685800"/>
              <a:ext cx="1463183" cy="2149496"/>
            </a:xfrm>
            <a:custGeom>
              <a:avLst/>
              <a:gdLst>
                <a:gd name="T0" fmla="*/ 18345 w 24669"/>
                <a:gd name="T1" fmla="*/ 35148 h 36230"/>
                <a:gd name="T2" fmla="*/ 15080 w 24669"/>
                <a:gd name="T3" fmla="*/ 33857 h 36230"/>
                <a:gd name="T4" fmla="*/ 19709 w 24669"/>
                <a:gd name="T5" fmla="*/ 33256 h 36230"/>
                <a:gd name="T6" fmla="*/ 15797 w 24669"/>
                <a:gd name="T7" fmla="*/ 30351 h 36230"/>
                <a:gd name="T8" fmla="*/ 19397 w 24669"/>
                <a:gd name="T9" fmla="*/ 29995 h 36230"/>
                <a:gd name="T10" fmla="*/ 19907 w 24669"/>
                <a:gd name="T11" fmla="*/ 27549 h 36230"/>
                <a:gd name="T12" fmla="*/ 21622 w 24669"/>
                <a:gd name="T13" fmla="*/ 29929 h 36230"/>
                <a:gd name="T14" fmla="*/ 23865 w 24669"/>
                <a:gd name="T15" fmla="*/ 30346 h 36230"/>
                <a:gd name="T16" fmla="*/ 22894 w 24669"/>
                <a:gd name="T17" fmla="*/ 27360 h 36230"/>
                <a:gd name="T18" fmla="*/ 21041 w 24669"/>
                <a:gd name="T19" fmla="*/ 25509 h 36230"/>
                <a:gd name="T20" fmla="*/ 21285 w 24669"/>
                <a:gd name="T21" fmla="*/ 23338 h 36230"/>
                <a:gd name="T22" fmla="*/ 20669 w 24669"/>
                <a:gd name="T23" fmla="*/ 21592 h 36230"/>
                <a:gd name="T24" fmla="*/ 20911 w 24669"/>
                <a:gd name="T25" fmla="*/ 20497 h 36230"/>
                <a:gd name="T26" fmla="*/ 20304 w 24669"/>
                <a:gd name="T27" fmla="*/ 19557 h 36230"/>
                <a:gd name="T28" fmla="*/ 21043 w 24669"/>
                <a:gd name="T29" fmla="*/ 18015 h 36230"/>
                <a:gd name="T30" fmla="*/ 20890 w 24669"/>
                <a:gd name="T31" fmla="*/ 15999 h 36230"/>
                <a:gd name="T32" fmla="*/ 21110 w 24669"/>
                <a:gd name="T33" fmla="*/ 14792 h 36230"/>
                <a:gd name="T34" fmla="*/ 18206 w 24669"/>
                <a:gd name="T35" fmla="*/ 14284 h 36230"/>
                <a:gd name="T36" fmla="*/ 19966 w 24669"/>
                <a:gd name="T37" fmla="*/ 13664 h 36230"/>
                <a:gd name="T38" fmla="*/ 18495 w 24669"/>
                <a:gd name="T39" fmla="*/ 13202 h 36230"/>
                <a:gd name="T40" fmla="*/ 20301 w 24669"/>
                <a:gd name="T41" fmla="*/ 11905 h 36230"/>
                <a:gd name="T42" fmla="*/ 19316 w 24669"/>
                <a:gd name="T43" fmla="*/ 11352 h 36230"/>
                <a:gd name="T44" fmla="*/ 18015 w 24669"/>
                <a:gd name="T45" fmla="*/ 11186 h 36230"/>
                <a:gd name="T46" fmla="*/ 18374 w 24669"/>
                <a:gd name="T47" fmla="*/ 10035 h 36230"/>
                <a:gd name="T48" fmla="*/ 19061 w 24669"/>
                <a:gd name="T49" fmla="*/ 8937 h 36230"/>
                <a:gd name="T50" fmla="*/ 17118 w 24669"/>
                <a:gd name="T51" fmla="*/ 7798 h 36230"/>
                <a:gd name="T52" fmla="*/ 15407 w 24669"/>
                <a:gd name="T53" fmla="*/ 6156 h 36230"/>
                <a:gd name="T54" fmla="*/ 14329 w 24669"/>
                <a:gd name="T55" fmla="*/ 5512 h 36230"/>
                <a:gd name="T56" fmla="*/ 13285 w 24669"/>
                <a:gd name="T57" fmla="*/ 5127 h 36230"/>
                <a:gd name="T58" fmla="*/ 12902 w 24669"/>
                <a:gd name="T59" fmla="*/ 3708 h 36230"/>
                <a:gd name="T60" fmla="*/ 12100 w 24669"/>
                <a:gd name="T61" fmla="*/ 1144 h 36230"/>
                <a:gd name="T62" fmla="*/ 10832 w 24669"/>
                <a:gd name="T63" fmla="*/ 695 h 36230"/>
                <a:gd name="T64" fmla="*/ 9659 w 24669"/>
                <a:gd name="T65" fmla="*/ 1342 h 36230"/>
                <a:gd name="T66" fmla="*/ 8686 w 24669"/>
                <a:gd name="T67" fmla="*/ 3867 h 36230"/>
                <a:gd name="T68" fmla="*/ 8149 w 24669"/>
                <a:gd name="T69" fmla="*/ 4683 h 36230"/>
                <a:gd name="T70" fmla="*/ 7881 w 24669"/>
                <a:gd name="T71" fmla="*/ 7541 h 36230"/>
                <a:gd name="T72" fmla="*/ 7962 w 24669"/>
                <a:gd name="T73" fmla="*/ 8337 h 36230"/>
                <a:gd name="T74" fmla="*/ 9032 w 24669"/>
                <a:gd name="T75" fmla="*/ 9566 h 36230"/>
                <a:gd name="T76" fmla="*/ 8849 w 24669"/>
                <a:gd name="T77" fmla="*/ 10594 h 36230"/>
                <a:gd name="T78" fmla="*/ 7961 w 24669"/>
                <a:gd name="T79" fmla="*/ 11520 h 36230"/>
                <a:gd name="T80" fmla="*/ 6796 w 24669"/>
                <a:gd name="T81" fmla="*/ 11878 h 36230"/>
                <a:gd name="T82" fmla="*/ 7074 w 24669"/>
                <a:gd name="T83" fmla="*/ 13078 h 36230"/>
                <a:gd name="T84" fmla="*/ 6736 w 24669"/>
                <a:gd name="T85" fmla="*/ 14384 h 36230"/>
                <a:gd name="T86" fmla="*/ 6207 w 24669"/>
                <a:gd name="T87" fmla="*/ 15159 h 36230"/>
                <a:gd name="T88" fmla="*/ 5948 w 24669"/>
                <a:gd name="T89" fmla="*/ 16747 h 36230"/>
                <a:gd name="T90" fmla="*/ 3967 w 24669"/>
                <a:gd name="T91" fmla="*/ 18639 h 36230"/>
                <a:gd name="T92" fmla="*/ 2665 w 24669"/>
                <a:gd name="T93" fmla="*/ 18583 h 36230"/>
                <a:gd name="T94" fmla="*/ 870 w 24669"/>
                <a:gd name="T95" fmla="*/ 19481 h 36230"/>
                <a:gd name="T96" fmla="*/ 2344 w 24669"/>
                <a:gd name="T97" fmla="*/ 21109 h 36230"/>
                <a:gd name="T98" fmla="*/ 632 w 24669"/>
                <a:gd name="T99" fmla="*/ 21445 h 36230"/>
                <a:gd name="T100" fmla="*/ 2687 w 24669"/>
                <a:gd name="T101" fmla="*/ 23945 h 36230"/>
                <a:gd name="T102" fmla="*/ 2136 w 24669"/>
                <a:gd name="T103" fmla="*/ 26602 h 36230"/>
                <a:gd name="T104" fmla="*/ 4360 w 24669"/>
                <a:gd name="T105" fmla="*/ 30394 h 36230"/>
                <a:gd name="T106" fmla="*/ 6925 w 24669"/>
                <a:gd name="T107" fmla="*/ 31919 h 36230"/>
                <a:gd name="T108" fmla="*/ 8230 w 24669"/>
                <a:gd name="T109" fmla="*/ 32413 h 36230"/>
                <a:gd name="T110" fmla="*/ 9987 w 24669"/>
                <a:gd name="T111" fmla="*/ 32781 h 36230"/>
                <a:gd name="T112" fmla="*/ 11683 w 24669"/>
                <a:gd name="T113" fmla="*/ 33247 h 36230"/>
                <a:gd name="T114" fmla="*/ 11370 w 24669"/>
                <a:gd name="T115" fmla="*/ 34300 h 36230"/>
                <a:gd name="T116" fmla="*/ 14236 w 24669"/>
                <a:gd name="T117" fmla="*/ 34628 h 36230"/>
                <a:gd name="connsiteX0" fmla="*/ 15246 w 24669"/>
                <a:gd name="connsiteY0" fmla="*/ 36230 h 36230"/>
                <a:gd name="connsiteX1" fmla="*/ 15279 w 24669"/>
                <a:gd name="connsiteY1" fmla="*/ 36230 h 36230"/>
                <a:gd name="connsiteX2" fmla="*/ 15328 w 24669"/>
                <a:gd name="connsiteY2" fmla="*/ 36015 h 36230"/>
                <a:gd name="connsiteX3" fmla="*/ 15392 w 24669"/>
                <a:gd name="connsiteY3" fmla="*/ 36205 h 36230"/>
                <a:gd name="connsiteX4" fmla="*/ 15614 w 24669"/>
                <a:gd name="connsiteY4" fmla="*/ 35682 h 36230"/>
                <a:gd name="connsiteX5" fmla="*/ 15527 w 24669"/>
                <a:gd name="connsiteY5" fmla="*/ 36069 h 36230"/>
                <a:gd name="connsiteX6" fmla="*/ 16398 w 24669"/>
                <a:gd name="connsiteY6" fmla="*/ 35986 h 36230"/>
                <a:gd name="connsiteX7" fmla="*/ 17007 w 24669"/>
                <a:gd name="connsiteY7" fmla="*/ 35695 h 36230"/>
                <a:gd name="connsiteX8" fmla="*/ 16987 w 24669"/>
                <a:gd name="connsiteY8" fmla="*/ 35423 h 36230"/>
                <a:gd name="connsiteX9" fmla="*/ 17558 w 24669"/>
                <a:gd name="connsiteY9" fmla="*/ 35572 h 36230"/>
                <a:gd name="connsiteX10" fmla="*/ 18345 w 24669"/>
                <a:gd name="connsiteY10" fmla="*/ 35148 h 36230"/>
                <a:gd name="connsiteX11" fmla="*/ 17896 w 24669"/>
                <a:gd name="connsiteY11" fmla="*/ 34540 h 36230"/>
                <a:gd name="connsiteX12" fmla="*/ 18156 w 24669"/>
                <a:gd name="connsiteY12" fmla="*/ 34565 h 36230"/>
                <a:gd name="connsiteX13" fmla="*/ 16485 w 24669"/>
                <a:gd name="connsiteY13" fmla="*/ 34572 h 36230"/>
                <a:gd name="connsiteX14" fmla="*/ 15461 w 24669"/>
                <a:gd name="connsiteY14" fmla="*/ 34324 h 36230"/>
                <a:gd name="connsiteX15" fmla="*/ 14623 w 24669"/>
                <a:gd name="connsiteY15" fmla="*/ 34462 h 36230"/>
                <a:gd name="connsiteX16" fmla="*/ 15454 w 24669"/>
                <a:gd name="connsiteY16" fmla="*/ 34149 h 36230"/>
                <a:gd name="connsiteX17" fmla="*/ 14302 w 24669"/>
                <a:gd name="connsiteY17" fmla="*/ 33720 h 36230"/>
                <a:gd name="connsiteX18" fmla="*/ 14241 w 24669"/>
                <a:gd name="connsiteY18" fmla="*/ 33038 h 36230"/>
                <a:gd name="connsiteX19" fmla="*/ 14431 w 24669"/>
                <a:gd name="connsiteY19" fmla="*/ 33601 h 36230"/>
                <a:gd name="connsiteX20" fmla="*/ 14878 w 24669"/>
                <a:gd name="connsiteY20" fmla="*/ 33641 h 36230"/>
                <a:gd name="connsiteX21" fmla="*/ 15080 w 24669"/>
                <a:gd name="connsiteY21" fmla="*/ 33857 h 36230"/>
                <a:gd name="connsiteX22" fmla="*/ 15899 w 24669"/>
                <a:gd name="connsiteY22" fmla="*/ 34061 h 36230"/>
                <a:gd name="connsiteX23" fmla="*/ 16779 w 24669"/>
                <a:gd name="connsiteY23" fmla="*/ 34401 h 36230"/>
                <a:gd name="connsiteX24" fmla="*/ 17953 w 24669"/>
                <a:gd name="connsiteY24" fmla="*/ 34269 h 36230"/>
                <a:gd name="connsiteX25" fmla="*/ 18632 w 24669"/>
                <a:gd name="connsiteY25" fmla="*/ 34414 h 36230"/>
                <a:gd name="connsiteX26" fmla="*/ 18651 w 24669"/>
                <a:gd name="connsiteY26" fmla="*/ 33753 h 36230"/>
                <a:gd name="connsiteX27" fmla="*/ 18360 w 24669"/>
                <a:gd name="connsiteY27" fmla="*/ 33275 h 36230"/>
                <a:gd name="connsiteX28" fmla="*/ 18735 w 24669"/>
                <a:gd name="connsiteY28" fmla="*/ 33596 h 36230"/>
                <a:gd name="connsiteX29" fmla="*/ 19072 w 24669"/>
                <a:gd name="connsiteY29" fmla="*/ 33696 h 36230"/>
                <a:gd name="connsiteX30" fmla="*/ 19107 w 24669"/>
                <a:gd name="connsiteY30" fmla="*/ 33396 h 36230"/>
                <a:gd name="connsiteX31" fmla="*/ 19303 w 24669"/>
                <a:gd name="connsiteY31" fmla="*/ 33465 h 36230"/>
                <a:gd name="connsiteX32" fmla="*/ 19709 w 24669"/>
                <a:gd name="connsiteY32" fmla="*/ 33256 h 36230"/>
                <a:gd name="connsiteX33" fmla="*/ 20191 w 24669"/>
                <a:gd name="connsiteY33" fmla="*/ 32769 h 36230"/>
                <a:gd name="connsiteX34" fmla="*/ 20032 w 24669"/>
                <a:gd name="connsiteY34" fmla="*/ 32330 h 36230"/>
                <a:gd name="connsiteX35" fmla="*/ 19688 w 24669"/>
                <a:gd name="connsiteY35" fmla="*/ 31859 h 36230"/>
                <a:gd name="connsiteX36" fmla="*/ 19033 w 24669"/>
                <a:gd name="connsiteY36" fmla="*/ 31628 h 36230"/>
                <a:gd name="connsiteX37" fmla="*/ 18422 w 24669"/>
                <a:gd name="connsiteY37" fmla="*/ 31361 h 36230"/>
                <a:gd name="connsiteX38" fmla="*/ 17630 w 24669"/>
                <a:gd name="connsiteY38" fmla="*/ 31404 h 36230"/>
                <a:gd name="connsiteX39" fmla="*/ 16589 w 24669"/>
                <a:gd name="connsiteY39" fmla="*/ 31250 h 36230"/>
                <a:gd name="connsiteX40" fmla="*/ 16276 w 24669"/>
                <a:gd name="connsiteY40" fmla="*/ 31043 h 36230"/>
                <a:gd name="connsiteX41" fmla="*/ 15428 w 24669"/>
                <a:gd name="connsiteY41" fmla="*/ 30480 h 36230"/>
                <a:gd name="connsiteX42" fmla="*/ 15368 w 24669"/>
                <a:gd name="connsiteY42" fmla="*/ 29931 h 36230"/>
                <a:gd name="connsiteX43" fmla="*/ 15797 w 24669"/>
                <a:gd name="connsiteY43" fmla="*/ 30351 h 36230"/>
                <a:gd name="connsiteX44" fmla="*/ 16915 w 24669"/>
                <a:gd name="connsiteY44" fmla="*/ 30822 h 36230"/>
                <a:gd name="connsiteX45" fmla="*/ 18388 w 24669"/>
                <a:gd name="connsiteY45" fmla="*/ 30898 h 36230"/>
                <a:gd name="connsiteX46" fmla="*/ 18573 w 24669"/>
                <a:gd name="connsiteY46" fmla="*/ 30470 h 36230"/>
                <a:gd name="connsiteX47" fmla="*/ 19067 w 24669"/>
                <a:gd name="connsiteY47" fmla="*/ 30522 h 36230"/>
                <a:gd name="connsiteX48" fmla="*/ 19106 w 24669"/>
                <a:gd name="connsiteY48" fmla="*/ 30891 h 36230"/>
                <a:gd name="connsiteX49" fmla="*/ 19345 w 24669"/>
                <a:gd name="connsiteY49" fmla="*/ 31034 h 36230"/>
                <a:gd name="connsiteX50" fmla="*/ 19316 w 24669"/>
                <a:gd name="connsiteY50" fmla="*/ 30400 h 36230"/>
                <a:gd name="connsiteX51" fmla="*/ 18676 w 24669"/>
                <a:gd name="connsiteY51" fmla="*/ 29879 h 36230"/>
                <a:gd name="connsiteX52" fmla="*/ 18512 w 24669"/>
                <a:gd name="connsiteY52" fmla="*/ 29676 h 36230"/>
                <a:gd name="connsiteX53" fmla="*/ 18609 w 24669"/>
                <a:gd name="connsiteY53" fmla="*/ 29437 h 36230"/>
                <a:gd name="connsiteX54" fmla="*/ 19397 w 24669"/>
                <a:gd name="connsiteY54" fmla="*/ 29995 h 36230"/>
                <a:gd name="connsiteX55" fmla="*/ 19625 w 24669"/>
                <a:gd name="connsiteY55" fmla="*/ 30196 h 36230"/>
                <a:gd name="connsiteX56" fmla="*/ 19894 w 24669"/>
                <a:gd name="connsiteY56" fmla="*/ 30186 h 36230"/>
                <a:gd name="connsiteX57" fmla="*/ 19912 w 24669"/>
                <a:gd name="connsiteY57" fmla="*/ 30979 h 36230"/>
                <a:gd name="connsiteX58" fmla="*/ 20716 w 24669"/>
                <a:gd name="connsiteY58" fmla="*/ 31262 h 36230"/>
                <a:gd name="connsiteX59" fmla="*/ 20663 w 24669"/>
                <a:gd name="connsiteY59" fmla="*/ 29512 h 36230"/>
                <a:gd name="connsiteX60" fmla="*/ 20335 w 24669"/>
                <a:gd name="connsiteY60" fmla="*/ 28883 h 36230"/>
                <a:gd name="connsiteX61" fmla="*/ 19869 w 24669"/>
                <a:gd name="connsiteY61" fmla="*/ 27843 h 36230"/>
                <a:gd name="connsiteX62" fmla="*/ 19699 w 24669"/>
                <a:gd name="connsiteY62" fmla="*/ 27586 h 36230"/>
                <a:gd name="connsiteX63" fmla="*/ 19808 w 24669"/>
                <a:gd name="connsiteY63" fmla="*/ 27612 h 36230"/>
                <a:gd name="connsiteX64" fmla="*/ 19606 w 24669"/>
                <a:gd name="connsiteY64" fmla="*/ 27298 h 36230"/>
                <a:gd name="connsiteX65" fmla="*/ 19907 w 24669"/>
                <a:gd name="connsiteY65" fmla="*/ 27549 h 36230"/>
                <a:gd name="connsiteX66" fmla="*/ 20065 w 24669"/>
                <a:gd name="connsiteY66" fmla="*/ 28041 h 36230"/>
                <a:gd name="connsiteX67" fmla="*/ 20379 w 24669"/>
                <a:gd name="connsiteY67" fmla="*/ 28296 h 36230"/>
                <a:gd name="connsiteX68" fmla="*/ 20293 w 24669"/>
                <a:gd name="connsiteY68" fmla="*/ 28310 h 36230"/>
                <a:gd name="connsiteX69" fmla="*/ 20714 w 24669"/>
                <a:gd name="connsiteY69" fmla="*/ 28827 h 36230"/>
                <a:gd name="connsiteX70" fmla="*/ 21067 w 24669"/>
                <a:gd name="connsiteY70" fmla="*/ 29461 h 36230"/>
                <a:gd name="connsiteX71" fmla="*/ 21386 w 24669"/>
                <a:gd name="connsiteY71" fmla="*/ 29815 h 36230"/>
                <a:gd name="connsiteX72" fmla="*/ 21176 w 24669"/>
                <a:gd name="connsiteY72" fmla="*/ 29783 h 36230"/>
                <a:gd name="connsiteX73" fmla="*/ 21280 w 24669"/>
                <a:gd name="connsiteY73" fmla="*/ 30202 h 36230"/>
                <a:gd name="connsiteX74" fmla="*/ 21488 w 24669"/>
                <a:gd name="connsiteY74" fmla="*/ 29915 h 36230"/>
                <a:gd name="connsiteX75" fmla="*/ 21479 w 24669"/>
                <a:gd name="connsiteY75" fmla="*/ 29835 h 36230"/>
                <a:gd name="connsiteX76" fmla="*/ 21622 w 24669"/>
                <a:gd name="connsiteY76" fmla="*/ 29929 h 36230"/>
                <a:gd name="connsiteX77" fmla="*/ 21434 w 24669"/>
                <a:gd name="connsiteY77" fmla="*/ 29311 h 36230"/>
                <a:gd name="connsiteX78" fmla="*/ 21809 w 24669"/>
                <a:gd name="connsiteY78" fmla="*/ 29621 h 36230"/>
                <a:gd name="connsiteX79" fmla="*/ 22045 w 24669"/>
                <a:gd name="connsiteY79" fmla="*/ 29417 h 36230"/>
                <a:gd name="connsiteX80" fmla="*/ 22114 w 24669"/>
                <a:gd name="connsiteY80" fmla="*/ 29490 h 36230"/>
                <a:gd name="connsiteX81" fmla="*/ 22241 w 24669"/>
                <a:gd name="connsiteY81" fmla="*/ 29254 h 36230"/>
                <a:gd name="connsiteX82" fmla="*/ 22436 w 24669"/>
                <a:gd name="connsiteY82" fmla="*/ 29648 h 36230"/>
                <a:gd name="connsiteX83" fmla="*/ 22504 w 24669"/>
                <a:gd name="connsiteY83" fmla="*/ 30027 h 36230"/>
                <a:gd name="connsiteX84" fmla="*/ 22665 w 24669"/>
                <a:gd name="connsiteY84" fmla="*/ 30359 h 36230"/>
                <a:gd name="connsiteX85" fmla="*/ 22827 w 24669"/>
                <a:gd name="connsiteY85" fmla="*/ 30387 h 36230"/>
                <a:gd name="connsiteX86" fmla="*/ 23051 w 24669"/>
                <a:gd name="connsiteY86" fmla="*/ 30532 h 36230"/>
                <a:gd name="connsiteX87" fmla="*/ 23865 w 24669"/>
                <a:gd name="connsiteY87" fmla="*/ 30346 h 36230"/>
                <a:gd name="connsiteX88" fmla="*/ 24396 w 24669"/>
                <a:gd name="connsiteY88" fmla="*/ 29962 h 36230"/>
                <a:gd name="connsiteX89" fmla="*/ 24669 w 24669"/>
                <a:gd name="connsiteY89" fmla="*/ 29523 h 36230"/>
                <a:gd name="connsiteX90" fmla="*/ 24669 w 24669"/>
                <a:gd name="connsiteY90" fmla="*/ 29458 h 36230"/>
                <a:gd name="connsiteX91" fmla="*/ 24139 w 24669"/>
                <a:gd name="connsiteY91" fmla="*/ 28815 h 36230"/>
                <a:gd name="connsiteX92" fmla="*/ 23847 w 24669"/>
                <a:gd name="connsiteY92" fmla="*/ 28371 h 36230"/>
                <a:gd name="connsiteX93" fmla="*/ 23481 w 24669"/>
                <a:gd name="connsiteY93" fmla="*/ 28340 h 36230"/>
                <a:gd name="connsiteX94" fmla="*/ 23393 w 24669"/>
                <a:gd name="connsiteY94" fmla="*/ 28212 h 36230"/>
                <a:gd name="connsiteX95" fmla="*/ 23843 w 24669"/>
                <a:gd name="connsiteY95" fmla="*/ 28271 h 36230"/>
                <a:gd name="connsiteX96" fmla="*/ 23503 w 24669"/>
                <a:gd name="connsiteY96" fmla="*/ 27799 h 36230"/>
                <a:gd name="connsiteX97" fmla="*/ 23075 w 24669"/>
                <a:gd name="connsiteY97" fmla="*/ 27532 h 36230"/>
                <a:gd name="connsiteX98" fmla="*/ 22894 w 24669"/>
                <a:gd name="connsiteY98" fmla="*/ 27360 h 36230"/>
                <a:gd name="connsiteX99" fmla="*/ 22248 w 24669"/>
                <a:gd name="connsiteY99" fmla="*/ 27599 h 36230"/>
                <a:gd name="connsiteX100" fmla="*/ 21746 w 24669"/>
                <a:gd name="connsiteY100" fmla="*/ 27248 h 36230"/>
                <a:gd name="connsiteX101" fmla="*/ 21713 w 24669"/>
                <a:gd name="connsiteY101" fmla="*/ 27172 h 36230"/>
                <a:gd name="connsiteX102" fmla="*/ 22029 w 24669"/>
                <a:gd name="connsiteY102" fmla="*/ 27034 h 36230"/>
                <a:gd name="connsiteX103" fmla="*/ 22435 w 24669"/>
                <a:gd name="connsiteY103" fmla="*/ 27174 h 36230"/>
                <a:gd name="connsiteX104" fmla="*/ 22898 w 24669"/>
                <a:gd name="connsiteY104" fmla="*/ 26899 h 36230"/>
                <a:gd name="connsiteX105" fmla="*/ 22540 w 24669"/>
                <a:gd name="connsiteY105" fmla="*/ 26330 h 36230"/>
                <a:gd name="connsiteX106" fmla="*/ 21434 w 24669"/>
                <a:gd name="connsiteY106" fmla="*/ 26496 h 36230"/>
                <a:gd name="connsiteX107" fmla="*/ 21078 w 24669"/>
                <a:gd name="connsiteY107" fmla="*/ 26073 h 36230"/>
                <a:gd name="connsiteX108" fmla="*/ 21190 w 24669"/>
                <a:gd name="connsiteY108" fmla="*/ 26069 h 36230"/>
                <a:gd name="connsiteX109" fmla="*/ 21041 w 24669"/>
                <a:gd name="connsiteY109" fmla="*/ 25509 h 36230"/>
                <a:gd name="connsiteX110" fmla="*/ 21192 w 24669"/>
                <a:gd name="connsiteY110" fmla="*/ 25477 h 36230"/>
                <a:gd name="connsiteX111" fmla="*/ 21584 w 24669"/>
                <a:gd name="connsiteY111" fmla="*/ 25990 h 36230"/>
                <a:gd name="connsiteX112" fmla="*/ 22190 w 24669"/>
                <a:gd name="connsiteY112" fmla="*/ 26112 h 36230"/>
                <a:gd name="connsiteX113" fmla="*/ 22342 w 24669"/>
                <a:gd name="connsiteY113" fmla="*/ 25930 h 36230"/>
                <a:gd name="connsiteX114" fmla="*/ 22058 w 24669"/>
                <a:gd name="connsiteY114" fmla="*/ 25259 h 36230"/>
                <a:gd name="connsiteX115" fmla="*/ 21597 w 24669"/>
                <a:gd name="connsiteY115" fmla="*/ 25302 h 36230"/>
                <a:gd name="connsiteX116" fmla="*/ 21391 w 24669"/>
                <a:gd name="connsiteY116" fmla="*/ 24516 h 36230"/>
                <a:gd name="connsiteX117" fmla="*/ 21662 w 24669"/>
                <a:gd name="connsiteY117" fmla="*/ 24201 h 36230"/>
                <a:gd name="connsiteX118" fmla="*/ 21573 w 24669"/>
                <a:gd name="connsiteY118" fmla="*/ 23974 h 36230"/>
                <a:gd name="connsiteX119" fmla="*/ 21250 w 24669"/>
                <a:gd name="connsiteY119" fmla="*/ 23780 h 36230"/>
                <a:gd name="connsiteX120" fmla="*/ 21285 w 24669"/>
                <a:gd name="connsiteY120" fmla="*/ 23338 h 36230"/>
                <a:gd name="connsiteX121" fmla="*/ 20946 w 24669"/>
                <a:gd name="connsiteY121" fmla="*/ 23363 h 36230"/>
                <a:gd name="connsiteX122" fmla="*/ 20960 w 24669"/>
                <a:gd name="connsiteY122" fmla="*/ 23143 h 36230"/>
                <a:gd name="connsiteX123" fmla="*/ 20809 w 24669"/>
                <a:gd name="connsiteY123" fmla="*/ 23294 h 36230"/>
                <a:gd name="connsiteX124" fmla="*/ 20830 w 24669"/>
                <a:gd name="connsiteY124" fmla="*/ 22947 h 36230"/>
                <a:gd name="connsiteX125" fmla="*/ 20702 w 24669"/>
                <a:gd name="connsiteY125" fmla="*/ 22882 h 36230"/>
                <a:gd name="connsiteX126" fmla="*/ 20888 w 24669"/>
                <a:gd name="connsiteY126" fmla="*/ 22879 h 36230"/>
                <a:gd name="connsiteX127" fmla="*/ 20699 w 24669"/>
                <a:gd name="connsiteY127" fmla="*/ 22125 h 36230"/>
                <a:gd name="connsiteX128" fmla="*/ 20548 w 24669"/>
                <a:gd name="connsiteY128" fmla="*/ 21550 h 36230"/>
                <a:gd name="connsiteX129" fmla="*/ 20394 w 24669"/>
                <a:gd name="connsiteY129" fmla="*/ 20980 h 36230"/>
                <a:gd name="connsiteX130" fmla="*/ 20627 w 24669"/>
                <a:gd name="connsiteY130" fmla="*/ 21030 h 36230"/>
                <a:gd name="connsiteX131" fmla="*/ 20669 w 24669"/>
                <a:gd name="connsiteY131" fmla="*/ 21592 h 36230"/>
                <a:gd name="connsiteX132" fmla="*/ 20894 w 24669"/>
                <a:gd name="connsiteY132" fmla="*/ 21591 h 36230"/>
                <a:gd name="connsiteX133" fmla="*/ 21403 w 24669"/>
                <a:gd name="connsiteY133" fmla="*/ 21181 h 36230"/>
                <a:gd name="connsiteX134" fmla="*/ 21621 w 24669"/>
                <a:gd name="connsiteY134" fmla="*/ 20832 h 36230"/>
                <a:gd name="connsiteX135" fmla="*/ 21143 w 24669"/>
                <a:gd name="connsiteY135" fmla="*/ 21076 h 36230"/>
                <a:gd name="connsiteX136" fmla="*/ 20946 w 24669"/>
                <a:gd name="connsiteY136" fmla="*/ 20919 h 36230"/>
                <a:gd name="connsiteX137" fmla="*/ 20989 w 24669"/>
                <a:gd name="connsiteY137" fmla="*/ 21081 h 36230"/>
                <a:gd name="connsiteX138" fmla="*/ 20858 w 24669"/>
                <a:gd name="connsiteY138" fmla="*/ 20970 h 36230"/>
                <a:gd name="connsiteX139" fmla="*/ 21127 w 24669"/>
                <a:gd name="connsiteY139" fmla="*/ 20753 h 36230"/>
                <a:gd name="connsiteX140" fmla="*/ 20856 w 24669"/>
                <a:gd name="connsiteY140" fmla="*/ 20675 h 36230"/>
                <a:gd name="connsiteX141" fmla="*/ 21189 w 24669"/>
                <a:gd name="connsiteY141" fmla="*/ 20535 h 36230"/>
                <a:gd name="connsiteX142" fmla="*/ 20911 w 24669"/>
                <a:gd name="connsiteY142" fmla="*/ 20497 h 36230"/>
                <a:gd name="connsiteX143" fmla="*/ 21300 w 24669"/>
                <a:gd name="connsiteY143" fmla="*/ 20462 h 36230"/>
                <a:gd name="connsiteX144" fmla="*/ 21517 w 24669"/>
                <a:gd name="connsiteY144" fmla="*/ 20165 h 36230"/>
                <a:gd name="connsiteX145" fmla="*/ 21846 w 24669"/>
                <a:gd name="connsiteY145" fmla="*/ 20242 h 36230"/>
                <a:gd name="connsiteX146" fmla="*/ 21891 w 24669"/>
                <a:gd name="connsiteY146" fmla="*/ 19600 h 36230"/>
                <a:gd name="connsiteX147" fmla="*/ 21677 w 24669"/>
                <a:gd name="connsiteY147" fmla="*/ 19409 h 36230"/>
                <a:gd name="connsiteX148" fmla="*/ 20780 w 24669"/>
                <a:gd name="connsiteY148" fmla="*/ 19727 h 36230"/>
                <a:gd name="connsiteX149" fmla="*/ 20961 w 24669"/>
                <a:gd name="connsiteY149" fmla="*/ 19649 h 36230"/>
                <a:gd name="connsiteX150" fmla="*/ 20627 w 24669"/>
                <a:gd name="connsiteY150" fmla="*/ 19304 h 36230"/>
                <a:gd name="connsiteX151" fmla="*/ 20736 w 24669"/>
                <a:gd name="connsiteY151" fmla="*/ 19246 h 36230"/>
                <a:gd name="connsiteX152" fmla="*/ 20498 w 24669"/>
                <a:gd name="connsiteY152" fmla="*/ 19225 h 36230"/>
                <a:gd name="connsiteX153" fmla="*/ 20304 w 24669"/>
                <a:gd name="connsiteY153" fmla="*/ 19557 h 36230"/>
                <a:gd name="connsiteX154" fmla="*/ 20161 w 24669"/>
                <a:gd name="connsiteY154" fmla="*/ 19256 h 36230"/>
                <a:gd name="connsiteX155" fmla="*/ 20221 w 24669"/>
                <a:gd name="connsiteY155" fmla="*/ 19016 h 36230"/>
                <a:gd name="connsiteX156" fmla="*/ 20350 w 24669"/>
                <a:gd name="connsiteY156" fmla="*/ 19201 h 36230"/>
                <a:gd name="connsiteX157" fmla="*/ 20529 w 24669"/>
                <a:gd name="connsiteY157" fmla="*/ 18483 h 36230"/>
                <a:gd name="connsiteX158" fmla="*/ 21064 w 24669"/>
                <a:gd name="connsiteY158" fmla="*/ 18717 h 36230"/>
                <a:gd name="connsiteX159" fmla="*/ 21054 w 24669"/>
                <a:gd name="connsiteY159" fmla="*/ 18547 h 36230"/>
                <a:gd name="connsiteX160" fmla="*/ 20878 w 24669"/>
                <a:gd name="connsiteY160" fmla="*/ 18513 h 36230"/>
                <a:gd name="connsiteX161" fmla="*/ 21247 w 24669"/>
                <a:gd name="connsiteY161" fmla="*/ 18475 h 36230"/>
                <a:gd name="connsiteX162" fmla="*/ 21116 w 24669"/>
                <a:gd name="connsiteY162" fmla="*/ 18113 h 36230"/>
                <a:gd name="connsiteX163" fmla="*/ 21213 w 24669"/>
                <a:gd name="connsiteY163" fmla="*/ 18068 h 36230"/>
                <a:gd name="connsiteX164" fmla="*/ 21043 w 24669"/>
                <a:gd name="connsiteY164" fmla="*/ 18015 h 36230"/>
                <a:gd name="connsiteX165" fmla="*/ 21398 w 24669"/>
                <a:gd name="connsiteY165" fmla="*/ 17562 h 36230"/>
                <a:gd name="connsiteX166" fmla="*/ 21363 w 24669"/>
                <a:gd name="connsiteY166" fmla="*/ 16710 h 36230"/>
                <a:gd name="connsiteX167" fmla="*/ 21205 w 24669"/>
                <a:gd name="connsiteY167" fmla="*/ 16736 h 36230"/>
                <a:gd name="connsiteX168" fmla="*/ 21150 w 24669"/>
                <a:gd name="connsiteY168" fmla="*/ 17021 h 36230"/>
                <a:gd name="connsiteX169" fmla="*/ 20898 w 24669"/>
                <a:gd name="connsiteY169" fmla="*/ 16973 h 36230"/>
                <a:gd name="connsiteX170" fmla="*/ 20305 w 24669"/>
                <a:gd name="connsiteY170" fmla="*/ 17565 h 36230"/>
                <a:gd name="connsiteX171" fmla="*/ 20984 w 24669"/>
                <a:gd name="connsiteY171" fmla="*/ 16718 h 36230"/>
                <a:gd name="connsiteX172" fmla="*/ 20425 w 24669"/>
                <a:gd name="connsiteY172" fmla="*/ 16439 h 36230"/>
                <a:gd name="connsiteX173" fmla="*/ 20784 w 24669"/>
                <a:gd name="connsiteY173" fmla="*/ 16601 h 36230"/>
                <a:gd name="connsiteX174" fmla="*/ 20923 w 24669"/>
                <a:gd name="connsiteY174" fmla="*/ 16572 h 36230"/>
                <a:gd name="connsiteX175" fmla="*/ 20890 w 24669"/>
                <a:gd name="connsiteY175" fmla="*/ 15999 h 36230"/>
                <a:gd name="connsiteX176" fmla="*/ 21293 w 24669"/>
                <a:gd name="connsiteY176" fmla="*/ 15901 h 36230"/>
                <a:gd name="connsiteX177" fmla="*/ 21416 w 24669"/>
                <a:gd name="connsiteY177" fmla="*/ 16010 h 36230"/>
                <a:gd name="connsiteX178" fmla="*/ 21544 w 24669"/>
                <a:gd name="connsiteY178" fmla="*/ 15550 h 36230"/>
                <a:gd name="connsiteX179" fmla="*/ 21295 w 24669"/>
                <a:gd name="connsiteY179" fmla="*/ 15353 h 36230"/>
                <a:gd name="connsiteX180" fmla="*/ 21029 w 24669"/>
                <a:gd name="connsiteY180" fmla="*/ 15634 h 36230"/>
                <a:gd name="connsiteX181" fmla="*/ 20827 w 24669"/>
                <a:gd name="connsiteY181" fmla="*/ 15680 h 36230"/>
                <a:gd name="connsiteX182" fmla="*/ 21156 w 24669"/>
                <a:gd name="connsiteY182" fmla="*/ 15245 h 36230"/>
                <a:gd name="connsiteX183" fmla="*/ 20516 w 24669"/>
                <a:gd name="connsiteY183" fmla="*/ 15213 h 36230"/>
                <a:gd name="connsiteX184" fmla="*/ 20394 w 24669"/>
                <a:gd name="connsiteY184" fmla="*/ 15498 h 36230"/>
                <a:gd name="connsiteX185" fmla="*/ 20235 w 24669"/>
                <a:gd name="connsiteY185" fmla="*/ 15033 h 36230"/>
                <a:gd name="connsiteX186" fmla="*/ 21110 w 24669"/>
                <a:gd name="connsiteY186" fmla="*/ 14792 h 36230"/>
                <a:gd name="connsiteX187" fmla="*/ 21021 w 24669"/>
                <a:gd name="connsiteY187" fmla="*/ 14237 h 36230"/>
                <a:gd name="connsiteX188" fmla="*/ 20612 w 24669"/>
                <a:gd name="connsiteY188" fmla="*/ 14225 h 36230"/>
                <a:gd name="connsiteX189" fmla="*/ 20261 w 24669"/>
                <a:gd name="connsiteY189" fmla="*/ 13946 h 36230"/>
                <a:gd name="connsiteX190" fmla="*/ 19600 w 24669"/>
                <a:gd name="connsiteY190" fmla="*/ 14405 h 36230"/>
                <a:gd name="connsiteX191" fmla="*/ 19624 w 24669"/>
                <a:gd name="connsiteY191" fmla="*/ 14657 h 36230"/>
                <a:gd name="connsiteX192" fmla="*/ 19497 w 24669"/>
                <a:gd name="connsiteY192" fmla="*/ 14765 h 36230"/>
                <a:gd name="connsiteX193" fmla="*/ 19385 w 24669"/>
                <a:gd name="connsiteY193" fmla="*/ 14370 h 36230"/>
                <a:gd name="connsiteX194" fmla="*/ 19257 w 24669"/>
                <a:gd name="connsiteY194" fmla="*/ 14392 h 36230"/>
                <a:gd name="connsiteX195" fmla="*/ 19272 w 24669"/>
                <a:gd name="connsiteY195" fmla="*/ 14312 h 36230"/>
                <a:gd name="connsiteX196" fmla="*/ 18785 w 24669"/>
                <a:gd name="connsiteY196" fmla="*/ 13904 h 36230"/>
                <a:gd name="connsiteX197" fmla="*/ 18206 w 24669"/>
                <a:gd name="connsiteY197" fmla="*/ 14284 h 36230"/>
                <a:gd name="connsiteX198" fmla="*/ 18652 w 24669"/>
                <a:gd name="connsiteY198" fmla="*/ 13940 h 36230"/>
                <a:gd name="connsiteX199" fmla="*/ 18119 w 24669"/>
                <a:gd name="connsiteY199" fmla="*/ 13799 h 36230"/>
                <a:gd name="connsiteX200" fmla="*/ 18230 w 24669"/>
                <a:gd name="connsiteY200" fmla="*/ 13626 h 36230"/>
                <a:gd name="connsiteX201" fmla="*/ 18291 w 24669"/>
                <a:gd name="connsiteY201" fmla="*/ 13760 h 36230"/>
                <a:gd name="connsiteX202" fmla="*/ 18630 w 24669"/>
                <a:gd name="connsiteY202" fmla="*/ 13824 h 36230"/>
                <a:gd name="connsiteX203" fmla="*/ 18913 w 24669"/>
                <a:gd name="connsiteY203" fmla="*/ 13772 h 36230"/>
                <a:gd name="connsiteX204" fmla="*/ 19143 w 24669"/>
                <a:gd name="connsiteY204" fmla="*/ 14200 h 36230"/>
                <a:gd name="connsiteX205" fmla="*/ 19900 w 24669"/>
                <a:gd name="connsiteY205" fmla="*/ 13918 h 36230"/>
                <a:gd name="connsiteX206" fmla="*/ 19537 w 24669"/>
                <a:gd name="connsiteY206" fmla="*/ 13914 h 36230"/>
                <a:gd name="connsiteX207" fmla="*/ 19992 w 24669"/>
                <a:gd name="connsiteY207" fmla="*/ 13814 h 36230"/>
                <a:gd name="connsiteX208" fmla="*/ 19966 w 24669"/>
                <a:gd name="connsiteY208" fmla="*/ 13664 h 36230"/>
                <a:gd name="connsiteX209" fmla="*/ 20400 w 24669"/>
                <a:gd name="connsiteY209" fmla="*/ 13488 h 36230"/>
                <a:gd name="connsiteX210" fmla="*/ 20415 w 24669"/>
                <a:gd name="connsiteY210" fmla="*/ 13143 h 36230"/>
                <a:gd name="connsiteX211" fmla="*/ 19995 w 24669"/>
                <a:gd name="connsiteY211" fmla="*/ 13352 h 36230"/>
                <a:gd name="connsiteX212" fmla="*/ 19306 w 24669"/>
                <a:gd name="connsiteY212" fmla="*/ 13465 h 36230"/>
                <a:gd name="connsiteX213" fmla="*/ 19513 w 24669"/>
                <a:gd name="connsiteY213" fmla="*/ 13611 h 36230"/>
                <a:gd name="connsiteX214" fmla="*/ 18992 w 24669"/>
                <a:gd name="connsiteY214" fmla="*/ 13743 h 36230"/>
                <a:gd name="connsiteX215" fmla="*/ 19156 w 24669"/>
                <a:gd name="connsiteY215" fmla="*/ 13559 h 36230"/>
                <a:gd name="connsiteX216" fmla="*/ 18783 w 24669"/>
                <a:gd name="connsiteY216" fmla="*/ 13325 h 36230"/>
                <a:gd name="connsiteX217" fmla="*/ 18425 w 24669"/>
                <a:gd name="connsiteY217" fmla="*/ 13414 h 36230"/>
                <a:gd name="connsiteX218" fmla="*/ 18586 w 24669"/>
                <a:gd name="connsiteY218" fmla="*/ 13279 h 36230"/>
                <a:gd name="connsiteX219" fmla="*/ 18495 w 24669"/>
                <a:gd name="connsiteY219" fmla="*/ 13202 h 36230"/>
                <a:gd name="connsiteX220" fmla="*/ 18621 w 24669"/>
                <a:gd name="connsiteY220" fmla="*/ 13210 h 36230"/>
                <a:gd name="connsiteX221" fmla="*/ 18638 w 24669"/>
                <a:gd name="connsiteY221" fmla="*/ 13109 h 36230"/>
                <a:gd name="connsiteX222" fmla="*/ 18978 w 24669"/>
                <a:gd name="connsiteY222" fmla="*/ 13333 h 36230"/>
                <a:gd name="connsiteX223" fmla="*/ 19337 w 24669"/>
                <a:gd name="connsiteY223" fmla="*/ 12951 h 36230"/>
                <a:gd name="connsiteX224" fmla="*/ 18835 w 24669"/>
                <a:gd name="connsiteY224" fmla="*/ 12789 h 36230"/>
                <a:gd name="connsiteX225" fmla="*/ 19372 w 24669"/>
                <a:gd name="connsiteY225" fmla="*/ 12751 h 36230"/>
                <a:gd name="connsiteX226" fmla="*/ 20172 w 24669"/>
                <a:gd name="connsiteY226" fmla="*/ 12126 h 36230"/>
                <a:gd name="connsiteX227" fmla="*/ 19927 w 24669"/>
                <a:gd name="connsiteY227" fmla="*/ 11774 h 36230"/>
                <a:gd name="connsiteX228" fmla="*/ 20225 w 24669"/>
                <a:gd name="connsiteY228" fmla="*/ 11961 h 36230"/>
                <a:gd name="connsiteX229" fmla="*/ 20119 w 24669"/>
                <a:gd name="connsiteY229" fmla="*/ 11726 h 36230"/>
                <a:gd name="connsiteX230" fmla="*/ 20301 w 24669"/>
                <a:gd name="connsiteY230" fmla="*/ 11905 h 36230"/>
                <a:gd name="connsiteX231" fmla="*/ 20413 w 24669"/>
                <a:gd name="connsiteY231" fmla="*/ 11881 h 36230"/>
                <a:gd name="connsiteX232" fmla="*/ 20166 w 24669"/>
                <a:gd name="connsiteY232" fmla="*/ 11425 h 36230"/>
                <a:gd name="connsiteX233" fmla="*/ 20417 w 24669"/>
                <a:gd name="connsiteY233" fmla="*/ 11611 h 36230"/>
                <a:gd name="connsiteX234" fmla="*/ 20495 w 24669"/>
                <a:gd name="connsiteY234" fmla="*/ 11115 h 36230"/>
                <a:gd name="connsiteX235" fmla="*/ 20565 w 24669"/>
                <a:gd name="connsiteY235" fmla="*/ 10341 h 36230"/>
                <a:gd name="connsiteX236" fmla="*/ 20226 w 24669"/>
                <a:gd name="connsiteY236" fmla="*/ 10333 h 36230"/>
                <a:gd name="connsiteX237" fmla="*/ 20185 w 24669"/>
                <a:gd name="connsiteY237" fmla="*/ 10823 h 36230"/>
                <a:gd name="connsiteX238" fmla="*/ 20116 w 24669"/>
                <a:gd name="connsiteY238" fmla="*/ 10327 h 36230"/>
                <a:gd name="connsiteX239" fmla="*/ 19902 w 24669"/>
                <a:gd name="connsiteY239" fmla="*/ 10294 h 36230"/>
                <a:gd name="connsiteX240" fmla="*/ 19566 w 24669"/>
                <a:gd name="connsiteY240" fmla="*/ 10622 h 36230"/>
                <a:gd name="connsiteX241" fmla="*/ 19316 w 24669"/>
                <a:gd name="connsiteY241" fmla="*/ 11352 h 36230"/>
                <a:gd name="connsiteX242" fmla="*/ 18859 w 24669"/>
                <a:gd name="connsiteY242" fmla="*/ 11649 h 36230"/>
                <a:gd name="connsiteX243" fmla="*/ 18399 w 24669"/>
                <a:gd name="connsiteY243" fmla="*/ 11729 h 36230"/>
                <a:gd name="connsiteX244" fmla="*/ 18072 w 24669"/>
                <a:gd name="connsiteY244" fmla="*/ 12169 h 36230"/>
                <a:gd name="connsiteX245" fmla="*/ 17730 w 24669"/>
                <a:gd name="connsiteY245" fmla="*/ 12307 h 36230"/>
                <a:gd name="connsiteX246" fmla="*/ 18272 w 24669"/>
                <a:gd name="connsiteY246" fmla="*/ 11848 h 36230"/>
                <a:gd name="connsiteX247" fmla="*/ 18074 w 24669"/>
                <a:gd name="connsiteY247" fmla="*/ 11757 h 36230"/>
                <a:gd name="connsiteX248" fmla="*/ 18711 w 24669"/>
                <a:gd name="connsiteY248" fmla="*/ 11595 h 36230"/>
                <a:gd name="connsiteX249" fmla="*/ 19014 w 24669"/>
                <a:gd name="connsiteY249" fmla="*/ 11362 h 36230"/>
                <a:gd name="connsiteX250" fmla="*/ 18671 w 24669"/>
                <a:gd name="connsiteY250" fmla="*/ 11005 h 36230"/>
                <a:gd name="connsiteX251" fmla="*/ 18203 w 24669"/>
                <a:gd name="connsiteY251" fmla="*/ 10906 h 36230"/>
                <a:gd name="connsiteX252" fmla="*/ 18015 w 24669"/>
                <a:gd name="connsiteY252" fmla="*/ 11186 h 36230"/>
                <a:gd name="connsiteX253" fmla="*/ 18113 w 24669"/>
                <a:gd name="connsiteY253" fmla="*/ 10912 h 36230"/>
                <a:gd name="connsiteX254" fmla="*/ 17919 w 24669"/>
                <a:gd name="connsiteY254" fmla="*/ 10968 h 36230"/>
                <a:gd name="connsiteX255" fmla="*/ 17947 w 24669"/>
                <a:gd name="connsiteY255" fmla="*/ 10606 h 36230"/>
                <a:gd name="connsiteX256" fmla="*/ 17488 w 24669"/>
                <a:gd name="connsiteY256" fmla="*/ 10320 h 36230"/>
                <a:gd name="connsiteX257" fmla="*/ 17496 w 24669"/>
                <a:gd name="connsiteY257" fmla="*/ 10249 h 36230"/>
                <a:gd name="connsiteX258" fmla="*/ 17885 w 24669"/>
                <a:gd name="connsiteY258" fmla="*/ 10302 h 36230"/>
                <a:gd name="connsiteX259" fmla="*/ 18670 w 24669"/>
                <a:gd name="connsiteY259" fmla="*/ 10206 h 36230"/>
                <a:gd name="connsiteX260" fmla="*/ 18235 w 24669"/>
                <a:gd name="connsiteY260" fmla="*/ 10034 h 36230"/>
                <a:gd name="connsiteX261" fmla="*/ 17733 w 24669"/>
                <a:gd name="connsiteY261" fmla="*/ 9877 h 36230"/>
                <a:gd name="connsiteX262" fmla="*/ 18240 w 24669"/>
                <a:gd name="connsiteY262" fmla="*/ 9763 h 36230"/>
                <a:gd name="connsiteX263" fmla="*/ 18374 w 24669"/>
                <a:gd name="connsiteY263" fmla="*/ 10035 h 36230"/>
                <a:gd name="connsiteX264" fmla="*/ 18675 w 24669"/>
                <a:gd name="connsiteY264" fmla="*/ 10065 h 36230"/>
                <a:gd name="connsiteX265" fmla="*/ 19078 w 24669"/>
                <a:gd name="connsiteY265" fmla="*/ 10274 h 36230"/>
                <a:gd name="connsiteX266" fmla="*/ 19063 w 24669"/>
                <a:gd name="connsiteY266" fmla="*/ 10168 h 36230"/>
                <a:gd name="connsiteX267" fmla="*/ 19747 w 24669"/>
                <a:gd name="connsiteY267" fmla="*/ 9928 h 36230"/>
                <a:gd name="connsiteX268" fmla="*/ 20381 w 24669"/>
                <a:gd name="connsiteY268" fmla="*/ 9940 h 36230"/>
                <a:gd name="connsiteX269" fmla="*/ 19944 w 24669"/>
                <a:gd name="connsiteY269" fmla="*/ 9671 h 36230"/>
                <a:gd name="connsiteX270" fmla="*/ 19724 w 24669"/>
                <a:gd name="connsiteY270" fmla="*/ 9403 h 36230"/>
                <a:gd name="connsiteX271" fmla="*/ 19715 w 24669"/>
                <a:gd name="connsiteY271" fmla="*/ 9227 h 36230"/>
                <a:gd name="connsiteX272" fmla="*/ 19562 w 24669"/>
                <a:gd name="connsiteY272" fmla="*/ 9258 h 36230"/>
                <a:gd name="connsiteX273" fmla="*/ 19299 w 24669"/>
                <a:gd name="connsiteY273" fmla="*/ 8924 h 36230"/>
                <a:gd name="connsiteX274" fmla="*/ 19061 w 24669"/>
                <a:gd name="connsiteY274" fmla="*/ 8937 h 36230"/>
                <a:gd name="connsiteX275" fmla="*/ 19192 w 24669"/>
                <a:gd name="connsiteY275" fmla="*/ 8831 h 36230"/>
                <a:gd name="connsiteX276" fmla="*/ 19041 w 24669"/>
                <a:gd name="connsiteY276" fmla="*/ 8667 h 36230"/>
                <a:gd name="connsiteX277" fmla="*/ 18952 w 24669"/>
                <a:gd name="connsiteY277" fmla="*/ 8688 h 36230"/>
                <a:gd name="connsiteX278" fmla="*/ 18511 w 24669"/>
                <a:gd name="connsiteY278" fmla="*/ 8262 h 36230"/>
                <a:gd name="connsiteX279" fmla="*/ 18043 w 24669"/>
                <a:gd name="connsiteY279" fmla="*/ 8058 h 36230"/>
                <a:gd name="connsiteX280" fmla="*/ 17997 w 24669"/>
                <a:gd name="connsiteY280" fmla="*/ 8149 h 36230"/>
                <a:gd name="connsiteX281" fmla="*/ 17375 w 24669"/>
                <a:gd name="connsiteY281" fmla="*/ 7778 h 36230"/>
                <a:gd name="connsiteX282" fmla="*/ 17195 w 24669"/>
                <a:gd name="connsiteY282" fmla="*/ 7981 h 36230"/>
                <a:gd name="connsiteX283" fmla="*/ 17165 w 24669"/>
                <a:gd name="connsiteY283" fmla="*/ 7874 h 36230"/>
                <a:gd name="connsiteX284" fmla="*/ 17306 w 24669"/>
                <a:gd name="connsiteY284" fmla="*/ 7719 h 36230"/>
                <a:gd name="connsiteX285" fmla="*/ 17118 w 24669"/>
                <a:gd name="connsiteY285" fmla="*/ 7798 h 36230"/>
                <a:gd name="connsiteX286" fmla="*/ 17186 w 24669"/>
                <a:gd name="connsiteY286" fmla="*/ 7664 h 36230"/>
                <a:gd name="connsiteX287" fmla="*/ 16917 w 24669"/>
                <a:gd name="connsiteY287" fmla="*/ 7645 h 36230"/>
                <a:gd name="connsiteX288" fmla="*/ 16392 w 24669"/>
                <a:gd name="connsiteY288" fmla="*/ 7760 h 36230"/>
                <a:gd name="connsiteX289" fmla="*/ 16485 w 24669"/>
                <a:gd name="connsiteY289" fmla="*/ 7774 h 36230"/>
                <a:gd name="connsiteX290" fmla="*/ 16159 w 24669"/>
                <a:gd name="connsiteY290" fmla="*/ 8231 h 36230"/>
                <a:gd name="connsiteX291" fmla="*/ 16348 w 24669"/>
                <a:gd name="connsiteY291" fmla="*/ 7547 h 36230"/>
                <a:gd name="connsiteX292" fmla="*/ 16080 w 24669"/>
                <a:gd name="connsiteY292" fmla="*/ 7287 h 36230"/>
                <a:gd name="connsiteX293" fmla="*/ 15790 w 24669"/>
                <a:gd name="connsiteY293" fmla="*/ 6727 h 36230"/>
                <a:gd name="connsiteX294" fmla="*/ 15599 w 24669"/>
                <a:gd name="connsiteY294" fmla="*/ 6376 h 36230"/>
                <a:gd name="connsiteX295" fmla="*/ 15485 w 24669"/>
                <a:gd name="connsiteY295" fmla="*/ 6060 h 36230"/>
                <a:gd name="connsiteX296" fmla="*/ 15407 w 24669"/>
                <a:gd name="connsiteY296" fmla="*/ 6156 h 36230"/>
                <a:gd name="connsiteX297" fmla="*/ 15199 w 24669"/>
                <a:gd name="connsiteY297" fmla="*/ 5758 h 36230"/>
                <a:gd name="connsiteX298" fmla="*/ 15085 w 24669"/>
                <a:gd name="connsiteY298" fmla="*/ 5886 h 36230"/>
                <a:gd name="connsiteX299" fmla="*/ 15127 w 24669"/>
                <a:gd name="connsiteY299" fmla="*/ 5710 h 36230"/>
                <a:gd name="connsiteX300" fmla="*/ 14956 w 24669"/>
                <a:gd name="connsiteY300" fmla="*/ 5782 h 36230"/>
                <a:gd name="connsiteX301" fmla="*/ 14973 w 24669"/>
                <a:gd name="connsiteY301" fmla="*/ 5689 h 36230"/>
                <a:gd name="connsiteX302" fmla="*/ 14672 w 24669"/>
                <a:gd name="connsiteY302" fmla="*/ 5375 h 36230"/>
                <a:gd name="connsiteX303" fmla="*/ 14589 w 24669"/>
                <a:gd name="connsiteY303" fmla="*/ 5531 h 36230"/>
                <a:gd name="connsiteX304" fmla="*/ 14506 w 24669"/>
                <a:gd name="connsiteY304" fmla="*/ 5302 h 36230"/>
                <a:gd name="connsiteX305" fmla="*/ 14438 w 24669"/>
                <a:gd name="connsiteY305" fmla="*/ 5387 h 36230"/>
                <a:gd name="connsiteX306" fmla="*/ 14384 w 24669"/>
                <a:gd name="connsiteY306" fmla="*/ 5172 h 36230"/>
                <a:gd name="connsiteX307" fmla="*/ 14329 w 24669"/>
                <a:gd name="connsiteY307" fmla="*/ 5512 h 36230"/>
                <a:gd name="connsiteX308" fmla="*/ 13983 w 24669"/>
                <a:gd name="connsiteY308" fmla="*/ 5036 h 36230"/>
                <a:gd name="connsiteX309" fmla="*/ 14292 w 24669"/>
                <a:gd name="connsiteY309" fmla="*/ 5803 h 36230"/>
                <a:gd name="connsiteX310" fmla="*/ 13900 w 24669"/>
                <a:gd name="connsiteY310" fmla="*/ 5856 h 36230"/>
                <a:gd name="connsiteX311" fmla="*/ 14051 w 24669"/>
                <a:gd name="connsiteY311" fmla="*/ 5757 h 36230"/>
                <a:gd name="connsiteX312" fmla="*/ 13925 w 24669"/>
                <a:gd name="connsiteY312" fmla="*/ 5330 h 36230"/>
                <a:gd name="connsiteX313" fmla="*/ 13759 w 24669"/>
                <a:gd name="connsiteY313" fmla="*/ 5506 h 36230"/>
                <a:gd name="connsiteX314" fmla="*/ 13903 w 24669"/>
                <a:gd name="connsiteY314" fmla="*/ 5196 h 36230"/>
                <a:gd name="connsiteX315" fmla="*/ 13603 w 24669"/>
                <a:gd name="connsiteY315" fmla="*/ 5015 h 36230"/>
                <a:gd name="connsiteX316" fmla="*/ 13462 w 24669"/>
                <a:gd name="connsiteY316" fmla="*/ 5188 h 36230"/>
                <a:gd name="connsiteX317" fmla="*/ 13461 w 24669"/>
                <a:gd name="connsiteY317" fmla="*/ 5048 h 36230"/>
                <a:gd name="connsiteX318" fmla="*/ 13285 w 24669"/>
                <a:gd name="connsiteY318" fmla="*/ 5127 h 36230"/>
                <a:gd name="connsiteX319" fmla="*/ 13231 w 24669"/>
                <a:gd name="connsiteY319" fmla="*/ 4996 h 36230"/>
                <a:gd name="connsiteX320" fmla="*/ 13113 w 24669"/>
                <a:gd name="connsiteY320" fmla="*/ 5028 h 36230"/>
                <a:gd name="connsiteX321" fmla="*/ 13137 w 24669"/>
                <a:gd name="connsiteY321" fmla="*/ 4620 h 36230"/>
                <a:gd name="connsiteX322" fmla="*/ 12763 w 24669"/>
                <a:gd name="connsiteY322" fmla="*/ 4559 h 36230"/>
                <a:gd name="connsiteX323" fmla="*/ 12758 w 24669"/>
                <a:gd name="connsiteY323" fmla="*/ 4337 h 36230"/>
                <a:gd name="connsiteX324" fmla="*/ 12881 w 24669"/>
                <a:gd name="connsiteY324" fmla="*/ 4455 h 36230"/>
                <a:gd name="connsiteX325" fmla="*/ 13027 w 24669"/>
                <a:gd name="connsiteY325" fmla="*/ 3988 h 36230"/>
                <a:gd name="connsiteX326" fmla="*/ 12728 w 24669"/>
                <a:gd name="connsiteY326" fmla="*/ 3894 h 36230"/>
                <a:gd name="connsiteX327" fmla="*/ 12690 w 24669"/>
                <a:gd name="connsiteY327" fmla="*/ 3780 h 36230"/>
                <a:gd name="connsiteX328" fmla="*/ 12530 w 24669"/>
                <a:gd name="connsiteY328" fmla="*/ 3925 h 36230"/>
                <a:gd name="connsiteX329" fmla="*/ 12902 w 24669"/>
                <a:gd name="connsiteY329" fmla="*/ 3708 h 36230"/>
                <a:gd name="connsiteX330" fmla="*/ 12927 w 24669"/>
                <a:gd name="connsiteY330" fmla="*/ 3328 h 36230"/>
                <a:gd name="connsiteX331" fmla="*/ 12821 w 24669"/>
                <a:gd name="connsiteY331" fmla="*/ 3136 h 36230"/>
                <a:gd name="connsiteX332" fmla="*/ 12629 w 24669"/>
                <a:gd name="connsiteY332" fmla="*/ 3062 h 36230"/>
                <a:gd name="connsiteX333" fmla="*/ 12424 w 24669"/>
                <a:gd name="connsiteY333" fmla="*/ 2508 h 36230"/>
                <a:gd name="connsiteX334" fmla="*/ 11988 w 24669"/>
                <a:gd name="connsiteY334" fmla="*/ 2407 h 36230"/>
                <a:gd name="connsiteX335" fmla="*/ 12301 w 24669"/>
                <a:gd name="connsiteY335" fmla="*/ 2253 h 36230"/>
                <a:gd name="connsiteX336" fmla="*/ 12219 w 24669"/>
                <a:gd name="connsiteY336" fmla="*/ 2244 h 36230"/>
                <a:gd name="connsiteX337" fmla="*/ 12273 w 24669"/>
                <a:gd name="connsiteY337" fmla="*/ 1737 h 36230"/>
                <a:gd name="connsiteX338" fmla="*/ 12165 w 24669"/>
                <a:gd name="connsiteY338" fmla="*/ 1570 h 36230"/>
                <a:gd name="connsiteX339" fmla="*/ 12037 w 24669"/>
                <a:gd name="connsiteY339" fmla="*/ 1202 h 36230"/>
                <a:gd name="connsiteX340" fmla="*/ 12100 w 24669"/>
                <a:gd name="connsiteY340" fmla="*/ 1144 h 36230"/>
                <a:gd name="connsiteX341" fmla="*/ 12029 w 24669"/>
                <a:gd name="connsiteY341" fmla="*/ 1122 h 36230"/>
                <a:gd name="connsiteX342" fmla="*/ 12052 w 24669"/>
                <a:gd name="connsiteY342" fmla="*/ 1057 h 36230"/>
                <a:gd name="connsiteX343" fmla="*/ 12008 w 24669"/>
                <a:gd name="connsiteY343" fmla="*/ 1067 h 36230"/>
                <a:gd name="connsiteX344" fmla="*/ 12040 w 24669"/>
                <a:gd name="connsiteY344" fmla="*/ 777 h 36230"/>
                <a:gd name="connsiteX345" fmla="*/ 11865 w 24669"/>
                <a:gd name="connsiteY345" fmla="*/ 494 h 36230"/>
                <a:gd name="connsiteX346" fmla="*/ 11899 w 24669"/>
                <a:gd name="connsiteY346" fmla="*/ 185 h 36230"/>
                <a:gd name="connsiteX347" fmla="*/ 11584 w 24669"/>
                <a:gd name="connsiteY347" fmla="*/ 0 h 36230"/>
                <a:gd name="connsiteX348" fmla="*/ 11544 w 24669"/>
                <a:gd name="connsiteY348" fmla="*/ 0 h 36230"/>
                <a:gd name="connsiteX349" fmla="*/ 11118 w 24669"/>
                <a:gd name="connsiteY349" fmla="*/ 233 h 36230"/>
                <a:gd name="connsiteX350" fmla="*/ 11048 w 24669"/>
                <a:gd name="connsiteY350" fmla="*/ 543 h 36230"/>
                <a:gd name="connsiteX351" fmla="*/ 10832 w 24669"/>
                <a:gd name="connsiteY351" fmla="*/ 695 h 36230"/>
                <a:gd name="connsiteX352" fmla="*/ 10865 w 24669"/>
                <a:gd name="connsiteY352" fmla="*/ 782 h 36230"/>
                <a:gd name="connsiteX353" fmla="*/ 10535 w 24669"/>
                <a:gd name="connsiteY353" fmla="*/ 717 h 36230"/>
                <a:gd name="connsiteX354" fmla="*/ 10839 w 24669"/>
                <a:gd name="connsiteY354" fmla="*/ 845 h 36230"/>
                <a:gd name="connsiteX355" fmla="*/ 10549 w 24669"/>
                <a:gd name="connsiteY355" fmla="*/ 1019 h 36230"/>
                <a:gd name="connsiteX356" fmla="*/ 10557 w 24669"/>
                <a:gd name="connsiteY356" fmla="*/ 944 h 36230"/>
                <a:gd name="connsiteX357" fmla="*/ 10414 w 24669"/>
                <a:gd name="connsiteY357" fmla="*/ 800 h 36230"/>
                <a:gd name="connsiteX358" fmla="*/ 10328 w 24669"/>
                <a:gd name="connsiteY358" fmla="*/ 951 h 36230"/>
                <a:gd name="connsiteX359" fmla="*/ 9830 w 24669"/>
                <a:gd name="connsiteY359" fmla="*/ 788 h 36230"/>
                <a:gd name="connsiteX360" fmla="*/ 10061 w 24669"/>
                <a:gd name="connsiteY360" fmla="*/ 983 h 36230"/>
                <a:gd name="connsiteX361" fmla="*/ 9574 w 24669"/>
                <a:gd name="connsiteY361" fmla="*/ 1331 h 36230"/>
                <a:gd name="connsiteX362" fmla="*/ 9659 w 24669"/>
                <a:gd name="connsiteY362" fmla="*/ 1342 h 36230"/>
                <a:gd name="connsiteX363" fmla="*/ 9397 w 24669"/>
                <a:gd name="connsiteY363" fmla="*/ 1805 h 36230"/>
                <a:gd name="connsiteX364" fmla="*/ 9288 w 24669"/>
                <a:gd name="connsiteY364" fmla="*/ 1815 h 36230"/>
                <a:gd name="connsiteX365" fmla="*/ 9425 w 24669"/>
                <a:gd name="connsiteY365" fmla="*/ 1937 h 36230"/>
                <a:gd name="connsiteX366" fmla="*/ 8991 w 24669"/>
                <a:gd name="connsiteY366" fmla="*/ 2640 h 36230"/>
                <a:gd name="connsiteX367" fmla="*/ 8769 w 24669"/>
                <a:gd name="connsiteY367" fmla="*/ 2852 h 36230"/>
                <a:gd name="connsiteX368" fmla="*/ 8508 w 24669"/>
                <a:gd name="connsiteY368" fmla="*/ 3358 h 36230"/>
                <a:gd name="connsiteX369" fmla="*/ 8662 w 24669"/>
                <a:gd name="connsiteY369" fmla="*/ 3376 h 36230"/>
                <a:gd name="connsiteX370" fmla="*/ 8490 w 24669"/>
                <a:gd name="connsiteY370" fmla="*/ 3597 h 36230"/>
                <a:gd name="connsiteX371" fmla="*/ 8644 w 24669"/>
                <a:gd name="connsiteY371" fmla="*/ 3641 h 36230"/>
                <a:gd name="connsiteX372" fmla="*/ 8478 w 24669"/>
                <a:gd name="connsiteY372" fmla="*/ 3741 h 36230"/>
                <a:gd name="connsiteX373" fmla="*/ 8686 w 24669"/>
                <a:gd name="connsiteY373" fmla="*/ 3867 h 36230"/>
                <a:gd name="connsiteX374" fmla="*/ 8692 w 24669"/>
                <a:gd name="connsiteY374" fmla="*/ 3775 h 36230"/>
                <a:gd name="connsiteX375" fmla="*/ 8831 w 24669"/>
                <a:gd name="connsiteY375" fmla="*/ 4173 h 36230"/>
                <a:gd name="connsiteX376" fmla="*/ 8952 w 24669"/>
                <a:gd name="connsiteY376" fmla="*/ 4230 h 36230"/>
                <a:gd name="connsiteX377" fmla="*/ 9300 w 24669"/>
                <a:gd name="connsiteY377" fmla="*/ 3872 h 36230"/>
                <a:gd name="connsiteX378" fmla="*/ 9087 w 24669"/>
                <a:gd name="connsiteY378" fmla="*/ 4329 h 36230"/>
                <a:gd name="connsiteX379" fmla="*/ 8701 w 24669"/>
                <a:gd name="connsiteY379" fmla="*/ 4156 h 36230"/>
                <a:gd name="connsiteX380" fmla="*/ 8689 w 24669"/>
                <a:gd name="connsiteY380" fmla="*/ 4329 h 36230"/>
                <a:gd name="connsiteX381" fmla="*/ 8326 w 24669"/>
                <a:gd name="connsiteY381" fmla="*/ 3682 h 36230"/>
                <a:gd name="connsiteX382" fmla="*/ 8360 w 24669"/>
                <a:gd name="connsiteY382" fmla="*/ 4310 h 36230"/>
                <a:gd name="connsiteX383" fmla="*/ 8265 w 24669"/>
                <a:gd name="connsiteY383" fmla="*/ 4839 h 36230"/>
                <a:gd name="connsiteX384" fmla="*/ 8149 w 24669"/>
                <a:gd name="connsiteY384" fmla="*/ 4683 h 36230"/>
                <a:gd name="connsiteX385" fmla="*/ 8023 w 24669"/>
                <a:gd name="connsiteY385" fmla="*/ 5179 h 36230"/>
                <a:gd name="connsiteX386" fmla="*/ 7873 w 24669"/>
                <a:gd name="connsiteY386" fmla="*/ 5017 h 36230"/>
                <a:gd name="connsiteX387" fmla="*/ 7879 w 24669"/>
                <a:gd name="connsiteY387" fmla="*/ 5342 h 36230"/>
                <a:gd name="connsiteX388" fmla="*/ 7718 w 24669"/>
                <a:gd name="connsiteY388" fmla="*/ 5514 h 36230"/>
                <a:gd name="connsiteX389" fmla="*/ 7689 w 24669"/>
                <a:gd name="connsiteY389" fmla="*/ 5851 h 36230"/>
                <a:gd name="connsiteX390" fmla="*/ 7894 w 24669"/>
                <a:gd name="connsiteY390" fmla="*/ 6220 h 36230"/>
                <a:gd name="connsiteX391" fmla="*/ 7815 w 24669"/>
                <a:gd name="connsiteY391" fmla="*/ 6229 h 36230"/>
                <a:gd name="connsiteX392" fmla="*/ 7611 w 24669"/>
                <a:gd name="connsiteY392" fmla="*/ 6502 h 36230"/>
                <a:gd name="connsiteX393" fmla="*/ 7649 w 24669"/>
                <a:gd name="connsiteY393" fmla="*/ 6932 h 36230"/>
                <a:gd name="connsiteX394" fmla="*/ 7674 w 24669"/>
                <a:gd name="connsiteY394" fmla="*/ 7308 h 36230"/>
                <a:gd name="connsiteX395" fmla="*/ 7881 w 24669"/>
                <a:gd name="connsiteY395" fmla="*/ 7541 h 36230"/>
                <a:gd name="connsiteX396" fmla="*/ 7795 w 24669"/>
                <a:gd name="connsiteY396" fmla="*/ 7749 h 36230"/>
                <a:gd name="connsiteX397" fmla="*/ 8059 w 24669"/>
                <a:gd name="connsiteY397" fmla="*/ 7694 h 36230"/>
                <a:gd name="connsiteX398" fmla="*/ 7970 w 24669"/>
                <a:gd name="connsiteY398" fmla="*/ 7850 h 36230"/>
                <a:gd name="connsiteX399" fmla="*/ 7721 w 24669"/>
                <a:gd name="connsiteY399" fmla="*/ 7851 h 36230"/>
                <a:gd name="connsiteX400" fmla="*/ 7931 w 24669"/>
                <a:gd name="connsiteY400" fmla="*/ 7920 h 36230"/>
                <a:gd name="connsiteX401" fmla="*/ 7853 w 24669"/>
                <a:gd name="connsiteY401" fmla="*/ 8000 h 36230"/>
                <a:gd name="connsiteX402" fmla="*/ 7950 w 24669"/>
                <a:gd name="connsiteY402" fmla="*/ 8163 h 36230"/>
                <a:gd name="connsiteX403" fmla="*/ 8002 w 24669"/>
                <a:gd name="connsiteY403" fmla="*/ 7981 h 36230"/>
                <a:gd name="connsiteX404" fmla="*/ 8152 w 24669"/>
                <a:gd name="connsiteY404" fmla="*/ 8229 h 36230"/>
                <a:gd name="connsiteX405" fmla="*/ 7903 w 24669"/>
                <a:gd name="connsiteY405" fmla="*/ 8189 h 36230"/>
                <a:gd name="connsiteX406" fmla="*/ 7962 w 24669"/>
                <a:gd name="connsiteY406" fmla="*/ 8337 h 36230"/>
                <a:gd name="connsiteX407" fmla="*/ 8440 w 24669"/>
                <a:gd name="connsiteY407" fmla="*/ 8114 h 36230"/>
                <a:gd name="connsiteX408" fmla="*/ 8717 w 24669"/>
                <a:gd name="connsiteY408" fmla="*/ 8275 h 36230"/>
                <a:gd name="connsiteX409" fmla="*/ 8763 w 24669"/>
                <a:gd name="connsiteY409" fmla="*/ 8346 h 36230"/>
                <a:gd name="connsiteX410" fmla="*/ 8628 w 24669"/>
                <a:gd name="connsiteY410" fmla="*/ 8342 h 36230"/>
                <a:gd name="connsiteX411" fmla="*/ 8699 w 24669"/>
                <a:gd name="connsiteY411" fmla="*/ 8778 h 36230"/>
                <a:gd name="connsiteX412" fmla="*/ 9126 w 24669"/>
                <a:gd name="connsiteY412" fmla="*/ 8863 h 36230"/>
                <a:gd name="connsiteX413" fmla="*/ 8987 w 24669"/>
                <a:gd name="connsiteY413" fmla="*/ 8881 h 36230"/>
                <a:gd name="connsiteX414" fmla="*/ 8969 w 24669"/>
                <a:gd name="connsiteY414" fmla="*/ 8979 h 36230"/>
                <a:gd name="connsiteX415" fmla="*/ 8685 w 24669"/>
                <a:gd name="connsiteY415" fmla="*/ 8844 h 36230"/>
                <a:gd name="connsiteX416" fmla="*/ 8828 w 24669"/>
                <a:gd name="connsiteY416" fmla="*/ 9345 h 36230"/>
                <a:gd name="connsiteX417" fmla="*/ 9032 w 24669"/>
                <a:gd name="connsiteY417" fmla="*/ 9566 h 36230"/>
                <a:gd name="connsiteX418" fmla="*/ 8900 w 24669"/>
                <a:gd name="connsiteY418" fmla="*/ 9742 h 36230"/>
                <a:gd name="connsiteX419" fmla="*/ 8339 w 24669"/>
                <a:gd name="connsiteY419" fmla="*/ 9809 h 36230"/>
                <a:gd name="connsiteX420" fmla="*/ 7904 w 24669"/>
                <a:gd name="connsiteY420" fmla="*/ 10146 h 36230"/>
                <a:gd name="connsiteX421" fmla="*/ 7523 w 24669"/>
                <a:gd name="connsiteY421" fmla="*/ 10300 h 36230"/>
                <a:gd name="connsiteX422" fmla="*/ 7290 w 24669"/>
                <a:gd name="connsiteY422" fmla="*/ 10629 h 36230"/>
                <a:gd name="connsiteX423" fmla="*/ 7938 w 24669"/>
                <a:gd name="connsiteY423" fmla="*/ 10703 h 36230"/>
                <a:gd name="connsiteX424" fmla="*/ 8280 w 24669"/>
                <a:gd name="connsiteY424" fmla="*/ 10492 h 36230"/>
                <a:gd name="connsiteX425" fmla="*/ 8951 w 24669"/>
                <a:gd name="connsiteY425" fmla="*/ 10174 h 36230"/>
                <a:gd name="connsiteX426" fmla="*/ 8596 w 24669"/>
                <a:gd name="connsiteY426" fmla="*/ 10467 h 36230"/>
                <a:gd name="connsiteX427" fmla="*/ 8764 w 24669"/>
                <a:gd name="connsiteY427" fmla="*/ 10421 h 36230"/>
                <a:gd name="connsiteX428" fmla="*/ 8849 w 24669"/>
                <a:gd name="connsiteY428" fmla="*/ 10594 h 36230"/>
                <a:gd name="connsiteX429" fmla="*/ 8527 w 24669"/>
                <a:gd name="connsiteY429" fmla="*/ 10626 h 36230"/>
                <a:gd name="connsiteX430" fmla="*/ 8617 w 24669"/>
                <a:gd name="connsiteY430" fmla="*/ 10746 h 36230"/>
                <a:gd name="connsiteX431" fmla="*/ 8884 w 24669"/>
                <a:gd name="connsiteY431" fmla="*/ 10660 h 36230"/>
                <a:gd name="connsiteX432" fmla="*/ 8341 w 24669"/>
                <a:gd name="connsiteY432" fmla="*/ 11051 h 36230"/>
                <a:gd name="connsiteX433" fmla="*/ 8772 w 24669"/>
                <a:gd name="connsiteY433" fmla="*/ 10953 h 36230"/>
                <a:gd name="connsiteX434" fmla="*/ 8239 w 24669"/>
                <a:gd name="connsiteY434" fmla="*/ 11126 h 36230"/>
                <a:gd name="connsiteX435" fmla="*/ 8309 w 24669"/>
                <a:gd name="connsiteY435" fmla="*/ 11243 h 36230"/>
                <a:gd name="connsiteX436" fmla="*/ 8133 w 24669"/>
                <a:gd name="connsiteY436" fmla="*/ 11178 h 36230"/>
                <a:gd name="connsiteX437" fmla="*/ 8156 w 24669"/>
                <a:gd name="connsiteY437" fmla="*/ 11284 h 36230"/>
                <a:gd name="connsiteX438" fmla="*/ 7895 w 24669"/>
                <a:gd name="connsiteY438" fmla="*/ 11170 h 36230"/>
                <a:gd name="connsiteX439" fmla="*/ 7961 w 24669"/>
                <a:gd name="connsiteY439" fmla="*/ 11520 h 36230"/>
                <a:gd name="connsiteX440" fmla="*/ 8514 w 24669"/>
                <a:gd name="connsiteY440" fmla="*/ 11910 h 36230"/>
                <a:gd name="connsiteX441" fmla="*/ 8267 w 24669"/>
                <a:gd name="connsiteY441" fmla="*/ 11775 h 36230"/>
                <a:gd name="connsiteX442" fmla="*/ 7855 w 24669"/>
                <a:gd name="connsiteY442" fmla="*/ 11878 h 36230"/>
                <a:gd name="connsiteX443" fmla="*/ 8008 w 24669"/>
                <a:gd name="connsiteY443" fmla="*/ 12162 h 36230"/>
                <a:gd name="connsiteX444" fmla="*/ 7821 w 24669"/>
                <a:gd name="connsiteY444" fmla="*/ 11988 h 36230"/>
                <a:gd name="connsiteX445" fmla="*/ 7799 w 24669"/>
                <a:gd name="connsiteY445" fmla="*/ 12138 h 36230"/>
                <a:gd name="connsiteX446" fmla="*/ 7630 w 24669"/>
                <a:gd name="connsiteY446" fmla="*/ 11823 h 36230"/>
                <a:gd name="connsiteX447" fmla="*/ 7501 w 24669"/>
                <a:gd name="connsiteY447" fmla="*/ 11853 h 36230"/>
                <a:gd name="connsiteX448" fmla="*/ 7597 w 24669"/>
                <a:gd name="connsiteY448" fmla="*/ 11535 h 36230"/>
                <a:gd name="connsiteX449" fmla="*/ 6978 w 24669"/>
                <a:gd name="connsiteY449" fmla="*/ 11496 h 36230"/>
                <a:gd name="connsiteX450" fmla="*/ 6796 w 24669"/>
                <a:gd name="connsiteY450" fmla="*/ 11878 h 36230"/>
                <a:gd name="connsiteX451" fmla="*/ 7003 w 24669"/>
                <a:gd name="connsiteY451" fmla="*/ 12039 h 36230"/>
                <a:gd name="connsiteX452" fmla="*/ 6844 w 24669"/>
                <a:gd name="connsiteY452" fmla="*/ 12056 h 36230"/>
                <a:gd name="connsiteX453" fmla="*/ 6827 w 24669"/>
                <a:gd name="connsiteY453" fmla="*/ 12153 h 36230"/>
                <a:gd name="connsiteX454" fmla="*/ 7216 w 24669"/>
                <a:gd name="connsiteY454" fmla="*/ 12130 h 36230"/>
                <a:gd name="connsiteX455" fmla="*/ 6875 w 24669"/>
                <a:gd name="connsiteY455" fmla="*/ 12243 h 36230"/>
                <a:gd name="connsiteX456" fmla="*/ 7202 w 24669"/>
                <a:gd name="connsiteY456" fmla="*/ 12768 h 36230"/>
                <a:gd name="connsiteX457" fmla="*/ 6844 w 24669"/>
                <a:gd name="connsiteY457" fmla="*/ 12463 h 36230"/>
                <a:gd name="connsiteX458" fmla="*/ 7059 w 24669"/>
                <a:gd name="connsiteY458" fmla="*/ 12713 h 36230"/>
                <a:gd name="connsiteX459" fmla="*/ 6872 w 24669"/>
                <a:gd name="connsiteY459" fmla="*/ 12838 h 36230"/>
                <a:gd name="connsiteX460" fmla="*/ 7266 w 24669"/>
                <a:gd name="connsiteY460" fmla="*/ 13231 h 36230"/>
                <a:gd name="connsiteX461" fmla="*/ 7074 w 24669"/>
                <a:gd name="connsiteY461" fmla="*/ 13078 h 36230"/>
                <a:gd name="connsiteX462" fmla="*/ 7096 w 24669"/>
                <a:gd name="connsiteY462" fmla="*/ 13195 h 36230"/>
                <a:gd name="connsiteX463" fmla="*/ 6875 w 24669"/>
                <a:gd name="connsiteY463" fmla="*/ 13018 h 36230"/>
                <a:gd name="connsiteX464" fmla="*/ 6845 w 24669"/>
                <a:gd name="connsiteY464" fmla="*/ 13174 h 36230"/>
                <a:gd name="connsiteX465" fmla="*/ 7194 w 24669"/>
                <a:gd name="connsiteY465" fmla="*/ 13287 h 36230"/>
                <a:gd name="connsiteX466" fmla="*/ 7119 w 24669"/>
                <a:gd name="connsiteY466" fmla="*/ 13647 h 36230"/>
                <a:gd name="connsiteX467" fmla="*/ 7054 w 24669"/>
                <a:gd name="connsiteY467" fmla="*/ 13469 h 36230"/>
                <a:gd name="connsiteX468" fmla="*/ 6866 w 24669"/>
                <a:gd name="connsiteY468" fmla="*/ 13710 h 36230"/>
                <a:gd name="connsiteX469" fmla="*/ 7065 w 24669"/>
                <a:gd name="connsiteY469" fmla="*/ 13888 h 36230"/>
                <a:gd name="connsiteX470" fmla="*/ 6926 w 24669"/>
                <a:gd name="connsiteY470" fmla="*/ 14129 h 36230"/>
                <a:gd name="connsiteX471" fmla="*/ 6687 w 24669"/>
                <a:gd name="connsiteY471" fmla="*/ 14320 h 36230"/>
                <a:gd name="connsiteX472" fmla="*/ 6736 w 24669"/>
                <a:gd name="connsiteY472" fmla="*/ 14384 h 36230"/>
                <a:gd name="connsiteX473" fmla="*/ 6949 w 24669"/>
                <a:gd name="connsiteY473" fmla="*/ 14259 h 36230"/>
                <a:gd name="connsiteX474" fmla="*/ 6740 w 24669"/>
                <a:gd name="connsiteY474" fmla="*/ 14512 h 36230"/>
                <a:gd name="connsiteX475" fmla="*/ 6795 w 24669"/>
                <a:gd name="connsiteY475" fmla="*/ 14749 h 36230"/>
                <a:gd name="connsiteX476" fmla="*/ 6590 w 24669"/>
                <a:gd name="connsiteY476" fmla="*/ 14621 h 36230"/>
                <a:gd name="connsiteX477" fmla="*/ 6591 w 24669"/>
                <a:gd name="connsiteY477" fmla="*/ 14746 h 36230"/>
                <a:gd name="connsiteX478" fmla="*/ 6401 w 24669"/>
                <a:gd name="connsiteY478" fmla="*/ 14685 h 36230"/>
                <a:gd name="connsiteX479" fmla="*/ 6496 w 24669"/>
                <a:gd name="connsiteY479" fmla="*/ 14866 h 36230"/>
                <a:gd name="connsiteX480" fmla="*/ 6902 w 24669"/>
                <a:gd name="connsiteY480" fmla="*/ 14776 h 36230"/>
                <a:gd name="connsiteX481" fmla="*/ 6657 w 24669"/>
                <a:gd name="connsiteY481" fmla="*/ 15046 h 36230"/>
                <a:gd name="connsiteX482" fmla="*/ 6675 w 24669"/>
                <a:gd name="connsiteY482" fmla="*/ 15362 h 36230"/>
                <a:gd name="connsiteX483" fmla="*/ 6207 w 24669"/>
                <a:gd name="connsiteY483" fmla="*/ 15159 h 36230"/>
                <a:gd name="connsiteX484" fmla="*/ 6626 w 24669"/>
                <a:gd name="connsiteY484" fmla="*/ 15449 h 36230"/>
                <a:gd name="connsiteX485" fmla="*/ 6460 w 24669"/>
                <a:gd name="connsiteY485" fmla="*/ 15505 h 36230"/>
                <a:gd name="connsiteX486" fmla="*/ 6728 w 24669"/>
                <a:gd name="connsiteY486" fmla="*/ 15579 h 36230"/>
                <a:gd name="connsiteX487" fmla="*/ 6425 w 24669"/>
                <a:gd name="connsiteY487" fmla="*/ 15636 h 36230"/>
                <a:gd name="connsiteX488" fmla="*/ 6586 w 24669"/>
                <a:gd name="connsiteY488" fmla="*/ 15704 h 36230"/>
                <a:gd name="connsiteX489" fmla="*/ 6130 w 24669"/>
                <a:gd name="connsiteY489" fmla="*/ 15718 h 36230"/>
                <a:gd name="connsiteX490" fmla="*/ 6662 w 24669"/>
                <a:gd name="connsiteY490" fmla="*/ 15712 h 36230"/>
                <a:gd name="connsiteX491" fmla="*/ 6308 w 24669"/>
                <a:gd name="connsiteY491" fmla="*/ 16082 h 36230"/>
                <a:gd name="connsiteX492" fmla="*/ 6391 w 24669"/>
                <a:gd name="connsiteY492" fmla="*/ 16264 h 36230"/>
                <a:gd name="connsiteX493" fmla="*/ 5887 w 24669"/>
                <a:gd name="connsiteY493" fmla="*/ 16596 h 36230"/>
                <a:gd name="connsiteX494" fmla="*/ 5948 w 24669"/>
                <a:gd name="connsiteY494" fmla="*/ 16747 h 36230"/>
                <a:gd name="connsiteX495" fmla="*/ 5764 w 24669"/>
                <a:gd name="connsiteY495" fmla="*/ 17086 h 36230"/>
                <a:gd name="connsiteX496" fmla="*/ 5674 w 24669"/>
                <a:gd name="connsiteY496" fmla="*/ 17057 h 36230"/>
                <a:gd name="connsiteX497" fmla="*/ 5837 w 24669"/>
                <a:gd name="connsiteY497" fmla="*/ 17329 h 36230"/>
                <a:gd name="connsiteX498" fmla="*/ 5741 w 24669"/>
                <a:gd name="connsiteY498" fmla="*/ 17637 h 36230"/>
                <a:gd name="connsiteX499" fmla="*/ 5511 w 24669"/>
                <a:gd name="connsiteY499" fmla="*/ 17684 h 36230"/>
                <a:gd name="connsiteX500" fmla="*/ 5442 w 24669"/>
                <a:gd name="connsiteY500" fmla="*/ 17894 h 36230"/>
                <a:gd name="connsiteX501" fmla="*/ 5286 w 24669"/>
                <a:gd name="connsiteY501" fmla="*/ 17875 h 36230"/>
                <a:gd name="connsiteX502" fmla="*/ 4920 w 24669"/>
                <a:gd name="connsiteY502" fmla="*/ 18244 h 36230"/>
                <a:gd name="connsiteX503" fmla="*/ 4329 w 24669"/>
                <a:gd name="connsiteY503" fmla="*/ 18501 h 36230"/>
                <a:gd name="connsiteX504" fmla="*/ 4021 w 24669"/>
                <a:gd name="connsiteY504" fmla="*/ 18501 h 36230"/>
                <a:gd name="connsiteX505" fmla="*/ 3967 w 24669"/>
                <a:gd name="connsiteY505" fmla="*/ 18639 h 36230"/>
                <a:gd name="connsiteX506" fmla="*/ 3827 w 24669"/>
                <a:gd name="connsiteY506" fmla="*/ 18592 h 36230"/>
                <a:gd name="connsiteX507" fmla="*/ 3880 w 24669"/>
                <a:gd name="connsiteY507" fmla="*/ 18705 h 36230"/>
                <a:gd name="connsiteX508" fmla="*/ 3776 w 24669"/>
                <a:gd name="connsiteY508" fmla="*/ 18718 h 36230"/>
                <a:gd name="connsiteX509" fmla="*/ 3499 w 24669"/>
                <a:gd name="connsiteY509" fmla="*/ 18324 h 36230"/>
                <a:gd name="connsiteX510" fmla="*/ 3416 w 24669"/>
                <a:gd name="connsiteY510" fmla="*/ 18706 h 36230"/>
                <a:gd name="connsiteX511" fmla="*/ 3272 w 24669"/>
                <a:gd name="connsiteY511" fmla="*/ 18496 h 36230"/>
                <a:gd name="connsiteX512" fmla="*/ 3299 w 24669"/>
                <a:gd name="connsiteY512" fmla="*/ 18334 h 36230"/>
                <a:gd name="connsiteX513" fmla="*/ 3155 w 24669"/>
                <a:gd name="connsiteY513" fmla="*/ 18386 h 36230"/>
                <a:gd name="connsiteX514" fmla="*/ 2900 w 24669"/>
                <a:gd name="connsiteY514" fmla="*/ 18173 h 36230"/>
                <a:gd name="connsiteX515" fmla="*/ 2885 w 24669"/>
                <a:gd name="connsiteY515" fmla="*/ 18546 h 36230"/>
                <a:gd name="connsiteX516" fmla="*/ 2665 w 24669"/>
                <a:gd name="connsiteY516" fmla="*/ 18583 h 36230"/>
                <a:gd name="connsiteX517" fmla="*/ 2556 w 24669"/>
                <a:gd name="connsiteY517" fmla="*/ 18260 h 36230"/>
                <a:gd name="connsiteX518" fmla="*/ 2343 w 24669"/>
                <a:gd name="connsiteY518" fmla="*/ 18570 h 36230"/>
                <a:gd name="connsiteX519" fmla="*/ 2233 w 24669"/>
                <a:gd name="connsiteY519" fmla="*/ 18411 h 36230"/>
                <a:gd name="connsiteX520" fmla="*/ 2439 w 24669"/>
                <a:gd name="connsiteY520" fmla="*/ 18116 h 36230"/>
                <a:gd name="connsiteX521" fmla="*/ 1693 w 24669"/>
                <a:gd name="connsiteY521" fmla="*/ 18351 h 36230"/>
                <a:gd name="connsiteX522" fmla="*/ 1279 w 24669"/>
                <a:gd name="connsiteY522" fmla="*/ 18767 h 36230"/>
                <a:gd name="connsiteX523" fmla="*/ 1932 w 24669"/>
                <a:gd name="connsiteY523" fmla="*/ 19120 h 36230"/>
                <a:gd name="connsiteX524" fmla="*/ 1943 w 24669"/>
                <a:gd name="connsiteY524" fmla="*/ 19294 h 36230"/>
                <a:gd name="connsiteX525" fmla="*/ 1090 w 24669"/>
                <a:gd name="connsiteY525" fmla="*/ 19430 h 36230"/>
                <a:gd name="connsiteX526" fmla="*/ 1220 w 24669"/>
                <a:gd name="connsiteY526" fmla="*/ 19750 h 36230"/>
                <a:gd name="connsiteX527" fmla="*/ 870 w 24669"/>
                <a:gd name="connsiteY527" fmla="*/ 19481 h 36230"/>
                <a:gd name="connsiteX528" fmla="*/ 805 w 24669"/>
                <a:gd name="connsiteY528" fmla="*/ 19718 h 36230"/>
                <a:gd name="connsiteX529" fmla="*/ 580 w 24669"/>
                <a:gd name="connsiteY529" fmla="*/ 19838 h 36230"/>
                <a:gd name="connsiteX530" fmla="*/ 800 w 24669"/>
                <a:gd name="connsiteY530" fmla="*/ 20110 h 36230"/>
                <a:gd name="connsiteX531" fmla="*/ 773 w 24669"/>
                <a:gd name="connsiteY531" fmla="*/ 20186 h 36230"/>
                <a:gd name="connsiteX532" fmla="*/ 1933 w 24669"/>
                <a:gd name="connsiteY532" fmla="*/ 20139 h 36230"/>
                <a:gd name="connsiteX533" fmla="*/ 1483 w 24669"/>
                <a:gd name="connsiteY533" fmla="*/ 20328 h 36230"/>
                <a:gd name="connsiteX534" fmla="*/ 2023 w 24669"/>
                <a:gd name="connsiteY534" fmla="*/ 20530 h 36230"/>
                <a:gd name="connsiteX535" fmla="*/ 2520 w 24669"/>
                <a:gd name="connsiteY535" fmla="*/ 20412 h 36230"/>
                <a:gd name="connsiteX536" fmla="*/ 2494 w 24669"/>
                <a:gd name="connsiteY536" fmla="*/ 20593 h 36230"/>
                <a:gd name="connsiteX537" fmla="*/ 2710 w 24669"/>
                <a:gd name="connsiteY537" fmla="*/ 20652 h 36230"/>
                <a:gd name="connsiteX538" fmla="*/ 2344 w 24669"/>
                <a:gd name="connsiteY538" fmla="*/ 21109 h 36230"/>
                <a:gd name="connsiteX539" fmla="*/ 2166 w 24669"/>
                <a:gd name="connsiteY539" fmla="*/ 20842 h 36230"/>
                <a:gd name="connsiteX540" fmla="*/ 1821 w 24669"/>
                <a:gd name="connsiteY540" fmla="*/ 20777 h 36230"/>
                <a:gd name="connsiteX541" fmla="*/ 1616 w 24669"/>
                <a:gd name="connsiteY541" fmla="*/ 21086 h 36230"/>
                <a:gd name="connsiteX542" fmla="*/ 1653 w 24669"/>
                <a:gd name="connsiteY542" fmla="*/ 20759 h 36230"/>
                <a:gd name="connsiteX543" fmla="*/ 1028 w 24669"/>
                <a:gd name="connsiteY543" fmla="*/ 20848 h 36230"/>
                <a:gd name="connsiteX544" fmla="*/ 1386 w 24669"/>
                <a:gd name="connsiteY544" fmla="*/ 21167 h 36230"/>
                <a:gd name="connsiteX545" fmla="*/ 841 w 24669"/>
                <a:gd name="connsiteY545" fmla="*/ 21083 h 36230"/>
                <a:gd name="connsiteX546" fmla="*/ 1162 w 24669"/>
                <a:gd name="connsiteY546" fmla="*/ 21384 h 36230"/>
                <a:gd name="connsiteX547" fmla="*/ 1040 w 24669"/>
                <a:gd name="connsiteY547" fmla="*/ 21444 h 36230"/>
                <a:gd name="connsiteX548" fmla="*/ 585 w 24669"/>
                <a:gd name="connsiteY548" fmla="*/ 21228 h 36230"/>
                <a:gd name="connsiteX549" fmla="*/ 632 w 24669"/>
                <a:gd name="connsiteY549" fmla="*/ 21445 h 36230"/>
                <a:gd name="connsiteX550" fmla="*/ 480 w 24669"/>
                <a:gd name="connsiteY550" fmla="*/ 21424 h 36230"/>
                <a:gd name="connsiteX551" fmla="*/ 495 w 24669"/>
                <a:gd name="connsiteY551" fmla="*/ 21543 h 36230"/>
                <a:gd name="connsiteX552" fmla="*/ 311 w 24669"/>
                <a:gd name="connsiteY552" fmla="*/ 21495 h 36230"/>
                <a:gd name="connsiteX553" fmla="*/ 0 w 24669"/>
                <a:gd name="connsiteY553" fmla="*/ 21955 h 36230"/>
                <a:gd name="connsiteX554" fmla="*/ 92 w 24669"/>
                <a:gd name="connsiteY554" fmla="*/ 22640 h 36230"/>
                <a:gd name="connsiteX555" fmla="*/ 172 w 24669"/>
                <a:gd name="connsiteY555" fmla="*/ 22725 h 36230"/>
                <a:gd name="connsiteX556" fmla="*/ 942 w 24669"/>
                <a:gd name="connsiteY556" fmla="*/ 23088 h 36230"/>
                <a:gd name="connsiteX557" fmla="*/ 1579 w 24669"/>
                <a:gd name="connsiteY557" fmla="*/ 23420 h 36230"/>
                <a:gd name="connsiteX558" fmla="*/ 1479 w 24669"/>
                <a:gd name="connsiteY558" fmla="*/ 23585 h 36230"/>
                <a:gd name="connsiteX559" fmla="*/ 2212 w 24669"/>
                <a:gd name="connsiteY559" fmla="*/ 23971 h 36230"/>
                <a:gd name="connsiteX560" fmla="*/ 2687 w 24669"/>
                <a:gd name="connsiteY560" fmla="*/ 23945 h 36230"/>
                <a:gd name="connsiteX561" fmla="*/ 3158 w 24669"/>
                <a:gd name="connsiteY561" fmla="*/ 24727 h 36230"/>
                <a:gd name="connsiteX562" fmla="*/ 3134 w 24669"/>
                <a:gd name="connsiteY562" fmla="*/ 25302 h 36230"/>
                <a:gd name="connsiteX563" fmla="*/ 3132 w 24669"/>
                <a:gd name="connsiteY563" fmla="*/ 25873 h 36230"/>
                <a:gd name="connsiteX564" fmla="*/ 3632 w 24669"/>
                <a:gd name="connsiteY564" fmla="*/ 26164 h 36230"/>
                <a:gd name="connsiteX565" fmla="*/ 3495 w 24669"/>
                <a:gd name="connsiteY565" fmla="*/ 26266 h 36230"/>
                <a:gd name="connsiteX566" fmla="*/ 3350 w 24669"/>
                <a:gd name="connsiteY566" fmla="*/ 26040 h 36230"/>
                <a:gd name="connsiteX567" fmla="*/ 3050 w 24669"/>
                <a:gd name="connsiteY567" fmla="*/ 26060 h 36230"/>
                <a:gd name="connsiteX568" fmla="*/ 2779 w 24669"/>
                <a:gd name="connsiteY568" fmla="*/ 25900 h 36230"/>
                <a:gd name="connsiteX569" fmla="*/ 2578 w 24669"/>
                <a:gd name="connsiteY569" fmla="*/ 26102 h 36230"/>
                <a:gd name="connsiteX570" fmla="*/ 2318 w 24669"/>
                <a:gd name="connsiteY570" fmla="*/ 26049 h 36230"/>
                <a:gd name="connsiteX571" fmla="*/ 2136 w 24669"/>
                <a:gd name="connsiteY571" fmla="*/ 26602 h 36230"/>
                <a:gd name="connsiteX572" fmla="*/ 2331 w 24669"/>
                <a:gd name="connsiteY572" fmla="*/ 26922 h 36230"/>
                <a:gd name="connsiteX573" fmla="*/ 2876 w 24669"/>
                <a:gd name="connsiteY573" fmla="*/ 27509 h 36230"/>
                <a:gd name="connsiteX574" fmla="*/ 2802 w 24669"/>
                <a:gd name="connsiteY574" fmla="*/ 27584 h 36230"/>
                <a:gd name="connsiteX575" fmla="*/ 3109 w 24669"/>
                <a:gd name="connsiteY575" fmla="*/ 27773 h 36230"/>
                <a:gd name="connsiteX576" fmla="*/ 3426 w 24669"/>
                <a:gd name="connsiteY576" fmla="*/ 28370 h 36230"/>
                <a:gd name="connsiteX577" fmla="*/ 3713 w 24669"/>
                <a:gd name="connsiteY577" fmla="*/ 28874 h 36230"/>
                <a:gd name="connsiteX578" fmla="*/ 4467 w 24669"/>
                <a:gd name="connsiteY578" fmla="*/ 28045 h 36230"/>
                <a:gd name="connsiteX579" fmla="*/ 4888 w 24669"/>
                <a:gd name="connsiteY579" fmla="*/ 28122 h 36230"/>
                <a:gd name="connsiteX580" fmla="*/ 4435 w 24669"/>
                <a:gd name="connsiteY580" fmla="*/ 29041 h 36230"/>
                <a:gd name="connsiteX581" fmla="*/ 4575 w 24669"/>
                <a:gd name="connsiteY581" fmla="*/ 29655 h 36230"/>
                <a:gd name="connsiteX582" fmla="*/ 4360 w 24669"/>
                <a:gd name="connsiteY582" fmla="*/ 30394 h 36230"/>
                <a:gd name="connsiteX583" fmla="*/ 4902 w 24669"/>
                <a:gd name="connsiteY583" fmla="*/ 30653 h 36230"/>
                <a:gd name="connsiteX584" fmla="*/ 5294 w 24669"/>
                <a:gd name="connsiteY584" fmla="*/ 29834 h 36230"/>
                <a:gd name="connsiteX585" fmla="*/ 5776 w 24669"/>
                <a:gd name="connsiteY585" fmla="*/ 29835 h 36230"/>
                <a:gd name="connsiteX586" fmla="*/ 6023 w 24669"/>
                <a:gd name="connsiteY586" fmla="*/ 29562 h 36230"/>
                <a:gd name="connsiteX587" fmla="*/ 5555 w 24669"/>
                <a:gd name="connsiteY587" fmla="*/ 30066 h 36230"/>
                <a:gd name="connsiteX588" fmla="*/ 5166 w 24669"/>
                <a:gd name="connsiteY588" fmla="*/ 30522 h 36230"/>
                <a:gd name="connsiteX589" fmla="*/ 4803 w 24669"/>
                <a:gd name="connsiteY589" fmla="*/ 30921 h 36230"/>
                <a:gd name="connsiteX590" fmla="*/ 6155 w 24669"/>
                <a:gd name="connsiteY590" fmla="*/ 31447 h 36230"/>
                <a:gd name="connsiteX591" fmla="*/ 6174 w 24669"/>
                <a:gd name="connsiteY591" fmla="*/ 31550 h 36230"/>
                <a:gd name="connsiteX592" fmla="*/ 6434 w 24669"/>
                <a:gd name="connsiteY592" fmla="*/ 31587 h 36230"/>
                <a:gd name="connsiteX593" fmla="*/ 6925 w 24669"/>
                <a:gd name="connsiteY593" fmla="*/ 31919 h 36230"/>
                <a:gd name="connsiteX594" fmla="*/ 6999 w 24669"/>
                <a:gd name="connsiteY594" fmla="*/ 31648 h 36230"/>
                <a:gd name="connsiteX595" fmla="*/ 7121 w 24669"/>
                <a:gd name="connsiteY595" fmla="*/ 30034 h 36230"/>
                <a:gd name="connsiteX596" fmla="*/ 7389 w 24669"/>
                <a:gd name="connsiteY596" fmla="*/ 30290 h 36230"/>
                <a:gd name="connsiteX597" fmla="*/ 7402 w 24669"/>
                <a:gd name="connsiteY597" fmla="*/ 30858 h 36230"/>
                <a:gd name="connsiteX598" fmla="*/ 8066 w 24669"/>
                <a:gd name="connsiteY598" fmla="*/ 30676 h 36230"/>
                <a:gd name="connsiteX599" fmla="*/ 8482 w 24669"/>
                <a:gd name="connsiteY599" fmla="*/ 30262 h 36230"/>
                <a:gd name="connsiteX600" fmla="*/ 8261 w 24669"/>
                <a:gd name="connsiteY600" fmla="*/ 30764 h 36230"/>
                <a:gd name="connsiteX601" fmla="*/ 8869 w 24669"/>
                <a:gd name="connsiteY601" fmla="*/ 30520 h 36230"/>
                <a:gd name="connsiteX602" fmla="*/ 8818 w 24669"/>
                <a:gd name="connsiteY602" fmla="*/ 30817 h 36230"/>
                <a:gd name="connsiteX603" fmla="*/ 8380 w 24669"/>
                <a:gd name="connsiteY603" fmla="*/ 31681 h 36230"/>
                <a:gd name="connsiteX604" fmla="*/ 8230 w 24669"/>
                <a:gd name="connsiteY604" fmla="*/ 32413 h 36230"/>
                <a:gd name="connsiteX605" fmla="*/ 8834 w 24669"/>
                <a:gd name="connsiteY605" fmla="*/ 32393 h 36230"/>
                <a:gd name="connsiteX606" fmla="*/ 9155 w 24669"/>
                <a:gd name="connsiteY606" fmla="*/ 32001 h 36230"/>
                <a:gd name="connsiteX607" fmla="*/ 9650 w 24669"/>
                <a:gd name="connsiteY607" fmla="*/ 31418 h 36230"/>
                <a:gd name="connsiteX608" fmla="*/ 10097 w 24669"/>
                <a:gd name="connsiteY608" fmla="*/ 31216 h 36230"/>
                <a:gd name="connsiteX609" fmla="*/ 10359 w 24669"/>
                <a:gd name="connsiteY609" fmla="*/ 30669 h 36230"/>
                <a:gd name="connsiteX610" fmla="*/ 10859 w 24669"/>
                <a:gd name="connsiteY610" fmla="*/ 30166 h 36230"/>
                <a:gd name="connsiteX611" fmla="*/ 10837 w 24669"/>
                <a:gd name="connsiteY611" fmla="*/ 30798 h 36230"/>
                <a:gd name="connsiteX612" fmla="*/ 10391 w 24669"/>
                <a:gd name="connsiteY612" fmla="*/ 31475 h 36230"/>
                <a:gd name="connsiteX613" fmla="*/ 9922 w 24669"/>
                <a:gd name="connsiteY613" fmla="*/ 31952 h 36230"/>
                <a:gd name="connsiteX614" fmla="*/ 9571 w 24669"/>
                <a:gd name="connsiteY614" fmla="*/ 32845 h 36230"/>
                <a:gd name="connsiteX615" fmla="*/ 9987 w 24669"/>
                <a:gd name="connsiteY615" fmla="*/ 32781 h 36230"/>
                <a:gd name="connsiteX616" fmla="*/ 9922 w 24669"/>
                <a:gd name="connsiteY616" fmla="*/ 32932 h 36230"/>
                <a:gd name="connsiteX617" fmla="*/ 10793 w 24669"/>
                <a:gd name="connsiteY617" fmla="*/ 32057 h 36230"/>
                <a:gd name="connsiteX618" fmla="*/ 10613 w 24669"/>
                <a:gd name="connsiteY618" fmla="*/ 31568 h 36230"/>
                <a:gd name="connsiteX619" fmla="*/ 10815 w 24669"/>
                <a:gd name="connsiteY619" fmla="*/ 31147 h 36230"/>
                <a:gd name="connsiteX620" fmla="*/ 10720 w 24669"/>
                <a:gd name="connsiteY620" fmla="*/ 31617 h 36230"/>
                <a:gd name="connsiteX621" fmla="*/ 10936 w 24669"/>
                <a:gd name="connsiteY621" fmla="*/ 31771 h 36230"/>
                <a:gd name="connsiteX622" fmla="*/ 11635 w 24669"/>
                <a:gd name="connsiteY622" fmla="*/ 31536 h 36230"/>
                <a:gd name="connsiteX623" fmla="*/ 11111 w 24669"/>
                <a:gd name="connsiteY623" fmla="*/ 31809 h 36230"/>
                <a:gd name="connsiteX624" fmla="*/ 10911 w 24669"/>
                <a:gd name="connsiteY624" fmla="*/ 32241 h 36230"/>
                <a:gd name="connsiteX625" fmla="*/ 10339 w 24669"/>
                <a:gd name="connsiteY625" fmla="*/ 33257 h 36230"/>
                <a:gd name="connsiteX626" fmla="*/ 11683 w 24669"/>
                <a:gd name="connsiteY626" fmla="*/ 33247 h 36230"/>
                <a:gd name="connsiteX627" fmla="*/ 11842 w 24669"/>
                <a:gd name="connsiteY627" fmla="*/ 32472 h 36230"/>
                <a:gd name="connsiteX628" fmla="*/ 11791 w 24669"/>
                <a:gd name="connsiteY628" fmla="*/ 33151 h 36230"/>
                <a:gd name="connsiteX629" fmla="*/ 12360 w 24669"/>
                <a:gd name="connsiteY629" fmla="*/ 32601 h 36230"/>
                <a:gd name="connsiteX630" fmla="*/ 12587 w 24669"/>
                <a:gd name="connsiteY630" fmla="*/ 32006 h 36230"/>
                <a:gd name="connsiteX631" fmla="*/ 12539 w 24669"/>
                <a:gd name="connsiteY631" fmla="*/ 32858 h 36230"/>
                <a:gd name="connsiteX632" fmla="*/ 12473 w 24669"/>
                <a:gd name="connsiteY632" fmla="*/ 33023 h 36230"/>
                <a:gd name="connsiteX633" fmla="*/ 11696 w 24669"/>
                <a:gd name="connsiteY633" fmla="*/ 33488 h 36230"/>
                <a:gd name="connsiteX634" fmla="*/ 10857 w 24669"/>
                <a:gd name="connsiteY634" fmla="*/ 33370 h 36230"/>
                <a:gd name="connsiteX635" fmla="*/ 10470 w 24669"/>
                <a:gd name="connsiteY635" fmla="*/ 34162 h 36230"/>
                <a:gd name="connsiteX636" fmla="*/ 10941 w 24669"/>
                <a:gd name="connsiteY636" fmla="*/ 34482 h 36230"/>
                <a:gd name="connsiteX637" fmla="*/ 11370 w 24669"/>
                <a:gd name="connsiteY637" fmla="*/ 34300 h 36230"/>
                <a:gd name="connsiteX638" fmla="*/ 10980 w 24669"/>
                <a:gd name="connsiteY638" fmla="*/ 34642 h 36230"/>
                <a:gd name="connsiteX639" fmla="*/ 11814 w 24669"/>
                <a:gd name="connsiteY639" fmla="*/ 34551 h 36230"/>
                <a:gd name="connsiteX640" fmla="*/ 11751 w 24669"/>
                <a:gd name="connsiteY640" fmla="*/ 34288 h 36230"/>
                <a:gd name="connsiteX641" fmla="*/ 11872 w 24669"/>
                <a:gd name="connsiteY641" fmla="*/ 34439 h 36230"/>
                <a:gd name="connsiteX642" fmla="*/ 12304 w 24669"/>
                <a:gd name="connsiteY642" fmla="*/ 33923 h 36230"/>
                <a:gd name="connsiteX643" fmla="*/ 12916 w 24669"/>
                <a:gd name="connsiteY643" fmla="*/ 33656 h 36230"/>
                <a:gd name="connsiteX644" fmla="*/ 12870 w 24669"/>
                <a:gd name="connsiteY644" fmla="*/ 33997 h 36230"/>
                <a:gd name="connsiteX645" fmla="*/ 13531 w 24669"/>
                <a:gd name="connsiteY645" fmla="*/ 34114 h 36230"/>
                <a:gd name="connsiteX646" fmla="*/ 13960 w 24669"/>
                <a:gd name="connsiteY646" fmla="*/ 34229 h 36230"/>
                <a:gd name="connsiteX647" fmla="*/ 13617 w 24669"/>
                <a:gd name="connsiteY647" fmla="*/ 34313 h 36230"/>
                <a:gd name="connsiteX648" fmla="*/ 14236 w 24669"/>
                <a:gd name="connsiteY648" fmla="*/ 34628 h 36230"/>
                <a:gd name="connsiteX649" fmla="*/ 13638 w 24669"/>
                <a:gd name="connsiteY649" fmla="*/ 34877 h 36230"/>
                <a:gd name="connsiteX650" fmla="*/ 13635 w 24669"/>
                <a:gd name="connsiteY650" fmla="*/ 35502 h 36230"/>
                <a:gd name="connsiteX651" fmla="*/ 13892 w 24669"/>
                <a:gd name="connsiteY651" fmla="*/ 35459 h 36230"/>
                <a:gd name="connsiteX652" fmla="*/ 14042 w 24669"/>
                <a:gd name="connsiteY652" fmla="*/ 35382 h 36230"/>
                <a:gd name="connsiteX653" fmla="*/ 14038 w 24669"/>
                <a:gd name="connsiteY653" fmla="*/ 35908 h 36230"/>
                <a:gd name="connsiteX654" fmla="*/ 14554 w 24669"/>
                <a:gd name="connsiteY654" fmla="*/ 35357 h 36230"/>
                <a:gd name="connsiteX655" fmla="*/ 14417 w 24669"/>
                <a:gd name="connsiteY655" fmla="*/ 35937 h 36230"/>
                <a:gd name="connsiteX656" fmla="*/ 14972 w 24669"/>
                <a:gd name="connsiteY656" fmla="*/ 36035 h 36230"/>
                <a:gd name="connsiteX657" fmla="*/ 15246 w 24669"/>
                <a:gd name="connsiteY657" fmla="*/ 36230 h 36230"/>
                <a:gd name="connsiteX658" fmla="*/ 15246 w 24669"/>
                <a:gd name="connsiteY658" fmla="*/ 36230 h 3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Lst>
              <a:rect l="l" t="t" r="r" b="b"/>
              <a:pathLst>
                <a:path w="24669" h="36230">
                  <a:moveTo>
                    <a:pt x="15246" y="36230"/>
                  </a:moveTo>
                  <a:lnTo>
                    <a:pt x="15279" y="36230"/>
                  </a:lnTo>
                  <a:cubicBezTo>
                    <a:pt x="15295" y="36158"/>
                    <a:pt x="15311" y="36086"/>
                    <a:pt x="15328" y="36015"/>
                  </a:cubicBezTo>
                  <a:cubicBezTo>
                    <a:pt x="15344" y="36062"/>
                    <a:pt x="15376" y="36158"/>
                    <a:pt x="15392" y="36205"/>
                  </a:cubicBezTo>
                  <a:cubicBezTo>
                    <a:pt x="15462" y="36030"/>
                    <a:pt x="15531" y="35853"/>
                    <a:pt x="15614" y="35682"/>
                  </a:cubicBezTo>
                  <a:cubicBezTo>
                    <a:pt x="15637" y="35819"/>
                    <a:pt x="15590" y="35950"/>
                    <a:pt x="15527" y="36069"/>
                  </a:cubicBezTo>
                  <a:cubicBezTo>
                    <a:pt x="15797" y="35929"/>
                    <a:pt x="16107" y="36004"/>
                    <a:pt x="16398" y="35986"/>
                  </a:cubicBezTo>
                  <a:cubicBezTo>
                    <a:pt x="16597" y="35879"/>
                    <a:pt x="16755" y="35653"/>
                    <a:pt x="17007" y="35695"/>
                  </a:cubicBezTo>
                  <a:cubicBezTo>
                    <a:pt x="16991" y="35604"/>
                    <a:pt x="16998" y="35514"/>
                    <a:pt x="16987" y="35423"/>
                  </a:cubicBezTo>
                  <a:cubicBezTo>
                    <a:pt x="17150" y="35542"/>
                    <a:pt x="17347" y="35648"/>
                    <a:pt x="17558" y="35572"/>
                  </a:cubicBezTo>
                  <a:cubicBezTo>
                    <a:pt x="17845" y="35483"/>
                    <a:pt x="18086" y="35295"/>
                    <a:pt x="18345" y="35148"/>
                  </a:cubicBezTo>
                  <a:cubicBezTo>
                    <a:pt x="18314" y="34876"/>
                    <a:pt x="18129" y="34666"/>
                    <a:pt x="17896" y="34540"/>
                  </a:cubicBezTo>
                  <a:lnTo>
                    <a:pt x="18156" y="34565"/>
                  </a:lnTo>
                  <a:cubicBezTo>
                    <a:pt x="17627" y="34285"/>
                    <a:pt x="17041" y="34565"/>
                    <a:pt x="16485" y="34572"/>
                  </a:cubicBezTo>
                  <a:cubicBezTo>
                    <a:pt x="16123" y="34607"/>
                    <a:pt x="15815" y="34104"/>
                    <a:pt x="15461" y="34324"/>
                  </a:cubicBezTo>
                  <a:cubicBezTo>
                    <a:pt x="15216" y="34490"/>
                    <a:pt x="14909" y="34545"/>
                    <a:pt x="14623" y="34462"/>
                  </a:cubicBezTo>
                  <a:cubicBezTo>
                    <a:pt x="14902" y="34367"/>
                    <a:pt x="15266" y="34421"/>
                    <a:pt x="15454" y="34149"/>
                  </a:cubicBezTo>
                  <a:cubicBezTo>
                    <a:pt x="15112" y="33909"/>
                    <a:pt x="14708" y="33792"/>
                    <a:pt x="14302" y="33720"/>
                  </a:cubicBezTo>
                  <a:cubicBezTo>
                    <a:pt x="14299" y="33491"/>
                    <a:pt x="14264" y="33265"/>
                    <a:pt x="14241" y="33038"/>
                  </a:cubicBezTo>
                  <a:cubicBezTo>
                    <a:pt x="14312" y="33223"/>
                    <a:pt x="14340" y="33424"/>
                    <a:pt x="14431" y="33601"/>
                  </a:cubicBezTo>
                  <a:cubicBezTo>
                    <a:pt x="14534" y="33754"/>
                    <a:pt x="14732" y="33662"/>
                    <a:pt x="14878" y="33641"/>
                  </a:cubicBezTo>
                  <a:cubicBezTo>
                    <a:pt x="14942" y="33715"/>
                    <a:pt x="14996" y="33804"/>
                    <a:pt x="15080" y="33857"/>
                  </a:cubicBezTo>
                  <a:cubicBezTo>
                    <a:pt x="15348" y="33942"/>
                    <a:pt x="15659" y="33892"/>
                    <a:pt x="15899" y="34061"/>
                  </a:cubicBezTo>
                  <a:cubicBezTo>
                    <a:pt x="16167" y="34203"/>
                    <a:pt x="16448" y="34479"/>
                    <a:pt x="16779" y="34401"/>
                  </a:cubicBezTo>
                  <a:cubicBezTo>
                    <a:pt x="17143" y="34243"/>
                    <a:pt x="17564" y="34143"/>
                    <a:pt x="17953" y="34269"/>
                  </a:cubicBezTo>
                  <a:cubicBezTo>
                    <a:pt x="18173" y="34346"/>
                    <a:pt x="18412" y="34338"/>
                    <a:pt x="18632" y="34414"/>
                  </a:cubicBezTo>
                  <a:cubicBezTo>
                    <a:pt x="18637" y="34194"/>
                    <a:pt x="18788" y="33958"/>
                    <a:pt x="18651" y="33753"/>
                  </a:cubicBezTo>
                  <a:cubicBezTo>
                    <a:pt x="18564" y="33587"/>
                    <a:pt x="18466" y="33428"/>
                    <a:pt x="18360" y="33275"/>
                  </a:cubicBezTo>
                  <a:cubicBezTo>
                    <a:pt x="18516" y="33342"/>
                    <a:pt x="18640" y="33457"/>
                    <a:pt x="18735" y="33596"/>
                  </a:cubicBezTo>
                  <a:cubicBezTo>
                    <a:pt x="18806" y="33710"/>
                    <a:pt x="18957" y="33672"/>
                    <a:pt x="19072" y="33696"/>
                  </a:cubicBezTo>
                  <a:cubicBezTo>
                    <a:pt x="19081" y="33596"/>
                    <a:pt x="19090" y="33495"/>
                    <a:pt x="19107" y="33396"/>
                  </a:cubicBezTo>
                  <a:cubicBezTo>
                    <a:pt x="19170" y="33421"/>
                    <a:pt x="19233" y="33455"/>
                    <a:pt x="19303" y="33465"/>
                  </a:cubicBezTo>
                  <a:cubicBezTo>
                    <a:pt x="19443" y="33405"/>
                    <a:pt x="19551" y="33276"/>
                    <a:pt x="19709" y="33256"/>
                  </a:cubicBezTo>
                  <a:cubicBezTo>
                    <a:pt x="19871" y="33098"/>
                    <a:pt x="20070" y="32965"/>
                    <a:pt x="20191" y="32769"/>
                  </a:cubicBezTo>
                  <a:cubicBezTo>
                    <a:pt x="20319" y="32586"/>
                    <a:pt x="20130" y="32452"/>
                    <a:pt x="20032" y="32330"/>
                  </a:cubicBezTo>
                  <a:cubicBezTo>
                    <a:pt x="19898" y="32186"/>
                    <a:pt x="19819" y="32003"/>
                    <a:pt x="19688" y="31859"/>
                  </a:cubicBezTo>
                  <a:cubicBezTo>
                    <a:pt x="19504" y="31704"/>
                    <a:pt x="19246" y="31716"/>
                    <a:pt x="19033" y="31628"/>
                  </a:cubicBezTo>
                  <a:cubicBezTo>
                    <a:pt x="18839" y="31520"/>
                    <a:pt x="18663" y="31345"/>
                    <a:pt x="18422" y="31361"/>
                  </a:cubicBezTo>
                  <a:cubicBezTo>
                    <a:pt x="18157" y="31311"/>
                    <a:pt x="17892" y="31370"/>
                    <a:pt x="17630" y="31404"/>
                  </a:cubicBezTo>
                  <a:cubicBezTo>
                    <a:pt x="17273" y="31458"/>
                    <a:pt x="16932" y="31324"/>
                    <a:pt x="16589" y="31250"/>
                  </a:cubicBezTo>
                  <a:cubicBezTo>
                    <a:pt x="16464" y="31219"/>
                    <a:pt x="16378" y="31112"/>
                    <a:pt x="16276" y="31043"/>
                  </a:cubicBezTo>
                  <a:cubicBezTo>
                    <a:pt x="16009" y="30832"/>
                    <a:pt x="15702" y="30681"/>
                    <a:pt x="15428" y="30480"/>
                  </a:cubicBezTo>
                  <a:cubicBezTo>
                    <a:pt x="15233" y="30365"/>
                    <a:pt x="15339" y="30106"/>
                    <a:pt x="15368" y="29931"/>
                  </a:cubicBezTo>
                  <a:cubicBezTo>
                    <a:pt x="15525" y="30056"/>
                    <a:pt x="15638" y="30229"/>
                    <a:pt x="15797" y="30351"/>
                  </a:cubicBezTo>
                  <a:cubicBezTo>
                    <a:pt x="16161" y="30529"/>
                    <a:pt x="16582" y="30580"/>
                    <a:pt x="16915" y="30822"/>
                  </a:cubicBezTo>
                  <a:cubicBezTo>
                    <a:pt x="17374" y="31044"/>
                    <a:pt x="17901" y="30925"/>
                    <a:pt x="18388" y="30898"/>
                  </a:cubicBezTo>
                  <a:cubicBezTo>
                    <a:pt x="18597" y="30878"/>
                    <a:pt x="18544" y="30616"/>
                    <a:pt x="18573" y="30470"/>
                  </a:cubicBezTo>
                  <a:cubicBezTo>
                    <a:pt x="18738" y="30482"/>
                    <a:pt x="18902" y="30501"/>
                    <a:pt x="19067" y="30522"/>
                  </a:cubicBezTo>
                  <a:cubicBezTo>
                    <a:pt x="19075" y="30645"/>
                    <a:pt x="19055" y="30776"/>
                    <a:pt x="19106" y="30891"/>
                  </a:cubicBezTo>
                  <a:cubicBezTo>
                    <a:pt x="19170" y="30960"/>
                    <a:pt x="19263" y="30990"/>
                    <a:pt x="19345" y="31034"/>
                  </a:cubicBezTo>
                  <a:cubicBezTo>
                    <a:pt x="19325" y="30826"/>
                    <a:pt x="19381" y="30602"/>
                    <a:pt x="19316" y="30400"/>
                  </a:cubicBezTo>
                  <a:cubicBezTo>
                    <a:pt x="19165" y="30164"/>
                    <a:pt x="18894" y="30042"/>
                    <a:pt x="18676" y="29879"/>
                  </a:cubicBezTo>
                  <a:cubicBezTo>
                    <a:pt x="18608" y="29827"/>
                    <a:pt x="18507" y="29775"/>
                    <a:pt x="18512" y="29676"/>
                  </a:cubicBezTo>
                  <a:cubicBezTo>
                    <a:pt x="18505" y="29585"/>
                    <a:pt x="18561" y="29509"/>
                    <a:pt x="18609" y="29437"/>
                  </a:cubicBezTo>
                  <a:cubicBezTo>
                    <a:pt x="18844" y="29659"/>
                    <a:pt x="19109" y="29849"/>
                    <a:pt x="19397" y="29995"/>
                  </a:cubicBezTo>
                  <a:cubicBezTo>
                    <a:pt x="19497" y="30033"/>
                    <a:pt x="19527" y="30156"/>
                    <a:pt x="19625" y="30196"/>
                  </a:cubicBezTo>
                  <a:cubicBezTo>
                    <a:pt x="19714" y="30216"/>
                    <a:pt x="19805" y="30195"/>
                    <a:pt x="19894" y="30186"/>
                  </a:cubicBezTo>
                  <a:cubicBezTo>
                    <a:pt x="19904" y="30448"/>
                    <a:pt x="19831" y="30727"/>
                    <a:pt x="19912" y="30979"/>
                  </a:cubicBezTo>
                  <a:cubicBezTo>
                    <a:pt x="20127" y="31176"/>
                    <a:pt x="20435" y="31234"/>
                    <a:pt x="20716" y="31262"/>
                  </a:cubicBezTo>
                  <a:cubicBezTo>
                    <a:pt x="20816" y="30685"/>
                    <a:pt x="20833" y="30078"/>
                    <a:pt x="20663" y="29512"/>
                  </a:cubicBezTo>
                  <a:cubicBezTo>
                    <a:pt x="20604" y="29277"/>
                    <a:pt x="20414" y="29109"/>
                    <a:pt x="20335" y="28883"/>
                  </a:cubicBezTo>
                  <a:cubicBezTo>
                    <a:pt x="20195" y="28530"/>
                    <a:pt x="19896" y="28237"/>
                    <a:pt x="19869" y="27843"/>
                  </a:cubicBezTo>
                  <a:cubicBezTo>
                    <a:pt x="19854" y="27736"/>
                    <a:pt x="19764" y="27665"/>
                    <a:pt x="19699" y="27586"/>
                  </a:cubicBezTo>
                  <a:cubicBezTo>
                    <a:pt x="19735" y="27595"/>
                    <a:pt x="19771" y="27603"/>
                    <a:pt x="19808" y="27612"/>
                  </a:cubicBezTo>
                  <a:cubicBezTo>
                    <a:pt x="19719" y="27523"/>
                    <a:pt x="19637" y="27423"/>
                    <a:pt x="19606" y="27298"/>
                  </a:cubicBezTo>
                  <a:cubicBezTo>
                    <a:pt x="19707" y="27380"/>
                    <a:pt x="19826" y="27445"/>
                    <a:pt x="19907" y="27549"/>
                  </a:cubicBezTo>
                  <a:cubicBezTo>
                    <a:pt x="20002" y="27697"/>
                    <a:pt x="19995" y="27883"/>
                    <a:pt x="20065" y="28041"/>
                  </a:cubicBezTo>
                  <a:cubicBezTo>
                    <a:pt x="20154" y="28142"/>
                    <a:pt x="20274" y="28211"/>
                    <a:pt x="20379" y="28296"/>
                  </a:cubicBezTo>
                  <a:cubicBezTo>
                    <a:pt x="20357" y="28300"/>
                    <a:pt x="20314" y="28307"/>
                    <a:pt x="20293" y="28310"/>
                  </a:cubicBezTo>
                  <a:cubicBezTo>
                    <a:pt x="20431" y="28484"/>
                    <a:pt x="20562" y="28664"/>
                    <a:pt x="20714" y="28827"/>
                  </a:cubicBezTo>
                  <a:cubicBezTo>
                    <a:pt x="20884" y="29006"/>
                    <a:pt x="20917" y="29266"/>
                    <a:pt x="21067" y="29461"/>
                  </a:cubicBezTo>
                  <a:cubicBezTo>
                    <a:pt x="21147" y="29600"/>
                    <a:pt x="21264" y="29712"/>
                    <a:pt x="21386" y="29815"/>
                  </a:cubicBezTo>
                  <a:lnTo>
                    <a:pt x="21176" y="29783"/>
                  </a:lnTo>
                  <a:cubicBezTo>
                    <a:pt x="21209" y="29923"/>
                    <a:pt x="21236" y="30065"/>
                    <a:pt x="21280" y="30202"/>
                  </a:cubicBezTo>
                  <a:cubicBezTo>
                    <a:pt x="21338" y="30098"/>
                    <a:pt x="21404" y="30000"/>
                    <a:pt x="21488" y="29915"/>
                  </a:cubicBezTo>
                  <a:cubicBezTo>
                    <a:pt x="21485" y="29889"/>
                    <a:pt x="21481" y="29862"/>
                    <a:pt x="21479" y="29835"/>
                  </a:cubicBezTo>
                  <a:cubicBezTo>
                    <a:pt x="21527" y="29866"/>
                    <a:pt x="21574" y="29897"/>
                    <a:pt x="21622" y="29929"/>
                  </a:cubicBezTo>
                  <a:cubicBezTo>
                    <a:pt x="21519" y="29738"/>
                    <a:pt x="21463" y="29526"/>
                    <a:pt x="21434" y="29311"/>
                  </a:cubicBezTo>
                  <a:cubicBezTo>
                    <a:pt x="21559" y="29414"/>
                    <a:pt x="21663" y="29547"/>
                    <a:pt x="21809" y="29621"/>
                  </a:cubicBezTo>
                  <a:cubicBezTo>
                    <a:pt x="21916" y="29595"/>
                    <a:pt x="21982" y="29499"/>
                    <a:pt x="22045" y="29417"/>
                  </a:cubicBezTo>
                  <a:cubicBezTo>
                    <a:pt x="22068" y="29441"/>
                    <a:pt x="22091" y="29466"/>
                    <a:pt x="22114" y="29490"/>
                  </a:cubicBezTo>
                  <a:cubicBezTo>
                    <a:pt x="22156" y="29411"/>
                    <a:pt x="22197" y="29332"/>
                    <a:pt x="22241" y="29254"/>
                  </a:cubicBezTo>
                  <a:lnTo>
                    <a:pt x="22436" y="29648"/>
                  </a:lnTo>
                  <a:cubicBezTo>
                    <a:pt x="22506" y="29766"/>
                    <a:pt x="22396" y="29927"/>
                    <a:pt x="22504" y="30027"/>
                  </a:cubicBezTo>
                  <a:cubicBezTo>
                    <a:pt x="22598" y="30115"/>
                    <a:pt x="22606" y="30250"/>
                    <a:pt x="22665" y="30359"/>
                  </a:cubicBezTo>
                  <a:cubicBezTo>
                    <a:pt x="22717" y="30379"/>
                    <a:pt x="22773" y="30380"/>
                    <a:pt x="22827" y="30387"/>
                  </a:cubicBezTo>
                  <a:cubicBezTo>
                    <a:pt x="22877" y="30470"/>
                    <a:pt x="22938" y="30564"/>
                    <a:pt x="23051" y="30532"/>
                  </a:cubicBezTo>
                  <a:cubicBezTo>
                    <a:pt x="23324" y="30490"/>
                    <a:pt x="23655" y="30563"/>
                    <a:pt x="23865" y="30346"/>
                  </a:cubicBezTo>
                  <a:cubicBezTo>
                    <a:pt x="24028" y="30199"/>
                    <a:pt x="24227" y="30102"/>
                    <a:pt x="24396" y="29962"/>
                  </a:cubicBezTo>
                  <a:cubicBezTo>
                    <a:pt x="24499" y="29824"/>
                    <a:pt x="24560" y="29658"/>
                    <a:pt x="24669" y="29523"/>
                  </a:cubicBezTo>
                  <a:lnTo>
                    <a:pt x="24669" y="29458"/>
                  </a:lnTo>
                  <a:cubicBezTo>
                    <a:pt x="24510" y="29230"/>
                    <a:pt x="24295" y="29047"/>
                    <a:pt x="24139" y="28815"/>
                  </a:cubicBezTo>
                  <a:cubicBezTo>
                    <a:pt x="24025" y="28678"/>
                    <a:pt x="23962" y="28507"/>
                    <a:pt x="23847" y="28371"/>
                  </a:cubicBezTo>
                  <a:cubicBezTo>
                    <a:pt x="23740" y="28306"/>
                    <a:pt x="23596" y="28356"/>
                    <a:pt x="23481" y="28340"/>
                  </a:cubicBezTo>
                  <a:cubicBezTo>
                    <a:pt x="23451" y="28297"/>
                    <a:pt x="23422" y="28255"/>
                    <a:pt x="23393" y="28212"/>
                  </a:cubicBezTo>
                  <a:cubicBezTo>
                    <a:pt x="23534" y="28274"/>
                    <a:pt x="23689" y="28293"/>
                    <a:pt x="23843" y="28271"/>
                  </a:cubicBezTo>
                  <a:cubicBezTo>
                    <a:pt x="23726" y="28116"/>
                    <a:pt x="23620" y="27953"/>
                    <a:pt x="23503" y="27799"/>
                  </a:cubicBezTo>
                  <a:cubicBezTo>
                    <a:pt x="23399" y="27650"/>
                    <a:pt x="23162" y="27696"/>
                    <a:pt x="23075" y="27532"/>
                  </a:cubicBezTo>
                  <a:cubicBezTo>
                    <a:pt x="23022" y="27470"/>
                    <a:pt x="22993" y="27357"/>
                    <a:pt x="22894" y="27360"/>
                  </a:cubicBezTo>
                  <a:cubicBezTo>
                    <a:pt x="22659" y="27363"/>
                    <a:pt x="22439" y="27469"/>
                    <a:pt x="22248" y="27599"/>
                  </a:cubicBezTo>
                  <a:cubicBezTo>
                    <a:pt x="22248" y="27353"/>
                    <a:pt x="21973" y="27182"/>
                    <a:pt x="21746" y="27248"/>
                  </a:cubicBezTo>
                  <a:cubicBezTo>
                    <a:pt x="21734" y="27223"/>
                    <a:pt x="21723" y="27198"/>
                    <a:pt x="21713" y="27172"/>
                  </a:cubicBezTo>
                  <a:cubicBezTo>
                    <a:pt x="21817" y="27125"/>
                    <a:pt x="21919" y="27070"/>
                    <a:pt x="22029" y="27034"/>
                  </a:cubicBezTo>
                  <a:cubicBezTo>
                    <a:pt x="22169" y="27063"/>
                    <a:pt x="22291" y="27158"/>
                    <a:pt x="22435" y="27174"/>
                  </a:cubicBezTo>
                  <a:cubicBezTo>
                    <a:pt x="22590" y="27086"/>
                    <a:pt x="22754" y="27007"/>
                    <a:pt x="22898" y="26899"/>
                  </a:cubicBezTo>
                  <a:cubicBezTo>
                    <a:pt x="22878" y="26671"/>
                    <a:pt x="22689" y="26489"/>
                    <a:pt x="22540" y="26330"/>
                  </a:cubicBezTo>
                  <a:cubicBezTo>
                    <a:pt x="22168" y="26222"/>
                    <a:pt x="21771" y="26323"/>
                    <a:pt x="21434" y="26496"/>
                  </a:cubicBezTo>
                  <a:cubicBezTo>
                    <a:pt x="21345" y="26332"/>
                    <a:pt x="21235" y="26179"/>
                    <a:pt x="21078" y="26073"/>
                  </a:cubicBezTo>
                  <a:lnTo>
                    <a:pt x="21190" y="26069"/>
                  </a:lnTo>
                  <a:cubicBezTo>
                    <a:pt x="21131" y="25885"/>
                    <a:pt x="21097" y="25694"/>
                    <a:pt x="21041" y="25509"/>
                  </a:cubicBezTo>
                  <a:cubicBezTo>
                    <a:pt x="21091" y="25499"/>
                    <a:pt x="21141" y="25488"/>
                    <a:pt x="21192" y="25477"/>
                  </a:cubicBezTo>
                  <a:cubicBezTo>
                    <a:pt x="21254" y="25686"/>
                    <a:pt x="21357" y="25920"/>
                    <a:pt x="21584" y="25990"/>
                  </a:cubicBezTo>
                  <a:cubicBezTo>
                    <a:pt x="21788" y="26018"/>
                    <a:pt x="21990" y="26057"/>
                    <a:pt x="22190" y="26112"/>
                  </a:cubicBezTo>
                  <a:cubicBezTo>
                    <a:pt x="22228" y="26066"/>
                    <a:pt x="22304" y="25975"/>
                    <a:pt x="22342" y="25930"/>
                  </a:cubicBezTo>
                  <a:cubicBezTo>
                    <a:pt x="22248" y="25707"/>
                    <a:pt x="22191" y="25463"/>
                    <a:pt x="22058" y="25259"/>
                  </a:cubicBezTo>
                  <a:cubicBezTo>
                    <a:pt x="21942" y="25082"/>
                    <a:pt x="21740" y="25262"/>
                    <a:pt x="21597" y="25302"/>
                  </a:cubicBezTo>
                  <a:cubicBezTo>
                    <a:pt x="21450" y="25069"/>
                    <a:pt x="21389" y="24788"/>
                    <a:pt x="21391" y="24516"/>
                  </a:cubicBezTo>
                  <a:cubicBezTo>
                    <a:pt x="21380" y="24340"/>
                    <a:pt x="21545" y="24280"/>
                    <a:pt x="21662" y="24201"/>
                  </a:cubicBezTo>
                  <a:cubicBezTo>
                    <a:pt x="21634" y="24125"/>
                    <a:pt x="21620" y="24041"/>
                    <a:pt x="21573" y="23974"/>
                  </a:cubicBezTo>
                  <a:cubicBezTo>
                    <a:pt x="21484" y="23881"/>
                    <a:pt x="21343" y="23867"/>
                    <a:pt x="21250" y="23780"/>
                  </a:cubicBezTo>
                  <a:cubicBezTo>
                    <a:pt x="21250" y="23632"/>
                    <a:pt x="21289" y="23486"/>
                    <a:pt x="21285" y="23338"/>
                  </a:cubicBezTo>
                  <a:lnTo>
                    <a:pt x="20946" y="23363"/>
                  </a:lnTo>
                  <a:cubicBezTo>
                    <a:pt x="20950" y="23290"/>
                    <a:pt x="20955" y="23217"/>
                    <a:pt x="20960" y="23143"/>
                  </a:cubicBezTo>
                  <a:cubicBezTo>
                    <a:pt x="20910" y="23194"/>
                    <a:pt x="20860" y="23245"/>
                    <a:pt x="20809" y="23294"/>
                  </a:cubicBezTo>
                  <a:cubicBezTo>
                    <a:pt x="20810" y="23178"/>
                    <a:pt x="20815" y="23062"/>
                    <a:pt x="20830" y="22947"/>
                  </a:cubicBezTo>
                  <a:lnTo>
                    <a:pt x="20702" y="22882"/>
                  </a:lnTo>
                  <a:lnTo>
                    <a:pt x="20888" y="22879"/>
                  </a:lnTo>
                  <a:cubicBezTo>
                    <a:pt x="20805" y="22633"/>
                    <a:pt x="20715" y="22386"/>
                    <a:pt x="20699" y="22125"/>
                  </a:cubicBezTo>
                  <a:cubicBezTo>
                    <a:pt x="20679" y="21926"/>
                    <a:pt x="20581" y="21747"/>
                    <a:pt x="20548" y="21550"/>
                  </a:cubicBezTo>
                  <a:cubicBezTo>
                    <a:pt x="20518" y="21355"/>
                    <a:pt x="20451" y="21168"/>
                    <a:pt x="20394" y="20980"/>
                  </a:cubicBezTo>
                  <a:cubicBezTo>
                    <a:pt x="20471" y="20995"/>
                    <a:pt x="20551" y="21003"/>
                    <a:pt x="20627" y="21030"/>
                  </a:cubicBezTo>
                  <a:cubicBezTo>
                    <a:pt x="20688" y="21211"/>
                    <a:pt x="20701" y="21404"/>
                    <a:pt x="20669" y="21592"/>
                  </a:cubicBezTo>
                  <a:cubicBezTo>
                    <a:pt x="20744" y="21586"/>
                    <a:pt x="20819" y="21587"/>
                    <a:pt x="20894" y="21591"/>
                  </a:cubicBezTo>
                  <a:cubicBezTo>
                    <a:pt x="21028" y="21414"/>
                    <a:pt x="21196" y="21268"/>
                    <a:pt x="21403" y="21181"/>
                  </a:cubicBezTo>
                  <a:cubicBezTo>
                    <a:pt x="21550" y="21127"/>
                    <a:pt x="21583" y="20965"/>
                    <a:pt x="21621" y="20832"/>
                  </a:cubicBezTo>
                  <a:cubicBezTo>
                    <a:pt x="21413" y="20776"/>
                    <a:pt x="21273" y="20941"/>
                    <a:pt x="21143" y="21076"/>
                  </a:cubicBezTo>
                  <a:lnTo>
                    <a:pt x="20946" y="20919"/>
                  </a:lnTo>
                  <a:cubicBezTo>
                    <a:pt x="20960" y="20973"/>
                    <a:pt x="20974" y="21027"/>
                    <a:pt x="20989" y="21081"/>
                  </a:cubicBezTo>
                  <a:cubicBezTo>
                    <a:pt x="20944" y="21044"/>
                    <a:pt x="20901" y="21007"/>
                    <a:pt x="20858" y="20970"/>
                  </a:cubicBezTo>
                  <a:cubicBezTo>
                    <a:pt x="20949" y="20900"/>
                    <a:pt x="21039" y="20828"/>
                    <a:pt x="21127" y="20753"/>
                  </a:cubicBezTo>
                  <a:cubicBezTo>
                    <a:pt x="21038" y="20724"/>
                    <a:pt x="20948" y="20696"/>
                    <a:pt x="20856" y="20675"/>
                  </a:cubicBezTo>
                  <a:cubicBezTo>
                    <a:pt x="20968" y="20631"/>
                    <a:pt x="21078" y="20583"/>
                    <a:pt x="21189" y="20535"/>
                  </a:cubicBezTo>
                  <a:cubicBezTo>
                    <a:pt x="21097" y="20521"/>
                    <a:pt x="21004" y="20510"/>
                    <a:pt x="20911" y="20497"/>
                  </a:cubicBezTo>
                  <a:cubicBezTo>
                    <a:pt x="21037" y="20457"/>
                    <a:pt x="21169" y="20450"/>
                    <a:pt x="21300" y="20462"/>
                  </a:cubicBezTo>
                  <a:lnTo>
                    <a:pt x="21517" y="20165"/>
                  </a:lnTo>
                  <a:cubicBezTo>
                    <a:pt x="21445" y="20467"/>
                    <a:pt x="21784" y="20415"/>
                    <a:pt x="21846" y="20242"/>
                  </a:cubicBezTo>
                  <a:cubicBezTo>
                    <a:pt x="21933" y="20043"/>
                    <a:pt x="21916" y="19812"/>
                    <a:pt x="21891" y="19600"/>
                  </a:cubicBezTo>
                  <a:cubicBezTo>
                    <a:pt x="21873" y="19506"/>
                    <a:pt x="21796" y="19342"/>
                    <a:pt x="21677" y="19409"/>
                  </a:cubicBezTo>
                  <a:cubicBezTo>
                    <a:pt x="21389" y="19547"/>
                    <a:pt x="21116" y="19742"/>
                    <a:pt x="20780" y="19727"/>
                  </a:cubicBezTo>
                  <a:lnTo>
                    <a:pt x="20961" y="19649"/>
                  </a:lnTo>
                  <a:cubicBezTo>
                    <a:pt x="20853" y="19530"/>
                    <a:pt x="20739" y="19418"/>
                    <a:pt x="20627" y="19304"/>
                  </a:cubicBezTo>
                  <a:cubicBezTo>
                    <a:pt x="20654" y="19289"/>
                    <a:pt x="20709" y="19261"/>
                    <a:pt x="20736" y="19246"/>
                  </a:cubicBezTo>
                  <a:cubicBezTo>
                    <a:pt x="20657" y="19235"/>
                    <a:pt x="20578" y="19216"/>
                    <a:pt x="20498" y="19225"/>
                  </a:cubicBezTo>
                  <a:cubicBezTo>
                    <a:pt x="20417" y="19326"/>
                    <a:pt x="20367" y="19445"/>
                    <a:pt x="20304" y="19557"/>
                  </a:cubicBezTo>
                  <a:cubicBezTo>
                    <a:pt x="20253" y="19458"/>
                    <a:pt x="20189" y="19363"/>
                    <a:pt x="20161" y="19256"/>
                  </a:cubicBezTo>
                  <a:cubicBezTo>
                    <a:pt x="20165" y="19173"/>
                    <a:pt x="20200" y="19096"/>
                    <a:pt x="20221" y="19016"/>
                  </a:cubicBezTo>
                  <a:cubicBezTo>
                    <a:pt x="20264" y="19078"/>
                    <a:pt x="20306" y="19140"/>
                    <a:pt x="20350" y="19201"/>
                  </a:cubicBezTo>
                  <a:cubicBezTo>
                    <a:pt x="20537" y="19009"/>
                    <a:pt x="20508" y="18729"/>
                    <a:pt x="20529" y="18483"/>
                  </a:cubicBezTo>
                  <a:cubicBezTo>
                    <a:pt x="20708" y="18565"/>
                    <a:pt x="20845" y="18740"/>
                    <a:pt x="21064" y="18717"/>
                  </a:cubicBezTo>
                  <a:cubicBezTo>
                    <a:pt x="21061" y="18660"/>
                    <a:pt x="21059" y="18603"/>
                    <a:pt x="21054" y="18547"/>
                  </a:cubicBezTo>
                  <a:lnTo>
                    <a:pt x="20878" y="18513"/>
                  </a:lnTo>
                  <a:cubicBezTo>
                    <a:pt x="21000" y="18496"/>
                    <a:pt x="21126" y="18504"/>
                    <a:pt x="21247" y="18475"/>
                  </a:cubicBezTo>
                  <a:cubicBezTo>
                    <a:pt x="21322" y="18326"/>
                    <a:pt x="21236" y="18198"/>
                    <a:pt x="21116" y="18113"/>
                  </a:cubicBezTo>
                  <a:cubicBezTo>
                    <a:pt x="21140" y="18102"/>
                    <a:pt x="21189" y="18080"/>
                    <a:pt x="21213" y="18068"/>
                  </a:cubicBezTo>
                  <a:lnTo>
                    <a:pt x="21043" y="18015"/>
                  </a:lnTo>
                  <a:cubicBezTo>
                    <a:pt x="21272" y="17994"/>
                    <a:pt x="21418" y="17779"/>
                    <a:pt x="21398" y="17562"/>
                  </a:cubicBezTo>
                  <a:cubicBezTo>
                    <a:pt x="21432" y="17275"/>
                    <a:pt x="21496" y="16985"/>
                    <a:pt x="21363" y="16710"/>
                  </a:cubicBezTo>
                  <a:lnTo>
                    <a:pt x="21205" y="16736"/>
                  </a:lnTo>
                  <a:cubicBezTo>
                    <a:pt x="21187" y="16831"/>
                    <a:pt x="21171" y="16927"/>
                    <a:pt x="21150" y="17021"/>
                  </a:cubicBezTo>
                  <a:lnTo>
                    <a:pt x="20898" y="16973"/>
                  </a:lnTo>
                  <a:cubicBezTo>
                    <a:pt x="20722" y="17190"/>
                    <a:pt x="20540" y="17408"/>
                    <a:pt x="20305" y="17565"/>
                  </a:cubicBezTo>
                  <a:cubicBezTo>
                    <a:pt x="20572" y="17315"/>
                    <a:pt x="20736" y="16984"/>
                    <a:pt x="20984" y="16718"/>
                  </a:cubicBezTo>
                  <a:cubicBezTo>
                    <a:pt x="20772" y="16686"/>
                    <a:pt x="20582" y="16582"/>
                    <a:pt x="20425" y="16439"/>
                  </a:cubicBezTo>
                  <a:cubicBezTo>
                    <a:pt x="20550" y="16479"/>
                    <a:pt x="20666" y="16542"/>
                    <a:pt x="20784" y="16601"/>
                  </a:cubicBezTo>
                  <a:cubicBezTo>
                    <a:pt x="20830" y="16592"/>
                    <a:pt x="20876" y="16582"/>
                    <a:pt x="20923" y="16572"/>
                  </a:cubicBezTo>
                  <a:cubicBezTo>
                    <a:pt x="20923" y="16381"/>
                    <a:pt x="20917" y="16189"/>
                    <a:pt x="20890" y="15999"/>
                  </a:cubicBezTo>
                  <a:cubicBezTo>
                    <a:pt x="21031" y="16005"/>
                    <a:pt x="21171" y="15973"/>
                    <a:pt x="21293" y="15901"/>
                  </a:cubicBezTo>
                  <a:cubicBezTo>
                    <a:pt x="21334" y="15938"/>
                    <a:pt x="21374" y="15974"/>
                    <a:pt x="21416" y="16010"/>
                  </a:cubicBezTo>
                  <a:cubicBezTo>
                    <a:pt x="21418" y="15847"/>
                    <a:pt x="21627" y="15715"/>
                    <a:pt x="21544" y="15550"/>
                  </a:cubicBezTo>
                  <a:cubicBezTo>
                    <a:pt x="21501" y="15453"/>
                    <a:pt x="21418" y="15329"/>
                    <a:pt x="21295" y="15353"/>
                  </a:cubicBezTo>
                  <a:cubicBezTo>
                    <a:pt x="21146" y="15368"/>
                    <a:pt x="21091" y="15522"/>
                    <a:pt x="21029" y="15634"/>
                  </a:cubicBezTo>
                  <a:lnTo>
                    <a:pt x="20827" y="15680"/>
                  </a:lnTo>
                  <a:cubicBezTo>
                    <a:pt x="20985" y="15577"/>
                    <a:pt x="21071" y="15408"/>
                    <a:pt x="21156" y="15245"/>
                  </a:cubicBezTo>
                  <a:cubicBezTo>
                    <a:pt x="20947" y="15215"/>
                    <a:pt x="20697" y="15044"/>
                    <a:pt x="20516" y="15213"/>
                  </a:cubicBezTo>
                  <a:cubicBezTo>
                    <a:pt x="20425" y="15279"/>
                    <a:pt x="20415" y="15398"/>
                    <a:pt x="20394" y="15498"/>
                  </a:cubicBezTo>
                  <a:cubicBezTo>
                    <a:pt x="20341" y="15344"/>
                    <a:pt x="20287" y="15189"/>
                    <a:pt x="20235" y="15033"/>
                  </a:cubicBezTo>
                  <a:cubicBezTo>
                    <a:pt x="20552" y="15085"/>
                    <a:pt x="20836" y="14931"/>
                    <a:pt x="21110" y="14792"/>
                  </a:cubicBezTo>
                  <a:cubicBezTo>
                    <a:pt x="20973" y="14634"/>
                    <a:pt x="20998" y="14429"/>
                    <a:pt x="21021" y="14237"/>
                  </a:cubicBezTo>
                  <a:cubicBezTo>
                    <a:pt x="20884" y="14229"/>
                    <a:pt x="20746" y="14246"/>
                    <a:pt x="20612" y="14225"/>
                  </a:cubicBezTo>
                  <a:cubicBezTo>
                    <a:pt x="20485" y="14149"/>
                    <a:pt x="20416" y="13973"/>
                    <a:pt x="20261" y="13946"/>
                  </a:cubicBezTo>
                  <a:cubicBezTo>
                    <a:pt x="19996" y="14011"/>
                    <a:pt x="19777" y="14208"/>
                    <a:pt x="19600" y="14405"/>
                  </a:cubicBezTo>
                  <a:cubicBezTo>
                    <a:pt x="19531" y="14482"/>
                    <a:pt x="19596" y="14578"/>
                    <a:pt x="19624" y="14657"/>
                  </a:cubicBezTo>
                  <a:cubicBezTo>
                    <a:pt x="19581" y="14693"/>
                    <a:pt x="19538" y="14729"/>
                    <a:pt x="19497" y="14765"/>
                  </a:cubicBezTo>
                  <a:cubicBezTo>
                    <a:pt x="19445" y="14638"/>
                    <a:pt x="19400" y="14507"/>
                    <a:pt x="19385" y="14370"/>
                  </a:cubicBezTo>
                  <a:cubicBezTo>
                    <a:pt x="19342" y="14378"/>
                    <a:pt x="19299" y="14385"/>
                    <a:pt x="19257" y="14392"/>
                  </a:cubicBezTo>
                  <a:cubicBezTo>
                    <a:pt x="19261" y="14366"/>
                    <a:pt x="19266" y="14339"/>
                    <a:pt x="19272" y="14312"/>
                  </a:cubicBezTo>
                  <a:cubicBezTo>
                    <a:pt x="19063" y="14231"/>
                    <a:pt x="18954" y="14030"/>
                    <a:pt x="18785" y="13904"/>
                  </a:cubicBezTo>
                  <a:cubicBezTo>
                    <a:pt x="18578" y="14007"/>
                    <a:pt x="18402" y="14163"/>
                    <a:pt x="18206" y="14284"/>
                  </a:cubicBezTo>
                  <a:cubicBezTo>
                    <a:pt x="18288" y="14099"/>
                    <a:pt x="18467" y="14001"/>
                    <a:pt x="18652" y="13940"/>
                  </a:cubicBezTo>
                  <a:cubicBezTo>
                    <a:pt x="18511" y="13794"/>
                    <a:pt x="18310" y="13786"/>
                    <a:pt x="18119" y="13799"/>
                  </a:cubicBezTo>
                  <a:cubicBezTo>
                    <a:pt x="18158" y="13743"/>
                    <a:pt x="18195" y="13685"/>
                    <a:pt x="18230" y="13626"/>
                  </a:cubicBezTo>
                  <a:cubicBezTo>
                    <a:pt x="18250" y="13671"/>
                    <a:pt x="18270" y="13715"/>
                    <a:pt x="18291" y="13760"/>
                  </a:cubicBezTo>
                  <a:cubicBezTo>
                    <a:pt x="18409" y="13746"/>
                    <a:pt x="18525" y="13769"/>
                    <a:pt x="18630" y="13824"/>
                  </a:cubicBezTo>
                  <a:cubicBezTo>
                    <a:pt x="18726" y="13880"/>
                    <a:pt x="18826" y="13812"/>
                    <a:pt x="18913" y="13772"/>
                  </a:cubicBezTo>
                  <a:cubicBezTo>
                    <a:pt x="18942" y="13936"/>
                    <a:pt x="19048" y="14069"/>
                    <a:pt x="19143" y="14200"/>
                  </a:cubicBezTo>
                  <a:cubicBezTo>
                    <a:pt x="19415" y="14183"/>
                    <a:pt x="19695" y="14105"/>
                    <a:pt x="19900" y="13918"/>
                  </a:cubicBezTo>
                  <a:cubicBezTo>
                    <a:pt x="19775" y="13918"/>
                    <a:pt x="19660" y="13913"/>
                    <a:pt x="19537" y="13914"/>
                  </a:cubicBezTo>
                  <a:lnTo>
                    <a:pt x="19992" y="13814"/>
                  </a:lnTo>
                  <a:cubicBezTo>
                    <a:pt x="19983" y="13764"/>
                    <a:pt x="19975" y="13714"/>
                    <a:pt x="19966" y="13664"/>
                  </a:cubicBezTo>
                  <a:cubicBezTo>
                    <a:pt x="20110" y="13609"/>
                    <a:pt x="20258" y="13553"/>
                    <a:pt x="20400" y="13488"/>
                  </a:cubicBezTo>
                  <a:cubicBezTo>
                    <a:pt x="20383" y="13373"/>
                    <a:pt x="20392" y="13257"/>
                    <a:pt x="20415" y="13143"/>
                  </a:cubicBezTo>
                  <a:cubicBezTo>
                    <a:pt x="20254" y="13172"/>
                    <a:pt x="20114" y="13244"/>
                    <a:pt x="19995" y="13352"/>
                  </a:cubicBezTo>
                  <a:cubicBezTo>
                    <a:pt x="19781" y="13455"/>
                    <a:pt x="19537" y="13443"/>
                    <a:pt x="19306" y="13465"/>
                  </a:cubicBezTo>
                  <a:cubicBezTo>
                    <a:pt x="19376" y="13516"/>
                    <a:pt x="19435" y="13569"/>
                    <a:pt x="19513" y="13611"/>
                  </a:cubicBezTo>
                  <a:cubicBezTo>
                    <a:pt x="19338" y="13647"/>
                    <a:pt x="19164" y="13694"/>
                    <a:pt x="18992" y="13743"/>
                  </a:cubicBezTo>
                  <a:cubicBezTo>
                    <a:pt x="19074" y="13706"/>
                    <a:pt x="19201" y="13670"/>
                    <a:pt x="19156" y="13559"/>
                  </a:cubicBezTo>
                  <a:cubicBezTo>
                    <a:pt x="19071" y="13435"/>
                    <a:pt x="18913" y="13390"/>
                    <a:pt x="18783" y="13325"/>
                  </a:cubicBezTo>
                  <a:cubicBezTo>
                    <a:pt x="18658" y="13261"/>
                    <a:pt x="18538" y="13373"/>
                    <a:pt x="18425" y="13414"/>
                  </a:cubicBezTo>
                  <a:cubicBezTo>
                    <a:pt x="18478" y="13369"/>
                    <a:pt x="18532" y="13324"/>
                    <a:pt x="18586" y="13279"/>
                  </a:cubicBezTo>
                  <a:cubicBezTo>
                    <a:pt x="18555" y="13254"/>
                    <a:pt x="18525" y="13228"/>
                    <a:pt x="18495" y="13202"/>
                  </a:cubicBezTo>
                  <a:lnTo>
                    <a:pt x="18621" y="13210"/>
                  </a:lnTo>
                  <a:cubicBezTo>
                    <a:pt x="18627" y="13177"/>
                    <a:pt x="18632" y="13143"/>
                    <a:pt x="18638" y="13109"/>
                  </a:cubicBezTo>
                  <a:cubicBezTo>
                    <a:pt x="18743" y="13196"/>
                    <a:pt x="18852" y="13279"/>
                    <a:pt x="18978" y="13333"/>
                  </a:cubicBezTo>
                  <a:cubicBezTo>
                    <a:pt x="19157" y="13288"/>
                    <a:pt x="19351" y="13165"/>
                    <a:pt x="19337" y="12951"/>
                  </a:cubicBezTo>
                  <a:cubicBezTo>
                    <a:pt x="19206" y="12822"/>
                    <a:pt x="19000" y="12844"/>
                    <a:pt x="18835" y="12789"/>
                  </a:cubicBezTo>
                  <a:cubicBezTo>
                    <a:pt x="19014" y="12775"/>
                    <a:pt x="19194" y="12774"/>
                    <a:pt x="19372" y="12751"/>
                  </a:cubicBezTo>
                  <a:cubicBezTo>
                    <a:pt x="19660" y="12571"/>
                    <a:pt x="19897" y="12325"/>
                    <a:pt x="20172" y="12126"/>
                  </a:cubicBezTo>
                  <a:cubicBezTo>
                    <a:pt x="20084" y="12013"/>
                    <a:pt x="20000" y="11897"/>
                    <a:pt x="19927" y="11774"/>
                  </a:cubicBezTo>
                  <a:cubicBezTo>
                    <a:pt x="20028" y="11834"/>
                    <a:pt x="20128" y="11896"/>
                    <a:pt x="20225" y="11961"/>
                  </a:cubicBezTo>
                  <a:cubicBezTo>
                    <a:pt x="20189" y="11883"/>
                    <a:pt x="20153" y="11805"/>
                    <a:pt x="20119" y="11726"/>
                  </a:cubicBezTo>
                  <a:cubicBezTo>
                    <a:pt x="20183" y="11782"/>
                    <a:pt x="20243" y="11843"/>
                    <a:pt x="20301" y="11905"/>
                  </a:cubicBezTo>
                  <a:cubicBezTo>
                    <a:pt x="20338" y="11898"/>
                    <a:pt x="20375" y="11890"/>
                    <a:pt x="20413" y="11881"/>
                  </a:cubicBezTo>
                  <a:cubicBezTo>
                    <a:pt x="20295" y="11751"/>
                    <a:pt x="20142" y="11620"/>
                    <a:pt x="20166" y="11425"/>
                  </a:cubicBezTo>
                  <a:cubicBezTo>
                    <a:pt x="20247" y="11490"/>
                    <a:pt x="20320" y="11569"/>
                    <a:pt x="20417" y="11611"/>
                  </a:cubicBezTo>
                  <a:cubicBezTo>
                    <a:pt x="20554" y="11482"/>
                    <a:pt x="20494" y="11280"/>
                    <a:pt x="20495" y="11115"/>
                  </a:cubicBezTo>
                  <a:cubicBezTo>
                    <a:pt x="20533" y="10859"/>
                    <a:pt x="20555" y="10599"/>
                    <a:pt x="20565" y="10341"/>
                  </a:cubicBezTo>
                  <a:cubicBezTo>
                    <a:pt x="20478" y="10243"/>
                    <a:pt x="20335" y="10333"/>
                    <a:pt x="20226" y="10333"/>
                  </a:cubicBezTo>
                  <a:cubicBezTo>
                    <a:pt x="20212" y="10497"/>
                    <a:pt x="20200" y="10660"/>
                    <a:pt x="20185" y="10823"/>
                  </a:cubicBezTo>
                  <a:cubicBezTo>
                    <a:pt x="20143" y="10661"/>
                    <a:pt x="20138" y="10492"/>
                    <a:pt x="20116" y="10327"/>
                  </a:cubicBezTo>
                  <a:cubicBezTo>
                    <a:pt x="20090" y="10234"/>
                    <a:pt x="19967" y="10265"/>
                    <a:pt x="19902" y="10294"/>
                  </a:cubicBezTo>
                  <a:cubicBezTo>
                    <a:pt x="19768" y="10371"/>
                    <a:pt x="19595" y="10452"/>
                    <a:pt x="19566" y="10622"/>
                  </a:cubicBezTo>
                  <a:cubicBezTo>
                    <a:pt x="19529" y="10880"/>
                    <a:pt x="19455" y="11130"/>
                    <a:pt x="19316" y="11352"/>
                  </a:cubicBezTo>
                  <a:cubicBezTo>
                    <a:pt x="19130" y="11392"/>
                    <a:pt x="19018" y="11560"/>
                    <a:pt x="18859" y="11649"/>
                  </a:cubicBezTo>
                  <a:cubicBezTo>
                    <a:pt x="18718" y="11724"/>
                    <a:pt x="18550" y="11701"/>
                    <a:pt x="18399" y="11729"/>
                  </a:cubicBezTo>
                  <a:cubicBezTo>
                    <a:pt x="18271" y="11861"/>
                    <a:pt x="18198" y="12036"/>
                    <a:pt x="18072" y="12169"/>
                  </a:cubicBezTo>
                  <a:cubicBezTo>
                    <a:pt x="17977" y="12252"/>
                    <a:pt x="17846" y="12271"/>
                    <a:pt x="17730" y="12307"/>
                  </a:cubicBezTo>
                  <a:cubicBezTo>
                    <a:pt x="17894" y="12135"/>
                    <a:pt x="18093" y="12004"/>
                    <a:pt x="18272" y="11848"/>
                  </a:cubicBezTo>
                  <a:lnTo>
                    <a:pt x="18074" y="11757"/>
                  </a:lnTo>
                  <a:cubicBezTo>
                    <a:pt x="18279" y="11679"/>
                    <a:pt x="18485" y="11583"/>
                    <a:pt x="18711" y="11595"/>
                  </a:cubicBezTo>
                  <a:cubicBezTo>
                    <a:pt x="18850" y="11604"/>
                    <a:pt x="18996" y="11504"/>
                    <a:pt x="19014" y="11362"/>
                  </a:cubicBezTo>
                  <a:cubicBezTo>
                    <a:pt x="18979" y="11189"/>
                    <a:pt x="18802" y="11101"/>
                    <a:pt x="18671" y="11005"/>
                  </a:cubicBezTo>
                  <a:cubicBezTo>
                    <a:pt x="18536" y="10906"/>
                    <a:pt x="18364" y="10900"/>
                    <a:pt x="18203" y="10906"/>
                  </a:cubicBezTo>
                  <a:cubicBezTo>
                    <a:pt x="18143" y="11002"/>
                    <a:pt x="18082" y="11096"/>
                    <a:pt x="18015" y="11186"/>
                  </a:cubicBezTo>
                  <a:cubicBezTo>
                    <a:pt x="18045" y="11094"/>
                    <a:pt x="18079" y="11003"/>
                    <a:pt x="18113" y="10912"/>
                  </a:cubicBezTo>
                  <a:lnTo>
                    <a:pt x="17919" y="10968"/>
                  </a:lnTo>
                  <a:cubicBezTo>
                    <a:pt x="17964" y="10854"/>
                    <a:pt x="18020" y="10722"/>
                    <a:pt x="17947" y="10606"/>
                  </a:cubicBezTo>
                  <a:cubicBezTo>
                    <a:pt x="17869" y="10421"/>
                    <a:pt x="17654" y="10390"/>
                    <a:pt x="17488" y="10320"/>
                  </a:cubicBezTo>
                  <a:cubicBezTo>
                    <a:pt x="17490" y="10296"/>
                    <a:pt x="17493" y="10273"/>
                    <a:pt x="17496" y="10249"/>
                  </a:cubicBezTo>
                  <a:cubicBezTo>
                    <a:pt x="17615" y="10314"/>
                    <a:pt x="17753" y="10365"/>
                    <a:pt x="17885" y="10302"/>
                  </a:cubicBezTo>
                  <a:cubicBezTo>
                    <a:pt x="18141" y="10156"/>
                    <a:pt x="18484" y="10503"/>
                    <a:pt x="18670" y="10206"/>
                  </a:cubicBezTo>
                  <a:cubicBezTo>
                    <a:pt x="18521" y="10160"/>
                    <a:pt x="18362" y="10130"/>
                    <a:pt x="18235" y="10034"/>
                  </a:cubicBezTo>
                  <a:cubicBezTo>
                    <a:pt x="18091" y="9920"/>
                    <a:pt x="17901" y="9928"/>
                    <a:pt x="17733" y="9877"/>
                  </a:cubicBezTo>
                  <a:cubicBezTo>
                    <a:pt x="17904" y="9853"/>
                    <a:pt x="18078" y="9829"/>
                    <a:pt x="18240" y="9763"/>
                  </a:cubicBezTo>
                  <a:cubicBezTo>
                    <a:pt x="18281" y="9855"/>
                    <a:pt x="18297" y="9967"/>
                    <a:pt x="18374" y="10035"/>
                  </a:cubicBezTo>
                  <a:cubicBezTo>
                    <a:pt x="18470" y="10072"/>
                    <a:pt x="18577" y="10037"/>
                    <a:pt x="18675" y="10065"/>
                  </a:cubicBezTo>
                  <a:cubicBezTo>
                    <a:pt x="18815" y="10122"/>
                    <a:pt x="18946" y="10200"/>
                    <a:pt x="19078" y="10274"/>
                  </a:cubicBezTo>
                  <a:cubicBezTo>
                    <a:pt x="19072" y="10240"/>
                    <a:pt x="19067" y="10204"/>
                    <a:pt x="19063" y="10168"/>
                  </a:cubicBezTo>
                  <a:cubicBezTo>
                    <a:pt x="19316" y="10172"/>
                    <a:pt x="19508" y="9978"/>
                    <a:pt x="19747" y="9928"/>
                  </a:cubicBezTo>
                  <a:cubicBezTo>
                    <a:pt x="19955" y="9870"/>
                    <a:pt x="20173" y="9900"/>
                    <a:pt x="20381" y="9940"/>
                  </a:cubicBezTo>
                  <a:cubicBezTo>
                    <a:pt x="20303" y="9762"/>
                    <a:pt x="20120" y="9702"/>
                    <a:pt x="19944" y="9671"/>
                  </a:cubicBezTo>
                  <a:cubicBezTo>
                    <a:pt x="20012" y="9524"/>
                    <a:pt x="19886" y="9359"/>
                    <a:pt x="19724" y="9403"/>
                  </a:cubicBezTo>
                  <a:cubicBezTo>
                    <a:pt x="19722" y="9359"/>
                    <a:pt x="19717" y="9271"/>
                    <a:pt x="19715" y="9227"/>
                  </a:cubicBezTo>
                  <a:cubicBezTo>
                    <a:pt x="19663" y="9237"/>
                    <a:pt x="19612" y="9248"/>
                    <a:pt x="19562" y="9258"/>
                  </a:cubicBezTo>
                  <a:cubicBezTo>
                    <a:pt x="19481" y="9142"/>
                    <a:pt x="19384" y="9037"/>
                    <a:pt x="19299" y="8924"/>
                  </a:cubicBezTo>
                  <a:cubicBezTo>
                    <a:pt x="19219" y="8931"/>
                    <a:pt x="19140" y="8935"/>
                    <a:pt x="19061" y="8937"/>
                  </a:cubicBezTo>
                  <a:cubicBezTo>
                    <a:pt x="19104" y="8903"/>
                    <a:pt x="19148" y="8867"/>
                    <a:pt x="19192" y="8831"/>
                  </a:cubicBezTo>
                  <a:cubicBezTo>
                    <a:pt x="19140" y="8778"/>
                    <a:pt x="19089" y="8723"/>
                    <a:pt x="19041" y="8667"/>
                  </a:cubicBezTo>
                  <a:lnTo>
                    <a:pt x="18952" y="8688"/>
                  </a:lnTo>
                  <a:cubicBezTo>
                    <a:pt x="18937" y="8452"/>
                    <a:pt x="18709" y="8330"/>
                    <a:pt x="18511" y="8262"/>
                  </a:cubicBezTo>
                  <a:cubicBezTo>
                    <a:pt x="18351" y="8206"/>
                    <a:pt x="18193" y="8139"/>
                    <a:pt x="18043" y="8058"/>
                  </a:cubicBezTo>
                  <a:cubicBezTo>
                    <a:pt x="18027" y="8089"/>
                    <a:pt x="18012" y="8119"/>
                    <a:pt x="17997" y="8149"/>
                  </a:cubicBezTo>
                  <a:cubicBezTo>
                    <a:pt x="17816" y="7983"/>
                    <a:pt x="17577" y="7910"/>
                    <a:pt x="17375" y="7778"/>
                  </a:cubicBezTo>
                  <a:lnTo>
                    <a:pt x="17195" y="7981"/>
                  </a:lnTo>
                  <a:cubicBezTo>
                    <a:pt x="17185" y="7946"/>
                    <a:pt x="17175" y="7910"/>
                    <a:pt x="17165" y="7874"/>
                  </a:cubicBezTo>
                  <a:cubicBezTo>
                    <a:pt x="17212" y="7823"/>
                    <a:pt x="17259" y="7771"/>
                    <a:pt x="17306" y="7719"/>
                  </a:cubicBezTo>
                  <a:cubicBezTo>
                    <a:pt x="17242" y="7744"/>
                    <a:pt x="17180" y="7771"/>
                    <a:pt x="17118" y="7798"/>
                  </a:cubicBezTo>
                  <a:cubicBezTo>
                    <a:pt x="17140" y="7754"/>
                    <a:pt x="17163" y="7709"/>
                    <a:pt x="17186" y="7664"/>
                  </a:cubicBezTo>
                  <a:cubicBezTo>
                    <a:pt x="17090" y="7717"/>
                    <a:pt x="16989" y="7731"/>
                    <a:pt x="16917" y="7645"/>
                  </a:cubicBezTo>
                  <a:cubicBezTo>
                    <a:pt x="16734" y="7578"/>
                    <a:pt x="16530" y="7622"/>
                    <a:pt x="16392" y="7760"/>
                  </a:cubicBezTo>
                  <a:cubicBezTo>
                    <a:pt x="16415" y="7763"/>
                    <a:pt x="16462" y="7770"/>
                    <a:pt x="16485" y="7774"/>
                  </a:cubicBezTo>
                  <a:cubicBezTo>
                    <a:pt x="16345" y="7902"/>
                    <a:pt x="16245" y="8063"/>
                    <a:pt x="16159" y="8231"/>
                  </a:cubicBezTo>
                  <a:cubicBezTo>
                    <a:pt x="16123" y="7976"/>
                    <a:pt x="16391" y="7801"/>
                    <a:pt x="16348" y="7547"/>
                  </a:cubicBezTo>
                  <a:cubicBezTo>
                    <a:pt x="16339" y="7401"/>
                    <a:pt x="16174" y="7366"/>
                    <a:pt x="16080" y="7287"/>
                  </a:cubicBezTo>
                  <a:cubicBezTo>
                    <a:pt x="15887" y="7174"/>
                    <a:pt x="15790" y="6945"/>
                    <a:pt x="15790" y="6727"/>
                  </a:cubicBezTo>
                  <a:cubicBezTo>
                    <a:pt x="15791" y="6582"/>
                    <a:pt x="15626" y="6512"/>
                    <a:pt x="15599" y="6376"/>
                  </a:cubicBezTo>
                  <a:cubicBezTo>
                    <a:pt x="15574" y="6266"/>
                    <a:pt x="15530" y="6163"/>
                    <a:pt x="15485" y="6060"/>
                  </a:cubicBezTo>
                  <a:cubicBezTo>
                    <a:pt x="15458" y="6092"/>
                    <a:pt x="15432" y="6124"/>
                    <a:pt x="15407" y="6156"/>
                  </a:cubicBezTo>
                  <a:cubicBezTo>
                    <a:pt x="15380" y="6005"/>
                    <a:pt x="15310" y="5864"/>
                    <a:pt x="15199" y="5758"/>
                  </a:cubicBezTo>
                  <a:cubicBezTo>
                    <a:pt x="15160" y="5801"/>
                    <a:pt x="15123" y="5844"/>
                    <a:pt x="15085" y="5886"/>
                  </a:cubicBezTo>
                  <a:cubicBezTo>
                    <a:pt x="15098" y="5827"/>
                    <a:pt x="15112" y="5769"/>
                    <a:pt x="15127" y="5710"/>
                  </a:cubicBezTo>
                  <a:lnTo>
                    <a:pt x="14956" y="5782"/>
                  </a:lnTo>
                  <a:cubicBezTo>
                    <a:pt x="14961" y="5751"/>
                    <a:pt x="14967" y="5720"/>
                    <a:pt x="14973" y="5689"/>
                  </a:cubicBezTo>
                  <a:cubicBezTo>
                    <a:pt x="14861" y="5596"/>
                    <a:pt x="14771" y="5481"/>
                    <a:pt x="14672" y="5375"/>
                  </a:cubicBezTo>
                  <a:cubicBezTo>
                    <a:pt x="14645" y="5427"/>
                    <a:pt x="14617" y="5479"/>
                    <a:pt x="14589" y="5531"/>
                  </a:cubicBezTo>
                  <a:cubicBezTo>
                    <a:pt x="14561" y="5455"/>
                    <a:pt x="14534" y="5378"/>
                    <a:pt x="14506" y="5302"/>
                  </a:cubicBezTo>
                  <a:cubicBezTo>
                    <a:pt x="14483" y="5331"/>
                    <a:pt x="14460" y="5359"/>
                    <a:pt x="14438" y="5387"/>
                  </a:cubicBezTo>
                  <a:cubicBezTo>
                    <a:pt x="14421" y="5315"/>
                    <a:pt x="14404" y="5243"/>
                    <a:pt x="14384" y="5172"/>
                  </a:cubicBezTo>
                  <a:cubicBezTo>
                    <a:pt x="14367" y="5286"/>
                    <a:pt x="14347" y="5399"/>
                    <a:pt x="14329" y="5512"/>
                  </a:cubicBezTo>
                  <a:cubicBezTo>
                    <a:pt x="14318" y="5302"/>
                    <a:pt x="14211" y="5076"/>
                    <a:pt x="13983" y="5036"/>
                  </a:cubicBezTo>
                  <a:cubicBezTo>
                    <a:pt x="13960" y="5328"/>
                    <a:pt x="14085" y="5603"/>
                    <a:pt x="14292" y="5803"/>
                  </a:cubicBezTo>
                  <a:cubicBezTo>
                    <a:pt x="14160" y="5815"/>
                    <a:pt x="14030" y="5834"/>
                    <a:pt x="13900" y="5856"/>
                  </a:cubicBezTo>
                  <a:cubicBezTo>
                    <a:pt x="13949" y="5821"/>
                    <a:pt x="13999" y="5788"/>
                    <a:pt x="14051" y="5757"/>
                  </a:cubicBezTo>
                  <a:cubicBezTo>
                    <a:pt x="13998" y="5618"/>
                    <a:pt x="13962" y="5474"/>
                    <a:pt x="13925" y="5330"/>
                  </a:cubicBezTo>
                  <a:cubicBezTo>
                    <a:pt x="13870" y="5389"/>
                    <a:pt x="13814" y="5448"/>
                    <a:pt x="13759" y="5506"/>
                  </a:cubicBezTo>
                  <a:cubicBezTo>
                    <a:pt x="13809" y="5405"/>
                    <a:pt x="13875" y="5308"/>
                    <a:pt x="13903" y="5196"/>
                  </a:cubicBezTo>
                  <a:cubicBezTo>
                    <a:pt x="13829" y="5100"/>
                    <a:pt x="13706" y="5067"/>
                    <a:pt x="13603" y="5015"/>
                  </a:cubicBezTo>
                  <a:lnTo>
                    <a:pt x="13462" y="5188"/>
                  </a:lnTo>
                  <a:cubicBezTo>
                    <a:pt x="13461" y="5141"/>
                    <a:pt x="13461" y="5095"/>
                    <a:pt x="13461" y="5048"/>
                  </a:cubicBezTo>
                  <a:cubicBezTo>
                    <a:pt x="13402" y="5073"/>
                    <a:pt x="13343" y="5100"/>
                    <a:pt x="13285" y="5127"/>
                  </a:cubicBezTo>
                  <a:cubicBezTo>
                    <a:pt x="13267" y="5084"/>
                    <a:pt x="13249" y="5040"/>
                    <a:pt x="13231" y="4996"/>
                  </a:cubicBezTo>
                  <a:cubicBezTo>
                    <a:pt x="13192" y="5008"/>
                    <a:pt x="13152" y="5018"/>
                    <a:pt x="13113" y="5028"/>
                  </a:cubicBezTo>
                  <a:cubicBezTo>
                    <a:pt x="13158" y="4898"/>
                    <a:pt x="13307" y="4728"/>
                    <a:pt x="13137" y="4620"/>
                  </a:cubicBezTo>
                  <a:cubicBezTo>
                    <a:pt x="13059" y="4429"/>
                    <a:pt x="12888" y="4644"/>
                    <a:pt x="12763" y="4559"/>
                  </a:cubicBezTo>
                  <a:cubicBezTo>
                    <a:pt x="12721" y="4492"/>
                    <a:pt x="12748" y="4410"/>
                    <a:pt x="12758" y="4337"/>
                  </a:cubicBezTo>
                  <a:cubicBezTo>
                    <a:pt x="12799" y="4377"/>
                    <a:pt x="12840" y="4416"/>
                    <a:pt x="12881" y="4455"/>
                  </a:cubicBezTo>
                  <a:cubicBezTo>
                    <a:pt x="12947" y="4309"/>
                    <a:pt x="13050" y="4155"/>
                    <a:pt x="13027" y="3988"/>
                  </a:cubicBezTo>
                  <a:cubicBezTo>
                    <a:pt x="12940" y="3927"/>
                    <a:pt x="12828" y="3920"/>
                    <a:pt x="12728" y="3894"/>
                  </a:cubicBezTo>
                  <a:cubicBezTo>
                    <a:pt x="12715" y="3856"/>
                    <a:pt x="12702" y="3818"/>
                    <a:pt x="12690" y="3780"/>
                  </a:cubicBezTo>
                  <a:cubicBezTo>
                    <a:pt x="12638" y="3830"/>
                    <a:pt x="12585" y="3879"/>
                    <a:pt x="12530" y="3925"/>
                  </a:cubicBezTo>
                  <a:cubicBezTo>
                    <a:pt x="12569" y="3747"/>
                    <a:pt x="12740" y="3692"/>
                    <a:pt x="12902" y="3708"/>
                  </a:cubicBezTo>
                  <a:cubicBezTo>
                    <a:pt x="12910" y="3582"/>
                    <a:pt x="12918" y="3455"/>
                    <a:pt x="12927" y="3328"/>
                  </a:cubicBezTo>
                  <a:cubicBezTo>
                    <a:pt x="12886" y="3268"/>
                    <a:pt x="12851" y="3203"/>
                    <a:pt x="12821" y="3136"/>
                  </a:cubicBezTo>
                  <a:cubicBezTo>
                    <a:pt x="12757" y="3110"/>
                    <a:pt x="12694" y="3085"/>
                    <a:pt x="12629" y="3062"/>
                  </a:cubicBezTo>
                  <a:cubicBezTo>
                    <a:pt x="12764" y="2849"/>
                    <a:pt x="12539" y="2667"/>
                    <a:pt x="12424" y="2508"/>
                  </a:cubicBezTo>
                  <a:cubicBezTo>
                    <a:pt x="12327" y="2355"/>
                    <a:pt x="12134" y="2439"/>
                    <a:pt x="11988" y="2407"/>
                  </a:cubicBezTo>
                  <a:cubicBezTo>
                    <a:pt x="12091" y="2353"/>
                    <a:pt x="12196" y="2304"/>
                    <a:pt x="12301" y="2253"/>
                  </a:cubicBezTo>
                  <a:cubicBezTo>
                    <a:pt x="12273" y="2251"/>
                    <a:pt x="12246" y="2247"/>
                    <a:pt x="12219" y="2244"/>
                  </a:cubicBezTo>
                  <a:cubicBezTo>
                    <a:pt x="12270" y="2076"/>
                    <a:pt x="12175" y="1892"/>
                    <a:pt x="12273" y="1737"/>
                  </a:cubicBezTo>
                  <a:cubicBezTo>
                    <a:pt x="12322" y="1658"/>
                    <a:pt x="12208" y="1619"/>
                    <a:pt x="12165" y="1570"/>
                  </a:cubicBezTo>
                  <a:cubicBezTo>
                    <a:pt x="12191" y="1431"/>
                    <a:pt x="12185" y="1270"/>
                    <a:pt x="12037" y="1202"/>
                  </a:cubicBezTo>
                  <a:cubicBezTo>
                    <a:pt x="12058" y="1183"/>
                    <a:pt x="12078" y="1164"/>
                    <a:pt x="12100" y="1144"/>
                  </a:cubicBezTo>
                  <a:cubicBezTo>
                    <a:pt x="12082" y="1138"/>
                    <a:pt x="12046" y="1128"/>
                    <a:pt x="12029" y="1122"/>
                  </a:cubicBezTo>
                  <a:cubicBezTo>
                    <a:pt x="12036" y="1101"/>
                    <a:pt x="12044" y="1079"/>
                    <a:pt x="12052" y="1057"/>
                  </a:cubicBezTo>
                  <a:cubicBezTo>
                    <a:pt x="12041" y="1060"/>
                    <a:pt x="12019" y="1064"/>
                    <a:pt x="12008" y="1067"/>
                  </a:cubicBezTo>
                  <a:cubicBezTo>
                    <a:pt x="12037" y="974"/>
                    <a:pt x="12065" y="874"/>
                    <a:pt x="12040" y="777"/>
                  </a:cubicBezTo>
                  <a:cubicBezTo>
                    <a:pt x="12019" y="663"/>
                    <a:pt x="11916" y="593"/>
                    <a:pt x="11865" y="494"/>
                  </a:cubicBezTo>
                  <a:cubicBezTo>
                    <a:pt x="11859" y="390"/>
                    <a:pt x="11910" y="290"/>
                    <a:pt x="11899" y="185"/>
                  </a:cubicBezTo>
                  <a:cubicBezTo>
                    <a:pt x="11803" y="108"/>
                    <a:pt x="11688" y="63"/>
                    <a:pt x="11584" y="0"/>
                  </a:cubicBezTo>
                  <a:lnTo>
                    <a:pt x="11544" y="0"/>
                  </a:lnTo>
                  <a:cubicBezTo>
                    <a:pt x="11404" y="81"/>
                    <a:pt x="11256" y="148"/>
                    <a:pt x="11118" y="233"/>
                  </a:cubicBezTo>
                  <a:cubicBezTo>
                    <a:pt x="11014" y="301"/>
                    <a:pt x="11044" y="439"/>
                    <a:pt x="11048" y="543"/>
                  </a:cubicBezTo>
                  <a:cubicBezTo>
                    <a:pt x="10970" y="585"/>
                    <a:pt x="10899" y="638"/>
                    <a:pt x="10832" y="695"/>
                  </a:cubicBezTo>
                  <a:cubicBezTo>
                    <a:pt x="10841" y="717"/>
                    <a:pt x="10857" y="761"/>
                    <a:pt x="10865" y="782"/>
                  </a:cubicBezTo>
                  <a:lnTo>
                    <a:pt x="10535" y="717"/>
                  </a:lnTo>
                  <a:cubicBezTo>
                    <a:pt x="10634" y="767"/>
                    <a:pt x="10734" y="811"/>
                    <a:pt x="10839" y="845"/>
                  </a:cubicBezTo>
                  <a:cubicBezTo>
                    <a:pt x="10743" y="904"/>
                    <a:pt x="10647" y="965"/>
                    <a:pt x="10549" y="1019"/>
                  </a:cubicBezTo>
                  <a:cubicBezTo>
                    <a:pt x="10551" y="995"/>
                    <a:pt x="10554" y="970"/>
                    <a:pt x="10557" y="944"/>
                  </a:cubicBezTo>
                  <a:cubicBezTo>
                    <a:pt x="10503" y="903"/>
                    <a:pt x="10462" y="847"/>
                    <a:pt x="10414" y="800"/>
                  </a:cubicBezTo>
                  <a:cubicBezTo>
                    <a:pt x="10382" y="849"/>
                    <a:pt x="10355" y="900"/>
                    <a:pt x="10328" y="951"/>
                  </a:cubicBezTo>
                  <a:cubicBezTo>
                    <a:pt x="10178" y="853"/>
                    <a:pt x="10025" y="723"/>
                    <a:pt x="9830" y="788"/>
                  </a:cubicBezTo>
                  <a:cubicBezTo>
                    <a:pt x="9905" y="855"/>
                    <a:pt x="9981" y="922"/>
                    <a:pt x="10061" y="983"/>
                  </a:cubicBezTo>
                  <a:cubicBezTo>
                    <a:pt x="9860" y="1037"/>
                    <a:pt x="9708" y="1180"/>
                    <a:pt x="9574" y="1331"/>
                  </a:cubicBezTo>
                  <a:cubicBezTo>
                    <a:pt x="9602" y="1335"/>
                    <a:pt x="9630" y="1339"/>
                    <a:pt x="9659" y="1342"/>
                  </a:cubicBezTo>
                  <a:cubicBezTo>
                    <a:pt x="9450" y="1405"/>
                    <a:pt x="9435" y="1630"/>
                    <a:pt x="9397" y="1805"/>
                  </a:cubicBezTo>
                  <a:cubicBezTo>
                    <a:pt x="9360" y="1809"/>
                    <a:pt x="9324" y="1812"/>
                    <a:pt x="9288" y="1815"/>
                  </a:cubicBezTo>
                  <a:cubicBezTo>
                    <a:pt x="9333" y="1856"/>
                    <a:pt x="9379" y="1897"/>
                    <a:pt x="9425" y="1937"/>
                  </a:cubicBezTo>
                  <a:cubicBezTo>
                    <a:pt x="9100" y="1984"/>
                    <a:pt x="8986" y="2350"/>
                    <a:pt x="8991" y="2640"/>
                  </a:cubicBezTo>
                  <a:cubicBezTo>
                    <a:pt x="8912" y="2703"/>
                    <a:pt x="8809" y="2753"/>
                    <a:pt x="8769" y="2852"/>
                  </a:cubicBezTo>
                  <a:cubicBezTo>
                    <a:pt x="8713" y="3036"/>
                    <a:pt x="8616" y="3201"/>
                    <a:pt x="8508" y="3358"/>
                  </a:cubicBezTo>
                  <a:cubicBezTo>
                    <a:pt x="8559" y="3365"/>
                    <a:pt x="8610" y="3370"/>
                    <a:pt x="8662" y="3376"/>
                  </a:cubicBezTo>
                  <a:cubicBezTo>
                    <a:pt x="8605" y="3451"/>
                    <a:pt x="8548" y="3525"/>
                    <a:pt x="8490" y="3597"/>
                  </a:cubicBezTo>
                  <a:lnTo>
                    <a:pt x="8644" y="3641"/>
                  </a:lnTo>
                  <a:lnTo>
                    <a:pt x="8478" y="3741"/>
                  </a:lnTo>
                  <a:cubicBezTo>
                    <a:pt x="8548" y="3782"/>
                    <a:pt x="8618" y="3824"/>
                    <a:pt x="8686" y="3867"/>
                  </a:cubicBezTo>
                  <a:cubicBezTo>
                    <a:pt x="8688" y="3844"/>
                    <a:pt x="8691" y="3798"/>
                    <a:pt x="8692" y="3775"/>
                  </a:cubicBezTo>
                  <a:cubicBezTo>
                    <a:pt x="8784" y="3890"/>
                    <a:pt x="8949" y="4019"/>
                    <a:pt x="8831" y="4173"/>
                  </a:cubicBezTo>
                  <a:lnTo>
                    <a:pt x="8952" y="4230"/>
                  </a:lnTo>
                  <a:cubicBezTo>
                    <a:pt x="9052" y="4097"/>
                    <a:pt x="9163" y="3970"/>
                    <a:pt x="9300" y="3872"/>
                  </a:cubicBezTo>
                  <a:cubicBezTo>
                    <a:pt x="9188" y="4003"/>
                    <a:pt x="9103" y="4155"/>
                    <a:pt x="9087" y="4329"/>
                  </a:cubicBezTo>
                  <a:cubicBezTo>
                    <a:pt x="8938" y="4323"/>
                    <a:pt x="8810" y="4254"/>
                    <a:pt x="8701" y="4156"/>
                  </a:cubicBezTo>
                  <a:cubicBezTo>
                    <a:pt x="8697" y="4214"/>
                    <a:pt x="8693" y="4272"/>
                    <a:pt x="8689" y="4329"/>
                  </a:cubicBezTo>
                  <a:cubicBezTo>
                    <a:pt x="8577" y="4109"/>
                    <a:pt x="8486" y="3874"/>
                    <a:pt x="8326" y="3682"/>
                  </a:cubicBezTo>
                  <a:cubicBezTo>
                    <a:pt x="8307" y="3892"/>
                    <a:pt x="8293" y="4107"/>
                    <a:pt x="8360" y="4310"/>
                  </a:cubicBezTo>
                  <a:cubicBezTo>
                    <a:pt x="8232" y="4455"/>
                    <a:pt x="8281" y="4663"/>
                    <a:pt x="8265" y="4839"/>
                  </a:cubicBezTo>
                  <a:cubicBezTo>
                    <a:pt x="8225" y="4788"/>
                    <a:pt x="8187" y="4736"/>
                    <a:pt x="8149" y="4683"/>
                  </a:cubicBezTo>
                  <a:cubicBezTo>
                    <a:pt x="8170" y="4862"/>
                    <a:pt x="8079" y="5018"/>
                    <a:pt x="8023" y="5179"/>
                  </a:cubicBezTo>
                  <a:cubicBezTo>
                    <a:pt x="7974" y="5124"/>
                    <a:pt x="7925" y="5069"/>
                    <a:pt x="7873" y="5017"/>
                  </a:cubicBezTo>
                  <a:cubicBezTo>
                    <a:pt x="7875" y="5125"/>
                    <a:pt x="7891" y="5234"/>
                    <a:pt x="7879" y="5342"/>
                  </a:cubicBezTo>
                  <a:cubicBezTo>
                    <a:pt x="7855" y="5421"/>
                    <a:pt x="7774" y="5461"/>
                    <a:pt x="7718" y="5514"/>
                  </a:cubicBezTo>
                  <a:cubicBezTo>
                    <a:pt x="7703" y="5626"/>
                    <a:pt x="7685" y="5738"/>
                    <a:pt x="7689" y="5851"/>
                  </a:cubicBezTo>
                  <a:cubicBezTo>
                    <a:pt x="7700" y="5998"/>
                    <a:pt x="7803" y="6113"/>
                    <a:pt x="7894" y="6220"/>
                  </a:cubicBezTo>
                  <a:cubicBezTo>
                    <a:pt x="7867" y="6224"/>
                    <a:pt x="7841" y="6226"/>
                    <a:pt x="7815" y="6229"/>
                  </a:cubicBezTo>
                  <a:cubicBezTo>
                    <a:pt x="7787" y="6348"/>
                    <a:pt x="7683" y="6414"/>
                    <a:pt x="7611" y="6502"/>
                  </a:cubicBezTo>
                  <a:cubicBezTo>
                    <a:pt x="7570" y="6644"/>
                    <a:pt x="7643" y="6790"/>
                    <a:pt x="7649" y="6932"/>
                  </a:cubicBezTo>
                  <a:cubicBezTo>
                    <a:pt x="7671" y="7056"/>
                    <a:pt x="7644" y="7185"/>
                    <a:pt x="7674" y="7308"/>
                  </a:cubicBezTo>
                  <a:cubicBezTo>
                    <a:pt x="7737" y="7390"/>
                    <a:pt x="7869" y="7424"/>
                    <a:pt x="7881" y="7541"/>
                  </a:cubicBezTo>
                  <a:cubicBezTo>
                    <a:pt x="7898" y="7622"/>
                    <a:pt x="7832" y="7685"/>
                    <a:pt x="7795" y="7749"/>
                  </a:cubicBezTo>
                  <a:cubicBezTo>
                    <a:pt x="7883" y="7732"/>
                    <a:pt x="7970" y="7713"/>
                    <a:pt x="8059" y="7694"/>
                  </a:cubicBezTo>
                  <a:cubicBezTo>
                    <a:pt x="8029" y="7747"/>
                    <a:pt x="8000" y="7799"/>
                    <a:pt x="7970" y="7850"/>
                  </a:cubicBezTo>
                  <a:lnTo>
                    <a:pt x="7721" y="7851"/>
                  </a:lnTo>
                  <a:cubicBezTo>
                    <a:pt x="7790" y="7876"/>
                    <a:pt x="7860" y="7899"/>
                    <a:pt x="7931" y="7920"/>
                  </a:cubicBezTo>
                  <a:cubicBezTo>
                    <a:pt x="7905" y="7947"/>
                    <a:pt x="7879" y="7974"/>
                    <a:pt x="7853" y="8000"/>
                  </a:cubicBezTo>
                  <a:cubicBezTo>
                    <a:pt x="7886" y="8055"/>
                    <a:pt x="7918" y="8109"/>
                    <a:pt x="7950" y="8163"/>
                  </a:cubicBezTo>
                  <a:cubicBezTo>
                    <a:pt x="7965" y="8102"/>
                    <a:pt x="7983" y="8041"/>
                    <a:pt x="8002" y="7981"/>
                  </a:cubicBezTo>
                  <a:cubicBezTo>
                    <a:pt x="8044" y="8068"/>
                    <a:pt x="8105" y="8145"/>
                    <a:pt x="8152" y="8229"/>
                  </a:cubicBezTo>
                  <a:cubicBezTo>
                    <a:pt x="8069" y="8217"/>
                    <a:pt x="7986" y="8204"/>
                    <a:pt x="7903" y="8189"/>
                  </a:cubicBezTo>
                  <a:cubicBezTo>
                    <a:pt x="7922" y="8239"/>
                    <a:pt x="7942" y="8288"/>
                    <a:pt x="7962" y="8337"/>
                  </a:cubicBezTo>
                  <a:cubicBezTo>
                    <a:pt x="8159" y="8383"/>
                    <a:pt x="8340" y="8275"/>
                    <a:pt x="8440" y="8114"/>
                  </a:cubicBezTo>
                  <a:cubicBezTo>
                    <a:pt x="8547" y="8135"/>
                    <a:pt x="8690" y="8144"/>
                    <a:pt x="8717" y="8275"/>
                  </a:cubicBezTo>
                  <a:cubicBezTo>
                    <a:pt x="8732" y="8299"/>
                    <a:pt x="8747" y="8323"/>
                    <a:pt x="8763" y="8346"/>
                  </a:cubicBezTo>
                  <a:lnTo>
                    <a:pt x="8628" y="8342"/>
                  </a:lnTo>
                  <a:cubicBezTo>
                    <a:pt x="8651" y="8487"/>
                    <a:pt x="8677" y="8632"/>
                    <a:pt x="8699" y="8778"/>
                  </a:cubicBezTo>
                  <a:cubicBezTo>
                    <a:pt x="8851" y="8697"/>
                    <a:pt x="8996" y="8777"/>
                    <a:pt x="9126" y="8863"/>
                  </a:cubicBezTo>
                  <a:cubicBezTo>
                    <a:pt x="9079" y="8870"/>
                    <a:pt x="9033" y="8875"/>
                    <a:pt x="8987" y="8881"/>
                  </a:cubicBezTo>
                  <a:cubicBezTo>
                    <a:pt x="8980" y="8914"/>
                    <a:pt x="8974" y="8946"/>
                    <a:pt x="8969" y="8979"/>
                  </a:cubicBezTo>
                  <a:cubicBezTo>
                    <a:pt x="8896" y="8896"/>
                    <a:pt x="8801" y="8829"/>
                    <a:pt x="8685" y="8844"/>
                  </a:cubicBezTo>
                  <a:cubicBezTo>
                    <a:pt x="8764" y="9001"/>
                    <a:pt x="8825" y="9168"/>
                    <a:pt x="8828" y="9345"/>
                  </a:cubicBezTo>
                  <a:cubicBezTo>
                    <a:pt x="8823" y="9465"/>
                    <a:pt x="8950" y="9509"/>
                    <a:pt x="9032" y="9566"/>
                  </a:cubicBezTo>
                  <a:cubicBezTo>
                    <a:pt x="8991" y="9627"/>
                    <a:pt x="8958" y="9697"/>
                    <a:pt x="8900" y="9742"/>
                  </a:cubicBezTo>
                  <a:cubicBezTo>
                    <a:pt x="8715" y="9777"/>
                    <a:pt x="8518" y="9736"/>
                    <a:pt x="8339" y="9809"/>
                  </a:cubicBezTo>
                  <a:cubicBezTo>
                    <a:pt x="8157" y="9871"/>
                    <a:pt x="8073" y="10065"/>
                    <a:pt x="7904" y="10146"/>
                  </a:cubicBezTo>
                  <a:cubicBezTo>
                    <a:pt x="7783" y="10210"/>
                    <a:pt x="7640" y="10229"/>
                    <a:pt x="7523" y="10300"/>
                  </a:cubicBezTo>
                  <a:cubicBezTo>
                    <a:pt x="7424" y="10393"/>
                    <a:pt x="7364" y="10517"/>
                    <a:pt x="7290" y="10629"/>
                  </a:cubicBezTo>
                  <a:cubicBezTo>
                    <a:pt x="7451" y="10842"/>
                    <a:pt x="7722" y="10735"/>
                    <a:pt x="7938" y="10703"/>
                  </a:cubicBezTo>
                  <a:cubicBezTo>
                    <a:pt x="8077" y="10682"/>
                    <a:pt x="8174" y="10574"/>
                    <a:pt x="8280" y="10492"/>
                  </a:cubicBezTo>
                  <a:cubicBezTo>
                    <a:pt x="8471" y="10331"/>
                    <a:pt x="8697" y="10196"/>
                    <a:pt x="8951" y="10174"/>
                  </a:cubicBezTo>
                  <a:cubicBezTo>
                    <a:pt x="8826" y="10263"/>
                    <a:pt x="8701" y="10354"/>
                    <a:pt x="8596" y="10467"/>
                  </a:cubicBezTo>
                  <a:lnTo>
                    <a:pt x="8764" y="10421"/>
                  </a:lnTo>
                  <a:cubicBezTo>
                    <a:pt x="8789" y="10480"/>
                    <a:pt x="8818" y="10538"/>
                    <a:pt x="8849" y="10594"/>
                  </a:cubicBezTo>
                  <a:lnTo>
                    <a:pt x="8527" y="10626"/>
                  </a:lnTo>
                  <a:cubicBezTo>
                    <a:pt x="8556" y="10667"/>
                    <a:pt x="8583" y="10709"/>
                    <a:pt x="8617" y="10746"/>
                  </a:cubicBezTo>
                  <a:cubicBezTo>
                    <a:pt x="8710" y="10732"/>
                    <a:pt x="8795" y="10691"/>
                    <a:pt x="8884" y="10660"/>
                  </a:cubicBezTo>
                  <a:cubicBezTo>
                    <a:pt x="8737" y="10835"/>
                    <a:pt x="8510" y="10904"/>
                    <a:pt x="8341" y="11051"/>
                  </a:cubicBezTo>
                  <a:cubicBezTo>
                    <a:pt x="8483" y="11016"/>
                    <a:pt x="8625" y="10965"/>
                    <a:pt x="8772" y="10953"/>
                  </a:cubicBezTo>
                  <a:cubicBezTo>
                    <a:pt x="8617" y="11067"/>
                    <a:pt x="8435" y="11146"/>
                    <a:pt x="8239" y="11126"/>
                  </a:cubicBezTo>
                  <a:cubicBezTo>
                    <a:pt x="8262" y="11165"/>
                    <a:pt x="8286" y="11204"/>
                    <a:pt x="8309" y="11243"/>
                  </a:cubicBezTo>
                  <a:cubicBezTo>
                    <a:pt x="8250" y="11222"/>
                    <a:pt x="8191" y="11200"/>
                    <a:pt x="8133" y="11178"/>
                  </a:cubicBezTo>
                  <a:cubicBezTo>
                    <a:pt x="8140" y="11214"/>
                    <a:pt x="8148" y="11249"/>
                    <a:pt x="8156" y="11284"/>
                  </a:cubicBezTo>
                  <a:cubicBezTo>
                    <a:pt x="8071" y="11243"/>
                    <a:pt x="7978" y="11210"/>
                    <a:pt x="7895" y="11170"/>
                  </a:cubicBezTo>
                  <a:cubicBezTo>
                    <a:pt x="7909" y="11288"/>
                    <a:pt x="7888" y="11419"/>
                    <a:pt x="7961" y="11520"/>
                  </a:cubicBezTo>
                  <a:cubicBezTo>
                    <a:pt x="8107" y="11706"/>
                    <a:pt x="8407" y="11683"/>
                    <a:pt x="8514" y="11910"/>
                  </a:cubicBezTo>
                  <a:cubicBezTo>
                    <a:pt x="8432" y="11865"/>
                    <a:pt x="8360" y="11794"/>
                    <a:pt x="8267" y="11775"/>
                  </a:cubicBezTo>
                  <a:cubicBezTo>
                    <a:pt x="8126" y="11785"/>
                    <a:pt x="7992" y="11848"/>
                    <a:pt x="7855" y="11878"/>
                  </a:cubicBezTo>
                  <a:cubicBezTo>
                    <a:pt x="7908" y="11972"/>
                    <a:pt x="7960" y="12066"/>
                    <a:pt x="8008" y="12162"/>
                  </a:cubicBezTo>
                  <a:lnTo>
                    <a:pt x="7821" y="11988"/>
                  </a:lnTo>
                  <a:cubicBezTo>
                    <a:pt x="7813" y="12038"/>
                    <a:pt x="7806" y="12088"/>
                    <a:pt x="7799" y="12138"/>
                  </a:cubicBezTo>
                  <a:cubicBezTo>
                    <a:pt x="7748" y="12030"/>
                    <a:pt x="7703" y="11918"/>
                    <a:pt x="7630" y="11823"/>
                  </a:cubicBezTo>
                  <a:cubicBezTo>
                    <a:pt x="7586" y="11829"/>
                    <a:pt x="7543" y="11843"/>
                    <a:pt x="7501" y="11853"/>
                  </a:cubicBezTo>
                  <a:cubicBezTo>
                    <a:pt x="7534" y="11747"/>
                    <a:pt x="7565" y="11642"/>
                    <a:pt x="7597" y="11535"/>
                  </a:cubicBezTo>
                  <a:cubicBezTo>
                    <a:pt x="7401" y="11434"/>
                    <a:pt x="7186" y="11461"/>
                    <a:pt x="6978" y="11496"/>
                  </a:cubicBezTo>
                  <a:cubicBezTo>
                    <a:pt x="6922" y="11626"/>
                    <a:pt x="6865" y="11755"/>
                    <a:pt x="6796" y="11878"/>
                  </a:cubicBezTo>
                  <a:cubicBezTo>
                    <a:pt x="6864" y="11932"/>
                    <a:pt x="6934" y="11985"/>
                    <a:pt x="7003" y="12039"/>
                  </a:cubicBezTo>
                  <a:cubicBezTo>
                    <a:pt x="6950" y="12044"/>
                    <a:pt x="6897" y="12050"/>
                    <a:pt x="6844" y="12056"/>
                  </a:cubicBezTo>
                  <a:cubicBezTo>
                    <a:pt x="6838" y="12088"/>
                    <a:pt x="6832" y="12121"/>
                    <a:pt x="6827" y="12153"/>
                  </a:cubicBezTo>
                  <a:cubicBezTo>
                    <a:pt x="6956" y="12138"/>
                    <a:pt x="7086" y="12127"/>
                    <a:pt x="7216" y="12130"/>
                  </a:cubicBezTo>
                  <a:lnTo>
                    <a:pt x="6875" y="12243"/>
                  </a:lnTo>
                  <a:cubicBezTo>
                    <a:pt x="7007" y="12403"/>
                    <a:pt x="7125" y="12575"/>
                    <a:pt x="7202" y="12768"/>
                  </a:cubicBezTo>
                  <a:cubicBezTo>
                    <a:pt x="7112" y="12636"/>
                    <a:pt x="7010" y="12499"/>
                    <a:pt x="6844" y="12463"/>
                  </a:cubicBezTo>
                  <a:cubicBezTo>
                    <a:pt x="6911" y="12550"/>
                    <a:pt x="6985" y="12632"/>
                    <a:pt x="7059" y="12713"/>
                  </a:cubicBezTo>
                  <a:lnTo>
                    <a:pt x="6872" y="12838"/>
                  </a:lnTo>
                  <a:cubicBezTo>
                    <a:pt x="6959" y="13025"/>
                    <a:pt x="7237" y="13009"/>
                    <a:pt x="7266" y="13231"/>
                  </a:cubicBezTo>
                  <a:cubicBezTo>
                    <a:pt x="7201" y="13181"/>
                    <a:pt x="7138" y="13130"/>
                    <a:pt x="7074" y="13078"/>
                  </a:cubicBezTo>
                  <a:cubicBezTo>
                    <a:pt x="7081" y="13118"/>
                    <a:pt x="7088" y="13156"/>
                    <a:pt x="7096" y="13195"/>
                  </a:cubicBezTo>
                  <a:cubicBezTo>
                    <a:pt x="7029" y="13129"/>
                    <a:pt x="6958" y="13064"/>
                    <a:pt x="6875" y="13018"/>
                  </a:cubicBezTo>
                  <a:cubicBezTo>
                    <a:pt x="6864" y="13071"/>
                    <a:pt x="6854" y="13122"/>
                    <a:pt x="6845" y="13174"/>
                  </a:cubicBezTo>
                  <a:cubicBezTo>
                    <a:pt x="6938" y="13274"/>
                    <a:pt x="7060" y="13422"/>
                    <a:pt x="7194" y="13287"/>
                  </a:cubicBezTo>
                  <a:cubicBezTo>
                    <a:pt x="7334" y="13402"/>
                    <a:pt x="7251" y="13571"/>
                    <a:pt x="7119" y="13647"/>
                  </a:cubicBezTo>
                  <a:cubicBezTo>
                    <a:pt x="7097" y="13588"/>
                    <a:pt x="7076" y="13528"/>
                    <a:pt x="7054" y="13469"/>
                  </a:cubicBezTo>
                  <a:cubicBezTo>
                    <a:pt x="6980" y="13535"/>
                    <a:pt x="6848" y="13590"/>
                    <a:pt x="6866" y="13710"/>
                  </a:cubicBezTo>
                  <a:cubicBezTo>
                    <a:pt x="6908" y="13791"/>
                    <a:pt x="6992" y="13837"/>
                    <a:pt x="7065" y="13888"/>
                  </a:cubicBezTo>
                  <a:cubicBezTo>
                    <a:pt x="7002" y="13958"/>
                    <a:pt x="6965" y="14044"/>
                    <a:pt x="6926" y="14129"/>
                  </a:cubicBezTo>
                  <a:cubicBezTo>
                    <a:pt x="6879" y="14225"/>
                    <a:pt x="6774" y="14269"/>
                    <a:pt x="6687" y="14320"/>
                  </a:cubicBezTo>
                  <a:cubicBezTo>
                    <a:pt x="6703" y="14342"/>
                    <a:pt x="6719" y="14363"/>
                    <a:pt x="6736" y="14384"/>
                  </a:cubicBezTo>
                  <a:cubicBezTo>
                    <a:pt x="6806" y="14342"/>
                    <a:pt x="6877" y="14300"/>
                    <a:pt x="6949" y="14259"/>
                  </a:cubicBezTo>
                  <a:cubicBezTo>
                    <a:pt x="6884" y="14347"/>
                    <a:pt x="6813" y="14431"/>
                    <a:pt x="6740" y="14512"/>
                  </a:cubicBezTo>
                  <a:cubicBezTo>
                    <a:pt x="6759" y="14591"/>
                    <a:pt x="6779" y="14670"/>
                    <a:pt x="6795" y="14749"/>
                  </a:cubicBezTo>
                  <a:cubicBezTo>
                    <a:pt x="6726" y="14708"/>
                    <a:pt x="6658" y="14665"/>
                    <a:pt x="6590" y="14621"/>
                  </a:cubicBezTo>
                  <a:cubicBezTo>
                    <a:pt x="6590" y="14663"/>
                    <a:pt x="6591" y="14705"/>
                    <a:pt x="6591" y="14746"/>
                  </a:cubicBezTo>
                  <a:lnTo>
                    <a:pt x="6401" y="14685"/>
                  </a:lnTo>
                  <a:cubicBezTo>
                    <a:pt x="6434" y="14745"/>
                    <a:pt x="6465" y="14806"/>
                    <a:pt x="6496" y="14866"/>
                  </a:cubicBezTo>
                  <a:lnTo>
                    <a:pt x="6902" y="14776"/>
                  </a:lnTo>
                  <a:cubicBezTo>
                    <a:pt x="6809" y="14854"/>
                    <a:pt x="6704" y="14930"/>
                    <a:pt x="6657" y="15046"/>
                  </a:cubicBezTo>
                  <a:cubicBezTo>
                    <a:pt x="6599" y="15146"/>
                    <a:pt x="6652" y="15260"/>
                    <a:pt x="6675" y="15362"/>
                  </a:cubicBezTo>
                  <a:cubicBezTo>
                    <a:pt x="6535" y="15261"/>
                    <a:pt x="6379" y="15184"/>
                    <a:pt x="6207" y="15159"/>
                  </a:cubicBezTo>
                  <a:cubicBezTo>
                    <a:pt x="6349" y="15253"/>
                    <a:pt x="6497" y="15338"/>
                    <a:pt x="6626" y="15449"/>
                  </a:cubicBezTo>
                  <a:lnTo>
                    <a:pt x="6460" y="15505"/>
                  </a:lnTo>
                  <a:cubicBezTo>
                    <a:pt x="6547" y="15531"/>
                    <a:pt x="6639" y="15554"/>
                    <a:pt x="6728" y="15579"/>
                  </a:cubicBezTo>
                  <a:lnTo>
                    <a:pt x="6425" y="15636"/>
                  </a:lnTo>
                  <a:lnTo>
                    <a:pt x="6586" y="15704"/>
                  </a:lnTo>
                  <a:cubicBezTo>
                    <a:pt x="6434" y="15712"/>
                    <a:pt x="6282" y="15711"/>
                    <a:pt x="6130" y="15718"/>
                  </a:cubicBezTo>
                  <a:cubicBezTo>
                    <a:pt x="6303" y="15818"/>
                    <a:pt x="6504" y="15853"/>
                    <a:pt x="6662" y="15712"/>
                  </a:cubicBezTo>
                  <a:cubicBezTo>
                    <a:pt x="6574" y="15861"/>
                    <a:pt x="6467" y="16002"/>
                    <a:pt x="6308" y="16082"/>
                  </a:cubicBezTo>
                  <a:cubicBezTo>
                    <a:pt x="6337" y="16142"/>
                    <a:pt x="6375" y="16199"/>
                    <a:pt x="6391" y="16264"/>
                  </a:cubicBezTo>
                  <a:cubicBezTo>
                    <a:pt x="6274" y="16434"/>
                    <a:pt x="6059" y="16496"/>
                    <a:pt x="5887" y="16596"/>
                  </a:cubicBezTo>
                  <a:cubicBezTo>
                    <a:pt x="5907" y="16647"/>
                    <a:pt x="5927" y="16697"/>
                    <a:pt x="5948" y="16747"/>
                  </a:cubicBezTo>
                  <a:cubicBezTo>
                    <a:pt x="5870" y="16850"/>
                    <a:pt x="5804" y="16963"/>
                    <a:pt x="5764" y="17086"/>
                  </a:cubicBezTo>
                  <a:cubicBezTo>
                    <a:pt x="5734" y="17076"/>
                    <a:pt x="5703" y="17067"/>
                    <a:pt x="5674" y="17057"/>
                  </a:cubicBezTo>
                  <a:cubicBezTo>
                    <a:pt x="5732" y="17142"/>
                    <a:pt x="5879" y="17209"/>
                    <a:pt x="5837" y="17329"/>
                  </a:cubicBezTo>
                  <a:cubicBezTo>
                    <a:pt x="5810" y="17433"/>
                    <a:pt x="5772" y="17534"/>
                    <a:pt x="5741" y="17637"/>
                  </a:cubicBezTo>
                  <a:cubicBezTo>
                    <a:pt x="5665" y="17652"/>
                    <a:pt x="5582" y="17649"/>
                    <a:pt x="5511" y="17684"/>
                  </a:cubicBezTo>
                  <a:cubicBezTo>
                    <a:pt x="5465" y="17744"/>
                    <a:pt x="5461" y="17824"/>
                    <a:pt x="5442" y="17894"/>
                  </a:cubicBezTo>
                  <a:lnTo>
                    <a:pt x="5286" y="17875"/>
                  </a:lnTo>
                  <a:cubicBezTo>
                    <a:pt x="5171" y="18005"/>
                    <a:pt x="5067" y="18148"/>
                    <a:pt x="4920" y="18244"/>
                  </a:cubicBezTo>
                  <a:cubicBezTo>
                    <a:pt x="4755" y="18400"/>
                    <a:pt x="4509" y="18373"/>
                    <a:pt x="4329" y="18501"/>
                  </a:cubicBezTo>
                  <a:cubicBezTo>
                    <a:pt x="4237" y="18579"/>
                    <a:pt x="4121" y="18530"/>
                    <a:pt x="4021" y="18501"/>
                  </a:cubicBezTo>
                  <a:lnTo>
                    <a:pt x="3967" y="18639"/>
                  </a:lnTo>
                  <a:cubicBezTo>
                    <a:pt x="3920" y="18624"/>
                    <a:pt x="3874" y="18608"/>
                    <a:pt x="3827" y="18592"/>
                  </a:cubicBezTo>
                  <a:cubicBezTo>
                    <a:pt x="3845" y="18630"/>
                    <a:pt x="3862" y="18667"/>
                    <a:pt x="3880" y="18705"/>
                  </a:cubicBezTo>
                  <a:cubicBezTo>
                    <a:pt x="3845" y="18710"/>
                    <a:pt x="3811" y="18714"/>
                    <a:pt x="3776" y="18718"/>
                  </a:cubicBezTo>
                  <a:cubicBezTo>
                    <a:pt x="3707" y="18572"/>
                    <a:pt x="3661" y="18394"/>
                    <a:pt x="3499" y="18324"/>
                  </a:cubicBezTo>
                  <a:cubicBezTo>
                    <a:pt x="3469" y="18451"/>
                    <a:pt x="3443" y="18579"/>
                    <a:pt x="3416" y="18706"/>
                  </a:cubicBezTo>
                  <a:cubicBezTo>
                    <a:pt x="3382" y="18627"/>
                    <a:pt x="3336" y="18555"/>
                    <a:pt x="3272" y="18496"/>
                  </a:cubicBezTo>
                  <a:cubicBezTo>
                    <a:pt x="3280" y="18442"/>
                    <a:pt x="3289" y="18388"/>
                    <a:pt x="3299" y="18334"/>
                  </a:cubicBezTo>
                  <a:cubicBezTo>
                    <a:pt x="3252" y="18353"/>
                    <a:pt x="3205" y="18375"/>
                    <a:pt x="3155" y="18386"/>
                  </a:cubicBezTo>
                  <a:cubicBezTo>
                    <a:pt x="3052" y="18338"/>
                    <a:pt x="3001" y="18218"/>
                    <a:pt x="2900" y="18173"/>
                  </a:cubicBezTo>
                  <a:cubicBezTo>
                    <a:pt x="2706" y="18228"/>
                    <a:pt x="2838" y="18426"/>
                    <a:pt x="2885" y="18546"/>
                  </a:cubicBezTo>
                  <a:lnTo>
                    <a:pt x="2665" y="18583"/>
                  </a:lnTo>
                  <a:cubicBezTo>
                    <a:pt x="2629" y="18475"/>
                    <a:pt x="2590" y="18369"/>
                    <a:pt x="2556" y="18260"/>
                  </a:cubicBezTo>
                  <a:cubicBezTo>
                    <a:pt x="2489" y="18366"/>
                    <a:pt x="2429" y="18479"/>
                    <a:pt x="2343" y="18570"/>
                  </a:cubicBezTo>
                  <a:cubicBezTo>
                    <a:pt x="2297" y="18525"/>
                    <a:pt x="2253" y="18473"/>
                    <a:pt x="2233" y="18411"/>
                  </a:cubicBezTo>
                  <a:cubicBezTo>
                    <a:pt x="2281" y="18300"/>
                    <a:pt x="2364" y="18210"/>
                    <a:pt x="2439" y="18116"/>
                  </a:cubicBezTo>
                  <a:cubicBezTo>
                    <a:pt x="2195" y="18183"/>
                    <a:pt x="1862" y="18124"/>
                    <a:pt x="1693" y="18351"/>
                  </a:cubicBezTo>
                  <a:cubicBezTo>
                    <a:pt x="1572" y="18507"/>
                    <a:pt x="1410" y="18622"/>
                    <a:pt x="1279" y="18767"/>
                  </a:cubicBezTo>
                  <a:cubicBezTo>
                    <a:pt x="1461" y="18939"/>
                    <a:pt x="1667" y="19115"/>
                    <a:pt x="1932" y="19120"/>
                  </a:cubicBezTo>
                  <a:cubicBezTo>
                    <a:pt x="1932" y="19178"/>
                    <a:pt x="1935" y="19236"/>
                    <a:pt x="1943" y="19294"/>
                  </a:cubicBezTo>
                  <a:cubicBezTo>
                    <a:pt x="1650" y="19220"/>
                    <a:pt x="1345" y="19264"/>
                    <a:pt x="1090" y="19430"/>
                  </a:cubicBezTo>
                  <a:cubicBezTo>
                    <a:pt x="1133" y="19537"/>
                    <a:pt x="1177" y="19643"/>
                    <a:pt x="1220" y="19750"/>
                  </a:cubicBezTo>
                  <a:cubicBezTo>
                    <a:pt x="1106" y="19674"/>
                    <a:pt x="1038" y="19436"/>
                    <a:pt x="870" y="19481"/>
                  </a:cubicBezTo>
                  <a:cubicBezTo>
                    <a:pt x="768" y="19521"/>
                    <a:pt x="789" y="19633"/>
                    <a:pt x="805" y="19718"/>
                  </a:cubicBezTo>
                  <a:cubicBezTo>
                    <a:pt x="728" y="19753"/>
                    <a:pt x="647" y="19785"/>
                    <a:pt x="580" y="19838"/>
                  </a:cubicBezTo>
                  <a:cubicBezTo>
                    <a:pt x="565" y="19977"/>
                    <a:pt x="685" y="20065"/>
                    <a:pt x="800" y="20110"/>
                  </a:cubicBezTo>
                  <a:cubicBezTo>
                    <a:pt x="790" y="20136"/>
                    <a:pt x="781" y="20161"/>
                    <a:pt x="773" y="20186"/>
                  </a:cubicBezTo>
                  <a:cubicBezTo>
                    <a:pt x="1154" y="20370"/>
                    <a:pt x="1543" y="20096"/>
                    <a:pt x="1933" y="20139"/>
                  </a:cubicBezTo>
                  <a:cubicBezTo>
                    <a:pt x="1783" y="20203"/>
                    <a:pt x="1632" y="20262"/>
                    <a:pt x="1483" y="20328"/>
                  </a:cubicBezTo>
                  <a:cubicBezTo>
                    <a:pt x="1652" y="20421"/>
                    <a:pt x="1827" y="20518"/>
                    <a:pt x="2023" y="20530"/>
                  </a:cubicBezTo>
                  <a:cubicBezTo>
                    <a:pt x="2196" y="20532"/>
                    <a:pt x="2360" y="20471"/>
                    <a:pt x="2520" y="20412"/>
                  </a:cubicBezTo>
                  <a:cubicBezTo>
                    <a:pt x="2511" y="20472"/>
                    <a:pt x="2502" y="20533"/>
                    <a:pt x="2494" y="20593"/>
                  </a:cubicBezTo>
                  <a:cubicBezTo>
                    <a:pt x="2567" y="20609"/>
                    <a:pt x="2641" y="20623"/>
                    <a:pt x="2710" y="20652"/>
                  </a:cubicBezTo>
                  <a:cubicBezTo>
                    <a:pt x="2714" y="20876"/>
                    <a:pt x="2544" y="21041"/>
                    <a:pt x="2344" y="21109"/>
                  </a:cubicBezTo>
                  <a:cubicBezTo>
                    <a:pt x="2288" y="21018"/>
                    <a:pt x="2241" y="20919"/>
                    <a:pt x="2166" y="20842"/>
                  </a:cubicBezTo>
                  <a:cubicBezTo>
                    <a:pt x="2075" y="20754"/>
                    <a:pt x="1931" y="20793"/>
                    <a:pt x="1821" y="20777"/>
                  </a:cubicBezTo>
                  <a:cubicBezTo>
                    <a:pt x="1761" y="20886"/>
                    <a:pt x="1691" y="20989"/>
                    <a:pt x="1616" y="21086"/>
                  </a:cubicBezTo>
                  <a:cubicBezTo>
                    <a:pt x="1628" y="20981"/>
                    <a:pt x="1703" y="20861"/>
                    <a:pt x="1653" y="20759"/>
                  </a:cubicBezTo>
                  <a:cubicBezTo>
                    <a:pt x="1464" y="20575"/>
                    <a:pt x="1220" y="20775"/>
                    <a:pt x="1028" y="20848"/>
                  </a:cubicBezTo>
                  <a:cubicBezTo>
                    <a:pt x="1147" y="20954"/>
                    <a:pt x="1271" y="21056"/>
                    <a:pt x="1386" y="21167"/>
                  </a:cubicBezTo>
                  <a:cubicBezTo>
                    <a:pt x="1204" y="21134"/>
                    <a:pt x="1023" y="21108"/>
                    <a:pt x="841" y="21083"/>
                  </a:cubicBezTo>
                  <a:cubicBezTo>
                    <a:pt x="947" y="21185"/>
                    <a:pt x="1050" y="21289"/>
                    <a:pt x="1162" y="21384"/>
                  </a:cubicBezTo>
                  <a:lnTo>
                    <a:pt x="1040" y="21444"/>
                  </a:lnTo>
                  <a:cubicBezTo>
                    <a:pt x="921" y="21315"/>
                    <a:pt x="762" y="21234"/>
                    <a:pt x="585" y="21228"/>
                  </a:cubicBezTo>
                  <a:cubicBezTo>
                    <a:pt x="599" y="21301"/>
                    <a:pt x="615" y="21373"/>
                    <a:pt x="632" y="21445"/>
                  </a:cubicBezTo>
                  <a:lnTo>
                    <a:pt x="480" y="21424"/>
                  </a:lnTo>
                  <a:cubicBezTo>
                    <a:pt x="485" y="21464"/>
                    <a:pt x="490" y="21503"/>
                    <a:pt x="495" y="21543"/>
                  </a:cubicBezTo>
                  <a:lnTo>
                    <a:pt x="311" y="21495"/>
                  </a:lnTo>
                  <a:cubicBezTo>
                    <a:pt x="216" y="21654"/>
                    <a:pt x="115" y="21809"/>
                    <a:pt x="0" y="21955"/>
                  </a:cubicBezTo>
                  <a:cubicBezTo>
                    <a:pt x="48" y="22182"/>
                    <a:pt x="23" y="22418"/>
                    <a:pt x="92" y="22640"/>
                  </a:cubicBezTo>
                  <a:cubicBezTo>
                    <a:pt x="102" y="22680"/>
                    <a:pt x="137" y="22706"/>
                    <a:pt x="172" y="22725"/>
                  </a:cubicBezTo>
                  <a:cubicBezTo>
                    <a:pt x="425" y="22854"/>
                    <a:pt x="716" y="22910"/>
                    <a:pt x="942" y="23088"/>
                  </a:cubicBezTo>
                  <a:cubicBezTo>
                    <a:pt x="1136" y="23232"/>
                    <a:pt x="1359" y="23326"/>
                    <a:pt x="1579" y="23420"/>
                  </a:cubicBezTo>
                  <a:cubicBezTo>
                    <a:pt x="1546" y="23475"/>
                    <a:pt x="1512" y="23530"/>
                    <a:pt x="1479" y="23585"/>
                  </a:cubicBezTo>
                  <a:cubicBezTo>
                    <a:pt x="1691" y="23768"/>
                    <a:pt x="1960" y="23860"/>
                    <a:pt x="2212" y="23971"/>
                  </a:cubicBezTo>
                  <a:cubicBezTo>
                    <a:pt x="2367" y="24041"/>
                    <a:pt x="2529" y="23950"/>
                    <a:pt x="2687" y="23945"/>
                  </a:cubicBezTo>
                  <a:cubicBezTo>
                    <a:pt x="2881" y="24181"/>
                    <a:pt x="3032" y="24450"/>
                    <a:pt x="3158" y="24727"/>
                  </a:cubicBezTo>
                  <a:cubicBezTo>
                    <a:pt x="3246" y="24911"/>
                    <a:pt x="3148" y="25114"/>
                    <a:pt x="3134" y="25302"/>
                  </a:cubicBezTo>
                  <a:cubicBezTo>
                    <a:pt x="3095" y="25490"/>
                    <a:pt x="3119" y="25683"/>
                    <a:pt x="3132" y="25873"/>
                  </a:cubicBezTo>
                  <a:cubicBezTo>
                    <a:pt x="3315" y="25939"/>
                    <a:pt x="3480" y="26044"/>
                    <a:pt x="3632" y="26164"/>
                  </a:cubicBezTo>
                  <a:lnTo>
                    <a:pt x="3495" y="26266"/>
                  </a:lnTo>
                  <a:cubicBezTo>
                    <a:pt x="3451" y="26189"/>
                    <a:pt x="3415" y="26103"/>
                    <a:pt x="3350" y="26040"/>
                  </a:cubicBezTo>
                  <a:cubicBezTo>
                    <a:pt x="3254" y="25992"/>
                    <a:pt x="3146" y="26036"/>
                    <a:pt x="3050" y="26060"/>
                  </a:cubicBezTo>
                  <a:cubicBezTo>
                    <a:pt x="2968" y="25999"/>
                    <a:pt x="2891" y="25890"/>
                    <a:pt x="2779" y="25900"/>
                  </a:cubicBezTo>
                  <a:cubicBezTo>
                    <a:pt x="2704" y="25960"/>
                    <a:pt x="2655" y="26045"/>
                    <a:pt x="2578" y="26102"/>
                  </a:cubicBezTo>
                  <a:cubicBezTo>
                    <a:pt x="2489" y="26098"/>
                    <a:pt x="2404" y="26069"/>
                    <a:pt x="2318" y="26049"/>
                  </a:cubicBezTo>
                  <a:cubicBezTo>
                    <a:pt x="2233" y="26223"/>
                    <a:pt x="2138" y="26403"/>
                    <a:pt x="2136" y="26602"/>
                  </a:cubicBezTo>
                  <a:cubicBezTo>
                    <a:pt x="2132" y="26738"/>
                    <a:pt x="2264" y="26820"/>
                    <a:pt x="2331" y="26922"/>
                  </a:cubicBezTo>
                  <a:cubicBezTo>
                    <a:pt x="2501" y="27126"/>
                    <a:pt x="2582" y="27443"/>
                    <a:pt x="2876" y="27509"/>
                  </a:cubicBezTo>
                  <a:cubicBezTo>
                    <a:pt x="2851" y="27534"/>
                    <a:pt x="2826" y="27559"/>
                    <a:pt x="2802" y="27584"/>
                  </a:cubicBezTo>
                  <a:cubicBezTo>
                    <a:pt x="2904" y="27647"/>
                    <a:pt x="3016" y="27697"/>
                    <a:pt x="3109" y="27773"/>
                  </a:cubicBezTo>
                  <a:cubicBezTo>
                    <a:pt x="3265" y="27942"/>
                    <a:pt x="3196" y="28256"/>
                    <a:pt x="3426" y="28370"/>
                  </a:cubicBezTo>
                  <a:cubicBezTo>
                    <a:pt x="3617" y="28467"/>
                    <a:pt x="3635" y="28697"/>
                    <a:pt x="3713" y="28874"/>
                  </a:cubicBezTo>
                  <a:cubicBezTo>
                    <a:pt x="4129" y="28809"/>
                    <a:pt x="4371" y="28425"/>
                    <a:pt x="4467" y="28045"/>
                  </a:cubicBezTo>
                  <a:lnTo>
                    <a:pt x="4888" y="28122"/>
                  </a:lnTo>
                  <a:cubicBezTo>
                    <a:pt x="4756" y="28437"/>
                    <a:pt x="4539" y="28715"/>
                    <a:pt x="4435" y="29041"/>
                  </a:cubicBezTo>
                  <a:cubicBezTo>
                    <a:pt x="4362" y="29263"/>
                    <a:pt x="4579" y="29441"/>
                    <a:pt x="4575" y="29655"/>
                  </a:cubicBezTo>
                  <a:cubicBezTo>
                    <a:pt x="4503" y="29901"/>
                    <a:pt x="4339" y="30125"/>
                    <a:pt x="4360" y="30394"/>
                  </a:cubicBezTo>
                  <a:cubicBezTo>
                    <a:pt x="4500" y="30546"/>
                    <a:pt x="4715" y="30587"/>
                    <a:pt x="4902" y="30653"/>
                  </a:cubicBezTo>
                  <a:cubicBezTo>
                    <a:pt x="5032" y="30380"/>
                    <a:pt x="5124" y="30085"/>
                    <a:pt x="5294" y="29834"/>
                  </a:cubicBezTo>
                  <a:cubicBezTo>
                    <a:pt x="5424" y="29666"/>
                    <a:pt x="5621" y="29949"/>
                    <a:pt x="5776" y="29835"/>
                  </a:cubicBezTo>
                  <a:cubicBezTo>
                    <a:pt x="5865" y="29750"/>
                    <a:pt x="5940" y="29652"/>
                    <a:pt x="6023" y="29562"/>
                  </a:cubicBezTo>
                  <a:cubicBezTo>
                    <a:pt x="5926" y="29778"/>
                    <a:pt x="5766" y="29956"/>
                    <a:pt x="5555" y="30066"/>
                  </a:cubicBezTo>
                  <a:cubicBezTo>
                    <a:pt x="5364" y="30158"/>
                    <a:pt x="5283" y="30361"/>
                    <a:pt x="5166" y="30522"/>
                  </a:cubicBezTo>
                  <a:cubicBezTo>
                    <a:pt x="5056" y="30665"/>
                    <a:pt x="4901" y="30768"/>
                    <a:pt x="4803" y="30921"/>
                  </a:cubicBezTo>
                  <a:cubicBezTo>
                    <a:pt x="5229" y="31143"/>
                    <a:pt x="5641" y="31504"/>
                    <a:pt x="6155" y="31447"/>
                  </a:cubicBezTo>
                  <a:cubicBezTo>
                    <a:pt x="6161" y="31481"/>
                    <a:pt x="6167" y="31515"/>
                    <a:pt x="6174" y="31550"/>
                  </a:cubicBezTo>
                  <a:lnTo>
                    <a:pt x="6434" y="31587"/>
                  </a:lnTo>
                  <a:cubicBezTo>
                    <a:pt x="6548" y="31763"/>
                    <a:pt x="6745" y="31833"/>
                    <a:pt x="6925" y="31919"/>
                  </a:cubicBezTo>
                  <a:cubicBezTo>
                    <a:pt x="6937" y="31825"/>
                    <a:pt x="6965" y="31735"/>
                    <a:pt x="6999" y="31648"/>
                  </a:cubicBezTo>
                  <a:cubicBezTo>
                    <a:pt x="7217" y="31143"/>
                    <a:pt x="7194" y="30569"/>
                    <a:pt x="7121" y="30034"/>
                  </a:cubicBezTo>
                  <a:cubicBezTo>
                    <a:pt x="7232" y="30090"/>
                    <a:pt x="7373" y="30150"/>
                    <a:pt x="7389" y="30290"/>
                  </a:cubicBezTo>
                  <a:cubicBezTo>
                    <a:pt x="7408" y="30479"/>
                    <a:pt x="7399" y="30669"/>
                    <a:pt x="7402" y="30858"/>
                  </a:cubicBezTo>
                  <a:cubicBezTo>
                    <a:pt x="7630" y="30828"/>
                    <a:pt x="7867" y="30804"/>
                    <a:pt x="8066" y="30676"/>
                  </a:cubicBezTo>
                  <a:cubicBezTo>
                    <a:pt x="8258" y="30601"/>
                    <a:pt x="8355" y="30411"/>
                    <a:pt x="8482" y="30262"/>
                  </a:cubicBezTo>
                  <a:cubicBezTo>
                    <a:pt x="8410" y="30430"/>
                    <a:pt x="8333" y="30596"/>
                    <a:pt x="8261" y="30764"/>
                  </a:cubicBezTo>
                  <a:cubicBezTo>
                    <a:pt x="8465" y="30688"/>
                    <a:pt x="8676" y="30624"/>
                    <a:pt x="8869" y="30520"/>
                  </a:cubicBezTo>
                  <a:cubicBezTo>
                    <a:pt x="8860" y="30620"/>
                    <a:pt x="8894" y="30738"/>
                    <a:pt x="8818" y="30817"/>
                  </a:cubicBezTo>
                  <a:cubicBezTo>
                    <a:pt x="8613" y="31067"/>
                    <a:pt x="8400" y="31345"/>
                    <a:pt x="8380" y="31681"/>
                  </a:cubicBezTo>
                  <a:cubicBezTo>
                    <a:pt x="8347" y="31928"/>
                    <a:pt x="8279" y="32169"/>
                    <a:pt x="8230" y="32413"/>
                  </a:cubicBezTo>
                  <a:cubicBezTo>
                    <a:pt x="8430" y="32410"/>
                    <a:pt x="8636" y="32432"/>
                    <a:pt x="8834" y="32393"/>
                  </a:cubicBezTo>
                  <a:cubicBezTo>
                    <a:pt x="8981" y="32303"/>
                    <a:pt x="9050" y="32132"/>
                    <a:pt x="9155" y="32001"/>
                  </a:cubicBezTo>
                  <a:cubicBezTo>
                    <a:pt x="9286" y="31774"/>
                    <a:pt x="9592" y="31695"/>
                    <a:pt x="9650" y="31418"/>
                  </a:cubicBezTo>
                  <a:cubicBezTo>
                    <a:pt x="9800" y="31356"/>
                    <a:pt x="9966" y="31316"/>
                    <a:pt x="10097" y="31216"/>
                  </a:cubicBezTo>
                  <a:cubicBezTo>
                    <a:pt x="10255" y="31074"/>
                    <a:pt x="10233" y="30832"/>
                    <a:pt x="10359" y="30669"/>
                  </a:cubicBezTo>
                  <a:cubicBezTo>
                    <a:pt x="10503" y="30482"/>
                    <a:pt x="10639" y="30272"/>
                    <a:pt x="10859" y="30166"/>
                  </a:cubicBezTo>
                  <a:cubicBezTo>
                    <a:pt x="10868" y="30377"/>
                    <a:pt x="10845" y="30587"/>
                    <a:pt x="10837" y="30798"/>
                  </a:cubicBezTo>
                  <a:cubicBezTo>
                    <a:pt x="10571" y="30933"/>
                    <a:pt x="10567" y="31266"/>
                    <a:pt x="10391" y="31475"/>
                  </a:cubicBezTo>
                  <a:cubicBezTo>
                    <a:pt x="10249" y="31648"/>
                    <a:pt x="10057" y="31773"/>
                    <a:pt x="9922" y="31952"/>
                  </a:cubicBezTo>
                  <a:cubicBezTo>
                    <a:pt x="9810" y="32252"/>
                    <a:pt x="9690" y="32548"/>
                    <a:pt x="9571" y="32845"/>
                  </a:cubicBezTo>
                  <a:cubicBezTo>
                    <a:pt x="9710" y="32827"/>
                    <a:pt x="9848" y="32806"/>
                    <a:pt x="9987" y="32781"/>
                  </a:cubicBezTo>
                  <a:cubicBezTo>
                    <a:pt x="9965" y="32832"/>
                    <a:pt x="9943" y="32882"/>
                    <a:pt x="9922" y="32932"/>
                  </a:cubicBezTo>
                  <a:cubicBezTo>
                    <a:pt x="10399" y="32919"/>
                    <a:pt x="10638" y="32443"/>
                    <a:pt x="10793" y="32057"/>
                  </a:cubicBezTo>
                  <a:cubicBezTo>
                    <a:pt x="10870" y="31861"/>
                    <a:pt x="10678" y="31729"/>
                    <a:pt x="10613" y="31568"/>
                  </a:cubicBezTo>
                  <a:cubicBezTo>
                    <a:pt x="10601" y="31404"/>
                    <a:pt x="10708" y="31260"/>
                    <a:pt x="10815" y="31147"/>
                  </a:cubicBezTo>
                  <a:cubicBezTo>
                    <a:pt x="10760" y="31297"/>
                    <a:pt x="10681" y="31452"/>
                    <a:pt x="10720" y="31617"/>
                  </a:cubicBezTo>
                  <a:cubicBezTo>
                    <a:pt x="10750" y="31704"/>
                    <a:pt x="10835" y="31802"/>
                    <a:pt x="10936" y="31771"/>
                  </a:cubicBezTo>
                  <a:cubicBezTo>
                    <a:pt x="11173" y="31706"/>
                    <a:pt x="11398" y="31603"/>
                    <a:pt x="11635" y="31536"/>
                  </a:cubicBezTo>
                  <a:cubicBezTo>
                    <a:pt x="11522" y="31741"/>
                    <a:pt x="11290" y="31718"/>
                    <a:pt x="11111" y="31809"/>
                  </a:cubicBezTo>
                  <a:cubicBezTo>
                    <a:pt x="11024" y="31942"/>
                    <a:pt x="11001" y="32108"/>
                    <a:pt x="10911" y="32241"/>
                  </a:cubicBezTo>
                  <a:cubicBezTo>
                    <a:pt x="10744" y="32594"/>
                    <a:pt x="10442" y="32875"/>
                    <a:pt x="10339" y="33257"/>
                  </a:cubicBezTo>
                  <a:cubicBezTo>
                    <a:pt x="10786" y="33206"/>
                    <a:pt x="11234" y="33220"/>
                    <a:pt x="11683" y="33247"/>
                  </a:cubicBezTo>
                  <a:cubicBezTo>
                    <a:pt x="11771" y="32996"/>
                    <a:pt x="11832" y="32738"/>
                    <a:pt x="11842" y="32472"/>
                  </a:cubicBezTo>
                  <a:cubicBezTo>
                    <a:pt x="11957" y="32702"/>
                    <a:pt x="11861" y="32930"/>
                    <a:pt x="11791" y="33151"/>
                  </a:cubicBezTo>
                  <a:cubicBezTo>
                    <a:pt x="12108" y="33131"/>
                    <a:pt x="12152" y="32771"/>
                    <a:pt x="12360" y="32601"/>
                  </a:cubicBezTo>
                  <a:cubicBezTo>
                    <a:pt x="12541" y="32458"/>
                    <a:pt x="12517" y="32205"/>
                    <a:pt x="12587" y="32006"/>
                  </a:cubicBezTo>
                  <a:cubicBezTo>
                    <a:pt x="12578" y="32290"/>
                    <a:pt x="12530" y="32573"/>
                    <a:pt x="12539" y="32858"/>
                  </a:cubicBezTo>
                  <a:cubicBezTo>
                    <a:pt x="12539" y="32918"/>
                    <a:pt x="12533" y="32990"/>
                    <a:pt x="12473" y="33023"/>
                  </a:cubicBezTo>
                  <a:cubicBezTo>
                    <a:pt x="12216" y="33181"/>
                    <a:pt x="11954" y="33332"/>
                    <a:pt x="11696" y="33488"/>
                  </a:cubicBezTo>
                  <a:cubicBezTo>
                    <a:pt x="11410" y="33541"/>
                    <a:pt x="11126" y="33457"/>
                    <a:pt x="10857" y="33370"/>
                  </a:cubicBezTo>
                  <a:cubicBezTo>
                    <a:pt x="11095" y="33703"/>
                    <a:pt x="10679" y="33967"/>
                    <a:pt x="10470" y="34162"/>
                  </a:cubicBezTo>
                  <a:cubicBezTo>
                    <a:pt x="10535" y="34363"/>
                    <a:pt x="10737" y="34481"/>
                    <a:pt x="10941" y="34482"/>
                  </a:cubicBezTo>
                  <a:cubicBezTo>
                    <a:pt x="11095" y="34454"/>
                    <a:pt x="11228" y="34361"/>
                    <a:pt x="11370" y="34300"/>
                  </a:cubicBezTo>
                  <a:cubicBezTo>
                    <a:pt x="11277" y="34451"/>
                    <a:pt x="11124" y="34546"/>
                    <a:pt x="10980" y="34642"/>
                  </a:cubicBezTo>
                  <a:cubicBezTo>
                    <a:pt x="11264" y="34674"/>
                    <a:pt x="11538" y="34606"/>
                    <a:pt x="11814" y="34551"/>
                  </a:cubicBezTo>
                  <a:cubicBezTo>
                    <a:pt x="11793" y="34464"/>
                    <a:pt x="11771" y="34376"/>
                    <a:pt x="11751" y="34288"/>
                  </a:cubicBezTo>
                  <a:cubicBezTo>
                    <a:pt x="11791" y="34338"/>
                    <a:pt x="11831" y="34389"/>
                    <a:pt x="11872" y="34439"/>
                  </a:cubicBezTo>
                  <a:cubicBezTo>
                    <a:pt x="12011" y="34263"/>
                    <a:pt x="12132" y="34070"/>
                    <a:pt x="12304" y="33923"/>
                  </a:cubicBezTo>
                  <a:cubicBezTo>
                    <a:pt x="12499" y="33811"/>
                    <a:pt x="12746" y="33817"/>
                    <a:pt x="12916" y="33656"/>
                  </a:cubicBezTo>
                  <a:cubicBezTo>
                    <a:pt x="12895" y="33769"/>
                    <a:pt x="12882" y="33883"/>
                    <a:pt x="12870" y="33997"/>
                  </a:cubicBezTo>
                  <a:cubicBezTo>
                    <a:pt x="13088" y="34025"/>
                    <a:pt x="13351" y="33959"/>
                    <a:pt x="13531" y="34114"/>
                  </a:cubicBezTo>
                  <a:cubicBezTo>
                    <a:pt x="13656" y="34196"/>
                    <a:pt x="13818" y="34190"/>
                    <a:pt x="13960" y="34229"/>
                  </a:cubicBezTo>
                  <a:cubicBezTo>
                    <a:pt x="13843" y="34256"/>
                    <a:pt x="13730" y="34277"/>
                    <a:pt x="13617" y="34313"/>
                  </a:cubicBezTo>
                  <a:cubicBezTo>
                    <a:pt x="13767" y="34504"/>
                    <a:pt x="14013" y="34567"/>
                    <a:pt x="14236" y="34628"/>
                  </a:cubicBezTo>
                  <a:cubicBezTo>
                    <a:pt x="14054" y="34750"/>
                    <a:pt x="13848" y="34821"/>
                    <a:pt x="13638" y="34877"/>
                  </a:cubicBezTo>
                  <a:cubicBezTo>
                    <a:pt x="13603" y="35083"/>
                    <a:pt x="13660" y="35294"/>
                    <a:pt x="13635" y="35502"/>
                  </a:cubicBezTo>
                  <a:cubicBezTo>
                    <a:pt x="13712" y="35449"/>
                    <a:pt x="13801" y="35423"/>
                    <a:pt x="13892" y="35459"/>
                  </a:cubicBezTo>
                  <a:cubicBezTo>
                    <a:pt x="13942" y="35434"/>
                    <a:pt x="13991" y="35408"/>
                    <a:pt x="14042" y="35382"/>
                  </a:cubicBezTo>
                  <a:cubicBezTo>
                    <a:pt x="13941" y="35550"/>
                    <a:pt x="13914" y="35748"/>
                    <a:pt x="14038" y="35908"/>
                  </a:cubicBezTo>
                  <a:cubicBezTo>
                    <a:pt x="14238" y="35753"/>
                    <a:pt x="14424" y="35577"/>
                    <a:pt x="14554" y="35357"/>
                  </a:cubicBezTo>
                  <a:cubicBezTo>
                    <a:pt x="14551" y="35561"/>
                    <a:pt x="14442" y="35742"/>
                    <a:pt x="14417" y="35937"/>
                  </a:cubicBezTo>
                  <a:cubicBezTo>
                    <a:pt x="14540" y="36121"/>
                    <a:pt x="14787" y="36016"/>
                    <a:pt x="14972" y="36035"/>
                  </a:cubicBezTo>
                  <a:cubicBezTo>
                    <a:pt x="15104" y="36017"/>
                    <a:pt x="15167" y="36152"/>
                    <a:pt x="15246" y="36230"/>
                  </a:cubicBezTo>
                  <a:lnTo>
                    <a:pt x="15246" y="36230"/>
                  </a:ln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9" name="Svalbard">
              <a:extLst>
                <a:ext uri="{FF2B5EF4-FFF2-40B4-BE49-F238E27FC236}">
                  <a16:creationId xmlns:a16="http://schemas.microsoft.com/office/drawing/2014/main" id="{3BD93495-CB24-E41A-9795-9676D00622F1}"/>
                </a:ext>
              </a:extLst>
            </p:cNvPr>
            <p:cNvSpPr>
              <a:spLocks/>
            </p:cNvSpPr>
            <p:nvPr/>
          </p:nvSpPr>
          <p:spPr bwMode="auto">
            <a:xfrm>
              <a:off x="6077025" y="1220849"/>
              <a:ext cx="395746" cy="482488"/>
            </a:xfrm>
            <a:custGeom>
              <a:avLst/>
              <a:gdLst/>
              <a:ahLst/>
              <a:cxnLst/>
              <a:rect l="l" t="t" r="r" b="b"/>
              <a:pathLst>
                <a:path w="398901" h="486334">
                  <a:moveTo>
                    <a:pt x="276864" y="302365"/>
                  </a:moveTo>
                  <a:lnTo>
                    <a:pt x="296900" y="302365"/>
                  </a:lnTo>
                  <a:lnTo>
                    <a:pt x="304186" y="313294"/>
                  </a:lnTo>
                  <a:lnTo>
                    <a:pt x="298722" y="335152"/>
                  </a:lnTo>
                  <a:lnTo>
                    <a:pt x="338794" y="362474"/>
                  </a:lnTo>
                  <a:lnTo>
                    <a:pt x="338794" y="366117"/>
                  </a:lnTo>
                  <a:lnTo>
                    <a:pt x="287793" y="413475"/>
                  </a:lnTo>
                  <a:lnTo>
                    <a:pt x="280507" y="408011"/>
                  </a:lnTo>
                  <a:lnTo>
                    <a:pt x="287793" y="384331"/>
                  </a:lnTo>
                  <a:lnTo>
                    <a:pt x="280507" y="384331"/>
                  </a:lnTo>
                  <a:lnTo>
                    <a:pt x="265935" y="386153"/>
                  </a:lnTo>
                  <a:lnTo>
                    <a:pt x="249542" y="391617"/>
                  </a:lnTo>
                  <a:lnTo>
                    <a:pt x="242256" y="391617"/>
                  </a:lnTo>
                  <a:lnTo>
                    <a:pt x="242256" y="389796"/>
                  </a:lnTo>
                  <a:lnTo>
                    <a:pt x="260471" y="340616"/>
                  </a:lnTo>
                  <a:lnTo>
                    <a:pt x="245899" y="322401"/>
                  </a:lnTo>
                  <a:lnTo>
                    <a:pt x="242256" y="318758"/>
                  </a:lnTo>
                  <a:lnTo>
                    <a:pt x="245899" y="318758"/>
                  </a:lnTo>
                  <a:close/>
                  <a:moveTo>
                    <a:pt x="250457" y="250806"/>
                  </a:moveTo>
                  <a:lnTo>
                    <a:pt x="270487" y="250806"/>
                  </a:lnTo>
                  <a:lnTo>
                    <a:pt x="277777" y="261741"/>
                  </a:lnTo>
                  <a:lnTo>
                    <a:pt x="282335" y="294523"/>
                  </a:lnTo>
                  <a:lnTo>
                    <a:pt x="245904" y="304539"/>
                  </a:lnTo>
                  <a:lnTo>
                    <a:pt x="234066" y="289064"/>
                  </a:lnTo>
                  <a:cubicBezTo>
                    <a:pt x="232846" y="280864"/>
                    <a:pt x="231636" y="272659"/>
                    <a:pt x="230416" y="264459"/>
                  </a:cubicBezTo>
                  <a:close/>
                  <a:moveTo>
                    <a:pt x="139341" y="60109"/>
                  </a:moveTo>
                  <a:lnTo>
                    <a:pt x="169396" y="81967"/>
                  </a:lnTo>
                  <a:lnTo>
                    <a:pt x="183056" y="117485"/>
                  </a:lnTo>
                  <a:lnTo>
                    <a:pt x="204914" y="136611"/>
                  </a:lnTo>
                  <a:lnTo>
                    <a:pt x="204914" y="177593"/>
                  </a:lnTo>
                  <a:lnTo>
                    <a:pt x="240433" y="202184"/>
                  </a:lnTo>
                  <a:lnTo>
                    <a:pt x="267755" y="224041"/>
                  </a:lnTo>
                  <a:lnTo>
                    <a:pt x="267755" y="240434"/>
                  </a:lnTo>
                  <a:lnTo>
                    <a:pt x="221308" y="240434"/>
                  </a:lnTo>
                  <a:lnTo>
                    <a:pt x="199450" y="303275"/>
                  </a:lnTo>
                  <a:lnTo>
                    <a:pt x="198541" y="303585"/>
                  </a:lnTo>
                  <a:lnTo>
                    <a:pt x="198541" y="329688"/>
                  </a:lnTo>
                  <a:lnTo>
                    <a:pt x="187613" y="333331"/>
                  </a:lnTo>
                  <a:lnTo>
                    <a:pt x="182149" y="389796"/>
                  </a:lnTo>
                  <a:lnTo>
                    <a:pt x="182149" y="391618"/>
                  </a:lnTo>
                  <a:lnTo>
                    <a:pt x="169398" y="395261"/>
                  </a:lnTo>
                  <a:lnTo>
                    <a:pt x="174863" y="400724"/>
                  </a:lnTo>
                  <a:lnTo>
                    <a:pt x="174863" y="402546"/>
                  </a:lnTo>
                  <a:lnTo>
                    <a:pt x="173041" y="402546"/>
                  </a:lnTo>
                  <a:lnTo>
                    <a:pt x="163934" y="411653"/>
                  </a:lnTo>
                  <a:lnTo>
                    <a:pt x="163934" y="446262"/>
                  </a:lnTo>
                  <a:lnTo>
                    <a:pt x="153005" y="459013"/>
                  </a:lnTo>
                  <a:lnTo>
                    <a:pt x="153005" y="484513"/>
                  </a:lnTo>
                  <a:lnTo>
                    <a:pt x="136611" y="486334"/>
                  </a:lnTo>
                  <a:lnTo>
                    <a:pt x="134789" y="486334"/>
                  </a:lnTo>
                  <a:lnTo>
                    <a:pt x="118397" y="455369"/>
                  </a:lnTo>
                  <a:lnTo>
                    <a:pt x="118397" y="451726"/>
                  </a:lnTo>
                  <a:lnTo>
                    <a:pt x="134789" y="440797"/>
                  </a:lnTo>
                  <a:lnTo>
                    <a:pt x="91074" y="428047"/>
                  </a:lnTo>
                  <a:lnTo>
                    <a:pt x="89253" y="424404"/>
                  </a:lnTo>
                  <a:lnTo>
                    <a:pt x="80145" y="386153"/>
                  </a:lnTo>
                  <a:lnTo>
                    <a:pt x="80145" y="384332"/>
                  </a:lnTo>
                  <a:lnTo>
                    <a:pt x="89253" y="384332"/>
                  </a:lnTo>
                  <a:lnTo>
                    <a:pt x="96539" y="386153"/>
                  </a:lnTo>
                  <a:lnTo>
                    <a:pt x="109289" y="386153"/>
                  </a:lnTo>
                  <a:lnTo>
                    <a:pt x="118397" y="389796"/>
                  </a:lnTo>
                  <a:lnTo>
                    <a:pt x="123861" y="389796"/>
                  </a:lnTo>
                  <a:lnTo>
                    <a:pt x="98360" y="371581"/>
                  </a:lnTo>
                  <a:lnTo>
                    <a:pt x="98360" y="367938"/>
                  </a:lnTo>
                  <a:lnTo>
                    <a:pt x="102003" y="367938"/>
                  </a:lnTo>
                  <a:lnTo>
                    <a:pt x="147540" y="355188"/>
                  </a:lnTo>
                  <a:lnTo>
                    <a:pt x="147540" y="344259"/>
                  </a:lnTo>
                  <a:lnTo>
                    <a:pt x="78325" y="362474"/>
                  </a:lnTo>
                  <a:lnTo>
                    <a:pt x="73688" y="334655"/>
                  </a:lnTo>
                  <a:lnTo>
                    <a:pt x="71036" y="333330"/>
                  </a:lnTo>
                  <a:lnTo>
                    <a:pt x="73768" y="314204"/>
                  </a:lnTo>
                  <a:lnTo>
                    <a:pt x="92894" y="314204"/>
                  </a:lnTo>
                  <a:lnTo>
                    <a:pt x="117483" y="289614"/>
                  </a:lnTo>
                  <a:lnTo>
                    <a:pt x="144806" y="278685"/>
                  </a:lnTo>
                  <a:lnTo>
                    <a:pt x="142074" y="254095"/>
                  </a:lnTo>
                  <a:lnTo>
                    <a:pt x="128412" y="267756"/>
                  </a:lnTo>
                  <a:lnTo>
                    <a:pt x="109288" y="265023"/>
                  </a:lnTo>
                  <a:lnTo>
                    <a:pt x="117483" y="232237"/>
                  </a:lnTo>
                  <a:lnTo>
                    <a:pt x="101091" y="237702"/>
                  </a:lnTo>
                  <a:lnTo>
                    <a:pt x="101091" y="273220"/>
                  </a:lnTo>
                  <a:lnTo>
                    <a:pt x="81965" y="300543"/>
                  </a:lnTo>
                  <a:lnTo>
                    <a:pt x="68304" y="292346"/>
                  </a:lnTo>
                  <a:lnTo>
                    <a:pt x="51911" y="273220"/>
                  </a:lnTo>
                  <a:lnTo>
                    <a:pt x="57376" y="262291"/>
                  </a:lnTo>
                  <a:lnTo>
                    <a:pt x="38250" y="251363"/>
                  </a:lnTo>
                  <a:lnTo>
                    <a:pt x="13660" y="218576"/>
                  </a:lnTo>
                  <a:lnTo>
                    <a:pt x="40982" y="210379"/>
                  </a:lnTo>
                  <a:lnTo>
                    <a:pt x="30053" y="183058"/>
                  </a:lnTo>
                  <a:lnTo>
                    <a:pt x="16392" y="191255"/>
                  </a:lnTo>
                  <a:lnTo>
                    <a:pt x="10929" y="180326"/>
                  </a:lnTo>
                  <a:lnTo>
                    <a:pt x="0" y="133878"/>
                  </a:lnTo>
                  <a:lnTo>
                    <a:pt x="16392" y="114753"/>
                  </a:lnTo>
                  <a:lnTo>
                    <a:pt x="27321" y="90162"/>
                  </a:lnTo>
                  <a:lnTo>
                    <a:pt x="40982" y="109288"/>
                  </a:lnTo>
                  <a:lnTo>
                    <a:pt x="46447" y="95627"/>
                  </a:lnTo>
                  <a:lnTo>
                    <a:pt x="81965" y="87430"/>
                  </a:lnTo>
                  <a:lnTo>
                    <a:pt x="54644" y="128414"/>
                  </a:lnTo>
                  <a:lnTo>
                    <a:pt x="76501" y="136611"/>
                  </a:lnTo>
                  <a:lnTo>
                    <a:pt x="103823" y="95627"/>
                  </a:lnTo>
                  <a:lnTo>
                    <a:pt x="131145" y="177593"/>
                  </a:lnTo>
                  <a:lnTo>
                    <a:pt x="131145" y="133878"/>
                  </a:lnTo>
                  <a:lnTo>
                    <a:pt x="120217" y="95627"/>
                  </a:lnTo>
                  <a:close/>
                  <a:moveTo>
                    <a:pt x="221308" y="0"/>
                  </a:moveTo>
                  <a:lnTo>
                    <a:pt x="254095" y="35518"/>
                  </a:lnTo>
                  <a:lnTo>
                    <a:pt x="289613" y="62841"/>
                  </a:lnTo>
                  <a:lnTo>
                    <a:pt x="275952" y="2732"/>
                  </a:lnTo>
                  <a:lnTo>
                    <a:pt x="336060" y="27323"/>
                  </a:lnTo>
                  <a:lnTo>
                    <a:pt x="393437" y="46447"/>
                  </a:lnTo>
                  <a:lnTo>
                    <a:pt x="398901" y="81967"/>
                  </a:lnTo>
                  <a:lnTo>
                    <a:pt x="366115" y="122949"/>
                  </a:lnTo>
                  <a:lnTo>
                    <a:pt x="366115" y="147539"/>
                  </a:lnTo>
                  <a:lnTo>
                    <a:pt x="316936" y="172129"/>
                  </a:lnTo>
                  <a:lnTo>
                    <a:pt x="284149" y="147539"/>
                  </a:lnTo>
                  <a:lnTo>
                    <a:pt x="240434" y="155735"/>
                  </a:lnTo>
                  <a:lnTo>
                    <a:pt x="218576" y="128414"/>
                  </a:lnTo>
                  <a:lnTo>
                    <a:pt x="265024" y="109288"/>
                  </a:lnTo>
                  <a:lnTo>
                    <a:pt x="259559" y="95627"/>
                  </a:lnTo>
                  <a:lnTo>
                    <a:pt x="204914" y="109288"/>
                  </a:lnTo>
                  <a:lnTo>
                    <a:pt x="172128" y="62841"/>
                  </a:lnTo>
                  <a:lnTo>
                    <a:pt x="191253" y="43715"/>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0" name="Iceland">
              <a:extLst>
                <a:ext uri="{FF2B5EF4-FFF2-40B4-BE49-F238E27FC236}">
                  <a16:creationId xmlns:a16="http://schemas.microsoft.com/office/drawing/2014/main" id="{762B5B32-019B-F418-295D-AC345865F71A}"/>
                </a:ext>
              </a:extLst>
            </p:cNvPr>
            <p:cNvSpPr>
              <a:spLocks/>
            </p:cNvSpPr>
            <p:nvPr/>
          </p:nvSpPr>
          <p:spPr bwMode="auto">
            <a:xfrm>
              <a:off x="5245778" y="2467723"/>
              <a:ext cx="262024" cy="178900"/>
            </a:xfrm>
            <a:custGeom>
              <a:avLst/>
              <a:gdLst>
                <a:gd name="T0" fmla="*/ 110 w 145"/>
                <a:gd name="T1" fmla="*/ 0 h 99"/>
                <a:gd name="T2" fmla="*/ 129 w 145"/>
                <a:gd name="T3" fmla="*/ 4 h 99"/>
                <a:gd name="T4" fmla="*/ 131 w 145"/>
                <a:gd name="T5" fmla="*/ 6 h 99"/>
                <a:gd name="T6" fmla="*/ 129 w 145"/>
                <a:gd name="T7" fmla="*/ 15 h 99"/>
                <a:gd name="T8" fmla="*/ 138 w 145"/>
                <a:gd name="T9" fmla="*/ 28 h 99"/>
                <a:gd name="T10" fmla="*/ 142 w 145"/>
                <a:gd name="T11" fmla="*/ 35 h 99"/>
                <a:gd name="T12" fmla="*/ 145 w 145"/>
                <a:gd name="T13" fmla="*/ 41 h 99"/>
                <a:gd name="T14" fmla="*/ 142 w 145"/>
                <a:gd name="T15" fmla="*/ 52 h 99"/>
                <a:gd name="T16" fmla="*/ 137 w 145"/>
                <a:gd name="T17" fmla="*/ 59 h 99"/>
                <a:gd name="T18" fmla="*/ 128 w 145"/>
                <a:gd name="T19" fmla="*/ 72 h 99"/>
                <a:gd name="T20" fmla="*/ 122 w 145"/>
                <a:gd name="T21" fmla="*/ 68 h 99"/>
                <a:gd name="T22" fmla="*/ 98 w 145"/>
                <a:gd name="T23" fmla="*/ 83 h 99"/>
                <a:gd name="T24" fmla="*/ 77 w 145"/>
                <a:gd name="T25" fmla="*/ 99 h 99"/>
                <a:gd name="T26" fmla="*/ 45 w 145"/>
                <a:gd name="T27" fmla="*/ 84 h 99"/>
                <a:gd name="T28" fmla="*/ 33 w 145"/>
                <a:gd name="T29" fmla="*/ 86 h 99"/>
                <a:gd name="T30" fmla="*/ 24 w 145"/>
                <a:gd name="T31" fmla="*/ 78 h 99"/>
                <a:gd name="T32" fmla="*/ 25 w 145"/>
                <a:gd name="T33" fmla="*/ 77 h 99"/>
                <a:gd name="T34" fmla="*/ 36 w 145"/>
                <a:gd name="T35" fmla="*/ 70 h 99"/>
                <a:gd name="T36" fmla="*/ 31 w 145"/>
                <a:gd name="T37" fmla="*/ 71 h 99"/>
                <a:gd name="T38" fmla="*/ 34 w 145"/>
                <a:gd name="T39" fmla="*/ 65 h 99"/>
                <a:gd name="T40" fmla="*/ 25 w 145"/>
                <a:gd name="T41" fmla="*/ 55 h 99"/>
                <a:gd name="T42" fmla="*/ 15 w 145"/>
                <a:gd name="T43" fmla="*/ 56 h 99"/>
                <a:gd name="T44" fmla="*/ 9 w 145"/>
                <a:gd name="T45" fmla="*/ 55 h 99"/>
                <a:gd name="T46" fmla="*/ 36 w 145"/>
                <a:gd name="T47" fmla="*/ 47 h 99"/>
                <a:gd name="T48" fmla="*/ 33 w 145"/>
                <a:gd name="T49" fmla="*/ 44 h 99"/>
                <a:gd name="T50" fmla="*/ 27 w 145"/>
                <a:gd name="T51" fmla="*/ 46 h 99"/>
                <a:gd name="T52" fmla="*/ 36 w 145"/>
                <a:gd name="T53" fmla="*/ 35 h 99"/>
                <a:gd name="T54" fmla="*/ 22 w 145"/>
                <a:gd name="T55" fmla="*/ 31 h 99"/>
                <a:gd name="T56" fmla="*/ 6 w 145"/>
                <a:gd name="T57" fmla="*/ 35 h 99"/>
                <a:gd name="T58" fmla="*/ 0 w 145"/>
                <a:gd name="T59" fmla="*/ 34 h 99"/>
                <a:gd name="T60" fmla="*/ 3 w 145"/>
                <a:gd name="T61" fmla="*/ 28 h 99"/>
                <a:gd name="T62" fmla="*/ 5 w 145"/>
                <a:gd name="T63" fmla="*/ 25 h 99"/>
                <a:gd name="T64" fmla="*/ 6 w 145"/>
                <a:gd name="T65" fmla="*/ 24 h 99"/>
                <a:gd name="T66" fmla="*/ 11 w 145"/>
                <a:gd name="T67" fmla="*/ 22 h 99"/>
                <a:gd name="T68" fmla="*/ 9 w 145"/>
                <a:gd name="T69" fmla="*/ 16 h 99"/>
                <a:gd name="T70" fmla="*/ 12 w 145"/>
                <a:gd name="T71" fmla="*/ 15 h 99"/>
                <a:gd name="T72" fmla="*/ 13 w 145"/>
                <a:gd name="T73" fmla="*/ 13 h 99"/>
                <a:gd name="T74" fmla="*/ 28 w 145"/>
                <a:gd name="T75" fmla="*/ 15 h 99"/>
                <a:gd name="T76" fmla="*/ 22 w 145"/>
                <a:gd name="T77" fmla="*/ 10 h 99"/>
                <a:gd name="T78" fmla="*/ 19 w 145"/>
                <a:gd name="T79" fmla="*/ 9 h 99"/>
                <a:gd name="T80" fmla="*/ 18 w 145"/>
                <a:gd name="T81" fmla="*/ 7 h 99"/>
                <a:gd name="T82" fmla="*/ 28 w 145"/>
                <a:gd name="T83" fmla="*/ 3 h 99"/>
                <a:gd name="T84" fmla="*/ 40 w 145"/>
                <a:gd name="T85" fmla="*/ 21 h 99"/>
                <a:gd name="T86" fmla="*/ 39 w 145"/>
                <a:gd name="T87" fmla="*/ 27 h 99"/>
                <a:gd name="T88" fmla="*/ 45 w 145"/>
                <a:gd name="T89" fmla="*/ 40 h 99"/>
                <a:gd name="T90" fmla="*/ 49 w 145"/>
                <a:gd name="T91" fmla="*/ 28 h 99"/>
                <a:gd name="T92" fmla="*/ 55 w 145"/>
                <a:gd name="T93" fmla="*/ 31 h 99"/>
                <a:gd name="T94" fmla="*/ 56 w 145"/>
                <a:gd name="T95" fmla="*/ 13 h 99"/>
                <a:gd name="T96" fmla="*/ 67 w 145"/>
                <a:gd name="T97" fmla="*/ 16 h 99"/>
                <a:gd name="T98" fmla="*/ 76 w 145"/>
                <a:gd name="T99" fmla="*/ 10 h 99"/>
                <a:gd name="T100" fmla="*/ 77 w 145"/>
                <a:gd name="T101" fmla="*/ 12 h 99"/>
                <a:gd name="T102" fmla="*/ 82 w 145"/>
                <a:gd name="T103" fmla="*/ 12 h 99"/>
                <a:gd name="T104" fmla="*/ 91 w 145"/>
                <a:gd name="T105" fmla="*/ 18 h 99"/>
                <a:gd name="T106" fmla="*/ 107 w 145"/>
                <a:gd name="T107" fmla="*/ 12 h 99"/>
                <a:gd name="T108" fmla="*/ 104 w 145"/>
                <a:gd name="T109" fmla="*/ 1 h 99"/>
                <a:gd name="T110" fmla="*/ 108 w 145"/>
                <a:gd name="T111"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 h="99">
                  <a:moveTo>
                    <a:pt x="108" y="0"/>
                  </a:moveTo>
                  <a:lnTo>
                    <a:pt x="110" y="0"/>
                  </a:lnTo>
                  <a:lnTo>
                    <a:pt x="119" y="12"/>
                  </a:lnTo>
                  <a:lnTo>
                    <a:pt x="129" y="4"/>
                  </a:lnTo>
                  <a:lnTo>
                    <a:pt x="131" y="4"/>
                  </a:lnTo>
                  <a:lnTo>
                    <a:pt x="131" y="6"/>
                  </a:lnTo>
                  <a:lnTo>
                    <a:pt x="126" y="15"/>
                  </a:lnTo>
                  <a:lnTo>
                    <a:pt x="129" y="15"/>
                  </a:lnTo>
                  <a:lnTo>
                    <a:pt x="129" y="27"/>
                  </a:lnTo>
                  <a:lnTo>
                    <a:pt x="138" y="28"/>
                  </a:lnTo>
                  <a:lnTo>
                    <a:pt x="139" y="28"/>
                  </a:lnTo>
                  <a:lnTo>
                    <a:pt x="142" y="35"/>
                  </a:lnTo>
                  <a:lnTo>
                    <a:pt x="142" y="40"/>
                  </a:lnTo>
                  <a:lnTo>
                    <a:pt x="145" y="41"/>
                  </a:lnTo>
                  <a:lnTo>
                    <a:pt x="145" y="43"/>
                  </a:lnTo>
                  <a:lnTo>
                    <a:pt x="142" y="52"/>
                  </a:lnTo>
                  <a:lnTo>
                    <a:pt x="134" y="58"/>
                  </a:lnTo>
                  <a:lnTo>
                    <a:pt x="137" y="59"/>
                  </a:lnTo>
                  <a:lnTo>
                    <a:pt x="137" y="61"/>
                  </a:lnTo>
                  <a:lnTo>
                    <a:pt x="128" y="72"/>
                  </a:lnTo>
                  <a:lnTo>
                    <a:pt x="126" y="72"/>
                  </a:lnTo>
                  <a:lnTo>
                    <a:pt x="122" y="68"/>
                  </a:lnTo>
                  <a:lnTo>
                    <a:pt x="108" y="81"/>
                  </a:lnTo>
                  <a:lnTo>
                    <a:pt x="98" y="83"/>
                  </a:lnTo>
                  <a:lnTo>
                    <a:pt x="79" y="99"/>
                  </a:lnTo>
                  <a:lnTo>
                    <a:pt x="77" y="99"/>
                  </a:lnTo>
                  <a:lnTo>
                    <a:pt x="61" y="95"/>
                  </a:lnTo>
                  <a:lnTo>
                    <a:pt x="45" y="84"/>
                  </a:lnTo>
                  <a:lnTo>
                    <a:pt x="37" y="84"/>
                  </a:lnTo>
                  <a:lnTo>
                    <a:pt x="33" y="86"/>
                  </a:lnTo>
                  <a:lnTo>
                    <a:pt x="25" y="86"/>
                  </a:lnTo>
                  <a:lnTo>
                    <a:pt x="24" y="78"/>
                  </a:lnTo>
                  <a:lnTo>
                    <a:pt x="24" y="77"/>
                  </a:lnTo>
                  <a:lnTo>
                    <a:pt x="25" y="77"/>
                  </a:lnTo>
                  <a:lnTo>
                    <a:pt x="36" y="74"/>
                  </a:lnTo>
                  <a:lnTo>
                    <a:pt x="36" y="70"/>
                  </a:lnTo>
                  <a:lnTo>
                    <a:pt x="33" y="71"/>
                  </a:lnTo>
                  <a:lnTo>
                    <a:pt x="31" y="71"/>
                  </a:lnTo>
                  <a:lnTo>
                    <a:pt x="31" y="70"/>
                  </a:lnTo>
                  <a:lnTo>
                    <a:pt x="34" y="65"/>
                  </a:lnTo>
                  <a:lnTo>
                    <a:pt x="33" y="65"/>
                  </a:lnTo>
                  <a:lnTo>
                    <a:pt x="25" y="55"/>
                  </a:lnTo>
                  <a:lnTo>
                    <a:pt x="19" y="55"/>
                  </a:lnTo>
                  <a:lnTo>
                    <a:pt x="15" y="56"/>
                  </a:lnTo>
                  <a:lnTo>
                    <a:pt x="9" y="56"/>
                  </a:lnTo>
                  <a:lnTo>
                    <a:pt x="9" y="55"/>
                  </a:lnTo>
                  <a:lnTo>
                    <a:pt x="24" y="47"/>
                  </a:lnTo>
                  <a:lnTo>
                    <a:pt x="36" y="47"/>
                  </a:lnTo>
                  <a:lnTo>
                    <a:pt x="36" y="44"/>
                  </a:lnTo>
                  <a:lnTo>
                    <a:pt x="33" y="44"/>
                  </a:lnTo>
                  <a:lnTo>
                    <a:pt x="31" y="46"/>
                  </a:lnTo>
                  <a:lnTo>
                    <a:pt x="27" y="46"/>
                  </a:lnTo>
                  <a:lnTo>
                    <a:pt x="27" y="44"/>
                  </a:lnTo>
                  <a:lnTo>
                    <a:pt x="36" y="35"/>
                  </a:lnTo>
                  <a:lnTo>
                    <a:pt x="27" y="31"/>
                  </a:lnTo>
                  <a:lnTo>
                    <a:pt x="22" y="31"/>
                  </a:lnTo>
                  <a:lnTo>
                    <a:pt x="13" y="32"/>
                  </a:lnTo>
                  <a:lnTo>
                    <a:pt x="6" y="35"/>
                  </a:lnTo>
                  <a:lnTo>
                    <a:pt x="0" y="35"/>
                  </a:lnTo>
                  <a:lnTo>
                    <a:pt x="0" y="34"/>
                  </a:lnTo>
                  <a:lnTo>
                    <a:pt x="3" y="29"/>
                  </a:lnTo>
                  <a:lnTo>
                    <a:pt x="3" y="28"/>
                  </a:lnTo>
                  <a:lnTo>
                    <a:pt x="9" y="29"/>
                  </a:lnTo>
                  <a:lnTo>
                    <a:pt x="5" y="25"/>
                  </a:lnTo>
                  <a:lnTo>
                    <a:pt x="5" y="24"/>
                  </a:lnTo>
                  <a:lnTo>
                    <a:pt x="6" y="24"/>
                  </a:lnTo>
                  <a:lnTo>
                    <a:pt x="13" y="27"/>
                  </a:lnTo>
                  <a:lnTo>
                    <a:pt x="11" y="22"/>
                  </a:lnTo>
                  <a:lnTo>
                    <a:pt x="12" y="21"/>
                  </a:lnTo>
                  <a:lnTo>
                    <a:pt x="9" y="16"/>
                  </a:lnTo>
                  <a:lnTo>
                    <a:pt x="13" y="15"/>
                  </a:lnTo>
                  <a:lnTo>
                    <a:pt x="12" y="15"/>
                  </a:lnTo>
                  <a:lnTo>
                    <a:pt x="12" y="13"/>
                  </a:lnTo>
                  <a:lnTo>
                    <a:pt x="13" y="13"/>
                  </a:lnTo>
                  <a:lnTo>
                    <a:pt x="28" y="22"/>
                  </a:lnTo>
                  <a:lnTo>
                    <a:pt x="28" y="15"/>
                  </a:lnTo>
                  <a:lnTo>
                    <a:pt x="22" y="12"/>
                  </a:lnTo>
                  <a:lnTo>
                    <a:pt x="22" y="10"/>
                  </a:lnTo>
                  <a:lnTo>
                    <a:pt x="25" y="10"/>
                  </a:lnTo>
                  <a:lnTo>
                    <a:pt x="19" y="9"/>
                  </a:lnTo>
                  <a:lnTo>
                    <a:pt x="18" y="9"/>
                  </a:lnTo>
                  <a:lnTo>
                    <a:pt x="18" y="7"/>
                  </a:lnTo>
                  <a:lnTo>
                    <a:pt x="19" y="3"/>
                  </a:lnTo>
                  <a:lnTo>
                    <a:pt x="28" y="3"/>
                  </a:lnTo>
                  <a:lnTo>
                    <a:pt x="43" y="18"/>
                  </a:lnTo>
                  <a:lnTo>
                    <a:pt x="40" y="21"/>
                  </a:lnTo>
                  <a:lnTo>
                    <a:pt x="43" y="25"/>
                  </a:lnTo>
                  <a:lnTo>
                    <a:pt x="39" y="27"/>
                  </a:lnTo>
                  <a:lnTo>
                    <a:pt x="43" y="29"/>
                  </a:lnTo>
                  <a:lnTo>
                    <a:pt x="45" y="40"/>
                  </a:lnTo>
                  <a:lnTo>
                    <a:pt x="48" y="35"/>
                  </a:lnTo>
                  <a:lnTo>
                    <a:pt x="49" y="28"/>
                  </a:lnTo>
                  <a:lnTo>
                    <a:pt x="51" y="28"/>
                  </a:lnTo>
                  <a:lnTo>
                    <a:pt x="55" y="31"/>
                  </a:lnTo>
                  <a:lnTo>
                    <a:pt x="55" y="13"/>
                  </a:lnTo>
                  <a:lnTo>
                    <a:pt x="56" y="13"/>
                  </a:lnTo>
                  <a:lnTo>
                    <a:pt x="67" y="25"/>
                  </a:lnTo>
                  <a:lnTo>
                    <a:pt x="67" y="16"/>
                  </a:lnTo>
                  <a:lnTo>
                    <a:pt x="68" y="16"/>
                  </a:lnTo>
                  <a:lnTo>
                    <a:pt x="76" y="10"/>
                  </a:lnTo>
                  <a:lnTo>
                    <a:pt x="77" y="10"/>
                  </a:lnTo>
                  <a:lnTo>
                    <a:pt x="77" y="12"/>
                  </a:lnTo>
                  <a:lnTo>
                    <a:pt x="83" y="24"/>
                  </a:lnTo>
                  <a:lnTo>
                    <a:pt x="82" y="12"/>
                  </a:lnTo>
                  <a:lnTo>
                    <a:pt x="83" y="12"/>
                  </a:lnTo>
                  <a:lnTo>
                    <a:pt x="91" y="18"/>
                  </a:lnTo>
                  <a:lnTo>
                    <a:pt x="95" y="12"/>
                  </a:lnTo>
                  <a:lnTo>
                    <a:pt x="107" y="12"/>
                  </a:lnTo>
                  <a:lnTo>
                    <a:pt x="104" y="3"/>
                  </a:lnTo>
                  <a:lnTo>
                    <a:pt x="104" y="1"/>
                  </a:lnTo>
                  <a:lnTo>
                    <a:pt x="105" y="1"/>
                  </a:lnTo>
                  <a:lnTo>
                    <a:pt x="10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1" name="Portugal">
              <a:extLst>
                <a:ext uri="{FF2B5EF4-FFF2-40B4-BE49-F238E27FC236}">
                  <a16:creationId xmlns:a16="http://schemas.microsoft.com/office/drawing/2014/main" id="{59109D86-F1E4-E3B3-1751-8679C84ED489}"/>
                </a:ext>
              </a:extLst>
            </p:cNvPr>
            <p:cNvSpPr>
              <a:spLocks/>
            </p:cNvSpPr>
            <p:nvPr/>
          </p:nvSpPr>
          <p:spPr bwMode="auto">
            <a:xfrm>
              <a:off x="5607191" y="3494134"/>
              <a:ext cx="77705" cy="155407"/>
            </a:xfrm>
            <a:custGeom>
              <a:avLst/>
              <a:gdLst>
                <a:gd name="T0" fmla="*/ 18 w 43"/>
                <a:gd name="T1" fmla="*/ 0 h 86"/>
                <a:gd name="T2" fmla="*/ 20 w 43"/>
                <a:gd name="T3" fmla="*/ 4 h 86"/>
                <a:gd name="T4" fmla="*/ 28 w 43"/>
                <a:gd name="T5" fmla="*/ 4 h 86"/>
                <a:gd name="T6" fmla="*/ 31 w 43"/>
                <a:gd name="T7" fmla="*/ 3 h 86"/>
                <a:gd name="T8" fmla="*/ 40 w 43"/>
                <a:gd name="T9" fmla="*/ 3 h 86"/>
                <a:gd name="T10" fmla="*/ 40 w 43"/>
                <a:gd name="T11" fmla="*/ 4 h 86"/>
                <a:gd name="T12" fmla="*/ 43 w 43"/>
                <a:gd name="T13" fmla="*/ 9 h 86"/>
                <a:gd name="T14" fmla="*/ 43 w 43"/>
                <a:gd name="T15" fmla="*/ 10 h 86"/>
                <a:gd name="T16" fmla="*/ 36 w 43"/>
                <a:gd name="T17" fmla="*/ 19 h 86"/>
                <a:gd name="T18" fmla="*/ 34 w 43"/>
                <a:gd name="T19" fmla="*/ 32 h 86"/>
                <a:gd name="T20" fmla="*/ 34 w 43"/>
                <a:gd name="T21" fmla="*/ 38 h 86"/>
                <a:gd name="T22" fmla="*/ 28 w 43"/>
                <a:gd name="T23" fmla="*/ 43 h 86"/>
                <a:gd name="T24" fmla="*/ 33 w 43"/>
                <a:gd name="T25" fmla="*/ 53 h 86"/>
                <a:gd name="T26" fmla="*/ 30 w 43"/>
                <a:gd name="T27" fmla="*/ 62 h 86"/>
                <a:gd name="T28" fmla="*/ 34 w 43"/>
                <a:gd name="T29" fmla="*/ 69 h 86"/>
                <a:gd name="T30" fmla="*/ 33 w 43"/>
                <a:gd name="T31" fmla="*/ 69 h 86"/>
                <a:gd name="T32" fmla="*/ 27 w 43"/>
                <a:gd name="T33" fmla="*/ 77 h 86"/>
                <a:gd name="T34" fmla="*/ 28 w 43"/>
                <a:gd name="T35" fmla="*/ 83 h 86"/>
                <a:gd name="T36" fmla="*/ 22 w 43"/>
                <a:gd name="T37" fmla="*/ 83 h 86"/>
                <a:gd name="T38" fmla="*/ 20 w 43"/>
                <a:gd name="T39" fmla="*/ 84 h 86"/>
                <a:gd name="T40" fmla="*/ 15 w 43"/>
                <a:gd name="T41" fmla="*/ 84 h 86"/>
                <a:gd name="T42" fmla="*/ 12 w 43"/>
                <a:gd name="T43" fmla="*/ 86 h 86"/>
                <a:gd name="T44" fmla="*/ 8 w 43"/>
                <a:gd name="T45" fmla="*/ 86 h 86"/>
                <a:gd name="T46" fmla="*/ 9 w 43"/>
                <a:gd name="T47" fmla="*/ 62 h 86"/>
                <a:gd name="T48" fmla="*/ 5 w 43"/>
                <a:gd name="T49" fmla="*/ 63 h 86"/>
                <a:gd name="T50" fmla="*/ 3 w 43"/>
                <a:gd name="T51" fmla="*/ 63 h 86"/>
                <a:gd name="T52" fmla="*/ 0 w 43"/>
                <a:gd name="T53" fmla="*/ 57 h 86"/>
                <a:gd name="T54" fmla="*/ 9 w 43"/>
                <a:gd name="T55" fmla="*/ 20 h 86"/>
                <a:gd name="T56" fmla="*/ 8 w 43"/>
                <a:gd name="T57" fmla="*/ 6 h 86"/>
                <a:gd name="T58" fmla="*/ 18 w 43"/>
                <a:gd name="T5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86">
                  <a:moveTo>
                    <a:pt x="18" y="0"/>
                  </a:moveTo>
                  <a:lnTo>
                    <a:pt x="20" y="4"/>
                  </a:lnTo>
                  <a:lnTo>
                    <a:pt x="28" y="4"/>
                  </a:lnTo>
                  <a:lnTo>
                    <a:pt x="31" y="3"/>
                  </a:lnTo>
                  <a:lnTo>
                    <a:pt x="40" y="3"/>
                  </a:lnTo>
                  <a:lnTo>
                    <a:pt x="40" y="4"/>
                  </a:lnTo>
                  <a:lnTo>
                    <a:pt x="43" y="9"/>
                  </a:lnTo>
                  <a:lnTo>
                    <a:pt x="43" y="10"/>
                  </a:lnTo>
                  <a:lnTo>
                    <a:pt x="36" y="19"/>
                  </a:lnTo>
                  <a:lnTo>
                    <a:pt x="34" y="32"/>
                  </a:lnTo>
                  <a:lnTo>
                    <a:pt x="34" y="38"/>
                  </a:lnTo>
                  <a:lnTo>
                    <a:pt x="28" y="43"/>
                  </a:lnTo>
                  <a:lnTo>
                    <a:pt x="33" y="53"/>
                  </a:lnTo>
                  <a:lnTo>
                    <a:pt x="30" y="62"/>
                  </a:lnTo>
                  <a:lnTo>
                    <a:pt x="34" y="69"/>
                  </a:lnTo>
                  <a:lnTo>
                    <a:pt x="33" y="69"/>
                  </a:lnTo>
                  <a:lnTo>
                    <a:pt x="27" y="77"/>
                  </a:lnTo>
                  <a:lnTo>
                    <a:pt x="28" y="83"/>
                  </a:lnTo>
                  <a:lnTo>
                    <a:pt x="22" y="83"/>
                  </a:lnTo>
                  <a:lnTo>
                    <a:pt x="20" y="84"/>
                  </a:lnTo>
                  <a:lnTo>
                    <a:pt x="15" y="84"/>
                  </a:lnTo>
                  <a:lnTo>
                    <a:pt x="12" y="86"/>
                  </a:lnTo>
                  <a:lnTo>
                    <a:pt x="8" y="86"/>
                  </a:lnTo>
                  <a:lnTo>
                    <a:pt x="9" y="62"/>
                  </a:lnTo>
                  <a:lnTo>
                    <a:pt x="5" y="63"/>
                  </a:lnTo>
                  <a:lnTo>
                    <a:pt x="3" y="63"/>
                  </a:lnTo>
                  <a:lnTo>
                    <a:pt x="0" y="57"/>
                  </a:lnTo>
                  <a:lnTo>
                    <a:pt x="9" y="20"/>
                  </a:lnTo>
                  <a:lnTo>
                    <a:pt x="8" y="6"/>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2" name="Spain">
              <a:extLst>
                <a:ext uri="{FF2B5EF4-FFF2-40B4-BE49-F238E27FC236}">
                  <a16:creationId xmlns:a16="http://schemas.microsoft.com/office/drawing/2014/main" id="{34A6280F-BDEF-ADA9-DBEA-237A7BE61AD1}"/>
                </a:ext>
              </a:extLst>
            </p:cNvPr>
            <p:cNvSpPr>
              <a:spLocks/>
            </p:cNvSpPr>
            <p:nvPr/>
          </p:nvSpPr>
          <p:spPr bwMode="auto">
            <a:xfrm>
              <a:off x="5610805" y="3441730"/>
              <a:ext cx="296358" cy="236726"/>
            </a:xfrm>
            <a:custGeom>
              <a:avLst/>
              <a:gdLst>
                <a:gd name="T0" fmla="*/ 19 w 164"/>
                <a:gd name="T1" fmla="*/ 0 h 131"/>
                <a:gd name="T2" fmla="*/ 47 w 164"/>
                <a:gd name="T3" fmla="*/ 3 h 131"/>
                <a:gd name="T4" fmla="*/ 81 w 164"/>
                <a:gd name="T5" fmla="*/ 5 h 131"/>
                <a:gd name="T6" fmla="*/ 98 w 164"/>
                <a:gd name="T7" fmla="*/ 6 h 131"/>
                <a:gd name="T8" fmla="*/ 126 w 164"/>
                <a:gd name="T9" fmla="*/ 20 h 131"/>
                <a:gd name="T10" fmla="*/ 139 w 164"/>
                <a:gd name="T11" fmla="*/ 20 h 131"/>
                <a:gd name="T12" fmla="*/ 142 w 164"/>
                <a:gd name="T13" fmla="*/ 21 h 131"/>
                <a:gd name="T14" fmla="*/ 161 w 164"/>
                <a:gd name="T15" fmla="*/ 23 h 131"/>
                <a:gd name="T16" fmla="*/ 161 w 164"/>
                <a:gd name="T17" fmla="*/ 35 h 131"/>
                <a:gd name="T18" fmla="*/ 118 w 164"/>
                <a:gd name="T19" fmla="*/ 76 h 131"/>
                <a:gd name="T20" fmla="*/ 124 w 164"/>
                <a:gd name="T21" fmla="*/ 85 h 131"/>
                <a:gd name="T22" fmla="*/ 123 w 164"/>
                <a:gd name="T23" fmla="*/ 89 h 131"/>
                <a:gd name="T24" fmla="*/ 112 w 164"/>
                <a:gd name="T25" fmla="*/ 106 h 131"/>
                <a:gd name="T26" fmla="*/ 96 w 164"/>
                <a:gd name="T27" fmla="*/ 119 h 131"/>
                <a:gd name="T28" fmla="*/ 65 w 164"/>
                <a:gd name="T29" fmla="*/ 121 h 131"/>
                <a:gd name="T30" fmla="*/ 50 w 164"/>
                <a:gd name="T31" fmla="*/ 131 h 131"/>
                <a:gd name="T32" fmla="*/ 35 w 164"/>
                <a:gd name="T33" fmla="*/ 115 h 131"/>
                <a:gd name="T34" fmla="*/ 23 w 164"/>
                <a:gd name="T35" fmla="*/ 106 h 131"/>
                <a:gd name="T36" fmla="*/ 29 w 164"/>
                <a:gd name="T37" fmla="*/ 98 h 131"/>
                <a:gd name="T38" fmla="*/ 26 w 164"/>
                <a:gd name="T39" fmla="*/ 89 h 131"/>
                <a:gd name="T40" fmla="*/ 25 w 164"/>
                <a:gd name="T41" fmla="*/ 72 h 131"/>
                <a:gd name="T42" fmla="*/ 31 w 164"/>
                <a:gd name="T43" fmla="*/ 61 h 131"/>
                <a:gd name="T44" fmla="*/ 40 w 164"/>
                <a:gd name="T45" fmla="*/ 38 h 131"/>
                <a:gd name="T46" fmla="*/ 29 w 164"/>
                <a:gd name="T47" fmla="*/ 33 h 131"/>
                <a:gd name="T48" fmla="*/ 18 w 164"/>
                <a:gd name="T49" fmla="*/ 35 h 131"/>
                <a:gd name="T50" fmla="*/ 16 w 164"/>
                <a:gd name="T51" fmla="*/ 30 h 131"/>
                <a:gd name="T52" fmla="*/ 6 w 164"/>
                <a:gd name="T53" fmla="*/ 36 h 131"/>
                <a:gd name="T54" fmla="*/ 7 w 164"/>
                <a:gd name="T55" fmla="*/ 27 h 131"/>
                <a:gd name="T56" fmla="*/ 6 w 164"/>
                <a:gd name="T57" fmla="*/ 26 h 131"/>
                <a:gd name="T58" fmla="*/ 6 w 164"/>
                <a:gd name="T59" fmla="*/ 20 h 131"/>
                <a:gd name="T60" fmla="*/ 0 w 164"/>
                <a:gd name="T61" fmla="*/ 12 h 131"/>
                <a:gd name="T62" fmla="*/ 12 w 164"/>
                <a:gd name="T63" fmla="*/ 8 h 131"/>
                <a:gd name="T64" fmla="*/ 15 w 164"/>
                <a:gd name="T6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4" h="131">
                  <a:moveTo>
                    <a:pt x="15" y="0"/>
                  </a:moveTo>
                  <a:lnTo>
                    <a:pt x="19" y="0"/>
                  </a:lnTo>
                  <a:lnTo>
                    <a:pt x="31" y="2"/>
                  </a:lnTo>
                  <a:lnTo>
                    <a:pt x="47" y="3"/>
                  </a:lnTo>
                  <a:lnTo>
                    <a:pt x="65" y="3"/>
                  </a:lnTo>
                  <a:lnTo>
                    <a:pt x="81" y="5"/>
                  </a:lnTo>
                  <a:lnTo>
                    <a:pt x="93" y="6"/>
                  </a:lnTo>
                  <a:lnTo>
                    <a:pt x="98" y="6"/>
                  </a:lnTo>
                  <a:lnTo>
                    <a:pt x="112" y="17"/>
                  </a:lnTo>
                  <a:lnTo>
                    <a:pt x="126" y="20"/>
                  </a:lnTo>
                  <a:lnTo>
                    <a:pt x="132" y="17"/>
                  </a:lnTo>
                  <a:lnTo>
                    <a:pt x="139" y="20"/>
                  </a:lnTo>
                  <a:lnTo>
                    <a:pt x="141" y="23"/>
                  </a:lnTo>
                  <a:lnTo>
                    <a:pt x="142" y="21"/>
                  </a:lnTo>
                  <a:lnTo>
                    <a:pt x="148" y="24"/>
                  </a:lnTo>
                  <a:lnTo>
                    <a:pt x="161" y="23"/>
                  </a:lnTo>
                  <a:lnTo>
                    <a:pt x="164" y="26"/>
                  </a:lnTo>
                  <a:lnTo>
                    <a:pt x="161" y="35"/>
                  </a:lnTo>
                  <a:lnTo>
                    <a:pt x="132" y="52"/>
                  </a:lnTo>
                  <a:lnTo>
                    <a:pt x="118" y="76"/>
                  </a:lnTo>
                  <a:lnTo>
                    <a:pt x="118" y="82"/>
                  </a:lnTo>
                  <a:lnTo>
                    <a:pt x="124" y="85"/>
                  </a:lnTo>
                  <a:lnTo>
                    <a:pt x="124" y="86"/>
                  </a:lnTo>
                  <a:lnTo>
                    <a:pt x="123" y="89"/>
                  </a:lnTo>
                  <a:lnTo>
                    <a:pt x="117" y="95"/>
                  </a:lnTo>
                  <a:lnTo>
                    <a:pt x="112" y="106"/>
                  </a:lnTo>
                  <a:lnTo>
                    <a:pt x="105" y="107"/>
                  </a:lnTo>
                  <a:lnTo>
                    <a:pt x="96" y="119"/>
                  </a:lnTo>
                  <a:lnTo>
                    <a:pt x="95" y="119"/>
                  </a:lnTo>
                  <a:lnTo>
                    <a:pt x="65" y="121"/>
                  </a:lnTo>
                  <a:lnTo>
                    <a:pt x="52" y="131"/>
                  </a:lnTo>
                  <a:lnTo>
                    <a:pt x="50" y="131"/>
                  </a:lnTo>
                  <a:lnTo>
                    <a:pt x="43" y="128"/>
                  </a:lnTo>
                  <a:lnTo>
                    <a:pt x="35" y="115"/>
                  </a:lnTo>
                  <a:lnTo>
                    <a:pt x="25" y="112"/>
                  </a:lnTo>
                  <a:lnTo>
                    <a:pt x="23" y="106"/>
                  </a:lnTo>
                  <a:lnTo>
                    <a:pt x="23" y="104"/>
                  </a:lnTo>
                  <a:lnTo>
                    <a:pt x="29" y="98"/>
                  </a:lnTo>
                  <a:lnTo>
                    <a:pt x="26" y="91"/>
                  </a:lnTo>
                  <a:lnTo>
                    <a:pt x="26" y="89"/>
                  </a:lnTo>
                  <a:lnTo>
                    <a:pt x="29" y="82"/>
                  </a:lnTo>
                  <a:lnTo>
                    <a:pt x="25" y="72"/>
                  </a:lnTo>
                  <a:lnTo>
                    <a:pt x="31" y="66"/>
                  </a:lnTo>
                  <a:lnTo>
                    <a:pt x="31" y="61"/>
                  </a:lnTo>
                  <a:lnTo>
                    <a:pt x="32" y="48"/>
                  </a:lnTo>
                  <a:lnTo>
                    <a:pt x="40" y="38"/>
                  </a:lnTo>
                  <a:lnTo>
                    <a:pt x="37" y="33"/>
                  </a:lnTo>
                  <a:lnTo>
                    <a:pt x="29" y="33"/>
                  </a:lnTo>
                  <a:lnTo>
                    <a:pt x="25" y="35"/>
                  </a:lnTo>
                  <a:lnTo>
                    <a:pt x="18" y="35"/>
                  </a:lnTo>
                  <a:lnTo>
                    <a:pt x="18" y="33"/>
                  </a:lnTo>
                  <a:lnTo>
                    <a:pt x="16" y="30"/>
                  </a:lnTo>
                  <a:lnTo>
                    <a:pt x="7" y="36"/>
                  </a:lnTo>
                  <a:lnTo>
                    <a:pt x="6" y="36"/>
                  </a:lnTo>
                  <a:lnTo>
                    <a:pt x="6" y="35"/>
                  </a:lnTo>
                  <a:lnTo>
                    <a:pt x="7" y="27"/>
                  </a:lnTo>
                  <a:lnTo>
                    <a:pt x="6" y="27"/>
                  </a:lnTo>
                  <a:lnTo>
                    <a:pt x="6" y="26"/>
                  </a:lnTo>
                  <a:lnTo>
                    <a:pt x="4" y="23"/>
                  </a:lnTo>
                  <a:lnTo>
                    <a:pt x="6" y="20"/>
                  </a:lnTo>
                  <a:lnTo>
                    <a:pt x="0" y="14"/>
                  </a:lnTo>
                  <a:lnTo>
                    <a:pt x="0" y="12"/>
                  </a:lnTo>
                  <a:lnTo>
                    <a:pt x="4" y="8"/>
                  </a:lnTo>
                  <a:lnTo>
                    <a:pt x="12" y="8"/>
                  </a:lnTo>
                  <a:lnTo>
                    <a:pt x="15" y="2"/>
                  </a:lnTo>
                  <a:lnTo>
                    <a:pt x="1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3" name="France">
              <a:extLst>
                <a:ext uri="{FF2B5EF4-FFF2-40B4-BE49-F238E27FC236}">
                  <a16:creationId xmlns:a16="http://schemas.microsoft.com/office/drawing/2014/main" id="{3FCFF279-F084-BE54-6967-306F7D7C9D92}"/>
                </a:ext>
              </a:extLst>
            </p:cNvPr>
            <p:cNvSpPr>
              <a:spLocks/>
            </p:cNvSpPr>
            <p:nvPr/>
          </p:nvSpPr>
          <p:spPr bwMode="auto">
            <a:xfrm>
              <a:off x="5715614" y="3185127"/>
              <a:ext cx="301780" cy="303587"/>
            </a:xfrm>
            <a:custGeom>
              <a:avLst/>
              <a:gdLst>
                <a:gd name="T0" fmla="*/ 99 w 167"/>
                <a:gd name="T1" fmla="*/ 6 h 168"/>
                <a:gd name="T2" fmla="*/ 118 w 167"/>
                <a:gd name="T3" fmla="*/ 21 h 168"/>
                <a:gd name="T4" fmla="*/ 124 w 167"/>
                <a:gd name="T5" fmla="*/ 19 h 168"/>
                <a:gd name="T6" fmla="*/ 127 w 167"/>
                <a:gd name="T7" fmla="*/ 27 h 168"/>
                <a:gd name="T8" fmla="*/ 143 w 167"/>
                <a:gd name="T9" fmla="*/ 31 h 168"/>
                <a:gd name="T10" fmla="*/ 167 w 167"/>
                <a:gd name="T11" fmla="*/ 42 h 168"/>
                <a:gd name="T12" fmla="*/ 160 w 167"/>
                <a:gd name="T13" fmla="*/ 61 h 168"/>
                <a:gd name="T14" fmla="*/ 160 w 167"/>
                <a:gd name="T15" fmla="*/ 70 h 168"/>
                <a:gd name="T16" fmla="*/ 140 w 167"/>
                <a:gd name="T17" fmla="*/ 92 h 168"/>
                <a:gd name="T18" fmla="*/ 145 w 167"/>
                <a:gd name="T19" fmla="*/ 92 h 168"/>
                <a:gd name="T20" fmla="*/ 151 w 167"/>
                <a:gd name="T21" fmla="*/ 94 h 168"/>
                <a:gd name="T22" fmla="*/ 154 w 167"/>
                <a:gd name="T23" fmla="*/ 104 h 168"/>
                <a:gd name="T24" fmla="*/ 154 w 167"/>
                <a:gd name="T25" fmla="*/ 113 h 168"/>
                <a:gd name="T26" fmla="*/ 154 w 167"/>
                <a:gd name="T27" fmla="*/ 114 h 168"/>
                <a:gd name="T28" fmla="*/ 152 w 167"/>
                <a:gd name="T29" fmla="*/ 122 h 168"/>
                <a:gd name="T30" fmla="*/ 161 w 167"/>
                <a:gd name="T31" fmla="*/ 134 h 168"/>
                <a:gd name="T32" fmla="*/ 143 w 167"/>
                <a:gd name="T33" fmla="*/ 154 h 168"/>
                <a:gd name="T34" fmla="*/ 127 w 167"/>
                <a:gd name="T35" fmla="*/ 148 h 168"/>
                <a:gd name="T36" fmla="*/ 105 w 167"/>
                <a:gd name="T37" fmla="*/ 153 h 168"/>
                <a:gd name="T38" fmla="*/ 105 w 167"/>
                <a:gd name="T39" fmla="*/ 166 h 168"/>
                <a:gd name="T40" fmla="*/ 93 w 167"/>
                <a:gd name="T41" fmla="*/ 168 h 168"/>
                <a:gd name="T42" fmla="*/ 74 w 167"/>
                <a:gd name="T43" fmla="*/ 160 h 168"/>
                <a:gd name="T44" fmla="*/ 53 w 167"/>
                <a:gd name="T45" fmla="*/ 160 h 168"/>
                <a:gd name="T46" fmla="*/ 40 w 167"/>
                <a:gd name="T47" fmla="*/ 148 h 168"/>
                <a:gd name="T48" fmla="*/ 50 w 167"/>
                <a:gd name="T49" fmla="*/ 126 h 168"/>
                <a:gd name="T50" fmla="*/ 47 w 167"/>
                <a:gd name="T51" fmla="*/ 123 h 168"/>
                <a:gd name="T52" fmla="*/ 48 w 167"/>
                <a:gd name="T53" fmla="*/ 105 h 168"/>
                <a:gd name="T54" fmla="*/ 40 w 167"/>
                <a:gd name="T55" fmla="*/ 92 h 168"/>
                <a:gd name="T56" fmla="*/ 35 w 167"/>
                <a:gd name="T57" fmla="*/ 79 h 168"/>
                <a:gd name="T58" fmla="*/ 31 w 167"/>
                <a:gd name="T59" fmla="*/ 77 h 168"/>
                <a:gd name="T60" fmla="*/ 29 w 167"/>
                <a:gd name="T61" fmla="*/ 73 h 168"/>
                <a:gd name="T62" fmla="*/ 5 w 167"/>
                <a:gd name="T63" fmla="*/ 67 h 168"/>
                <a:gd name="T64" fmla="*/ 1 w 167"/>
                <a:gd name="T65" fmla="*/ 61 h 168"/>
                <a:gd name="T66" fmla="*/ 3 w 167"/>
                <a:gd name="T67" fmla="*/ 59 h 168"/>
                <a:gd name="T68" fmla="*/ 4 w 167"/>
                <a:gd name="T69" fmla="*/ 57 h 168"/>
                <a:gd name="T70" fmla="*/ 1 w 167"/>
                <a:gd name="T71" fmla="*/ 52 h 168"/>
                <a:gd name="T72" fmla="*/ 19 w 167"/>
                <a:gd name="T73" fmla="*/ 46 h 168"/>
                <a:gd name="T74" fmla="*/ 43 w 167"/>
                <a:gd name="T75" fmla="*/ 51 h 168"/>
                <a:gd name="T76" fmla="*/ 38 w 167"/>
                <a:gd name="T77" fmla="*/ 28 h 168"/>
                <a:gd name="T78" fmla="*/ 47 w 167"/>
                <a:gd name="T79" fmla="*/ 30 h 168"/>
                <a:gd name="T80" fmla="*/ 65 w 167"/>
                <a:gd name="T81" fmla="*/ 34 h 168"/>
                <a:gd name="T82" fmla="*/ 84 w 167"/>
                <a:gd name="T83" fmla="*/ 18 h 168"/>
                <a:gd name="T84" fmla="*/ 86 w 167"/>
                <a:gd name="T85" fmla="*/ 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7" h="168">
                  <a:moveTo>
                    <a:pt x="99" y="0"/>
                  </a:moveTo>
                  <a:lnTo>
                    <a:pt x="99" y="6"/>
                  </a:lnTo>
                  <a:lnTo>
                    <a:pt x="115" y="15"/>
                  </a:lnTo>
                  <a:lnTo>
                    <a:pt x="118" y="21"/>
                  </a:lnTo>
                  <a:lnTo>
                    <a:pt x="121" y="21"/>
                  </a:lnTo>
                  <a:lnTo>
                    <a:pt x="124" y="19"/>
                  </a:lnTo>
                  <a:lnTo>
                    <a:pt x="127" y="19"/>
                  </a:lnTo>
                  <a:lnTo>
                    <a:pt x="127" y="27"/>
                  </a:lnTo>
                  <a:lnTo>
                    <a:pt x="137" y="30"/>
                  </a:lnTo>
                  <a:lnTo>
                    <a:pt x="143" y="31"/>
                  </a:lnTo>
                  <a:lnTo>
                    <a:pt x="149" y="37"/>
                  </a:lnTo>
                  <a:lnTo>
                    <a:pt x="167" y="42"/>
                  </a:lnTo>
                  <a:lnTo>
                    <a:pt x="167" y="43"/>
                  </a:lnTo>
                  <a:lnTo>
                    <a:pt x="160" y="61"/>
                  </a:lnTo>
                  <a:lnTo>
                    <a:pt x="161" y="70"/>
                  </a:lnTo>
                  <a:lnTo>
                    <a:pt x="160" y="70"/>
                  </a:lnTo>
                  <a:lnTo>
                    <a:pt x="152" y="73"/>
                  </a:lnTo>
                  <a:lnTo>
                    <a:pt x="140" y="92"/>
                  </a:lnTo>
                  <a:lnTo>
                    <a:pt x="140" y="97"/>
                  </a:lnTo>
                  <a:lnTo>
                    <a:pt x="145" y="92"/>
                  </a:lnTo>
                  <a:lnTo>
                    <a:pt x="151" y="92"/>
                  </a:lnTo>
                  <a:lnTo>
                    <a:pt x="151" y="94"/>
                  </a:lnTo>
                  <a:lnTo>
                    <a:pt x="154" y="102"/>
                  </a:lnTo>
                  <a:lnTo>
                    <a:pt x="154" y="104"/>
                  </a:lnTo>
                  <a:lnTo>
                    <a:pt x="151" y="104"/>
                  </a:lnTo>
                  <a:lnTo>
                    <a:pt x="154" y="113"/>
                  </a:lnTo>
                  <a:lnTo>
                    <a:pt x="155" y="114"/>
                  </a:lnTo>
                  <a:lnTo>
                    <a:pt x="154" y="114"/>
                  </a:lnTo>
                  <a:lnTo>
                    <a:pt x="151" y="120"/>
                  </a:lnTo>
                  <a:lnTo>
                    <a:pt x="152" y="122"/>
                  </a:lnTo>
                  <a:lnTo>
                    <a:pt x="154" y="134"/>
                  </a:lnTo>
                  <a:lnTo>
                    <a:pt x="161" y="134"/>
                  </a:lnTo>
                  <a:lnTo>
                    <a:pt x="161" y="141"/>
                  </a:lnTo>
                  <a:lnTo>
                    <a:pt x="143" y="154"/>
                  </a:lnTo>
                  <a:lnTo>
                    <a:pt x="142" y="154"/>
                  </a:lnTo>
                  <a:lnTo>
                    <a:pt x="127" y="148"/>
                  </a:lnTo>
                  <a:lnTo>
                    <a:pt x="115" y="147"/>
                  </a:lnTo>
                  <a:lnTo>
                    <a:pt x="105" y="153"/>
                  </a:lnTo>
                  <a:lnTo>
                    <a:pt x="103" y="159"/>
                  </a:lnTo>
                  <a:lnTo>
                    <a:pt x="105" y="166"/>
                  </a:lnTo>
                  <a:lnTo>
                    <a:pt x="96" y="166"/>
                  </a:lnTo>
                  <a:lnTo>
                    <a:pt x="93" y="168"/>
                  </a:lnTo>
                  <a:lnTo>
                    <a:pt x="88" y="168"/>
                  </a:lnTo>
                  <a:lnTo>
                    <a:pt x="74" y="160"/>
                  </a:lnTo>
                  <a:lnTo>
                    <a:pt x="69" y="163"/>
                  </a:lnTo>
                  <a:lnTo>
                    <a:pt x="53" y="160"/>
                  </a:lnTo>
                  <a:lnTo>
                    <a:pt x="40" y="150"/>
                  </a:lnTo>
                  <a:lnTo>
                    <a:pt x="40" y="148"/>
                  </a:lnTo>
                  <a:lnTo>
                    <a:pt x="45" y="144"/>
                  </a:lnTo>
                  <a:lnTo>
                    <a:pt x="50" y="126"/>
                  </a:lnTo>
                  <a:lnTo>
                    <a:pt x="47" y="125"/>
                  </a:lnTo>
                  <a:lnTo>
                    <a:pt x="47" y="123"/>
                  </a:lnTo>
                  <a:lnTo>
                    <a:pt x="50" y="108"/>
                  </a:lnTo>
                  <a:lnTo>
                    <a:pt x="48" y="105"/>
                  </a:lnTo>
                  <a:lnTo>
                    <a:pt x="47" y="95"/>
                  </a:lnTo>
                  <a:lnTo>
                    <a:pt x="40" y="92"/>
                  </a:lnTo>
                  <a:lnTo>
                    <a:pt x="37" y="86"/>
                  </a:lnTo>
                  <a:lnTo>
                    <a:pt x="35" y="79"/>
                  </a:lnTo>
                  <a:lnTo>
                    <a:pt x="35" y="77"/>
                  </a:lnTo>
                  <a:lnTo>
                    <a:pt x="31" y="77"/>
                  </a:lnTo>
                  <a:lnTo>
                    <a:pt x="31" y="76"/>
                  </a:lnTo>
                  <a:lnTo>
                    <a:pt x="29" y="73"/>
                  </a:lnTo>
                  <a:lnTo>
                    <a:pt x="11" y="67"/>
                  </a:lnTo>
                  <a:lnTo>
                    <a:pt x="5" y="67"/>
                  </a:lnTo>
                  <a:lnTo>
                    <a:pt x="1" y="62"/>
                  </a:lnTo>
                  <a:lnTo>
                    <a:pt x="1" y="61"/>
                  </a:lnTo>
                  <a:lnTo>
                    <a:pt x="4" y="61"/>
                  </a:lnTo>
                  <a:lnTo>
                    <a:pt x="3" y="59"/>
                  </a:lnTo>
                  <a:lnTo>
                    <a:pt x="3" y="58"/>
                  </a:lnTo>
                  <a:lnTo>
                    <a:pt x="4" y="57"/>
                  </a:lnTo>
                  <a:lnTo>
                    <a:pt x="0" y="57"/>
                  </a:lnTo>
                  <a:lnTo>
                    <a:pt x="1" y="52"/>
                  </a:lnTo>
                  <a:lnTo>
                    <a:pt x="17" y="46"/>
                  </a:lnTo>
                  <a:lnTo>
                    <a:pt x="19" y="46"/>
                  </a:lnTo>
                  <a:lnTo>
                    <a:pt x="29" y="51"/>
                  </a:lnTo>
                  <a:lnTo>
                    <a:pt x="43" y="51"/>
                  </a:lnTo>
                  <a:lnTo>
                    <a:pt x="38" y="30"/>
                  </a:lnTo>
                  <a:lnTo>
                    <a:pt x="38" y="28"/>
                  </a:lnTo>
                  <a:lnTo>
                    <a:pt x="47" y="28"/>
                  </a:lnTo>
                  <a:lnTo>
                    <a:pt x="47" y="30"/>
                  </a:lnTo>
                  <a:lnTo>
                    <a:pt x="50" y="34"/>
                  </a:lnTo>
                  <a:lnTo>
                    <a:pt x="65" y="34"/>
                  </a:lnTo>
                  <a:lnTo>
                    <a:pt x="66" y="28"/>
                  </a:lnTo>
                  <a:lnTo>
                    <a:pt x="84" y="18"/>
                  </a:lnTo>
                  <a:lnTo>
                    <a:pt x="86" y="5"/>
                  </a:lnTo>
                  <a:lnTo>
                    <a:pt x="86" y="3"/>
                  </a:lnTo>
                  <a:lnTo>
                    <a:pt x="9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4" name="Ireland">
              <a:extLst>
                <a:ext uri="{FF2B5EF4-FFF2-40B4-BE49-F238E27FC236}">
                  <a16:creationId xmlns:a16="http://schemas.microsoft.com/office/drawing/2014/main" id="{77666843-1646-4A13-EC19-E3D8EBE0EBAF}"/>
                </a:ext>
              </a:extLst>
            </p:cNvPr>
            <p:cNvSpPr>
              <a:spLocks noEditPoints="1"/>
            </p:cNvSpPr>
            <p:nvPr/>
          </p:nvSpPr>
          <p:spPr bwMode="auto">
            <a:xfrm>
              <a:off x="5583698" y="3022491"/>
              <a:ext cx="104809" cy="149986"/>
            </a:xfrm>
            <a:custGeom>
              <a:avLst/>
              <a:gdLst>
                <a:gd name="T0" fmla="*/ 19 w 58"/>
                <a:gd name="T1" fmla="*/ 56 h 83"/>
                <a:gd name="T2" fmla="*/ 13 w 58"/>
                <a:gd name="T3" fmla="*/ 59 h 83"/>
                <a:gd name="T4" fmla="*/ 21 w 58"/>
                <a:gd name="T5" fmla="*/ 58 h 83"/>
                <a:gd name="T6" fmla="*/ 19 w 58"/>
                <a:gd name="T7" fmla="*/ 56 h 83"/>
                <a:gd name="T8" fmla="*/ 37 w 58"/>
                <a:gd name="T9" fmla="*/ 0 h 83"/>
                <a:gd name="T10" fmla="*/ 38 w 58"/>
                <a:gd name="T11" fmla="*/ 7 h 83"/>
                <a:gd name="T12" fmla="*/ 31 w 58"/>
                <a:gd name="T13" fmla="*/ 18 h 83"/>
                <a:gd name="T14" fmla="*/ 35 w 58"/>
                <a:gd name="T15" fmla="*/ 23 h 83"/>
                <a:gd name="T16" fmla="*/ 50 w 58"/>
                <a:gd name="T17" fmla="*/ 18 h 83"/>
                <a:gd name="T18" fmla="*/ 52 w 58"/>
                <a:gd name="T19" fmla="*/ 18 h 83"/>
                <a:gd name="T20" fmla="*/ 56 w 58"/>
                <a:gd name="T21" fmla="*/ 28 h 83"/>
                <a:gd name="T22" fmla="*/ 56 w 58"/>
                <a:gd name="T23" fmla="*/ 29 h 83"/>
                <a:gd name="T24" fmla="*/ 55 w 58"/>
                <a:gd name="T25" fmla="*/ 31 h 83"/>
                <a:gd name="T26" fmla="*/ 58 w 58"/>
                <a:gd name="T27" fmla="*/ 38 h 83"/>
                <a:gd name="T28" fmla="*/ 58 w 58"/>
                <a:gd name="T29" fmla="*/ 52 h 83"/>
                <a:gd name="T30" fmla="*/ 53 w 58"/>
                <a:gd name="T31" fmla="*/ 69 h 83"/>
                <a:gd name="T32" fmla="*/ 37 w 58"/>
                <a:gd name="T33" fmla="*/ 69 h 83"/>
                <a:gd name="T34" fmla="*/ 15 w 58"/>
                <a:gd name="T35" fmla="*/ 83 h 83"/>
                <a:gd name="T36" fmla="*/ 9 w 58"/>
                <a:gd name="T37" fmla="*/ 83 h 83"/>
                <a:gd name="T38" fmla="*/ 10 w 58"/>
                <a:gd name="T39" fmla="*/ 80 h 83"/>
                <a:gd name="T40" fmla="*/ 4 w 58"/>
                <a:gd name="T41" fmla="*/ 81 h 83"/>
                <a:gd name="T42" fmla="*/ 3 w 58"/>
                <a:gd name="T43" fmla="*/ 80 h 83"/>
                <a:gd name="T44" fmla="*/ 4 w 58"/>
                <a:gd name="T45" fmla="*/ 80 h 83"/>
                <a:gd name="T46" fmla="*/ 7 w 58"/>
                <a:gd name="T47" fmla="*/ 77 h 83"/>
                <a:gd name="T48" fmla="*/ 1 w 58"/>
                <a:gd name="T49" fmla="*/ 77 h 83"/>
                <a:gd name="T50" fmla="*/ 1 w 58"/>
                <a:gd name="T51" fmla="*/ 75 h 83"/>
                <a:gd name="T52" fmla="*/ 6 w 58"/>
                <a:gd name="T53" fmla="*/ 71 h 83"/>
                <a:gd name="T54" fmla="*/ 0 w 58"/>
                <a:gd name="T55" fmla="*/ 69 h 83"/>
                <a:gd name="T56" fmla="*/ 0 w 58"/>
                <a:gd name="T57" fmla="*/ 68 h 83"/>
                <a:gd name="T58" fmla="*/ 1 w 58"/>
                <a:gd name="T59" fmla="*/ 68 h 83"/>
                <a:gd name="T60" fmla="*/ 6 w 58"/>
                <a:gd name="T61" fmla="*/ 66 h 83"/>
                <a:gd name="T62" fmla="*/ 10 w 58"/>
                <a:gd name="T63" fmla="*/ 61 h 83"/>
                <a:gd name="T64" fmla="*/ 7 w 58"/>
                <a:gd name="T65" fmla="*/ 61 h 83"/>
                <a:gd name="T66" fmla="*/ 7 w 58"/>
                <a:gd name="T67" fmla="*/ 59 h 83"/>
                <a:gd name="T68" fmla="*/ 18 w 58"/>
                <a:gd name="T69" fmla="*/ 47 h 83"/>
                <a:gd name="T70" fmla="*/ 7 w 58"/>
                <a:gd name="T71" fmla="*/ 44 h 83"/>
                <a:gd name="T72" fmla="*/ 7 w 58"/>
                <a:gd name="T73" fmla="*/ 43 h 83"/>
                <a:gd name="T74" fmla="*/ 4 w 58"/>
                <a:gd name="T75" fmla="*/ 38 h 83"/>
                <a:gd name="T76" fmla="*/ 10 w 58"/>
                <a:gd name="T77" fmla="*/ 34 h 83"/>
                <a:gd name="T78" fmla="*/ 4 w 58"/>
                <a:gd name="T79" fmla="*/ 29 h 83"/>
                <a:gd name="T80" fmla="*/ 3 w 58"/>
                <a:gd name="T81" fmla="*/ 29 h 83"/>
                <a:gd name="T82" fmla="*/ 3 w 58"/>
                <a:gd name="T83" fmla="*/ 28 h 83"/>
                <a:gd name="T84" fmla="*/ 7 w 58"/>
                <a:gd name="T85" fmla="*/ 28 h 83"/>
                <a:gd name="T86" fmla="*/ 6 w 58"/>
                <a:gd name="T87" fmla="*/ 26 h 83"/>
                <a:gd name="T88" fmla="*/ 9 w 58"/>
                <a:gd name="T89" fmla="*/ 22 h 83"/>
                <a:gd name="T90" fmla="*/ 9 w 58"/>
                <a:gd name="T91" fmla="*/ 20 h 83"/>
                <a:gd name="T92" fmla="*/ 16 w 58"/>
                <a:gd name="T93" fmla="*/ 20 h 83"/>
                <a:gd name="T94" fmla="*/ 19 w 58"/>
                <a:gd name="T95" fmla="*/ 22 h 83"/>
                <a:gd name="T96" fmla="*/ 24 w 58"/>
                <a:gd name="T97" fmla="*/ 22 h 83"/>
                <a:gd name="T98" fmla="*/ 28 w 58"/>
                <a:gd name="T99" fmla="*/ 16 h 83"/>
                <a:gd name="T100" fmla="*/ 21 w 58"/>
                <a:gd name="T101" fmla="*/ 15 h 83"/>
                <a:gd name="T102" fmla="*/ 21 w 58"/>
                <a:gd name="T103" fmla="*/ 13 h 83"/>
                <a:gd name="T104" fmla="*/ 30 w 58"/>
                <a:gd name="T105" fmla="*/ 3 h 83"/>
                <a:gd name="T106" fmla="*/ 37 w 58"/>
                <a:gd name="T10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83">
                  <a:moveTo>
                    <a:pt x="19" y="56"/>
                  </a:moveTo>
                  <a:lnTo>
                    <a:pt x="13" y="59"/>
                  </a:lnTo>
                  <a:lnTo>
                    <a:pt x="21" y="58"/>
                  </a:lnTo>
                  <a:lnTo>
                    <a:pt x="19" y="56"/>
                  </a:lnTo>
                  <a:close/>
                  <a:moveTo>
                    <a:pt x="37" y="0"/>
                  </a:moveTo>
                  <a:lnTo>
                    <a:pt x="38" y="7"/>
                  </a:lnTo>
                  <a:lnTo>
                    <a:pt x="31" y="18"/>
                  </a:lnTo>
                  <a:lnTo>
                    <a:pt x="35" y="23"/>
                  </a:lnTo>
                  <a:lnTo>
                    <a:pt x="50" y="18"/>
                  </a:lnTo>
                  <a:lnTo>
                    <a:pt x="52" y="18"/>
                  </a:lnTo>
                  <a:lnTo>
                    <a:pt x="56" y="28"/>
                  </a:lnTo>
                  <a:lnTo>
                    <a:pt x="56" y="29"/>
                  </a:lnTo>
                  <a:lnTo>
                    <a:pt x="55" y="31"/>
                  </a:lnTo>
                  <a:lnTo>
                    <a:pt x="58" y="38"/>
                  </a:lnTo>
                  <a:lnTo>
                    <a:pt x="58" y="52"/>
                  </a:lnTo>
                  <a:lnTo>
                    <a:pt x="53" y="69"/>
                  </a:lnTo>
                  <a:lnTo>
                    <a:pt x="37" y="69"/>
                  </a:lnTo>
                  <a:lnTo>
                    <a:pt x="15" y="83"/>
                  </a:lnTo>
                  <a:lnTo>
                    <a:pt x="9" y="83"/>
                  </a:lnTo>
                  <a:lnTo>
                    <a:pt x="10" y="80"/>
                  </a:lnTo>
                  <a:lnTo>
                    <a:pt x="4" y="81"/>
                  </a:lnTo>
                  <a:lnTo>
                    <a:pt x="3" y="80"/>
                  </a:lnTo>
                  <a:lnTo>
                    <a:pt x="4" y="80"/>
                  </a:lnTo>
                  <a:lnTo>
                    <a:pt x="7" y="77"/>
                  </a:lnTo>
                  <a:lnTo>
                    <a:pt x="1" y="77"/>
                  </a:lnTo>
                  <a:lnTo>
                    <a:pt x="1" y="75"/>
                  </a:lnTo>
                  <a:lnTo>
                    <a:pt x="6" y="71"/>
                  </a:lnTo>
                  <a:lnTo>
                    <a:pt x="0" y="69"/>
                  </a:lnTo>
                  <a:lnTo>
                    <a:pt x="0" y="68"/>
                  </a:lnTo>
                  <a:lnTo>
                    <a:pt x="1" y="68"/>
                  </a:lnTo>
                  <a:lnTo>
                    <a:pt x="6" y="66"/>
                  </a:lnTo>
                  <a:lnTo>
                    <a:pt x="10" y="61"/>
                  </a:lnTo>
                  <a:lnTo>
                    <a:pt x="7" y="61"/>
                  </a:lnTo>
                  <a:lnTo>
                    <a:pt x="7" y="59"/>
                  </a:lnTo>
                  <a:lnTo>
                    <a:pt x="18" y="47"/>
                  </a:lnTo>
                  <a:lnTo>
                    <a:pt x="7" y="44"/>
                  </a:lnTo>
                  <a:lnTo>
                    <a:pt x="7" y="43"/>
                  </a:lnTo>
                  <a:lnTo>
                    <a:pt x="4" y="38"/>
                  </a:lnTo>
                  <a:lnTo>
                    <a:pt x="10" y="34"/>
                  </a:lnTo>
                  <a:lnTo>
                    <a:pt x="4" y="29"/>
                  </a:lnTo>
                  <a:lnTo>
                    <a:pt x="3" y="29"/>
                  </a:lnTo>
                  <a:lnTo>
                    <a:pt x="3" y="28"/>
                  </a:lnTo>
                  <a:lnTo>
                    <a:pt x="7" y="28"/>
                  </a:lnTo>
                  <a:lnTo>
                    <a:pt x="6" y="26"/>
                  </a:lnTo>
                  <a:lnTo>
                    <a:pt x="9" y="22"/>
                  </a:lnTo>
                  <a:lnTo>
                    <a:pt x="9" y="20"/>
                  </a:lnTo>
                  <a:lnTo>
                    <a:pt x="16" y="20"/>
                  </a:lnTo>
                  <a:lnTo>
                    <a:pt x="19" y="22"/>
                  </a:lnTo>
                  <a:lnTo>
                    <a:pt x="24" y="22"/>
                  </a:lnTo>
                  <a:lnTo>
                    <a:pt x="28" y="16"/>
                  </a:lnTo>
                  <a:lnTo>
                    <a:pt x="21" y="15"/>
                  </a:lnTo>
                  <a:lnTo>
                    <a:pt x="21" y="13"/>
                  </a:lnTo>
                  <a:lnTo>
                    <a:pt x="30" y="3"/>
                  </a:lnTo>
                  <a:lnTo>
                    <a:pt x="3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5" name="Austria">
              <a:extLst>
                <a:ext uri="{FF2B5EF4-FFF2-40B4-BE49-F238E27FC236}">
                  <a16:creationId xmlns:a16="http://schemas.microsoft.com/office/drawing/2014/main" id="{6DF10C75-C8E5-E154-4DBC-249FF734BB80}"/>
                </a:ext>
              </a:extLst>
            </p:cNvPr>
            <p:cNvSpPr>
              <a:spLocks/>
            </p:cNvSpPr>
            <p:nvPr/>
          </p:nvSpPr>
          <p:spPr bwMode="auto">
            <a:xfrm>
              <a:off x="6049920" y="3261023"/>
              <a:ext cx="182514" cy="90353"/>
            </a:xfrm>
            <a:custGeom>
              <a:avLst/>
              <a:gdLst>
                <a:gd name="T0" fmla="*/ 72 w 101"/>
                <a:gd name="T1" fmla="*/ 0 h 50"/>
                <a:gd name="T2" fmla="*/ 74 w 101"/>
                <a:gd name="T3" fmla="*/ 0 h 50"/>
                <a:gd name="T4" fmla="*/ 95 w 101"/>
                <a:gd name="T5" fmla="*/ 4 h 50"/>
                <a:gd name="T6" fmla="*/ 101 w 101"/>
                <a:gd name="T7" fmla="*/ 19 h 50"/>
                <a:gd name="T8" fmla="*/ 99 w 101"/>
                <a:gd name="T9" fmla="*/ 25 h 50"/>
                <a:gd name="T10" fmla="*/ 99 w 101"/>
                <a:gd name="T11" fmla="*/ 26 h 50"/>
                <a:gd name="T12" fmla="*/ 93 w 101"/>
                <a:gd name="T13" fmla="*/ 26 h 50"/>
                <a:gd name="T14" fmla="*/ 92 w 101"/>
                <a:gd name="T15" fmla="*/ 38 h 50"/>
                <a:gd name="T16" fmla="*/ 92 w 101"/>
                <a:gd name="T17" fmla="*/ 40 h 50"/>
                <a:gd name="T18" fmla="*/ 87 w 101"/>
                <a:gd name="T19" fmla="*/ 43 h 50"/>
                <a:gd name="T20" fmla="*/ 67 w 101"/>
                <a:gd name="T21" fmla="*/ 50 h 50"/>
                <a:gd name="T22" fmla="*/ 55 w 101"/>
                <a:gd name="T23" fmla="*/ 50 h 50"/>
                <a:gd name="T24" fmla="*/ 40 w 101"/>
                <a:gd name="T25" fmla="*/ 46 h 50"/>
                <a:gd name="T26" fmla="*/ 34 w 101"/>
                <a:gd name="T27" fmla="*/ 38 h 50"/>
                <a:gd name="T28" fmla="*/ 12 w 101"/>
                <a:gd name="T29" fmla="*/ 43 h 50"/>
                <a:gd name="T30" fmla="*/ 3 w 101"/>
                <a:gd name="T31" fmla="*/ 40 h 50"/>
                <a:gd name="T32" fmla="*/ 1 w 101"/>
                <a:gd name="T33" fmla="*/ 40 h 50"/>
                <a:gd name="T34" fmla="*/ 0 w 101"/>
                <a:gd name="T35" fmla="*/ 31 h 50"/>
                <a:gd name="T36" fmla="*/ 0 w 101"/>
                <a:gd name="T37" fmla="*/ 29 h 50"/>
                <a:gd name="T38" fmla="*/ 4 w 101"/>
                <a:gd name="T39" fmla="*/ 28 h 50"/>
                <a:gd name="T40" fmla="*/ 10 w 101"/>
                <a:gd name="T41" fmla="*/ 32 h 50"/>
                <a:gd name="T42" fmla="*/ 13 w 101"/>
                <a:gd name="T43" fmla="*/ 28 h 50"/>
                <a:gd name="T44" fmla="*/ 15 w 101"/>
                <a:gd name="T45" fmla="*/ 28 h 50"/>
                <a:gd name="T46" fmla="*/ 22 w 101"/>
                <a:gd name="T47" fmla="*/ 31 h 50"/>
                <a:gd name="T48" fmla="*/ 37 w 101"/>
                <a:gd name="T49" fmla="*/ 25 h 50"/>
                <a:gd name="T50" fmla="*/ 43 w 101"/>
                <a:gd name="T51" fmla="*/ 28 h 50"/>
                <a:gd name="T52" fmla="*/ 46 w 101"/>
                <a:gd name="T53" fmla="*/ 26 h 50"/>
                <a:gd name="T54" fmla="*/ 44 w 101"/>
                <a:gd name="T55" fmla="*/ 16 h 50"/>
                <a:gd name="T56" fmla="*/ 44 w 101"/>
                <a:gd name="T57" fmla="*/ 15 h 50"/>
                <a:gd name="T58" fmla="*/ 56 w 101"/>
                <a:gd name="T59" fmla="*/ 6 h 50"/>
                <a:gd name="T60" fmla="*/ 59 w 101"/>
                <a:gd name="T61" fmla="*/ 6 h 50"/>
                <a:gd name="T62" fmla="*/ 64 w 101"/>
                <a:gd name="T63" fmla="*/ 7 h 50"/>
                <a:gd name="T64" fmla="*/ 67 w 101"/>
                <a:gd name="T65" fmla="*/ 7 h 50"/>
                <a:gd name="T66" fmla="*/ 72 w 101"/>
                <a:gd name="T6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50">
                  <a:moveTo>
                    <a:pt x="72" y="0"/>
                  </a:moveTo>
                  <a:lnTo>
                    <a:pt x="74" y="0"/>
                  </a:lnTo>
                  <a:lnTo>
                    <a:pt x="95" y="4"/>
                  </a:lnTo>
                  <a:lnTo>
                    <a:pt x="101" y="19"/>
                  </a:lnTo>
                  <a:lnTo>
                    <a:pt x="99" y="25"/>
                  </a:lnTo>
                  <a:lnTo>
                    <a:pt x="99" y="26"/>
                  </a:lnTo>
                  <a:lnTo>
                    <a:pt x="93" y="26"/>
                  </a:lnTo>
                  <a:lnTo>
                    <a:pt x="92" y="38"/>
                  </a:lnTo>
                  <a:lnTo>
                    <a:pt x="92" y="40"/>
                  </a:lnTo>
                  <a:lnTo>
                    <a:pt x="87" y="43"/>
                  </a:lnTo>
                  <a:lnTo>
                    <a:pt x="67" y="50"/>
                  </a:lnTo>
                  <a:lnTo>
                    <a:pt x="55" y="50"/>
                  </a:lnTo>
                  <a:lnTo>
                    <a:pt x="40" y="46"/>
                  </a:lnTo>
                  <a:lnTo>
                    <a:pt x="34" y="38"/>
                  </a:lnTo>
                  <a:lnTo>
                    <a:pt x="12" y="43"/>
                  </a:lnTo>
                  <a:lnTo>
                    <a:pt x="3" y="40"/>
                  </a:lnTo>
                  <a:lnTo>
                    <a:pt x="1" y="40"/>
                  </a:lnTo>
                  <a:lnTo>
                    <a:pt x="0" y="31"/>
                  </a:lnTo>
                  <a:lnTo>
                    <a:pt x="0" y="29"/>
                  </a:lnTo>
                  <a:lnTo>
                    <a:pt x="4" y="28"/>
                  </a:lnTo>
                  <a:lnTo>
                    <a:pt x="10" y="32"/>
                  </a:lnTo>
                  <a:lnTo>
                    <a:pt x="13" y="28"/>
                  </a:lnTo>
                  <a:lnTo>
                    <a:pt x="15" y="28"/>
                  </a:lnTo>
                  <a:lnTo>
                    <a:pt x="22" y="31"/>
                  </a:lnTo>
                  <a:lnTo>
                    <a:pt x="37" y="25"/>
                  </a:lnTo>
                  <a:lnTo>
                    <a:pt x="43" y="28"/>
                  </a:lnTo>
                  <a:lnTo>
                    <a:pt x="46" y="26"/>
                  </a:lnTo>
                  <a:lnTo>
                    <a:pt x="44" y="16"/>
                  </a:lnTo>
                  <a:lnTo>
                    <a:pt x="44" y="15"/>
                  </a:lnTo>
                  <a:lnTo>
                    <a:pt x="56" y="6"/>
                  </a:lnTo>
                  <a:lnTo>
                    <a:pt x="59" y="6"/>
                  </a:lnTo>
                  <a:lnTo>
                    <a:pt x="64" y="7"/>
                  </a:lnTo>
                  <a:lnTo>
                    <a:pt x="67" y="7"/>
                  </a:lnTo>
                  <a:lnTo>
                    <a:pt x="7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6" name="Belgium">
              <a:extLst>
                <a:ext uri="{FF2B5EF4-FFF2-40B4-BE49-F238E27FC236}">
                  <a16:creationId xmlns:a16="http://schemas.microsoft.com/office/drawing/2014/main" id="{6F12657E-4207-7829-2FA6-D82A06A49B6C}"/>
                </a:ext>
              </a:extLst>
            </p:cNvPr>
            <p:cNvSpPr>
              <a:spLocks/>
            </p:cNvSpPr>
            <p:nvPr/>
          </p:nvSpPr>
          <p:spPr bwMode="auto">
            <a:xfrm>
              <a:off x="5890898" y="3174285"/>
              <a:ext cx="83124" cy="66862"/>
            </a:xfrm>
            <a:custGeom>
              <a:avLst/>
              <a:gdLst>
                <a:gd name="T0" fmla="*/ 9 w 46"/>
                <a:gd name="T1" fmla="*/ 0 h 37"/>
                <a:gd name="T2" fmla="*/ 11 w 46"/>
                <a:gd name="T3" fmla="*/ 0 h 37"/>
                <a:gd name="T4" fmla="*/ 15 w 46"/>
                <a:gd name="T5" fmla="*/ 3 h 37"/>
                <a:gd name="T6" fmla="*/ 18 w 46"/>
                <a:gd name="T7" fmla="*/ 3 h 37"/>
                <a:gd name="T8" fmla="*/ 21 w 46"/>
                <a:gd name="T9" fmla="*/ 2 h 37"/>
                <a:gd name="T10" fmla="*/ 26 w 46"/>
                <a:gd name="T11" fmla="*/ 2 h 37"/>
                <a:gd name="T12" fmla="*/ 29 w 46"/>
                <a:gd name="T13" fmla="*/ 0 h 37"/>
                <a:gd name="T14" fmla="*/ 32 w 46"/>
                <a:gd name="T15" fmla="*/ 0 h 37"/>
                <a:gd name="T16" fmla="*/ 37 w 46"/>
                <a:gd name="T17" fmla="*/ 5 h 37"/>
                <a:gd name="T18" fmla="*/ 39 w 46"/>
                <a:gd name="T19" fmla="*/ 5 h 37"/>
                <a:gd name="T20" fmla="*/ 39 w 46"/>
                <a:gd name="T21" fmla="*/ 12 h 37"/>
                <a:gd name="T22" fmla="*/ 43 w 46"/>
                <a:gd name="T23" fmla="*/ 14 h 37"/>
                <a:gd name="T24" fmla="*/ 46 w 46"/>
                <a:gd name="T25" fmla="*/ 20 h 37"/>
                <a:gd name="T26" fmla="*/ 45 w 46"/>
                <a:gd name="T27" fmla="*/ 25 h 37"/>
                <a:gd name="T28" fmla="*/ 39 w 46"/>
                <a:gd name="T29" fmla="*/ 31 h 37"/>
                <a:gd name="T30" fmla="*/ 40 w 46"/>
                <a:gd name="T31" fmla="*/ 37 h 37"/>
                <a:gd name="T32" fmla="*/ 39 w 46"/>
                <a:gd name="T33" fmla="*/ 37 h 37"/>
                <a:gd name="T34" fmla="*/ 30 w 46"/>
                <a:gd name="T35" fmla="*/ 34 h 37"/>
                <a:gd name="T36" fmla="*/ 29 w 46"/>
                <a:gd name="T37" fmla="*/ 34 h 37"/>
                <a:gd name="T38" fmla="*/ 29 w 46"/>
                <a:gd name="T39" fmla="*/ 27 h 37"/>
                <a:gd name="T40" fmla="*/ 27 w 46"/>
                <a:gd name="T41" fmla="*/ 27 h 37"/>
                <a:gd name="T42" fmla="*/ 26 w 46"/>
                <a:gd name="T43" fmla="*/ 28 h 37"/>
                <a:gd name="T44" fmla="*/ 23 w 46"/>
                <a:gd name="T45" fmla="*/ 28 h 37"/>
                <a:gd name="T46" fmla="*/ 21 w 46"/>
                <a:gd name="T47" fmla="*/ 30 h 37"/>
                <a:gd name="T48" fmla="*/ 20 w 46"/>
                <a:gd name="T49" fmla="*/ 30 h 37"/>
                <a:gd name="T50" fmla="*/ 20 w 46"/>
                <a:gd name="T51" fmla="*/ 28 h 37"/>
                <a:gd name="T52" fmla="*/ 17 w 46"/>
                <a:gd name="T53" fmla="*/ 22 h 37"/>
                <a:gd name="T54" fmla="*/ 2 w 46"/>
                <a:gd name="T55" fmla="*/ 12 h 37"/>
                <a:gd name="T56" fmla="*/ 0 w 46"/>
                <a:gd name="T57" fmla="*/ 12 h 37"/>
                <a:gd name="T58" fmla="*/ 0 w 46"/>
                <a:gd name="T59" fmla="*/ 6 h 37"/>
                <a:gd name="T60" fmla="*/ 2 w 46"/>
                <a:gd name="T61" fmla="*/ 6 h 37"/>
                <a:gd name="T62" fmla="*/ 9 w 46"/>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7">
                  <a:moveTo>
                    <a:pt x="9" y="0"/>
                  </a:moveTo>
                  <a:lnTo>
                    <a:pt x="11" y="0"/>
                  </a:lnTo>
                  <a:lnTo>
                    <a:pt x="15" y="3"/>
                  </a:lnTo>
                  <a:lnTo>
                    <a:pt x="18" y="3"/>
                  </a:lnTo>
                  <a:lnTo>
                    <a:pt x="21" y="2"/>
                  </a:lnTo>
                  <a:lnTo>
                    <a:pt x="26" y="2"/>
                  </a:lnTo>
                  <a:lnTo>
                    <a:pt x="29" y="0"/>
                  </a:lnTo>
                  <a:lnTo>
                    <a:pt x="32" y="0"/>
                  </a:lnTo>
                  <a:lnTo>
                    <a:pt x="37" y="5"/>
                  </a:lnTo>
                  <a:lnTo>
                    <a:pt x="39" y="5"/>
                  </a:lnTo>
                  <a:lnTo>
                    <a:pt x="39" y="12"/>
                  </a:lnTo>
                  <a:lnTo>
                    <a:pt x="43" y="14"/>
                  </a:lnTo>
                  <a:lnTo>
                    <a:pt x="46" y="20"/>
                  </a:lnTo>
                  <a:lnTo>
                    <a:pt x="45" y="25"/>
                  </a:lnTo>
                  <a:lnTo>
                    <a:pt x="39" y="31"/>
                  </a:lnTo>
                  <a:lnTo>
                    <a:pt x="40" y="37"/>
                  </a:lnTo>
                  <a:lnTo>
                    <a:pt x="39" y="37"/>
                  </a:lnTo>
                  <a:lnTo>
                    <a:pt x="30" y="34"/>
                  </a:lnTo>
                  <a:lnTo>
                    <a:pt x="29" y="34"/>
                  </a:lnTo>
                  <a:lnTo>
                    <a:pt x="29" y="27"/>
                  </a:lnTo>
                  <a:lnTo>
                    <a:pt x="27" y="27"/>
                  </a:lnTo>
                  <a:lnTo>
                    <a:pt x="26" y="28"/>
                  </a:lnTo>
                  <a:lnTo>
                    <a:pt x="23" y="28"/>
                  </a:lnTo>
                  <a:lnTo>
                    <a:pt x="21" y="30"/>
                  </a:lnTo>
                  <a:lnTo>
                    <a:pt x="20" y="30"/>
                  </a:lnTo>
                  <a:lnTo>
                    <a:pt x="20" y="28"/>
                  </a:lnTo>
                  <a:lnTo>
                    <a:pt x="17" y="22"/>
                  </a:lnTo>
                  <a:lnTo>
                    <a:pt x="2" y="12"/>
                  </a:lnTo>
                  <a:lnTo>
                    <a:pt x="0" y="12"/>
                  </a:lnTo>
                  <a:lnTo>
                    <a:pt x="0" y="6"/>
                  </a:lnTo>
                  <a:lnTo>
                    <a:pt x="2" y="6"/>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7" name="Poland">
              <a:extLst>
                <a:ext uri="{FF2B5EF4-FFF2-40B4-BE49-F238E27FC236}">
                  <a16:creationId xmlns:a16="http://schemas.microsoft.com/office/drawing/2014/main" id="{F65D46F4-7F22-52B5-BC73-8BA7D86E60B8}"/>
                </a:ext>
              </a:extLst>
            </p:cNvPr>
            <p:cNvSpPr>
              <a:spLocks/>
            </p:cNvSpPr>
            <p:nvPr/>
          </p:nvSpPr>
          <p:spPr bwMode="auto">
            <a:xfrm>
              <a:off x="6160151" y="3038754"/>
              <a:ext cx="234918" cy="222269"/>
            </a:xfrm>
            <a:custGeom>
              <a:avLst/>
              <a:gdLst>
                <a:gd name="T0" fmla="*/ 51 w 130"/>
                <a:gd name="T1" fmla="*/ 0 h 123"/>
                <a:gd name="T2" fmla="*/ 59 w 130"/>
                <a:gd name="T3" fmla="*/ 0 h 123"/>
                <a:gd name="T4" fmla="*/ 59 w 130"/>
                <a:gd name="T5" fmla="*/ 1 h 123"/>
                <a:gd name="T6" fmla="*/ 60 w 130"/>
                <a:gd name="T7" fmla="*/ 4 h 123"/>
                <a:gd name="T8" fmla="*/ 60 w 130"/>
                <a:gd name="T9" fmla="*/ 6 h 123"/>
                <a:gd name="T10" fmla="*/ 57 w 130"/>
                <a:gd name="T11" fmla="*/ 4 h 123"/>
                <a:gd name="T12" fmla="*/ 60 w 130"/>
                <a:gd name="T13" fmla="*/ 11 h 123"/>
                <a:gd name="T14" fmla="*/ 71 w 130"/>
                <a:gd name="T15" fmla="*/ 9 h 123"/>
                <a:gd name="T16" fmla="*/ 89 w 130"/>
                <a:gd name="T17" fmla="*/ 10 h 123"/>
                <a:gd name="T18" fmla="*/ 114 w 130"/>
                <a:gd name="T19" fmla="*/ 10 h 123"/>
                <a:gd name="T20" fmla="*/ 123 w 130"/>
                <a:gd name="T21" fmla="*/ 17 h 123"/>
                <a:gd name="T22" fmla="*/ 124 w 130"/>
                <a:gd name="T23" fmla="*/ 20 h 123"/>
                <a:gd name="T24" fmla="*/ 127 w 130"/>
                <a:gd name="T25" fmla="*/ 47 h 123"/>
                <a:gd name="T26" fmla="*/ 120 w 130"/>
                <a:gd name="T27" fmla="*/ 56 h 123"/>
                <a:gd name="T28" fmla="*/ 123 w 130"/>
                <a:gd name="T29" fmla="*/ 62 h 123"/>
                <a:gd name="T30" fmla="*/ 123 w 130"/>
                <a:gd name="T31" fmla="*/ 71 h 123"/>
                <a:gd name="T32" fmla="*/ 130 w 130"/>
                <a:gd name="T33" fmla="*/ 90 h 123"/>
                <a:gd name="T34" fmla="*/ 130 w 130"/>
                <a:gd name="T35" fmla="*/ 92 h 123"/>
                <a:gd name="T36" fmla="*/ 117 w 130"/>
                <a:gd name="T37" fmla="*/ 106 h 123"/>
                <a:gd name="T38" fmla="*/ 112 w 130"/>
                <a:gd name="T39" fmla="*/ 115 h 123"/>
                <a:gd name="T40" fmla="*/ 112 w 130"/>
                <a:gd name="T41" fmla="*/ 123 h 123"/>
                <a:gd name="T42" fmla="*/ 108 w 130"/>
                <a:gd name="T43" fmla="*/ 123 h 123"/>
                <a:gd name="T44" fmla="*/ 94 w 130"/>
                <a:gd name="T45" fmla="*/ 115 h 123"/>
                <a:gd name="T46" fmla="*/ 93 w 130"/>
                <a:gd name="T47" fmla="*/ 115 h 123"/>
                <a:gd name="T48" fmla="*/ 90 w 130"/>
                <a:gd name="T49" fmla="*/ 117 h 123"/>
                <a:gd name="T50" fmla="*/ 87 w 130"/>
                <a:gd name="T51" fmla="*/ 117 h 123"/>
                <a:gd name="T52" fmla="*/ 83 w 130"/>
                <a:gd name="T53" fmla="*/ 118 h 123"/>
                <a:gd name="T54" fmla="*/ 80 w 130"/>
                <a:gd name="T55" fmla="*/ 118 h 123"/>
                <a:gd name="T56" fmla="*/ 77 w 130"/>
                <a:gd name="T57" fmla="*/ 120 h 123"/>
                <a:gd name="T58" fmla="*/ 75 w 130"/>
                <a:gd name="T59" fmla="*/ 120 h 123"/>
                <a:gd name="T60" fmla="*/ 69 w 130"/>
                <a:gd name="T61" fmla="*/ 114 h 123"/>
                <a:gd name="T62" fmla="*/ 63 w 130"/>
                <a:gd name="T63" fmla="*/ 115 h 123"/>
                <a:gd name="T64" fmla="*/ 56 w 130"/>
                <a:gd name="T65" fmla="*/ 111 h 123"/>
                <a:gd name="T66" fmla="*/ 46 w 130"/>
                <a:gd name="T67" fmla="*/ 103 h 123"/>
                <a:gd name="T68" fmla="*/ 46 w 130"/>
                <a:gd name="T69" fmla="*/ 97 h 123"/>
                <a:gd name="T70" fmla="*/ 37 w 130"/>
                <a:gd name="T71" fmla="*/ 96 h 123"/>
                <a:gd name="T72" fmla="*/ 34 w 130"/>
                <a:gd name="T73" fmla="*/ 100 h 123"/>
                <a:gd name="T74" fmla="*/ 22 w 130"/>
                <a:gd name="T75" fmla="*/ 89 h 123"/>
                <a:gd name="T76" fmla="*/ 13 w 130"/>
                <a:gd name="T77" fmla="*/ 84 h 123"/>
                <a:gd name="T78" fmla="*/ 7 w 130"/>
                <a:gd name="T79" fmla="*/ 87 h 123"/>
                <a:gd name="T80" fmla="*/ 7 w 130"/>
                <a:gd name="T81" fmla="*/ 86 h 123"/>
                <a:gd name="T82" fmla="*/ 8 w 130"/>
                <a:gd name="T83" fmla="*/ 75 h 123"/>
                <a:gd name="T84" fmla="*/ 6 w 130"/>
                <a:gd name="T85" fmla="*/ 71 h 123"/>
                <a:gd name="T86" fmla="*/ 3 w 130"/>
                <a:gd name="T87" fmla="*/ 47 h 123"/>
                <a:gd name="T88" fmla="*/ 0 w 130"/>
                <a:gd name="T89" fmla="*/ 46 h 123"/>
                <a:gd name="T90" fmla="*/ 0 w 130"/>
                <a:gd name="T91" fmla="*/ 44 h 123"/>
                <a:gd name="T92" fmla="*/ 1 w 130"/>
                <a:gd name="T93" fmla="*/ 34 h 123"/>
                <a:gd name="T94" fmla="*/ 0 w 130"/>
                <a:gd name="T95" fmla="*/ 25 h 123"/>
                <a:gd name="T96" fmla="*/ 0 w 130"/>
                <a:gd name="T97" fmla="*/ 23 h 123"/>
                <a:gd name="T98" fmla="*/ 4 w 130"/>
                <a:gd name="T99" fmla="*/ 25 h 123"/>
                <a:gd name="T100" fmla="*/ 4 w 130"/>
                <a:gd name="T101" fmla="*/ 23 h 123"/>
                <a:gd name="T102" fmla="*/ 1 w 130"/>
                <a:gd name="T103" fmla="*/ 23 h 123"/>
                <a:gd name="T104" fmla="*/ 1 w 130"/>
                <a:gd name="T105" fmla="*/ 22 h 123"/>
                <a:gd name="T106" fmla="*/ 3 w 130"/>
                <a:gd name="T107" fmla="*/ 19 h 123"/>
                <a:gd name="T108" fmla="*/ 40 w 130"/>
                <a:gd name="T109" fmla="*/ 1 h 123"/>
                <a:gd name="T110" fmla="*/ 47 w 130"/>
                <a:gd name="T111" fmla="*/ 1 h 123"/>
                <a:gd name="T112" fmla="*/ 51 w 130"/>
                <a:gd name="T11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23">
                  <a:moveTo>
                    <a:pt x="51" y="0"/>
                  </a:moveTo>
                  <a:lnTo>
                    <a:pt x="59" y="0"/>
                  </a:lnTo>
                  <a:lnTo>
                    <a:pt x="59" y="1"/>
                  </a:lnTo>
                  <a:lnTo>
                    <a:pt x="60" y="4"/>
                  </a:lnTo>
                  <a:lnTo>
                    <a:pt x="60" y="6"/>
                  </a:lnTo>
                  <a:lnTo>
                    <a:pt x="57" y="4"/>
                  </a:lnTo>
                  <a:lnTo>
                    <a:pt x="60" y="11"/>
                  </a:lnTo>
                  <a:lnTo>
                    <a:pt x="71" y="9"/>
                  </a:lnTo>
                  <a:lnTo>
                    <a:pt x="89" y="10"/>
                  </a:lnTo>
                  <a:lnTo>
                    <a:pt x="114" y="10"/>
                  </a:lnTo>
                  <a:lnTo>
                    <a:pt x="123" y="17"/>
                  </a:lnTo>
                  <a:lnTo>
                    <a:pt x="124" y="20"/>
                  </a:lnTo>
                  <a:lnTo>
                    <a:pt x="127" y="47"/>
                  </a:lnTo>
                  <a:lnTo>
                    <a:pt x="120" y="56"/>
                  </a:lnTo>
                  <a:lnTo>
                    <a:pt x="123" y="62"/>
                  </a:lnTo>
                  <a:lnTo>
                    <a:pt x="123" y="71"/>
                  </a:lnTo>
                  <a:lnTo>
                    <a:pt x="130" y="90"/>
                  </a:lnTo>
                  <a:lnTo>
                    <a:pt x="130" y="92"/>
                  </a:lnTo>
                  <a:lnTo>
                    <a:pt x="117" y="106"/>
                  </a:lnTo>
                  <a:lnTo>
                    <a:pt x="112" y="115"/>
                  </a:lnTo>
                  <a:lnTo>
                    <a:pt x="112" y="123"/>
                  </a:lnTo>
                  <a:lnTo>
                    <a:pt x="108" y="123"/>
                  </a:lnTo>
                  <a:lnTo>
                    <a:pt x="94" y="115"/>
                  </a:lnTo>
                  <a:lnTo>
                    <a:pt x="93" y="115"/>
                  </a:lnTo>
                  <a:lnTo>
                    <a:pt x="90" y="117"/>
                  </a:lnTo>
                  <a:lnTo>
                    <a:pt x="87" y="117"/>
                  </a:lnTo>
                  <a:lnTo>
                    <a:pt x="83" y="118"/>
                  </a:lnTo>
                  <a:lnTo>
                    <a:pt x="80" y="118"/>
                  </a:lnTo>
                  <a:lnTo>
                    <a:pt x="77" y="120"/>
                  </a:lnTo>
                  <a:lnTo>
                    <a:pt x="75" y="120"/>
                  </a:lnTo>
                  <a:lnTo>
                    <a:pt x="69" y="114"/>
                  </a:lnTo>
                  <a:lnTo>
                    <a:pt x="63" y="115"/>
                  </a:lnTo>
                  <a:lnTo>
                    <a:pt x="56" y="111"/>
                  </a:lnTo>
                  <a:lnTo>
                    <a:pt x="46" y="103"/>
                  </a:lnTo>
                  <a:lnTo>
                    <a:pt x="46" y="97"/>
                  </a:lnTo>
                  <a:lnTo>
                    <a:pt x="37" y="96"/>
                  </a:lnTo>
                  <a:lnTo>
                    <a:pt x="34" y="100"/>
                  </a:lnTo>
                  <a:lnTo>
                    <a:pt x="22" y="89"/>
                  </a:lnTo>
                  <a:lnTo>
                    <a:pt x="13" y="84"/>
                  </a:lnTo>
                  <a:lnTo>
                    <a:pt x="7" y="87"/>
                  </a:lnTo>
                  <a:lnTo>
                    <a:pt x="7" y="86"/>
                  </a:lnTo>
                  <a:lnTo>
                    <a:pt x="8" y="75"/>
                  </a:lnTo>
                  <a:lnTo>
                    <a:pt x="6" y="71"/>
                  </a:lnTo>
                  <a:lnTo>
                    <a:pt x="3" y="47"/>
                  </a:lnTo>
                  <a:lnTo>
                    <a:pt x="0" y="46"/>
                  </a:lnTo>
                  <a:lnTo>
                    <a:pt x="0" y="44"/>
                  </a:lnTo>
                  <a:lnTo>
                    <a:pt x="1" y="34"/>
                  </a:lnTo>
                  <a:lnTo>
                    <a:pt x="0" y="25"/>
                  </a:lnTo>
                  <a:lnTo>
                    <a:pt x="0" y="23"/>
                  </a:lnTo>
                  <a:lnTo>
                    <a:pt x="4" y="25"/>
                  </a:lnTo>
                  <a:lnTo>
                    <a:pt x="4" y="23"/>
                  </a:lnTo>
                  <a:lnTo>
                    <a:pt x="1" y="23"/>
                  </a:lnTo>
                  <a:lnTo>
                    <a:pt x="1" y="22"/>
                  </a:lnTo>
                  <a:lnTo>
                    <a:pt x="3" y="19"/>
                  </a:lnTo>
                  <a:lnTo>
                    <a:pt x="40" y="1"/>
                  </a:lnTo>
                  <a:lnTo>
                    <a:pt x="47" y="1"/>
                  </a:lnTo>
                  <a:lnTo>
                    <a:pt x="5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8" name="Sardinia (Italy)">
              <a:extLst>
                <a:ext uri="{FF2B5EF4-FFF2-40B4-BE49-F238E27FC236}">
                  <a16:creationId xmlns:a16="http://schemas.microsoft.com/office/drawing/2014/main" id="{09F43F3F-CB12-BFE0-5AE6-5B9998E9BACA}"/>
                </a:ext>
              </a:extLst>
            </p:cNvPr>
            <p:cNvSpPr>
              <a:spLocks/>
            </p:cNvSpPr>
            <p:nvPr/>
          </p:nvSpPr>
          <p:spPr bwMode="auto">
            <a:xfrm>
              <a:off x="6021007" y="3517627"/>
              <a:ext cx="34334" cy="77705"/>
            </a:xfrm>
            <a:custGeom>
              <a:avLst/>
              <a:gdLst>
                <a:gd name="T0" fmla="*/ 11 w 19"/>
                <a:gd name="T1" fmla="*/ 0 h 43"/>
                <a:gd name="T2" fmla="*/ 13 w 19"/>
                <a:gd name="T3" fmla="*/ 0 h 43"/>
                <a:gd name="T4" fmla="*/ 17 w 19"/>
                <a:gd name="T5" fmla="*/ 3 h 43"/>
                <a:gd name="T6" fmla="*/ 19 w 19"/>
                <a:gd name="T7" fmla="*/ 10 h 43"/>
                <a:gd name="T8" fmla="*/ 19 w 19"/>
                <a:gd name="T9" fmla="*/ 34 h 43"/>
                <a:gd name="T10" fmla="*/ 17 w 19"/>
                <a:gd name="T11" fmla="*/ 37 h 43"/>
                <a:gd name="T12" fmla="*/ 17 w 19"/>
                <a:gd name="T13" fmla="*/ 39 h 43"/>
                <a:gd name="T14" fmla="*/ 16 w 19"/>
                <a:gd name="T15" fmla="*/ 39 h 43"/>
                <a:gd name="T16" fmla="*/ 14 w 19"/>
                <a:gd name="T17" fmla="*/ 37 h 43"/>
                <a:gd name="T18" fmla="*/ 13 w 19"/>
                <a:gd name="T19" fmla="*/ 37 h 43"/>
                <a:gd name="T20" fmla="*/ 8 w 19"/>
                <a:gd name="T21" fmla="*/ 43 h 43"/>
                <a:gd name="T22" fmla="*/ 7 w 19"/>
                <a:gd name="T23" fmla="*/ 43 h 43"/>
                <a:gd name="T24" fmla="*/ 2 w 19"/>
                <a:gd name="T25" fmla="*/ 36 h 43"/>
                <a:gd name="T26" fmla="*/ 2 w 19"/>
                <a:gd name="T27" fmla="*/ 25 h 43"/>
                <a:gd name="T28" fmla="*/ 0 w 19"/>
                <a:gd name="T29" fmla="*/ 7 h 43"/>
                <a:gd name="T30" fmla="*/ 0 w 19"/>
                <a:gd name="T31" fmla="*/ 6 h 43"/>
                <a:gd name="T32" fmla="*/ 4 w 19"/>
                <a:gd name="T33" fmla="*/ 7 h 43"/>
                <a:gd name="T34" fmla="*/ 11 w 19"/>
                <a:gd name="T3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43">
                  <a:moveTo>
                    <a:pt x="11" y="0"/>
                  </a:moveTo>
                  <a:lnTo>
                    <a:pt x="13" y="0"/>
                  </a:lnTo>
                  <a:lnTo>
                    <a:pt x="17" y="3"/>
                  </a:lnTo>
                  <a:lnTo>
                    <a:pt x="19" y="10"/>
                  </a:lnTo>
                  <a:lnTo>
                    <a:pt x="19" y="34"/>
                  </a:lnTo>
                  <a:lnTo>
                    <a:pt x="17" y="37"/>
                  </a:lnTo>
                  <a:lnTo>
                    <a:pt x="17" y="39"/>
                  </a:lnTo>
                  <a:lnTo>
                    <a:pt x="16" y="39"/>
                  </a:lnTo>
                  <a:lnTo>
                    <a:pt x="14" y="37"/>
                  </a:lnTo>
                  <a:lnTo>
                    <a:pt x="13" y="37"/>
                  </a:lnTo>
                  <a:lnTo>
                    <a:pt x="8" y="43"/>
                  </a:lnTo>
                  <a:lnTo>
                    <a:pt x="7" y="43"/>
                  </a:lnTo>
                  <a:lnTo>
                    <a:pt x="2" y="36"/>
                  </a:lnTo>
                  <a:lnTo>
                    <a:pt x="2" y="25"/>
                  </a:lnTo>
                  <a:lnTo>
                    <a:pt x="0" y="7"/>
                  </a:lnTo>
                  <a:lnTo>
                    <a:pt x="0" y="6"/>
                  </a:lnTo>
                  <a:lnTo>
                    <a:pt x="4" y="7"/>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9" name="Sicily (Italy)">
              <a:extLst>
                <a:ext uri="{FF2B5EF4-FFF2-40B4-BE49-F238E27FC236}">
                  <a16:creationId xmlns:a16="http://schemas.microsoft.com/office/drawing/2014/main" id="{87A5D737-006F-F82B-D4F2-F525CD2E305B}"/>
                </a:ext>
              </a:extLst>
            </p:cNvPr>
            <p:cNvSpPr>
              <a:spLocks/>
            </p:cNvSpPr>
            <p:nvPr/>
          </p:nvSpPr>
          <p:spPr bwMode="auto">
            <a:xfrm>
              <a:off x="6122202" y="3611594"/>
              <a:ext cx="74090" cy="48791"/>
            </a:xfrm>
            <a:custGeom>
              <a:avLst/>
              <a:gdLst>
                <a:gd name="T0" fmla="*/ 7 w 41"/>
                <a:gd name="T1" fmla="*/ 0 h 27"/>
                <a:gd name="T2" fmla="*/ 16 w 41"/>
                <a:gd name="T3" fmla="*/ 4 h 27"/>
                <a:gd name="T4" fmla="*/ 21 w 41"/>
                <a:gd name="T5" fmla="*/ 4 h 27"/>
                <a:gd name="T6" fmla="*/ 28 w 41"/>
                <a:gd name="T7" fmla="*/ 1 h 27"/>
                <a:gd name="T8" fmla="*/ 37 w 41"/>
                <a:gd name="T9" fmla="*/ 0 h 27"/>
                <a:gd name="T10" fmla="*/ 41 w 41"/>
                <a:gd name="T11" fmla="*/ 0 h 27"/>
                <a:gd name="T12" fmla="*/ 41 w 41"/>
                <a:gd name="T13" fmla="*/ 1 h 27"/>
                <a:gd name="T14" fmla="*/ 34 w 41"/>
                <a:gd name="T15" fmla="*/ 15 h 27"/>
                <a:gd name="T16" fmla="*/ 35 w 41"/>
                <a:gd name="T17" fmla="*/ 21 h 27"/>
                <a:gd name="T18" fmla="*/ 34 w 41"/>
                <a:gd name="T19" fmla="*/ 25 h 27"/>
                <a:gd name="T20" fmla="*/ 34 w 41"/>
                <a:gd name="T21" fmla="*/ 27 h 27"/>
                <a:gd name="T22" fmla="*/ 28 w 41"/>
                <a:gd name="T23" fmla="*/ 27 h 27"/>
                <a:gd name="T24" fmla="*/ 24 w 41"/>
                <a:gd name="T25" fmla="*/ 22 h 27"/>
                <a:gd name="T26" fmla="*/ 1 w 41"/>
                <a:gd name="T27" fmla="*/ 12 h 27"/>
                <a:gd name="T28" fmla="*/ 0 w 41"/>
                <a:gd name="T29" fmla="*/ 6 h 27"/>
                <a:gd name="T30" fmla="*/ 1 w 41"/>
                <a:gd name="T31" fmla="*/ 1 h 27"/>
                <a:gd name="T32" fmla="*/ 7 w 41"/>
                <a:gd name="T3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27">
                  <a:moveTo>
                    <a:pt x="7" y="0"/>
                  </a:moveTo>
                  <a:lnTo>
                    <a:pt x="16" y="4"/>
                  </a:lnTo>
                  <a:lnTo>
                    <a:pt x="21" y="4"/>
                  </a:lnTo>
                  <a:lnTo>
                    <a:pt x="28" y="1"/>
                  </a:lnTo>
                  <a:lnTo>
                    <a:pt x="37" y="0"/>
                  </a:lnTo>
                  <a:lnTo>
                    <a:pt x="41" y="0"/>
                  </a:lnTo>
                  <a:lnTo>
                    <a:pt x="41" y="1"/>
                  </a:lnTo>
                  <a:lnTo>
                    <a:pt x="34" y="15"/>
                  </a:lnTo>
                  <a:lnTo>
                    <a:pt x="35" y="21"/>
                  </a:lnTo>
                  <a:lnTo>
                    <a:pt x="34" y="25"/>
                  </a:lnTo>
                  <a:lnTo>
                    <a:pt x="34" y="27"/>
                  </a:lnTo>
                  <a:lnTo>
                    <a:pt x="28" y="27"/>
                  </a:lnTo>
                  <a:lnTo>
                    <a:pt x="24" y="22"/>
                  </a:lnTo>
                  <a:lnTo>
                    <a:pt x="1" y="12"/>
                  </a:lnTo>
                  <a:lnTo>
                    <a:pt x="0" y="6"/>
                  </a:lnTo>
                  <a:lnTo>
                    <a:pt x="1" y="1"/>
                  </a:lnTo>
                  <a:lnTo>
                    <a:pt x="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0" name="Italy">
              <a:extLst>
                <a:ext uri="{FF2B5EF4-FFF2-40B4-BE49-F238E27FC236}">
                  <a16:creationId xmlns:a16="http://schemas.microsoft.com/office/drawing/2014/main" id="{68724D84-4974-6F98-69D3-415683C6772A}"/>
                </a:ext>
              </a:extLst>
            </p:cNvPr>
            <p:cNvSpPr>
              <a:spLocks/>
            </p:cNvSpPr>
            <p:nvPr/>
          </p:nvSpPr>
          <p:spPr bwMode="auto">
            <a:xfrm>
              <a:off x="5984866" y="3327884"/>
              <a:ext cx="278288" cy="294552"/>
            </a:xfrm>
            <a:custGeom>
              <a:avLst/>
              <a:gdLst>
                <a:gd name="T0" fmla="*/ 71 w 154"/>
                <a:gd name="T1" fmla="*/ 0 h 163"/>
                <a:gd name="T2" fmla="*/ 76 w 154"/>
                <a:gd name="T3" fmla="*/ 9 h 163"/>
                <a:gd name="T4" fmla="*/ 92 w 154"/>
                <a:gd name="T5" fmla="*/ 12 h 163"/>
                <a:gd name="T6" fmla="*/ 91 w 154"/>
                <a:gd name="T7" fmla="*/ 13 h 163"/>
                <a:gd name="T8" fmla="*/ 91 w 154"/>
                <a:gd name="T9" fmla="*/ 16 h 163"/>
                <a:gd name="T10" fmla="*/ 95 w 154"/>
                <a:gd name="T11" fmla="*/ 28 h 163"/>
                <a:gd name="T12" fmla="*/ 94 w 154"/>
                <a:gd name="T13" fmla="*/ 29 h 163"/>
                <a:gd name="T14" fmla="*/ 91 w 154"/>
                <a:gd name="T15" fmla="*/ 29 h 163"/>
                <a:gd name="T16" fmla="*/ 83 w 154"/>
                <a:gd name="T17" fmla="*/ 26 h 163"/>
                <a:gd name="T18" fmla="*/ 74 w 154"/>
                <a:gd name="T19" fmla="*/ 38 h 163"/>
                <a:gd name="T20" fmla="*/ 76 w 154"/>
                <a:gd name="T21" fmla="*/ 41 h 163"/>
                <a:gd name="T22" fmla="*/ 76 w 154"/>
                <a:gd name="T23" fmla="*/ 55 h 163"/>
                <a:gd name="T24" fmla="*/ 98 w 154"/>
                <a:gd name="T25" fmla="*/ 83 h 163"/>
                <a:gd name="T26" fmla="*/ 111 w 154"/>
                <a:gd name="T27" fmla="*/ 96 h 163"/>
                <a:gd name="T28" fmla="*/ 114 w 154"/>
                <a:gd name="T29" fmla="*/ 95 h 163"/>
                <a:gd name="T30" fmla="*/ 120 w 154"/>
                <a:gd name="T31" fmla="*/ 93 h 163"/>
                <a:gd name="T32" fmla="*/ 122 w 154"/>
                <a:gd name="T33" fmla="*/ 95 h 163"/>
                <a:gd name="T34" fmla="*/ 123 w 154"/>
                <a:gd name="T35" fmla="*/ 96 h 163"/>
                <a:gd name="T36" fmla="*/ 147 w 154"/>
                <a:gd name="T37" fmla="*/ 115 h 163"/>
                <a:gd name="T38" fmla="*/ 154 w 154"/>
                <a:gd name="T39" fmla="*/ 127 h 163"/>
                <a:gd name="T40" fmla="*/ 151 w 154"/>
                <a:gd name="T41" fmla="*/ 132 h 163"/>
                <a:gd name="T42" fmla="*/ 137 w 154"/>
                <a:gd name="T43" fmla="*/ 120 h 163"/>
                <a:gd name="T44" fmla="*/ 129 w 154"/>
                <a:gd name="T45" fmla="*/ 132 h 163"/>
                <a:gd name="T46" fmla="*/ 137 w 154"/>
                <a:gd name="T47" fmla="*/ 145 h 163"/>
                <a:gd name="T48" fmla="*/ 129 w 154"/>
                <a:gd name="T49" fmla="*/ 155 h 163"/>
                <a:gd name="T50" fmla="*/ 117 w 154"/>
                <a:gd name="T51" fmla="*/ 163 h 163"/>
                <a:gd name="T52" fmla="*/ 119 w 154"/>
                <a:gd name="T53" fmla="*/ 151 h 163"/>
                <a:gd name="T54" fmla="*/ 123 w 154"/>
                <a:gd name="T55" fmla="*/ 148 h 163"/>
                <a:gd name="T56" fmla="*/ 114 w 154"/>
                <a:gd name="T57" fmla="*/ 130 h 163"/>
                <a:gd name="T58" fmla="*/ 113 w 154"/>
                <a:gd name="T59" fmla="*/ 129 h 163"/>
                <a:gd name="T60" fmla="*/ 105 w 154"/>
                <a:gd name="T61" fmla="*/ 118 h 163"/>
                <a:gd name="T62" fmla="*/ 91 w 154"/>
                <a:gd name="T63" fmla="*/ 108 h 163"/>
                <a:gd name="T64" fmla="*/ 64 w 154"/>
                <a:gd name="T65" fmla="*/ 89 h 163"/>
                <a:gd name="T66" fmla="*/ 49 w 154"/>
                <a:gd name="T67" fmla="*/ 75 h 163"/>
                <a:gd name="T68" fmla="*/ 27 w 154"/>
                <a:gd name="T69" fmla="*/ 52 h 163"/>
                <a:gd name="T70" fmla="*/ 12 w 154"/>
                <a:gd name="T71" fmla="*/ 62 h 163"/>
                <a:gd name="T72" fmla="*/ 11 w 154"/>
                <a:gd name="T73" fmla="*/ 56 h 163"/>
                <a:gd name="T74" fmla="*/ 5 w 154"/>
                <a:gd name="T75" fmla="*/ 55 h 163"/>
                <a:gd name="T76" fmla="*/ 0 w 154"/>
                <a:gd name="T77" fmla="*/ 43 h 163"/>
                <a:gd name="T78" fmla="*/ 3 w 154"/>
                <a:gd name="T79" fmla="*/ 35 h 163"/>
                <a:gd name="T80" fmla="*/ 3 w 154"/>
                <a:gd name="T81" fmla="*/ 23 h 163"/>
                <a:gd name="T82" fmla="*/ 22 w 154"/>
                <a:gd name="T83" fmla="*/ 13 h 163"/>
                <a:gd name="T84" fmla="*/ 30 w 154"/>
                <a:gd name="T85" fmla="*/ 22 h 163"/>
                <a:gd name="T86" fmla="*/ 34 w 154"/>
                <a:gd name="T87" fmla="*/ 12 h 163"/>
                <a:gd name="T88" fmla="*/ 43 w 154"/>
                <a:gd name="T89" fmla="*/ 9 h 163"/>
                <a:gd name="T90" fmla="*/ 48 w 154"/>
                <a:gd name="T91" fmla="*/ 4 h 163"/>
                <a:gd name="T92" fmla="*/ 55 w 154"/>
                <a:gd name="T93" fmla="*/ 3 h 163"/>
                <a:gd name="T94" fmla="*/ 63 w 154"/>
                <a:gd name="T95" fmla="*/ 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63">
                  <a:moveTo>
                    <a:pt x="67" y="0"/>
                  </a:moveTo>
                  <a:lnTo>
                    <a:pt x="71" y="0"/>
                  </a:lnTo>
                  <a:lnTo>
                    <a:pt x="71" y="1"/>
                  </a:lnTo>
                  <a:lnTo>
                    <a:pt x="76" y="9"/>
                  </a:lnTo>
                  <a:lnTo>
                    <a:pt x="91" y="12"/>
                  </a:lnTo>
                  <a:lnTo>
                    <a:pt x="92" y="12"/>
                  </a:lnTo>
                  <a:lnTo>
                    <a:pt x="92" y="13"/>
                  </a:lnTo>
                  <a:lnTo>
                    <a:pt x="91" y="13"/>
                  </a:lnTo>
                  <a:lnTo>
                    <a:pt x="89" y="16"/>
                  </a:lnTo>
                  <a:lnTo>
                    <a:pt x="91" y="16"/>
                  </a:lnTo>
                  <a:lnTo>
                    <a:pt x="92" y="23"/>
                  </a:lnTo>
                  <a:lnTo>
                    <a:pt x="95" y="28"/>
                  </a:lnTo>
                  <a:lnTo>
                    <a:pt x="95" y="29"/>
                  </a:lnTo>
                  <a:lnTo>
                    <a:pt x="94" y="29"/>
                  </a:lnTo>
                  <a:lnTo>
                    <a:pt x="91" y="31"/>
                  </a:lnTo>
                  <a:lnTo>
                    <a:pt x="91" y="29"/>
                  </a:lnTo>
                  <a:lnTo>
                    <a:pt x="89" y="26"/>
                  </a:lnTo>
                  <a:lnTo>
                    <a:pt x="83" y="26"/>
                  </a:lnTo>
                  <a:lnTo>
                    <a:pt x="74" y="34"/>
                  </a:lnTo>
                  <a:lnTo>
                    <a:pt x="74" y="38"/>
                  </a:lnTo>
                  <a:lnTo>
                    <a:pt x="76" y="40"/>
                  </a:lnTo>
                  <a:lnTo>
                    <a:pt x="76" y="41"/>
                  </a:lnTo>
                  <a:lnTo>
                    <a:pt x="74" y="47"/>
                  </a:lnTo>
                  <a:lnTo>
                    <a:pt x="76" y="55"/>
                  </a:lnTo>
                  <a:lnTo>
                    <a:pt x="89" y="65"/>
                  </a:lnTo>
                  <a:lnTo>
                    <a:pt x="98" y="83"/>
                  </a:lnTo>
                  <a:lnTo>
                    <a:pt x="104" y="92"/>
                  </a:lnTo>
                  <a:lnTo>
                    <a:pt x="111" y="96"/>
                  </a:lnTo>
                  <a:lnTo>
                    <a:pt x="113" y="96"/>
                  </a:lnTo>
                  <a:lnTo>
                    <a:pt x="114" y="95"/>
                  </a:lnTo>
                  <a:lnTo>
                    <a:pt x="119" y="95"/>
                  </a:lnTo>
                  <a:lnTo>
                    <a:pt x="120" y="93"/>
                  </a:lnTo>
                  <a:lnTo>
                    <a:pt x="122" y="93"/>
                  </a:lnTo>
                  <a:lnTo>
                    <a:pt x="122" y="95"/>
                  </a:lnTo>
                  <a:lnTo>
                    <a:pt x="123" y="95"/>
                  </a:lnTo>
                  <a:lnTo>
                    <a:pt x="123" y="96"/>
                  </a:lnTo>
                  <a:lnTo>
                    <a:pt x="122" y="102"/>
                  </a:lnTo>
                  <a:lnTo>
                    <a:pt x="147" y="115"/>
                  </a:lnTo>
                  <a:lnTo>
                    <a:pt x="154" y="126"/>
                  </a:lnTo>
                  <a:lnTo>
                    <a:pt x="154" y="127"/>
                  </a:lnTo>
                  <a:lnTo>
                    <a:pt x="153" y="132"/>
                  </a:lnTo>
                  <a:lnTo>
                    <a:pt x="151" y="132"/>
                  </a:lnTo>
                  <a:lnTo>
                    <a:pt x="146" y="124"/>
                  </a:lnTo>
                  <a:lnTo>
                    <a:pt x="137" y="120"/>
                  </a:lnTo>
                  <a:lnTo>
                    <a:pt x="132" y="123"/>
                  </a:lnTo>
                  <a:lnTo>
                    <a:pt x="129" y="132"/>
                  </a:lnTo>
                  <a:lnTo>
                    <a:pt x="137" y="138"/>
                  </a:lnTo>
                  <a:lnTo>
                    <a:pt x="137" y="145"/>
                  </a:lnTo>
                  <a:lnTo>
                    <a:pt x="131" y="148"/>
                  </a:lnTo>
                  <a:lnTo>
                    <a:pt x="129" y="155"/>
                  </a:lnTo>
                  <a:lnTo>
                    <a:pt x="123" y="163"/>
                  </a:lnTo>
                  <a:lnTo>
                    <a:pt x="117" y="163"/>
                  </a:lnTo>
                  <a:lnTo>
                    <a:pt x="116" y="158"/>
                  </a:lnTo>
                  <a:lnTo>
                    <a:pt x="119" y="151"/>
                  </a:lnTo>
                  <a:lnTo>
                    <a:pt x="119" y="149"/>
                  </a:lnTo>
                  <a:lnTo>
                    <a:pt x="123" y="148"/>
                  </a:lnTo>
                  <a:lnTo>
                    <a:pt x="116" y="129"/>
                  </a:lnTo>
                  <a:lnTo>
                    <a:pt x="114" y="130"/>
                  </a:lnTo>
                  <a:lnTo>
                    <a:pt x="113" y="130"/>
                  </a:lnTo>
                  <a:lnTo>
                    <a:pt x="113" y="129"/>
                  </a:lnTo>
                  <a:lnTo>
                    <a:pt x="108" y="126"/>
                  </a:lnTo>
                  <a:lnTo>
                    <a:pt x="105" y="118"/>
                  </a:lnTo>
                  <a:lnTo>
                    <a:pt x="100" y="118"/>
                  </a:lnTo>
                  <a:lnTo>
                    <a:pt x="91" y="108"/>
                  </a:lnTo>
                  <a:lnTo>
                    <a:pt x="82" y="108"/>
                  </a:lnTo>
                  <a:lnTo>
                    <a:pt x="64" y="89"/>
                  </a:lnTo>
                  <a:lnTo>
                    <a:pt x="58" y="87"/>
                  </a:lnTo>
                  <a:lnTo>
                    <a:pt x="49" y="75"/>
                  </a:lnTo>
                  <a:lnTo>
                    <a:pt x="45" y="59"/>
                  </a:lnTo>
                  <a:lnTo>
                    <a:pt x="27" y="52"/>
                  </a:lnTo>
                  <a:lnTo>
                    <a:pt x="20" y="61"/>
                  </a:lnTo>
                  <a:lnTo>
                    <a:pt x="12" y="62"/>
                  </a:lnTo>
                  <a:lnTo>
                    <a:pt x="11" y="62"/>
                  </a:lnTo>
                  <a:lnTo>
                    <a:pt x="11" y="56"/>
                  </a:lnTo>
                  <a:lnTo>
                    <a:pt x="5" y="56"/>
                  </a:lnTo>
                  <a:lnTo>
                    <a:pt x="5" y="55"/>
                  </a:lnTo>
                  <a:lnTo>
                    <a:pt x="2" y="43"/>
                  </a:lnTo>
                  <a:lnTo>
                    <a:pt x="0" y="43"/>
                  </a:lnTo>
                  <a:lnTo>
                    <a:pt x="0" y="41"/>
                  </a:lnTo>
                  <a:lnTo>
                    <a:pt x="3" y="35"/>
                  </a:lnTo>
                  <a:lnTo>
                    <a:pt x="0" y="25"/>
                  </a:lnTo>
                  <a:lnTo>
                    <a:pt x="3" y="23"/>
                  </a:lnTo>
                  <a:lnTo>
                    <a:pt x="15" y="22"/>
                  </a:lnTo>
                  <a:lnTo>
                    <a:pt x="22" y="13"/>
                  </a:lnTo>
                  <a:lnTo>
                    <a:pt x="22" y="15"/>
                  </a:lnTo>
                  <a:lnTo>
                    <a:pt x="30" y="22"/>
                  </a:lnTo>
                  <a:lnTo>
                    <a:pt x="33" y="12"/>
                  </a:lnTo>
                  <a:lnTo>
                    <a:pt x="34" y="12"/>
                  </a:lnTo>
                  <a:lnTo>
                    <a:pt x="43" y="15"/>
                  </a:lnTo>
                  <a:lnTo>
                    <a:pt x="43" y="9"/>
                  </a:lnTo>
                  <a:lnTo>
                    <a:pt x="48" y="9"/>
                  </a:lnTo>
                  <a:lnTo>
                    <a:pt x="48" y="4"/>
                  </a:lnTo>
                  <a:lnTo>
                    <a:pt x="51" y="4"/>
                  </a:lnTo>
                  <a:lnTo>
                    <a:pt x="55" y="3"/>
                  </a:lnTo>
                  <a:lnTo>
                    <a:pt x="58" y="1"/>
                  </a:lnTo>
                  <a:lnTo>
                    <a:pt x="63" y="1"/>
                  </a:lnTo>
                  <a:lnTo>
                    <a:pt x="6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1" name="Croatia">
              <a:extLst>
                <a:ext uri="{FF2B5EF4-FFF2-40B4-BE49-F238E27FC236}">
                  <a16:creationId xmlns:a16="http://schemas.microsoft.com/office/drawing/2014/main" id="{BC5FBD37-35BF-A2A8-0825-C83128D079B5}"/>
                </a:ext>
              </a:extLst>
            </p:cNvPr>
            <p:cNvSpPr>
              <a:spLocks/>
            </p:cNvSpPr>
            <p:nvPr/>
          </p:nvSpPr>
          <p:spPr bwMode="auto">
            <a:xfrm>
              <a:off x="6145695" y="3340534"/>
              <a:ext cx="142758" cy="139145"/>
            </a:xfrm>
            <a:custGeom>
              <a:avLst/>
              <a:gdLst>
                <a:gd name="T0" fmla="*/ 36 w 79"/>
                <a:gd name="T1" fmla="*/ 0 h 77"/>
                <a:gd name="T2" fmla="*/ 37 w 79"/>
                <a:gd name="T3" fmla="*/ 0 h 77"/>
                <a:gd name="T4" fmla="*/ 58 w 79"/>
                <a:gd name="T5" fmla="*/ 18 h 77"/>
                <a:gd name="T6" fmla="*/ 67 w 79"/>
                <a:gd name="T7" fmla="*/ 15 h 77"/>
                <a:gd name="T8" fmla="*/ 68 w 79"/>
                <a:gd name="T9" fmla="*/ 15 h 77"/>
                <a:gd name="T10" fmla="*/ 71 w 79"/>
                <a:gd name="T11" fmla="*/ 24 h 77"/>
                <a:gd name="T12" fmla="*/ 79 w 79"/>
                <a:gd name="T13" fmla="*/ 28 h 77"/>
                <a:gd name="T14" fmla="*/ 79 w 79"/>
                <a:gd name="T15" fmla="*/ 30 h 77"/>
                <a:gd name="T16" fmla="*/ 76 w 79"/>
                <a:gd name="T17" fmla="*/ 31 h 77"/>
                <a:gd name="T18" fmla="*/ 74 w 79"/>
                <a:gd name="T19" fmla="*/ 34 h 77"/>
                <a:gd name="T20" fmla="*/ 73 w 79"/>
                <a:gd name="T21" fmla="*/ 34 h 77"/>
                <a:gd name="T22" fmla="*/ 71 w 79"/>
                <a:gd name="T23" fmla="*/ 36 h 77"/>
                <a:gd name="T24" fmla="*/ 70 w 79"/>
                <a:gd name="T25" fmla="*/ 36 h 77"/>
                <a:gd name="T26" fmla="*/ 67 w 79"/>
                <a:gd name="T27" fmla="*/ 30 h 77"/>
                <a:gd name="T28" fmla="*/ 45 w 79"/>
                <a:gd name="T29" fmla="*/ 25 h 77"/>
                <a:gd name="T30" fmla="*/ 37 w 79"/>
                <a:gd name="T31" fmla="*/ 31 h 77"/>
                <a:gd name="T32" fmla="*/ 36 w 79"/>
                <a:gd name="T33" fmla="*/ 31 h 77"/>
                <a:gd name="T34" fmla="*/ 36 w 79"/>
                <a:gd name="T35" fmla="*/ 30 h 77"/>
                <a:gd name="T36" fmla="*/ 31 w 79"/>
                <a:gd name="T37" fmla="*/ 25 h 77"/>
                <a:gd name="T38" fmla="*/ 28 w 79"/>
                <a:gd name="T39" fmla="*/ 31 h 77"/>
                <a:gd name="T40" fmla="*/ 33 w 79"/>
                <a:gd name="T41" fmla="*/ 36 h 77"/>
                <a:gd name="T42" fmla="*/ 49 w 79"/>
                <a:gd name="T43" fmla="*/ 61 h 77"/>
                <a:gd name="T44" fmla="*/ 65 w 79"/>
                <a:gd name="T45" fmla="*/ 73 h 77"/>
                <a:gd name="T46" fmla="*/ 65 w 79"/>
                <a:gd name="T47" fmla="*/ 74 h 77"/>
                <a:gd name="T48" fmla="*/ 62 w 79"/>
                <a:gd name="T49" fmla="*/ 77 h 77"/>
                <a:gd name="T50" fmla="*/ 61 w 79"/>
                <a:gd name="T51" fmla="*/ 77 h 77"/>
                <a:gd name="T52" fmla="*/ 57 w 79"/>
                <a:gd name="T53" fmla="*/ 73 h 77"/>
                <a:gd name="T54" fmla="*/ 46 w 79"/>
                <a:gd name="T55" fmla="*/ 70 h 77"/>
                <a:gd name="T56" fmla="*/ 46 w 79"/>
                <a:gd name="T57" fmla="*/ 68 h 77"/>
                <a:gd name="T58" fmla="*/ 51 w 79"/>
                <a:gd name="T59" fmla="*/ 68 h 77"/>
                <a:gd name="T60" fmla="*/ 43 w 79"/>
                <a:gd name="T61" fmla="*/ 62 h 77"/>
                <a:gd name="T62" fmla="*/ 33 w 79"/>
                <a:gd name="T63" fmla="*/ 61 h 77"/>
                <a:gd name="T64" fmla="*/ 21 w 79"/>
                <a:gd name="T65" fmla="*/ 49 h 77"/>
                <a:gd name="T66" fmla="*/ 21 w 79"/>
                <a:gd name="T67" fmla="*/ 48 h 77"/>
                <a:gd name="T68" fmla="*/ 24 w 79"/>
                <a:gd name="T69" fmla="*/ 45 h 77"/>
                <a:gd name="T70" fmla="*/ 19 w 79"/>
                <a:gd name="T71" fmla="*/ 42 h 77"/>
                <a:gd name="T72" fmla="*/ 16 w 79"/>
                <a:gd name="T73" fmla="*/ 31 h 77"/>
                <a:gd name="T74" fmla="*/ 14 w 79"/>
                <a:gd name="T75" fmla="*/ 28 h 77"/>
                <a:gd name="T76" fmla="*/ 12 w 79"/>
                <a:gd name="T77" fmla="*/ 28 h 77"/>
                <a:gd name="T78" fmla="*/ 8 w 79"/>
                <a:gd name="T79" fmla="*/ 36 h 77"/>
                <a:gd name="T80" fmla="*/ 6 w 79"/>
                <a:gd name="T81" fmla="*/ 37 h 77"/>
                <a:gd name="T82" fmla="*/ 5 w 79"/>
                <a:gd name="T83" fmla="*/ 36 h 77"/>
                <a:gd name="T84" fmla="*/ 3 w 79"/>
                <a:gd name="T85" fmla="*/ 36 h 77"/>
                <a:gd name="T86" fmla="*/ 0 w 79"/>
                <a:gd name="T87" fmla="*/ 30 h 77"/>
                <a:gd name="T88" fmla="*/ 2 w 79"/>
                <a:gd name="T89" fmla="*/ 22 h 77"/>
                <a:gd name="T90" fmla="*/ 12 w 79"/>
                <a:gd name="T91" fmla="*/ 18 h 77"/>
                <a:gd name="T92" fmla="*/ 21 w 79"/>
                <a:gd name="T93" fmla="*/ 19 h 77"/>
                <a:gd name="T94" fmla="*/ 25 w 79"/>
                <a:gd name="T95" fmla="*/ 8 h 77"/>
                <a:gd name="T96" fmla="*/ 34 w 79"/>
                <a:gd name="T97" fmla="*/ 3 h 77"/>
                <a:gd name="T98" fmla="*/ 36 w 79"/>
                <a:gd name="T9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77">
                  <a:moveTo>
                    <a:pt x="36" y="0"/>
                  </a:moveTo>
                  <a:lnTo>
                    <a:pt x="37" y="0"/>
                  </a:lnTo>
                  <a:lnTo>
                    <a:pt x="58" y="18"/>
                  </a:lnTo>
                  <a:lnTo>
                    <a:pt x="67" y="15"/>
                  </a:lnTo>
                  <a:lnTo>
                    <a:pt x="68" y="15"/>
                  </a:lnTo>
                  <a:lnTo>
                    <a:pt x="71" y="24"/>
                  </a:lnTo>
                  <a:lnTo>
                    <a:pt x="79" y="28"/>
                  </a:lnTo>
                  <a:lnTo>
                    <a:pt x="79" y="30"/>
                  </a:lnTo>
                  <a:lnTo>
                    <a:pt x="76" y="31"/>
                  </a:lnTo>
                  <a:lnTo>
                    <a:pt x="74" y="34"/>
                  </a:lnTo>
                  <a:lnTo>
                    <a:pt x="73" y="34"/>
                  </a:lnTo>
                  <a:lnTo>
                    <a:pt x="71" y="36"/>
                  </a:lnTo>
                  <a:lnTo>
                    <a:pt x="70" y="36"/>
                  </a:lnTo>
                  <a:lnTo>
                    <a:pt x="67" y="30"/>
                  </a:lnTo>
                  <a:lnTo>
                    <a:pt x="45" y="25"/>
                  </a:lnTo>
                  <a:lnTo>
                    <a:pt x="37" y="31"/>
                  </a:lnTo>
                  <a:lnTo>
                    <a:pt x="36" y="31"/>
                  </a:lnTo>
                  <a:lnTo>
                    <a:pt x="36" y="30"/>
                  </a:lnTo>
                  <a:lnTo>
                    <a:pt x="31" y="25"/>
                  </a:lnTo>
                  <a:lnTo>
                    <a:pt x="28" y="31"/>
                  </a:lnTo>
                  <a:lnTo>
                    <a:pt x="33" y="36"/>
                  </a:lnTo>
                  <a:lnTo>
                    <a:pt x="49" y="61"/>
                  </a:lnTo>
                  <a:lnTo>
                    <a:pt x="65" y="73"/>
                  </a:lnTo>
                  <a:lnTo>
                    <a:pt x="65" y="74"/>
                  </a:lnTo>
                  <a:lnTo>
                    <a:pt x="62" y="77"/>
                  </a:lnTo>
                  <a:lnTo>
                    <a:pt x="61" y="77"/>
                  </a:lnTo>
                  <a:lnTo>
                    <a:pt x="57" y="73"/>
                  </a:lnTo>
                  <a:lnTo>
                    <a:pt x="46" y="70"/>
                  </a:lnTo>
                  <a:lnTo>
                    <a:pt x="46" y="68"/>
                  </a:lnTo>
                  <a:lnTo>
                    <a:pt x="51" y="68"/>
                  </a:lnTo>
                  <a:lnTo>
                    <a:pt x="43" y="62"/>
                  </a:lnTo>
                  <a:lnTo>
                    <a:pt x="33" y="61"/>
                  </a:lnTo>
                  <a:lnTo>
                    <a:pt x="21" y="49"/>
                  </a:lnTo>
                  <a:lnTo>
                    <a:pt x="21" y="48"/>
                  </a:lnTo>
                  <a:lnTo>
                    <a:pt x="24" y="45"/>
                  </a:lnTo>
                  <a:lnTo>
                    <a:pt x="19" y="42"/>
                  </a:lnTo>
                  <a:lnTo>
                    <a:pt x="16" y="31"/>
                  </a:lnTo>
                  <a:lnTo>
                    <a:pt x="14" y="28"/>
                  </a:lnTo>
                  <a:lnTo>
                    <a:pt x="12" y="28"/>
                  </a:lnTo>
                  <a:lnTo>
                    <a:pt x="8" y="36"/>
                  </a:lnTo>
                  <a:lnTo>
                    <a:pt x="6" y="37"/>
                  </a:lnTo>
                  <a:lnTo>
                    <a:pt x="5" y="36"/>
                  </a:lnTo>
                  <a:lnTo>
                    <a:pt x="3" y="36"/>
                  </a:lnTo>
                  <a:lnTo>
                    <a:pt x="0" y="30"/>
                  </a:lnTo>
                  <a:lnTo>
                    <a:pt x="2" y="22"/>
                  </a:lnTo>
                  <a:lnTo>
                    <a:pt x="12" y="18"/>
                  </a:lnTo>
                  <a:lnTo>
                    <a:pt x="21" y="19"/>
                  </a:lnTo>
                  <a:lnTo>
                    <a:pt x="25" y="8"/>
                  </a:lnTo>
                  <a:lnTo>
                    <a:pt x="34" y="3"/>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2" name="Switzerland">
              <a:extLst>
                <a:ext uri="{FF2B5EF4-FFF2-40B4-BE49-F238E27FC236}">
                  <a16:creationId xmlns:a16="http://schemas.microsoft.com/office/drawing/2014/main" id="{6C426E57-50AD-5A1A-5313-877467F7C009}"/>
                </a:ext>
              </a:extLst>
            </p:cNvPr>
            <p:cNvSpPr>
              <a:spLocks/>
            </p:cNvSpPr>
            <p:nvPr/>
          </p:nvSpPr>
          <p:spPr bwMode="auto">
            <a:xfrm>
              <a:off x="5966795" y="3308008"/>
              <a:ext cx="106617" cy="65054"/>
            </a:xfrm>
            <a:custGeom>
              <a:avLst/>
              <a:gdLst>
                <a:gd name="T0" fmla="*/ 21 w 59"/>
                <a:gd name="T1" fmla="*/ 0 h 36"/>
                <a:gd name="T2" fmla="*/ 37 w 59"/>
                <a:gd name="T3" fmla="*/ 0 h 36"/>
                <a:gd name="T4" fmla="*/ 46 w 59"/>
                <a:gd name="T5" fmla="*/ 3 h 36"/>
                <a:gd name="T6" fmla="*/ 49 w 59"/>
                <a:gd name="T7" fmla="*/ 12 h 36"/>
                <a:gd name="T8" fmla="*/ 58 w 59"/>
                <a:gd name="T9" fmla="*/ 15 h 36"/>
                <a:gd name="T10" fmla="*/ 59 w 59"/>
                <a:gd name="T11" fmla="*/ 15 h 36"/>
                <a:gd name="T12" fmla="*/ 59 w 59"/>
                <a:gd name="T13" fmla="*/ 20 h 36"/>
                <a:gd name="T14" fmla="*/ 58 w 59"/>
                <a:gd name="T15" fmla="*/ 21 h 36"/>
                <a:gd name="T16" fmla="*/ 55 w 59"/>
                <a:gd name="T17" fmla="*/ 21 h 36"/>
                <a:gd name="T18" fmla="*/ 55 w 59"/>
                <a:gd name="T19" fmla="*/ 27 h 36"/>
                <a:gd name="T20" fmla="*/ 44 w 59"/>
                <a:gd name="T21" fmla="*/ 24 h 36"/>
                <a:gd name="T22" fmla="*/ 40 w 59"/>
                <a:gd name="T23" fmla="*/ 34 h 36"/>
                <a:gd name="T24" fmla="*/ 32 w 59"/>
                <a:gd name="T25" fmla="*/ 27 h 36"/>
                <a:gd name="T26" fmla="*/ 25 w 59"/>
                <a:gd name="T27" fmla="*/ 34 h 36"/>
                <a:gd name="T28" fmla="*/ 22 w 59"/>
                <a:gd name="T29" fmla="*/ 34 h 36"/>
                <a:gd name="T30" fmla="*/ 18 w 59"/>
                <a:gd name="T31" fmla="*/ 36 h 36"/>
                <a:gd name="T32" fmla="*/ 13 w 59"/>
                <a:gd name="T33" fmla="*/ 36 h 36"/>
                <a:gd name="T34" fmla="*/ 13 w 59"/>
                <a:gd name="T35" fmla="*/ 34 h 36"/>
                <a:gd name="T36" fmla="*/ 10 w 59"/>
                <a:gd name="T37" fmla="*/ 26 h 36"/>
                <a:gd name="T38" fmla="*/ 6 w 59"/>
                <a:gd name="T39" fmla="*/ 26 h 36"/>
                <a:gd name="T40" fmla="*/ 1 w 59"/>
                <a:gd name="T41" fmla="*/ 30 h 36"/>
                <a:gd name="T42" fmla="*/ 0 w 59"/>
                <a:gd name="T43" fmla="*/ 24 h 36"/>
                <a:gd name="T44" fmla="*/ 13 w 59"/>
                <a:gd name="T45" fmla="*/ 3 h 36"/>
                <a:gd name="T46" fmla="*/ 21 w 59"/>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36">
                  <a:moveTo>
                    <a:pt x="21" y="0"/>
                  </a:moveTo>
                  <a:lnTo>
                    <a:pt x="37" y="0"/>
                  </a:lnTo>
                  <a:lnTo>
                    <a:pt x="46" y="3"/>
                  </a:lnTo>
                  <a:lnTo>
                    <a:pt x="49" y="12"/>
                  </a:lnTo>
                  <a:lnTo>
                    <a:pt x="58" y="15"/>
                  </a:lnTo>
                  <a:lnTo>
                    <a:pt x="59" y="15"/>
                  </a:lnTo>
                  <a:lnTo>
                    <a:pt x="59" y="20"/>
                  </a:lnTo>
                  <a:lnTo>
                    <a:pt x="58" y="21"/>
                  </a:lnTo>
                  <a:lnTo>
                    <a:pt x="55" y="21"/>
                  </a:lnTo>
                  <a:lnTo>
                    <a:pt x="55" y="27"/>
                  </a:lnTo>
                  <a:lnTo>
                    <a:pt x="44" y="24"/>
                  </a:lnTo>
                  <a:lnTo>
                    <a:pt x="40" y="34"/>
                  </a:lnTo>
                  <a:lnTo>
                    <a:pt x="32" y="27"/>
                  </a:lnTo>
                  <a:lnTo>
                    <a:pt x="25" y="34"/>
                  </a:lnTo>
                  <a:lnTo>
                    <a:pt x="22" y="34"/>
                  </a:lnTo>
                  <a:lnTo>
                    <a:pt x="18" y="36"/>
                  </a:lnTo>
                  <a:lnTo>
                    <a:pt x="13" y="36"/>
                  </a:lnTo>
                  <a:lnTo>
                    <a:pt x="13" y="34"/>
                  </a:lnTo>
                  <a:lnTo>
                    <a:pt x="10" y="26"/>
                  </a:lnTo>
                  <a:lnTo>
                    <a:pt x="6" y="26"/>
                  </a:lnTo>
                  <a:lnTo>
                    <a:pt x="1" y="30"/>
                  </a:lnTo>
                  <a:lnTo>
                    <a:pt x="0" y="24"/>
                  </a:lnTo>
                  <a:lnTo>
                    <a:pt x="13" y="3"/>
                  </a:lnTo>
                  <a:lnTo>
                    <a:pt x="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3" name="Latvia">
              <a:extLst>
                <a:ext uri="{FF2B5EF4-FFF2-40B4-BE49-F238E27FC236}">
                  <a16:creationId xmlns:a16="http://schemas.microsoft.com/office/drawing/2014/main" id="{C3D6DE69-7F9C-C481-CD8F-BDC3E8662864}"/>
                </a:ext>
              </a:extLst>
            </p:cNvPr>
            <p:cNvSpPr>
              <a:spLocks/>
            </p:cNvSpPr>
            <p:nvPr/>
          </p:nvSpPr>
          <p:spPr bwMode="auto">
            <a:xfrm>
              <a:off x="6317365" y="2901418"/>
              <a:ext cx="178900" cy="106617"/>
            </a:xfrm>
            <a:custGeom>
              <a:avLst/>
              <a:gdLst>
                <a:gd name="T0" fmla="*/ 59 w 99"/>
                <a:gd name="T1" fmla="*/ 0 h 59"/>
                <a:gd name="T2" fmla="*/ 71 w 99"/>
                <a:gd name="T3" fmla="*/ 6 h 59"/>
                <a:gd name="T4" fmla="*/ 77 w 99"/>
                <a:gd name="T5" fmla="*/ 12 h 59"/>
                <a:gd name="T6" fmla="*/ 83 w 99"/>
                <a:gd name="T7" fmla="*/ 10 h 59"/>
                <a:gd name="T8" fmla="*/ 89 w 99"/>
                <a:gd name="T9" fmla="*/ 12 h 59"/>
                <a:gd name="T10" fmla="*/ 93 w 99"/>
                <a:gd name="T11" fmla="*/ 18 h 59"/>
                <a:gd name="T12" fmla="*/ 93 w 99"/>
                <a:gd name="T13" fmla="*/ 19 h 59"/>
                <a:gd name="T14" fmla="*/ 92 w 99"/>
                <a:gd name="T15" fmla="*/ 27 h 59"/>
                <a:gd name="T16" fmla="*/ 95 w 99"/>
                <a:gd name="T17" fmla="*/ 30 h 59"/>
                <a:gd name="T18" fmla="*/ 99 w 99"/>
                <a:gd name="T19" fmla="*/ 36 h 59"/>
                <a:gd name="T20" fmla="*/ 99 w 99"/>
                <a:gd name="T21" fmla="*/ 47 h 59"/>
                <a:gd name="T22" fmla="*/ 95 w 99"/>
                <a:gd name="T23" fmla="*/ 47 h 59"/>
                <a:gd name="T24" fmla="*/ 89 w 99"/>
                <a:gd name="T25" fmla="*/ 55 h 59"/>
                <a:gd name="T26" fmla="*/ 89 w 99"/>
                <a:gd name="T27" fmla="*/ 56 h 59"/>
                <a:gd name="T28" fmla="*/ 85 w 99"/>
                <a:gd name="T29" fmla="*/ 55 h 59"/>
                <a:gd name="T30" fmla="*/ 80 w 99"/>
                <a:gd name="T31" fmla="*/ 59 h 59"/>
                <a:gd name="T32" fmla="*/ 79 w 99"/>
                <a:gd name="T33" fmla="*/ 59 h 59"/>
                <a:gd name="T34" fmla="*/ 74 w 99"/>
                <a:gd name="T35" fmla="*/ 56 h 59"/>
                <a:gd name="T36" fmla="*/ 64 w 99"/>
                <a:gd name="T37" fmla="*/ 47 h 59"/>
                <a:gd name="T38" fmla="*/ 58 w 99"/>
                <a:gd name="T39" fmla="*/ 46 h 59"/>
                <a:gd name="T40" fmla="*/ 53 w 99"/>
                <a:gd name="T41" fmla="*/ 40 h 59"/>
                <a:gd name="T42" fmla="*/ 47 w 99"/>
                <a:gd name="T43" fmla="*/ 43 h 59"/>
                <a:gd name="T44" fmla="*/ 46 w 99"/>
                <a:gd name="T45" fmla="*/ 43 h 59"/>
                <a:gd name="T46" fmla="*/ 39 w 99"/>
                <a:gd name="T47" fmla="*/ 42 h 59"/>
                <a:gd name="T48" fmla="*/ 19 w 99"/>
                <a:gd name="T49" fmla="*/ 40 h 59"/>
                <a:gd name="T50" fmla="*/ 10 w 99"/>
                <a:gd name="T51" fmla="*/ 44 h 59"/>
                <a:gd name="T52" fmla="*/ 6 w 99"/>
                <a:gd name="T53" fmla="*/ 47 h 59"/>
                <a:gd name="T54" fmla="*/ 6 w 99"/>
                <a:gd name="T55" fmla="*/ 49 h 59"/>
                <a:gd name="T56" fmla="*/ 4 w 99"/>
                <a:gd name="T57" fmla="*/ 49 h 59"/>
                <a:gd name="T58" fmla="*/ 2 w 99"/>
                <a:gd name="T59" fmla="*/ 46 h 59"/>
                <a:gd name="T60" fmla="*/ 0 w 99"/>
                <a:gd name="T61" fmla="*/ 46 h 59"/>
                <a:gd name="T62" fmla="*/ 0 w 99"/>
                <a:gd name="T63" fmla="*/ 44 h 59"/>
                <a:gd name="T64" fmla="*/ 2 w 99"/>
                <a:gd name="T65" fmla="*/ 33 h 59"/>
                <a:gd name="T66" fmla="*/ 10 w 99"/>
                <a:gd name="T67" fmla="*/ 13 h 59"/>
                <a:gd name="T68" fmla="*/ 22 w 99"/>
                <a:gd name="T69" fmla="*/ 7 h 59"/>
                <a:gd name="T70" fmla="*/ 33 w 99"/>
                <a:gd name="T71" fmla="*/ 24 h 59"/>
                <a:gd name="T72" fmla="*/ 42 w 99"/>
                <a:gd name="T73" fmla="*/ 27 h 59"/>
                <a:gd name="T74" fmla="*/ 45 w 99"/>
                <a:gd name="T75" fmla="*/ 21 h 59"/>
                <a:gd name="T76" fmla="*/ 46 w 99"/>
                <a:gd name="T77" fmla="*/ 6 h 59"/>
                <a:gd name="T78" fmla="*/ 46 w 99"/>
                <a:gd name="T79" fmla="*/ 4 h 59"/>
                <a:gd name="T80" fmla="*/ 59 w 99"/>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9" h="59">
                  <a:moveTo>
                    <a:pt x="59" y="0"/>
                  </a:moveTo>
                  <a:lnTo>
                    <a:pt x="71" y="6"/>
                  </a:lnTo>
                  <a:lnTo>
                    <a:pt x="77" y="12"/>
                  </a:lnTo>
                  <a:lnTo>
                    <a:pt x="83" y="10"/>
                  </a:lnTo>
                  <a:lnTo>
                    <a:pt x="89" y="12"/>
                  </a:lnTo>
                  <a:lnTo>
                    <a:pt x="93" y="18"/>
                  </a:lnTo>
                  <a:lnTo>
                    <a:pt x="93" y="19"/>
                  </a:lnTo>
                  <a:lnTo>
                    <a:pt x="92" y="27"/>
                  </a:lnTo>
                  <a:lnTo>
                    <a:pt x="95" y="30"/>
                  </a:lnTo>
                  <a:lnTo>
                    <a:pt x="99" y="36"/>
                  </a:lnTo>
                  <a:lnTo>
                    <a:pt x="99" y="47"/>
                  </a:lnTo>
                  <a:lnTo>
                    <a:pt x="95" y="47"/>
                  </a:lnTo>
                  <a:lnTo>
                    <a:pt x="89" y="55"/>
                  </a:lnTo>
                  <a:lnTo>
                    <a:pt x="89" y="56"/>
                  </a:lnTo>
                  <a:lnTo>
                    <a:pt x="85" y="55"/>
                  </a:lnTo>
                  <a:lnTo>
                    <a:pt x="80" y="59"/>
                  </a:lnTo>
                  <a:lnTo>
                    <a:pt x="79" y="59"/>
                  </a:lnTo>
                  <a:lnTo>
                    <a:pt x="74" y="56"/>
                  </a:lnTo>
                  <a:lnTo>
                    <a:pt x="64" y="47"/>
                  </a:lnTo>
                  <a:lnTo>
                    <a:pt x="58" y="46"/>
                  </a:lnTo>
                  <a:lnTo>
                    <a:pt x="53" y="40"/>
                  </a:lnTo>
                  <a:lnTo>
                    <a:pt x="47" y="43"/>
                  </a:lnTo>
                  <a:lnTo>
                    <a:pt x="46" y="43"/>
                  </a:lnTo>
                  <a:lnTo>
                    <a:pt x="39" y="42"/>
                  </a:lnTo>
                  <a:lnTo>
                    <a:pt x="19" y="40"/>
                  </a:lnTo>
                  <a:lnTo>
                    <a:pt x="10" y="44"/>
                  </a:lnTo>
                  <a:lnTo>
                    <a:pt x="6" y="47"/>
                  </a:lnTo>
                  <a:lnTo>
                    <a:pt x="6" y="49"/>
                  </a:lnTo>
                  <a:lnTo>
                    <a:pt x="4" y="49"/>
                  </a:lnTo>
                  <a:lnTo>
                    <a:pt x="2" y="46"/>
                  </a:lnTo>
                  <a:lnTo>
                    <a:pt x="0" y="46"/>
                  </a:lnTo>
                  <a:lnTo>
                    <a:pt x="0" y="44"/>
                  </a:lnTo>
                  <a:lnTo>
                    <a:pt x="2" y="33"/>
                  </a:lnTo>
                  <a:lnTo>
                    <a:pt x="10" y="13"/>
                  </a:lnTo>
                  <a:lnTo>
                    <a:pt x="22" y="7"/>
                  </a:lnTo>
                  <a:lnTo>
                    <a:pt x="33" y="24"/>
                  </a:lnTo>
                  <a:lnTo>
                    <a:pt x="42" y="27"/>
                  </a:lnTo>
                  <a:lnTo>
                    <a:pt x="45" y="21"/>
                  </a:lnTo>
                  <a:lnTo>
                    <a:pt x="46" y="6"/>
                  </a:lnTo>
                  <a:lnTo>
                    <a:pt x="46" y="4"/>
                  </a:lnTo>
                  <a:lnTo>
                    <a:pt x="5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4" name="Lithuania">
              <a:extLst>
                <a:ext uri="{FF2B5EF4-FFF2-40B4-BE49-F238E27FC236}">
                  <a16:creationId xmlns:a16="http://schemas.microsoft.com/office/drawing/2014/main" id="{CF998250-84A5-7A82-E428-8DA9019AC000}"/>
                </a:ext>
              </a:extLst>
            </p:cNvPr>
            <p:cNvSpPr>
              <a:spLocks/>
            </p:cNvSpPr>
            <p:nvPr/>
          </p:nvSpPr>
          <p:spPr bwMode="auto">
            <a:xfrm>
              <a:off x="6317365" y="2971894"/>
              <a:ext cx="144565" cy="106617"/>
            </a:xfrm>
            <a:custGeom>
              <a:avLst/>
              <a:gdLst>
                <a:gd name="T0" fmla="*/ 18 w 80"/>
                <a:gd name="T1" fmla="*/ 0 h 59"/>
                <a:gd name="T2" fmla="*/ 39 w 80"/>
                <a:gd name="T3" fmla="*/ 1 h 59"/>
                <a:gd name="T4" fmla="*/ 46 w 80"/>
                <a:gd name="T5" fmla="*/ 3 h 59"/>
                <a:gd name="T6" fmla="*/ 53 w 80"/>
                <a:gd name="T7" fmla="*/ 0 h 59"/>
                <a:gd name="T8" fmla="*/ 55 w 80"/>
                <a:gd name="T9" fmla="*/ 0 h 59"/>
                <a:gd name="T10" fmla="*/ 59 w 80"/>
                <a:gd name="T11" fmla="*/ 5 h 59"/>
                <a:gd name="T12" fmla="*/ 64 w 80"/>
                <a:gd name="T13" fmla="*/ 7 h 59"/>
                <a:gd name="T14" fmla="*/ 74 w 80"/>
                <a:gd name="T15" fmla="*/ 16 h 59"/>
                <a:gd name="T16" fmla="*/ 80 w 80"/>
                <a:gd name="T17" fmla="*/ 19 h 59"/>
                <a:gd name="T18" fmla="*/ 80 w 80"/>
                <a:gd name="T19" fmla="*/ 20 h 59"/>
                <a:gd name="T20" fmla="*/ 76 w 80"/>
                <a:gd name="T21" fmla="*/ 22 h 59"/>
                <a:gd name="T22" fmla="*/ 76 w 80"/>
                <a:gd name="T23" fmla="*/ 25 h 59"/>
                <a:gd name="T24" fmla="*/ 80 w 80"/>
                <a:gd name="T25" fmla="*/ 26 h 59"/>
                <a:gd name="T26" fmla="*/ 79 w 80"/>
                <a:gd name="T27" fmla="*/ 31 h 59"/>
                <a:gd name="T28" fmla="*/ 77 w 80"/>
                <a:gd name="T29" fmla="*/ 31 h 59"/>
                <a:gd name="T30" fmla="*/ 68 w 80"/>
                <a:gd name="T31" fmla="*/ 35 h 59"/>
                <a:gd name="T32" fmla="*/ 65 w 80"/>
                <a:gd name="T33" fmla="*/ 47 h 59"/>
                <a:gd name="T34" fmla="*/ 68 w 80"/>
                <a:gd name="T35" fmla="*/ 51 h 59"/>
                <a:gd name="T36" fmla="*/ 68 w 80"/>
                <a:gd name="T37" fmla="*/ 53 h 59"/>
                <a:gd name="T38" fmla="*/ 67 w 80"/>
                <a:gd name="T39" fmla="*/ 53 h 59"/>
                <a:gd name="T40" fmla="*/ 65 w 80"/>
                <a:gd name="T41" fmla="*/ 54 h 59"/>
                <a:gd name="T42" fmla="*/ 65 w 80"/>
                <a:gd name="T43" fmla="*/ 53 h 59"/>
                <a:gd name="T44" fmla="*/ 61 w 80"/>
                <a:gd name="T45" fmla="*/ 50 h 59"/>
                <a:gd name="T46" fmla="*/ 55 w 80"/>
                <a:gd name="T47" fmla="*/ 53 h 59"/>
                <a:gd name="T48" fmla="*/ 55 w 80"/>
                <a:gd name="T49" fmla="*/ 57 h 59"/>
                <a:gd name="T50" fmla="*/ 47 w 80"/>
                <a:gd name="T51" fmla="*/ 57 h 59"/>
                <a:gd name="T52" fmla="*/ 43 w 80"/>
                <a:gd name="T53" fmla="*/ 59 h 59"/>
                <a:gd name="T54" fmla="*/ 36 w 80"/>
                <a:gd name="T55" fmla="*/ 59 h 59"/>
                <a:gd name="T56" fmla="*/ 36 w 80"/>
                <a:gd name="T57" fmla="*/ 57 h 59"/>
                <a:gd name="T58" fmla="*/ 34 w 80"/>
                <a:gd name="T59" fmla="*/ 54 h 59"/>
                <a:gd name="T60" fmla="*/ 25 w 80"/>
                <a:gd name="T61" fmla="*/ 47 h 59"/>
                <a:gd name="T62" fmla="*/ 27 w 80"/>
                <a:gd name="T63" fmla="*/ 38 h 59"/>
                <a:gd name="T64" fmla="*/ 25 w 80"/>
                <a:gd name="T65" fmla="*/ 34 h 59"/>
                <a:gd name="T66" fmla="*/ 16 w 80"/>
                <a:gd name="T67" fmla="*/ 32 h 59"/>
                <a:gd name="T68" fmla="*/ 4 w 80"/>
                <a:gd name="T69" fmla="*/ 28 h 59"/>
                <a:gd name="T70" fmla="*/ 4 w 80"/>
                <a:gd name="T71" fmla="*/ 26 h 59"/>
                <a:gd name="T72" fmla="*/ 0 w 80"/>
                <a:gd name="T73" fmla="*/ 5 h 59"/>
                <a:gd name="T74" fmla="*/ 2 w 80"/>
                <a:gd name="T75" fmla="*/ 5 h 59"/>
                <a:gd name="T76" fmla="*/ 6 w 80"/>
                <a:gd name="T77" fmla="*/ 8 h 59"/>
                <a:gd name="T78" fmla="*/ 9 w 80"/>
                <a:gd name="T79" fmla="*/ 4 h 59"/>
                <a:gd name="T80" fmla="*/ 18 w 80"/>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 h="59">
                  <a:moveTo>
                    <a:pt x="18" y="0"/>
                  </a:moveTo>
                  <a:lnTo>
                    <a:pt x="39" y="1"/>
                  </a:lnTo>
                  <a:lnTo>
                    <a:pt x="46" y="3"/>
                  </a:lnTo>
                  <a:lnTo>
                    <a:pt x="53" y="0"/>
                  </a:lnTo>
                  <a:lnTo>
                    <a:pt x="55" y="0"/>
                  </a:lnTo>
                  <a:lnTo>
                    <a:pt x="59" y="5"/>
                  </a:lnTo>
                  <a:lnTo>
                    <a:pt x="64" y="7"/>
                  </a:lnTo>
                  <a:lnTo>
                    <a:pt x="74" y="16"/>
                  </a:lnTo>
                  <a:lnTo>
                    <a:pt x="80" y="19"/>
                  </a:lnTo>
                  <a:lnTo>
                    <a:pt x="80" y="20"/>
                  </a:lnTo>
                  <a:lnTo>
                    <a:pt x="76" y="22"/>
                  </a:lnTo>
                  <a:lnTo>
                    <a:pt x="76" y="25"/>
                  </a:lnTo>
                  <a:lnTo>
                    <a:pt x="80" y="26"/>
                  </a:lnTo>
                  <a:lnTo>
                    <a:pt x="79" y="31"/>
                  </a:lnTo>
                  <a:lnTo>
                    <a:pt x="77" y="31"/>
                  </a:lnTo>
                  <a:lnTo>
                    <a:pt x="68" y="35"/>
                  </a:lnTo>
                  <a:lnTo>
                    <a:pt x="65" y="47"/>
                  </a:lnTo>
                  <a:lnTo>
                    <a:pt x="68" y="51"/>
                  </a:lnTo>
                  <a:lnTo>
                    <a:pt x="68" y="53"/>
                  </a:lnTo>
                  <a:lnTo>
                    <a:pt x="67" y="53"/>
                  </a:lnTo>
                  <a:lnTo>
                    <a:pt x="65" y="54"/>
                  </a:lnTo>
                  <a:lnTo>
                    <a:pt x="65" y="53"/>
                  </a:lnTo>
                  <a:lnTo>
                    <a:pt x="61" y="50"/>
                  </a:lnTo>
                  <a:lnTo>
                    <a:pt x="55" y="53"/>
                  </a:lnTo>
                  <a:lnTo>
                    <a:pt x="55" y="57"/>
                  </a:lnTo>
                  <a:lnTo>
                    <a:pt x="47" y="57"/>
                  </a:lnTo>
                  <a:lnTo>
                    <a:pt x="43" y="59"/>
                  </a:lnTo>
                  <a:lnTo>
                    <a:pt x="36" y="59"/>
                  </a:lnTo>
                  <a:lnTo>
                    <a:pt x="36" y="57"/>
                  </a:lnTo>
                  <a:lnTo>
                    <a:pt x="34" y="54"/>
                  </a:lnTo>
                  <a:lnTo>
                    <a:pt x="25" y="47"/>
                  </a:lnTo>
                  <a:lnTo>
                    <a:pt x="27" y="38"/>
                  </a:lnTo>
                  <a:lnTo>
                    <a:pt x="25" y="34"/>
                  </a:lnTo>
                  <a:lnTo>
                    <a:pt x="16" y="32"/>
                  </a:lnTo>
                  <a:lnTo>
                    <a:pt x="4" y="28"/>
                  </a:lnTo>
                  <a:lnTo>
                    <a:pt x="4" y="26"/>
                  </a:lnTo>
                  <a:lnTo>
                    <a:pt x="0" y="5"/>
                  </a:lnTo>
                  <a:lnTo>
                    <a:pt x="2" y="5"/>
                  </a:lnTo>
                  <a:lnTo>
                    <a:pt x="6" y="8"/>
                  </a:lnTo>
                  <a:lnTo>
                    <a:pt x="9" y="4"/>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5" name="Czech Republic">
              <a:extLst>
                <a:ext uri="{FF2B5EF4-FFF2-40B4-BE49-F238E27FC236}">
                  <a16:creationId xmlns:a16="http://schemas.microsoft.com/office/drawing/2014/main" id="{6F4353CA-FD74-2102-27D3-F01259037122}"/>
                </a:ext>
              </a:extLst>
            </p:cNvPr>
            <p:cNvSpPr>
              <a:spLocks/>
            </p:cNvSpPr>
            <p:nvPr/>
          </p:nvSpPr>
          <p:spPr bwMode="auto">
            <a:xfrm>
              <a:off x="6107745" y="3183320"/>
              <a:ext cx="166250" cy="90353"/>
            </a:xfrm>
            <a:custGeom>
              <a:avLst/>
              <a:gdLst>
                <a:gd name="T0" fmla="*/ 30 w 92"/>
                <a:gd name="T1" fmla="*/ 0 h 50"/>
                <a:gd name="T2" fmla="*/ 36 w 92"/>
                <a:gd name="T3" fmla="*/ 6 h 50"/>
                <a:gd name="T4" fmla="*/ 42 w 92"/>
                <a:gd name="T5" fmla="*/ 3 h 50"/>
                <a:gd name="T6" fmla="*/ 52 w 92"/>
                <a:gd name="T7" fmla="*/ 9 h 50"/>
                <a:gd name="T8" fmla="*/ 63 w 92"/>
                <a:gd name="T9" fmla="*/ 19 h 50"/>
                <a:gd name="T10" fmla="*/ 66 w 92"/>
                <a:gd name="T11" fmla="*/ 16 h 50"/>
                <a:gd name="T12" fmla="*/ 75 w 92"/>
                <a:gd name="T13" fmla="*/ 17 h 50"/>
                <a:gd name="T14" fmla="*/ 76 w 92"/>
                <a:gd name="T15" fmla="*/ 22 h 50"/>
                <a:gd name="T16" fmla="*/ 86 w 92"/>
                <a:gd name="T17" fmla="*/ 31 h 50"/>
                <a:gd name="T18" fmla="*/ 92 w 92"/>
                <a:gd name="T19" fmla="*/ 35 h 50"/>
                <a:gd name="T20" fmla="*/ 86 w 92"/>
                <a:gd name="T21" fmla="*/ 38 h 50"/>
                <a:gd name="T22" fmla="*/ 83 w 92"/>
                <a:gd name="T23" fmla="*/ 46 h 50"/>
                <a:gd name="T24" fmla="*/ 63 w 92"/>
                <a:gd name="T25" fmla="*/ 49 h 50"/>
                <a:gd name="T26" fmla="*/ 42 w 92"/>
                <a:gd name="T27" fmla="*/ 43 h 50"/>
                <a:gd name="T28" fmla="*/ 35 w 92"/>
                <a:gd name="T29" fmla="*/ 50 h 50"/>
                <a:gd name="T30" fmla="*/ 24 w 92"/>
                <a:gd name="T31" fmla="*/ 49 h 50"/>
                <a:gd name="T32" fmla="*/ 8 w 92"/>
                <a:gd name="T33" fmla="*/ 34 h 50"/>
                <a:gd name="T34" fmla="*/ 0 w 92"/>
                <a:gd name="T35" fmla="*/ 17 h 50"/>
                <a:gd name="T36" fmla="*/ 5 w 92"/>
                <a:gd name="T37" fmla="*/ 20 h 50"/>
                <a:gd name="T38" fmla="*/ 29 w 92"/>
                <a:gd name="T39" fmla="*/ 6 h 50"/>
                <a:gd name="T40" fmla="*/ 30 w 92"/>
                <a:gd name="T4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0">
                  <a:moveTo>
                    <a:pt x="30" y="0"/>
                  </a:moveTo>
                  <a:lnTo>
                    <a:pt x="36" y="6"/>
                  </a:lnTo>
                  <a:lnTo>
                    <a:pt x="42" y="3"/>
                  </a:lnTo>
                  <a:lnTo>
                    <a:pt x="52" y="9"/>
                  </a:lnTo>
                  <a:lnTo>
                    <a:pt x="63" y="19"/>
                  </a:lnTo>
                  <a:lnTo>
                    <a:pt x="66" y="16"/>
                  </a:lnTo>
                  <a:lnTo>
                    <a:pt x="75" y="17"/>
                  </a:lnTo>
                  <a:lnTo>
                    <a:pt x="76" y="22"/>
                  </a:lnTo>
                  <a:lnTo>
                    <a:pt x="86" y="31"/>
                  </a:lnTo>
                  <a:lnTo>
                    <a:pt x="92" y="35"/>
                  </a:lnTo>
                  <a:lnTo>
                    <a:pt x="86" y="38"/>
                  </a:lnTo>
                  <a:lnTo>
                    <a:pt x="83" y="46"/>
                  </a:lnTo>
                  <a:lnTo>
                    <a:pt x="63" y="49"/>
                  </a:lnTo>
                  <a:lnTo>
                    <a:pt x="42" y="43"/>
                  </a:lnTo>
                  <a:lnTo>
                    <a:pt x="35" y="50"/>
                  </a:lnTo>
                  <a:lnTo>
                    <a:pt x="24" y="49"/>
                  </a:lnTo>
                  <a:lnTo>
                    <a:pt x="8" y="34"/>
                  </a:lnTo>
                  <a:lnTo>
                    <a:pt x="0" y="17"/>
                  </a:lnTo>
                  <a:lnTo>
                    <a:pt x="5" y="20"/>
                  </a:lnTo>
                  <a:lnTo>
                    <a:pt x="29" y="6"/>
                  </a:lnTo>
                  <a:lnTo>
                    <a:pt x="3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6" name="Corsica (France)">
              <a:extLst>
                <a:ext uri="{FF2B5EF4-FFF2-40B4-BE49-F238E27FC236}">
                  <a16:creationId xmlns:a16="http://schemas.microsoft.com/office/drawing/2014/main" id="{81F3B332-E2A5-7A55-CAE7-260AC434FB3B}"/>
                </a:ext>
              </a:extLst>
            </p:cNvPr>
            <p:cNvSpPr>
              <a:spLocks/>
            </p:cNvSpPr>
            <p:nvPr/>
          </p:nvSpPr>
          <p:spPr bwMode="auto">
            <a:xfrm>
              <a:off x="6028235" y="3463415"/>
              <a:ext cx="23493" cy="56019"/>
            </a:xfrm>
            <a:custGeom>
              <a:avLst/>
              <a:gdLst>
                <a:gd name="T0" fmla="*/ 10 w 13"/>
                <a:gd name="T1" fmla="*/ 0 h 31"/>
                <a:gd name="T2" fmla="*/ 12 w 13"/>
                <a:gd name="T3" fmla="*/ 0 h 31"/>
                <a:gd name="T4" fmla="*/ 13 w 13"/>
                <a:gd name="T5" fmla="*/ 15 h 31"/>
                <a:gd name="T6" fmla="*/ 10 w 13"/>
                <a:gd name="T7" fmla="*/ 30 h 31"/>
                <a:gd name="T8" fmla="*/ 9 w 13"/>
                <a:gd name="T9" fmla="*/ 31 h 31"/>
                <a:gd name="T10" fmla="*/ 9 w 13"/>
                <a:gd name="T11" fmla="*/ 30 h 31"/>
                <a:gd name="T12" fmla="*/ 1 w 13"/>
                <a:gd name="T13" fmla="*/ 23 h 31"/>
                <a:gd name="T14" fmla="*/ 0 w 13"/>
                <a:gd name="T15" fmla="*/ 11 h 31"/>
                <a:gd name="T16" fmla="*/ 1 w 13"/>
                <a:gd name="T17" fmla="*/ 8 h 31"/>
                <a:gd name="T18" fmla="*/ 9 w 13"/>
                <a:gd name="T19" fmla="*/ 5 h 31"/>
                <a:gd name="T20" fmla="*/ 10 w 13"/>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1">
                  <a:moveTo>
                    <a:pt x="10" y="0"/>
                  </a:moveTo>
                  <a:lnTo>
                    <a:pt x="12" y="0"/>
                  </a:lnTo>
                  <a:lnTo>
                    <a:pt x="13" y="15"/>
                  </a:lnTo>
                  <a:lnTo>
                    <a:pt x="10" y="30"/>
                  </a:lnTo>
                  <a:lnTo>
                    <a:pt x="9" y="31"/>
                  </a:lnTo>
                  <a:lnTo>
                    <a:pt x="9" y="30"/>
                  </a:lnTo>
                  <a:lnTo>
                    <a:pt x="1" y="23"/>
                  </a:lnTo>
                  <a:lnTo>
                    <a:pt x="0" y="11"/>
                  </a:lnTo>
                  <a:lnTo>
                    <a:pt x="1" y="8"/>
                  </a:lnTo>
                  <a:lnTo>
                    <a:pt x="9" y="5"/>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7" name="Kaliningrad (Russia)">
              <a:extLst>
                <a:ext uri="{FF2B5EF4-FFF2-40B4-BE49-F238E27FC236}">
                  <a16:creationId xmlns:a16="http://schemas.microsoft.com/office/drawing/2014/main" id="{EA08E5B6-F3AA-58C5-5A14-2531A04E7F6F}"/>
                </a:ext>
              </a:extLst>
            </p:cNvPr>
            <p:cNvSpPr>
              <a:spLocks/>
            </p:cNvSpPr>
            <p:nvPr/>
          </p:nvSpPr>
          <p:spPr bwMode="auto">
            <a:xfrm>
              <a:off x="6288452" y="3018878"/>
              <a:ext cx="79511" cy="39755"/>
            </a:xfrm>
            <a:custGeom>
              <a:avLst/>
              <a:gdLst>
                <a:gd name="T0" fmla="*/ 20 w 44"/>
                <a:gd name="T1" fmla="*/ 0 h 22"/>
                <a:gd name="T2" fmla="*/ 22 w 44"/>
                <a:gd name="T3" fmla="*/ 0 h 22"/>
                <a:gd name="T4" fmla="*/ 32 w 44"/>
                <a:gd name="T5" fmla="*/ 5 h 22"/>
                <a:gd name="T6" fmla="*/ 41 w 44"/>
                <a:gd name="T7" fmla="*/ 6 h 22"/>
                <a:gd name="T8" fmla="*/ 44 w 44"/>
                <a:gd name="T9" fmla="*/ 12 h 22"/>
                <a:gd name="T10" fmla="*/ 43 w 44"/>
                <a:gd name="T11" fmla="*/ 21 h 22"/>
                <a:gd name="T12" fmla="*/ 43 w 44"/>
                <a:gd name="T13" fmla="*/ 22 h 22"/>
                <a:gd name="T14" fmla="*/ 18 w 44"/>
                <a:gd name="T15" fmla="*/ 22 h 22"/>
                <a:gd name="T16" fmla="*/ 0 w 44"/>
                <a:gd name="T17" fmla="*/ 21 h 22"/>
                <a:gd name="T18" fmla="*/ 0 w 44"/>
                <a:gd name="T19" fmla="*/ 20 h 22"/>
                <a:gd name="T20" fmla="*/ 4 w 44"/>
                <a:gd name="T21" fmla="*/ 8 h 22"/>
                <a:gd name="T22" fmla="*/ 15 w 44"/>
                <a:gd name="T23" fmla="*/ 3 h 22"/>
                <a:gd name="T24" fmla="*/ 16 w 44"/>
                <a:gd name="T25" fmla="*/ 3 h 22"/>
                <a:gd name="T26" fmla="*/ 16 w 44"/>
                <a:gd name="T27" fmla="*/ 5 h 22"/>
                <a:gd name="T28" fmla="*/ 15 w 44"/>
                <a:gd name="T29" fmla="*/ 6 h 22"/>
                <a:gd name="T30" fmla="*/ 19 w 44"/>
                <a:gd name="T31" fmla="*/ 8 h 22"/>
                <a:gd name="T32" fmla="*/ 20 w 44"/>
                <a:gd name="T33" fmla="*/ 2 h 22"/>
                <a:gd name="T34" fmla="*/ 20 w 4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22">
                  <a:moveTo>
                    <a:pt x="20" y="0"/>
                  </a:moveTo>
                  <a:lnTo>
                    <a:pt x="22" y="0"/>
                  </a:lnTo>
                  <a:lnTo>
                    <a:pt x="32" y="5"/>
                  </a:lnTo>
                  <a:lnTo>
                    <a:pt x="41" y="6"/>
                  </a:lnTo>
                  <a:lnTo>
                    <a:pt x="44" y="12"/>
                  </a:lnTo>
                  <a:lnTo>
                    <a:pt x="43" y="21"/>
                  </a:lnTo>
                  <a:lnTo>
                    <a:pt x="43" y="22"/>
                  </a:lnTo>
                  <a:lnTo>
                    <a:pt x="18" y="22"/>
                  </a:lnTo>
                  <a:lnTo>
                    <a:pt x="0" y="21"/>
                  </a:lnTo>
                  <a:lnTo>
                    <a:pt x="0" y="20"/>
                  </a:lnTo>
                  <a:lnTo>
                    <a:pt x="4" y="8"/>
                  </a:lnTo>
                  <a:lnTo>
                    <a:pt x="15" y="3"/>
                  </a:lnTo>
                  <a:lnTo>
                    <a:pt x="16" y="3"/>
                  </a:lnTo>
                  <a:lnTo>
                    <a:pt x="16" y="5"/>
                  </a:lnTo>
                  <a:lnTo>
                    <a:pt x="15" y="6"/>
                  </a:lnTo>
                  <a:lnTo>
                    <a:pt x="19" y="8"/>
                  </a:lnTo>
                  <a:lnTo>
                    <a:pt x="20" y="2"/>
                  </a:lnTo>
                  <a:lnTo>
                    <a:pt x="2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8" name="Luxembourg">
              <a:extLst>
                <a:ext uri="{FF2B5EF4-FFF2-40B4-BE49-F238E27FC236}">
                  <a16:creationId xmlns:a16="http://schemas.microsoft.com/office/drawing/2014/main" id="{BB6931AE-FDBB-B784-DF9C-B76ECC50E0A9}"/>
                </a:ext>
              </a:extLst>
            </p:cNvPr>
            <p:cNvSpPr>
              <a:spLocks/>
            </p:cNvSpPr>
            <p:nvPr/>
          </p:nvSpPr>
          <p:spPr bwMode="auto">
            <a:xfrm>
              <a:off x="5957760" y="3217654"/>
              <a:ext cx="19879" cy="27107"/>
            </a:xfrm>
            <a:custGeom>
              <a:avLst/>
              <a:gdLst>
                <a:gd name="T0" fmla="*/ 6 w 11"/>
                <a:gd name="T1" fmla="*/ 0 h 15"/>
                <a:gd name="T2" fmla="*/ 8 w 11"/>
                <a:gd name="T3" fmla="*/ 1 h 15"/>
                <a:gd name="T4" fmla="*/ 11 w 11"/>
                <a:gd name="T5" fmla="*/ 9 h 15"/>
                <a:gd name="T6" fmla="*/ 9 w 11"/>
                <a:gd name="T7" fmla="*/ 13 h 15"/>
                <a:gd name="T8" fmla="*/ 9 w 11"/>
                <a:gd name="T9" fmla="*/ 15 h 15"/>
                <a:gd name="T10" fmla="*/ 2 w 11"/>
                <a:gd name="T11" fmla="*/ 13 h 15"/>
                <a:gd name="T12" fmla="*/ 0 w 11"/>
                <a:gd name="T13" fmla="*/ 7 h 15"/>
                <a:gd name="T14" fmla="*/ 0 w 11"/>
                <a:gd name="T15" fmla="*/ 6 h 15"/>
                <a:gd name="T16" fmla="*/ 6 w 1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5">
                  <a:moveTo>
                    <a:pt x="6" y="0"/>
                  </a:moveTo>
                  <a:lnTo>
                    <a:pt x="8" y="1"/>
                  </a:lnTo>
                  <a:lnTo>
                    <a:pt x="11" y="9"/>
                  </a:lnTo>
                  <a:lnTo>
                    <a:pt x="9" y="13"/>
                  </a:lnTo>
                  <a:lnTo>
                    <a:pt x="9" y="15"/>
                  </a:lnTo>
                  <a:lnTo>
                    <a:pt x="2" y="13"/>
                  </a:lnTo>
                  <a:lnTo>
                    <a:pt x="0" y="7"/>
                  </a:lnTo>
                  <a:lnTo>
                    <a:pt x="0" y="6"/>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9" name="Hungary">
              <a:extLst>
                <a:ext uri="{FF2B5EF4-FFF2-40B4-BE49-F238E27FC236}">
                  <a16:creationId xmlns:a16="http://schemas.microsoft.com/office/drawing/2014/main" id="{D8158179-0CF2-9DCB-AE66-5E8923614685}"/>
                </a:ext>
              </a:extLst>
            </p:cNvPr>
            <p:cNvSpPr>
              <a:spLocks/>
            </p:cNvSpPr>
            <p:nvPr/>
          </p:nvSpPr>
          <p:spPr bwMode="auto">
            <a:xfrm>
              <a:off x="6205327" y="3277287"/>
              <a:ext cx="160829" cy="97581"/>
            </a:xfrm>
            <a:custGeom>
              <a:avLst/>
              <a:gdLst>
                <a:gd name="T0" fmla="*/ 61 w 89"/>
                <a:gd name="T1" fmla="*/ 0 h 54"/>
                <a:gd name="T2" fmla="*/ 65 w 89"/>
                <a:gd name="T3" fmla="*/ 0 h 54"/>
                <a:gd name="T4" fmla="*/ 68 w 89"/>
                <a:gd name="T5" fmla="*/ 1 h 54"/>
                <a:gd name="T6" fmla="*/ 72 w 89"/>
                <a:gd name="T7" fmla="*/ 1 h 54"/>
                <a:gd name="T8" fmla="*/ 75 w 89"/>
                <a:gd name="T9" fmla="*/ 3 h 54"/>
                <a:gd name="T10" fmla="*/ 80 w 89"/>
                <a:gd name="T11" fmla="*/ 3 h 54"/>
                <a:gd name="T12" fmla="*/ 89 w 89"/>
                <a:gd name="T13" fmla="*/ 11 h 54"/>
                <a:gd name="T14" fmla="*/ 89 w 89"/>
                <a:gd name="T15" fmla="*/ 13 h 54"/>
                <a:gd name="T16" fmla="*/ 78 w 89"/>
                <a:gd name="T17" fmla="*/ 19 h 54"/>
                <a:gd name="T18" fmla="*/ 66 w 89"/>
                <a:gd name="T19" fmla="*/ 43 h 54"/>
                <a:gd name="T20" fmla="*/ 66 w 89"/>
                <a:gd name="T21" fmla="*/ 44 h 54"/>
                <a:gd name="T22" fmla="*/ 55 w 89"/>
                <a:gd name="T23" fmla="*/ 47 h 54"/>
                <a:gd name="T24" fmla="*/ 47 w 89"/>
                <a:gd name="T25" fmla="*/ 47 h 54"/>
                <a:gd name="T26" fmla="*/ 35 w 89"/>
                <a:gd name="T27" fmla="*/ 51 h 54"/>
                <a:gd name="T28" fmla="*/ 25 w 89"/>
                <a:gd name="T29" fmla="*/ 54 h 54"/>
                <a:gd name="T30" fmla="*/ 24 w 89"/>
                <a:gd name="T31" fmla="*/ 54 h 54"/>
                <a:gd name="T32" fmla="*/ 0 w 89"/>
                <a:gd name="T33" fmla="*/ 34 h 54"/>
                <a:gd name="T34" fmla="*/ 0 w 89"/>
                <a:gd name="T35" fmla="*/ 32 h 54"/>
                <a:gd name="T36" fmla="*/ 4 w 89"/>
                <a:gd name="T37" fmla="*/ 29 h 54"/>
                <a:gd name="T38" fmla="*/ 6 w 89"/>
                <a:gd name="T39" fmla="*/ 16 h 54"/>
                <a:gd name="T40" fmla="*/ 13 w 89"/>
                <a:gd name="T41" fmla="*/ 16 h 54"/>
                <a:gd name="T42" fmla="*/ 13 w 89"/>
                <a:gd name="T43" fmla="*/ 8 h 54"/>
                <a:gd name="T44" fmla="*/ 15 w 89"/>
                <a:gd name="T45" fmla="*/ 8 h 54"/>
                <a:gd name="T46" fmla="*/ 15 w 89"/>
                <a:gd name="T47" fmla="*/ 10 h 54"/>
                <a:gd name="T48" fmla="*/ 24 w 89"/>
                <a:gd name="T49" fmla="*/ 16 h 54"/>
                <a:gd name="T50" fmla="*/ 31 w 89"/>
                <a:gd name="T51" fmla="*/ 14 h 54"/>
                <a:gd name="T52" fmla="*/ 34 w 89"/>
                <a:gd name="T53" fmla="*/ 10 h 54"/>
                <a:gd name="T54" fmla="*/ 35 w 89"/>
                <a:gd name="T55" fmla="*/ 10 h 54"/>
                <a:gd name="T56" fmla="*/ 50 w 89"/>
                <a:gd name="T57" fmla="*/ 7 h 54"/>
                <a:gd name="T58" fmla="*/ 61 w 89"/>
                <a:gd name="T5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54">
                  <a:moveTo>
                    <a:pt x="61" y="0"/>
                  </a:moveTo>
                  <a:lnTo>
                    <a:pt x="65" y="0"/>
                  </a:lnTo>
                  <a:lnTo>
                    <a:pt x="68" y="1"/>
                  </a:lnTo>
                  <a:lnTo>
                    <a:pt x="72" y="1"/>
                  </a:lnTo>
                  <a:lnTo>
                    <a:pt x="75" y="3"/>
                  </a:lnTo>
                  <a:lnTo>
                    <a:pt x="80" y="3"/>
                  </a:lnTo>
                  <a:lnTo>
                    <a:pt x="89" y="11"/>
                  </a:lnTo>
                  <a:lnTo>
                    <a:pt x="89" y="13"/>
                  </a:lnTo>
                  <a:lnTo>
                    <a:pt x="78" y="19"/>
                  </a:lnTo>
                  <a:lnTo>
                    <a:pt x="66" y="43"/>
                  </a:lnTo>
                  <a:lnTo>
                    <a:pt x="66" y="44"/>
                  </a:lnTo>
                  <a:lnTo>
                    <a:pt x="55" y="47"/>
                  </a:lnTo>
                  <a:lnTo>
                    <a:pt x="47" y="47"/>
                  </a:lnTo>
                  <a:lnTo>
                    <a:pt x="35" y="51"/>
                  </a:lnTo>
                  <a:lnTo>
                    <a:pt x="25" y="54"/>
                  </a:lnTo>
                  <a:lnTo>
                    <a:pt x="24" y="54"/>
                  </a:lnTo>
                  <a:lnTo>
                    <a:pt x="0" y="34"/>
                  </a:lnTo>
                  <a:lnTo>
                    <a:pt x="0" y="32"/>
                  </a:lnTo>
                  <a:lnTo>
                    <a:pt x="4" y="29"/>
                  </a:lnTo>
                  <a:lnTo>
                    <a:pt x="6" y="16"/>
                  </a:lnTo>
                  <a:lnTo>
                    <a:pt x="13" y="16"/>
                  </a:lnTo>
                  <a:lnTo>
                    <a:pt x="13" y="8"/>
                  </a:lnTo>
                  <a:lnTo>
                    <a:pt x="15" y="8"/>
                  </a:lnTo>
                  <a:lnTo>
                    <a:pt x="15" y="10"/>
                  </a:lnTo>
                  <a:lnTo>
                    <a:pt x="24" y="16"/>
                  </a:lnTo>
                  <a:lnTo>
                    <a:pt x="31" y="14"/>
                  </a:lnTo>
                  <a:lnTo>
                    <a:pt x="34" y="10"/>
                  </a:lnTo>
                  <a:lnTo>
                    <a:pt x="35" y="10"/>
                  </a:lnTo>
                  <a:lnTo>
                    <a:pt x="50" y="7"/>
                  </a:lnTo>
                  <a:lnTo>
                    <a:pt x="6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0" name="Romania">
              <a:extLst>
                <a:ext uri="{FF2B5EF4-FFF2-40B4-BE49-F238E27FC236}">
                  <a16:creationId xmlns:a16="http://schemas.microsoft.com/office/drawing/2014/main" id="{F5D288B9-4A8F-7AD3-80CB-85CD4341FDB9}"/>
                </a:ext>
              </a:extLst>
            </p:cNvPr>
            <p:cNvSpPr>
              <a:spLocks/>
            </p:cNvSpPr>
            <p:nvPr/>
          </p:nvSpPr>
          <p:spPr bwMode="auto">
            <a:xfrm>
              <a:off x="6301102" y="3288129"/>
              <a:ext cx="225883" cy="157215"/>
            </a:xfrm>
            <a:custGeom>
              <a:avLst/>
              <a:gdLst>
                <a:gd name="T0" fmla="*/ 86 w 125"/>
                <a:gd name="T1" fmla="*/ 0 h 87"/>
                <a:gd name="T2" fmla="*/ 88 w 125"/>
                <a:gd name="T3" fmla="*/ 0 h 87"/>
                <a:gd name="T4" fmla="*/ 95 w 125"/>
                <a:gd name="T5" fmla="*/ 8 h 87"/>
                <a:gd name="T6" fmla="*/ 104 w 125"/>
                <a:gd name="T7" fmla="*/ 28 h 87"/>
                <a:gd name="T8" fmla="*/ 107 w 125"/>
                <a:gd name="T9" fmla="*/ 53 h 87"/>
                <a:gd name="T10" fmla="*/ 111 w 125"/>
                <a:gd name="T11" fmla="*/ 56 h 87"/>
                <a:gd name="T12" fmla="*/ 113 w 125"/>
                <a:gd name="T13" fmla="*/ 56 h 87"/>
                <a:gd name="T14" fmla="*/ 114 w 125"/>
                <a:gd name="T15" fmla="*/ 54 h 87"/>
                <a:gd name="T16" fmla="*/ 120 w 125"/>
                <a:gd name="T17" fmla="*/ 54 h 87"/>
                <a:gd name="T18" fmla="*/ 122 w 125"/>
                <a:gd name="T19" fmla="*/ 53 h 87"/>
                <a:gd name="T20" fmla="*/ 125 w 125"/>
                <a:gd name="T21" fmla="*/ 53 h 87"/>
                <a:gd name="T22" fmla="*/ 125 w 125"/>
                <a:gd name="T23" fmla="*/ 54 h 87"/>
                <a:gd name="T24" fmla="*/ 123 w 125"/>
                <a:gd name="T25" fmla="*/ 66 h 87"/>
                <a:gd name="T26" fmla="*/ 117 w 125"/>
                <a:gd name="T27" fmla="*/ 72 h 87"/>
                <a:gd name="T28" fmla="*/ 116 w 125"/>
                <a:gd name="T29" fmla="*/ 72 h 87"/>
                <a:gd name="T30" fmla="*/ 116 w 125"/>
                <a:gd name="T31" fmla="*/ 71 h 87"/>
                <a:gd name="T32" fmla="*/ 117 w 125"/>
                <a:gd name="T33" fmla="*/ 66 h 87"/>
                <a:gd name="T34" fmla="*/ 116 w 125"/>
                <a:gd name="T35" fmla="*/ 65 h 87"/>
                <a:gd name="T36" fmla="*/ 113 w 125"/>
                <a:gd name="T37" fmla="*/ 84 h 87"/>
                <a:gd name="T38" fmla="*/ 89 w 125"/>
                <a:gd name="T39" fmla="*/ 78 h 87"/>
                <a:gd name="T40" fmla="*/ 70 w 125"/>
                <a:gd name="T41" fmla="*/ 87 h 87"/>
                <a:gd name="T42" fmla="*/ 39 w 125"/>
                <a:gd name="T43" fmla="*/ 84 h 87"/>
                <a:gd name="T44" fmla="*/ 37 w 125"/>
                <a:gd name="T45" fmla="*/ 84 h 87"/>
                <a:gd name="T46" fmla="*/ 34 w 125"/>
                <a:gd name="T47" fmla="*/ 81 h 87"/>
                <a:gd name="T48" fmla="*/ 36 w 125"/>
                <a:gd name="T49" fmla="*/ 78 h 87"/>
                <a:gd name="T50" fmla="*/ 34 w 125"/>
                <a:gd name="T51" fmla="*/ 78 h 87"/>
                <a:gd name="T52" fmla="*/ 30 w 125"/>
                <a:gd name="T53" fmla="*/ 72 h 87"/>
                <a:gd name="T54" fmla="*/ 31 w 125"/>
                <a:gd name="T55" fmla="*/ 71 h 87"/>
                <a:gd name="T56" fmla="*/ 31 w 125"/>
                <a:gd name="T57" fmla="*/ 69 h 87"/>
                <a:gd name="T58" fmla="*/ 28 w 125"/>
                <a:gd name="T59" fmla="*/ 71 h 87"/>
                <a:gd name="T60" fmla="*/ 18 w 125"/>
                <a:gd name="T61" fmla="*/ 65 h 87"/>
                <a:gd name="T62" fmla="*/ 16 w 125"/>
                <a:gd name="T63" fmla="*/ 65 h 87"/>
                <a:gd name="T64" fmla="*/ 16 w 125"/>
                <a:gd name="T65" fmla="*/ 59 h 87"/>
                <a:gd name="T66" fmla="*/ 13 w 125"/>
                <a:gd name="T67" fmla="*/ 57 h 87"/>
                <a:gd name="T68" fmla="*/ 12 w 125"/>
                <a:gd name="T69" fmla="*/ 57 h 87"/>
                <a:gd name="T70" fmla="*/ 8 w 125"/>
                <a:gd name="T71" fmla="*/ 45 h 87"/>
                <a:gd name="T72" fmla="*/ 0 w 125"/>
                <a:gd name="T73" fmla="*/ 41 h 87"/>
                <a:gd name="T74" fmla="*/ 2 w 125"/>
                <a:gd name="T75" fmla="*/ 40 h 87"/>
                <a:gd name="T76" fmla="*/ 12 w 125"/>
                <a:gd name="T77" fmla="*/ 37 h 87"/>
                <a:gd name="T78" fmla="*/ 24 w 125"/>
                <a:gd name="T79" fmla="*/ 13 h 87"/>
                <a:gd name="T80" fmla="*/ 34 w 125"/>
                <a:gd name="T81" fmla="*/ 5 h 87"/>
                <a:gd name="T82" fmla="*/ 58 w 125"/>
                <a:gd name="T83" fmla="*/ 4 h 87"/>
                <a:gd name="T84" fmla="*/ 64 w 125"/>
                <a:gd name="T85" fmla="*/ 8 h 87"/>
                <a:gd name="T86" fmla="*/ 86 w 125"/>
                <a:gd name="T8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 h="87">
                  <a:moveTo>
                    <a:pt x="86" y="0"/>
                  </a:moveTo>
                  <a:lnTo>
                    <a:pt x="88" y="0"/>
                  </a:lnTo>
                  <a:lnTo>
                    <a:pt x="95" y="8"/>
                  </a:lnTo>
                  <a:lnTo>
                    <a:pt x="104" y="28"/>
                  </a:lnTo>
                  <a:lnTo>
                    <a:pt x="107" y="53"/>
                  </a:lnTo>
                  <a:lnTo>
                    <a:pt x="111" y="56"/>
                  </a:lnTo>
                  <a:lnTo>
                    <a:pt x="113" y="56"/>
                  </a:lnTo>
                  <a:lnTo>
                    <a:pt x="114" y="54"/>
                  </a:lnTo>
                  <a:lnTo>
                    <a:pt x="120" y="54"/>
                  </a:lnTo>
                  <a:lnTo>
                    <a:pt x="122" y="53"/>
                  </a:lnTo>
                  <a:lnTo>
                    <a:pt x="125" y="53"/>
                  </a:lnTo>
                  <a:lnTo>
                    <a:pt x="125" y="54"/>
                  </a:lnTo>
                  <a:lnTo>
                    <a:pt x="123" y="66"/>
                  </a:lnTo>
                  <a:lnTo>
                    <a:pt x="117" y="72"/>
                  </a:lnTo>
                  <a:lnTo>
                    <a:pt x="116" y="72"/>
                  </a:lnTo>
                  <a:lnTo>
                    <a:pt x="116" y="71"/>
                  </a:lnTo>
                  <a:lnTo>
                    <a:pt x="117" y="66"/>
                  </a:lnTo>
                  <a:lnTo>
                    <a:pt x="116" y="65"/>
                  </a:lnTo>
                  <a:lnTo>
                    <a:pt x="113" y="84"/>
                  </a:lnTo>
                  <a:lnTo>
                    <a:pt x="89" y="78"/>
                  </a:lnTo>
                  <a:lnTo>
                    <a:pt x="70" y="87"/>
                  </a:lnTo>
                  <a:lnTo>
                    <a:pt x="39" y="84"/>
                  </a:lnTo>
                  <a:lnTo>
                    <a:pt x="37" y="84"/>
                  </a:lnTo>
                  <a:lnTo>
                    <a:pt x="34" y="81"/>
                  </a:lnTo>
                  <a:lnTo>
                    <a:pt x="36" y="78"/>
                  </a:lnTo>
                  <a:lnTo>
                    <a:pt x="34" y="78"/>
                  </a:lnTo>
                  <a:lnTo>
                    <a:pt x="30" y="72"/>
                  </a:lnTo>
                  <a:lnTo>
                    <a:pt x="31" y="71"/>
                  </a:lnTo>
                  <a:lnTo>
                    <a:pt x="31" y="69"/>
                  </a:lnTo>
                  <a:lnTo>
                    <a:pt x="28" y="71"/>
                  </a:lnTo>
                  <a:lnTo>
                    <a:pt x="18" y="65"/>
                  </a:lnTo>
                  <a:lnTo>
                    <a:pt x="16" y="65"/>
                  </a:lnTo>
                  <a:lnTo>
                    <a:pt x="16" y="59"/>
                  </a:lnTo>
                  <a:lnTo>
                    <a:pt x="13" y="57"/>
                  </a:lnTo>
                  <a:lnTo>
                    <a:pt x="12" y="57"/>
                  </a:lnTo>
                  <a:lnTo>
                    <a:pt x="8" y="45"/>
                  </a:lnTo>
                  <a:lnTo>
                    <a:pt x="0" y="41"/>
                  </a:lnTo>
                  <a:lnTo>
                    <a:pt x="2" y="40"/>
                  </a:lnTo>
                  <a:lnTo>
                    <a:pt x="12" y="37"/>
                  </a:lnTo>
                  <a:lnTo>
                    <a:pt x="24" y="13"/>
                  </a:lnTo>
                  <a:lnTo>
                    <a:pt x="34" y="5"/>
                  </a:lnTo>
                  <a:lnTo>
                    <a:pt x="58" y="4"/>
                  </a:lnTo>
                  <a:lnTo>
                    <a:pt x="64" y="8"/>
                  </a:lnTo>
                  <a:lnTo>
                    <a:pt x="8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1" name="Slovenia">
              <a:extLst>
                <a:ext uri="{FF2B5EF4-FFF2-40B4-BE49-F238E27FC236}">
                  <a16:creationId xmlns:a16="http://schemas.microsoft.com/office/drawing/2014/main" id="{658743EB-F635-2301-2D5F-FD4CE3164FFB}"/>
                </a:ext>
              </a:extLst>
            </p:cNvPr>
            <p:cNvSpPr>
              <a:spLocks/>
            </p:cNvSpPr>
            <p:nvPr/>
          </p:nvSpPr>
          <p:spPr bwMode="auto">
            <a:xfrm>
              <a:off x="6140273" y="3335113"/>
              <a:ext cx="72283" cy="45177"/>
            </a:xfrm>
            <a:custGeom>
              <a:avLst/>
              <a:gdLst>
                <a:gd name="T0" fmla="*/ 36 w 40"/>
                <a:gd name="T1" fmla="*/ 0 h 25"/>
                <a:gd name="T2" fmla="*/ 37 w 40"/>
                <a:gd name="T3" fmla="*/ 0 h 25"/>
                <a:gd name="T4" fmla="*/ 40 w 40"/>
                <a:gd name="T5" fmla="*/ 3 h 25"/>
                <a:gd name="T6" fmla="*/ 40 w 40"/>
                <a:gd name="T7" fmla="*/ 5 h 25"/>
                <a:gd name="T8" fmla="*/ 39 w 40"/>
                <a:gd name="T9" fmla="*/ 8 h 25"/>
                <a:gd name="T10" fmla="*/ 30 w 40"/>
                <a:gd name="T11" fmla="*/ 12 h 25"/>
                <a:gd name="T12" fmla="*/ 25 w 40"/>
                <a:gd name="T13" fmla="*/ 24 h 25"/>
                <a:gd name="T14" fmla="*/ 15 w 40"/>
                <a:gd name="T15" fmla="*/ 22 h 25"/>
                <a:gd name="T16" fmla="*/ 8 w 40"/>
                <a:gd name="T17" fmla="*/ 25 h 25"/>
                <a:gd name="T18" fmla="*/ 8 w 40"/>
                <a:gd name="T19" fmla="*/ 24 h 25"/>
                <a:gd name="T20" fmla="*/ 5 w 40"/>
                <a:gd name="T21" fmla="*/ 19 h 25"/>
                <a:gd name="T22" fmla="*/ 3 w 40"/>
                <a:gd name="T23" fmla="*/ 14 h 25"/>
                <a:gd name="T24" fmla="*/ 0 w 40"/>
                <a:gd name="T25" fmla="*/ 14 h 25"/>
                <a:gd name="T26" fmla="*/ 0 w 40"/>
                <a:gd name="T27" fmla="*/ 12 h 25"/>
                <a:gd name="T28" fmla="*/ 5 w 40"/>
                <a:gd name="T29" fmla="*/ 8 h 25"/>
                <a:gd name="T30" fmla="*/ 17 w 40"/>
                <a:gd name="T31" fmla="*/ 8 h 25"/>
                <a:gd name="T32" fmla="*/ 36 w 40"/>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25">
                  <a:moveTo>
                    <a:pt x="36" y="0"/>
                  </a:moveTo>
                  <a:lnTo>
                    <a:pt x="37" y="0"/>
                  </a:lnTo>
                  <a:lnTo>
                    <a:pt x="40" y="3"/>
                  </a:lnTo>
                  <a:lnTo>
                    <a:pt x="40" y="5"/>
                  </a:lnTo>
                  <a:lnTo>
                    <a:pt x="39" y="8"/>
                  </a:lnTo>
                  <a:lnTo>
                    <a:pt x="30" y="12"/>
                  </a:lnTo>
                  <a:lnTo>
                    <a:pt x="25" y="24"/>
                  </a:lnTo>
                  <a:lnTo>
                    <a:pt x="15" y="22"/>
                  </a:lnTo>
                  <a:lnTo>
                    <a:pt x="8" y="25"/>
                  </a:lnTo>
                  <a:lnTo>
                    <a:pt x="8" y="24"/>
                  </a:lnTo>
                  <a:lnTo>
                    <a:pt x="5" y="19"/>
                  </a:lnTo>
                  <a:lnTo>
                    <a:pt x="3" y="14"/>
                  </a:lnTo>
                  <a:lnTo>
                    <a:pt x="0" y="14"/>
                  </a:lnTo>
                  <a:lnTo>
                    <a:pt x="0" y="12"/>
                  </a:lnTo>
                  <a:lnTo>
                    <a:pt x="5" y="8"/>
                  </a:lnTo>
                  <a:lnTo>
                    <a:pt x="17" y="8"/>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2" name="Bosnia &amp; Herzegovina">
              <a:extLst>
                <a:ext uri="{FF2B5EF4-FFF2-40B4-BE49-F238E27FC236}">
                  <a16:creationId xmlns:a16="http://schemas.microsoft.com/office/drawing/2014/main" id="{391F262E-483E-F4E7-960D-8829D7E27339}"/>
                </a:ext>
              </a:extLst>
            </p:cNvPr>
            <p:cNvSpPr>
              <a:spLocks/>
            </p:cNvSpPr>
            <p:nvPr/>
          </p:nvSpPr>
          <p:spPr bwMode="auto">
            <a:xfrm>
              <a:off x="6194485" y="3383904"/>
              <a:ext cx="95775" cy="90353"/>
            </a:xfrm>
            <a:custGeom>
              <a:avLst/>
              <a:gdLst>
                <a:gd name="T0" fmla="*/ 4 w 53"/>
                <a:gd name="T1" fmla="*/ 0 h 50"/>
                <a:gd name="T2" fmla="*/ 6 w 53"/>
                <a:gd name="T3" fmla="*/ 0 h 50"/>
                <a:gd name="T4" fmla="*/ 9 w 53"/>
                <a:gd name="T5" fmla="*/ 4 h 50"/>
                <a:gd name="T6" fmla="*/ 16 w 53"/>
                <a:gd name="T7" fmla="*/ 0 h 50"/>
                <a:gd name="T8" fmla="*/ 21 w 53"/>
                <a:gd name="T9" fmla="*/ 0 h 50"/>
                <a:gd name="T10" fmla="*/ 25 w 53"/>
                <a:gd name="T11" fmla="*/ 1 h 50"/>
                <a:gd name="T12" fmla="*/ 30 w 53"/>
                <a:gd name="T13" fmla="*/ 1 h 50"/>
                <a:gd name="T14" fmla="*/ 32 w 53"/>
                <a:gd name="T15" fmla="*/ 3 h 50"/>
                <a:gd name="T16" fmla="*/ 37 w 53"/>
                <a:gd name="T17" fmla="*/ 4 h 50"/>
                <a:gd name="T18" fmla="*/ 40 w 53"/>
                <a:gd name="T19" fmla="*/ 4 h 50"/>
                <a:gd name="T20" fmla="*/ 44 w 53"/>
                <a:gd name="T21" fmla="*/ 10 h 50"/>
                <a:gd name="T22" fmla="*/ 46 w 53"/>
                <a:gd name="T23" fmla="*/ 9 h 50"/>
                <a:gd name="T24" fmla="*/ 50 w 53"/>
                <a:gd name="T25" fmla="*/ 10 h 50"/>
                <a:gd name="T26" fmla="*/ 52 w 53"/>
                <a:gd name="T27" fmla="*/ 10 h 50"/>
                <a:gd name="T28" fmla="*/ 46 w 53"/>
                <a:gd name="T29" fmla="*/ 19 h 50"/>
                <a:gd name="T30" fmla="*/ 53 w 53"/>
                <a:gd name="T31" fmla="*/ 24 h 50"/>
                <a:gd name="T32" fmla="*/ 53 w 53"/>
                <a:gd name="T33" fmla="*/ 25 h 50"/>
                <a:gd name="T34" fmla="*/ 52 w 53"/>
                <a:gd name="T35" fmla="*/ 27 h 50"/>
                <a:gd name="T36" fmla="*/ 49 w 53"/>
                <a:gd name="T37" fmla="*/ 28 h 50"/>
                <a:gd name="T38" fmla="*/ 52 w 53"/>
                <a:gd name="T39" fmla="*/ 32 h 50"/>
                <a:gd name="T40" fmla="*/ 50 w 53"/>
                <a:gd name="T41" fmla="*/ 32 h 50"/>
                <a:gd name="T42" fmla="*/ 47 w 53"/>
                <a:gd name="T43" fmla="*/ 35 h 50"/>
                <a:gd name="T44" fmla="*/ 44 w 53"/>
                <a:gd name="T45" fmla="*/ 35 h 50"/>
                <a:gd name="T46" fmla="*/ 46 w 53"/>
                <a:gd name="T47" fmla="*/ 37 h 50"/>
                <a:gd name="T48" fmla="*/ 46 w 53"/>
                <a:gd name="T49" fmla="*/ 38 h 50"/>
                <a:gd name="T50" fmla="*/ 44 w 53"/>
                <a:gd name="T51" fmla="*/ 38 h 50"/>
                <a:gd name="T52" fmla="*/ 40 w 53"/>
                <a:gd name="T53" fmla="*/ 35 h 50"/>
                <a:gd name="T54" fmla="*/ 38 w 53"/>
                <a:gd name="T55" fmla="*/ 37 h 50"/>
                <a:gd name="T56" fmla="*/ 41 w 53"/>
                <a:gd name="T57" fmla="*/ 41 h 50"/>
                <a:gd name="T58" fmla="*/ 37 w 53"/>
                <a:gd name="T59" fmla="*/ 44 h 50"/>
                <a:gd name="T60" fmla="*/ 38 w 53"/>
                <a:gd name="T61" fmla="*/ 50 h 50"/>
                <a:gd name="T62" fmla="*/ 37 w 53"/>
                <a:gd name="T63" fmla="*/ 50 h 50"/>
                <a:gd name="T64" fmla="*/ 21 w 53"/>
                <a:gd name="T65" fmla="*/ 37 h 50"/>
                <a:gd name="T66" fmla="*/ 4 w 53"/>
                <a:gd name="T67" fmla="*/ 12 h 50"/>
                <a:gd name="T68" fmla="*/ 0 w 53"/>
                <a:gd name="T69" fmla="*/ 9 h 50"/>
                <a:gd name="T70" fmla="*/ 0 w 53"/>
                <a:gd name="T71" fmla="*/ 7 h 50"/>
                <a:gd name="T72" fmla="*/ 4 w 53"/>
                <a:gd name="T7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50">
                  <a:moveTo>
                    <a:pt x="4" y="0"/>
                  </a:moveTo>
                  <a:lnTo>
                    <a:pt x="6" y="0"/>
                  </a:lnTo>
                  <a:lnTo>
                    <a:pt x="9" y="4"/>
                  </a:lnTo>
                  <a:lnTo>
                    <a:pt x="16" y="0"/>
                  </a:lnTo>
                  <a:lnTo>
                    <a:pt x="21" y="0"/>
                  </a:lnTo>
                  <a:lnTo>
                    <a:pt x="25" y="1"/>
                  </a:lnTo>
                  <a:lnTo>
                    <a:pt x="30" y="1"/>
                  </a:lnTo>
                  <a:lnTo>
                    <a:pt x="32" y="3"/>
                  </a:lnTo>
                  <a:lnTo>
                    <a:pt x="37" y="4"/>
                  </a:lnTo>
                  <a:lnTo>
                    <a:pt x="40" y="4"/>
                  </a:lnTo>
                  <a:lnTo>
                    <a:pt x="44" y="10"/>
                  </a:lnTo>
                  <a:lnTo>
                    <a:pt x="46" y="9"/>
                  </a:lnTo>
                  <a:lnTo>
                    <a:pt x="50" y="10"/>
                  </a:lnTo>
                  <a:lnTo>
                    <a:pt x="52" y="10"/>
                  </a:lnTo>
                  <a:lnTo>
                    <a:pt x="46" y="19"/>
                  </a:lnTo>
                  <a:lnTo>
                    <a:pt x="53" y="24"/>
                  </a:lnTo>
                  <a:lnTo>
                    <a:pt x="53" y="25"/>
                  </a:lnTo>
                  <a:lnTo>
                    <a:pt x="52" y="27"/>
                  </a:lnTo>
                  <a:lnTo>
                    <a:pt x="49" y="28"/>
                  </a:lnTo>
                  <a:lnTo>
                    <a:pt x="52" y="32"/>
                  </a:lnTo>
                  <a:lnTo>
                    <a:pt x="50" y="32"/>
                  </a:lnTo>
                  <a:lnTo>
                    <a:pt x="47" y="35"/>
                  </a:lnTo>
                  <a:lnTo>
                    <a:pt x="44" y="35"/>
                  </a:lnTo>
                  <a:lnTo>
                    <a:pt x="46" y="37"/>
                  </a:lnTo>
                  <a:lnTo>
                    <a:pt x="46" y="38"/>
                  </a:lnTo>
                  <a:lnTo>
                    <a:pt x="44" y="38"/>
                  </a:lnTo>
                  <a:lnTo>
                    <a:pt x="40" y="35"/>
                  </a:lnTo>
                  <a:lnTo>
                    <a:pt x="38" y="37"/>
                  </a:lnTo>
                  <a:lnTo>
                    <a:pt x="41" y="41"/>
                  </a:lnTo>
                  <a:lnTo>
                    <a:pt x="37" y="44"/>
                  </a:lnTo>
                  <a:lnTo>
                    <a:pt x="38" y="50"/>
                  </a:lnTo>
                  <a:lnTo>
                    <a:pt x="37" y="50"/>
                  </a:lnTo>
                  <a:lnTo>
                    <a:pt x="21" y="37"/>
                  </a:lnTo>
                  <a:lnTo>
                    <a:pt x="4" y="12"/>
                  </a:lnTo>
                  <a:lnTo>
                    <a:pt x="0" y="9"/>
                  </a:lnTo>
                  <a:lnTo>
                    <a:pt x="0" y="7"/>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3" name="Serbia">
              <a:extLst>
                <a:ext uri="{FF2B5EF4-FFF2-40B4-BE49-F238E27FC236}">
                  <a16:creationId xmlns:a16="http://schemas.microsoft.com/office/drawing/2014/main" id="{3755B53C-CEA4-BB9E-69AF-45564FABED0F}"/>
                </a:ext>
              </a:extLst>
            </p:cNvPr>
            <p:cNvSpPr>
              <a:spLocks/>
            </p:cNvSpPr>
            <p:nvPr/>
          </p:nvSpPr>
          <p:spPr bwMode="auto">
            <a:xfrm>
              <a:off x="6266768" y="3360412"/>
              <a:ext cx="99389" cy="135531"/>
            </a:xfrm>
            <a:custGeom>
              <a:avLst/>
              <a:gdLst>
                <a:gd name="T0" fmla="*/ 13 w 55"/>
                <a:gd name="T1" fmla="*/ 0 h 75"/>
                <a:gd name="T2" fmla="*/ 21 w 55"/>
                <a:gd name="T3" fmla="*/ 0 h 75"/>
                <a:gd name="T4" fmla="*/ 27 w 55"/>
                <a:gd name="T5" fmla="*/ 5 h 75"/>
                <a:gd name="T6" fmla="*/ 32 w 55"/>
                <a:gd name="T7" fmla="*/ 16 h 75"/>
                <a:gd name="T8" fmla="*/ 37 w 55"/>
                <a:gd name="T9" fmla="*/ 17 h 75"/>
                <a:gd name="T10" fmla="*/ 37 w 55"/>
                <a:gd name="T11" fmla="*/ 23 h 75"/>
                <a:gd name="T12" fmla="*/ 47 w 55"/>
                <a:gd name="T13" fmla="*/ 29 h 75"/>
                <a:gd name="T14" fmla="*/ 49 w 55"/>
                <a:gd name="T15" fmla="*/ 26 h 75"/>
                <a:gd name="T16" fmla="*/ 50 w 55"/>
                <a:gd name="T17" fmla="*/ 26 h 75"/>
                <a:gd name="T18" fmla="*/ 50 w 55"/>
                <a:gd name="T19" fmla="*/ 28 h 75"/>
                <a:gd name="T20" fmla="*/ 53 w 55"/>
                <a:gd name="T21" fmla="*/ 29 h 75"/>
                <a:gd name="T22" fmla="*/ 53 w 55"/>
                <a:gd name="T23" fmla="*/ 31 h 75"/>
                <a:gd name="T24" fmla="*/ 52 w 55"/>
                <a:gd name="T25" fmla="*/ 31 h 75"/>
                <a:gd name="T26" fmla="*/ 50 w 55"/>
                <a:gd name="T27" fmla="*/ 32 h 75"/>
                <a:gd name="T28" fmla="*/ 53 w 55"/>
                <a:gd name="T29" fmla="*/ 37 h 75"/>
                <a:gd name="T30" fmla="*/ 55 w 55"/>
                <a:gd name="T31" fmla="*/ 37 h 75"/>
                <a:gd name="T32" fmla="*/ 55 w 55"/>
                <a:gd name="T33" fmla="*/ 38 h 75"/>
                <a:gd name="T34" fmla="*/ 53 w 55"/>
                <a:gd name="T35" fmla="*/ 38 h 75"/>
                <a:gd name="T36" fmla="*/ 50 w 55"/>
                <a:gd name="T37" fmla="*/ 40 h 75"/>
                <a:gd name="T38" fmla="*/ 49 w 55"/>
                <a:gd name="T39" fmla="*/ 44 h 75"/>
                <a:gd name="T40" fmla="*/ 50 w 55"/>
                <a:gd name="T41" fmla="*/ 48 h 75"/>
                <a:gd name="T42" fmla="*/ 55 w 55"/>
                <a:gd name="T43" fmla="*/ 56 h 75"/>
                <a:gd name="T44" fmla="*/ 55 w 55"/>
                <a:gd name="T45" fmla="*/ 57 h 75"/>
                <a:gd name="T46" fmla="*/ 50 w 55"/>
                <a:gd name="T47" fmla="*/ 66 h 75"/>
                <a:gd name="T48" fmla="*/ 50 w 55"/>
                <a:gd name="T49" fmla="*/ 69 h 75"/>
                <a:gd name="T50" fmla="*/ 46 w 55"/>
                <a:gd name="T51" fmla="*/ 69 h 75"/>
                <a:gd name="T52" fmla="*/ 43 w 55"/>
                <a:gd name="T53" fmla="*/ 68 h 75"/>
                <a:gd name="T54" fmla="*/ 35 w 55"/>
                <a:gd name="T55" fmla="*/ 68 h 75"/>
                <a:gd name="T56" fmla="*/ 27 w 55"/>
                <a:gd name="T57" fmla="*/ 75 h 75"/>
                <a:gd name="T58" fmla="*/ 25 w 55"/>
                <a:gd name="T59" fmla="*/ 75 h 75"/>
                <a:gd name="T60" fmla="*/ 25 w 55"/>
                <a:gd name="T61" fmla="*/ 74 h 75"/>
                <a:gd name="T62" fmla="*/ 19 w 55"/>
                <a:gd name="T63" fmla="*/ 68 h 75"/>
                <a:gd name="T64" fmla="*/ 15 w 55"/>
                <a:gd name="T65" fmla="*/ 66 h 75"/>
                <a:gd name="T66" fmla="*/ 15 w 55"/>
                <a:gd name="T67" fmla="*/ 60 h 75"/>
                <a:gd name="T68" fmla="*/ 16 w 55"/>
                <a:gd name="T69" fmla="*/ 60 h 75"/>
                <a:gd name="T70" fmla="*/ 18 w 55"/>
                <a:gd name="T71" fmla="*/ 62 h 75"/>
                <a:gd name="T72" fmla="*/ 19 w 55"/>
                <a:gd name="T73" fmla="*/ 59 h 75"/>
                <a:gd name="T74" fmla="*/ 6 w 55"/>
                <a:gd name="T75" fmla="*/ 50 h 75"/>
                <a:gd name="T76" fmla="*/ 6 w 55"/>
                <a:gd name="T77" fmla="*/ 47 h 75"/>
                <a:gd name="T78" fmla="*/ 7 w 55"/>
                <a:gd name="T79" fmla="*/ 47 h 75"/>
                <a:gd name="T80" fmla="*/ 10 w 55"/>
                <a:gd name="T81" fmla="*/ 45 h 75"/>
                <a:gd name="T82" fmla="*/ 7 w 55"/>
                <a:gd name="T83" fmla="*/ 40 h 75"/>
                <a:gd name="T84" fmla="*/ 12 w 55"/>
                <a:gd name="T85" fmla="*/ 38 h 75"/>
                <a:gd name="T86" fmla="*/ 6 w 55"/>
                <a:gd name="T87" fmla="*/ 34 h 75"/>
                <a:gd name="T88" fmla="*/ 4 w 55"/>
                <a:gd name="T89" fmla="*/ 34 h 75"/>
                <a:gd name="T90" fmla="*/ 4 w 55"/>
                <a:gd name="T91" fmla="*/ 32 h 75"/>
                <a:gd name="T92" fmla="*/ 9 w 55"/>
                <a:gd name="T93" fmla="*/ 25 h 75"/>
                <a:gd name="T94" fmla="*/ 6 w 55"/>
                <a:gd name="T95" fmla="*/ 23 h 75"/>
                <a:gd name="T96" fmla="*/ 6 w 55"/>
                <a:gd name="T97" fmla="*/ 22 h 75"/>
                <a:gd name="T98" fmla="*/ 7 w 55"/>
                <a:gd name="T99" fmla="*/ 19 h 75"/>
                <a:gd name="T100" fmla="*/ 10 w 55"/>
                <a:gd name="T101" fmla="*/ 17 h 75"/>
                <a:gd name="T102" fmla="*/ 3 w 55"/>
                <a:gd name="T103" fmla="*/ 14 h 75"/>
                <a:gd name="T104" fmla="*/ 0 w 55"/>
                <a:gd name="T105" fmla="*/ 4 h 75"/>
                <a:gd name="T106" fmla="*/ 13 w 55"/>
                <a:gd name="T10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75">
                  <a:moveTo>
                    <a:pt x="13" y="0"/>
                  </a:moveTo>
                  <a:lnTo>
                    <a:pt x="21" y="0"/>
                  </a:lnTo>
                  <a:lnTo>
                    <a:pt x="27" y="5"/>
                  </a:lnTo>
                  <a:lnTo>
                    <a:pt x="32" y="16"/>
                  </a:lnTo>
                  <a:lnTo>
                    <a:pt x="37" y="17"/>
                  </a:lnTo>
                  <a:lnTo>
                    <a:pt x="37" y="23"/>
                  </a:lnTo>
                  <a:lnTo>
                    <a:pt x="47" y="29"/>
                  </a:lnTo>
                  <a:lnTo>
                    <a:pt x="49" y="26"/>
                  </a:lnTo>
                  <a:lnTo>
                    <a:pt x="50" y="26"/>
                  </a:lnTo>
                  <a:lnTo>
                    <a:pt x="50" y="28"/>
                  </a:lnTo>
                  <a:lnTo>
                    <a:pt x="53" y="29"/>
                  </a:lnTo>
                  <a:lnTo>
                    <a:pt x="53" y="31"/>
                  </a:lnTo>
                  <a:lnTo>
                    <a:pt x="52" y="31"/>
                  </a:lnTo>
                  <a:lnTo>
                    <a:pt x="50" y="32"/>
                  </a:lnTo>
                  <a:lnTo>
                    <a:pt x="53" y="37"/>
                  </a:lnTo>
                  <a:lnTo>
                    <a:pt x="55" y="37"/>
                  </a:lnTo>
                  <a:lnTo>
                    <a:pt x="55" y="38"/>
                  </a:lnTo>
                  <a:lnTo>
                    <a:pt x="53" y="38"/>
                  </a:lnTo>
                  <a:lnTo>
                    <a:pt x="50" y="40"/>
                  </a:lnTo>
                  <a:lnTo>
                    <a:pt x="49" y="44"/>
                  </a:lnTo>
                  <a:lnTo>
                    <a:pt x="50" y="48"/>
                  </a:lnTo>
                  <a:lnTo>
                    <a:pt x="55" y="56"/>
                  </a:lnTo>
                  <a:lnTo>
                    <a:pt x="55" y="57"/>
                  </a:lnTo>
                  <a:lnTo>
                    <a:pt x="50" y="66"/>
                  </a:lnTo>
                  <a:lnTo>
                    <a:pt x="50" y="69"/>
                  </a:lnTo>
                  <a:lnTo>
                    <a:pt x="46" y="69"/>
                  </a:lnTo>
                  <a:lnTo>
                    <a:pt x="43" y="68"/>
                  </a:lnTo>
                  <a:lnTo>
                    <a:pt x="35" y="68"/>
                  </a:lnTo>
                  <a:lnTo>
                    <a:pt x="27" y="75"/>
                  </a:lnTo>
                  <a:lnTo>
                    <a:pt x="25" y="75"/>
                  </a:lnTo>
                  <a:lnTo>
                    <a:pt x="25" y="74"/>
                  </a:lnTo>
                  <a:lnTo>
                    <a:pt x="19" y="68"/>
                  </a:lnTo>
                  <a:lnTo>
                    <a:pt x="15" y="66"/>
                  </a:lnTo>
                  <a:lnTo>
                    <a:pt x="15" y="60"/>
                  </a:lnTo>
                  <a:lnTo>
                    <a:pt x="16" y="60"/>
                  </a:lnTo>
                  <a:lnTo>
                    <a:pt x="18" y="62"/>
                  </a:lnTo>
                  <a:lnTo>
                    <a:pt x="19" y="59"/>
                  </a:lnTo>
                  <a:lnTo>
                    <a:pt x="6" y="50"/>
                  </a:lnTo>
                  <a:lnTo>
                    <a:pt x="6" y="47"/>
                  </a:lnTo>
                  <a:lnTo>
                    <a:pt x="7" y="47"/>
                  </a:lnTo>
                  <a:lnTo>
                    <a:pt x="10" y="45"/>
                  </a:lnTo>
                  <a:lnTo>
                    <a:pt x="7" y="40"/>
                  </a:lnTo>
                  <a:lnTo>
                    <a:pt x="12" y="38"/>
                  </a:lnTo>
                  <a:lnTo>
                    <a:pt x="6" y="34"/>
                  </a:lnTo>
                  <a:lnTo>
                    <a:pt x="4" y="34"/>
                  </a:lnTo>
                  <a:lnTo>
                    <a:pt x="4" y="32"/>
                  </a:lnTo>
                  <a:lnTo>
                    <a:pt x="9" y="25"/>
                  </a:lnTo>
                  <a:lnTo>
                    <a:pt x="6" y="23"/>
                  </a:lnTo>
                  <a:lnTo>
                    <a:pt x="6" y="22"/>
                  </a:lnTo>
                  <a:lnTo>
                    <a:pt x="7" y="19"/>
                  </a:lnTo>
                  <a:lnTo>
                    <a:pt x="10" y="17"/>
                  </a:lnTo>
                  <a:lnTo>
                    <a:pt x="3" y="14"/>
                  </a:lnTo>
                  <a:lnTo>
                    <a:pt x="0" y="4"/>
                  </a:lnTo>
                  <a:lnTo>
                    <a:pt x="1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4" name="Belarus">
              <a:extLst>
                <a:ext uri="{FF2B5EF4-FFF2-40B4-BE49-F238E27FC236}">
                  <a16:creationId xmlns:a16="http://schemas.microsoft.com/office/drawing/2014/main" id="{4EEBC315-856E-893A-A360-49795FC6D719}"/>
                </a:ext>
              </a:extLst>
            </p:cNvPr>
            <p:cNvSpPr>
              <a:spLocks/>
            </p:cNvSpPr>
            <p:nvPr/>
          </p:nvSpPr>
          <p:spPr bwMode="auto">
            <a:xfrm>
              <a:off x="6373385" y="2984542"/>
              <a:ext cx="231304" cy="193357"/>
            </a:xfrm>
            <a:custGeom>
              <a:avLst/>
              <a:gdLst>
                <a:gd name="T0" fmla="*/ 68 w 128"/>
                <a:gd name="T1" fmla="*/ 0 h 107"/>
                <a:gd name="T2" fmla="*/ 82 w 128"/>
                <a:gd name="T3" fmla="*/ 3 h 107"/>
                <a:gd name="T4" fmla="*/ 85 w 128"/>
                <a:gd name="T5" fmla="*/ 6 h 107"/>
                <a:gd name="T6" fmla="*/ 94 w 128"/>
                <a:gd name="T7" fmla="*/ 6 h 107"/>
                <a:gd name="T8" fmla="*/ 104 w 128"/>
                <a:gd name="T9" fmla="*/ 13 h 107"/>
                <a:gd name="T10" fmla="*/ 105 w 128"/>
                <a:gd name="T11" fmla="*/ 22 h 107"/>
                <a:gd name="T12" fmla="*/ 102 w 128"/>
                <a:gd name="T13" fmla="*/ 31 h 107"/>
                <a:gd name="T14" fmla="*/ 114 w 128"/>
                <a:gd name="T15" fmla="*/ 47 h 107"/>
                <a:gd name="T16" fmla="*/ 120 w 128"/>
                <a:gd name="T17" fmla="*/ 52 h 107"/>
                <a:gd name="T18" fmla="*/ 125 w 128"/>
                <a:gd name="T19" fmla="*/ 56 h 107"/>
                <a:gd name="T20" fmla="*/ 128 w 128"/>
                <a:gd name="T21" fmla="*/ 62 h 107"/>
                <a:gd name="T22" fmla="*/ 119 w 128"/>
                <a:gd name="T23" fmla="*/ 68 h 107"/>
                <a:gd name="T24" fmla="*/ 108 w 128"/>
                <a:gd name="T25" fmla="*/ 68 h 107"/>
                <a:gd name="T26" fmla="*/ 114 w 128"/>
                <a:gd name="T27" fmla="*/ 89 h 107"/>
                <a:gd name="T28" fmla="*/ 104 w 128"/>
                <a:gd name="T29" fmla="*/ 92 h 107"/>
                <a:gd name="T30" fmla="*/ 99 w 128"/>
                <a:gd name="T31" fmla="*/ 104 h 107"/>
                <a:gd name="T32" fmla="*/ 97 w 128"/>
                <a:gd name="T33" fmla="*/ 107 h 107"/>
                <a:gd name="T34" fmla="*/ 91 w 128"/>
                <a:gd name="T35" fmla="*/ 105 h 107"/>
                <a:gd name="T36" fmla="*/ 83 w 128"/>
                <a:gd name="T37" fmla="*/ 107 h 107"/>
                <a:gd name="T38" fmla="*/ 76 w 128"/>
                <a:gd name="T39" fmla="*/ 105 h 107"/>
                <a:gd name="T40" fmla="*/ 67 w 128"/>
                <a:gd name="T41" fmla="*/ 102 h 107"/>
                <a:gd name="T42" fmla="*/ 59 w 128"/>
                <a:gd name="T43" fmla="*/ 105 h 107"/>
                <a:gd name="T44" fmla="*/ 55 w 128"/>
                <a:gd name="T45" fmla="*/ 102 h 107"/>
                <a:gd name="T46" fmla="*/ 51 w 128"/>
                <a:gd name="T47" fmla="*/ 98 h 107"/>
                <a:gd name="T48" fmla="*/ 19 w 128"/>
                <a:gd name="T49" fmla="*/ 95 h 107"/>
                <a:gd name="T50" fmla="*/ 3 w 128"/>
                <a:gd name="T51" fmla="*/ 101 h 107"/>
                <a:gd name="T52" fmla="*/ 0 w 128"/>
                <a:gd name="T53" fmla="*/ 86 h 107"/>
                <a:gd name="T54" fmla="*/ 5 w 128"/>
                <a:gd name="T55" fmla="*/ 50 h 107"/>
                <a:gd name="T56" fmla="*/ 22 w 128"/>
                <a:gd name="T57" fmla="*/ 46 h 107"/>
                <a:gd name="T58" fmla="*/ 30 w 128"/>
                <a:gd name="T59" fmla="*/ 41 h 107"/>
                <a:gd name="T60" fmla="*/ 34 w 128"/>
                <a:gd name="T61" fmla="*/ 44 h 107"/>
                <a:gd name="T62" fmla="*/ 36 w 128"/>
                <a:gd name="T63" fmla="*/ 27 h 107"/>
                <a:gd name="T64" fmla="*/ 48 w 128"/>
                <a:gd name="T65" fmla="*/ 19 h 107"/>
                <a:gd name="T66" fmla="*/ 43 w 128"/>
                <a:gd name="T67" fmla="*/ 15 h 107"/>
                <a:gd name="T68" fmla="*/ 52 w 128"/>
                <a:gd name="T69" fmla="*/ 7 h 107"/>
                <a:gd name="T70" fmla="*/ 64 w 128"/>
                <a:gd name="T7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107">
                  <a:moveTo>
                    <a:pt x="64" y="0"/>
                  </a:moveTo>
                  <a:lnTo>
                    <a:pt x="68" y="0"/>
                  </a:lnTo>
                  <a:lnTo>
                    <a:pt x="68" y="1"/>
                  </a:lnTo>
                  <a:lnTo>
                    <a:pt x="82" y="3"/>
                  </a:lnTo>
                  <a:lnTo>
                    <a:pt x="85" y="4"/>
                  </a:lnTo>
                  <a:lnTo>
                    <a:pt x="85" y="6"/>
                  </a:lnTo>
                  <a:lnTo>
                    <a:pt x="83" y="9"/>
                  </a:lnTo>
                  <a:lnTo>
                    <a:pt x="94" y="6"/>
                  </a:lnTo>
                  <a:lnTo>
                    <a:pt x="104" y="12"/>
                  </a:lnTo>
                  <a:lnTo>
                    <a:pt x="104" y="13"/>
                  </a:lnTo>
                  <a:lnTo>
                    <a:pt x="102" y="19"/>
                  </a:lnTo>
                  <a:lnTo>
                    <a:pt x="105" y="22"/>
                  </a:lnTo>
                  <a:lnTo>
                    <a:pt x="105" y="24"/>
                  </a:lnTo>
                  <a:lnTo>
                    <a:pt x="102" y="31"/>
                  </a:lnTo>
                  <a:lnTo>
                    <a:pt x="110" y="43"/>
                  </a:lnTo>
                  <a:lnTo>
                    <a:pt x="114" y="47"/>
                  </a:lnTo>
                  <a:lnTo>
                    <a:pt x="116" y="52"/>
                  </a:lnTo>
                  <a:lnTo>
                    <a:pt x="120" y="52"/>
                  </a:lnTo>
                  <a:lnTo>
                    <a:pt x="125" y="53"/>
                  </a:lnTo>
                  <a:lnTo>
                    <a:pt x="125" y="56"/>
                  </a:lnTo>
                  <a:lnTo>
                    <a:pt x="128" y="58"/>
                  </a:lnTo>
                  <a:lnTo>
                    <a:pt x="128" y="62"/>
                  </a:lnTo>
                  <a:lnTo>
                    <a:pt x="120" y="68"/>
                  </a:lnTo>
                  <a:lnTo>
                    <a:pt x="119" y="68"/>
                  </a:lnTo>
                  <a:lnTo>
                    <a:pt x="111" y="65"/>
                  </a:lnTo>
                  <a:lnTo>
                    <a:pt x="108" y="68"/>
                  </a:lnTo>
                  <a:lnTo>
                    <a:pt x="111" y="71"/>
                  </a:lnTo>
                  <a:lnTo>
                    <a:pt x="114" y="89"/>
                  </a:lnTo>
                  <a:lnTo>
                    <a:pt x="114" y="90"/>
                  </a:lnTo>
                  <a:lnTo>
                    <a:pt x="104" y="92"/>
                  </a:lnTo>
                  <a:lnTo>
                    <a:pt x="101" y="95"/>
                  </a:lnTo>
                  <a:lnTo>
                    <a:pt x="99" y="104"/>
                  </a:lnTo>
                  <a:lnTo>
                    <a:pt x="99" y="105"/>
                  </a:lnTo>
                  <a:lnTo>
                    <a:pt x="97" y="107"/>
                  </a:lnTo>
                  <a:lnTo>
                    <a:pt x="94" y="105"/>
                  </a:lnTo>
                  <a:lnTo>
                    <a:pt x="91" y="105"/>
                  </a:lnTo>
                  <a:lnTo>
                    <a:pt x="88" y="107"/>
                  </a:lnTo>
                  <a:lnTo>
                    <a:pt x="83" y="107"/>
                  </a:lnTo>
                  <a:lnTo>
                    <a:pt x="79" y="101"/>
                  </a:lnTo>
                  <a:lnTo>
                    <a:pt x="76" y="105"/>
                  </a:lnTo>
                  <a:lnTo>
                    <a:pt x="74" y="105"/>
                  </a:lnTo>
                  <a:lnTo>
                    <a:pt x="67" y="102"/>
                  </a:lnTo>
                  <a:lnTo>
                    <a:pt x="61" y="105"/>
                  </a:lnTo>
                  <a:lnTo>
                    <a:pt x="59" y="105"/>
                  </a:lnTo>
                  <a:lnTo>
                    <a:pt x="58" y="102"/>
                  </a:lnTo>
                  <a:lnTo>
                    <a:pt x="55" y="102"/>
                  </a:lnTo>
                  <a:lnTo>
                    <a:pt x="55" y="101"/>
                  </a:lnTo>
                  <a:lnTo>
                    <a:pt x="51" y="98"/>
                  </a:lnTo>
                  <a:lnTo>
                    <a:pt x="36" y="93"/>
                  </a:lnTo>
                  <a:lnTo>
                    <a:pt x="19" y="95"/>
                  </a:lnTo>
                  <a:lnTo>
                    <a:pt x="16" y="98"/>
                  </a:lnTo>
                  <a:lnTo>
                    <a:pt x="3" y="101"/>
                  </a:lnTo>
                  <a:lnTo>
                    <a:pt x="3" y="92"/>
                  </a:lnTo>
                  <a:lnTo>
                    <a:pt x="0" y="86"/>
                  </a:lnTo>
                  <a:lnTo>
                    <a:pt x="8" y="76"/>
                  </a:lnTo>
                  <a:lnTo>
                    <a:pt x="5" y="50"/>
                  </a:lnTo>
                  <a:lnTo>
                    <a:pt x="22" y="49"/>
                  </a:lnTo>
                  <a:lnTo>
                    <a:pt x="22" y="46"/>
                  </a:lnTo>
                  <a:lnTo>
                    <a:pt x="28" y="41"/>
                  </a:lnTo>
                  <a:lnTo>
                    <a:pt x="30" y="41"/>
                  </a:lnTo>
                  <a:lnTo>
                    <a:pt x="34" y="46"/>
                  </a:lnTo>
                  <a:lnTo>
                    <a:pt x="34" y="44"/>
                  </a:lnTo>
                  <a:lnTo>
                    <a:pt x="33" y="40"/>
                  </a:lnTo>
                  <a:lnTo>
                    <a:pt x="36" y="27"/>
                  </a:lnTo>
                  <a:lnTo>
                    <a:pt x="46" y="24"/>
                  </a:lnTo>
                  <a:lnTo>
                    <a:pt x="48" y="19"/>
                  </a:lnTo>
                  <a:lnTo>
                    <a:pt x="43" y="19"/>
                  </a:lnTo>
                  <a:lnTo>
                    <a:pt x="43" y="15"/>
                  </a:lnTo>
                  <a:lnTo>
                    <a:pt x="45" y="15"/>
                  </a:lnTo>
                  <a:lnTo>
                    <a:pt x="52" y="7"/>
                  </a:lnTo>
                  <a:lnTo>
                    <a:pt x="58" y="7"/>
                  </a:lnTo>
                  <a:lnTo>
                    <a:pt x="6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5" name="Moldova">
              <a:extLst>
                <a:ext uri="{FF2B5EF4-FFF2-40B4-BE49-F238E27FC236}">
                  <a16:creationId xmlns:a16="http://schemas.microsoft.com/office/drawing/2014/main" id="{8702F4F7-868E-A36D-B843-9AB0943B5647}"/>
                </a:ext>
              </a:extLst>
            </p:cNvPr>
            <p:cNvSpPr>
              <a:spLocks/>
            </p:cNvSpPr>
            <p:nvPr/>
          </p:nvSpPr>
          <p:spPr bwMode="auto">
            <a:xfrm>
              <a:off x="6456509" y="3279094"/>
              <a:ext cx="81319" cy="106617"/>
            </a:xfrm>
            <a:custGeom>
              <a:avLst/>
              <a:gdLst>
                <a:gd name="T0" fmla="*/ 11 w 45"/>
                <a:gd name="T1" fmla="*/ 0 h 59"/>
                <a:gd name="T2" fmla="*/ 22 w 45"/>
                <a:gd name="T3" fmla="*/ 6 h 59"/>
                <a:gd name="T4" fmla="*/ 27 w 45"/>
                <a:gd name="T5" fmla="*/ 6 h 59"/>
                <a:gd name="T6" fmla="*/ 34 w 45"/>
                <a:gd name="T7" fmla="*/ 9 h 59"/>
                <a:gd name="T8" fmla="*/ 34 w 45"/>
                <a:gd name="T9" fmla="*/ 18 h 59"/>
                <a:gd name="T10" fmla="*/ 39 w 45"/>
                <a:gd name="T11" fmla="*/ 21 h 59"/>
                <a:gd name="T12" fmla="*/ 42 w 45"/>
                <a:gd name="T13" fmla="*/ 30 h 59"/>
                <a:gd name="T14" fmla="*/ 45 w 45"/>
                <a:gd name="T15" fmla="*/ 33 h 59"/>
                <a:gd name="T16" fmla="*/ 45 w 45"/>
                <a:gd name="T17" fmla="*/ 40 h 59"/>
                <a:gd name="T18" fmla="*/ 34 w 45"/>
                <a:gd name="T19" fmla="*/ 40 h 59"/>
                <a:gd name="T20" fmla="*/ 31 w 45"/>
                <a:gd name="T21" fmla="*/ 48 h 59"/>
                <a:gd name="T22" fmla="*/ 27 w 45"/>
                <a:gd name="T23" fmla="*/ 53 h 59"/>
                <a:gd name="T24" fmla="*/ 25 w 45"/>
                <a:gd name="T25" fmla="*/ 56 h 59"/>
                <a:gd name="T26" fmla="*/ 25 w 45"/>
                <a:gd name="T27" fmla="*/ 58 h 59"/>
                <a:gd name="T28" fmla="*/ 19 w 45"/>
                <a:gd name="T29" fmla="*/ 59 h 59"/>
                <a:gd name="T30" fmla="*/ 19 w 45"/>
                <a:gd name="T31" fmla="*/ 58 h 59"/>
                <a:gd name="T32" fmla="*/ 16 w 45"/>
                <a:gd name="T33" fmla="*/ 33 h 59"/>
                <a:gd name="T34" fmla="*/ 8 w 45"/>
                <a:gd name="T35" fmla="*/ 13 h 59"/>
                <a:gd name="T36" fmla="*/ 0 w 45"/>
                <a:gd name="T37" fmla="*/ 6 h 59"/>
                <a:gd name="T38" fmla="*/ 0 w 45"/>
                <a:gd name="T39" fmla="*/ 5 h 59"/>
                <a:gd name="T40" fmla="*/ 3 w 45"/>
                <a:gd name="T41" fmla="*/ 2 h 59"/>
                <a:gd name="T42" fmla="*/ 5 w 45"/>
                <a:gd name="T43" fmla="*/ 2 h 59"/>
                <a:gd name="T44" fmla="*/ 11 w 45"/>
                <a:gd name="T4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59">
                  <a:moveTo>
                    <a:pt x="11" y="0"/>
                  </a:moveTo>
                  <a:lnTo>
                    <a:pt x="22" y="6"/>
                  </a:lnTo>
                  <a:lnTo>
                    <a:pt x="27" y="6"/>
                  </a:lnTo>
                  <a:lnTo>
                    <a:pt x="34" y="9"/>
                  </a:lnTo>
                  <a:lnTo>
                    <a:pt x="34" y="18"/>
                  </a:lnTo>
                  <a:lnTo>
                    <a:pt x="39" y="21"/>
                  </a:lnTo>
                  <a:lnTo>
                    <a:pt x="42" y="30"/>
                  </a:lnTo>
                  <a:lnTo>
                    <a:pt x="45" y="33"/>
                  </a:lnTo>
                  <a:lnTo>
                    <a:pt x="45" y="40"/>
                  </a:lnTo>
                  <a:lnTo>
                    <a:pt x="34" y="40"/>
                  </a:lnTo>
                  <a:lnTo>
                    <a:pt x="31" y="48"/>
                  </a:lnTo>
                  <a:lnTo>
                    <a:pt x="27" y="53"/>
                  </a:lnTo>
                  <a:lnTo>
                    <a:pt x="25" y="56"/>
                  </a:lnTo>
                  <a:lnTo>
                    <a:pt x="25" y="58"/>
                  </a:lnTo>
                  <a:lnTo>
                    <a:pt x="19" y="59"/>
                  </a:lnTo>
                  <a:lnTo>
                    <a:pt x="19" y="58"/>
                  </a:lnTo>
                  <a:lnTo>
                    <a:pt x="16" y="33"/>
                  </a:lnTo>
                  <a:lnTo>
                    <a:pt x="8" y="13"/>
                  </a:lnTo>
                  <a:lnTo>
                    <a:pt x="0" y="6"/>
                  </a:lnTo>
                  <a:lnTo>
                    <a:pt x="0" y="5"/>
                  </a:lnTo>
                  <a:lnTo>
                    <a:pt x="3" y="2"/>
                  </a:lnTo>
                  <a:lnTo>
                    <a:pt x="5" y="2"/>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6" name="Ukraine">
              <a:extLst>
                <a:ext uri="{FF2B5EF4-FFF2-40B4-BE49-F238E27FC236}">
                  <a16:creationId xmlns:a16="http://schemas.microsoft.com/office/drawing/2014/main" id="{A7497FF3-A3F1-5145-035A-20AC80728670}"/>
                </a:ext>
              </a:extLst>
            </p:cNvPr>
            <p:cNvSpPr>
              <a:spLocks noEditPoints="1"/>
            </p:cNvSpPr>
            <p:nvPr/>
          </p:nvSpPr>
          <p:spPr bwMode="auto">
            <a:xfrm>
              <a:off x="6346278" y="3134530"/>
              <a:ext cx="431888" cy="287324"/>
            </a:xfrm>
            <a:custGeom>
              <a:avLst/>
              <a:gdLst>
                <a:gd name="T0" fmla="*/ 156 w 239"/>
                <a:gd name="T1" fmla="*/ 126 h 159"/>
                <a:gd name="T2" fmla="*/ 159 w 239"/>
                <a:gd name="T3" fmla="*/ 125 h 159"/>
                <a:gd name="T4" fmla="*/ 156 w 239"/>
                <a:gd name="T5" fmla="*/ 1 h 159"/>
                <a:gd name="T6" fmla="*/ 160 w 239"/>
                <a:gd name="T7" fmla="*/ 16 h 159"/>
                <a:gd name="T8" fmla="*/ 171 w 239"/>
                <a:gd name="T9" fmla="*/ 24 h 159"/>
                <a:gd name="T10" fmla="*/ 177 w 239"/>
                <a:gd name="T11" fmla="*/ 39 h 159"/>
                <a:gd name="T12" fmla="*/ 189 w 239"/>
                <a:gd name="T13" fmla="*/ 43 h 159"/>
                <a:gd name="T14" fmla="*/ 202 w 239"/>
                <a:gd name="T15" fmla="*/ 40 h 159"/>
                <a:gd name="T16" fmla="*/ 221 w 239"/>
                <a:gd name="T17" fmla="*/ 52 h 159"/>
                <a:gd name="T18" fmla="*/ 239 w 239"/>
                <a:gd name="T19" fmla="*/ 58 h 159"/>
                <a:gd name="T20" fmla="*/ 239 w 239"/>
                <a:gd name="T21" fmla="*/ 65 h 159"/>
                <a:gd name="T22" fmla="*/ 235 w 239"/>
                <a:gd name="T23" fmla="*/ 70 h 159"/>
                <a:gd name="T24" fmla="*/ 233 w 239"/>
                <a:gd name="T25" fmla="*/ 76 h 159"/>
                <a:gd name="T26" fmla="*/ 233 w 239"/>
                <a:gd name="T27" fmla="*/ 93 h 159"/>
                <a:gd name="T28" fmla="*/ 223 w 239"/>
                <a:gd name="T29" fmla="*/ 92 h 159"/>
                <a:gd name="T30" fmla="*/ 214 w 239"/>
                <a:gd name="T31" fmla="*/ 101 h 159"/>
                <a:gd name="T32" fmla="*/ 175 w 239"/>
                <a:gd name="T33" fmla="*/ 125 h 159"/>
                <a:gd name="T34" fmla="*/ 172 w 239"/>
                <a:gd name="T35" fmla="*/ 122 h 159"/>
                <a:gd name="T36" fmla="*/ 168 w 239"/>
                <a:gd name="T37" fmla="*/ 130 h 159"/>
                <a:gd name="T38" fmla="*/ 165 w 239"/>
                <a:gd name="T39" fmla="*/ 129 h 159"/>
                <a:gd name="T40" fmla="*/ 168 w 239"/>
                <a:gd name="T41" fmla="*/ 135 h 159"/>
                <a:gd name="T42" fmla="*/ 175 w 239"/>
                <a:gd name="T43" fmla="*/ 141 h 159"/>
                <a:gd name="T44" fmla="*/ 186 w 239"/>
                <a:gd name="T45" fmla="*/ 138 h 159"/>
                <a:gd name="T46" fmla="*/ 190 w 239"/>
                <a:gd name="T47" fmla="*/ 147 h 159"/>
                <a:gd name="T48" fmla="*/ 177 w 239"/>
                <a:gd name="T49" fmla="*/ 145 h 159"/>
                <a:gd name="T50" fmla="*/ 149 w 239"/>
                <a:gd name="T51" fmla="*/ 145 h 159"/>
                <a:gd name="T52" fmla="*/ 153 w 239"/>
                <a:gd name="T53" fmla="*/ 130 h 159"/>
                <a:gd name="T54" fmla="*/ 128 w 239"/>
                <a:gd name="T55" fmla="*/ 125 h 159"/>
                <a:gd name="T56" fmla="*/ 125 w 239"/>
                <a:gd name="T57" fmla="*/ 119 h 159"/>
                <a:gd name="T58" fmla="*/ 114 w 239"/>
                <a:gd name="T59" fmla="*/ 120 h 159"/>
                <a:gd name="T60" fmla="*/ 110 w 239"/>
                <a:gd name="T61" fmla="*/ 129 h 159"/>
                <a:gd name="T62" fmla="*/ 100 w 239"/>
                <a:gd name="T63" fmla="*/ 139 h 159"/>
                <a:gd name="T64" fmla="*/ 88 w 239"/>
                <a:gd name="T65" fmla="*/ 141 h 159"/>
                <a:gd name="T66" fmla="*/ 80 w 239"/>
                <a:gd name="T67" fmla="*/ 139 h 159"/>
                <a:gd name="T68" fmla="*/ 86 w 239"/>
                <a:gd name="T69" fmla="*/ 132 h 159"/>
                <a:gd name="T70" fmla="*/ 94 w 239"/>
                <a:gd name="T71" fmla="*/ 119 h 159"/>
                <a:gd name="T72" fmla="*/ 101 w 239"/>
                <a:gd name="T73" fmla="*/ 110 h 159"/>
                <a:gd name="T74" fmla="*/ 94 w 239"/>
                <a:gd name="T75" fmla="*/ 90 h 159"/>
                <a:gd name="T76" fmla="*/ 72 w 239"/>
                <a:gd name="T77" fmla="*/ 82 h 159"/>
                <a:gd name="T78" fmla="*/ 39 w 239"/>
                <a:gd name="T79" fmla="*/ 95 h 159"/>
                <a:gd name="T80" fmla="*/ 33 w 239"/>
                <a:gd name="T81" fmla="*/ 90 h 159"/>
                <a:gd name="T82" fmla="*/ 0 w 239"/>
                <a:gd name="T83" fmla="*/ 82 h 159"/>
                <a:gd name="T84" fmla="*/ 8 w 239"/>
                <a:gd name="T85" fmla="*/ 62 h 159"/>
                <a:gd name="T86" fmla="*/ 18 w 239"/>
                <a:gd name="T87" fmla="*/ 18 h 159"/>
                <a:gd name="T88" fmla="*/ 34 w 239"/>
                <a:gd name="T89" fmla="*/ 10 h 159"/>
                <a:gd name="T90" fmla="*/ 70 w 239"/>
                <a:gd name="T91" fmla="*/ 18 h 159"/>
                <a:gd name="T92" fmla="*/ 82 w 239"/>
                <a:gd name="T93" fmla="*/ 18 h 159"/>
                <a:gd name="T94" fmla="*/ 95 w 239"/>
                <a:gd name="T95" fmla="*/ 16 h 159"/>
                <a:gd name="T96" fmla="*/ 106 w 239"/>
                <a:gd name="T97" fmla="*/ 21 h 159"/>
                <a:gd name="T98" fmla="*/ 113 w 239"/>
                <a:gd name="T99" fmla="*/ 21 h 159"/>
                <a:gd name="T100" fmla="*/ 122 w 239"/>
                <a:gd name="T101" fmla="*/ 7 h 159"/>
                <a:gd name="T102" fmla="*/ 132 w 239"/>
                <a:gd name="T103" fmla="*/ 7 h 159"/>
                <a:gd name="T104" fmla="*/ 149 w 239"/>
                <a:gd name="T105"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9" h="159">
                  <a:moveTo>
                    <a:pt x="159" y="125"/>
                  </a:moveTo>
                  <a:lnTo>
                    <a:pt x="159" y="126"/>
                  </a:lnTo>
                  <a:lnTo>
                    <a:pt x="156" y="126"/>
                  </a:lnTo>
                  <a:lnTo>
                    <a:pt x="159" y="130"/>
                  </a:lnTo>
                  <a:lnTo>
                    <a:pt x="162" y="129"/>
                  </a:lnTo>
                  <a:lnTo>
                    <a:pt x="159" y="125"/>
                  </a:lnTo>
                  <a:close/>
                  <a:moveTo>
                    <a:pt x="149" y="0"/>
                  </a:moveTo>
                  <a:lnTo>
                    <a:pt x="155" y="0"/>
                  </a:lnTo>
                  <a:lnTo>
                    <a:pt x="156" y="1"/>
                  </a:lnTo>
                  <a:lnTo>
                    <a:pt x="163" y="12"/>
                  </a:lnTo>
                  <a:lnTo>
                    <a:pt x="163" y="15"/>
                  </a:lnTo>
                  <a:lnTo>
                    <a:pt x="160" y="16"/>
                  </a:lnTo>
                  <a:lnTo>
                    <a:pt x="162" y="22"/>
                  </a:lnTo>
                  <a:lnTo>
                    <a:pt x="168" y="25"/>
                  </a:lnTo>
                  <a:lnTo>
                    <a:pt x="171" y="24"/>
                  </a:lnTo>
                  <a:lnTo>
                    <a:pt x="172" y="24"/>
                  </a:lnTo>
                  <a:lnTo>
                    <a:pt x="177" y="28"/>
                  </a:lnTo>
                  <a:lnTo>
                    <a:pt x="177" y="39"/>
                  </a:lnTo>
                  <a:lnTo>
                    <a:pt x="180" y="40"/>
                  </a:lnTo>
                  <a:lnTo>
                    <a:pt x="187" y="40"/>
                  </a:lnTo>
                  <a:lnTo>
                    <a:pt x="189" y="43"/>
                  </a:lnTo>
                  <a:lnTo>
                    <a:pt x="192" y="43"/>
                  </a:lnTo>
                  <a:lnTo>
                    <a:pt x="200" y="40"/>
                  </a:lnTo>
                  <a:lnTo>
                    <a:pt x="202" y="40"/>
                  </a:lnTo>
                  <a:lnTo>
                    <a:pt x="211" y="49"/>
                  </a:lnTo>
                  <a:lnTo>
                    <a:pt x="215" y="49"/>
                  </a:lnTo>
                  <a:lnTo>
                    <a:pt x="221" y="52"/>
                  </a:lnTo>
                  <a:lnTo>
                    <a:pt x="224" y="52"/>
                  </a:lnTo>
                  <a:lnTo>
                    <a:pt x="238" y="58"/>
                  </a:lnTo>
                  <a:lnTo>
                    <a:pt x="239" y="58"/>
                  </a:lnTo>
                  <a:lnTo>
                    <a:pt x="239" y="59"/>
                  </a:lnTo>
                  <a:lnTo>
                    <a:pt x="238" y="59"/>
                  </a:lnTo>
                  <a:lnTo>
                    <a:pt x="239" y="65"/>
                  </a:lnTo>
                  <a:lnTo>
                    <a:pt x="238" y="68"/>
                  </a:lnTo>
                  <a:lnTo>
                    <a:pt x="238" y="70"/>
                  </a:lnTo>
                  <a:lnTo>
                    <a:pt x="235" y="70"/>
                  </a:lnTo>
                  <a:lnTo>
                    <a:pt x="238" y="73"/>
                  </a:lnTo>
                  <a:lnTo>
                    <a:pt x="238" y="74"/>
                  </a:lnTo>
                  <a:lnTo>
                    <a:pt x="233" y="76"/>
                  </a:lnTo>
                  <a:lnTo>
                    <a:pt x="233" y="83"/>
                  </a:lnTo>
                  <a:lnTo>
                    <a:pt x="236" y="83"/>
                  </a:lnTo>
                  <a:lnTo>
                    <a:pt x="233" y="93"/>
                  </a:lnTo>
                  <a:lnTo>
                    <a:pt x="233" y="95"/>
                  </a:lnTo>
                  <a:lnTo>
                    <a:pt x="226" y="95"/>
                  </a:lnTo>
                  <a:lnTo>
                    <a:pt x="223" y="92"/>
                  </a:lnTo>
                  <a:lnTo>
                    <a:pt x="218" y="96"/>
                  </a:lnTo>
                  <a:lnTo>
                    <a:pt x="215" y="98"/>
                  </a:lnTo>
                  <a:lnTo>
                    <a:pt x="214" y="101"/>
                  </a:lnTo>
                  <a:lnTo>
                    <a:pt x="214" y="108"/>
                  </a:lnTo>
                  <a:lnTo>
                    <a:pt x="180" y="119"/>
                  </a:lnTo>
                  <a:lnTo>
                    <a:pt x="175" y="125"/>
                  </a:lnTo>
                  <a:lnTo>
                    <a:pt x="174" y="125"/>
                  </a:lnTo>
                  <a:lnTo>
                    <a:pt x="174" y="123"/>
                  </a:lnTo>
                  <a:lnTo>
                    <a:pt x="172" y="122"/>
                  </a:lnTo>
                  <a:lnTo>
                    <a:pt x="169" y="126"/>
                  </a:lnTo>
                  <a:lnTo>
                    <a:pt x="169" y="130"/>
                  </a:lnTo>
                  <a:lnTo>
                    <a:pt x="168" y="130"/>
                  </a:lnTo>
                  <a:lnTo>
                    <a:pt x="165" y="128"/>
                  </a:lnTo>
                  <a:lnTo>
                    <a:pt x="163" y="129"/>
                  </a:lnTo>
                  <a:lnTo>
                    <a:pt x="165" y="129"/>
                  </a:lnTo>
                  <a:lnTo>
                    <a:pt x="165" y="130"/>
                  </a:lnTo>
                  <a:lnTo>
                    <a:pt x="163" y="133"/>
                  </a:lnTo>
                  <a:lnTo>
                    <a:pt x="168" y="135"/>
                  </a:lnTo>
                  <a:lnTo>
                    <a:pt x="169" y="135"/>
                  </a:lnTo>
                  <a:lnTo>
                    <a:pt x="171" y="141"/>
                  </a:lnTo>
                  <a:lnTo>
                    <a:pt x="175" y="141"/>
                  </a:lnTo>
                  <a:lnTo>
                    <a:pt x="178" y="139"/>
                  </a:lnTo>
                  <a:lnTo>
                    <a:pt x="183" y="139"/>
                  </a:lnTo>
                  <a:lnTo>
                    <a:pt x="186" y="138"/>
                  </a:lnTo>
                  <a:lnTo>
                    <a:pt x="192" y="138"/>
                  </a:lnTo>
                  <a:lnTo>
                    <a:pt x="192" y="139"/>
                  </a:lnTo>
                  <a:lnTo>
                    <a:pt x="190" y="147"/>
                  </a:lnTo>
                  <a:lnTo>
                    <a:pt x="186" y="147"/>
                  </a:lnTo>
                  <a:lnTo>
                    <a:pt x="183" y="145"/>
                  </a:lnTo>
                  <a:lnTo>
                    <a:pt x="177" y="145"/>
                  </a:lnTo>
                  <a:lnTo>
                    <a:pt x="156" y="159"/>
                  </a:lnTo>
                  <a:lnTo>
                    <a:pt x="149" y="157"/>
                  </a:lnTo>
                  <a:lnTo>
                    <a:pt x="149" y="145"/>
                  </a:lnTo>
                  <a:lnTo>
                    <a:pt x="137" y="141"/>
                  </a:lnTo>
                  <a:lnTo>
                    <a:pt x="137" y="139"/>
                  </a:lnTo>
                  <a:lnTo>
                    <a:pt x="153" y="130"/>
                  </a:lnTo>
                  <a:lnTo>
                    <a:pt x="152" y="129"/>
                  </a:lnTo>
                  <a:lnTo>
                    <a:pt x="128" y="126"/>
                  </a:lnTo>
                  <a:lnTo>
                    <a:pt x="128" y="125"/>
                  </a:lnTo>
                  <a:lnTo>
                    <a:pt x="129" y="123"/>
                  </a:lnTo>
                  <a:lnTo>
                    <a:pt x="125" y="120"/>
                  </a:lnTo>
                  <a:lnTo>
                    <a:pt x="125" y="119"/>
                  </a:lnTo>
                  <a:lnTo>
                    <a:pt x="132" y="119"/>
                  </a:lnTo>
                  <a:lnTo>
                    <a:pt x="129" y="116"/>
                  </a:lnTo>
                  <a:lnTo>
                    <a:pt x="114" y="120"/>
                  </a:lnTo>
                  <a:lnTo>
                    <a:pt x="112" y="126"/>
                  </a:lnTo>
                  <a:lnTo>
                    <a:pt x="109" y="125"/>
                  </a:lnTo>
                  <a:lnTo>
                    <a:pt x="110" y="129"/>
                  </a:lnTo>
                  <a:lnTo>
                    <a:pt x="101" y="136"/>
                  </a:lnTo>
                  <a:lnTo>
                    <a:pt x="100" y="135"/>
                  </a:lnTo>
                  <a:lnTo>
                    <a:pt x="100" y="139"/>
                  </a:lnTo>
                  <a:lnTo>
                    <a:pt x="97" y="139"/>
                  </a:lnTo>
                  <a:lnTo>
                    <a:pt x="95" y="141"/>
                  </a:lnTo>
                  <a:lnTo>
                    <a:pt x="88" y="141"/>
                  </a:lnTo>
                  <a:lnTo>
                    <a:pt x="86" y="142"/>
                  </a:lnTo>
                  <a:lnTo>
                    <a:pt x="85" y="142"/>
                  </a:lnTo>
                  <a:lnTo>
                    <a:pt x="80" y="139"/>
                  </a:lnTo>
                  <a:lnTo>
                    <a:pt x="80" y="138"/>
                  </a:lnTo>
                  <a:lnTo>
                    <a:pt x="85" y="136"/>
                  </a:lnTo>
                  <a:lnTo>
                    <a:pt x="86" y="132"/>
                  </a:lnTo>
                  <a:lnTo>
                    <a:pt x="91" y="128"/>
                  </a:lnTo>
                  <a:lnTo>
                    <a:pt x="94" y="120"/>
                  </a:lnTo>
                  <a:lnTo>
                    <a:pt x="94" y="119"/>
                  </a:lnTo>
                  <a:lnTo>
                    <a:pt x="104" y="119"/>
                  </a:lnTo>
                  <a:lnTo>
                    <a:pt x="104" y="113"/>
                  </a:lnTo>
                  <a:lnTo>
                    <a:pt x="101" y="110"/>
                  </a:lnTo>
                  <a:lnTo>
                    <a:pt x="98" y="102"/>
                  </a:lnTo>
                  <a:lnTo>
                    <a:pt x="94" y="99"/>
                  </a:lnTo>
                  <a:lnTo>
                    <a:pt x="94" y="90"/>
                  </a:lnTo>
                  <a:lnTo>
                    <a:pt x="88" y="87"/>
                  </a:lnTo>
                  <a:lnTo>
                    <a:pt x="83" y="87"/>
                  </a:lnTo>
                  <a:lnTo>
                    <a:pt x="72" y="82"/>
                  </a:lnTo>
                  <a:lnTo>
                    <a:pt x="66" y="82"/>
                  </a:lnTo>
                  <a:lnTo>
                    <a:pt x="63" y="86"/>
                  </a:lnTo>
                  <a:lnTo>
                    <a:pt x="39" y="95"/>
                  </a:lnTo>
                  <a:lnTo>
                    <a:pt x="37" y="95"/>
                  </a:lnTo>
                  <a:lnTo>
                    <a:pt x="37" y="93"/>
                  </a:lnTo>
                  <a:lnTo>
                    <a:pt x="33" y="90"/>
                  </a:lnTo>
                  <a:lnTo>
                    <a:pt x="9" y="92"/>
                  </a:lnTo>
                  <a:lnTo>
                    <a:pt x="0" y="83"/>
                  </a:lnTo>
                  <a:lnTo>
                    <a:pt x="0" y="82"/>
                  </a:lnTo>
                  <a:lnTo>
                    <a:pt x="5" y="68"/>
                  </a:lnTo>
                  <a:lnTo>
                    <a:pt x="8" y="68"/>
                  </a:lnTo>
                  <a:lnTo>
                    <a:pt x="8" y="62"/>
                  </a:lnTo>
                  <a:lnTo>
                    <a:pt x="12" y="52"/>
                  </a:lnTo>
                  <a:lnTo>
                    <a:pt x="26" y="37"/>
                  </a:lnTo>
                  <a:lnTo>
                    <a:pt x="18" y="18"/>
                  </a:lnTo>
                  <a:lnTo>
                    <a:pt x="18" y="16"/>
                  </a:lnTo>
                  <a:lnTo>
                    <a:pt x="31" y="13"/>
                  </a:lnTo>
                  <a:lnTo>
                    <a:pt x="34" y="10"/>
                  </a:lnTo>
                  <a:lnTo>
                    <a:pt x="52" y="9"/>
                  </a:lnTo>
                  <a:lnTo>
                    <a:pt x="67" y="13"/>
                  </a:lnTo>
                  <a:lnTo>
                    <a:pt x="70" y="18"/>
                  </a:lnTo>
                  <a:lnTo>
                    <a:pt x="74" y="18"/>
                  </a:lnTo>
                  <a:lnTo>
                    <a:pt x="76" y="21"/>
                  </a:lnTo>
                  <a:lnTo>
                    <a:pt x="82" y="18"/>
                  </a:lnTo>
                  <a:lnTo>
                    <a:pt x="89" y="21"/>
                  </a:lnTo>
                  <a:lnTo>
                    <a:pt x="94" y="16"/>
                  </a:lnTo>
                  <a:lnTo>
                    <a:pt x="95" y="16"/>
                  </a:lnTo>
                  <a:lnTo>
                    <a:pt x="100" y="22"/>
                  </a:lnTo>
                  <a:lnTo>
                    <a:pt x="103" y="22"/>
                  </a:lnTo>
                  <a:lnTo>
                    <a:pt x="106" y="21"/>
                  </a:lnTo>
                  <a:lnTo>
                    <a:pt x="109" y="21"/>
                  </a:lnTo>
                  <a:lnTo>
                    <a:pt x="112" y="22"/>
                  </a:lnTo>
                  <a:lnTo>
                    <a:pt x="113" y="21"/>
                  </a:lnTo>
                  <a:lnTo>
                    <a:pt x="114" y="12"/>
                  </a:lnTo>
                  <a:lnTo>
                    <a:pt x="119" y="7"/>
                  </a:lnTo>
                  <a:lnTo>
                    <a:pt x="122" y="7"/>
                  </a:lnTo>
                  <a:lnTo>
                    <a:pt x="126" y="6"/>
                  </a:lnTo>
                  <a:lnTo>
                    <a:pt x="129" y="6"/>
                  </a:lnTo>
                  <a:lnTo>
                    <a:pt x="132" y="7"/>
                  </a:lnTo>
                  <a:lnTo>
                    <a:pt x="137" y="1"/>
                  </a:lnTo>
                  <a:lnTo>
                    <a:pt x="144" y="1"/>
                  </a:lnTo>
                  <a:lnTo>
                    <a:pt x="14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7" name="Albania">
              <a:extLst>
                <a:ext uri="{FF2B5EF4-FFF2-40B4-BE49-F238E27FC236}">
                  <a16:creationId xmlns:a16="http://schemas.microsoft.com/office/drawing/2014/main" id="{20EBCF12-DEA2-91FA-551B-AF520D5F0F4C}"/>
                </a:ext>
              </a:extLst>
            </p:cNvPr>
            <p:cNvSpPr>
              <a:spLocks/>
            </p:cNvSpPr>
            <p:nvPr/>
          </p:nvSpPr>
          <p:spPr bwMode="auto">
            <a:xfrm>
              <a:off x="6279416" y="3474256"/>
              <a:ext cx="45177" cy="97581"/>
            </a:xfrm>
            <a:custGeom>
              <a:avLst/>
              <a:gdLst>
                <a:gd name="T0" fmla="*/ 6 w 25"/>
                <a:gd name="T1" fmla="*/ 0 h 54"/>
                <a:gd name="T2" fmla="*/ 12 w 25"/>
                <a:gd name="T3" fmla="*/ 3 h 54"/>
                <a:gd name="T4" fmla="*/ 20 w 25"/>
                <a:gd name="T5" fmla="*/ 11 h 54"/>
                <a:gd name="T6" fmla="*/ 18 w 25"/>
                <a:gd name="T7" fmla="*/ 24 h 54"/>
                <a:gd name="T8" fmla="*/ 24 w 25"/>
                <a:gd name="T9" fmla="*/ 33 h 54"/>
                <a:gd name="T10" fmla="*/ 25 w 25"/>
                <a:gd name="T11" fmla="*/ 37 h 54"/>
                <a:gd name="T12" fmla="*/ 25 w 25"/>
                <a:gd name="T13" fmla="*/ 39 h 54"/>
                <a:gd name="T14" fmla="*/ 14 w 25"/>
                <a:gd name="T15" fmla="*/ 54 h 54"/>
                <a:gd name="T16" fmla="*/ 12 w 25"/>
                <a:gd name="T17" fmla="*/ 54 h 54"/>
                <a:gd name="T18" fmla="*/ 0 w 25"/>
                <a:gd name="T19" fmla="*/ 40 h 54"/>
                <a:gd name="T20" fmla="*/ 0 w 25"/>
                <a:gd name="T21" fmla="*/ 39 h 54"/>
                <a:gd name="T22" fmla="*/ 2 w 25"/>
                <a:gd name="T23" fmla="*/ 39 h 54"/>
                <a:gd name="T24" fmla="*/ 2 w 25"/>
                <a:gd name="T25" fmla="*/ 24 h 54"/>
                <a:gd name="T26" fmla="*/ 5 w 25"/>
                <a:gd name="T27" fmla="*/ 17 h 54"/>
                <a:gd name="T28" fmla="*/ 0 w 25"/>
                <a:gd name="T29" fmla="*/ 15 h 54"/>
                <a:gd name="T30" fmla="*/ 3 w 25"/>
                <a:gd name="T31" fmla="*/ 5 h 54"/>
                <a:gd name="T32" fmla="*/ 6 w 25"/>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4">
                  <a:moveTo>
                    <a:pt x="6" y="0"/>
                  </a:moveTo>
                  <a:lnTo>
                    <a:pt x="12" y="3"/>
                  </a:lnTo>
                  <a:lnTo>
                    <a:pt x="20" y="11"/>
                  </a:lnTo>
                  <a:lnTo>
                    <a:pt x="18" y="24"/>
                  </a:lnTo>
                  <a:lnTo>
                    <a:pt x="24" y="33"/>
                  </a:lnTo>
                  <a:lnTo>
                    <a:pt x="25" y="37"/>
                  </a:lnTo>
                  <a:lnTo>
                    <a:pt x="25" y="39"/>
                  </a:lnTo>
                  <a:lnTo>
                    <a:pt x="14" y="54"/>
                  </a:lnTo>
                  <a:lnTo>
                    <a:pt x="12" y="54"/>
                  </a:lnTo>
                  <a:lnTo>
                    <a:pt x="0" y="40"/>
                  </a:lnTo>
                  <a:lnTo>
                    <a:pt x="0" y="39"/>
                  </a:lnTo>
                  <a:lnTo>
                    <a:pt x="2" y="39"/>
                  </a:lnTo>
                  <a:lnTo>
                    <a:pt x="2" y="24"/>
                  </a:lnTo>
                  <a:lnTo>
                    <a:pt x="5" y="17"/>
                  </a:lnTo>
                  <a:lnTo>
                    <a:pt x="0" y="15"/>
                  </a:lnTo>
                  <a:lnTo>
                    <a:pt x="3" y="5"/>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8" name="Bulgaria">
              <a:extLst>
                <a:ext uri="{FF2B5EF4-FFF2-40B4-BE49-F238E27FC236}">
                  <a16:creationId xmlns:a16="http://schemas.microsoft.com/office/drawing/2014/main" id="{55EDDC5B-311D-A058-AC7B-F616051DB575}"/>
                </a:ext>
              </a:extLst>
            </p:cNvPr>
            <p:cNvSpPr>
              <a:spLocks/>
            </p:cNvSpPr>
            <p:nvPr/>
          </p:nvSpPr>
          <p:spPr bwMode="auto">
            <a:xfrm>
              <a:off x="6351698" y="3427272"/>
              <a:ext cx="153601" cy="95775"/>
            </a:xfrm>
            <a:custGeom>
              <a:avLst/>
              <a:gdLst>
                <a:gd name="T0" fmla="*/ 6 w 85"/>
                <a:gd name="T1" fmla="*/ 0 h 53"/>
                <a:gd name="T2" fmla="*/ 9 w 85"/>
                <a:gd name="T3" fmla="*/ 0 h 53"/>
                <a:gd name="T4" fmla="*/ 11 w 85"/>
                <a:gd name="T5" fmla="*/ 1 h 53"/>
                <a:gd name="T6" fmla="*/ 9 w 85"/>
                <a:gd name="T7" fmla="*/ 4 h 53"/>
                <a:gd name="T8" fmla="*/ 11 w 85"/>
                <a:gd name="T9" fmla="*/ 7 h 53"/>
                <a:gd name="T10" fmla="*/ 42 w 85"/>
                <a:gd name="T11" fmla="*/ 8 h 53"/>
                <a:gd name="T12" fmla="*/ 61 w 85"/>
                <a:gd name="T13" fmla="*/ 1 h 53"/>
                <a:gd name="T14" fmla="*/ 85 w 85"/>
                <a:gd name="T15" fmla="*/ 7 h 53"/>
                <a:gd name="T16" fmla="*/ 82 w 85"/>
                <a:gd name="T17" fmla="*/ 14 h 53"/>
                <a:gd name="T18" fmla="*/ 76 w 85"/>
                <a:gd name="T19" fmla="*/ 19 h 53"/>
                <a:gd name="T20" fmla="*/ 74 w 85"/>
                <a:gd name="T21" fmla="*/ 26 h 53"/>
                <a:gd name="T22" fmla="*/ 70 w 85"/>
                <a:gd name="T23" fmla="*/ 31 h 53"/>
                <a:gd name="T24" fmla="*/ 76 w 85"/>
                <a:gd name="T25" fmla="*/ 40 h 53"/>
                <a:gd name="T26" fmla="*/ 76 w 85"/>
                <a:gd name="T27" fmla="*/ 41 h 53"/>
                <a:gd name="T28" fmla="*/ 73 w 85"/>
                <a:gd name="T29" fmla="*/ 41 h 53"/>
                <a:gd name="T30" fmla="*/ 70 w 85"/>
                <a:gd name="T31" fmla="*/ 40 h 53"/>
                <a:gd name="T32" fmla="*/ 64 w 85"/>
                <a:gd name="T33" fmla="*/ 40 h 53"/>
                <a:gd name="T34" fmla="*/ 54 w 85"/>
                <a:gd name="T35" fmla="*/ 44 h 53"/>
                <a:gd name="T36" fmla="*/ 52 w 85"/>
                <a:gd name="T37" fmla="*/ 44 h 53"/>
                <a:gd name="T38" fmla="*/ 52 w 85"/>
                <a:gd name="T39" fmla="*/ 49 h 53"/>
                <a:gd name="T40" fmla="*/ 48 w 85"/>
                <a:gd name="T41" fmla="*/ 50 h 53"/>
                <a:gd name="T42" fmla="*/ 43 w 85"/>
                <a:gd name="T43" fmla="*/ 53 h 53"/>
                <a:gd name="T44" fmla="*/ 42 w 85"/>
                <a:gd name="T45" fmla="*/ 53 h 53"/>
                <a:gd name="T46" fmla="*/ 28 w 85"/>
                <a:gd name="T47" fmla="*/ 47 h 53"/>
                <a:gd name="T48" fmla="*/ 9 w 85"/>
                <a:gd name="T49" fmla="*/ 51 h 53"/>
                <a:gd name="T50" fmla="*/ 9 w 85"/>
                <a:gd name="T51" fmla="*/ 50 h 53"/>
                <a:gd name="T52" fmla="*/ 6 w 85"/>
                <a:gd name="T53" fmla="*/ 40 h 53"/>
                <a:gd name="T54" fmla="*/ 2 w 85"/>
                <a:gd name="T55" fmla="*/ 35 h 53"/>
                <a:gd name="T56" fmla="*/ 2 w 85"/>
                <a:gd name="T57" fmla="*/ 28 h 53"/>
                <a:gd name="T58" fmla="*/ 6 w 85"/>
                <a:gd name="T59" fmla="*/ 20 h 53"/>
                <a:gd name="T60" fmla="*/ 2 w 85"/>
                <a:gd name="T61" fmla="*/ 13 h 53"/>
                <a:gd name="T62" fmla="*/ 0 w 85"/>
                <a:gd name="T63" fmla="*/ 7 h 53"/>
                <a:gd name="T64" fmla="*/ 2 w 85"/>
                <a:gd name="T65" fmla="*/ 1 h 53"/>
                <a:gd name="T66" fmla="*/ 6 w 85"/>
                <a:gd name="T6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53">
                  <a:moveTo>
                    <a:pt x="6" y="0"/>
                  </a:moveTo>
                  <a:lnTo>
                    <a:pt x="9" y="0"/>
                  </a:lnTo>
                  <a:lnTo>
                    <a:pt x="11" y="1"/>
                  </a:lnTo>
                  <a:lnTo>
                    <a:pt x="9" y="4"/>
                  </a:lnTo>
                  <a:lnTo>
                    <a:pt x="11" y="7"/>
                  </a:lnTo>
                  <a:lnTo>
                    <a:pt x="42" y="8"/>
                  </a:lnTo>
                  <a:lnTo>
                    <a:pt x="61" y="1"/>
                  </a:lnTo>
                  <a:lnTo>
                    <a:pt x="85" y="7"/>
                  </a:lnTo>
                  <a:lnTo>
                    <a:pt x="82" y="14"/>
                  </a:lnTo>
                  <a:lnTo>
                    <a:pt x="76" y="19"/>
                  </a:lnTo>
                  <a:lnTo>
                    <a:pt x="74" y="26"/>
                  </a:lnTo>
                  <a:lnTo>
                    <a:pt x="70" y="31"/>
                  </a:lnTo>
                  <a:lnTo>
                    <a:pt x="76" y="40"/>
                  </a:lnTo>
                  <a:lnTo>
                    <a:pt x="76" y="41"/>
                  </a:lnTo>
                  <a:lnTo>
                    <a:pt x="73" y="41"/>
                  </a:lnTo>
                  <a:lnTo>
                    <a:pt x="70" y="40"/>
                  </a:lnTo>
                  <a:lnTo>
                    <a:pt x="64" y="40"/>
                  </a:lnTo>
                  <a:lnTo>
                    <a:pt x="54" y="44"/>
                  </a:lnTo>
                  <a:lnTo>
                    <a:pt x="52" y="44"/>
                  </a:lnTo>
                  <a:lnTo>
                    <a:pt x="52" y="49"/>
                  </a:lnTo>
                  <a:lnTo>
                    <a:pt x="48" y="50"/>
                  </a:lnTo>
                  <a:lnTo>
                    <a:pt x="43" y="53"/>
                  </a:lnTo>
                  <a:lnTo>
                    <a:pt x="42" y="53"/>
                  </a:lnTo>
                  <a:lnTo>
                    <a:pt x="28" y="47"/>
                  </a:lnTo>
                  <a:lnTo>
                    <a:pt x="9" y="51"/>
                  </a:lnTo>
                  <a:lnTo>
                    <a:pt x="9" y="50"/>
                  </a:lnTo>
                  <a:lnTo>
                    <a:pt x="6" y="40"/>
                  </a:lnTo>
                  <a:lnTo>
                    <a:pt x="2" y="35"/>
                  </a:lnTo>
                  <a:lnTo>
                    <a:pt x="2" y="28"/>
                  </a:lnTo>
                  <a:lnTo>
                    <a:pt x="6" y="20"/>
                  </a:lnTo>
                  <a:lnTo>
                    <a:pt x="2" y="13"/>
                  </a:lnTo>
                  <a:lnTo>
                    <a:pt x="0" y="7"/>
                  </a:lnTo>
                  <a:lnTo>
                    <a:pt x="2" y="1"/>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9" name="Cyprus">
              <a:extLst>
                <a:ext uri="{FF2B5EF4-FFF2-40B4-BE49-F238E27FC236}">
                  <a16:creationId xmlns:a16="http://schemas.microsoft.com/office/drawing/2014/main" id="{1C7E67F0-5BC7-9CC9-4BC5-707A3637ADDD}"/>
                </a:ext>
              </a:extLst>
            </p:cNvPr>
            <p:cNvSpPr>
              <a:spLocks/>
            </p:cNvSpPr>
            <p:nvPr/>
          </p:nvSpPr>
          <p:spPr bwMode="auto">
            <a:xfrm>
              <a:off x="6588424" y="3685683"/>
              <a:ext cx="56019" cy="36141"/>
            </a:xfrm>
            <a:custGeom>
              <a:avLst/>
              <a:gdLst>
                <a:gd name="T0" fmla="*/ 31 w 31"/>
                <a:gd name="T1" fmla="*/ 0 h 20"/>
                <a:gd name="T2" fmla="*/ 31 w 31"/>
                <a:gd name="T3" fmla="*/ 2 h 20"/>
                <a:gd name="T4" fmla="*/ 25 w 31"/>
                <a:gd name="T5" fmla="*/ 14 h 20"/>
                <a:gd name="T6" fmla="*/ 12 w 31"/>
                <a:gd name="T7" fmla="*/ 20 h 20"/>
                <a:gd name="T8" fmla="*/ 10 w 31"/>
                <a:gd name="T9" fmla="*/ 20 h 20"/>
                <a:gd name="T10" fmla="*/ 4 w 31"/>
                <a:gd name="T11" fmla="*/ 18 h 20"/>
                <a:gd name="T12" fmla="*/ 0 w 31"/>
                <a:gd name="T13" fmla="*/ 12 h 20"/>
                <a:gd name="T14" fmla="*/ 1 w 31"/>
                <a:gd name="T15" fmla="*/ 12 h 20"/>
                <a:gd name="T16" fmla="*/ 10 w 31"/>
                <a:gd name="T17" fmla="*/ 6 h 20"/>
                <a:gd name="T18" fmla="*/ 23 w 31"/>
                <a:gd name="T19" fmla="*/ 5 h 20"/>
                <a:gd name="T20" fmla="*/ 31 w 31"/>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0">
                  <a:moveTo>
                    <a:pt x="31" y="0"/>
                  </a:moveTo>
                  <a:lnTo>
                    <a:pt x="31" y="2"/>
                  </a:lnTo>
                  <a:lnTo>
                    <a:pt x="25" y="14"/>
                  </a:lnTo>
                  <a:lnTo>
                    <a:pt x="12" y="20"/>
                  </a:lnTo>
                  <a:lnTo>
                    <a:pt x="10" y="20"/>
                  </a:lnTo>
                  <a:lnTo>
                    <a:pt x="4" y="18"/>
                  </a:lnTo>
                  <a:lnTo>
                    <a:pt x="0" y="12"/>
                  </a:lnTo>
                  <a:lnTo>
                    <a:pt x="1" y="12"/>
                  </a:lnTo>
                  <a:lnTo>
                    <a:pt x="10" y="6"/>
                  </a:lnTo>
                  <a:lnTo>
                    <a:pt x="23" y="5"/>
                  </a:lnTo>
                  <a:lnTo>
                    <a:pt x="3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0" name="Kosovo">
              <a:extLst>
                <a:ext uri="{FF2B5EF4-FFF2-40B4-BE49-F238E27FC236}">
                  <a16:creationId xmlns:a16="http://schemas.microsoft.com/office/drawing/2014/main" id="{6BEE0170-87A8-A9E7-2C2A-B0EA34B9B26B}"/>
                </a:ext>
              </a:extLst>
            </p:cNvPr>
            <p:cNvSpPr>
              <a:spLocks/>
            </p:cNvSpPr>
            <p:nvPr/>
          </p:nvSpPr>
          <p:spPr bwMode="auto">
            <a:xfrm>
              <a:off x="6293873" y="3457993"/>
              <a:ext cx="39755" cy="37948"/>
            </a:xfrm>
            <a:custGeom>
              <a:avLst/>
              <a:gdLst>
                <a:gd name="T0" fmla="*/ 9 w 22"/>
                <a:gd name="T1" fmla="*/ 0 h 21"/>
                <a:gd name="T2" fmla="*/ 15 w 22"/>
                <a:gd name="T3" fmla="*/ 0 h 21"/>
                <a:gd name="T4" fmla="*/ 15 w 22"/>
                <a:gd name="T5" fmla="*/ 2 h 21"/>
                <a:gd name="T6" fmla="*/ 17 w 22"/>
                <a:gd name="T7" fmla="*/ 8 h 21"/>
                <a:gd name="T8" fmla="*/ 22 w 22"/>
                <a:gd name="T9" fmla="*/ 8 h 21"/>
                <a:gd name="T10" fmla="*/ 22 w 22"/>
                <a:gd name="T11" fmla="*/ 14 h 21"/>
                <a:gd name="T12" fmla="*/ 12 w 22"/>
                <a:gd name="T13" fmla="*/ 21 h 21"/>
                <a:gd name="T14" fmla="*/ 10 w 22"/>
                <a:gd name="T15" fmla="*/ 21 h 21"/>
                <a:gd name="T16" fmla="*/ 10 w 22"/>
                <a:gd name="T17" fmla="*/ 20 h 21"/>
                <a:gd name="T18" fmla="*/ 4 w 22"/>
                <a:gd name="T19" fmla="*/ 14 h 21"/>
                <a:gd name="T20" fmla="*/ 0 w 22"/>
                <a:gd name="T21" fmla="*/ 12 h 21"/>
                <a:gd name="T22" fmla="*/ 0 w 22"/>
                <a:gd name="T23" fmla="*/ 6 h 21"/>
                <a:gd name="T24" fmla="*/ 1 w 22"/>
                <a:gd name="T25" fmla="*/ 6 h 21"/>
                <a:gd name="T26" fmla="*/ 3 w 22"/>
                <a:gd name="T27" fmla="*/ 8 h 21"/>
                <a:gd name="T28" fmla="*/ 4 w 22"/>
                <a:gd name="T29" fmla="*/ 5 h 21"/>
                <a:gd name="T30" fmla="*/ 9 w 22"/>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1">
                  <a:moveTo>
                    <a:pt x="9" y="0"/>
                  </a:moveTo>
                  <a:lnTo>
                    <a:pt x="15" y="0"/>
                  </a:lnTo>
                  <a:lnTo>
                    <a:pt x="15" y="2"/>
                  </a:lnTo>
                  <a:lnTo>
                    <a:pt x="17" y="8"/>
                  </a:lnTo>
                  <a:lnTo>
                    <a:pt x="22" y="8"/>
                  </a:lnTo>
                  <a:lnTo>
                    <a:pt x="22" y="14"/>
                  </a:lnTo>
                  <a:lnTo>
                    <a:pt x="12" y="21"/>
                  </a:lnTo>
                  <a:lnTo>
                    <a:pt x="10" y="21"/>
                  </a:lnTo>
                  <a:lnTo>
                    <a:pt x="10" y="20"/>
                  </a:lnTo>
                  <a:lnTo>
                    <a:pt x="4" y="14"/>
                  </a:lnTo>
                  <a:lnTo>
                    <a:pt x="0" y="12"/>
                  </a:lnTo>
                  <a:lnTo>
                    <a:pt x="0" y="6"/>
                  </a:lnTo>
                  <a:lnTo>
                    <a:pt x="1" y="6"/>
                  </a:lnTo>
                  <a:lnTo>
                    <a:pt x="3" y="8"/>
                  </a:lnTo>
                  <a:lnTo>
                    <a:pt x="4" y="5"/>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1" name="Macedonia">
              <a:extLst>
                <a:ext uri="{FF2B5EF4-FFF2-40B4-BE49-F238E27FC236}">
                  <a16:creationId xmlns:a16="http://schemas.microsoft.com/office/drawing/2014/main" id="{21CB7BA4-3259-E821-2B36-070014A25F96}"/>
                </a:ext>
              </a:extLst>
            </p:cNvPr>
            <p:cNvSpPr>
              <a:spLocks/>
            </p:cNvSpPr>
            <p:nvPr/>
          </p:nvSpPr>
          <p:spPr bwMode="auto">
            <a:xfrm>
              <a:off x="6310137" y="3479677"/>
              <a:ext cx="61440" cy="54212"/>
            </a:xfrm>
            <a:custGeom>
              <a:avLst/>
              <a:gdLst>
                <a:gd name="T0" fmla="*/ 11 w 34"/>
                <a:gd name="T1" fmla="*/ 0 h 30"/>
                <a:gd name="T2" fmla="*/ 25 w 34"/>
                <a:gd name="T3" fmla="*/ 2 h 30"/>
                <a:gd name="T4" fmla="*/ 26 w 34"/>
                <a:gd name="T5" fmla="*/ 2 h 30"/>
                <a:gd name="T6" fmla="*/ 26 w 34"/>
                <a:gd name="T7" fmla="*/ 5 h 30"/>
                <a:gd name="T8" fmla="*/ 31 w 34"/>
                <a:gd name="T9" fmla="*/ 9 h 30"/>
                <a:gd name="T10" fmla="*/ 34 w 34"/>
                <a:gd name="T11" fmla="*/ 21 h 30"/>
                <a:gd name="T12" fmla="*/ 32 w 34"/>
                <a:gd name="T13" fmla="*/ 21 h 30"/>
                <a:gd name="T14" fmla="*/ 7 w 34"/>
                <a:gd name="T15" fmla="*/ 30 h 30"/>
                <a:gd name="T16" fmla="*/ 6 w 34"/>
                <a:gd name="T17" fmla="*/ 30 h 30"/>
                <a:gd name="T18" fmla="*/ 0 w 34"/>
                <a:gd name="T19" fmla="*/ 21 h 30"/>
                <a:gd name="T20" fmla="*/ 1 w 34"/>
                <a:gd name="T21" fmla="*/ 8 h 30"/>
                <a:gd name="T22" fmla="*/ 11 w 34"/>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0">
                  <a:moveTo>
                    <a:pt x="11" y="0"/>
                  </a:moveTo>
                  <a:lnTo>
                    <a:pt x="25" y="2"/>
                  </a:lnTo>
                  <a:lnTo>
                    <a:pt x="26" y="2"/>
                  </a:lnTo>
                  <a:lnTo>
                    <a:pt x="26" y="5"/>
                  </a:lnTo>
                  <a:lnTo>
                    <a:pt x="31" y="9"/>
                  </a:lnTo>
                  <a:lnTo>
                    <a:pt x="34" y="21"/>
                  </a:lnTo>
                  <a:lnTo>
                    <a:pt x="32" y="21"/>
                  </a:lnTo>
                  <a:lnTo>
                    <a:pt x="7" y="30"/>
                  </a:lnTo>
                  <a:lnTo>
                    <a:pt x="6" y="30"/>
                  </a:lnTo>
                  <a:lnTo>
                    <a:pt x="0" y="21"/>
                  </a:lnTo>
                  <a:lnTo>
                    <a:pt x="1" y="8"/>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2" name="Slovakia">
              <a:extLst>
                <a:ext uri="{FF2B5EF4-FFF2-40B4-BE49-F238E27FC236}">
                  <a16:creationId xmlns:a16="http://schemas.microsoft.com/office/drawing/2014/main" id="{17BDE872-5311-D1B9-B5F1-C4F17F142302}"/>
                </a:ext>
              </a:extLst>
            </p:cNvPr>
            <p:cNvSpPr>
              <a:spLocks/>
            </p:cNvSpPr>
            <p:nvPr/>
          </p:nvSpPr>
          <p:spPr bwMode="auto">
            <a:xfrm>
              <a:off x="6221590" y="3241146"/>
              <a:ext cx="133723" cy="65054"/>
            </a:xfrm>
            <a:custGeom>
              <a:avLst/>
              <a:gdLst>
                <a:gd name="T0" fmla="*/ 35 w 74"/>
                <a:gd name="T1" fmla="*/ 0 h 36"/>
                <a:gd name="T2" fmla="*/ 41 w 74"/>
                <a:gd name="T3" fmla="*/ 6 h 36"/>
                <a:gd name="T4" fmla="*/ 60 w 74"/>
                <a:gd name="T5" fmla="*/ 3 h 36"/>
                <a:gd name="T6" fmla="*/ 74 w 74"/>
                <a:gd name="T7" fmla="*/ 9 h 36"/>
                <a:gd name="T8" fmla="*/ 71 w 74"/>
                <a:gd name="T9" fmla="*/ 23 h 36"/>
                <a:gd name="T10" fmla="*/ 52 w 74"/>
                <a:gd name="T11" fmla="*/ 21 h 36"/>
                <a:gd name="T12" fmla="*/ 41 w 74"/>
                <a:gd name="T13" fmla="*/ 28 h 36"/>
                <a:gd name="T14" fmla="*/ 26 w 74"/>
                <a:gd name="T15" fmla="*/ 30 h 36"/>
                <a:gd name="T16" fmla="*/ 22 w 74"/>
                <a:gd name="T17" fmla="*/ 36 h 36"/>
                <a:gd name="T18" fmla="*/ 13 w 74"/>
                <a:gd name="T19" fmla="*/ 36 h 36"/>
                <a:gd name="T20" fmla="*/ 4 w 74"/>
                <a:gd name="T21" fmla="*/ 30 h 36"/>
                <a:gd name="T22" fmla="*/ 0 w 74"/>
                <a:gd name="T23" fmla="*/ 17 h 36"/>
                <a:gd name="T24" fmla="*/ 20 w 74"/>
                <a:gd name="T25" fmla="*/ 14 h 36"/>
                <a:gd name="T26" fmla="*/ 23 w 74"/>
                <a:gd name="T27" fmla="*/ 6 h 36"/>
                <a:gd name="T28" fmla="*/ 35 w 7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6">
                  <a:moveTo>
                    <a:pt x="35" y="0"/>
                  </a:moveTo>
                  <a:lnTo>
                    <a:pt x="41" y="6"/>
                  </a:lnTo>
                  <a:lnTo>
                    <a:pt x="60" y="3"/>
                  </a:lnTo>
                  <a:lnTo>
                    <a:pt x="74" y="9"/>
                  </a:lnTo>
                  <a:lnTo>
                    <a:pt x="71" y="23"/>
                  </a:lnTo>
                  <a:lnTo>
                    <a:pt x="52" y="21"/>
                  </a:lnTo>
                  <a:lnTo>
                    <a:pt x="41" y="28"/>
                  </a:lnTo>
                  <a:lnTo>
                    <a:pt x="26" y="30"/>
                  </a:lnTo>
                  <a:lnTo>
                    <a:pt x="22" y="36"/>
                  </a:lnTo>
                  <a:lnTo>
                    <a:pt x="13" y="36"/>
                  </a:lnTo>
                  <a:lnTo>
                    <a:pt x="4" y="30"/>
                  </a:lnTo>
                  <a:lnTo>
                    <a:pt x="0" y="17"/>
                  </a:lnTo>
                  <a:lnTo>
                    <a:pt x="20" y="14"/>
                  </a:lnTo>
                  <a:lnTo>
                    <a:pt x="23" y="6"/>
                  </a:lnTo>
                  <a:lnTo>
                    <a:pt x="3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3" name="Montenegro">
              <a:extLst>
                <a:ext uri="{FF2B5EF4-FFF2-40B4-BE49-F238E27FC236}">
                  <a16:creationId xmlns:a16="http://schemas.microsoft.com/office/drawing/2014/main" id="{C6A91CA5-16BD-33D4-3B84-549BF2880BEF}"/>
                </a:ext>
              </a:extLst>
            </p:cNvPr>
            <p:cNvSpPr>
              <a:spLocks/>
            </p:cNvSpPr>
            <p:nvPr/>
          </p:nvSpPr>
          <p:spPr bwMode="auto">
            <a:xfrm>
              <a:off x="6255925" y="3445344"/>
              <a:ext cx="48791" cy="56019"/>
            </a:xfrm>
            <a:custGeom>
              <a:avLst/>
              <a:gdLst>
                <a:gd name="T0" fmla="*/ 6 w 27"/>
                <a:gd name="T1" fmla="*/ 0 h 31"/>
                <a:gd name="T2" fmla="*/ 9 w 27"/>
                <a:gd name="T3" fmla="*/ 1 h 31"/>
                <a:gd name="T4" fmla="*/ 9 w 27"/>
                <a:gd name="T5" fmla="*/ 0 h 31"/>
                <a:gd name="T6" fmla="*/ 13 w 27"/>
                <a:gd name="T7" fmla="*/ 0 h 31"/>
                <a:gd name="T8" fmla="*/ 13 w 27"/>
                <a:gd name="T9" fmla="*/ 1 h 31"/>
                <a:gd name="T10" fmla="*/ 27 w 27"/>
                <a:gd name="T11" fmla="*/ 12 h 31"/>
                <a:gd name="T12" fmla="*/ 25 w 27"/>
                <a:gd name="T13" fmla="*/ 16 h 31"/>
                <a:gd name="T14" fmla="*/ 24 w 27"/>
                <a:gd name="T15" fmla="*/ 16 h 31"/>
                <a:gd name="T16" fmla="*/ 22 w 27"/>
                <a:gd name="T17" fmla="*/ 15 h 31"/>
                <a:gd name="T18" fmla="*/ 22 w 27"/>
                <a:gd name="T19" fmla="*/ 19 h 31"/>
                <a:gd name="T20" fmla="*/ 19 w 27"/>
                <a:gd name="T21" fmla="*/ 18 h 31"/>
                <a:gd name="T22" fmla="*/ 16 w 27"/>
                <a:gd name="T23" fmla="*/ 21 h 31"/>
                <a:gd name="T24" fmla="*/ 15 w 27"/>
                <a:gd name="T25" fmla="*/ 31 h 31"/>
                <a:gd name="T26" fmla="*/ 13 w 27"/>
                <a:gd name="T27" fmla="*/ 31 h 31"/>
                <a:gd name="T28" fmla="*/ 0 w 27"/>
                <a:gd name="T29" fmla="*/ 19 h 31"/>
                <a:gd name="T30" fmla="*/ 0 w 27"/>
                <a:gd name="T31" fmla="*/ 18 h 31"/>
                <a:gd name="T32" fmla="*/ 3 w 27"/>
                <a:gd name="T33" fmla="*/ 16 h 31"/>
                <a:gd name="T34" fmla="*/ 1 w 27"/>
                <a:gd name="T35" fmla="*/ 10 h 31"/>
                <a:gd name="T36" fmla="*/ 1 w 27"/>
                <a:gd name="T37" fmla="*/ 9 h 31"/>
                <a:gd name="T38" fmla="*/ 6 w 27"/>
                <a:gd name="T39" fmla="*/ 7 h 31"/>
                <a:gd name="T40" fmla="*/ 3 w 27"/>
                <a:gd name="T41" fmla="*/ 3 h 31"/>
                <a:gd name="T42" fmla="*/ 3 w 27"/>
                <a:gd name="T43" fmla="*/ 1 h 31"/>
                <a:gd name="T44" fmla="*/ 6 w 27"/>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
                  <a:moveTo>
                    <a:pt x="6" y="0"/>
                  </a:moveTo>
                  <a:lnTo>
                    <a:pt x="9" y="1"/>
                  </a:lnTo>
                  <a:lnTo>
                    <a:pt x="9" y="0"/>
                  </a:lnTo>
                  <a:lnTo>
                    <a:pt x="13" y="0"/>
                  </a:lnTo>
                  <a:lnTo>
                    <a:pt x="13" y="1"/>
                  </a:lnTo>
                  <a:lnTo>
                    <a:pt x="27" y="12"/>
                  </a:lnTo>
                  <a:lnTo>
                    <a:pt x="25" y="16"/>
                  </a:lnTo>
                  <a:lnTo>
                    <a:pt x="24" y="16"/>
                  </a:lnTo>
                  <a:lnTo>
                    <a:pt x="22" y="15"/>
                  </a:lnTo>
                  <a:lnTo>
                    <a:pt x="22" y="19"/>
                  </a:lnTo>
                  <a:lnTo>
                    <a:pt x="19" y="18"/>
                  </a:lnTo>
                  <a:lnTo>
                    <a:pt x="16" y="21"/>
                  </a:lnTo>
                  <a:lnTo>
                    <a:pt x="15" y="31"/>
                  </a:lnTo>
                  <a:lnTo>
                    <a:pt x="13" y="31"/>
                  </a:lnTo>
                  <a:lnTo>
                    <a:pt x="0" y="19"/>
                  </a:lnTo>
                  <a:lnTo>
                    <a:pt x="0" y="18"/>
                  </a:lnTo>
                  <a:lnTo>
                    <a:pt x="3" y="16"/>
                  </a:lnTo>
                  <a:lnTo>
                    <a:pt x="1" y="10"/>
                  </a:lnTo>
                  <a:lnTo>
                    <a:pt x="1" y="9"/>
                  </a:lnTo>
                  <a:lnTo>
                    <a:pt x="6" y="7"/>
                  </a:lnTo>
                  <a:lnTo>
                    <a:pt x="3" y="3"/>
                  </a:lnTo>
                  <a:lnTo>
                    <a:pt x="3" y="1"/>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4" name="Palma">
              <a:extLst>
                <a:ext uri="{FF2B5EF4-FFF2-40B4-BE49-F238E27FC236}">
                  <a16:creationId xmlns:a16="http://schemas.microsoft.com/office/drawing/2014/main" id="{AB8A3770-1059-885B-EC8E-733A9602E548}"/>
                </a:ext>
              </a:extLst>
            </p:cNvPr>
            <p:cNvSpPr>
              <a:spLocks/>
            </p:cNvSpPr>
            <p:nvPr/>
          </p:nvSpPr>
          <p:spPr bwMode="auto">
            <a:xfrm>
              <a:off x="5883670" y="3560996"/>
              <a:ext cx="27107" cy="23493"/>
            </a:xfrm>
            <a:custGeom>
              <a:avLst/>
              <a:gdLst>
                <a:gd name="T0" fmla="*/ 10 w 15"/>
                <a:gd name="T1" fmla="*/ 0 h 13"/>
                <a:gd name="T2" fmla="*/ 12 w 15"/>
                <a:gd name="T3" fmla="*/ 0 h 13"/>
                <a:gd name="T4" fmla="*/ 12 w 15"/>
                <a:gd name="T5" fmla="*/ 3 h 13"/>
                <a:gd name="T6" fmla="*/ 15 w 15"/>
                <a:gd name="T7" fmla="*/ 4 h 13"/>
                <a:gd name="T8" fmla="*/ 15 w 15"/>
                <a:gd name="T9" fmla="*/ 6 h 13"/>
                <a:gd name="T10" fmla="*/ 10 w 15"/>
                <a:gd name="T11" fmla="*/ 12 h 13"/>
                <a:gd name="T12" fmla="*/ 10 w 15"/>
                <a:gd name="T13" fmla="*/ 13 h 13"/>
                <a:gd name="T14" fmla="*/ 1 w 15"/>
                <a:gd name="T15" fmla="*/ 7 h 13"/>
                <a:gd name="T16" fmla="*/ 0 w 15"/>
                <a:gd name="T17" fmla="*/ 7 h 13"/>
                <a:gd name="T18" fmla="*/ 0 w 15"/>
                <a:gd name="T19" fmla="*/ 6 h 13"/>
                <a:gd name="T20" fmla="*/ 1 w 15"/>
                <a:gd name="T21" fmla="*/ 6 h 13"/>
                <a:gd name="T22" fmla="*/ 10 w 15"/>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3">
                  <a:moveTo>
                    <a:pt x="10" y="0"/>
                  </a:moveTo>
                  <a:lnTo>
                    <a:pt x="12" y="0"/>
                  </a:lnTo>
                  <a:lnTo>
                    <a:pt x="12" y="3"/>
                  </a:lnTo>
                  <a:lnTo>
                    <a:pt x="15" y="4"/>
                  </a:lnTo>
                  <a:lnTo>
                    <a:pt x="15" y="6"/>
                  </a:lnTo>
                  <a:lnTo>
                    <a:pt x="10" y="12"/>
                  </a:lnTo>
                  <a:lnTo>
                    <a:pt x="10" y="13"/>
                  </a:lnTo>
                  <a:lnTo>
                    <a:pt x="1" y="7"/>
                  </a:lnTo>
                  <a:lnTo>
                    <a:pt x="0" y="7"/>
                  </a:lnTo>
                  <a:lnTo>
                    <a:pt x="0" y="6"/>
                  </a:lnTo>
                  <a:lnTo>
                    <a:pt x="1" y="6"/>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5" name="Armenia">
              <a:extLst>
                <a:ext uri="{FF2B5EF4-FFF2-40B4-BE49-F238E27FC236}">
                  <a16:creationId xmlns:a16="http://schemas.microsoft.com/office/drawing/2014/main" id="{E4F72A08-8170-7E5F-72AA-780531430544}"/>
                </a:ext>
              </a:extLst>
            </p:cNvPr>
            <p:cNvSpPr>
              <a:spLocks/>
            </p:cNvSpPr>
            <p:nvPr/>
          </p:nvSpPr>
          <p:spPr bwMode="auto">
            <a:xfrm>
              <a:off x="6850449" y="3517627"/>
              <a:ext cx="77705" cy="77705"/>
            </a:xfrm>
            <a:custGeom>
              <a:avLst/>
              <a:gdLst>
                <a:gd name="T0" fmla="*/ 19 w 43"/>
                <a:gd name="T1" fmla="*/ 0 h 43"/>
                <a:gd name="T2" fmla="*/ 22 w 43"/>
                <a:gd name="T3" fmla="*/ 0 h 43"/>
                <a:gd name="T4" fmla="*/ 25 w 43"/>
                <a:gd name="T5" fmla="*/ 4 h 43"/>
                <a:gd name="T6" fmla="*/ 28 w 43"/>
                <a:gd name="T7" fmla="*/ 6 h 43"/>
                <a:gd name="T8" fmla="*/ 30 w 43"/>
                <a:gd name="T9" fmla="*/ 6 h 43"/>
                <a:gd name="T10" fmla="*/ 28 w 43"/>
                <a:gd name="T11" fmla="*/ 13 h 43"/>
                <a:gd name="T12" fmla="*/ 34 w 43"/>
                <a:gd name="T13" fmla="*/ 18 h 43"/>
                <a:gd name="T14" fmla="*/ 33 w 43"/>
                <a:gd name="T15" fmla="*/ 24 h 43"/>
                <a:gd name="T16" fmla="*/ 37 w 43"/>
                <a:gd name="T17" fmla="*/ 28 h 43"/>
                <a:gd name="T18" fmla="*/ 42 w 43"/>
                <a:gd name="T19" fmla="*/ 28 h 43"/>
                <a:gd name="T20" fmla="*/ 42 w 43"/>
                <a:gd name="T21" fmla="*/ 37 h 43"/>
                <a:gd name="T22" fmla="*/ 40 w 43"/>
                <a:gd name="T23" fmla="*/ 37 h 43"/>
                <a:gd name="T24" fmla="*/ 43 w 43"/>
                <a:gd name="T25" fmla="*/ 42 h 43"/>
                <a:gd name="T26" fmla="*/ 43 w 43"/>
                <a:gd name="T27" fmla="*/ 43 h 43"/>
                <a:gd name="T28" fmla="*/ 34 w 43"/>
                <a:gd name="T29" fmla="*/ 43 h 43"/>
                <a:gd name="T30" fmla="*/ 31 w 43"/>
                <a:gd name="T31" fmla="*/ 31 h 43"/>
                <a:gd name="T32" fmla="*/ 27 w 43"/>
                <a:gd name="T33" fmla="*/ 31 h 43"/>
                <a:gd name="T34" fmla="*/ 22 w 43"/>
                <a:gd name="T35" fmla="*/ 28 h 43"/>
                <a:gd name="T36" fmla="*/ 18 w 43"/>
                <a:gd name="T37" fmla="*/ 30 h 43"/>
                <a:gd name="T38" fmla="*/ 16 w 43"/>
                <a:gd name="T39" fmla="*/ 30 h 43"/>
                <a:gd name="T40" fmla="*/ 15 w 43"/>
                <a:gd name="T41" fmla="*/ 27 h 43"/>
                <a:gd name="T42" fmla="*/ 6 w 43"/>
                <a:gd name="T43" fmla="*/ 21 h 43"/>
                <a:gd name="T44" fmla="*/ 0 w 43"/>
                <a:gd name="T45" fmla="*/ 6 h 43"/>
                <a:gd name="T46" fmla="*/ 2 w 43"/>
                <a:gd name="T47" fmla="*/ 6 h 43"/>
                <a:gd name="T48" fmla="*/ 19 w 43"/>
                <a:gd name="T4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43">
                  <a:moveTo>
                    <a:pt x="19" y="0"/>
                  </a:moveTo>
                  <a:lnTo>
                    <a:pt x="22" y="0"/>
                  </a:lnTo>
                  <a:lnTo>
                    <a:pt x="25" y="4"/>
                  </a:lnTo>
                  <a:lnTo>
                    <a:pt x="28" y="6"/>
                  </a:lnTo>
                  <a:lnTo>
                    <a:pt x="30" y="6"/>
                  </a:lnTo>
                  <a:lnTo>
                    <a:pt x="28" y="13"/>
                  </a:lnTo>
                  <a:lnTo>
                    <a:pt x="34" y="18"/>
                  </a:lnTo>
                  <a:lnTo>
                    <a:pt x="33" y="24"/>
                  </a:lnTo>
                  <a:lnTo>
                    <a:pt x="37" y="28"/>
                  </a:lnTo>
                  <a:lnTo>
                    <a:pt x="42" y="28"/>
                  </a:lnTo>
                  <a:lnTo>
                    <a:pt x="42" y="37"/>
                  </a:lnTo>
                  <a:lnTo>
                    <a:pt x="40" y="37"/>
                  </a:lnTo>
                  <a:lnTo>
                    <a:pt x="43" y="42"/>
                  </a:lnTo>
                  <a:lnTo>
                    <a:pt x="43" y="43"/>
                  </a:lnTo>
                  <a:lnTo>
                    <a:pt x="34" y="43"/>
                  </a:lnTo>
                  <a:lnTo>
                    <a:pt x="31" y="31"/>
                  </a:lnTo>
                  <a:lnTo>
                    <a:pt x="27" y="31"/>
                  </a:lnTo>
                  <a:lnTo>
                    <a:pt x="22" y="28"/>
                  </a:lnTo>
                  <a:lnTo>
                    <a:pt x="18" y="30"/>
                  </a:lnTo>
                  <a:lnTo>
                    <a:pt x="16" y="30"/>
                  </a:lnTo>
                  <a:lnTo>
                    <a:pt x="15" y="27"/>
                  </a:lnTo>
                  <a:lnTo>
                    <a:pt x="6" y="21"/>
                  </a:lnTo>
                  <a:lnTo>
                    <a:pt x="0" y="6"/>
                  </a:lnTo>
                  <a:lnTo>
                    <a:pt x="2" y="6"/>
                  </a:lnTo>
                  <a:lnTo>
                    <a:pt x="1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6" name="Azerbaijan - West">
              <a:extLst>
                <a:ext uri="{FF2B5EF4-FFF2-40B4-BE49-F238E27FC236}">
                  <a16:creationId xmlns:a16="http://schemas.microsoft.com/office/drawing/2014/main" id="{BEDC1F57-1DD4-E269-BB94-A6663C2073C2}"/>
                </a:ext>
              </a:extLst>
            </p:cNvPr>
            <p:cNvSpPr>
              <a:spLocks/>
            </p:cNvSpPr>
            <p:nvPr/>
          </p:nvSpPr>
          <p:spPr bwMode="auto">
            <a:xfrm>
              <a:off x="6879361" y="3566417"/>
              <a:ext cx="36141" cy="28913"/>
            </a:xfrm>
            <a:custGeom>
              <a:avLst/>
              <a:gdLst>
                <a:gd name="T0" fmla="*/ 5 w 20"/>
                <a:gd name="T1" fmla="*/ 0 h 16"/>
                <a:gd name="T2" fmla="*/ 6 w 20"/>
                <a:gd name="T3" fmla="*/ 0 h 16"/>
                <a:gd name="T4" fmla="*/ 11 w 20"/>
                <a:gd name="T5" fmla="*/ 3 h 16"/>
                <a:gd name="T6" fmla="*/ 17 w 20"/>
                <a:gd name="T7" fmla="*/ 3 h 16"/>
                <a:gd name="T8" fmla="*/ 20 w 20"/>
                <a:gd name="T9" fmla="*/ 15 h 16"/>
                <a:gd name="T10" fmla="*/ 20 w 20"/>
                <a:gd name="T11" fmla="*/ 16 h 16"/>
                <a:gd name="T12" fmla="*/ 11 w 20"/>
                <a:gd name="T13" fmla="*/ 16 h 16"/>
                <a:gd name="T14" fmla="*/ 11 w 20"/>
                <a:gd name="T15" fmla="*/ 15 h 16"/>
                <a:gd name="T16" fmla="*/ 0 w 20"/>
                <a:gd name="T17" fmla="*/ 3 h 16"/>
                <a:gd name="T18" fmla="*/ 0 w 20"/>
                <a:gd name="T19" fmla="*/ 1 h 16"/>
                <a:gd name="T20" fmla="*/ 2 w 20"/>
                <a:gd name="T21" fmla="*/ 1 h 16"/>
                <a:gd name="T22" fmla="*/ 5 w 20"/>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6">
                  <a:moveTo>
                    <a:pt x="5" y="0"/>
                  </a:moveTo>
                  <a:lnTo>
                    <a:pt x="6" y="0"/>
                  </a:lnTo>
                  <a:lnTo>
                    <a:pt x="11" y="3"/>
                  </a:lnTo>
                  <a:lnTo>
                    <a:pt x="17" y="3"/>
                  </a:lnTo>
                  <a:lnTo>
                    <a:pt x="20" y="15"/>
                  </a:lnTo>
                  <a:lnTo>
                    <a:pt x="20" y="16"/>
                  </a:lnTo>
                  <a:lnTo>
                    <a:pt x="11" y="16"/>
                  </a:lnTo>
                  <a:lnTo>
                    <a:pt x="11" y="15"/>
                  </a:lnTo>
                  <a:lnTo>
                    <a:pt x="0" y="3"/>
                  </a:lnTo>
                  <a:lnTo>
                    <a:pt x="0" y="1"/>
                  </a:lnTo>
                  <a:lnTo>
                    <a:pt x="2" y="1"/>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7" name="Azerbaijan - East">
              <a:extLst>
                <a:ext uri="{FF2B5EF4-FFF2-40B4-BE49-F238E27FC236}">
                  <a16:creationId xmlns:a16="http://schemas.microsoft.com/office/drawing/2014/main" id="{6603A5B7-EDE6-A6F4-E4A9-D5E9957DCB24}"/>
                </a:ext>
              </a:extLst>
            </p:cNvPr>
            <p:cNvSpPr>
              <a:spLocks/>
            </p:cNvSpPr>
            <p:nvPr/>
          </p:nvSpPr>
          <p:spPr bwMode="auto">
            <a:xfrm>
              <a:off x="6888396" y="3495942"/>
              <a:ext cx="124688" cy="112038"/>
            </a:xfrm>
            <a:custGeom>
              <a:avLst/>
              <a:gdLst>
                <a:gd name="T0" fmla="*/ 19 w 69"/>
                <a:gd name="T1" fmla="*/ 0 h 62"/>
                <a:gd name="T2" fmla="*/ 29 w 69"/>
                <a:gd name="T3" fmla="*/ 6 h 62"/>
                <a:gd name="T4" fmla="*/ 31 w 69"/>
                <a:gd name="T5" fmla="*/ 12 h 62"/>
                <a:gd name="T6" fmla="*/ 38 w 69"/>
                <a:gd name="T7" fmla="*/ 12 h 62"/>
                <a:gd name="T8" fmla="*/ 44 w 69"/>
                <a:gd name="T9" fmla="*/ 3 h 62"/>
                <a:gd name="T10" fmla="*/ 46 w 69"/>
                <a:gd name="T11" fmla="*/ 3 h 62"/>
                <a:gd name="T12" fmla="*/ 52 w 69"/>
                <a:gd name="T13" fmla="*/ 9 h 62"/>
                <a:gd name="T14" fmla="*/ 61 w 69"/>
                <a:gd name="T15" fmla="*/ 24 h 62"/>
                <a:gd name="T16" fmla="*/ 68 w 69"/>
                <a:gd name="T17" fmla="*/ 25 h 62"/>
                <a:gd name="T18" fmla="*/ 69 w 69"/>
                <a:gd name="T19" fmla="*/ 30 h 62"/>
                <a:gd name="T20" fmla="*/ 69 w 69"/>
                <a:gd name="T21" fmla="*/ 31 h 62"/>
                <a:gd name="T22" fmla="*/ 64 w 69"/>
                <a:gd name="T23" fmla="*/ 30 h 62"/>
                <a:gd name="T24" fmla="*/ 61 w 69"/>
                <a:gd name="T25" fmla="*/ 33 h 62"/>
                <a:gd name="T26" fmla="*/ 56 w 69"/>
                <a:gd name="T27" fmla="*/ 52 h 62"/>
                <a:gd name="T28" fmla="*/ 55 w 69"/>
                <a:gd name="T29" fmla="*/ 52 h 62"/>
                <a:gd name="T30" fmla="*/ 52 w 69"/>
                <a:gd name="T31" fmla="*/ 51 h 62"/>
                <a:gd name="T32" fmla="*/ 52 w 69"/>
                <a:gd name="T33" fmla="*/ 61 h 62"/>
                <a:gd name="T34" fmla="*/ 50 w 69"/>
                <a:gd name="T35" fmla="*/ 61 h 62"/>
                <a:gd name="T36" fmla="*/ 50 w 69"/>
                <a:gd name="T37" fmla="*/ 62 h 62"/>
                <a:gd name="T38" fmla="*/ 38 w 69"/>
                <a:gd name="T39" fmla="*/ 55 h 62"/>
                <a:gd name="T40" fmla="*/ 43 w 69"/>
                <a:gd name="T41" fmla="*/ 52 h 62"/>
                <a:gd name="T42" fmla="*/ 40 w 69"/>
                <a:gd name="T43" fmla="*/ 43 h 62"/>
                <a:gd name="T44" fmla="*/ 37 w 69"/>
                <a:gd name="T45" fmla="*/ 43 h 62"/>
                <a:gd name="T46" fmla="*/ 28 w 69"/>
                <a:gd name="T47" fmla="*/ 46 h 62"/>
                <a:gd name="T48" fmla="*/ 22 w 69"/>
                <a:gd name="T49" fmla="*/ 55 h 62"/>
                <a:gd name="T50" fmla="*/ 21 w 69"/>
                <a:gd name="T51" fmla="*/ 55 h 62"/>
                <a:gd name="T52" fmla="*/ 18 w 69"/>
                <a:gd name="T53" fmla="*/ 49 h 62"/>
                <a:gd name="T54" fmla="*/ 18 w 69"/>
                <a:gd name="T55" fmla="*/ 48 h 62"/>
                <a:gd name="T56" fmla="*/ 19 w 69"/>
                <a:gd name="T57" fmla="*/ 48 h 62"/>
                <a:gd name="T58" fmla="*/ 19 w 69"/>
                <a:gd name="T59" fmla="*/ 42 h 62"/>
                <a:gd name="T60" fmla="*/ 16 w 69"/>
                <a:gd name="T61" fmla="*/ 42 h 62"/>
                <a:gd name="T62" fmla="*/ 10 w 69"/>
                <a:gd name="T63" fmla="*/ 36 h 62"/>
                <a:gd name="T64" fmla="*/ 12 w 69"/>
                <a:gd name="T65" fmla="*/ 30 h 62"/>
                <a:gd name="T66" fmla="*/ 6 w 69"/>
                <a:gd name="T67" fmla="*/ 25 h 62"/>
                <a:gd name="T68" fmla="*/ 7 w 69"/>
                <a:gd name="T69" fmla="*/ 18 h 62"/>
                <a:gd name="T70" fmla="*/ 3 w 69"/>
                <a:gd name="T71" fmla="*/ 18 h 62"/>
                <a:gd name="T72" fmla="*/ 3 w 69"/>
                <a:gd name="T73" fmla="*/ 16 h 62"/>
                <a:gd name="T74" fmla="*/ 0 w 69"/>
                <a:gd name="T75" fmla="*/ 12 h 62"/>
                <a:gd name="T76" fmla="*/ 4 w 69"/>
                <a:gd name="T77" fmla="*/ 9 h 62"/>
                <a:gd name="T78" fmla="*/ 6 w 69"/>
                <a:gd name="T79" fmla="*/ 9 h 62"/>
                <a:gd name="T80" fmla="*/ 21 w 69"/>
                <a:gd name="T81" fmla="*/ 13 h 62"/>
                <a:gd name="T82" fmla="*/ 21 w 69"/>
                <a:gd name="T83" fmla="*/ 12 h 62"/>
                <a:gd name="T84" fmla="*/ 16 w 69"/>
                <a:gd name="T85" fmla="*/ 6 h 62"/>
                <a:gd name="T86" fmla="*/ 19 w 69"/>
                <a:gd name="T87" fmla="*/ 2 h 62"/>
                <a:gd name="T88" fmla="*/ 19 w 69"/>
                <a:gd name="T8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62">
                  <a:moveTo>
                    <a:pt x="19" y="0"/>
                  </a:moveTo>
                  <a:lnTo>
                    <a:pt x="29" y="6"/>
                  </a:lnTo>
                  <a:lnTo>
                    <a:pt x="31" y="12"/>
                  </a:lnTo>
                  <a:lnTo>
                    <a:pt x="38" y="12"/>
                  </a:lnTo>
                  <a:lnTo>
                    <a:pt x="44" y="3"/>
                  </a:lnTo>
                  <a:lnTo>
                    <a:pt x="46" y="3"/>
                  </a:lnTo>
                  <a:lnTo>
                    <a:pt x="52" y="9"/>
                  </a:lnTo>
                  <a:lnTo>
                    <a:pt x="61" y="24"/>
                  </a:lnTo>
                  <a:lnTo>
                    <a:pt x="68" y="25"/>
                  </a:lnTo>
                  <a:lnTo>
                    <a:pt x="69" y="30"/>
                  </a:lnTo>
                  <a:lnTo>
                    <a:pt x="69" y="31"/>
                  </a:lnTo>
                  <a:lnTo>
                    <a:pt x="64" y="30"/>
                  </a:lnTo>
                  <a:lnTo>
                    <a:pt x="61" y="33"/>
                  </a:lnTo>
                  <a:lnTo>
                    <a:pt x="56" y="52"/>
                  </a:lnTo>
                  <a:lnTo>
                    <a:pt x="55" y="52"/>
                  </a:lnTo>
                  <a:lnTo>
                    <a:pt x="52" y="51"/>
                  </a:lnTo>
                  <a:lnTo>
                    <a:pt x="52" y="61"/>
                  </a:lnTo>
                  <a:lnTo>
                    <a:pt x="50" y="61"/>
                  </a:lnTo>
                  <a:lnTo>
                    <a:pt x="50" y="62"/>
                  </a:lnTo>
                  <a:lnTo>
                    <a:pt x="38" y="55"/>
                  </a:lnTo>
                  <a:lnTo>
                    <a:pt x="43" y="52"/>
                  </a:lnTo>
                  <a:lnTo>
                    <a:pt x="40" y="43"/>
                  </a:lnTo>
                  <a:lnTo>
                    <a:pt x="37" y="43"/>
                  </a:lnTo>
                  <a:lnTo>
                    <a:pt x="28" y="46"/>
                  </a:lnTo>
                  <a:lnTo>
                    <a:pt x="22" y="55"/>
                  </a:lnTo>
                  <a:lnTo>
                    <a:pt x="21" y="55"/>
                  </a:lnTo>
                  <a:lnTo>
                    <a:pt x="18" y="49"/>
                  </a:lnTo>
                  <a:lnTo>
                    <a:pt x="18" y="48"/>
                  </a:lnTo>
                  <a:lnTo>
                    <a:pt x="19" y="48"/>
                  </a:lnTo>
                  <a:lnTo>
                    <a:pt x="19" y="42"/>
                  </a:lnTo>
                  <a:lnTo>
                    <a:pt x="16" y="42"/>
                  </a:lnTo>
                  <a:lnTo>
                    <a:pt x="10" y="36"/>
                  </a:lnTo>
                  <a:lnTo>
                    <a:pt x="12" y="30"/>
                  </a:lnTo>
                  <a:lnTo>
                    <a:pt x="6" y="25"/>
                  </a:lnTo>
                  <a:lnTo>
                    <a:pt x="7" y="18"/>
                  </a:lnTo>
                  <a:lnTo>
                    <a:pt x="3" y="18"/>
                  </a:lnTo>
                  <a:lnTo>
                    <a:pt x="3" y="16"/>
                  </a:lnTo>
                  <a:lnTo>
                    <a:pt x="0" y="12"/>
                  </a:lnTo>
                  <a:lnTo>
                    <a:pt x="4" y="9"/>
                  </a:lnTo>
                  <a:lnTo>
                    <a:pt x="6" y="9"/>
                  </a:lnTo>
                  <a:lnTo>
                    <a:pt x="21" y="13"/>
                  </a:lnTo>
                  <a:lnTo>
                    <a:pt x="21" y="12"/>
                  </a:lnTo>
                  <a:lnTo>
                    <a:pt x="16" y="6"/>
                  </a:lnTo>
                  <a:lnTo>
                    <a:pt x="19" y="2"/>
                  </a:lnTo>
                  <a:lnTo>
                    <a:pt x="1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8" name="Denmark">
              <a:extLst>
                <a:ext uri="{FF2B5EF4-FFF2-40B4-BE49-F238E27FC236}">
                  <a16:creationId xmlns:a16="http://schemas.microsoft.com/office/drawing/2014/main" id="{BFA1B4FC-345C-DEF7-BDA3-0F60A5D67198}"/>
                </a:ext>
              </a:extLst>
            </p:cNvPr>
            <p:cNvSpPr>
              <a:spLocks/>
            </p:cNvSpPr>
            <p:nvPr/>
          </p:nvSpPr>
          <p:spPr bwMode="auto">
            <a:xfrm>
              <a:off x="6015586" y="2914068"/>
              <a:ext cx="112038" cy="137336"/>
            </a:xfrm>
            <a:custGeom>
              <a:avLst/>
              <a:gdLst/>
              <a:ahLst/>
              <a:cxnLst/>
              <a:rect l="l" t="t" r="r" b="b"/>
              <a:pathLst>
                <a:path w="112931" h="138431">
                  <a:moveTo>
                    <a:pt x="78324" y="120216"/>
                  </a:moveTo>
                  <a:lnTo>
                    <a:pt x="87431" y="122038"/>
                  </a:lnTo>
                  <a:lnTo>
                    <a:pt x="87431" y="125681"/>
                  </a:lnTo>
                  <a:lnTo>
                    <a:pt x="91074" y="132967"/>
                  </a:lnTo>
                  <a:lnTo>
                    <a:pt x="91074" y="136610"/>
                  </a:lnTo>
                  <a:lnTo>
                    <a:pt x="72859" y="131145"/>
                  </a:lnTo>
                  <a:lnTo>
                    <a:pt x="72859" y="122038"/>
                  </a:lnTo>
                  <a:close/>
                  <a:moveTo>
                    <a:pt x="61929" y="92894"/>
                  </a:moveTo>
                  <a:lnTo>
                    <a:pt x="63751" y="92894"/>
                  </a:lnTo>
                  <a:lnTo>
                    <a:pt x="69215" y="105645"/>
                  </a:lnTo>
                  <a:lnTo>
                    <a:pt x="69215" y="116574"/>
                  </a:lnTo>
                  <a:lnTo>
                    <a:pt x="69216" y="116574"/>
                  </a:lnTo>
                  <a:lnTo>
                    <a:pt x="67395" y="131147"/>
                  </a:lnTo>
                  <a:lnTo>
                    <a:pt x="67395" y="132968"/>
                  </a:lnTo>
                  <a:lnTo>
                    <a:pt x="63752" y="132968"/>
                  </a:lnTo>
                  <a:lnTo>
                    <a:pt x="63752" y="131147"/>
                  </a:lnTo>
                  <a:lnTo>
                    <a:pt x="61930" y="125682"/>
                  </a:lnTo>
                  <a:lnTo>
                    <a:pt x="67395" y="116574"/>
                  </a:lnTo>
                  <a:lnTo>
                    <a:pt x="61929" y="116574"/>
                  </a:lnTo>
                  <a:lnTo>
                    <a:pt x="56465" y="120217"/>
                  </a:lnTo>
                  <a:lnTo>
                    <a:pt x="47358" y="120217"/>
                  </a:lnTo>
                  <a:lnTo>
                    <a:pt x="47358" y="116574"/>
                  </a:lnTo>
                  <a:lnTo>
                    <a:pt x="40072" y="98359"/>
                  </a:lnTo>
                  <a:lnTo>
                    <a:pt x="41894" y="98359"/>
                  </a:lnTo>
                  <a:lnTo>
                    <a:pt x="47358" y="94716"/>
                  </a:lnTo>
                  <a:close/>
                  <a:moveTo>
                    <a:pt x="103824" y="71036"/>
                  </a:moveTo>
                  <a:lnTo>
                    <a:pt x="112931" y="89251"/>
                  </a:lnTo>
                  <a:lnTo>
                    <a:pt x="112931" y="92894"/>
                  </a:lnTo>
                  <a:lnTo>
                    <a:pt x="103824" y="98358"/>
                  </a:lnTo>
                  <a:lnTo>
                    <a:pt x="107467" y="109287"/>
                  </a:lnTo>
                  <a:lnTo>
                    <a:pt x="107467" y="111108"/>
                  </a:lnTo>
                  <a:lnTo>
                    <a:pt x="102002" y="111108"/>
                  </a:lnTo>
                  <a:lnTo>
                    <a:pt x="102002" y="120216"/>
                  </a:lnTo>
                  <a:lnTo>
                    <a:pt x="98360" y="122037"/>
                  </a:lnTo>
                  <a:lnTo>
                    <a:pt x="98355" y="122036"/>
                  </a:lnTo>
                  <a:lnTo>
                    <a:pt x="98360" y="122038"/>
                  </a:lnTo>
                  <a:lnTo>
                    <a:pt x="98360" y="125681"/>
                  </a:lnTo>
                  <a:lnTo>
                    <a:pt x="96539" y="136610"/>
                  </a:lnTo>
                  <a:lnTo>
                    <a:pt x="96539" y="138431"/>
                  </a:lnTo>
                  <a:lnTo>
                    <a:pt x="92896" y="138431"/>
                  </a:lnTo>
                  <a:lnTo>
                    <a:pt x="91074" y="122038"/>
                  </a:lnTo>
                  <a:lnTo>
                    <a:pt x="91074" y="120823"/>
                  </a:lnTo>
                  <a:lnTo>
                    <a:pt x="87431" y="120216"/>
                  </a:lnTo>
                  <a:lnTo>
                    <a:pt x="87431" y="114751"/>
                  </a:lnTo>
                  <a:lnTo>
                    <a:pt x="78324" y="111108"/>
                  </a:lnTo>
                  <a:lnTo>
                    <a:pt x="74681" y="94715"/>
                  </a:lnTo>
                  <a:lnTo>
                    <a:pt x="69216" y="89251"/>
                  </a:lnTo>
                  <a:lnTo>
                    <a:pt x="83788" y="81965"/>
                  </a:lnTo>
                  <a:lnTo>
                    <a:pt x="80145" y="78322"/>
                  </a:lnTo>
                  <a:lnTo>
                    <a:pt x="80145" y="76501"/>
                  </a:lnTo>
                  <a:lnTo>
                    <a:pt x="91074" y="76501"/>
                  </a:lnTo>
                  <a:lnTo>
                    <a:pt x="91074" y="83786"/>
                  </a:lnTo>
                  <a:lnTo>
                    <a:pt x="92895" y="81965"/>
                  </a:lnTo>
                  <a:lnTo>
                    <a:pt x="92895" y="76501"/>
                  </a:lnTo>
                  <a:close/>
                  <a:moveTo>
                    <a:pt x="56466" y="0"/>
                  </a:moveTo>
                  <a:lnTo>
                    <a:pt x="58287" y="0"/>
                  </a:lnTo>
                  <a:lnTo>
                    <a:pt x="58287" y="21858"/>
                  </a:lnTo>
                  <a:lnTo>
                    <a:pt x="51002" y="49180"/>
                  </a:lnTo>
                  <a:lnTo>
                    <a:pt x="56466" y="49180"/>
                  </a:lnTo>
                  <a:lnTo>
                    <a:pt x="52823" y="58287"/>
                  </a:lnTo>
                  <a:lnTo>
                    <a:pt x="58287" y="58287"/>
                  </a:lnTo>
                  <a:lnTo>
                    <a:pt x="61930" y="54644"/>
                  </a:lnTo>
                  <a:lnTo>
                    <a:pt x="67395" y="54644"/>
                  </a:lnTo>
                  <a:lnTo>
                    <a:pt x="67395" y="58287"/>
                  </a:lnTo>
                  <a:lnTo>
                    <a:pt x="69216" y="58287"/>
                  </a:lnTo>
                  <a:lnTo>
                    <a:pt x="69216" y="65573"/>
                  </a:lnTo>
                  <a:lnTo>
                    <a:pt x="67395" y="65573"/>
                  </a:lnTo>
                  <a:lnTo>
                    <a:pt x="58287" y="72859"/>
                  </a:lnTo>
                  <a:lnTo>
                    <a:pt x="56466" y="71038"/>
                  </a:lnTo>
                  <a:lnTo>
                    <a:pt x="56466" y="78324"/>
                  </a:lnTo>
                  <a:lnTo>
                    <a:pt x="52823" y="78324"/>
                  </a:lnTo>
                  <a:lnTo>
                    <a:pt x="45537" y="83788"/>
                  </a:lnTo>
                  <a:lnTo>
                    <a:pt x="45537" y="89253"/>
                  </a:lnTo>
                  <a:lnTo>
                    <a:pt x="40073" y="89253"/>
                  </a:lnTo>
                  <a:lnTo>
                    <a:pt x="40073" y="94717"/>
                  </a:lnTo>
                  <a:lnTo>
                    <a:pt x="34608" y="114753"/>
                  </a:lnTo>
                  <a:lnTo>
                    <a:pt x="40073" y="125682"/>
                  </a:lnTo>
                  <a:lnTo>
                    <a:pt x="14572" y="125682"/>
                  </a:lnTo>
                  <a:lnTo>
                    <a:pt x="14572" y="122039"/>
                  </a:lnTo>
                  <a:lnTo>
                    <a:pt x="12751" y="122039"/>
                  </a:lnTo>
                  <a:lnTo>
                    <a:pt x="12751" y="105646"/>
                  </a:lnTo>
                  <a:lnTo>
                    <a:pt x="1822" y="98360"/>
                  </a:lnTo>
                  <a:lnTo>
                    <a:pt x="0" y="94717"/>
                  </a:lnTo>
                  <a:lnTo>
                    <a:pt x="0" y="60109"/>
                  </a:lnTo>
                  <a:lnTo>
                    <a:pt x="5465" y="3825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9" name="Germany">
              <a:extLst>
                <a:ext uri="{FF2B5EF4-FFF2-40B4-BE49-F238E27FC236}">
                  <a16:creationId xmlns:a16="http://schemas.microsoft.com/office/drawing/2014/main" id="{139DF647-0B47-1A57-E531-9FDF6EB82AA8}"/>
                </a:ext>
              </a:extLst>
            </p:cNvPr>
            <p:cNvSpPr>
              <a:spLocks/>
            </p:cNvSpPr>
            <p:nvPr/>
          </p:nvSpPr>
          <p:spPr bwMode="auto">
            <a:xfrm>
              <a:off x="5966795" y="3035140"/>
              <a:ext cx="211427" cy="287324"/>
            </a:xfrm>
            <a:custGeom>
              <a:avLst/>
              <a:gdLst/>
              <a:ahLst/>
              <a:cxnLst/>
              <a:rect l="l" t="t" r="r" b="b"/>
              <a:pathLst>
                <a:path w="213112" h="289614">
                  <a:moveTo>
                    <a:pt x="61930" y="0"/>
                  </a:moveTo>
                  <a:lnTo>
                    <a:pt x="85609" y="0"/>
                  </a:lnTo>
                  <a:lnTo>
                    <a:pt x="91073" y="3643"/>
                  </a:lnTo>
                  <a:lnTo>
                    <a:pt x="94716" y="5464"/>
                  </a:lnTo>
                  <a:lnTo>
                    <a:pt x="94716" y="16393"/>
                  </a:lnTo>
                  <a:lnTo>
                    <a:pt x="96538" y="21858"/>
                  </a:lnTo>
                  <a:lnTo>
                    <a:pt x="122038" y="21858"/>
                  </a:lnTo>
                  <a:lnTo>
                    <a:pt x="122038" y="23679"/>
                  </a:lnTo>
                  <a:lnTo>
                    <a:pt x="112931" y="38251"/>
                  </a:lnTo>
                  <a:lnTo>
                    <a:pt x="129324" y="38251"/>
                  </a:lnTo>
                  <a:lnTo>
                    <a:pt x="156646" y="20036"/>
                  </a:lnTo>
                  <a:lnTo>
                    <a:pt x="158468" y="20036"/>
                  </a:lnTo>
                  <a:lnTo>
                    <a:pt x="156646" y="23679"/>
                  </a:lnTo>
                  <a:lnTo>
                    <a:pt x="163932" y="21858"/>
                  </a:lnTo>
                  <a:lnTo>
                    <a:pt x="167575" y="21858"/>
                  </a:lnTo>
                  <a:lnTo>
                    <a:pt x="167575" y="21858"/>
                  </a:lnTo>
                  <a:lnTo>
                    <a:pt x="169397" y="16394"/>
                  </a:lnTo>
                  <a:lnTo>
                    <a:pt x="169397" y="14572"/>
                  </a:lnTo>
                  <a:lnTo>
                    <a:pt x="169397" y="10929"/>
                  </a:lnTo>
                  <a:lnTo>
                    <a:pt x="180326" y="14572"/>
                  </a:lnTo>
                  <a:lnTo>
                    <a:pt x="183969" y="14572"/>
                  </a:lnTo>
                  <a:lnTo>
                    <a:pt x="183969" y="27323"/>
                  </a:lnTo>
                  <a:lnTo>
                    <a:pt x="180326" y="27323"/>
                  </a:lnTo>
                  <a:lnTo>
                    <a:pt x="169854" y="23832"/>
                  </a:lnTo>
                  <a:lnTo>
                    <a:pt x="194898" y="45537"/>
                  </a:lnTo>
                  <a:lnTo>
                    <a:pt x="200362" y="65573"/>
                  </a:lnTo>
                  <a:lnTo>
                    <a:pt x="196719" y="83788"/>
                  </a:lnTo>
                  <a:lnTo>
                    <a:pt x="202183" y="89252"/>
                  </a:lnTo>
                  <a:lnTo>
                    <a:pt x="207648" y="129325"/>
                  </a:lnTo>
                  <a:lnTo>
                    <a:pt x="213112" y="140253"/>
                  </a:lnTo>
                  <a:lnTo>
                    <a:pt x="207648" y="162111"/>
                  </a:lnTo>
                  <a:lnTo>
                    <a:pt x="196719" y="151182"/>
                  </a:lnTo>
                  <a:lnTo>
                    <a:pt x="196719" y="160290"/>
                  </a:lnTo>
                  <a:lnTo>
                    <a:pt x="194898" y="160290"/>
                  </a:lnTo>
                  <a:lnTo>
                    <a:pt x="151182" y="185790"/>
                  </a:lnTo>
                  <a:lnTo>
                    <a:pt x="147539" y="183969"/>
                  </a:lnTo>
                  <a:lnTo>
                    <a:pt x="158468" y="211291"/>
                  </a:lnTo>
                  <a:lnTo>
                    <a:pt x="189433" y="238613"/>
                  </a:lnTo>
                  <a:lnTo>
                    <a:pt x="167575" y="256828"/>
                  </a:lnTo>
                  <a:lnTo>
                    <a:pt x="169397" y="278685"/>
                  </a:lnTo>
                  <a:lnTo>
                    <a:pt x="167575" y="278685"/>
                  </a:lnTo>
                  <a:lnTo>
                    <a:pt x="163932" y="280507"/>
                  </a:lnTo>
                  <a:lnTo>
                    <a:pt x="162111" y="280507"/>
                  </a:lnTo>
                  <a:lnTo>
                    <a:pt x="151182" y="275042"/>
                  </a:lnTo>
                  <a:lnTo>
                    <a:pt x="123860" y="285971"/>
                  </a:lnTo>
                  <a:lnTo>
                    <a:pt x="111109" y="280507"/>
                  </a:lnTo>
                  <a:lnTo>
                    <a:pt x="105645" y="289614"/>
                  </a:lnTo>
                  <a:lnTo>
                    <a:pt x="102002" y="289614"/>
                  </a:lnTo>
                  <a:lnTo>
                    <a:pt x="91073" y="280507"/>
                  </a:lnTo>
                  <a:lnTo>
                    <a:pt x="83787" y="284150"/>
                  </a:lnTo>
                  <a:lnTo>
                    <a:pt x="67394" y="278685"/>
                  </a:lnTo>
                  <a:lnTo>
                    <a:pt x="38251" y="278685"/>
                  </a:lnTo>
                  <a:lnTo>
                    <a:pt x="38251" y="262292"/>
                  </a:lnTo>
                  <a:lnTo>
                    <a:pt x="49179" y="229506"/>
                  </a:lnTo>
                  <a:lnTo>
                    <a:pt x="18214" y="222220"/>
                  </a:lnTo>
                  <a:lnTo>
                    <a:pt x="5464" y="211291"/>
                  </a:lnTo>
                  <a:lnTo>
                    <a:pt x="5464" y="207648"/>
                  </a:lnTo>
                  <a:lnTo>
                    <a:pt x="7286" y="202183"/>
                  </a:lnTo>
                  <a:lnTo>
                    <a:pt x="1821" y="185790"/>
                  </a:lnTo>
                  <a:lnTo>
                    <a:pt x="5464" y="176683"/>
                  </a:lnTo>
                  <a:lnTo>
                    <a:pt x="0" y="165754"/>
                  </a:lnTo>
                  <a:lnTo>
                    <a:pt x="0" y="118396"/>
                  </a:lnTo>
                  <a:lnTo>
                    <a:pt x="12750" y="118396"/>
                  </a:lnTo>
                  <a:lnTo>
                    <a:pt x="23679" y="105645"/>
                  </a:lnTo>
                  <a:lnTo>
                    <a:pt x="16393" y="94717"/>
                  </a:lnTo>
                  <a:lnTo>
                    <a:pt x="12750" y="92895"/>
                  </a:lnTo>
                  <a:lnTo>
                    <a:pt x="16393" y="92895"/>
                  </a:lnTo>
                  <a:lnTo>
                    <a:pt x="21857" y="87431"/>
                  </a:lnTo>
                  <a:lnTo>
                    <a:pt x="27322" y="67395"/>
                  </a:lnTo>
                  <a:lnTo>
                    <a:pt x="34608" y="67395"/>
                  </a:lnTo>
                  <a:lnTo>
                    <a:pt x="27322" y="61930"/>
                  </a:lnTo>
                  <a:lnTo>
                    <a:pt x="27322" y="60109"/>
                  </a:lnTo>
                  <a:lnTo>
                    <a:pt x="29143" y="51001"/>
                  </a:lnTo>
                  <a:lnTo>
                    <a:pt x="32786" y="51001"/>
                  </a:lnTo>
                  <a:lnTo>
                    <a:pt x="43715" y="49180"/>
                  </a:lnTo>
                  <a:lnTo>
                    <a:pt x="51001" y="51001"/>
                  </a:lnTo>
                  <a:lnTo>
                    <a:pt x="54644" y="60109"/>
                  </a:lnTo>
                  <a:lnTo>
                    <a:pt x="58287" y="56466"/>
                  </a:lnTo>
                  <a:lnTo>
                    <a:pt x="61930" y="56466"/>
                  </a:lnTo>
                  <a:lnTo>
                    <a:pt x="61930" y="45537"/>
                  </a:lnTo>
                  <a:lnTo>
                    <a:pt x="72859" y="43715"/>
                  </a:lnTo>
                  <a:lnTo>
                    <a:pt x="61930" y="23679"/>
                  </a:lnTo>
                  <a:lnTo>
                    <a:pt x="63751" y="23679"/>
                  </a:lnTo>
                  <a:lnTo>
                    <a:pt x="69216" y="1639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0" name="Netherlands">
              <a:extLst>
                <a:ext uri="{FF2B5EF4-FFF2-40B4-BE49-F238E27FC236}">
                  <a16:creationId xmlns:a16="http://schemas.microsoft.com/office/drawing/2014/main" id="{9012BF08-2828-6543-82D2-59D35AE8B4D8}"/>
                </a:ext>
              </a:extLst>
            </p:cNvPr>
            <p:cNvSpPr>
              <a:spLocks/>
            </p:cNvSpPr>
            <p:nvPr/>
          </p:nvSpPr>
          <p:spPr bwMode="auto">
            <a:xfrm>
              <a:off x="5907161" y="3094774"/>
              <a:ext cx="86739" cy="106617"/>
            </a:xfrm>
            <a:custGeom>
              <a:avLst/>
              <a:gdLst/>
              <a:ahLst/>
              <a:cxnLst/>
              <a:rect l="l" t="t" r="r" b="b"/>
              <a:pathLst>
                <a:path w="87430" h="107467">
                  <a:moveTo>
                    <a:pt x="38252" y="7286"/>
                  </a:moveTo>
                  <a:lnTo>
                    <a:pt x="43716" y="7286"/>
                  </a:lnTo>
                  <a:lnTo>
                    <a:pt x="43716" y="10929"/>
                  </a:lnTo>
                  <a:lnTo>
                    <a:pt x="32787" y="21858"/>
                  </a:lnTo>
                  <a:lnTo>
                    <a:pt x="30965" y="21858"/>
                  </a:lnTo>
                  <a:lnTo>
                    <a:pt x="38252" y="10929"/>
                  </a:lnTo>
                  <a:close/>
                  <a:moveTo>
                    <a:pt x="78323" y="0"/>
                  </a:moveTo>
                  <a:lnTo>
                    <a:pt x="87430" y="7286"/>
                  </a:lnTo>
                  <a:lnTo>
                    <a:pt x="87430" y="10929"/>
                  </a:lnTo>
                  <a:lnTo>
                    <a:pt x="83787" y="29144"/>
                  </a:lnTo>
                  <a:lnTo>
                    <a:pt x="78323" y="34608"/>
                  </a:lnTo>
                  <a:lnTo>
                    <a:pt x="87430" y="45537"/>
                  </a:lnTo>
                  <a:lnTo>
                    <a:pt x="76501" y="61930"/>
                  </a:lnTo>
                  <a:lnTo>
                    <a:pt x="61930" y="61930"/>
                  </a:lnTo>
                  <a:lnTo>
                    <a:pt x="61930" y="107467"/>
                  </a:lnTo>
                  <a:lnTo>
                    <a:pt x="60108" y="107467"/>
                  </a:lnTo>
                  <a:lnTo>
                    <a:pt x="54644" y="102003"/>
                  </a:lnTo>
                  <a:lnTo>
                    <a:pt x="51001" y="102003"/>
                  </a:lnTo>
                  <a:lnTo>
                    <a:pt x="51001" y="89252"/>
                  </a:lnTo>
                  <a:lnTo>
                    <a:pt x="38251" y="83788"/>
                  </a:lnTo>
                  <a:lnTo>
                    <a:pt x="32786" y="83788"/>
                  </a:lnTo>
                  <a:lnTo>
                    <a:pt x="27322" y="85609"/>
                  </a:lnTo>
                  <a:lnTo>
                    <a:pt x="21857" y="85609"/>
                  </a:lnTo>
                  <a:lnTo>
                    <a:pt x="16393" y="89252"/>
                  </a:lnTo>
                  <a:lnTo>
                    <a:pt x="10929" y="89252"/>
                  </a:lnTo>
                  <a:lnTo>
                    <a:pt x="0" y="83788"/>
                  </a:lnTo>
                  <a:lnTo>
                    <a:pt x="0" y="80145"/>
                  </a:lnTo>
                  <a:lnTo>
                    <a:pt x="16393" y="80145"/>
                  </a:lnTo>
                  <a:lnTo>
                    <a:pt x="14571" y="78324"/>
                  </a:lnTo>
                  <a:lnTo>
                    <a:pt x="10929" y="78324"/>
                  </a:lnTo>
                  <a:lnTo>
                    <a:pt x="10929" y="74681"/>
                  </a:lnTo>
                  <a:lnTo>
                    <a:pt x="14571" y="74681"/>
                  </a:lnTo>
                  <a:lnTo>
                    <a:pt x="30965" y="69216"/>
                  </a:lnTo>
                  <a:lnTo>
                    <a:pt x="21857" y="69216"/>
                  </a:lnTo>
                  <a:lnTo>
                    <a:pt x="20036" y="61930"/>
                  </a:lnTo>
                  <a:lnTo>
                    <a:pt x="16393" y="61930"/>
                  </a:lnTo>
                  <a:lnTo>
                    <a:pt x="20036" y="58287"/>
                  </a:lnTo>
                  <a:lnTo>
                    <a:pt x="38251" y="21858"/>
                  </a:lnTo>
                  <a:lnTo>
                    <a:pt x="41894" y="21858"/>
                  </a:lnTo>
                  <a:lnTo>
                    <a:pt x="43715" y="29144"/>
                  </a:lnTo>
                  <a:lnTo>
                    <a:pt x="41894" y="34608"/>
                  </a:lnTo>
                  <a:lnTo>
                    <a:pt x="41894" y="40073"/>
                  </a:lnTo>
                  <a:lnTo>
                    <a:pt x="45537" y="41894"/>
                  </a:lnTo>
                  <a:lnTo>
                    <a:pt x="45537" y="38251"/>
                  </a:lnTo>
                  <a:lnTo>
                    <a:pt x="49180" y="23679"/>
                  </a:lnTo>
                  <a:lnTo>
                    <a:pt x="45537" y="23679"/>
                  </a:lnTo>
                  <a:lnTo>
                    <a:pt x="45537" y="21858"/>
                  </a:lnTo>
                  <a:lnTo>
                    <a:pt x="49180" y="7286"/>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1" name="Norway Mainland">
              <a:extLst>
                <a:ext uri="{FF2B5EF4-FFF2-40B4-BE49-F238E27FC236}">
                  <a16:creationId xmlns:a16="http://schemas.microsoft.com/office/drawing/2014/main" id="{28583308-37D2-5F11-037E-4FC06EEB7529}"/>
                </a:ext>
              </a:extLst>
            </p:cNvPr>
            <p:cNvSpPr>
              <a:spLocks noEditPoints="1"/>
            </p:cNvSpPr>
            <p:nvPr/>
          </p:nvSpPr>
          <p:spPr bwMode="auto">
            <a:xfrm>
              <a:off x="5943304" y="2169558"/>
              <a:ext cx="614401" cy="731861"/>
            </a:xfrm>
            <a:custGeom>
              <a:avLst/>
              <a:gdLst>
                <a:gd name="T0" fmla="*/ 295 w 340"/>
                <a:gd name="T1" fmla="*/ 0 h 405"/>
                <a:gd name="T2" fmla="*/ 305 w 340"/>
                <a:gd name="T3" fmla="*/ 14 h 405"/>
                <a:gd name="T4" fmla="*/ 306 w 340"/>
                <a:gd name="T5" fmla="*/ 20 h 405"/>
                <a:gd name="T6" fmla="*/ 318 w 340"/>
                <a:gd name="T7" fmla="*/ 9 h 405"/>
                <a:gd name="T8" fmla="*/ 340 w 340"/>
                <a:gd name="T9" fmla="*/ 28 h 405"/>
                <a:gd name="T10" fmla="*/ 315 w 340"/>
                <a:gd name="T11" fmla="*/ 39 h 405"/>
                <a:gd name="T12" fmla="*/ 326 w 340"/>
                <a:gd name="T13" fmla="*/ 55 h 405"/>
                <a:gd name="T14" fmla="*/ 339 w 340"/>
                <a:gd name="T15" fmla="*/ 61 h 405"/>
                <a:gd name="T16" fmla="*/ 314 w 340"/>
                <a:gd name="T17" fmla="*/ 80 h 405"/>
                <a:gd name="T18" fmla="*/ 317 w 340"/>
                <a:gd name="T19" fmla="*/ 55 h 405"/>
                <a:gd name="T20" fmla="*/ 257 w 340"/>
                <a:gd name="T21" fmla="*/ 94 h 405"/>
                <a:gd name="T22" fmla="*/ 228 w 340"/>
                <a:gd name="T23" fmla="*/ 91 h 405"/>
                <a:gd name="T24" fmla="*/ 204 w 340"/>
                <a:gd name="T25" fmla="*/ 79 h 405"/>
                <a:gd name="T26" fmla="*/ 197 w 340"/>
                <a:gd name="T27" fmla="*/ 101 h 405"/>
                <a:gd name="T28" fmla="*/ 174 w 340"/>
                <a:gd name="T29" fmla="*/ 98 h 405"/>
                <a:gd name="T30" fmla="*/ 146 w 340"/>
                <a:gd name="T31" fmla="*/ 138 h 405"/>
                <a:gd name="T32" fmla="*/ 124 w 340"/>
                <a:gd name="T33" fmla="*/ 208 h 405"/>
                <a:gd name="T34" fmla="*/ 105 w 340"/>
                <a:gd name="T35" fmla="*/ 245 h 405"/>
                <a:gd name="T36" fmla="*/ 94 w 340"/>
                <a:gd name="T37" fmla="*/ 309 h 405"/>
                <a:gd name="T38" fmla="*/ 97 w 340"/>
                <a:gd name="T39" fmla="*/ 355 h 405"/>
                <a:gd name="T40" fmla="*/ 81 w 340"/>
                <a:gd name="T41" fmla="*/ 386 h 405"/>
                <a:gd name="T42" fmla="*/ 72 w 340"/>
                <a:gd name="T43" fmla="*/ 368 h 405"/>
                <a:gd name="T44" fmla="*/ 68 w 340"/>
                <a:gd name="T45" fmla="*/ 381 h 405"/>
                <a:gd name="T46" fmla="*/ 22 w 340"/>
                <a:gd name="T47" fmla="*/ 399 h 405"/>
                <a:gd name="T48" fmla="*/ 13 w 340"/>
                <a:gd name="T49" fmla="*/ 383 h 405"/>
                <a:gd name="T50" fmla="*/ 3 w 340"/>
                <a:gd name="T51" fmla="*/ 369 h 405"/>
                <a:gd name="T52" fmla="*/ 20 w 340"/>
                <a:gd name="T53" fmla="*/ 344 h 405"/>
                <a:gd name="T54" fmla="*/ 8 w 340"/>
                <a:gd name="T55" fmla="*/ 359 h 405"/>
                <a:gd name="T56" fmla="*/ 5 w 340"/>
                <a:gd name="T57" fmla="*/ 353 h 405"/>
                <a:gd name="T58" fmla="*/ 8 w 340"/>
                <a:gd name="T59" fmla="*/ 340 h 405"/>
                <a:gd name="T60" fmla="*/ 1 w 340"/>
                <a:gd name="T61" fmla="*/ 335 h 405"/>
                <a:gd name="T62" fmla="*/ 23 w 340"/>
                <a:gd name="T63" fmla="*/ 326 h 405"/>
                <a:gd name="T64" fmla="*/ 31 w 340"/>
                <a:gd name="T65" fmla="*/ 323 h 405"/>
                <a:gd name="T66" fmla="*/ 19 w 340"/>
                <a:gd name="T67" fmla="*/ 326 h 405"/>
                <a:gd name="T68" fmla="*/ 1 w 340"/>
                <a:gd name="T69" fmla="*/ 309 h 405"/>
                <a:gd name="T70" fmla="*/ 14 w 340"/>
                <a:gd name="T71" fmla="*/ 301 h 405"/>
                <a:gd name="T72" fmla="*/ 20 w 340"/>
                <a:gd name="T73" fmla="*/ 289 h 405"/>
                <a:gd name="T74" fmla="*/ 26 w 340"/>
                <a:gd name="T75" fmla="*/ 279 h 405"/>
                <a:gd name="T76" fmla="*/ 54 w 340"/>
                <a:gd name="T77" fmla="*/ 260 h 405"/>
                <a:gd name="T78" fmla="*/ 63 w 340"/>
                <a:gd name="T79" fmla="*/ 255 h 405"/>
                <a:gd name="T80" fmla="*/ 62 w 340"/>
                <a:gd name="T81" fmla="*/ 248 h 405"/>
                <a:gd name="T82" fmla="*/ 80 w 340"/>
                <a:gd name="T83" fmla="*/ 226 h 405"/>
                <a:gd name="T84" fmla="*/ 84 w 340"/>
                <a:gd name="T85" fmla="*/ 215 h 405"/>
                <a:gd name="T86" fmla="*/ 93 w 340"/>
                <a:gd name="T87" fmla="*/ 205 h 405"/>
                <a:gd name="T88" fmla="*/ 100 w 340"/>
                <a:gd name="T89" fmla="*/ 193 h 405"/>
                <a:gd name="T90" fmla="*/ 99 w 340"/>
                <a:gd name="T91" fmla="*/ 184 h 405"/>
                <a:gd name="T92" fmla="*/ 106 w 340"/>
                <a:gd name="T93" fmla="*/ 165 h 405"/>
                <a:gd name="T94" fmla="*/ 126 w 340"/>
                <a:gd name="T95" fmla="*/ 132 h 405"/>
                <a:gd name="T96" fmla="*/ 137 w 340"/>
                <a:gd name="T97" fmla="*/ 126 h 405"/>
                <a:gd name="T98" fmla="*/ 149 w 340"/>
                <a:gd name="T99" fmla="*/ 116 h 405"/>
                <a:gd name="T100" fmla="*/ 158 w 340"/>
                <a:gd name="T101" fmla="*/ 104 h 405"/>
                <a:gd name="T102" fmla="*/ 151 w 340"/>
                <a:gd name="T103" fmla="*/ 97 h 405"/>
                <a:gd name="T104" fmla="*/ 171 w 340"/>
                <a:gd name="T105" fmla="*/ 73 h 405"/>
                <a:gd name="T106" fmla="*/ 179 w 340"/>
                <a:gd name="T107" fmla="*/ 70 h 405"/>
                <a:gd name="T108" fmla="*/ 185 w 340"/>
                <a:gd name="T109" fmla="*/ 54 h 405"/>
                <a:gd name="T110" fmla="*/ 200 w 340"/>
                <a:gd name="T111" fmla="*/ 46 h 405"/>
                <a:gd name="T112" fmla="*/ 206 w 340"/>
                <a:gd name="T113" fmla="*/ 49 h 405"/>
                <a:gd name="T114" fmla="*/ 216 w 340"/>
                <a:gd name="T115" fmla="*/ 40 h 405"/>
                <a:gd name="T116" fmla="*/ 222 w 340"/>
                <a:gd name="T117" fmla="*/ 31 h 405"/>
                <a:gd name="T118" fmla="*/ 238 w 340"/>
                <a:gd name="T119" fmla="*/ 43 h 405"/>
                <a:gd name="T120" fmla="*/ 253 w 340"/>
                <a:gd name="T121" fmla="*/ 11 h 405"/>
                <a:gd name="T122" fmla="*/ 274 w 340"/>
                <a:gd name="T123" fmla="*/ 11 h 405"/>
                <a:gd name="T124" fmla="*/ 283 w 340"/>
                <a:gd name="T125" fmla="*/ 2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0" h="405">
                  <a:moveTo>
                    <a:pt x="105" y="183"/>
                  </a:moveTo>
                  <a:lnTo>
                    <a:pt x="103" y="184"/>
                  </a:lnTo>
                  <a:lnTo>
                    <a:pt x="106" y="186"/>
                  </a:lnTo>
                  <a:lnTo>
                    <a:pt x="105" y="183"/>
                  </a:lnTo>
                  <a:close/>
                  <a:moveTo>
                    <a:pt x="295" y="0"/>
                  </a:moveTo>
                  <a:lnTo>
                    <a:pt x="296" y="0"/>
                  </a:lnTo>
                  <a:lnTo>
                    <a:pt x="306" y="6"/>
                  </a:lnTo>
                  <a:lnTo>
                    <a:pt x="308" y="6"/>
                  </a:lnTo>
                  <a:lnTo>
                    <a:pt x="306" y="14"/>
                  </a:lnTo>
                  <a:lnTo>
                    <a:pt x="305" y="14"/>
                  </a:lnTo>
                  <a:lnTo>
                    <a:pt x="300" y="15"/>
                  </a:lnTo>
                  <a:lnTo>
                    <a:pt x="302" y="17"/>
                  </a:lnTo>
                  <a:lnTo>
                    <a:pt x="302" y="18"/>
                  </a:lnTo>
                  <a:lnTo>
                    <a:pt x="300" y="20"/>
                  </a:lnTo>
                  <a:lnTo>
                    <a:pt x="306" y="20"/>
                  </a:lnTo>
                  <a:lnTo>
                    <a:pt x="302" y="25"/>
                  </a:lnTo>
                  <a:lnTo>
                    <a:pt x="308" y="25"/>
                  </a:lnTo>
                  <a:lnTo>
                    <a:pt x="308" y="14"/>
                  </a:lnTo>
                  <a:lnTo>
                    <a:pt x="317" y="9"/>
                  </a:lnTo>
                  <a:lnTo>
                    <a:pt x="318" y="9"/>
                  </a:lnTo>
                  <a:lnTo>
                    <a:pt x="318" y="17"/>
                  </a:lnTo>
                  <a:lnTo>
                    <a:pt x="326" y="15"/>
                  </a:lnTo>
                  <a:lnTo>
                    <a:pt x="327" y="15"/>
                  </a:lnTo>
                  <a:lnTo>
                    <a:pt x="340" y="27"/>
                  </a:lnTo>
                  <a:lnTo>
                    <a:pt x="340" y="28"/>
                  </a:lnTo>
                  <a:lnTo>
                    <a:pt x="329" y="42"/>
                  </a:lnTo>
                  <a:lnTo>
                    <a:pt x="324" y="42"/>
                  </a:lnTo>
                  <a:lnTo>
                    <a:pt x="321" y="40"/>
                  </a:lnTo>
                  <a:lnTo>
                    <a:pt x="318" y="40"/>
                  </a:lnTo>
                  <a:lnTo>
                    <a:pt x="315" y="39"/>
                  </a:lnTo>
                  <a:lnTo>
                    <a:pt x="312" y="39"/>
                  </a:lnTo>
                  <a:lnTo>
                    <a:pt x="326" y="48"/>
                  </a:lnTo>
                  <a:lnTo>
                    <a:pt x="326" y="49"/>
                  </a:lnTo>
                  <a:lnTo>
                    <a:pt x="323" y="55"/>
                  </a:lnTo>
                  <a:lnTo>
                    <a:pt x="326" y="55"/>
                  </a:lnTo>
                  <a:lnTo>
                    <a:pt x="329" y="54"/>
                  </a:lnTo>
                  <a:lnTo>
                    <a:pt x="332" y="54"/>
                  </a:lnTo>
                  <a:lnTo>
                    <a:pt x="335" y="52"/>
                  </a:lnTo>
                  <a:lnTo>
                    <a:pt x="339" y="52"/>
                  </a:lnTo>
                  <a:lnTo>
                    <a:pt x="339" y="61"/>
                  </a:lnTo>
                  <a:lnTo>
                    <a:pt x="337" y="61"/>
                  </a:lnTo>
                  <a:lnTo>
                    <a:pt x="330" y="60"/>
                  </a:lnTo>
                  <a:lnTo>
                    <a:pt x="329" y="66"/>
                  </a:lnTo>
                  <a:lnTo>
                    <a:pt x="315" y="80"/>
                  </a:lnTo>
                  <a:lnTo>
                    <a:pt x="314" y="80"/>
                  </a:lnTo>
                  <a:lnTo>
                    <a:pt x="314" y="79"/>
                  </a:lnTo>
                  <a:lnTo>
                    <a:pt x="312" y="74"/>
                  </a:lnTo>
                  <a:lnTo>
                    <a:pt x="312" y="73"/>
                  </a:lnTo>
                  <a:lnTo>
                    <a:pt x="318" y="66"/>
                  </a:lnTo>
                  <a:lnTo>
                    <a:pt x="317" y="55"/>
                  </a:lnTo>
                  <a:lnTo>
                    <a:pt x="302" y="42"/>
                  </a:lnTo>
                  <a:lnTo>
                    <a:pt x="275" y="52"/>
                  </a:lnTo>
                  <a:lnTo>
                    <a:pt x="274" y="60"/>
                  </a:lnTo>
                  <a:lnTo>
                    <a:pt x="272" y="82"/>
                  </a:lnTo>
                  <a:lnTo>
                    <a:pt x="257" y="94"/>
                  </a:lnTo>
                  <a:lnTo>
                    <a:pt x="249" y="86"/>
                  </a:lnTo>
                  <a:lnTo>
                    <a:pt x="243" y="94"/>
                  </a:lnTo>
                  <a:lnTo>
                    <a:pt x="241" y="94"/>
                  </a:lnTo>
                  <a:lnTo>
                    <a:pt x="229" y="91"/>
                  </a:lnTo>
                  <a:lnTo>
                    <a:pt x="228" y="91"/>
                  </a:lnTo>
                  <a:lnTo>
                    <a:pt x="213" y="70"/>
                  </a:lnTo>
                  <a:lnTo>
                    <a:pt x="210" y="71"/>
                  </a:lnTo>
                  <a:lnTo>
                    <a:pt x="211" y="74"/>
                  </a:lnTo>
                  <a:lnTo>
                    <a:pt x="211" y="76"/>
                  </a:lnTo>
                  <a:lnTo>
                    <a:pt x="204" y="79"/>
                  </a:lnTo>
                  <a:lnTo>
                    <a:pt x="198" y="80"/>
                  </a:lnTo>
                  <a:lnTo>
                    <a:pt x="200" y="85"/>
                  </a:lnTo>
                  <a:lnTo>
                    <a:pt x="197" y="94"/>
                  </a:lnTo>
                  <a:lnTo>
                    <a:pt x="200" y="100"/>
                  </a:lnTo>
                  <a:lnTo>
                    <a:pt x="197" y="101"/>
                  </a:lnTo>
                  <a:lnTo>
                    <a:pt x="194" y="101"/>
                  </a:lnTo>
                  <a:lnTo>
                    <a:pt x="189" y="100"/>
                  </a:lnTo>
                  <a:lnTo>
                    <a:pt x="182" y="100"/>
                  </a:lnTo>
                  <a:lnTo>
                    <a:pt x="177" y="98"/>
                  </a:lnTo>
                  <a:lnTo>
                    <a:pt x="174" y="98"/>
                  </a:lnTo>
                  <a:lnTo>
                    <a:pt x="170" y="117"/>
                  </a:lnTo>
                  <a:lnTo>
                    <a:pt x="169" y="119"/>
                  </a:lnTo>
                  <a:lnTo>
                    <a:pt x="163" y="114"/>
                  </a:lnTo>
                  <a:lnTo>
                    <a:pt x="154" y="122"/>
                  </a:lnTo>
                  <a:lnTo>
                    <a:pt x="146" y="138"/>
                  </a:lnTo>
                  <a:lnTo>
                    <a:pt x="149" y="149"/>
                  </a:lnTo>
                  <a:lnTo>
                    <a:pt x="137" y="166"/>
                  </a:lnTo>
                  <a:lnTo>
                    <a:pt x="134" y="177"/>
                  </a:lnTo>
                  <a:lnTo>
                    <a:pt x="127" y="181"/>
                  </a:lnTo>
                  <a:lnTo>
                    <a:pt x="124" y="208"/>
                  </a:lnTo>
                  <a:lnTo>
                    <a:pt x="115" y="224"/>
                  </a:lnTo>
                  <a:lnTo>
                    <a:pt x="121" y="233"/>
                  </a:lnTo>
                  <a:lnTo>
                    <a:pt x="121" y="240"/>
                  </a:lnTo>
                  <a:lnTo>
                    <a:pt x="120" y="242"/>
                  </a:lnTo>
                  <a:lnTo>
                    <a:pt x="105" y="245"/>
                  </a:lnTo>
                  <a:lnTo>
                    <a:pt x="94" y="254"/>
                  </a:lnTo>
                  <a:lnTo>
                    <a:pt x="93" y="263"/>
                  </a:lnTo>
                  <a:lnTo>
                    <a:pt x="96" y="272"/>
                  </a:lnTo>
                  <a:lnTo>
                    <a:pt x="93" y="286"/>
                  </a:lnTo>
                  <a:lnTo>
                    <a:pt x="94" y="309"/>
                  </a:lnTo>
                  <a:lnTo>
                    <a:pt x="102" y="321"/>
                  </a:lnTo>
                  <a:lnTo>
                    <a:pt x="94" y="331"/>
                  </a:lnTo>
                  <a:lnTo>
                    <a:pt x="99" y="341"/>
                  </a:lnTo>
                  <a:lnTo>
                    <a:pt x="97" y="353"/>
                  </a:lnTo>
                  <a:lnTo>
                    <a:pt x="97" y="355"/>
                  </a:lnTo>
                  <a:lnTo>
                    <a:pt x="90" y="359"/>
                  </a:lnTo>
                  <a:lnTo>
                    <a:pt x="87" y="368"/>
                  </a:lnTo>
                  <a:lnTo>
                    <a:pt x="88" y="374"/>
                  </a:lnTo>
                  <a:lnTo>
                    <a:pt x="86" y="384"/>
                  </a:lnTo>
                  <a:lnTo>
                    <a:pt x="81" y="386"/>
                  </a:lnTo>
                  <a:lnTo>
                    <a:pt x="80" y="380"/>
                  </a:lnTo>
                  <a:lnTo>
                    <a:pt x="74" y="377"/>
                  </a:lnTo>
                  <a:lnTo>
                    <a:pt x="74" y="375"/>
                  </a:lnTo>
                  <a:lnTo>
                    <a:pt x="72" y="359"/>
                  </a:lnTo>
                  <a:lnTo>
                    <a:pt x="72" y="368"/>
                  </a:lnTo>
                  <a:lnTo>
                    <a:pt x="69" y="366"/>
                  </a:lnTo>
                  <a:lnTo>
                    <a:pt x="72" y="374"/>
                  </a:lnTo>
                  <a:lnTo>
                    <a:pt x="72" y="375"/>
                  </a:lnTo>
                  <a:lnTo>
                    <a:pt x="71" y="375"/>
                  </a:lnTo>
                  <a:lnTo>
                    <a:pt x="68" y="381"/>
                  </a:lnTo>
                  <a:lnTo>
                    <a:pt x="60" y="380"/>
                  </a:lnTo>
                  <a:lnTo>
                    <a:pt x="54" y="392"/>
                  </a:lnTo>
                  <a:lnTo>
                    <a:pt x="35" y="405"/>
                  </a:lnTo>
                  <a:lnTo>
                    <a:pt x="20" y="405"/>
                  </a:lnTo>
                  <a:lnTo>
                    <a:pt x="22" y="399"/>
                  </a:lnTo>
                  <a:lnTo>
                    <a:pt x="17" y="401"/>
                  </a:lnTo>
                  <a:lnTo>
                    <a:pt x="7" y="390"/>
                  </a:lnTo>
                  <a:lnTo>
                    <a:pt x="7" y="389"/>
                  </a:lnTo>
                  <a:lnTo>
                    <a:pt x="8" y="381"/>
                  </a:lnTo>
                  <a:lnTo>
                    <a:pt x="13" y="383"/>
                  </a:lnTo>
                  <a:lnTo>
                    <a:pt x="17" y="369"/>
                  </a:lnTo>
                  <a:lnTo>
                    <a:pt x="5" y="374"/>
                  </a:lnTo>
                  <a:lnTo>
                    <a:pt x="4" y="374"/>
                  </a:lnTo>
                  <a:lnTo>
                    <a:pt x="3" y="371"/>
                  </a:lnTo>
                  <a:lnTo>
                    <a:pt x="3" y="369"/>
                  </a:lnTo>
                  <a:lnTo>
                    <a:pt x="4" y="369"/>
                  </a:lnTo>
                  <a:lnTo>
                    <a:pt x="16" y="362"/>
                  </a:lnTo>
                  <a:lnTo>
                    <a:pt x="10" y="361"/>
                  </a:lnTo>
                  <a:lnTo>
                    <a:pt x="10" y="359"/>
                  </a:lnTo>
                  <a:lnTo>
                    <a:pt x="20" y="344"/>
                  </a:lnTo>
                  <a:lnTo>
                    <a:pt x="22" y="344"/>
                  </a:lnTo>
                  <a:lnTo>
                    <a:pt x="22" y="347"/>
                  </a:lnTo>
                  <a:lnTo>
                    <a:pt x="25" y="343"/>
                  </a:lnTo>
                  <a:lnTo>
                    <a:pt x="19" y="343"/>
                  </a:lnTo>
                  <a:lnTo>
                    <a:pt x="8" y="359"/>
                  </a:lnTo>
                  <a:lnTo>
                    <a:pt x="7" y="359"/>
                  </a:lnTo>
                  <a:lnTo>
                    <a:pt x="5" y="356"/>
                  </a:lnTo>
                  <a:lnTo>
                    <a:pt x="8" y="353"/>
                  </a:lnTo>
                  <a:lnTo>
                    <a:pt x="7" y="350"/>
                  </a:lnTo>
                  <a:lnTo>
                    <a:pt x="5" y="353"/>
                  </a:lnTo>
                  <a:lnTo>
                    <a:pt x="4" y="353"/>
                  </a:lnTo>
                  <a:lnTo>
                    <a:pt x="4" y="352"/>
                  </a:lnTo>
                  <a:lnTo>
                    <a:pt x="3" y="347"/>
                  </a:lnTo>
                  <a:lnTo>
                    <a:pt x="3" y="346"/>
                  </a:lnTo>
                  <a:lnTo>
                    <a:pt x="8" y="340"/>
                  </a:lnTo>
                  <a:lnTo>
                    <a:pt x="4" y="341"/>
                  </a:lnTo>
                  <a:lnTo>
                    <a:pt x="3" y="341"/>
                  </a:lnTo>
                  <a:lnTo>
                    <a:pt x="3" y="340"/>
                  </a:lnTo>
                  <a:lnTo>
                    <a:pt x="0" y="335"/>
                  </a:lnTo>
                  <a:lnTo>
                    <a:pt x="1" y="335"/>
                  </a:lnTo>
                  <a:lnTo>
                    <a:pt x="4" y="337"/>
                  </a:lnTo>
                  <a:lnTo>
                    <a:pt x="4" y="334"/>
                  </a:lnTo>
                  <a:lnTo>
                    <a:pt x="1" y="332"/>
                  </a:lnTo>
                  <a:lnTo>
                    <a:pt x="1" y="331"/>
                  </a:lnTo>
                  <a:lnTo>
                    <a:pt x="23" y="326"/>
                  </a:lnTo>
                  <a:lnTo>
                    <a:pt x="26" y="332"/>
                  </a:lnTo>
                  <a:lnTo>
                    <a:pt x="28" y="331"/>
                  </a:lnTo>
                  <a:lnTo>
                    <a:pt x="28" y="326"/>
                  </a:lnTo>
                  <a:lnTo>
                    <a:pt x="31" y="325"/>
                  </a:lnTo>
                  <a:lnTo>
                    <a:pt x="31" y="323"/>
                  </a:lnTo>
                  <a:lnTo>
                    <a:pt x="32" y="319"/>
                  </a:lnTo>
                  <a:lnTo>
                    <a:pt x="28" y="325"/>
                  </a:lnTo>
                  <a:lnTo>
                    <a:pt x="20" y="325"/>
                  </a:lnTo>
                  <a:lnTo>
                    <a:pt x="20" y="322"/>
                  </a:lnTo>
                  <a:lnTo>
                    <a:pt x="19" y="326"/>
                  </a:lnTo>
                  <a:lnTo>
                    <a:pt x="1" y="326"/>
                  </a:lnTo>
                  <a:lnTo>
                    <a:pt x="1" y="319"/>
                  </a:lnTo>
                  <a:lnTo>
                    <a:pt x="4" y="313"/>
                  </a:lnTo>
                  <a:lnTo>
                    <a:pt x="1" y="310"/>
                  </a:lnTo>
                  <a:lnTo>
                    <a:pt x="1" y="309"/>
                  </a:lnTo>
                  <a:lnTo>
                    <a:pt x="13" y="306"/>
                  </a:lnTo>
                  <a:lnTo>
                    <a:pt x="3" y="306"/>
                  </a:lnTo>
                  <a:lnTo>
                    <a:pt x="3" y="298"/>
                  </a:lnTo>
                  <a:lnTo>
                    <a:pt x="4" y="298"/>
                  </a:lnTo>
                  <a:lnTo>
                    <a:pt x="14" y="301"/>
                  </a:lnTo>
                  <a:lnTo>
                    <a:pt x="13" y="298"/>
                  </a:lnTo>
                  <a:lnTo>
                    <a:pt x="17" y="292"/>
                  </a:lnTo>
                  <a:lnTo>
                    <a:pt x="19" y="292"/>
                  </a:lnTo>
                  <a:lnTo>
                    <a:pt x="20" y="295"/>
                  </a:lnTo>
                  <a:lnTo>
                    <a:pt x="20" y="289"/>
                  </a:lnTo>
                  <a:lnTo>
                    <a:pt x="19" y="288"/>
                  </a:lnTo>
                  <a:lnTo>
                    <a:pt x="19" y="286"/>
                  </a:lnTo>
                  <a:lnTo>
                    <a:pt x="34" y="286"/>
                  </a:lnTo>
                  <a:lnTo>
                    <a:pt x="34" y="283"/>
                  </a:lnTo>
                  <a:lnTo>
                    <a:pt x="26" y="279"/>
                  </a:lnTo>
                  <a:lnTo>
                    <a:pt x="26" y="278"/>
                  </a:lnTo>
                  <a:lnTo>
                    <a:pt x="34" y="273"/>
                  </a:lnTo>
                  <a:lnTo>
                    <a:pt x="47" y="261"/>
                  </a:lnTo>
                  <a:lnTo>
                    <a:pt x="54" y="258"/>
                  </a:lnTo>
                  <a:lnTo>
                    <a:pt x="54" y="260"/>
                  </a:lnTo>
                  <a:lnTo>
                    <a:pt x="56" y="264"/>
                  </a:lnTo>
                  <a:lnTo>
                    <a:pt x="57" y="263"/>
                  </a:lnTo>
                  <a:lnTo>
                    <a:pt x="56" y="258"/>
                  </a:lnTo>
                  <a:lnTo>
                    <a:pt x="62" y="255"/>
                  </a:lnTo>
                  <a:lnTo>
                    <a:pt x="63" y="255"/>
                  </a:lnTo>
                  <a:lnTo>
                    <a:pt x="68" y="261"/>
                  </a:lnTo>
                  <a:lnTo>
                    <a:pt x="77" y="254"/>
                  </a:lnTo>
                  <a:lnTo>
                    <a:pt x="68" y="258"/>
                  </a:lnTo>
                  <a:lnTo>
                    <a:pt x="62" y="249"/>
                  </a:lnTo>
                  <a:lnTo>
                    <a:pt x="62" y="248"/>
                  </a:lnTo>
                  <a:lnTo>
                    <a:pt x="66" y="245"/>
                  </a:lnTo>
                  <a:lnTo>
                    <a:pt x="66" y="240"/>
                  </a:lnTo>
                  <a:lnTo>
                    <a:pt x="78" y="227"/>
                  </a:lnTo>
                  <a:lnTo>
                    <a:pt x="78" y="226"/>
                  </a:lnTo>
                  <a:lnTo>
                    <a:pt x="80" y="226"/>
                  </a:lnTo>
                  <a:lnTo>
                    <a:pt x="84" y="229"/>
                  </a:lnTo>
                  <a:lnTo>
                    <a:pt x="84" y="223"/>
                  </a:lnTo>
                  <a:lnTo>
                    <a:pt x="83" y="221"/>
                  </a:lnTo>
                  <a:lnTo>
                    <a:pt x="83" y="217"/>
                  </a:lnTo>
                  <a:lnTo>
                    <a:pt x="84" y="215"/>
                  </a:lnTo>
                  <a:lnTo>
                    <a:pt x="96" y="208"/>
                  </a:lnTo>
                  <a:lnTo>
                    <a:pt x="96" y="205"/>
                  </a:lnTo>
                  <a:lnTo>
                    <a:pt x="94" y="206"/>
                  </a:lnTo>
                  <a:lnTo>
                    <a:pt x="93" y="206"/>
                  </a:lnTo>
                  <a:lnTo>
                    <a:pt x="93" y="205"/>
                  </a:lnTo>
                  <a:lnTo>
                    <a:pt x="96" y="196"/>
                  </a:lnTo>
                  <a:lnTo>
                    <a:pt x="99" y="199"/>
                  </a:lnTo>
                  <a:lnTo>
                    <a:pt x="97" y="194"/>
                  </a:lnTo>
                  <a:lnTo>
                    <a:pt x="97" y="193"/>
                  </a:lnTo>
                  <a:lnTo>
                    <a:pt x="100" y="193"/>
                  </a:lnTo>
                  <a:lnTo>
                    <a:pt x="102" y="186"/>
                  </a:lnTo>
                  <a:lnTo>
                    <a:pt x="102" y="184"/>
                  </a:lnTo>
                  <a:lnTo>
                    <a:pt x="100" y="186"/>
                  </a:lnTo>
                  <a:lnTo>
                    <a:pt x="99" y="186"/>
                  </a:lnTo>
                  <a:lnTo>
                    <a:pt x="99" y="184"/>
                  </a:lnTo>
                  <a:lnTo>
                    <a:pt x="109" y="174"/>
                  </a:lnTo>
                  <a:lnTo>
                    <a:pt x="106" y="168"/>
                  </a:lnTo>
                  <a:lnTo>
                    <a:pt x="106" y="166"/>
                  </a:lnTo>
                  <a:lnTo>
                    <a:pt x="111" y="165"/>
                  </a:lnTo>
                  <a:lnTo>
                    <a:pt x="106" y="165"/>
                  </a:lnTo>
                  <a:lnTo>
                    <a:pt x="106" y="163"/>
                  </a:lnTo>
                  <a:lnTo>
                    <a:pt x="109" y="160"/>
                  </a:lnTo>
                  <a:lnTo>
                    <a:pt x="121" y="150"/>
                  </a:lnTo>
                  <a:lnTo>
                    <a:pt x="126" y="134"/>
                  </a:lnTo>
                  <a:lnTo>
                    <a:pt x="126" y="132"/>
                  </a:lnTo>
                  <a:lnTo>
                    <a:pt x="134" y="131"/>
                  </a:lnTo>
                  <a:lnTo>
                    <a:pt x="133" y="131"/>
                  </a:lnTo>
                  <a:lnTo>
                    <a:pt x="133" y="129"/>
                  </a:lnTo>
                  <a:lnTo>
                    <a:pt x="134" y="129"/>
                  </a:lnTo>
                  <a:lnTo>
                    <a:pt x="137" y="126"/>
                  </a:lnTo>
                  <a:lnTo>
                    <a:pt x="136" y="120"/>
                  </a:lnTo>
                  <a:lnTo>
                    <a:pt x="142" y="110"/>
                  </a:lnTo>
                  <a:lnTo>
                    <a:pt x="143" y="110"/>
                  </a:lnTo>
                  <a:lnTo>
                    <a:pt x="146" y="119"/>
                  </a:lnTo>
                  <a:lnTo>
                    <a:pt x="149" y="116"/>
                  </a:lnTo>
                  <a:lnTo>
                    <a:pt x="148" y="104"/>
                  </a:lnTo>
                  <a:lnTo>
                    <a:pt x="148" y="103"/>
                  </a:lnTo>
                  <a:lnTo>
                    <a:pt x="151" y="103"/>
                  </a:lnTo>
                  <a:lnTo>
                    <a:pt x="152" y="104"/>
                  </a:lnTo>
                  <a:lnTo>
                    <a:pt x="158" y="104"/>
                  </a:lnTo>
                  <a:lnTo>
                    <a:pt x="160" y="106"/>
                  </a:lnTo>
                  <a:lnTo>
                    <a:pt x="161" y="106"/>
                  </a:lnTo>
                  <a:lnTo>
                    <a:pt x="164" y="101"/>
                  </a:lnTo>
                  <a:lnTo>
                    <a:pt x="151" y="98"/>
                  </a:lnTo>
                  <a:lnTo>
                    <a:pt x="151" y="97"/>
                  </a:lnTo>
                  <a:lnTo>
                    <a:pt x="166" y="89"/>
                  </a:lnTo>
                  <a:lnTo>
                    <a:pt x="166" y="85"/>
                  </a:lnTo>
                  <a:lnTo>
                    <a:pt x="167" y="85"/>
                  </a:lnTo>
                  <a:lnTo>
                    <a:pt x="164" y="80"/>
                  </a:lnTo>
                  <a:lnTo>
                    <a:pt x="171" y="73"/>
                  </a:lnTo>
                  <a:lnTo>
                    <a:pt x="170" y="71"/>
                  </a:lnTo>
                  <a:lnTo>
                    <a:pt x="173" y="63"/>
                  </a:lnTo>
                  <a:lnTo>
                    <a:pt x="174" y="63"/>
                  </a:lnTo>
                  <a:lnTo>
                    <a:pt x="174" y="68"/>
                  </a:lnTo>
                  <a:lnTo>
                    <a:pt x="179" y="70"/>
                  </a:lnTo>
                  <a:lnTo>
                    <a:pt x="180" y="68"/>
                  </a:lnTo>
                  <a:lnTo>
                    <a:pt x="176" y="61"/>
                  </a:lnTo>
                  <a:lnTo>
                    <a:pt x="180" y="61"/>
                  </a:lnTo>
                  <a:lnTo>
                    <a:pt x="183" y="64"/>
                  </a:lnTo>
                  <a:lnTo>
                    <a:pt x="185" y="54"/>
                  </a:lnTo>
                  <a:lnTo>
                    <a:pt x="185" y="52"/>
                  </a:lnTo>
                  <a:lnTo>
                    <a:pt x="192" y="52"/>
                  </a:lnTo>
                  <a:lnTo>
                    <a:pt x="192" y="57"/>
                  </a:lnTo>
                  <a:lnTo>
                    <a:pt x="194" y="54"/>
                  </a:lnTo>
                  <a:lnTo>
                    <a:pt x="200" y="46"/>
                  </a:lnTo>
                  <a:lnTo>
                    <a:pt x="201" y="46"/>
                  </a:lnTo>
                  <a:lnTo>
                    <a:pt x="201" y="66"/>
                  </a:lnTo>
                  <a:lnTo>
                    <a:pt x="204" y="60"/>
                  </a:lnTo>
                  <a:lnTo>
                    <a:pt x="204" y="54"/>
                  </a:lnTo>
                  <a:lnTo>
                    <a:pt x="206" y="49"/>
                  </a:lnTo>
                  <a:lnTo>
                    <a:pt x="213" y="46"/>
                  </a:lnTo>
                  <a:lnTo>
                    <a:pt x="213" y="43"/>
                  </a:lnTo>
                  <a:lnTo>
                    <a:pt x="222" y="52"/>
                  </a:lnTo>
                  <a:lnTo>
                    <a:pt x="222" y="42"/>
                  </a:lnTo>
                  <a:lnTo>
                    <a:pt x="216" y="40"/>
                  </a:lnTo>
                  <a:lnTo>
                    <a:pt x="216" y="31"/>
                  </a:lnTo>
                  <a:lnTo>
                    <a:pt x="217" y="33"/>
                  </a:lnTo>
                  <a:lnTo>
                    <a:pt x="219" y="36"/>
                  </a:lnTo>
                  <a:lnTo>
                    <a:pt x="220" y="33"/>
                  </a:lnTo>
                  <a:lnTo>
                    <a:pt x="222" y="31"/>
                  </a:lnTo>
                  <a:lnTo>
                    <a:pt x="222" y="33"/>
                  </a:lnTo>
                  <a:lnTo>
                    <a:pt x="228" y="39"/>
                  </a:lnTo>
                  <a:lnTo>
                    <a:pt x="235" y="36"/>
                  </a:lnTo>
                  <a:lnTo>
                    <a:pt x="235" y="40"/>
                  </a:lnTo>
                  <a:lnTo>
                    <a:pt x="238" y="43"/>
                  </a:lnTo>
                  <a:lnTo>
                    <a:pt x="238" y="36"/>
                  </a:lnTo>
                  <a:lnTo>
                    <a:pt x="256" y="18"/>
                  </a:lnTo>
                  <a:lnTo>
                    <a:pt x="252" y="12"/>
                  </a:lnTo>
                  <a:lnTo>
                    <a:pt x="252" y="11"/>
                  </a:lnTo>
                  <a:lnTo>
                    <a:pt x="253" y="11"/>
                  </a:lnTo>
                  <a:lnTo>
                    <a:pt x="260" y="6"/>
                  </a:lnTo>
                  <a:lnTo>
                    <a:pt x="262" y="6"/>
                  </a:lnTo>
                  <a:lnTo>
                    <a:pt x="265" y="12"/>
                  </a:lnTo>
                  <a:lnTo>
                    <a:pt x="272" y="11"/>
                  </a:lnTo>
                  <a:lnTo>
                    <a:pt x="274" y="11"/>
                  </a:lnTo>
                  <a:lnTo>
                    <a:pt x="265" y="27"/>
                  </a:lnTo>
                  <a:lnTo>
                    <a:pt x="260" y="39"/>
                  </a:lnTo>
                  <a:lnTo>
                    <a:pt x="262" y="40"/>
                  </a:lnTo>
                  <a:lnTo>
                    <a:pt x="283" y="8"/>
                  </a:lnTo>
                  <a:lnTo>
                    <a:pt x="283" y="28"/>
                  </a:lnTo>
                  <a:lnTo>
                    <a:pt x="289" y="25"/>
                  </a:lnTo>
                  <a:lnTo>
                    <a:pt x="29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2" name="Norway Offshore">
              <a:extLst>
                <a:ext uri="{FF2B5EF4-FFF2-40B4-BE49-F238E27FC236}">
                  <a16:creationId xmlns:a16="http://schemas.microsoft.com/office/drawing/2014/main" id="{3B1A5E9B-BA03-545A-591D-2C88C2D91056}"/>
                </a:ext>
              </a:extLst>
            </p:cNvPr>
            <p:cNvSpPr>
              <a:spLocks/>
            </p:cNvSpPr>
            <p:nvPr/>
          </p:nvSpPr>
          <p:spPr bwMode="auto">
            <a:xfrm>
              <a:off x="5961374" y="2169558"/>
              <a:ext cx="482486" cy="536698"/>
            </a:xfrm>
            <a:custGeom>
              <a:avLst/>
              <a:gdLst/>
              <a:ahLst/>
              <a:cxnLst/>
              <a:rect l="l" t="t" r="r" b="b"/>
              <a:pathLst>
                <a:path w="486332" h="540976">
                  <a:moveTo>
                    <a:pt x="7286" y="530047"/>
                  </a:moveTo>
                  <a:lnTo>
                    <a:pt x="7286" y="531869"/>
                  </a:lnTo>
                  <a:lnTo>
                    <a:pt x="5464" y="537333"/>
                  </a:lnTo>
                  <a:lnTo>
                    <a:pt x="5464" y="540976"/>
                  </a:lnTo>
                  <a:lnTo>
                    <a:pt x="1821" y="540976"/>
                  </a:lnTo>
                  <a:lnTo>
                    <a:pt x="1821" y="537333"/>
                  </a:lnTo>
                  <a:lnTo>
                    <a:pt x="0" y="531869"/>
                  </a:lnTo>
                  <a:lnTo>
                    <a:pt x="1821" y="531869"/>
                  </a:lnTo>
                  <a:close/>
                  <a:moveTo>
                    <a:pt x="234968" y="151181"/>
                  </a:moveTo>
                  <a:lnTo>
                    <a:pt x="236790" y="151181"/>
                  </a:lnTo>
                  <a:lnTo>
                    <a:pt x="242254" y="165753"/>
                  </a:lnTo>
                  <a:lnTo>
                    <a:pt x="242254" y="167574"/>
                  </a:lnTo>
                  <a:lnTo>
                    <a:pt x="247719" y="154824"/>
                  </a:lnTo>
                  <a:lnTo>
                    <a:pt x="251362" y="154824"/>
                  </a:lnTo>
                  <a:lnTo>
                    <a:pt x="258648" y="160289"/>
                  </a:lnTo>
                  <a:lnTo>
                    <a:pt x="258648" y="173039"/>
                  </a:lnTo>
                  <a:lnTo>
                    <a:pt x="236790" y="193075"/>
                  </a:lnTo>
                  <a:lnTo>
                    <a:pt x="236790" y="194897"/>
                  </a:lnTo>
                  <a:lnTo>
                    <a:pt x="234968" y="194897"/>
                  </a:lnTo>
                  <a:lnTo>
                    <a:pt x="234968" y="193075"/>
                  </a:lnTo>
                  <a:lnTo>
                    <a:pt x="231325" y="183968"/>
                  </a:lnTo>
                  <a:lnTo>
                    <a:pt x="205825" y="200361"/>
                  </a:lnTo>
                  <a:lnTo>
                    <a:pt x="202182" y="200361"/>
                  </a:lnTo>
                  <a:lnTo>
                    <a:pt x="205825" y="196718"/>
                  </a:lnTo>
                  <a:lnTo>
                    <a:pt x="225861" y="178503"/>
                  </a:lnTo>
                  <a:close/>
                  <a:moveTo>
                    <a:pt x="218576" y="145717"/>
                  </a:moveTo>
                  <a:lnTo>
                    <a:pt x="220397" y="145717"/>
                  </a:lnTo>
                  <a:lnTo>
                    <a:pt x="225862" y="167575"/>
                  </a:lnTo>
                  <a:lnTo>
                    <a:pt x="225862" y="171218"/>
                  </a:lnTo>
                  <a:lnTo>
                    <a:pt x="205825" y="171218"/>
                  </a:lnTo>
                  <a:lnTo>
                    <a:pt x="205825" y="167575"/>
                  </a:lnTo>
                  <a:lnTo>
                    <a:pt x="218576" y="156646"/>
                  </a:lnTo>
                  <a:close/>
                  <a:moveTo>
                    <a:pt x="247720" y="127503"/>
                  </a:moveTo>
                  <a:lnTo>
                    <a:pt x="251363" y="127503"/>
                  </a:lnTo>
                  <a:lnTo>
                    <a:pt x="251363" y="129325"/>
                  </a:lnTo>
                  <a:lnTo>
                    <a:pt x="242255" y="145718"/>
                  </a:lnTo>
                  <a:lnTo>
                    <a:pt x="242255" y="149361"/>
                  </a:lnTo>
                  <a:lnTo>
                    <a:pt x="240433" y="149361"/>
                  </a:lnTo>
                  <a:lnTo>
                    <a:pt x="234969" y="145718"/>
                  </a:lnTo>
                  <a:lnTo>
                    <a:pt x="231326" y="145718"/>
                  </a:lnTo>
                  <a:lnTo>
                    <a:pt x="231326" y="143897"/>
                  </a:lnTo>
                  <a:lnTo>
                    <a:pt x="236790" y="132968"/>
                  </a:lnTo>
                  <a:close/>
                  <a:moveTo>
                    <a:pt x="278683" y="109288"/>
                  </a:moveTo>
                  <a:lnTo>
                    <a:pt x="280505" y="109288"/>
                  </a:lnTo>
                  <a:lnTo>
                    <a:pt x="291433" y="122038"/>
                  </a:lnTo>
                  <a:lnTo>
                    <a:pt x="293255" y="122038"/>
                  </a:lnTo>
                  <a:lnTo>
                    <a:pt x="291433" y="134788"/>
                  </a:lnTo>
                  <a:lnTo>
                    <a:pt x="289612" y="134788"/>
                  </a:lnTo>
                  <a:lnTo>
                    <a:pt x="289612" y="138431"/>
                  </a:lnTo>
                  <a:lnTo>
                    <a:pt x="267755" y="145717"/>
                  </a:lnTo>
                  <a:lnTo>
                    <a:pt x="264112" y="145717"/>
                  </a:lnTo>
                  <a:lnTo>
                    <a:pt x="267755" y="134788"/>
                  </a:lnTo>
                  <a:lnTo>
                    <a:pt x="264112" y="132967"/>
                  </a:lnTo>
                  <a:lnTo>
                    <a:pt x="267755" y="122038"/>
                  </a:lnTo>
                  <a:close/>
                  <a:moveTo>
                    <a:pt x="309649" y="94716"/>
                  </a:moveTo>
                  <a:lnTo>
                    <a:pt x="315114" y="94716"/>
                  </a:lnTo>
                  <a:lnTo>
                    <a:pt x="315114" y="98359"/>
                  </a:lnTo>
                  <a:lnTo>
                    <a:pt x="302363" y="111110"/>
                  </a:lnTo>
                  <a:lnTo>
                    <a:pt x="293256" y="111110"/>
                  </a:lnTo>
                  <a:lnTo>
                    <a:pt x="293256" y="109289"/>
                  </a:lnTo>
                  <a:lnTo>
                    <a:pt x="296899" y="100181"/>
                  </a:lnTo>
                  <a:lnTo>
                    <a:pt x="296899" y="98359"/>
                  </a:lnTo>
                  <a:lnTo>
                    <a:pt x="302363" y="98359"/>
                  </a:lnTo>
                  <a:close/>
                  <a:moveTo>
                    <a:pt x="313293" y="76502"/>
                  </a:moveTo>
                  <a:lnTo>
                    <a:pt x="318757" y="76502"/>
                  </a:lnTo>
                  <a:lnTo>
                    <a:pt x="324222" y="78324"/>
                  </a:lnTo>
                  <a:lnTo>
                    <a:pt x="331508" y="78324"/>
                  </a:lnTo>
                  <a:lnTo>
                    <a:pt x="331508" y="81967"/>
                  </a:lnTo>
                  <a:lnTo>
                    <a:pt x="324222" y="92896"/>
                  </a:lnTo>
                  <a:lnTo>
                    <a:pt x="320579" y="94717"/>
                  </a:lnTo>
                  <a:lnTo>
                    <a:pt x="320579" y="92896"/>
                  </a:lnTo>
                  <a:close/>
                  <a:moveTo>
                    <a:pt x="357007" y="61930"/>
                  </a:moveTo>
                  <a:lnTo>
                    <a:pt x="358829" y="61930"/>
                  </a:lnTo>
                  <a:lnTo>
                    <a:pt x="358829" y="76502"/>
                  </a:lnTo>
                  <a:lnTo>
                    <a:pt x="357007" y="76502"/>
                  </a:lnTo>
                  <a:lnTo>
                    <a:pt x="351543" y="72859"/>
                  </a:lnTo>
                  <a:close/>
                  <a:moveTo>
                    <a:pt x="329685" y="61930"/>
                  </a:moveTo>
                  <a:lnTo>
                    <a:pt x="331506" y="61930"/>
                  </a:lnTo>
                  <a:lnTo>
                    <a:pt x="335149" y="67395"/>
                  </a:lnTo>
                  <a:lnTo>
                    <a:pt x="342436" y="72859"/>
                  </a:lnTo>
                  <a:lnTo>
                    <a:pt x="342436" y="76502"/>
                  </a:lnTo>
                  <a:lnTo>
                    <a:pt x="331506" y="76502"/>
                  </a:lnTo>
                  <a:lnTo>
                    <a:pt x="331506" y="72859"/>
                  </a:lnTo>
                  <a:close/>
                  <a:moveTo>
                    <a:pt x="397080" y="54644"/>
                  </a:moveTo>
                  <a:lnTo>
                    <a:pt x="408009" y="54644"/>
                  </a:lnTo>
                  <a:lnTo>
                    <a:pt x="409831" y="61930"/>
                  </a:lnTo>
                  <a:lnTo>
                    <a:pt x="404366" y="65573"/>
                  </a:lnTo>
                  <a:lnTo>
                    <a:pt x="397080" y="56466"/>
                  </a:lnTo>
                  <a:close/>
                  <a:moveTo>
                    <a:pt x="420759" y="38250"/>
                  </a:moveTo>
                  <a:lnTo>
                    <a:pt x="424402" y="38250"/>
                  </a:lnTo>
                  <a:lnTo>
                    <a:pt x="426224" y="45536"/>
                  </a:lnTo>
                  <a:lnTo>
                    <a:pt x="429867" y="45536"/>
                  </a:lnTo>
                  <a:lnTo>
                    <a:pt x="429867" y="49179"/>
                  </a:lnTo>
                  <a:lnTo>
                    <a:pt x="426224" y="49179"/>
                  </a:lnTo>
                  <a:lnTo>
                    <a:pt x="420759" y="56465"/>
                  </a:lnTo>
                  <a:lnTo>
                    <a:pt x="413473" y="60108"/>
                  </a:lnTo>
                  <a:lnTo>
                    <a:pt x="409830" y="60108"/>
                  </a:lnTo>
                  <a:lnTo>
                    <a:pt x="408009" y="49179"/>
                  </a:lnTo>
                  <a:lnTo>
                    <a:pt x="408009" y="45536"/>
                  </a:lnTo>
                  <a:lnTo>
                    <a:pt x="409830" y="45536"/>
                  </a:lnTo>
                  <a:close/>
                  <a:moveTo>
                    <a:pt x="393437" y="32786"/>
                  </a:moveTo>
                  <a:lnTo>
                    <a:pt x="404365" y="32786"/>
                  </a:lnTo>
                  <a:lnTo>
                    <a:pt x="409829" y="36429"/>
                  </a:lnTo>
                  <a:lnTo>
                    <a:pt x="415294" y="36429"/>
                  </a:lnTo>
                  <a:lnTo>
                    <a:pt x="393437" y="49180"/>
                  </a:lnTo>
                  <a:lnTo>
                    <a:pt x="386151" y="38251"/>
                  </a:lnTo>
                  <a:close/>
                  <a:moveTo>
                    <a:pt x="426223" y="30964"/>
                  </a:moveTo>
                  <a:lnTo>
                    <a:pt x="429866" y="30964"/>
                  </a:lnTo>
                  <a:lnTo>
                    <a:pt x="435330" y="32786"/>
                  </a:lnTo>
                  <a:lnTo>
                    <a:pt x="437152" y="32786"/>
                  </a:lnTo>
                  <a:lnTo>
                    <a:pt x="435330" y="43715"/>
                  </a:lnTo>
                  <a:lnTo>
                    <a:pt x="431687" y="43715"/>
                  </a:lnTo>
                  <a:close/>
                  <a:moveTo>
                    <a:pt x="477225" y="0"/>
                  </a:moveTo>
                  <a:lnTo>
                    <a:pt x="480868" y="3643"/>
                  </a:lnTo>
                  <a:lnTo>
                    <a:pt x="486332" y="10929"/>
                  </a:lnTo>
                  <a:lnTo>
                    <a:pt x="486332" y="14572"/>
                  </a:lnTo>
                  <a:lnTo>
                    <a:pt x="482689" y="14572"/>
                  </a:lnTo>
                  <a:lnTo>
                    <a:pt x="464474" y="9108"/>
                  </a:lnTo>
                  <a:lnTo>
                    <a:pt x="464474" y="5465"/>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3" name="Jan Mayen">
              <a:extLst>
                <a:ext uri="{FF2B5EF4-FFF2-40B4-BE49-F238E27FC236}">
                  <a16:creationId xmlns:a16="http://schemas.microsoft.com/office/drawing/2014/main" id="{8F1C4664-E359-3D6A-041D-0502A34FBDFD}"/>
                </a:ext>
              </a:extLst>
            </p:cNvPr>
            <p:cNvSpPr>
              <a:spLocks/>
            </p:cNvSpPr>
            <p:nvPr/>
          </p:nvSpPr>
          <p:spPr bwMode="auto">
            <a:xfrm>
              <a:off x="5610805" y="2164136"/>
              <a:ext cx="28913" cy="27107"/>
            </a:xfrm>
            <a:custGeom>
              <a:avLst/>
              <a:gdLst>
                <a:gd name="T0" fmla="*/ 16 w 16"/>
                <a:gd name="T1" fmla="*/ 0 h 15"/>
                <a:gd name="T2" fmla="*/ 13 w 16"/>
                <a:gd name="T3" fmla="*/ 8 h 15"/>
                <a:gd name="T4" fmla="*/ 1 w 16"/>
                <a:gd name="T5" fmla="*/ 15 h 15"/>
                <a:gd name="T6" fmla="*/ 0 w 16"/>
                <a:gd name="T7" fmla="*/ 15 h 15"/>
                <a:gd name="T8" fmla="*/ 0 w 16"/>
                <a:gd name="T9" fmla="*/ 14 h 15"/>
                <a:gd name="T10" fmla="*/ 9 w 16"/>
                <a:gd name="T11" fmla="*/ 3 h 15"/>
                <a:gd name="T12" fmla="*/ 16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16" y="0"/>
                  </a:moveTo>
                  <a:lnTo>
                    <a:pt x="13" y="8"/>
                  </a:lnTo>
                  <a:lnTo>
                    <a:pt x="1" y="15"/>
                  </a:lnTo>
                  <a:lnTo>
                    <a:pt x="0" y="15"/>
                  </a:lnTo>
                  <a:lnTo>
                    <a:pt x="0" y="14"/>
                  </a:lnTo>
                  <a:lnTo>
                    <a:pt x="9" y="3"/>
                  </a:lnTo>
                  <a:lnTo>
                    <a:pt x="1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4" name="European Island">
              <a:extLst>
                <a:ext uri="{FF2B5EF4-FFF2-40B4-BE49-F238E27FC236}">
                  <a16:creationId xmlns:a16="http://schemas.microsoft.com/office/drawing/2014/main" id="{AF1202EB-47B4-9381-6469-18D14F9185AA}"/>
                </a:ext>
              </a:extLst>
            </p:cNvPr>
            <p:cNvSpPr>
              <a:spLocks/>
            </p:cNvSpPr>
            <p:nvPr/>
          </p:nvSpPr>
          <p:spPr bwMode="auto">
            <a:xfrm>
              <a:off x="6272189" y="1900305"/>
              <a:ext cx="10843" cy="14457"/>
            </a:xfrm>
            <a:custGeom>
              <a:avLst/>
              <a:gdLst>
                <a:gd name="T0" fmla="*/ 3 w 6"/>
                <a:gd name="T1" fmla="*/ 0 h 8"/>
                <a:gd name="T2" fmla="*/ 6 w 6"/>
                <a:gd name="T3" fmla="*/ 0 h 8"/>
                <a:gd name="T4" fmla="*/ 6 w 6"/>
                <a:gd name="T5" fmla="*/ 1 h 8"/>
                <a:gd name="T6" fmla="*/ 3 w 6"/>
                <a:gd name="T7" fmla="*/ 7 h 8"/>
                <a:gd name="T8" fmla="*/ 3 w 6"/>
                <a:gd name="T9" fmla="*/ 8 h 8"/>
                <a:gd name="T10" fmla="*/ 1 w 6"/>
                <a:gd name="T11" fmla="*/ 7 h 8"/>
                <a:gd name="T12" fmla="*/ 0 w 6"/>
                <a:gd name="T13" fmla="*/ 1 h 8"/>
                <a:gd name="T14" fmla="*/ 1 w 6"/>
                <a:gd name="T15" fmla="*/ 1 h 8"/>
                <a:gd name="T16" fmla="*/ 3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3" y="0"/>
                  </a:moveTo>
                  <a:lnTo>
                    <a:pt x="6" y="0"/>
                  </a:lnTo>
                  <a:lnTo>
                    <a:pt x="6" y="1"/>
                  </a:lnTo>
                  <a:lnTo>
                    <a:pt x="3" y="7"/>
                  </a:lnTo>
                  <a:lnTo>
                    <a:pt x="3" y="8"/>
                  </a:lnTo>
                  <a:lnTo>
                    <a:pt x="1" y="7"/>
                  </a:lnTo>
                  <a:lnTo>
                    <a:pt x="0" y="1"/>
                  </a:lnTo>
                  <a:lnTo>
                    <a:pt x="1" y="1"/>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5" name="Finland">
              <a:extLst>
                <a:ext uri="{FF2B5EF4-FFF2-40B4-BE49-F238E27FC236}">
                  <a16:creationId xmlns:a16="http://schemas.microsoft.com/office/drawing/2014/main" id="{46ED5DD9-6E0B-F049-EF93-2F0AF626748B}"/>
                </a:ext>
              </a:extLst>
            </p:cNvPr>
            <p:cNvSpPr>
              <a:spLocks/>
            </p:cNvSpPr>
            <p:nvPr/>
          </p:nvSpPr>
          <p:spPr bwMode="auto">
            <a:xfrm>
              <a:off x="6311944" y="2241840"/>
              <a:ext cx="256602" cy="574646"/>
            </a:xfrm>
            <a:custGeom>
              <a:avLst/>
              <a:gdLst/>
              <a:ahLst/>
              <a:cxnLst/>
              <a:rect l="l" t="t" r="r" b="b"/>
              <a:pathLst>
                <a:path w="258648" h="579227">
                  <a:moveTo>
                    <a:pt x="51001" y="559191"/>
                  </a:moveTo>
                  <a:lnTo>
                    <a:pt x="51001" y="562834"/>
                  </a:lnTo>
                  <a:lnTo>
                    <a:pt x="49180" y="573764"/>
                  </a:lnTo>
                  <a:lnTo>
                    <a:pt x="45537" y="575585"/>
                  </a:lnTo>
                  <a:lnTo>
                    <a:pt x="40072" y="575585"/>
                  </a:lnTo>
                  <a:lnTo>
                    <a:pt x="40072" y="573764"/>
                  </a:lnTo>
                  <a:close/>
                  <a:moveTo>
                    <a:pt x="178504" y="0"/>
                  </a:moveTo>
                  <a:lnTo>
                    <a:pt x="207647" y="25501"/>
                  </a:lnTo>
                  <a:lnTo>
                    <a:pt x="207647" y="27322"/>
                  </a:lnTo>
                  <a:lnTo>
                    <a:pt x="211290" y="47358"/>
                  </a:lnTo>
                  <a:lnTo>
                    <a:pt x="207647" y="49180"/>
                  </a:lnTo>
                  <a:lnTo>
                    <a:pt x="200361" y="61930"/>
                  </a:lnTo>
                  <a:lnTo>
                    <a:pt x="202183" y="71037"/>
                  </a:lnTo>
                  <a:lnTo>
                    <a:pt x="202183" y="72859"/>
                  </a:lnTo>
                  <a:lnTo>
                    <a:pt x="191254" y="83788"/>
                  </a:lnTo>
                  <a:lnTo>
                    <a:pt x="194897" y="83788"/>
                  </a:lnTo>
                  <a:lnTo>
                    <a:pt x="194897" y="87431"/>
                  </a:lnTo>
                  <a:lnTo>
                    <a:pt x="191254" y="114753"/>
                  </a:lnTo>
                  <a:lnTo>
                    <a:pt x="211290" y="132967"/>
                  </a:lnTo>
                  <a:lnTo>
                    <a:pt x="227683" y="165754"/>
                  </a:lnTo>
                  <a:lnTo>
                    <a:pt x="207647" y="205826"/>
                  </a:lnTo>
                  <a:lnTo>
                    <a:pt x="229505" y="273220"/>
                  </a:lnTo>
                  <a:lnTo>
                    <a:pt x="222219" y="302364"/>
                  </a:lnTo>
                  <a:lnTo>
                    <a:pt x="222219" y="324222"/>
                  </a:lnTo>
                  <a:lnTo>
                    <a:pt x="227683" y="327864"/>
                  </a:lnTo>
                  <a:lnTo>
                    <a:pt x="229505" y="346079"/>
                  </a:lnTo>
                  <a:lnTo>
                    <a:pt x="240434" y="357008"/>
                  </a:lnTo>
                  <a:lnTo>
                    <a:pt x="240434" y="358829"/>
                  </a:lnTo>
                  <a:lnTo>
                    <a:pt x="233148" y="389794"/>
                  </a:lnTo>
                  <a:lnTo>
                    <a:pt x="242255" y="406188"/>
                  </a:lnTo>
                  <a:lnTo>
                    <a:pt x="258648" y="422581"/>
                  </a:lnTo>
                  <a:lnTo>
                    <a:pt x="258648" y="440796"/>
                  </a:lnTo>
                  <a:lnTo>
                    <a:pt x="222219" y="497261"/>
                  </a:lnTo>
                  <a:lnTo>
                    <a:pt x="167575" y="548262"/>
                  </a:lnTo>
                  <a:lnTo>
                    <a:pt x="123860" y="553727"/>
                  </a:lnTo>
                  <a:lnTo>
                    <a:pt x="89252" y="573763"/>
                  </a:lnTo>
                  <a:lnTo>
                    <a:pt x="67394" y="579227"/>
                  </a:lnTo>
                  <a:lnTo>
                    <a:pt x="65573" y="573763"/>
                  </a:lnTo>
                  <a:lnTo>
                    <a:pt x="60109" y="575584"/>
                  </a:lnTo>
                  <a:lnTo>
                    <a:pt x="56466" y="575584"/>
                  </a:lnTo>
                  <a:lnTo>
                    <a:pt x="51001" y="559191"/>
                  </a:lnTo>
                  <a:lnTo>
                    <a:pt x="45537" y="562834"/>
                  </a:lnTo>
                  <a:lnTo>
                    <a:pt x="16393" y="546441"/>
                  </a:lnTo>
                  <a:lnTo>
                    <a:pt x="16393" y="542798"/>
                  </a:lnTo>
                  <a:lnTo>
                    <a:pt x="18215" y="537333"/>
                  </a:lnTo>
                  <a:lnTo>
                    <a:pt x="12751" y="526405"/>
                  </a:lnTo>
                  <a:lnTo>
                    <a:pt x="18215" y="515476"/>
                  </a:lnTo>
                  <a:lnTo>
                    <a:pt x="18215" y="500904"/>
                  </a:lnTo>
                  <a:lnTo>
                    <a:pt x="21858" y="500904"/>
                  </a:lnTo>
                  <a:lnTo>
                    <a:pt x="12751" y="475403"/>
                  </a:lnTo>
                  <a:lnTo>
                    <a:pt x="12751" y="464475"/>
                  </a:lnTo>
                  <a:lnTo>
                    <a:pt x="9108" y="442617"/>
                  </a:lnTo>
                  <a:lnTo>
                    <a:pt x="16393" y="424402"/>
                  </a:lnTo>
                  <a:lnTo>
                    <a:pt x="23679" y="424402"/>
                  </a:lnTo>
                  <a:lnTo>
                    <a:pt x="27322" y="413473"/>
                  </a:lnTo>
                  <a:lnTo>
                    <a:pt x="27322" y="411652"/>
                  </a:lnTo>
                  <a:lnTo>
                    <a:pt x="38251" y="411652"/>
                  </a:lnTo>
                  <a:lnTo>
                    <a:pt x="51001" y="397080"/>
                  </a:lnTo>
                  <a:lnTo>
                    <a:pt x="91073" y="344258"/>
                  </a:lnTo>
                  <a:lnTo>
                    <a:pt x="96538" y="327864"/>
                  </a:lnTo>
                  <a:lnTo>
                    <a:pt x="116574" y="318757"/>
                  </a:lnTo>
                  <a:lnTo>
                    <a:pt x="111110" y="291435"/>
                  </a:lnTo>
                  <a:lnTo>
                    <a:pt x="81966" y="265935"/>
                  </a:lnTo>
                  <a:lnTo>
                    <a:pt x="72859" y="240434"/>
                  </a:lnTo>
                  <a:lnTo>
                    <a:pt x="78323" y="216755"/>
                  </a:lnTo>
                  <a:lnTo>
                    <a:pt x="67394" y="193076"/>
                  </a:lnTo>
                  <a:lnTo>
                    <a:pt x="71037" y="140253"/>
                  </a:lnTo>
                  <a:lnTo>
                    <a:pt x="54644" y="116574"/>
                  </a:lnTo>
                  <a:lnTo>
                    <a:pt x="0" y="71037"/>
                  </a:lnTo>
                  <a:lnTo>
                    <a:pt x="0" y="67394"/>
                  </a:lnTo>
                  <a:lnTo>
                    <a:pt x="10929" y="61930"/>
                  </a:lnTo>
                  <a:lnTo>
                    <a:pt x="9108" y="56466"/>
                  </a:lnTo>
                  <a:lnTo>
                    <a:pt x="9108" y="54644"/>
                  </a:lnTo>
                  <a:lnTo>
                    <a:pt x="10929" y="54644"/>
                  </a:lnTo>
                  <a:lnTo>
                    <a:pt x="16393" y="51001"/>
                  </a:lnTo>
                  <a:lnTo>
                    <a:pt x="45537" y="89252"/>
                  </a:lnTo>
                  <a:lnTo>
                    <a:pt x="67394" y="94716"/>
                  </a:lnTo>
                  <a:lnTo>
                    <a:pt x="81966" y="81966"/>
                  </a:lnTo>
                  <a:lnTo>
                    <a:pt x="83788" y="81966"/>
                  </a:lnTo>
                  <a:lnTo>
                    <a:pt x="96538" y="94716"/>
                  </a:lnTo>
                  <a:lnTo>
                    <a:pt x="122038" y="72859"/>
                  </a:lnTo>
                  <a:lnTo>
                    <a:pt x="123860" y="36429"/>
                  </a:lnTo>
                  <a:lnTo>
                    <a:pt x="129324" y="20036"/>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6" name="Sweden Mainland">
              <a:extLst>
                <a:ext uri="{FF2B5EF4-FFF2-40B4-BE49-F238E27FC236}">
                  <a16:creationId xmlns:a16="http://schemas.microsoft.com/office/drawing/2014/main" id="{4731D504-AA00-3A8F-0073-9486873DA5D6}"/>
                </a:ext>
              </a:extLst>
            </p:cNvPr>
            <p:cNvSpPr>
              <a:spLocks noEditPoints="1"/>
            </p:cNvSpPr>
            <p:nvPr/>
          </p:nvSpPr>
          <p:spPr bwMode="auto">
            <a:xfrm>
              <a:off x="6087869" y="2308701"/>
              <a:ext cx="307200" cy="708369"/>
            </a:xfrm>
            <a:custGeom>
              <a:avLst/>
              <a:gdLst>
                <a:gd name="T0" fmla="*/ 74 w 170"/>
                <a:gd name="T1" fmla="*/ 273 h 392"/>
                <a:gd name="T2" fmla="*/ 126 w 170"/>
                <a:gd name="T3" fmla="*/ 0 h 392"/>
                <a:gd name="T4" fmla="*/ 163 w 170"/>
                <a:gd name="T5" fmla="*/ 69 h 392"/>
                <a:gd name="T6" fmla="*/ 170 w 170"/>
                <a:gd name="T7" fmla="*/ 109 h 392"/>
                <a:gd name="T8" fmla="*/ 167 w 170"/>
                <a:gd name="T9" fmla="*/ 115 h 392"/>
                <a:gd name="T10" fmla="*/ 157 w 170"/>
                <a:gd name="T11" fmla="*/ 112 h 392"/>
                <a:gd name="T12" fmla="*/ 149 w 170"/>
                <a:gd name="T13" fmla="*/ 110 h 392"/>
                <a:gd name="T14" fmla="*/ 142 w 170"/>
                <a:gd name="T15" fmla="*/ 117 h 392"/>
                <a:gd name="T16" fmla="*/ 137 w 170"/>
                <a:gd name="T17" fmla="*/ 134 h 392"/>
                <a:gd name="T18" fmla="*/ 123 w 170"/>
                <a:gd name="T19" fmla="*/ 175 h 392"/>
                <a:gd name="T20" fmla="*/ 90 w 170"/>
                <a:gd name="T21" fmla="*/ 203 h 392"/>
                <a:gd name="T22" fmla="*/ 87 w 170"/>
                <a:gd name="T23" fmla="*/ 208 h 392"/>
                <a:gd name="T24" fmla="*/ 81 w 170"/>
                <a:gd name="T25" fmla="*/ 211 h 392"/>
                <a:gd name="T26" fmla="*/ 78 w 170"/>
                <a:gd name="T27" fmla="*/ 235 h 392"/>
                <a:gd name="T28" fmla="*/ 84 w 170"/>
                <a:gd name="T29" fmla="*/ 261 h 392"/>
                <a:gd name="T30" fmla="*/ 94 w 170"/>
                <a:gd name="T31" fmla="*/ 272 h 392"/>
                <a:gd name="T32" fmla="*/ 97 w 170"/>
                <a:gd name="T33" fmla="*/ 291 h 392"/>
                <a:gd name="T34" fmla="*/ 77 w 170"/>
                <a:gd name="T35" fmla="*/ 291 h 392"/>
                <a:gd name="T36" fmla="*/ 86 w 170"/>
                <a:gd name="T37" fmla="*/ 297 h 392"/>
                <a:gd name="T38" fmla="*/ 97 w 170"/>
                <a:gd name="T39" fmla="*/ 297 h 392"/>
                <a:gd name="T40" fmla="*/ 89 w 170"/>
                <a:gd name="T41" fmla="*/ 307 h 392"/>
                <a:gd name="T42" fmla="*/ 77 w 170"/>
                <a:gd name="T43" fmla="*/ 313 h 392"/>
                <a:gd name="T44" fmla="*/ 74 w 170"/>
                <a:gd name="T45" fmla="*/ 315 h 392"/>
                <a:gd name="T46" fmla="*/ 74 w 170"/>
                <a:gd name="T47" fmla="*/ 321 h 392"/>
                <a:gd name="T48" fmla="*/ 71 w 170"/>
                <a:gd name="T49" fmla="*/ 332 h 392"/>
                <a:gd name="T50" fmla="*/ 62 w 170"/>
                <a:gd name="T51" fmla="*/ 374 h 392"/>
                <a:gd name="T52" fmla="*/ 20 w 170"/>
                <a:gd name="T53" fmla="*/ 392 h 392"/>
                <a:gd name="T54" fmla="*/ 16 w 170"/>
                <a:gd name="T55" fmla="*/ 374 h 392"/>
                <a:gd name="T56" fmla="*/ 20 w 170"/>
                <a:gd name="T57" fmla="*/ 371 h 392"/>
                <a:gd name="T58" fmla="*/ 22 w 170"/>
                <a:gd name="T59" fmla="*/ 364 h 392"/>
                <a:gd name="T60" fmla="*/ 7 w 170"/>
                <a:gd name="T61" fmla="*/ 335 h 392"/>
                <a:gd name="T62" fmla="*/ 3 w 170"/>
                <a:gd name="T63" fmla="*/ 327 h 392"/>
                <a:gd name="T64" fmla="*/ 0 w 170"/>
                <a:gd name="T65" fmla="*/ 318 h 392"/>
                <a:gd name="T66" fmla="*/ 1 w 170"/>
                <a:gd name="T67" fmla="*/ 303 h 392"/>
                <a:gd name="T68" fmla="*/ 7 w 170"/>
                <a:gd name="T69" fmla="*/ 297 h 392"/>
                <a:gd name="T70" fmla="*/ 16 w 170"/>
                <a:gd name="T71" fmla="*/ 276 h 392"/>
                <a:gd name="T72" fmla="*/ 20 w 170"/>
                <a:gd name="T73" fmla="*/ 244 h 392"/>
                <a:gd name="T74" fmla="*/ 16 w 170"/>
                <a:gd name="T75" fmla="*/ 195 h 392"/>
                <a:gd name="T76" fmla="*/ 25 w 170"/>
                <a:gd name="T77" fmla="*/ 168 h 392"/>
                <a:gd name="T78" fmla="*/ 34 w 170"/>
                <a:gd name="T79" fmla="*/ 149 h 392"/>
                <a:gd name="T80" fmla="*/ 46 w 170"/>
                <a:gd name="T81" fmla="*/ 104 h 392"/>
                <a:gd name="T82" fmla="*/ 56 w 170"/>
                <a:gd name="T83" fmla="*/ 88 h 392"/>
                <a:gd name="T84" fmla="*/ 72 w 170"/>
                <a:gd name="T85" fmla="*/ 43 h 392"/>
                <a:gd name="T86" fmla="*/ 93 w 170"/>
                <a:gd name="T87" fmla="*/ 21 h 392"/>
                <a:gd name="T88" fmla="*/ 102 w 170"/>
                <a:gd name="T89" fmla="*/ 21 h 392"/>
                <a:gd name="T90" fmla="*/ 118 w 170"/>
                <a:gd name="T91" fmla="*/ 23 h 392"/>
                <a:gd name="T92" fmla="*/ 118 w 170"/>
                <a:gd name="T93" fmla="*/ 8 h 392"/>
                <a:gd name="T94" fmla="*/ 121 w 170"/>
                <a:gd name="T95"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392">
                  <a:moveTo>
                    <a:pt x="77" y="269"/>
                  </a:moveTo>
                  <a:lnTo>
                    <a:pt x="69" y="273"/>
                  </a:lnTo>
                  <a:lnTo>
                    <a:pt x="74" y="273"/>
                  </a:lnTo>
                  <a:lnTo>
                    <a:pt x="77" y="269"/>
                  </a:lnTo>
                  <a:close/>
                  <a:moveTo>
                    <a:pt x="121" y="0"/>
                  </a:moveTo>
                  <a:lnTo>
                    <a:pt x="126" y="0"/>
                  </a:lnTo>
                  <a:lnTo>
                    <a:pt x="155" y="27"/>
                  </a:lnTo>
                  <a:lnTo>
                    <a:pt x="164" y="40"/>
                  </a:lnTo>
                  <a:lnTo>
                    <a:pt x="163" y="69"/>
                  </a:lnTo>
                  <a:lnTo>
                    <a:pt x="169" y="82"/>
                  </a:lnTo>
                  <a:lnTo>
                    <a:pt x="166" y="95"/>
                  </a:lnTo>
                  <a:lnTo>
                    <a:pt x="170" y="109"/>
                  </a:lnTo>
                  <a:lnTo>
                    <a:pt x="169" y="113"/>
                  </a:lnTo>
                  <a:lnTo>
                    <a:pt x="169" y="115"/>
                  </a:lnTo>
                  <a:lnTo>
                    <a:pt x="167" y="115"/>
                  </a:lnTo>
                  <a:lnTo>
                    <a:pt x="164" y="113"/>
                  </a:lnTo>
                  <a:lnTo>
                    <a:pt x="161" y="113"/>
                  </a:lnTo>
                  <a:lnTo>
                    <a:pt x="157" y="112"/>
                  </a:lnTo>
                  <a:lnTo>
                    <a:pt x="154" y="112"/>
                  </a:lnTo>
                  <a:lnTo>
                    <a:pt x="151" y="110"/>
                  </a:lnTo>
                  <a:lnTo>
                    <a:pt x="149" y="110"/>
                  </a:lnTo>
                  <a:lnTo>
                    <a:pt x="146" y="119"/>
                  </a:lnTo>
                  <a:lnTo>
                    <a:pt x="145" y="119"/>
                  </a:lnTo>
                  <a:lnTo>
                    <a:pt x="142" y="117"/>
                  </a:lnTo>
                  <a:lnTo>
                    <a:pt x="143" y="120"/>
                  </a:lnTo>
                  <a:lnTo>
                    <a:pt x="136" y="126"/>
                  </a:lnTo>
                  <a:lnTo>
                    <a:pt x="137" y="134"/>
                  </a:lnTo>
                  <a:lnTo>
                    <a:pt x="131" y="143"/>
                  </a:lnTo>
                  <a:lnTo>
                    <a:pt x="137" y="156"/>
                  </a:lnTo>
                  <a:lnTo>
                    <a:pt x="123" y="175"/>
                  </a:lnTo>
                  <a:lnTo>
                    <a:pt x="100" y="189"/>
                  </a:lnTo>
                  <a:lnTo>
                    <a:pt x="94" y="198"/>
                  </a:lnTo>
                  <a:lnTo>
                    <a:pt x="90" y="203"/>
                  </a:lnTo>
                  <a:lnTo>
                    <a:pt x="89" y="203"/>
                  </a:lnTo>
                  <a:lnTo>
                    <a:pt x="87" y="202"/>
                  </a:lnTo>
                  <a:lnTo>
                    <a:pt x="87" y="208"/>
                  </a:lnTo>
                  <a:lnTo>
                    <a:pt x="86" y="212"/>
                  </a:lnTo>
                  <a:lnTo>
                    <a:pt x="84" y="212"/>
                  </a:lnTo>
                  <a:lnTo>
                    <a:pt x="81" y="211"/>
                  </a:lnTo>
                  <a:lnTo>
                    <a:pt x="84" y="218"/>
                  </a:lnTo>
                  <a:lnTo>
                    <a:pt x="81" y="235"/>
                  </a:lnTo>
                  <a:lnTo>
                    <a:pt x="78" y="235"/>
                  </a:lnTo>
                  <a:lnTo>
                    <a:pt x="78" y="266"/>
                  </a:lnTo>
                  <a:lnTo>
                    <a:pt x="83" y="261"/>
                  </a:lnTo>
                  <a:lnTo>
                    <a:pt x="84" y="261"/>
                  </a:lnTo>
                  <a:lnTo>
                    <a:pt x="96" y="270"/>
                  </a:lnTo>
                  <a:lnTo>
                    <a:pt x="96" y="272"/>
                  </a:lnTo>
                  <a:lnTo>
                    <a:pt x="94" y="272"/>
                  </a:lnTo>
                  <a:lnTo>
                    <a:pt x="100" y="281"/>
                  </a:lnTo>
                  <a:lnTo>
                    <a:pt x="100" y="282"/>
                  </a:lnTo>
                  <a:lnTo>
                    <a:pt x="97" y="291"/>
                  </a:lnTo>
                  <a:lnTo>
                    <a:pt x="96" y="291"/>
                  </a:lnTo>
                  <a:lnTo>
                    <a:pt x="87" y="295"/>
                  </a:lnTo>
                  <a:lnTo>
                    <a:pt x="77" y="291"/>
                  </a:lnTo>
                  <a:lnTo>
                    <a:pt x="69" y="292"/>
                  </a:lnTo>
                  <a:lnTo>
                    <a:pt x="80" y="297"/>
                  </a:lnTo>
                  <a:lnTo>
                    <a:pt x="86" y="297"/>
                  </a:lnTo>
                  <a:lnTo>
                    <a:pt x="90" y="295"/>
                  </a:lnTo>
                  <a:lnTo>
                    <a:pt x="97" y="295"/>
                  </a:lnTo>
                  <a:lnTo>
                    <a:pt x="97" y="297"/>
                  </a:lnTo>
                  <a:lnTo>
                    <a:pt x="93" y="298"/>
                  </a:lnTo>
                  <a:lnTo>
                    <a:pt x="93" y="301"/>
                  </a:lnTo>
                  <a:lnTo>
                    <a:pt x="89" y="307"/>
                  </a:lnTo>
                  <a:lnTo>
                    <a:pt x="87" y="307"/>
                  </a:lnTo>
                  <a:lnTo>
                    <a:pt x="83" y="304"/>
                  </a:lnTo>
                  <a:lnTo>
                    <a:pt x="77" y="313"/>
                  </a:lnTo>
                  <a:lnTo>
                    <a:pt x="75" y="313"/>
                  </a:lnTo>
                  <a:lnTo>
                    <a:pt x="69" y="315"/>
                  </a:lnTo>
                  <a:lnTo>
                    <a:pt x="74" y="315"/>
                  </a:lnTo>
                  <a:lnTo>
                    <a:pt x="74" y="316"/>
                  </a:lnTo>
                  <a:lnTo>
                    <a:pt x="69" y="318"/>
                  </a:lnTo>
                  <a:lnTo>
                    <a:pt x="74" y="321"/>
                  </a:lnTo>
                  <a:lnTo>
                    <a:pt x="74" y="322"/>
                  </a:lnTo>
                  <a:lnTo>
                    <a:pt x="72" y="331"/>
                  </a:lnTo>
                  <a:lnTo>
                    <a:pt x="71" y="332"/>
                  </a:lnTo>
                  <a:lnTo>
                    <a:pt x="72" y="343"/>
                  </a:lnTo>
                  <a:lnTo>
                    <a:pt x="63" y="374"/>
                  </a:lnTo>
                  <a:lnTo>
                    <a:pt x="62" y="374"/>
                  </a:lnTo>
                  <a:lnTo>
                    <a:pt x="43" y="377"/>
                  </a:lnTo>
                  <a:lnTo>
                    <a:pt x="40" y="392"/>
                  </a:lnTo>
                  <a:lnTo>
                    <a:pt x="20" y="392"/>
                  </a:lnTo>
                  <a:lnTo>
                    <a:pt x="20" y="390"/>
                  </a:lnTo>
                  <a:lnTo>
                    <a:pt x="23" y="386"/>
                  </a:lnTo>
                  <a:lnTo>
                    <a:pt x="16" y="374"/>
                  </a:lnTo>
                  <a:lnTo>
                    <a:pt x="16" y="372"/>
                  </a:lnTo>
                  <a:lnTo>
                    <a:pt x="17" y="372"/>
                  </a:lnTo>
                  <a:lnTo>
                    <a:pt x="20" y="371"/>
                  </a:lnTo>
                  <a:lnTo>
                    <a:pt x="19" y="368"/>
                  </a:lnTo>
                  <a:lnTo>
                    <a:pt x="19" y="367"/>
                  </a:lnTo>
                  <a:lnTo>
                    <a:pt x="22" y="364"/>
                  </a:lnTo>
                  <a:lnTo>
                    <a:pt x="8" y="344"/>
                  </a:lnTo>
                  <a:lnTo>
                    <a:pt x="8" y="335"/>
                  </a:lnTo>
                  <a:lnTo>
                    <a:pt x="7" y="335"/>
                  </a:lnTo>
                  <a:lnTo>
                    <a:pt x="7" y="328"/>
                  </a:lnTo>
                  <a:lnTo>
                    <a:pt x="3" y="328"/>
                  </a:lnTo>
                  <a:lnTo>
                    <a:pt x="3" y="327"/>
                  </a:lnTo>
                  <a:lnTo>
                    <a:pt x="6" y="322"/>
                  </a:lnTo>
                  <a:lnTo>
                    <a:pt x="3" y="324"/>
                  </a:lnTo>
                  <a:lnTo>
                    <a:pt x="0" y="318"/>
                  </a:lnTo>
                  <a:lnTo>
                    <a:pt x="0" y="301"/>
                  </a:lnTo>
                  <a:lnTo>
                    <a:pt x="1" y="301"/>
                  </a:lnTo>
                  <a:lnTo>
                    <a:pt x="1" y="303"/>
                  </a:lnTo>
                  <a:lnTo>
                    <a:pt x="3" y="307"/>
                  </a:lnTo>
                  <a:lnTo>
                    <a:pt x="4" y="306"/>
                  </a:lnTo>
                  <a:lnTo>
                    <a:pt x="7" y="297"/>
                  </a:lnTo>
                  <a:lnTo>
                    <a:pt x="6" y="291"/>
                  </a:lnTo>
                  <a:lnTo>
                    <a:pt x="8" y="282"/>
                  </a:lnTo>
                  <a:lnTo>
                    <a:pt x="16" y="276"/>
                  </a:lnTo>
                  <a:lnTo>
                    <a:pt x="17" y="264"/>
                  </a:lnTo>
                  <a:lnTo>
                    <a:pt x="13" y="254"/>
                  </a:lnTo>
                  <a:lnTo>
                    <a:pt x="20" y="244"/>
                  </a:lnTo>
                  <a:lnTo>
                    <a:pt x="13" y="232"/>
                  </a:lnTo>
                  <a:lnTo>
                    <a:pt x="11" y="209"/>
                  </a:lnTo>
                  <a:lnTo>
                    <a:pt x="16" y="195"/>
                  </a:lnTo>
                  <a:lnTo>
                    <a:pt x="11" y="186"/>
                  </a:lnTo>
                  <a:lnTo>
                    <a:pt x="13" y="177"/>
                  </a:lnTo>
                  <a:lnTo>
                    <a:pt x="25" y="168"/>
                  </a:lnTo>
                  <a:lnTo>
                    <a:pt x="40" y="163"/>
                  </a:lnTo>
                  <a:lnTo>
                    <a:pt x="40" y="156"/>
                  </a:lnTo>
                  <a:lnTo>
                    <a:pt x="34" y="149"/>
                  </a:lnTo>
                  <a:lnTo>
                    <a:pt x="34" y="147"/>
                  </a:lnTo>
                  <a:lnTo>
                    <a:pt x="43" y="131"/>
                  </a:lnTo>
                  <a:lnTo>
                    <a:pt x="46" y="104"/>
                  </a:lnTo>
                  <a:lnTo>
                    <a:pt x="46" y="103"/>
                  </a:lnTo>
                  <a:lnTo>
                    <a:pt x="53" y="100"/>
                  </a:lnTo>
                  <a:lnTo>
                    <a:pt x="56" y="88"/>
                  </a:lnTo>
                  <a:lnTo>
                    <a:pt x="68" y="72"/>
                  </a:lnTo>
                  <a:lnTo>
                    <a:pt x="65" y="61"/>
                  </a:lnTo>
                  <a:lnTo>
                    <a:pt x="72" y="43"/>
                  </a:lnTo>
                  <a:lnTo>
                    <a:pt x="83" y="36"/>
                  </a:lnTo>
                  <a:lnTo>
                    <a:pt x="89" y="39"/>
                  </a:lnTo>
                  <a:lnTo>
                    <a:pt x="93" y="21"/>
                  </a:lnTo>
                  <a:lnTo>
                    <a:pt x="93" y="20"/>
                  </a:lnTo>
                  <a:lnTo>
                    <a:pt x="97" y="20"/>
                  </a:lnTo>
                  <a:lnTo>
                    <a:pt x="102" y="21"/>
                  </a:lnTo>
                  <a:lnTo>
                    <a:pt x="109" y="21"/>
                  </a:lnTo>
                  <a:lnTo>
                    <a:pt x="114" y="23"/>
                  </a:lnTo>
                  <a:lnTo>
                    <a:pt x="118" y="23"/>
                  </a:lnTo>
                  <a:lnTo>
                    <a:pt x="115" y="18"/>
                  </a:lnTo>
                  <a:lnTo>
                    <a:pt x="115" y="17"/>
                  </a:lnTo>
                  <a:lnTo>
                    <a:pt x="118" y="8"/>
                  </a:lnTo>
                  <a:lnTo>
                    <a:pt x="117" y="2"/>
                  </a:lnTo>
                  <a:lnTo>
                    <a:pt x="120" y="2"/>
                  </a:lnTo>
                  <a:lnTo>
                    <a:pt x="1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7" name="Sweden Offshore">
              <a:extLst>
                <a:ext uri="{FF2B5EF4-FFF2-40B4-BE49-F238E27FC236}">
                  <a16:creationId xmlns:a16="http://schemas.microsoft.com/office/drawing/2014/main" id="{B4995C79-4C1C-45BB-2ADE-195973657ABF}"/>
                </a:ext>
              </a:extLst>
            </p:cNvPr>
            <p:cNvSpPr>
              <a:spLocks/>
            </p:cNvSpPr>
            <p:nvPr/>
          </p:nvSpPr>
          <p:spPr bwMode="auto">
            <a:xfrm>
              <a:off x="6170992" y="2794801"/>
              <a:ext cx="128301" cy="238534"/>
            </a:xfrm>
            <a:custGeom>
              <a:avLst/>
              <a:gdLst/>
              <a:ahLst/>
              <a:cxnLst/>
              <a:rect l="l" t="t" r="r" b="b"/>
              <a:pathLst>
                <a:path w="129324" h="240435">
                  <a:moveTo>
                    <a:pt x="0" y="225863"/>
                  </a:moveTo>
                  <a:lnTo>
                    <a:pt x="1822" y="225863"/>
                  </a:lnTo>
                  <a:lnTo>
                    <a:pt x="9108" y="236792"/>
                  </a:lnTo>
                  <a:lnTo>
                    <a:pt x="12751" y="240435"/>
                  </a:lnTo>
                  <a:lnTo>
                    <a:pt x="9108" y="240435"/>
                  </a:lnTo>
                  <a:lnTo>
                    <a:pt x="0" y="236792"/>
                  </a:lnTo>
                  <a:close/>
                  <a:moveTo>
                    <a:pt x="51003" y="151182"/>
                  </a:moveTo>
                  <a:lnTo>
                    <a:pt x="52824" y="153003"/>
                  </a:lnTo>
                  <a:lnTo>
                    <a:pt x="40073" y="185789"/>
                  </a:lnTo>
                  <a:lnTo>
                    <a:pt x="40073" y="187611"/>
                  </a:lnTo>
                  <a:lnTo>
                    <a:pt x="36430" y="185789"/>
                  </a:lnTo>
                  <a:lnTo>
                    <a:pt x="40073" y="169396"/>
                  </a:lnTo>
                  <a:lnTo>
                    <a:pt x="51003" y="153003"/>
                  </a:lnTo>
                  <a:close/>
                  <a:moveTo>
                    <a:pt x="92896" y="112932"/>
                  </a:moveTo>
                  <a:lnTo>
                    <a:pt x="102004" y="112932"/>
                  </a:lnTo>
                  <a:lnTo>
                    <a:pt x="103825" y="114753"/>
                  </a:lnTo>
                  <a:lnTo>
                    <a:pt x="98361" y="123861"/>
                  </a:lnTo>
                  <a:lnTo>
                    <a:pt x="102004" y="136611"/>
                  </a:lnTo>
                  <a:lnTo>
                    <a:pt x="81967" y="156647"/>
                  </a:lnTo>
                  <a:lnTo>
                    <a:pt x="80145" y="156647"/>
                  </a:lnTo>
                  <a:lnTo>
                    <a:pt x="81967" y="129325"/>
                  </a:lnTo>
                  <a:close/>
                  <a:moveTo>
                    <a:pt x="120217" y="0"/>
                  </a:moveTo>
                  <a:lnTo>
                    <a:pt x="129324" y="0"/>
                  </a:lnTo>
                  <a:lnTo>
                    <a:pt x="129324" y="18215"/>
                  </a:lnTo>
                  <a:lnTo>
                    <a:pt x="120217" y="12750"/>
                  </a:lnTo>
                  <a:lnTo>
                    <a:pt x="118395" y="1275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8" name="Estonia">
              <a:extLst>
                <a:ext uri="{FF2B5EF4-FFF2-40B4-BE49-F238E27FC236}">
                  <a16:creationId xmlns:a16="http://schemas.microsoft.com/office/drawing/2014/main" id="{5D1AB43F-716A-F239-500D-5D7EABB00500}"/>
                </a:ext>
              </a:extLst>
            </p:cNvPr>
            <p:cNvSpPr>
              <a:spLocks/>
            </p:cNvSpPr>
            <p:nvPr/>
          </p:nvSpPr>
          <p:spPr bwMode="auto">
            <a:xfrm>
              <a:off x="6340856" y="2823714"/>
              <a:ext cx="155409" cy="101195"/>
            </a:xfrm>
            <a:custGeom>
              <a:avLst/>
              <a:gdLst/>
              <a:ahLst/>
              <a:cxnLst/>
              <a:rect l="l" t="t" r="r" b="b"/>
              <a:pathLst>
                <a:path w="156648" h="102002">
                  <a:moveTo>
                    <a:pt x="27322" y="54644"/>
                  </a:moveTo>
                  <a:lnTo>
                    <a:pt x="32786" y="61930"/>
                  </a:lnTo>
                  <a:lnTo>
                    <a:pt x="10929" y="67394"/>
                  </a:lnTo>
                  <a:lnTo>
                    <a:pt x="5465" y="83787"/>
                  </a:lnTo>
                  <a:lnTo>
                    <a:pt x="5465" y="72859"/>
                  </a:lnTo>
                  <a:lnTo>
                    <a:pt x="0" y="67394"/>
                  </a:lnTo>
                  <a:lnTo>
                    <a:pt x="0" y="60108"/>
                  </a:lnTo>
                  <a:close/>
                  <a:moveTo>
                    <a:pt x="20037" y="34608"/>
                  </a:moveTo>
                  <a:lnTo>
                    <a:pt x="21858" y="34608"/>
                  </a:lnTo>
                  <a:lnTo>
                    <a:pt x="25501" y="43716"/>
                  </a:lnTo>
                  <a:lnTo>
                    <a:pt x="14572" y="51002"/>
                  </a:lnTo>
                  <a:lnTo>
                    <a:pt x="10929" y="51002"/>
                  </a:lnTo>
                  <a:lnTo>
                    <a:pt x="3643" y="40073"/>
                  </a:lnTo>
                  <a:close/>
                  <a:moveTo>
                    <a:pt x="145719" y="0"/>
                  </a:moveTo>
                  <a:lnTo>
                    <a:pt x="149362" y="0"/>
                  </a:lnTo>
                  <a:lnTo>
                    <a:pt x="154827" y="5464"/>
                  </a:lnTo>
                  <a:lnTo>
                    <a:pt x="156648" y="18215"/>
                  </a:lnTo>
                  <a:lnTo>
                    <a:pt x="145719" y="34608"/>
                  </a:lnTo>
                  <a:lnTo>
                    <a:pt x="127505" y="40072"/>
                  </a:lnTo>
                  <a:lnTo>
                    <a:pt x="132969" y="65573"/>
                  </a:lnTo>
                  <a:lnTo>
                    <a:pt x="136612" y="65573"/>
                  </a:lnTo>
                  <a:lnTo>
                    <a:pt x="138434" y="76502"/>
                  </a:lnTo>
                  <a:lnTo>
                    <a:pt x="143898" y="80145"/>
                  </a:lnTo>
                  <a:lnTo>
                    <a:pt x="145719" y="85609"/>
                  </a:lnTo>
                  <a:lnTo>
                    <a:pt x="145719" y="89252"/>
                  </a:lnTo>
                  <a:lnTo>
                    <a:pt x="138434" y="96538"/>
                  </a:lnTo>
                  <a:lnTo>
                    <a:pt x="138434" y="102002"/>
                  </a:lnTo>
                  <a:lnTo>
                    <a:pt x="136612" y="102002"/>
                  </a:lnTo>
                  <a:lnTo>
                    <a:pt x="127505" y="100181"/>
                  </a:lnTo>
                  <a:lnTo>
                    <a:pt x="122040" y="100181"/>
                  </a:lnTo>
                  <a:lnTo>
                    <a:pt x="120219" y="102002"/>
                  </a:lnTo>
                  <a:lnTo>
                    <a:pt x="114754" y="102002"/>
                  </a:lnTo>
                  <a:lnTo>
                    <a:pt x="103826" y="89252"/>
                  </a:lnTo>
                  <a:lnTo>
                    <a:pt x="83789" y="80145"/>
                  </a:lnTo>
                  <a:lnTo>
                    <a:pt x="60110" y="89252"/>
                  </a:lnTo>
                  <a:lnTo>
                    <a:pt x="61932" y="67394"/>
                  </a:lnTo>
                  <a:lnTo>
                    <a:pt x="43717" y="67394"/>
                  </a:lnTo>
                  <a:lnTo>
                    <a:pt x="38253" y="54644"/>
                  </a:lnTo>
                  <a:lnTo>
                    <a:pt x="38253" y="51001"/>
                  </a:lnTo>
                  <a:lnTo>
                    <a:pt x="43717" y="49180"/>
                  </a:lnTo>
                  <a:lnTo>
                    <a:pt x="36431" y="45537"/>
                  </a:lnTo>
                  <a:lnTo>
                    <a:pt x="36431" y="43715"/>
                  </a:lnTo>
                  <a:lnTo>
                    <a:pt x="38253" y="27322"/>
                  </a:lnTo>
                  <a:lnTo>
                    <a:pt x="89254" y="5464"/>
                  </a:lnTo>
                  <a:lnTo>
                    <a:pt x="140255" y="16393"/>
                  </a:lnTo>
                  <a:lnTo>
                    <a:pt x="143898" y="1275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9" name="Greece">
              <a:extLst>
                <a:ext uri="{FF2B5EF4-FFF2-40B4-BE49-F238E27FC236}">
                  <a16:creationId xmlns:a16="http://schemas.microsoft.com/office/drawing/2014/main" id="{7BDC4B23-477A-A71C-5383-0F4F42781C23}"/>
                </a:ext>
              </a:extLst>
            </p:cNvPr>
            <p:cNvSpPr>
              <a:spLocks/>
            </p:cNvSpPr>
            <p:nvPr/>
          </p:nvSpPr>
          <p:spPr bwMode="auto">
            <a:xfrm>
              <a:off x="6290258" y="3504977"/>
              <a:ext cx="206006" cy="207813"/>
            </a:xfrm>
            <a:custGeom>
              <a:avLst/>
              <a:gdLst/>
              <a:ahLst/>
              <a:cxnLst/>
              <a:rect l="l" t="t" r="r" b="b"/>
              <a:pathLst>
                <a:path w="207648" h="209470">
                  <a:moveTo>
                    <a:pt x="98359" y="185790"/>
                  </a:moveTo>
                  <a:lnTo>
                    <a:pt x="109288" y="185790"/>
                  </a:lnTo>
                  <a:lnTo>
                    <a:pt x="109288" y="187612"/>
                  </a:lnTo>
                  <a:lnTo>
                    <a:pt x="112931" y="193076"/>
                  </a:lnTo>
                  <a:lnTo>
                    <a:pt x="129324" y="193076"/>
                  </a:lnTo>
                  <a:lnTo>
                    <a:pt x="151182" y="198541"/>
                  </a:lnTo>
                  <a:lnTo>
                    <a:pt x="156646" y="196719"/>
                  </a:lnTo>
                  <a:lnTo>
                    <a:pt x="160289" y="196719"/>
                  </a:lnTo>
                  <a:lnTo>
                    <a:pt x="160289" y="198541"/>
                  </a:lnTo>
                  <a:lnTo>
                    <a:pt x="156646" y="207649"/>
                  </a:lnTo>
                  <a:lnTo>
                    <a:pt x="140253" y="207649"/>
                  </a:lnTo>
                  <a:lnTo>
                    <a:pt x="134788" y="209470"/>
                  </a:lnTo>
                  <a:lnTo>
                    <a:pt x="122038" y="209470"/>
                  </a:lnTo>
                  <a:lnTo>
                    <a:pt x="112931" y="202184"/>
                  </a:lnTo>
                  <a:lnTo>
                    <a:pt x="92894" y="202184"/>
                  </a:lnTo>
                  <a:lnTo>
                    <a:pt x="92894" y="198541"/>
                  </a:lnTo>
                  <a:lnTo>
                    <a:pt x="98359" y="187612"/>
                  </a:lnTo>
                  <a:close/>
                  <a:moveTo>
                    <a:pt x="205827" y="162111"/>
                  </a:moveTo>
                  <a:lnTo>
                    <a:pt x="207648" y="162111"/>
                  </a:lnTo>
                  <a:lnTo>
                    <a:pt x="207648" y="163933"/>
                  </a:lnTo>
                  <a:lnTo>
                    <a:pt x="202184" y="174862"/>
                  </a:lnTo>
                  <a:lnTo>
                    <a:pt x="194897" y="180326"/>
                  </a:lnTo>
                  <a:lnTo>
                    <a:pt x="191254" y="180326"/>
                  </a:lnTo>
                  <a:lnTo>
                    <a:pt x="191254" y="169397"/>
                  </a:lnTo>
                  <a:close/>
                  <a:moveTo>
                    <a:pt x="122038" y="114753"/>
                  </a:moveTo>
                  <a:lnTo>
                    <a:pt x="123860" y="114753"/>
                  </a:lnTo>
                  <a:lnTo>
                    <a:pt x="129324" y="118396"/>
                  </a:lnTo>
                  <a:lnTo>
                    <a:pt x="129324" y="129325"/>
                  </a:lnTo>
                  <a:lnTo>
                    <a:pt x="127503" y="129325"/>
                  </a:lnTo>
                  <a:lnTo>
                    <a:pt x="122038" y="118396"/>
                  </a:lnTo>
                  <a:close/>
                  <a:moveTo>
                    <a:pt x="25500" y="102002"/>
                  </a:moveTo>
                  <a:lnTo>
                    <a:pt x="25500" y="103823"/>
                  </a:lnTo>
                  <a:lnTo>
                    <a:pt x="27322" y="114753"/>
                  </a:lnTo>
                  <a:lnTo>
                    <a:pt x="25500" y="114753"/>
                  </a:lnTo>
                  <a:lnTo>
                    <a:pt x="16393" y="109288"/>
                  </a:lnTo>
                  <a:lnTo>
                    <a:pt x="16393" y="107467"/>
                  </a:lnTo>
                  <a:lnTo>
                    <a:pt x="21857" y="103823"/>
                  </a:lnTo>
                  <a:close/>
                  <a:moveTo>
                    <a:pt x="145718" y="96538"/>
                  </a:moveTo>
                  <a:lnTo>
                    <a:pt x="149361" y="96538"/>
                  </a:lnTo>
                  <a:lnTo>
                    <a:pt x="156647" y="98359"/>
                  </a:lnTo>
                  <a:lnTo>
                    <a:pt x="156647" y="102003"/>
                  </a:lnTo>
                  <a:lnTo>
                    <a:pt x="151183" y="109289"/>
                  </a:lnTo>
                  <a:lnTo>
                    <a:pt x="149361" y="109289"/>
                  </a:lnTo>
                  <a:close/>
                  <a:moveTo>
                    <a:pt x="89252" y="83787"/>
                  </a:moveTo>
                  <a:lnTo>
                    <a:pt x="92895" y="83787"/>
                  </a:lnTo>
                  <a:lnTo>
                    <a:pt x="111109" y="96537"/>
                  </a:lnTo>
                  <a:lnTo>
                    <a:pt x="118395" y="112931"/>
                  </a:lnTo>
                  <a:lnTo>
                    <a:pt x="118395" y="118395"/>
                  </a:lnTo>
                  <a:lnTo>
                    <a:pt x="112931" y="118395"/>
                  </a:lnTo>
                  <a:lnTo>
                    <a:pt x="109288" y="109288"/>
                  </a:lnTo>
                  <a:lnTo>
                    <a:pt x="81966" y="91073"/>
                  </a:lnTo>
                  <a:close/>
                  <a:moveTo>
                    <a:pt x="160291" y="74681"/>
                  </a:moveTo>
                  <a:lnTo>
                    <a:pt x="165755" y="83788"/>
                  </a:lnTo>
                  <a:lnTo>
                    <a:pt x="165755" y="85610"/>
                  </a:lnTo>
                  <a:lnTo>
                    <a:pt x="149361" y="83788"/>
                  </a:lnTo>
                  <a:lnTo>
                    <a:pt x="145718" y="83788"/>
                  </a:lnTo>
                  <a:lnTo>
                    <a:pt x="145718" y="80145"/>
                  </a:lnTo>
                  <a:close/>
                  <a:moveTo>
                    <a:pt x="0" y="63752"/>
                  </a:moveTo>
                  <a:lnTo>
                    <a:pt x="5464" y="63752"/>
                  </a:lnTo>
                  <a:lnTo>
                    <a:pt x="10929" y="74681"/>
                  </a:lnTo>
                  <a:lnTo>
                    <a:pt x="9107" y="74681"/>
                  </a:lnTo>
                  <a:lnTo>
                    <a:pt x="0" y="67395"/>
                  </a:lnTo>
                  <a:close/>
                  <a:moveTo>
                    <a:pt x="127503" y="56466"/>
                  </a:moveTo>
                  <a:lnTo>
                    <a:pt x="138432" y="56466"/>
                  </a:lnTo>
                  <a:lnTo>
                    <a:pt x="138432" y="58288"/>
                  </a:lnTo>
                  <a:lnTo>
                    <a:pt x="134789" y="58288"/>
                  </a:lnTo>
                  <a:lnTo>
                    <a:pt x="127503" y="61931"/>
                  </a:lnTo>
                  <a:close/>
                  <a:moveTo>
                    <a:pt x="122039" y="29143"/>
                  </a:moveTo>
                  <a:lnTo>
                    <a:pt x="122039" y="36429"/>
                  </a:lnTo>
                  <a:lnTo>
                    <a:pt x="118396" y="36429"/>
                  </a:lnTo>
                  <a:lnTo>
                    <a:pt x="112931" y="34607"/>
                  </a:lnTo>
                  <a:lnTo>
                    <a:pt x="112931" y="30964"/>
                  </a:lnTo>
                  <a:close/>
                  <a:moveTo>
                    <a:pt x="154825" y="0"/>
                  </a:moveTo>
                  <a:lnTo>
                    <a:pt x="160290" y="0"/>
                  </a:lnTo>
                  <a:lnTo>
                    <a:pt x="165754" y="7286"/>
                  </a:lnTo>
                  <a:lnTo>
                    <a:pt x="165754" y="10929"/>
                  </a:lnTo>
                  <a:lnTo>
                    <a:pt x="154825" y="30965"/>
                  </a:lnTo>
                  <a:lnTo>
                    <a:pt x="154825" y="34608"/>
                  </a:lnTo>
                  <a:lnTo>
                    <a:pt x="151182" y="34608"/>
                  </a:lnTo>
                  <a:lnTo>
                    <a:pt x="127503" y="25501"/>
                  </a:lnTo>
                  <a:lnTo>
                    <a:pt x="112932" y="25501"/>
                  </a:lnTo>
                  <a:lnTo>
                    <a:pt x="98360" y="36429"/>
                  </a:lnTo>
                  <a:lnTo>
                    <a:pt x="111110" y="47358"/>
                  </a:lnTo>
                  <a:lnTo>
                    <a:pt x="111110" y="51001"/>
                  </a:lnTo>
                  <a:lnTo>
                    <a:pt x="100181" y="47358"/>
                  </a:lnTo>
                  <a:lnTo>
                    <a:pt x="105646" y="56466"/>
                  </a:lnTo>
                  <a:lnTo>
                    <a:pt x="103824" y="56466"/>
                  </a:lnTo>
                  <a:lnTo>
                    <a:pt x="103824" y="58287"/>
                  </a:lnTo>
                  <a:lnTo>
                    <a:pt x="92895" y="51001"/>
                  </a:lnTo>
                  <a:lnTo>
                    <a:pt x="94717" y="56466"/>
                  </a:lnTo>
                  <a:lnTo>
                    <a:pt x="94717" y="58287"/>
                  </a:lnTo>
                  <a:lnTo>
                    <a:pt x="92895" y="58287"/>
                  </a:lnTo>
                  <a:lnTo>
                    <a:pt x="76502" y="41894"/>
                  </a:lnTo>
                  <a:lnTo>
                    <a:pt x="72859" y="41894"/>
                  </a:lnTo>
                  <a:lnTo>
                    <a:pt x="76502" y="40072"/>
                  </a:lnTo>
                  <a:lnTo>
                    <a:pt x="72859" y="40072"/>
                  </a:lnTo>
                  <a:lnTo>
                    <a:pt x="72859" y="41894"/>
                  </a:lnTo>
                  <a:lnTo>
                    <a:pt x="72859" y="56466"/>
                  </a:lnTo>
                  <a:lnTo>
                    <a:pt x="87431" y="78323"/>
                  </a:lnTo>
                  <a:lnTo>
                    <a:pt x="87431" y="80145"/>
                  </a:lnTo>
                  <a:lnTo>
                    <a:pt x="83788" y="80145"/>
                  </a:lnTo>
                  <a:lnTo>
                    <a:pt x="78324" y="78323"/>
                  </a:lnTo>
                  <a:lnTo>
                    <a:pt x="81967" y="85609"/>
                  </a:lnTo>
                  <a:lnTo>
                    <a:pt x="81967" y="89252"/>
                  </a:lnTo>
                  <a:lnTo>
                    <a:pt x="72859" y="89252"/>
                  </a:lnTo>
                  <a:lnTo>
                    <a:pt x="103824" y="109289"/>
                  </a:lnTo>
                  <a:lnTo>
                    <a:pt x="105646" y="109289"/>
                  </a:lnTo>
                  <a:lnTo>
                    <a:pt x="105646" y="129325"/>
                  </a:lnTo>
                  <a:lnTo>
                    <a:pt x="94717" y="118396"/>
                  </a:lnTo>
                  <a:lnTo>
                    <a:pt x="83788" y="115968"/>
                  </a:lnTo>
                  <a:lnTo>
                    <a:pt x="83788" y="118396"/>
                  </a:lnTo>
                  <a:lnTo>
                    <a:pt x="92895" y="131146"/>
                  </a:lnTo>
                  <a:lnTo>
                    <a:pt x="92895" y="134789"/>
                  </a:lnTo>
                  <a:lnTo>
                    <a:pt x="83788" y="140254"/>
                  </a:lnTo>
                  <a:lnTo>
                    <a:pt x="81966" y="140254"/>
                  </a:lnTo>
                  <a:lnTo>
                    <a:pt x="76502" y="134789"/>
                  </a:lnTo>
                  <a:lnTo>
                    <a:pt x="83788" y="163933"/>
                  </a:lnTo>
                  <a:lnTo>
                    <a:pt x="81966" y="163933"/>
                  </a:lnTo>
                  <a:lnTo>
                    <a:pt x="72859" y="156647"/>
                  </a:lnTo>
                  <a:lnTo>
                    <a:pt x="65573" y="163933"/>
                  </a:lnTo>
                  <a:lnTo>
                    <a:pt x="61930" y="163933"/>
                  </a:lnTo>
                  <a:lnTo>
                    <a:pt x="56466" y="147540"/>
                  </a:lnTo>
                  <a:lnTo>
                    <a:pt x="51001" y="156647"/>
                  </a:lnTo>
                  <a:lnTo>
                    <a:pt x="45537" y="151183"/>
                  </a:lnTo>
                  <a:lnTo>
                    <a:pt x="45537" y="136611"/>
                  </a:lnTo>
                  <a:lnTo>
                    <a:pt x="34608" y="123860"/>
                  </a:lnTo>
                  <a:lnTo>
                    <a:pt x="34608" y="120218"/>
                  </a:lnTo>
                  <a:lnTo>
                    <a:pt x="40073" y="109289"/>
                  </a:lnTo>
                  <a:lnTo>
                    <a:pt x="56466" y="107467"/>
                  </a:lnTo>
                  <a:lnTo>
                    <a:pt x="79149" y="113516"/>
                  </a:lnTo>
                  <a:lnTo>
                    <a:pt x="81967" y="109289"/>
                  </a:lnTo>
                  <a:lnTo>
                    <a:pt x="71038" y="103824"/>
                  </a:lnTo>
                  <a:lnTo>
                    <a:pt x="56466" y="103824"/>
                  </a:lnTo>
                  <a:lnTo>
                    <a:pt x="49180" y="107467"/>
                  </a:lnTo>
                  <a:lnTo>
                    <a:pt x="34608" y="107467"/>
                  </a:lnTo>
                  <a:lnTo>
                    <a:pt x="25501" y="91074"/>
                  </a:lnTo>
                  <a:lnTo>
                    <a:pt x="25501" y="89252"/>
                  </a:lnTo>
                  <a:lnTo>
                    <a:pt x="32786" y="89252"/>
                  </a:lnTo>
                  <a:lnTo>
                    <a:pt x="25501" y="85609"/>
                  </a:lnTo>
                  <a:lnTo>
                    <a:pt x="10929" y="67395"/>
                  </a:lnTo>
                  <a:lnTo>
                    <a:pt x="10929" y="63752"/>
                  </a:lnTo>
                  <a:lnTo>
                    <a:pt x="32786" y="36429"/>
                  </a:lnTo>
                  <a:lnTo>
                    <a:pt x="30965" y="29144"/>
                  </a:lnTo>
                  <a:lnTo>
                    <a:pt x="30965" y="25501"/>
                  </a:lnTo>
                  <a:lnTo>
                    <a:pt x="32786" y="25501"/>
                  </a:lnTo>
                  <a:lnTo>
                    <a:pt x="78324" y="12750"/>
                  </a:lnTo>
                  <a:lnTo>
                    <a:pt x="112932" y="5464"/>
                  </a:lnTo>
                  <a:lnTo>
                    <a:pt x="140254" y="14572"/>
                  </a:lnTo>
                  <a:lnTo>
                    <a:pt x="145718" y="12750"/>
                  </a:lnTo>
                  <a:lnTo>
                    <a:pt x="154825" y="7286"/>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0" name="Ibiza">
              <a:extLst>
                <a:ext uri="{FF2B5EF4-FFF2-40B4-BE49-F238E27FC236}">
                  <a16:creationId xmlns:a16="http://schemas.microsoft.com/office/drawing/2014/main" id="{F9CE4181-C627-44F3-7EF5-3C747FF38593}"/>
                </a:ext>
              </a:extLst>
            </p:cNvPr>
            <p:cNvSpPr>
              <a:spLocks/>
            </p:cNvSpPr>
            <p:nvPr/>
          </p:nvSpPr>
          <p:spPr bwMode="auto">
            <a:xfrm>
              <a:off x="5860179" y="3588101"/>
              <a:ext cx="7228" cy="7228"/>
            </a:xfrm>
            <a:custGeom>
              <a:avLst/>
              <a:gdLst>
                <a:gd name="T0" fmla="*/ 3 w 4"/>
                <a:gd name="T1" fmla="*/ 0 h 4"/>
                <a:gd name="T2" fmla="*/ 4 w 4"/>
                <a:gd name="T3" fmla="*/ 0 h 4"/>
                <a:gd name="T4" fmla="*/ 4 w 4"/>
                <a:gd name="T5" fmla="*/ 1 h 4"/>
                <a:gd name="T6" fmla="*/ 3 w 4"/>
                <a:gd name="T7" fmla="*/ 4 h 4"/>
                <a:gd name="T8" fmla="*/ 0 w 4"/>
                <a:gd name="T9" fmla="*/ 4 h 4"/>
                <a:gd name="T10" fmla="*/ 0 w 4"/>
                <a:gd name="T11" fmla="*/ 3 h 4"/>
                <a:gd name="T12" fmla="*/ 3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3" y="0"/>
                  </a:moveTo>
                  <a:lnTo>
                    <a:pt x="4" y="0"/>
                  </a:lnTo>
                  <a:lnTo>
                    <a:pt x="4" y="1"/>
                  </a:lnTo>
                  <a:lnTo>
                    <a:pt x="3" y="4"/>
                  </a:lnTo>
                  <a:lnTo>
                    <a:pt x="0" y="4"/>
                  </a:lnTo>
                  <a:lnTo>
                    <a:pt x="0" y="3"/>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1" name="Menorca">
              <a:extLst>
                <a:ext uri="{FF2B5EF4-FFF2-40B4-BE49-F238E27FC236}">
                  <a16:creationId xmlns:a16="http://schemas.microsoft.com/office/drawing/2014/main" id="{B4F891BC-8E97-EFBA-7AE0-5856222A6CDF}"/>
                </a:ext>
              </a:extLst>
            </p:cNvPr>
            <p:cNvSpPr>
              <a:spLocks/>
            </p:cNvSpPr>
            <p:nvPr/>
          </p:nvSpPr>
          <p:spPr bwMode="auto">
            <a:xfrm>
              <a:off x="5918005" y="3557382"/>
              <a:ext cx="14457" cy="9036"/>
            </a:xfrm>
            <a:custGeom>
              <a:avLst/>
              <a:gdLst>
                <a:gd name="T0" fmla="*/ 0 w 8"/>
                <a:gd name="T1" fmla="*/ 0 h 5"/>
                <a:gd name="T2" fmla="*/ 6 w 8"/>
                <a:gd name="T3" fmla="*/ 0 h 5"/>
                <a:gd name="T4" fmla="*/ 8 w 8"/>
                <a:gd name="T5" fmla="*/ 3 h 5"/>
                <a:gd name="T6" fmla="*/ 8 w 8"/>
                <a:gd name="T7" fmla="*/ 5 h 5"/>
                <a:gd name="T8" fmla="*/ 6 w 8"/>
                <a:gd name="T9" fmla="*/ 5 h 5"/>
                <a:gd name="T10" fmla="*/ 2 w 8"/>
                <a:gd name="T11" fmla="*/ 2 h 5"/>
                <a:gd name="T12" fmla="*/ 0 w 8"/>
                <a:gd name="T13" fmla="*/ 2 h 5"/>
                <a:gd name="T14" fmla="*/ 0 w 8"/>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0" y="0"/>
                  </a:moveTo>
                  <a:lnTo>
                    <a:pt x="6" y="0"/>
                  </a:lnTo>
                  <a:lnTo>
                    <a:pt x="8" y="3"/>
                  </a:lnTo>
                  <a:lnTo>
                    <a:pt x="8" y="5"/>
                  </a:lnTo>
                  <a:lnTo>
                    <a:pt x="6" y="5"/>
                  </a:lnTo>
                  <a:lnTo>
                    <a:pt x="2" y="2"/>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2" name="Island">
              <a:extLst>
                <a:ext uri="{FF2B5EF4-FFF2-40B4-BE49-F238E27FC236}">
                  <a16:creationId xmlns:a16="http://schemas.microsoft.com/office/drawing/2014/main" id="{8BD28F7C-61B7-A0B4-E43F-C2CB224F06E7}"/>
                </a:ext>
              </a:extLst>
            </p:cNvPr>
            <p:cNvSpPr>
              <a:spLocks/>
            </p:cNvSpPr>
            <p:nvPr/>
          </p:nvSpPr>
          <p:spPr bwMode="auto">
            <a:xfrm>
              <a:off x="5182530" y="3595329"/>
              <a:ext cx="7228" cy="7228"/>
            </a:xfrm>
            <a:custGeom>
              <a:avLst/>
              <a:gdLst>
                <a:gd name="T0" fmla="*/ 4 w 4"/>
                <a:gd name="T1" fmla="*/ 0 h 4"/>
                <a:gd name="T2" fmla="*/ 4 w 4"/>
                <a:gd name="T3" fmla="*/ 4 h 4"/>
                <a:gd name="T4" fmla="*/ 3 w 4"/>
                <a:gd name="T5" fmla="*/ 4 h 4"/>
                <a:gd name="T6" fmla="*/ 0 w 4"/>
                <a:gd name="T7" fmla="*/ 3 h 4"/>
                <a:gd name="T8" fmla="*/ 0 w 4"/>
                <a:gd name="T9" fmla="*/ 1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4"/>
                  </a:lnTo>
                  <a:lnTo>
                    <a:pt x="3" y="4"/>
                  </a:lnTo>
                  <a:lnTo>
                    <a:pt x="0" y="3"/>
                  </a:lnTo>
                  <a:lnTo>
                    <a:pt x="0" y="1"/>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3" name="Sao Miguel">
              <a:extLst>
                <a:ext uri="{FF2B5EF4-FFF2-40B4-BE49-F238E27FC236}">
                  <a16:creationId xmlns:a16="http://schemas.microsoft.com/office/drawing/2014/main" id="{9D770E5A-4B32-2998-4F24-8CF6D837D21C}"/>
                </a:ext>
              </a:extLst>
            </p:cNvPr>
            <p:cNvSpPr>
              <a:spLocks/>
            </p:cNvSpPr>
            <p:nvPr/>
          </p:nvSpPr>
          <p:spPr bwMode="auto">
            <a:xfrm>
              <a:off x="5218672" y="3624243"/>
              <a:ext cx="19879" cy="9036"/>
            </a:xfrm>
            <a:custGeom>
              <a:avLst/>
              <a:gdLst>
                <a:gd name="T0" fmla="*/ 0 w 11"/>
                <a:gd name="T1" fmla="*/ 0 h 5"/>
                <a:gd name="T2" fmla="*/ 11 w 11"/>
                <a:gd name="T3" fmla="*/ 0 h 5"/>
                <a:gd name="T4" fmla="*/ 11 w 11"/>
                <a:gd name="T5" fmla="*/ 2 h 5"/>
                <a:gd name="T6" fmla="*/ 6 w 11"/>
                <a:gd name="T7" fmla="*/ 3 h 5"/>
                <a:gd name="T8" fmla="*/ 6 w 11"/>
                <a:gd name="T9" fmla="*/ 5 h 5"/>
                <a:gd name="T10" fmla="*/ 5 w 11"/>
                <a:gd name="T11" fmla="*/ 5 h 5"/>
                <a:gd name="T12" fmla="*/ 5 w 11"/>
                <a:gd name="T13" fmla="*/ 3 h 5"/>
                <a:gd name="T14" fmla="*/ 0 w 11"/>
                <a:gd name="T15" fmla="*/ 2 h 5"/>
                <a:gd name="T16" fmla="*/ 0 w 11"/>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0" y="0"/>
                  </a:moveTo>
                  <a:lnTo>
                    <a:pt x="11" y="0"/>
                  </a:lnTo>
                  <a:lnTo>
                    <a:pt x="11" y="2"/>
                  </a:lnTo>
                  <a:lnTo>
                    <a:pt x="6" y="3"/>
                  </a:lnTo>
                  <a:lnTo>
                    <a:pt x="6" y="5"/>
                  </a:lnTo>
                  <a:lnTo>
                    <a:pt x="5" y="5"/>
                  </a:lnTo>
                  <a:lnTo>
                    <a:pt x="5" y="3"/>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4" name="United Kingdom">
              <a:extLst>
                <a:ext uri="{FF2B5EF4-FFF2-40B4-BE49-F238E27FC236}">
                  <a16:creationId xmlns:a16="http://schemas.microsoft.com/office/drawing/2014/main" id="{FC80D9F1-91FE-E75B-FBE7-4C20A863FA95}"/>
                </a:ext>
              </a:extLst>
            </p:cNvPr>
            <p:cNvSpPr>
              <a:spLocks/>
            </p:cNvSpPr>
            <p:nvPr/>
          </p:nvSpPr>
          <p:spPr bwMode="auto">
            <a:xfrm>
              <a:off x="5637909" y="2780343"/>
              <a:ext cx="233112" cy="448152"/>
            </a:xfrm>
            <a:custGeom>
              <a:avLst/>
              <a:gdLst/>
              <a:ahLst/>
              <a:cxnLst/>
              <a:rect l="l" t="t" r="r" b="b"/>
              <a:pathLst>
                <a:path w="234970" h="451724">
                  <a:moveTo>
                    <a:pt x="85610" y="278685"/>
                  </a:moveTo>
                  <a:lnTo>
                    <a:pt x="87432" y="278685"/>
                  </a:lnTo>
                  <a:lnTo>
                    <a:pt x="87432" y="291436"/>
                  </a:lnTo>
                  <a:lnTo>
                    <a:pt x="80145" y="295079"/>
                  </a:lnTo>
                  <a:lnTo>
                    <a:pt x="78324" y="295079"/>
                  </a:lnTo>
                  <a:lnTo>
                    <a:pt x="78324" y="291436"/>
                  </a:lnTo>
                  <a:close/>
                  <a:moveTo>
                    <a:pt x="18215" y="240434"/>
                  </a:moveTo>
                  <a:lnTo>
                    <a:pt x="25501" y="244077"/>
                  </a:lnTo>
                  <a:lnTo>
                    <a:pt x="29144" y="244077"/>
                  </a:lnTo>
                  <a:lnTo>
                    <a:pt x="29144" y="245899"/>
                  </a:lnTo>
                  <a:lnTo>
                    <a:pt x="23679" y="251363"/>
                  </a:lnTo>
                  <a:lnTo>
                    <a:pt x="45537" y="245899"/>
                  </a:lnTo>
                  <a:lnTo>
                    <a:pt x="47359" y="245899"/>
                  </a:lnTo>
                  <a:lnTo>
                    <a:pt x="52823" y="256827"/>
                  </a:lnTo>
                  <a:lnTo>
                    <a:pt x="52823" y="267756"/>
                  </a:lnTo>
                  <a:lnTo>
                    <a:pt x="61930" y="276864"/>
                  </a:lnTo>
                  <a:lnTo>
                    <a:pt x="63752" y="276864"/>
                  </a:lnTo>
                  <a:lnTo>
                    <a:pt x="61930" y="280507"/>
                  </a:lnTo>
                  <a:lnTo>
                    <a:pt x="61930" y="284150"/>
                  </a:lnTo>
                  <a:lnTo>
                    <a:pt x="47359" y="296900"/>
                  </a:lnTo>
                  <a:lnTo>
                    <a:pt x="45537" y="296900"/>
                  </a:lnTo>
                  <a:lnTo>
                    <a:pt x="36430" y="278685"/>
                  </a:lnTo>
                  <a:lnTo>
                    <a:pt x="9107" y="289614"/>
                  </a:lnTo>
                  <a:lnTo>
                    <a:pt x="0" y="276864"/>
                  </a:lnTo>
                  <a:lnTo>
                    <a:pt x="12750" y="255006"/>
                  </a:lnTo>
                  <a:close/>
                  <a:moveTo>
                    <a:pt x="52822" y="207647"/>
                  </a:moveTo>
                  <a:lnTo>
                    <a:pt x="61930" y="207647"/>
                  </a:lnTo>
                  <a:lnTo>
                    <a:pt x="51001" y="222219"/>
                  </a:lnTo>
                  <a:lnTo>
                    <a:pt x="47722" y="222219"/>
                  </a:lnTo>
                  <a:lnTo>
                    <a:pt x="51001" y="227685"/>
                  </a:lnTo>
                  <a:lnTo>
                    <a:pt x="51001" y="229506"/>
                  </a:lnTo>
                  <a:lnTo>
                    <a:pt x="47358" y="229506"/>
                  </a:lnTo>
                  <a:lnTo>
                    <a:pt x="40072" y="227685"/>
                  </a:lnTo>
                  <a:lnTo>
                    <a:pt x="36429" y="227685"/>
                  </a:lnTo>
                  <a:lnTo>
                    <a:pt x="36429" y="224041"/>
                  </a:lnTo>
                  <a:lnTo>
                    <a:pt x="41893" y="216755"/>
                  </a:lnTo>
                  <a:lnTo>
                    <a:pt x="45536" y="216755"/>
                  </a:lnTo>
                  <a:lnTo>
                    <a:pt x="45536" y="218577"/>
                  </a:lnTo>
                  <a:lnTo>
                    <a:pt x="47358" y="221613"/>
                  </a:lnTo>
                  <a:lnTo>
                    <a:pt x="47358" y="218576"/>
                  </a:lnTo>
                  <a:close/>
                  <a:moveTo>
                    <a:pt x="41895" y="138431"/>
                  </a:moveTo>
                  <a:lnTo>
                    <a:pt x="41895" y="140253"/>
                  </a:lnTo>
                  <a:lnTo>
                    <a:pt x="51002" y="156646"/>
                  </a:lnTo>
                  <a:lnTo>
                    <a:pt x="56467" y="156646"/>
                  </a:lnTo>
                  <a:lnTo>
                    <a:pt x="56467" y="160290"/>
                  </a:lnTo>
                  <a:lnTo>
                    <a:pt x="52824" y="165754"/>
                  </a:lnTo>
                  <a:lnTo>
                    <a:pt x="30966" y="154825"/>
                  </a:lnTo>
                  <a:lnTo>
                    <a:pt x="30966" y="151182"/>
                  </a:lnTo>
                  <a:close/>
                  <a:moveTo>
                    <a:pt x="41895" y="103824"/>
                  </a:moveTo>
                  <a:lnTo>
                    <a:pt x="45538" y="103824"/>
                  </a:lnTo>
                  <a:lnTo>
                    <a:pt x="45538" y="116575"/>
                  </a:lnTo>
                  <a:lnTo>
                    <a:pt x="40073" y="120218"/>
                  </a:lnTo>
                  <a:lnTo>
                    <a:pt x="41895" y="123861"/>
                  </a:lnTo>
                  <a:lnTo>
                    <a:pt x="25501" y="134790"/>
                  </a:lnTo>
                  <a:lnTo>
                    <a:pt x="23680" y="134790"/>
                  </a:lnTo>
                  <a:lnTo>
                    <a:pt x="23680" y="114753"/>
                  </a:lnTo>
                  <a:close/>
                  <a:moveTo>
                    <a:pt x="112931" y="94716"/>
                  </a:moveTo>
                  <a:lnTo>
                    <a:pt x="118396" y="98359"/>
                  </a:lnTo>
                  <a:lnTo>
                    <a:pt x="118396" y="111109"/>
                  </a:lnTo>
                  <a:lnTo>
                    <a:pt x="96538" y="129324"/>
                  </a:lnTo>
                  <a:lnTo>
                    <a:pt x="102002" y="132967"/>
                  </a:lnTo>
                  <a:lnTo>
                    <a:pt x="102002" y="134788"/>
                  </a:lnTo>
                  <a:lnTo>
                    <a:pt x="91074" y="140253"/>
                  </a:lnTo>
                  <a:lnTo>
                    <a:pt x="92895" y="143896"/>
                  </a:lnTo>
                  <a:lnTo>
                    <a:pt x="98359" y="143896"/>
                  </a:lnTo>
                  <a:lnTo>
                    <a:pt x="112931" y="140253"/>
                  </a:lnTo>
                  <a:lnTo>
                    <a:pt x="129324" y="140253"/>
                  </a:lnTo>
                  <a:lnTo>
                    <a:pt x="142075" y="138431"/>
                  </a:lnTo>
                  <a:lnTo>
                    <a:pt x="147539" y="138431"/>
                  </a:lnTo>
                  <a:lnTo>
                    <a:pt x="147539" y="140253"/>
                  </a:lnTo>
                  <a:lnTo>
                    <a:pt x="151182" y="151182"/>
                  </a:lnTo>
                  <a:lnTo>
                    <a:pt x="140253" y="176682"/>
                  </a:lnTo>
                  <a:lnTo>
                    <a:pt x="131146" y="193075"/>
                  </a:lnTo>
                  <a:lnTo>
                    <a:pt x="129324" y="193075"/>
                  </a:lnTo>
                  <a:lnTo>
                    <a:pt x="123860" y="194897"/>
                  </a:lnTo>
                  <a:lnTo>
                    <a:pt x="131146" y="202183"/>
                  </a:lnTo>
                  <a:lnTo>
                    <a:pt x="131146" y="205826"/>
                  </a:lnTo>
                  <a:lnTo>
                    <a:pt x="129324" y="205826"/>
                  </a:lnTo>
                  <a:lnTo>
                    <a:pt x="120217" y="211290"/>
                  </a:lnTo>
                  <a:lnTo>
                    <a:pt x="131146" y="211290"/>
                  </a:lnTo>
                  <a:lnTo>
                    <a:pt x="156647" y="229505"/>
                  </a:lnTo>
                  <a:lnTo>
                    <a:pt x="165754" y="267756"/>
                  </a:lnTo>
                  <a:lnTo>
                    <a:pt x="176683" y="273220"/>
                  </a:lnTo>
                  <a:lnTo>
                    <a:pt x="196719" y="302364"/>
                  </a:lnTo>
                  <a:lnTo>
                    <a:pt x="196719" y="313292"/>
                  </a:lnTo>
                  <a:lnTo>
                    <a:pt x="187612" y="311471"/>
                  </a:lnTo>
                  <a:lnTo>
                    <a:pt x="202184" y="324221"/>
                  </a:lnTo>
                  <a:lnTo>
                    <a:pt x="196719" y="340614"/>
                  </a:lnTo>
                  <a:lnTo>
                    <a:pt x="202184" y="340614"/>
                  </a:lnTo>
                  <a:lnTo>
                    <a:pt x="207648" y="338793"/>
                  </a:lnTo>
                  <a:lnTo>
                    <a:pt x="213113" y="338793"/>
                  </a:lnTo>
                  <a:lnTo>
                    <a:pt x="218577" y="335150"/>
                  </a:lnTo>
                  <a:lnTo>
                    <a:pt x="224041" y="335150"/>
                  </a:lnTo>
                  <a:lnTo>
                    <a:pt x="224041" y="338793"/>
                  </a:lnTo>
                  <a:lnTo>
                    <a:pt x="231327" y="346079"/>
                  </a:lnTo>
                  <a:lnTo>
                    <a:pt x="234970" y="346079"/>
                  </a:lnTo>
                  <a:lnTo>
                    <a:pt x="231327" y="369758"/>
                  </a:lnTo>
                  <a:lnTo>
                    <a:pt x="207648" y="395259"/>
                  </a:lnTo>
                  <a:lnTo>
                    <a:pt x="209470" y="397080"/>
                  </a:lnTo>
                  <a:lnTo>
                    <a:pt x="225863" y="400723"/>
                  </a:lnTo>
                  <a:lnTo>
                    <a:pt x="214934" y="413473"/>
                  </a:lnTo>
                  <a:lnTo>
                    <a:pt x="174862" y="424402"/>
                  </a:lnTo>
                  <a:lnTo>
                    <a:pt x="158468" y="418938"/>
                  </a:lnTo>
                  <a:lnTo>
                    <a:pt x="156647" y="424402"/>
                  </a:lnTo>
                  <a:lnTo>
                    <a:pt x="134789" y="429867"/>
                  </a:lnTo>
                  <a:lnTo>
                    <a:pt x="125681" y="424402"/>
                  </a:lnTo>
                  <a:lnTo>
                    <a:pt x="112931" y="428045"/>
                  </a:lnTo>
                  <a:lnTo>
                    <a:pt x="107467" y="440795"/>
                  </a:lnTo>
                  <a:lnTo>
                    <a:pt x="98359" y="440795"/>
                  </a:lnTo>
                  <a:lnTo>
                    <a:pt x="91074" y="437152"/>
                  </a:lnTo>
                  <a:lnTo>
                    <a:pt x="80145" y="437152"/>
                  </a:lnTo>
                  <a:lnTo>
                    <a:pt x="72859" y="448081"/>
                  </a:lnTo>
                  <a:lnTo>
                    <a:pt x="69216" y="451724"/>
                  </a:lnTo>
                  <a:lnTo>
                    <a:pt x="58287" y="451724"/>
                  </a:lnTo>
                  <a:lnTo>
                    <a:pt x="58287" y="448081"/>
                  </a:lnTo>
                  <a:lnTo>
                    <a:pt x="92895" y="406187"/>
                  </a:lnTo>
                  <a:lnTo>
                    <a:pt x="120217" y="402544"/>
                  </a:lnTo>
                  <a:lnTo>
                    <a:pt x="129324" y="391616"/>
                  </a:lnTo>
                  <a:lnTo>
                    <a:pt x="112931" y="400723"/>
                  </a:lnTo>
                  <a:lnTo>
                    <a:pt x="109288" y="400723"/>
                  </a:lnTo>
                  <a:lnTo>
                    <a:pt x="102002" y="389794"/>
                  </a:lnTo>
                  <a:lnTo>
                    <a:pt x="91074" y="391616"/>
                  </a:lnTo>
                  <a:lnTo>
                    <a:pt x="87431" y="391616"/>
                  </a:lnTo>
                  <a:lnTo>
                    <a:pt x="87431" y="389794"/>
                  </a:lnTo>
                  <a:lnTo>
                    <a:pt x="85609" y="384330"/>
                  </a:lnTo>
                  <a:lnTo>
                    <a:pt x="74680" y="389794"/>
                  </a:lnTo>
                  <a:lnTo>
                    <a:pt x="72859" y="389794"/>
                  </a:lnTo>
                  <a:lnTo>
                    <a:pt x="67395" y="380687"/>
                  </a:lnTo>
                  <a:lnTo>
                    <a:pt x="67395" y="378865"/>
                  </a:lnTo>
                  <a:lnTo>
                    <a:pt x="92895" y="362472"/>
                  </a:lnTo>
                  <a:lnTo>
                    <a:pt x="96538" y="355186"/>
                  </a:lnTo>
                  <a:lnTo>
                    <a:pt x="92895" y="340614"/>
                  </a:lnTo>
                  <a:lnTo>
                    <a:pt x="80145" y="344257"/>
                  </a:lnTo>
                  <a:lnTo>
                    <a:pt x="80145" y="340614"/>
                  </a:lnTo>
                  <a:lnTo>
                    <a:pt x="95445" y="327864"/>
                  </a:lnTo>
                  <a:lnTo>
                    <a:pt x="91074" y="327864"/>
                  </a:lnTo>
                  <a:lnTo>
                    <a:pt x="85610" y="318757"/>
                  </a:lnTo>
                  <a:lnTo>
                    <a:pt x="85610" y="316935"/>
                  </a:lnTo>
                  <a:lnTo>
                    <a:pt x="96539" y="324221"/>
                  </a:lnTo>
                  <a:lnTo>
                    <a:pt x="98361" y="324221"/>
                  </a:lnTo>
                  <a:lnTo>
                    <a:pt x="98361" y="325434"/>
                  </a:lnTo>
                  <a:lnTo>
                    <a:pt x="102002" y="322400"/>
                  </a:lnTo>
                  <a:lnTo>
                    <a:pt x="120217" y="318757"/>
                  </a:lnTo>
                  <a:lnTo>
                    <a:pt x="120217" y="316935"/>
                  </a:lnTo>
                  <a:lnTo>
                    <a:pt x="123860" y="306007"/>
                  </a:lnTo>
                  <a:lnTo>
                    <a:pt x="120217" y="306007"/>
                  </a:lnTo>
                  <a:lnTo>
                    <a:pt x="120217" y="302364"/>
                  </a:lnTo>
                  <a:lnTo>
                    <a:pt x="125681" y="289613"/>
                  </a:lnTo>
                  <a:lnTo>
                    <a:pt x="114753" y="291435"/>
                  </a:lnTo>
                  <a:lnTo>
                    <a:pt x="103824" y="276863"/>
                  </a:lnTo>
                  <a:lnTo>
                    <a:pt x="114753" y="260470"/>
                  </a:lnTo>
                  <a:lnTo>
                    <a:pt x="91074" y="262291"/>
                  </a:lnTo>
                  <a:lnTo>
                    <a:pt x="87431" y="267756"/>
                  </a:lnTo>
                  <a:lnTo>
                    <a:pt x="87431" y="271399"/>
                  </a:lnTo>
                  <a:lnTo>
                    <a:pt x="85609" y="271399"/>
                  </a:lnTo>
                  <a:lnTo>
                    <a:pt x="85609" y="267756"/>
                  </a:lnTo>
                  <a:lnTo>
                    <a:pt x="78323" y="262291"/>
                  </a:lnTo>
                  <a:lnTo>
                    <a:pt x="74680" y="267756"/>
                  </a:lnTo>
                  <a:lnTo>
                    <a:pt x="74680" y="271399"/>
                  </a:lnTo>
                  <a:lnTo>
                    <a:pt x="72859" y="271399"/>
                  </a:lnTo>
                  <a:lnTo>
                    <a:pt x="72859" y="267756"/>
                  </a:lnTo>
                  <a:lnTo>
                    <a:pt x="67395" y="256827"/>
                  </a:lnTo>
                  <a:lnTo>
                    <a:pt x="72859" y="256827"/>
                  </a:lnTo>
                  <a:lnTo>
                    <a:pt x="80145" y="234969"/>
                  </a:lnTo>
                  <a:lnTo>
                    <a:pt x="74680" y="227683"/>
                  </a:lnTo>
                  <a:lnTo>
                    <a:pt x="74680" y="224040"/>
                  </a:lnTo>
                  <a:lnTo>
                    <a:pt x="80145" y="216755"/>
                  </a:lnTo>
                  <a:lnTo>
                    <a:pt x="74680" y="213112"/>
                  </a:lnTo>
                  <a:lnTo>
                    <a:pt x="69216" y="218576"/>
                  </a:lnTo>
                  <a:lnTo>
                    <a:pt x="67395" y="218576"/>
                  </a:lnTo>
                  <a:lnTo>
                    <a:pt x="67395" y="207647"/>
                  </a:lnTo>
                  <a:lnTo>
                    <a:pt x="63752" y="213112"/>
                  </a:lnTo>
                  <a:lnTo>
                    <a:pt x="67395" y="218576"/>
                  </a:lnTo>
                  <a:lnTo>
                    <a:pt x="67395" y="224040"/>
                  </a:lnTo>
                  <a:lnTo>
                    <a:pt x="67394" y="224041"/>
                  </a:lnTo>
                  <a:lnTo>
                    <a:pt x="72860" y="224041"/>
                  </a:lnTo>
                  <a:lnTo>
                    <a:pt x="69217" y="234970"/>
                  </a:lnTo>
                  <a:lnTo>
                    <a:pt x="69217" y="238613"/>
                  </a:lnTo>
                  <a:lnTo>
                    <a:pt x="67395" y="238613"/>
                  </a:lnTo>
                  <a:lnTo>
                    <a:pt x="64156" y="228898"/>
                  </a:lnTo>
                  <a:lnTo>
                    <a:pt x="56466" y="240434"/>
                  </a:lnTo>
                  <a:lnTo>
                    <a:pt x="56466" y="244077"/>
                  </a:lnTo>
                  <a:lnTo>
                    <a:pt x="52823" y="244077"/>
                  </a:lnTo>
                  <a:lnTo>
                    <a:pt x="52823" y="240434"/>
                  </a:lnTo>
                  <a:lnTo>
                    <a:pt x="67395" y="189433"/>
                  </a:lnTo>
                  <a:lnTo>
                    <a:pt x="58287" y="194897"/>
                  </a:lnTo>
                  <a:lnTo>
                    <a:pt x="56466" y="194897"/>
                  </a:lnTo>
                  <a:lnTo>
                    <a:pt x="56463" y="194894"/>
                  </a:lnTo>
                  <a:lnTo>
                    <a:pt x="56466" y="194898"/>
                  </a:lnTo>
                  <a:lnTo>
                    <a:pt x="56466" y="198541"/>
                  </a:lnTo>
                  <a:lnTo>
                    <a:pt x="47358" y="198541"/>
                  </a:lnTo>
                  <a:lnTo>
                    <a:pt x="41894" y="189434"/>
                  </a:lnTo>
                  <a:lnTo>
                    <a:pt x="41894" y="187612"/>
                  </a:lnTo>
                  <a:lnTo>
                    <a:pt x="49181" y="187612"/>
                  </a:lnTo>
                  <a:lnTo>
                    <a:pt x="45537" y="183968"/>
                  </a:lnTo>
                  <a:lnTo>
                    <a:pt x="45537" y="182147"/>
                  </a:lnTo>
                  <a:lnTo>
                    <a:pt x="52823" y="178504"/>
                  </a:lnTo>
                  <a:lnTo>
                    <a:pt x="61930" y="156646"/>
                  </a:lnTo>
                  <a:lnTo>
                    <a:pt x="52823" y="154825"/>
                  </a:lnTo>
                  <a:lnTo>
                    <a:pt x="52823" y="143896"/>
                  </a:lnTo>
                  <a:lnTo>
                    <a:pt x="56466" y="143896"/>
                  </a:lnTo>
                  <a:lnTo>
                    <a:pt x="52823" y="134788"/>
                  </a:lnTo>
                  <a:lnTo>
                    <a:pt x="52823" y="132967"/>
                  </a:lnTo>
                  <a:lnTo>
                    <a:pt x="56466" y="132967"/>
                  </a:lnTo>
                  <a:lnTo>
                    <a:pt x="67395" y="127503"/>
                  </a:lnTo>
                  <a:lnTo>
                    <a:pt x="61930" y="122038"/>
                  </a:lnTo>
                  <a:lnTo>
                    <a:pt x="63752" y="116574"/>
                  </a:lnTo>
                  <a:lnTo>
                    <a:pt x="63752" y="114752"/>
                  </a:lnTo>
                  <a:lnTo>
                    <a:pt x="69216" y="114752"/>
                  </a:lnTo>
                  <a:lnTo>
                    <a:pt x="74680" y="100181"/>
                  </a:lnTo>
                  <a:lnTo>
                    <a:pt x="74680" y="98359"/>
                  </a:lnTo>
                  <a:close/>
                  <a:moveTo>
                    <a:pt x="160290" y="0"/>
                  </a:moveTo>
                  <a:lnTo>
                    <a:pt x="163933" y="0"/>
                  </a:lnTo>
                  <a:lnTo>
                    <a:pt x="163933" y="3643"/>
                  </a:lnTo>
                  <a:lnTo>
                    <a:pt x="165754" y="14572"/>
                  </a:lnTo>
                  <a:lnTo>
                    <a:pt x="165754" y="32787"/>
                  </a:lnTo>
                  <a:lnTo>
                    <a:pt x="160290" y="38251"/>
                  </a:lnTo>
                  <a:lnTo>
                    <a:pt x="158468" y="38251"/>
                  </a:lnTo>
                  <a:lnTo>
                    <a:pt x="160290" y="25501"/>
                  </a:lnTo>
                  <a:lnTo>
                    <a:pt x="153003" y="21858"/>
                  </a:lnTo>
                  <a:lnTo>
                    <a:pt x="153003" y="20036"/>
                  </a:lnTo>
                  <a:lnTo>
                    <a:pt x="160290"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5" name="Sri Lanka">
              <a:extLst>
                <a:ext uri="{FF2B5EF4-FFF2-40B4-BE49-F238E27FC236}">
                  <a16:creationId xmlns:a16="http://schemas.microsoft.com/office/drawing/2014/main" id="{345E7B51-EFBC-D93B-9A7D-0FBD0D2178EB}"/>
                </a:ext>
              </a:extLst>
            </p:cNvPr>
            <p:cNvSpPr>
              <a:spLocks/>
            </p:cNvSpPr>
            <p:nvPr/>
          </p:nvSpPr>
          <p:spPr bwMode="auto">
            <a:xfrm>
              <a:off x="7705188" y="4356102"/>
              <a:ext cx="54212" cy="93967"/>
            </a:xfrm>
            <a:custGeom>
              <a:avLst/>
              <a:gdLst>
                <a:gd name="T0" fmla="*/ 4 w 30"/>
                <a:gd name="T1" fmla="*/ 0 h 52"/>
                <a:gd name="T2" fmla="*/ 6 w 30"/>
                <a:gd name="T3" fmla="*/ 0 h 52"/>
                <a:gd name="T4" fmla="*/ 9 w 30"/>
                <a:gd name="T5" fmla="*/ 2 h 52"/>
                <a:gd name="T6" fmla="*/ 16 w 30"/>
                <a:gd name="T7" fmla="*/ 9 h 52"/>
                <a:gd name="T8" fmla="*/ 30 w 30"/>
                <a:gd name="T9" fmla="*/ 30 h 52"/>
                <a:gd name="T10" fmla="*/ 28 w 30"/>
                <a:gd name="T11" fmla="*/ 42 h 52"/>
                <a:gd name="T12" fmla="*/ 15 w 30"/>
                <a:gd name="T13" fmla="*/ 52 h 52"/>
                <a:gd name="T14" fmla="*/ 7 w 30"/>
                <a:gd name="T15" fmla="*/ 50 h 52"/>
                <a:gd name="T16" fmla="*/ 6 w 30"/>
                <a:gd name="T17" fmla="*/ 50 h 52"/>
                <a:gd name="T18" fmla="*/ 1 w 30"/>
                <a:gd name="T19" fmla="*/ 40 h 52"/>
                <a:gd name="T20" fmla="*/ 0 w 30"/>
                <a:gd name="T21" fmla="*/ 22 h 52"/>
                <a:gd name="T22" fmla="*/ 1 w 30"/>
                <a:gd name="T23" fmla="*/ 22 h 52"/>
                <a:gd name="T24" fmla="*/ 4 w 30"/>
                <a:gd name="T25" fmla="*/ 6 h 52"/>
                <a:gd name="T26" fmla="*/ 6 w 30"/>
                <a:gd name="T27" fmla="*/ 6 h 52"/>
                <a:gd name="T28" fmla="*/ 7 w 30"/>
                <a:gd name="T29" fmla="*/ 5 h 52"/>
                <a:gd name="T30" fmla="*/ 4 w 30"/>
                <a:gd name="T31" fmla="*/ 2 h 52"/>
                <a:gd name="T32" fmla="*/ 4 w 30"/>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52">
                  <a:moveTo>
                    <a:pt x="4" y="0"/>
                  </a:moveTo>
                  <a:lnTo>
                    <a:pt x="6" y="0"/>
                  </a:lnTo>
                  <a:lnTo>
                    <a:pt x="9" y="2"/>
                  </a:lnTo>
                  <a:lnTo>
                    <a:pt x="16" y="9"/>
                  </a:lnTo>
                  <a:lnTo>
                    <a:pt x="30" y="30"/>
                  </a:lnTo>
                  <a:lnTo>
                    <a:pt x="28" y="42"/>
                  </a:lnTo>
                  <a:lnTo>
                    <a:pt x="15" y="52"/>
                  </a:lnTo>
                  <a:lnTo>
                    <a:pt x="7" y="50"/>
                  </a:lnTo>
                  <a:lnTo>
                    <a:pt x="6" y="50"/>
                  </a:lnTo>
                  <a:lnTo>
                    <a:pt x="1" y="40"/>
                  </a:lnTo>
                  <a:lnTo>
                    <a:pt x="0" y="22"/>
                  </a:lnTo>
                  <a:lnTo>
                    <a:pt x="1" y="22"/>
                  </a:lnTo>
                  <a:lnTo>
                    <a:pt x="4" y="6"/>
                  </a:lnTo>
                  <a:lnTo>
                    <a:pt x="6" y="6"/>
                  </a:lnTo>
                  <a:lnTo>
                    <a:pt x="7" y="5"/>
                  </a:lnTo>
                  <a:lnTo>
                    <a:pt x="4" y="2"/>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6" name="Afghanistan">
              <a:extLst>
                <a:ext uri="{FF2B5EF4-FFF2-40B4-BE49-F238E27FC236}">
                  <a16:creationId xmlns:a16="http://schemas.microsoft.com/office/drawing/2014/main" id="{369F52C1-4556-8C80-8911-C7B9A08A85B0}"/>
                </a:ext>
              </a:extLst>
            </p:cNvPr>
            <p:cNvSpPr>
              <a:spLocks noEditPoints="1"/>
            </p:cNvSpPr>
            <p:nvPr/>
          </p:nvSpPr>
          <p:spPr bwMode="auto">
            <a:xfrm>
              <a:off x="7251616" y="3607980"/>
              <a:ext cx="341535" cy="258410"/>
            </a:xfrm>
            <a:custGeom>
              <a:avLst/>
              <a:gdLst>
                <a:gd name="T0" fmla="*/ 12 w 189"/>
                <a:gd name="T1" fmla="*/ 46 h 143"/>
                <a:gd name="T2" fmla="*/ 12 w 189"/>
                <a:gd name="T3" fmla="*/ 43 h 143"/>
                <a:gd name="T4" fmla="*/ 143 w 189"/>
                <a:gd name="T5" fmla="*/ 3 h 143"/>
                <a:gd name="T6" fmla="*/ 146 w 189"/>
                <a:gd name="T7" fmla="*/ 9 h 143"/>
                <a:gd name="T8" fmla="*/ 147 w 189"/>
                <a:gd name="T9" fmla="*/ 30 h 143"/>
                <a:gd name="T10" fmla="*/ 174 w 189"/>
                <a:gd name="T11" fmla="*/ 17 h 143"/>
                <a:gd name="T12" fmla="*/ 184 w 189"/>
                <a:gd name="T13" fmla="*/ 18 h 143"/>
                <a:gd name="T14" fmla="*/ 184 w 189"/>
                <a:gd name="T15" fmla="*/ 23 h 143"/>
                <a:gd name="T16" fmla="*/ 174 w 189"/>
                <a:gd name="T17" fmla="*/ 26 h 143"/>
                <a:gd name="T18" fmla="*/ 143 w 189"/>
                <a:gd name="T19" fmla="*/ 37 h 143"/>
                <a:gd name="T20" fmla="*/ 147 w 189"/>
                <a:gd name="T21" fmla="*/ 49 h 143"/>
                <a:gd name="T22" fmla="*/ 138 w 189"/>
                <a:gd name="T23" fmla="*/ 64 h 143"/>
                <a:gd name="T24" fmla="*/ 138 w 189"/>
                <a:gd name="T25" fmla="*/ 72 h 143"/>
                <a:gd name="T26" fmla="*/ 129 w 189"/>
                <a:gd name="T27" fmla="*/ 82 h 143"/>
                <a:gd name="T28" fmla="*/ 114 w 189"/>
                <a:gd name="T29" fmla="*/ 98 h 143"/>
                <a:gd name="T30" fmla="*/ 112 w 189"/>
                <a:gd name="T31" fmla="*/ 110 h 143"/>
                <a:gd name="T32" fmla="*/ 101 w 189"/>
                <a:gd name="T33" fmla="*/ 106 h 143"/>
                <a:gd name="T34" fmla="*/ 97 w 189"/>
                <a:gd name="T35" fmla="*/ 113 h 143"/>
                <a:gd name="T36" fmla="*/ 79 w 189"/>
                <a:gd name="T37" fmla="*/ 121 h 143"/>
                <a:gd name="T38" fmla="*/ 76 w 189"/>
                <a:gd name="T39" fmla="*/ 137 h 143"/>
                <a:gd name="T40" fmla="*/ 52 w 189"/>
                <a:gd name="T41" fmla="*/ 140 h 143"/>
                <a:gd name="T42" fmla="*/ 39 w 189"/>
                <a:gd name="T43" fmla="*/ 140 h 143"/>
                <a:gd name="T44" fmla="*/ 6 w 189"/>
                <a:gd name="T45" fmla="*/ 137 h 143"/>
                <a:gd name="T46" fmla="*/ 17 w 189"/>
                <a:gd name="T47" fmla="*/ 116 h 143"/>
                <a:gd name="T48" fmla="*/ 5 w 189"/>
                <a:gd name="T49" fmla="*/ 106 h 143"/>
                <a:gd name="T50" fmla="*/ 5 w 189"/>
                <a:gd name="T51" fmla="*/ 79 h 143"/>
                <a:gd name="T52" fmla="*/ 0 w 189"/>
                <a:gd name="T53" fmla="*/ 69 h 143"/>
                <a:gd name="T54" fmla="*/ 9 w 189"/>
                <a:gd name="T55" fmla="*/ 58 h 143"/>
                <a:gd name="T56" fmla="*/ 15 w 189"/>
                <a:gd name="T57" fmla="*/ 49 h 143"/>
                <a:gd name="T58" fmla="*/ 34 w 189"/>
                <a:gd name="T59" fmla="*/ 49 h 143"/>
                <a:gd name="T60" fmla="*/ 36 w 189"/>
                <a:gd name="T61" fmla="*/ 43 h 143"/>
                <a:gd name="T62" fmla="*/ 60 w 189"/>
                <a:gd name="T63" fmla="*/ 20 h 143"/>
                <a:gd name="T64" fmla="*/ 70 w 189"/>
                <a:gd name="T65" fmla="*/ 15 h 143"/>
                <a:gd name="T66" fmla="*/ 95 w 189"/>
                <a:gd name="T67" fmla="*/ 20 h 143"/>
                <a:gd name="T68" fmla="*/ 112 w 189"/>
                <a:gd name="T69" fmla="*/ 18 h 143"/>
                <a:gd name="T70" fmla="*/ 119 w 189"/>
                <a:gd name="T71" fmla="*/ 14 h 143"/>
                <a:gd name="T72" fmla="*/ 129 w 189"/>
                <a:gd name="T73" fmla="*/ 12 h 143"/>
                <a:gd name="T74" fmla="*/ 137 w 189"/>
                <a:gd name="T7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143">
                  <a:moveTo>
                    <a:pt x="12" y="43"/>
                  </a:moveTo>
                  <a:lnTo>
                    <a:pt x="12" y="46"/>
                  </a:lnTo>
                  <a:lnTo>
                    <a:pt x="11" y="46"/>
                  </a:lnTo>
                  <a:lnTo>
                    <a:pt x="12" y="43"/>
                  </a:lnTo>
                  <a:close/>
                  <a:moveTo>
                    <a:pt x="137" y="0"/>
                  </a:moveTo>
                  <a:lnTo>
                    <a:pt x="143" y="3"/>
                  </a:lnTo>
                  <a:lnTo>
                    <a:pt x="141" y="8"/>
                  </a:lnTo>
                  <a:lnTo>
                    <a:pt x="146" y="9"/>
                  </a:lnTo>
                  <a:lnTo>
                    <a:pt x="144" y="23"/>
                  </a:lnTo>
                  <a:lnTo>
                    <a:pt x="147" y="30"/>
                  </a:lnTo>
                  <a:lnTo>
                    <a:pt x="171" y="17"/>
                  </a:lnTo>
                  <a:lnTo>
                    <a:pt x="174" y="17"/>
                  </a:lnTo>
                  <a:lnTo>
                    <a:pt x="175" y="20"/>
                  </a:lnTo>
                  <a:lnTo>
                    <a:pt x="184" y="18"/>
                  </a:lnTo>
                  <a:lnTo>
                    <a:pt x="189" y="18"/>
                  </a:lnTo>
                  <a:lnTo>
                    <a:pt x="184" y="23"/>
                  </a:lnTo>
                  <a:lnTo>
                    <a:pt x="186" y="24"/>
                  </a:lnTo>
                  <a:lnTo>
                    <a:pt x="174" y="26"/>
                  </a:lnTo>
                  <a:lnTo>
                    <a:pt x="160" y="27"/>
                  </a:lnTo>
                  <a:lnTo>
                    <a:pt x="143" y="37"/>
                  </a:lnTo>
                  <a:lnTo>
                    <a:pt x="141" y="39"/>
                  </a:lnTo>
                  <a:lnTo>
                    <a:pt x="147" y="49"/>
                  </a:lnTo>
                  <a:lnTo>
                    <a:pt x="147" y="54"/>
                  </a:lnTo>
                  <a:lnTo>
                    <a:pt x="138" y="64"/>
                  </a:lnTo>
                  <a:lnTo>
                    <a:pt x="141" y="67"/>
                  </a:lnTo>
                  <a:lnTo>
                    <a:pt x="138" y="72"/>
                  </a:lnTo>
                  <a:lnTo>
                    <a:pt x="125" y="72"/>
                  </a:lnTo>
                  <a:lnTo>
                    <a:pt x="129" y="82"/>
                  </a:lnTo>
                  <a:lnTo>
                    <a:pt x="119" y="86"/>
                  </a:lnTo>
                  <a:lnTo>
                    <a:pt x="114" y="98"/>
                  </a:lnTo>
                  <a:lnTo>
                    <a:pt x="116" y="106"/>
                  </a:lnTo>
                  <a:lnTo>
                    <a:pt x="112" y="110"/>
                  </a:lnTo>
                  <a:lnTo>
                    <a:pt x="107" y="106"/>
                  </a:lnTo>
                  <a:lnTo>
                    <a:pt x="101" y="106"/>
                  </a:lnTo>
                  <a:lnTo>
                    <a:pt x="94" y="112"/>
                  </a:lnTo>
                  <a:lnTo>
                    <a:pt x="97" y="113"/>
                  </a:lnTo>
                  <a:lnTo>
                    <a:pt x="83" y="115"/>
                  </a:lnTo>
                  <a:lnTo>
                    <a:pt x="79" y="121"/>
                  </a:lnTo>
                  <a:lnTo>
                    <a:pt x="77" y="135"/>
                  </a:lnTo>
                  <a:lnTo>
                    <a:pt x="76" y="137"/>
                  </a:lnTo>
                  <a:lnTo>
                    <a:pt x="61" y="140"/>
                  </a:lnTo>
                  <a:lnTo>
                    <a:pt x="52" y="140"/>
                  </a:lnTo>
                  <a:lnTo>
                    <a:pt x="48" y="143"/>
                  </a:lnTo>
                  <a:lnTo>
                    <a:pt x="39" y="140"/>
                  </a:lnTo>
                  <a:lnTo>
                    <a:pt x="26" y="143"/>
                  </a:lnTo>
                  <a:lnTo>
                    <a:pt x="6" y="137"/>
                  </a:lnTo>
                  <a:lnTo>
                    <a:pt x="15" y="123"/>
                  </a:lnTo>
                  <a:lnTo>
                    <a:pt x="17" y="116"/>
                  </a:lnTo>
                  <a:lnTo>
                    <a:pt x="12" y="110"/>
                  </a:lnTo>
                  <a:lnTo>
                    <a:pt x="5" y="106"/>
                  </a:lnTo>
                  <a:lnTo>
                    <a:pt x="2" y="88"/>
                  </a:lnTo>
                  <a:lnTo>
                    <a:pt x="5" y="79"/>
                  </a:lnTo>
                  <a:lnTo>
                    <a:pt x="0" y="76"/>
                  </a:lnTo>
                  <a:lnTo>
                    <a:pt x="0" y="69"/>
                  </a:lnTo>
                  <a:lnTo>
                    <a:pt x="6" y="67"/>
                  </a:lnTo>
                  <a:lnTo>
                    <a:pt x="9" y="58"/>
                  </a:lnTo>
                  <a:lnTo>
                    <a:pt x="12" y="46"/>
                  </a:lnTo>
                  <a:lnTo>
                    <a:pt x="15" y="49"/>
                  </a:lnTo>
                  <a:lnTo>
                    <a:pt x="30" y="52"/>
                  </a:lnTo>
                  <a:lnTo>
                    <a:pt x="34" y="49"/>
                  </a:lnTo>
                  <a:lnTo>
                    <a:pt x="37" y="45"/>
                  </a:lnTo>
                  <a:lnTo>
                    <a:pt x="36" y="43"/>
                  </a:lnTo>
                  <a:lnTo>
                    <a:pt x="54" y="35"/>
                  </a:lnTo>
                  <a:lnTo>
                    <a:pt x="60" y="20"/>
                  </a:lnTo>
                  <a:lnTo>
                    <a:pt x="66" y="20"/>
                  </a:lnTo>
                  <a:lnTo>
                    <a:pt x="70" y="15"/>
                  </a:lnTo>
                  <a:lnTo>
                    <a:pt x="80" y="17"/>
                  </a:lnTo>
                  <a:lnTo>
                    <a:pt x="95" y="20"/>
                  </a:lnTo>
                  <a:lnTo>
                    <a:pt x="100" y="24"/>
                  </a:lnTo>
                  <a:lnTo>
                    <a:pt x="112" y="18"/>
                  </a:lnTo>
                  <a:lnTo>
                    <a:pt x="117" y="23"/>
                  </a:lnTo>
                  <a:lnTo>
                    <a:pt x="119" y="14"/>
                  </a:lnTo>
                  <a:lnTo>
                    <a:pt x="128" y="15"/>
                  </a:lnTo>
                  <a:lnTo>
                    <a:pt x="129" y="12"/>
                  </a:lnTo>
                  <a:lnTo>
                    <a:pt x="128" y="9"/>
                  </a:lnTo>
                  <a:lnTo>
                    <a:pt x="13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7" name="Iraq">
              <a:extLst>
                <a:ext uri="{FF2B5EF4-FFF2-40B4-BE49-F238E27FC236}">
                  <a16:creationId xmlns:a16="http://schemas.microsoft.com/office/drawing/2014/main" id="{D0136F5B-4016-C37C-0C2F-1E94A7FAEDF5}"/>
                </a:ext>
              </a:extLst>
            </p:cNvPr>
            <p:cNvSpPr>
              <a:spLocks/>
            </p:cNvSpPr>
            <p:nvPr/>
          </p:nvSpPr>
          <p:spPr bwMode="auto">
            <a:xfrm>
              <a:off x="6738411" y="3635085"/>
              <a:ext cx="234918" cy="238532"/>
            </a:xfrm>
            <a:custGeom>
              <a:avLst/>
              <a:gdLst>
                <a:gd name="T0" fmla="*/ 56 w 130"/>
                <a:gd name="T1" fmla="*/ 0 h 132"/>
                <a:gd name="T2" fmla="*/ 59 w 130"/>
                <a:gd name="T3" fmla="*/ 0 h 132"/>
                <a:gd name="T4" fmla="*/ 62 w 130"/>
                <a:gd name="T5" fmla="*/ 2 h 132"/>
                <a:gd name="T6" fmla="*/ 66 w 130"/>
                <a:gd name="T7" fmla="*/ 2 h 132"/>
                <a:gd name="T8" fmla="*/ 69 w 130"/>
                <a:gd name="T9" fmla="*/ 3 h 132"/>
                <a:gd name="T10" fmla="*/ 74 w 130"/>
                <a:gd name="T11" fmla="*/ 3 h 132"/>
                <a:gd name="T12" fmla="*/ 75 w 130"/>
                <a:gd name="T13" fmla="*/ 5 h 132"/>
                <a:gd name="T14" fmla="*/ 78 w 130"/>
                <a:gd name="T15" fmla="*/ 3 h 132"/>
                <a:gd name="T16" fmla="*/ 81 w 130"/>
                <a:gd name="T17" fmla="*/ 3 h 132"/>
                <a:gd name="T18" fmla="*/ 81 w 130"/>
                <a:gd name="T19" fmla="*/ 12 h 132"/>
                <a:gd name="T20" fmla="*/ 90 w 130"/>
                <a:gd name="T21" fmla="*/ 24 h 132"/>
                <a:gd name="T22" fmla="*/ 99 w 130"/>
                <a:gd name="T23" fmla="*/ 27 h 132"/>
                <a:gd name="T24" fmla="*/ 101 w 130"/>
                <a:gd name="T25" fmla="*/ 27 h 132"/>
                <a:gd name="T26" fmla="*/ 101 w 130"/>
                <a:gd name="T27" fmla="*/ 28 h 132"/>
                <a:gd name="T28" fmla="*/ 98 w 130"/>
                <a:gd name="T29" fmla="*/ 33 h 132"/>
                <a:gd name="T30" fmla="*/ 98 w 130"/>
                <a:gd name="T31" fmla="*/ 37 h 132"/>
                <a:gd name="T32" fmla="*/ 90 w 130"/>
                <a:gd name="T33" fmla="*/ 49 h 132"/>
                <a:gd name="T34" fmla="*/ 89 w 130"/>
                <a:gd name="T35" fmla="*/ 57 h 132"/>
                <a:gd name="T36" fmla="*/ 96 w 130"/>
                <a:gd name="T37" fmla="*/ 70 h 132"/>
                <a:gd name="T38" fmla="*/ 112 w 130"/>
                <a:gd name="T39" fmla="*/ 80 h 132"/>
                <a:gd name="T40" fmla="*/ 118 w 130"/>
                <a:gd name="T41" fmla="*/ 91 h 132"/>
                <a:gd name="T42" fmla="*/ 117 w 130"/>
                <a:gd name="T43" fmla="*/ 103 h 132"/>
                <a:gd name="T44" fmla="*/ 120 w 130"/>
                <a:gd name="T45" fmla="*/ 104 h 132"/>
                <a:gd name="T46" fmla="*/ 121 w 130"/>
                <a:gd name="T47" fmla="*/ 104 h 132"/>
                <a:gd name="T48" fmla="*/ 123 w 130"/>
                <a:gd name="T49" fmla="*/ 111 h 132"/>
                <a:gd name="T50" fmla="*/ 130 w 130"/>
                <a:gd name="T51" fmla="*/ 117 h 132"/>
                <a:gd name="T52" fmla="*/ 130 w 130"/>
                <a:gd name="T53" fmla="*/ 119 h 132"/>
                <a:gd name="T54" fmla="*/ 127 w 130"/>
                <a:gd name="T55" fmla="*/ 120 h 132"/>
                <a:gd name="T56" fmla="*/ 121 w 130"/>
                <a:gd name="T57" fmla="*/ 119 h 132"/>
                <a:gd name="T58" fmla="*/ 112 w 130"/>
                <a:gd name="T59" fmla="*/ 119 h 132"/>
                <a:gd name="T60" fmla="*/ 104 w 130"/>
                <a:gd name="T61" fmla="*/ 132 h 132"/>
                <a:gd name="T62" fmla="*/ 90 w 130"/>
                <a:gd name="T63" fmla="*/ 128 h 132"/>
                <a:gd name="T64" fmla="*/ 81 w 130"/>
                <a:gd name="T65" fmla="*/ 131 h 132"/>
                <a:gd name="T66" fmla="*/ 80 w 130"/>
                <a:gd name="T67" fmla="*/ 131 h 132"/>
                <a:gd name="T68" fmla="*/ 65 w 130"/>
                <a:gd name="T69" fmla="*/ 125 h 132"/>
                <a:gd name="T70" fmla="*/ 65 w 130"/>
                <a:gd name="T71" fmla="*/ 123 h 132"/>
                <a:gd name="T72" fmla="*/ 64 w 130"/>
                <a:gd name="T73" fmla="*/ 114 h 132"/>
                <a:gd name="T74" fmla="*/ 58 w 130"/>
                <a:gd name="T75" fmla="*/ 113 h 132"/>
                <a:gd name="T76" fmla="*/ 56 w 130"/>
                <a:gd name="T77" fmla="*/ 113 h 132"/>
                <a:gd name="T78" fmla="*/ 53 w 130"/>
                <a:gd name="T79" fmla="*/ 107 h 132"/>
                <a:gd name="T80" fmla="*/ 40 w 130"/>
                <a:gd name="T81" fmla="*/ 103 h 132"/>
                <a:gd name="T82" fmla="*/ 25 w 130"/>
                <a:gd name="T83" fmla="*/ 91 h 132"/>
                <a:gd name="T84" fmla="*/ 6 w 130"/>
                <a:gd name="T85" fmla="*/ 85 h 132"/>
                <a:gd name="T86" fmla="*/ 4 w 130"/>
                <a:gd name="T87" fmla="*/ 85 h 132"/>
                <a:gd name="T88" fmla="*/ 0 w 130"/>
                <a:gd name="T89" fmla="*/ 68 h 132"/>
                <a:gd name="T90" fmla="*/ 0 w 130"/>
                <a:gd name="T91" fmla="*/ 67 h 132"/>
                <a:gd name="T92" fmla="*/ 31 w 130"/>
                <a:gd name="T93" fmla="*/ 49 h 132"/>
                <a:gd name="T94" fmla="*/ 32 w 130"/>
                <a:gd name="T95" fmla="*/ 43 h 132"/>
                <a:gd name="T96" fmla="*/ 34 w 130"/>
                <a:gd name="T97" fmla="*/ 18 h 132"/>
                <a:gd name="T98" fmla="*/ 34 w 130"/>
                <a:gd name="T99" fmla="*/ 17 h 132"/>
                <a:gd name="T100" fmla="*/ 43 w 130"/>
                <a:gd name="T101" fmla="*/ 15 h 132"/>
                <a:gd name="T102" fmla="*/ 50 w 130"/>
                <a:gd name="T103" fmla="*/ 5 h 132"/>
                <a:gd name="T104" fmla="*/ 56 w 130"/>
                <a:gd name="T10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 h="132">
                  <a:moveTo>
                    <a:pt x="56" y="0"/>
                  </a:moveTo>
                  <a:lnTo>
                    <a:pt x="59" y="0"/>
                  </a:lnTo>
                  <a:lnTo>
                    <a:pt x="62" y="2"/>
                  </a:lnTo>
                  <a:lnTo>
                    <a:pt x="66" y="2"/>
                  </a:lnTo>
                  <a:lnTo>
                    <a:pt x="69" y="3"/>
                  </a:lnTo>
                  <a:lnTo>
                    <a:pt x="74" y="3"/>
                  </a:lnTo>
                  <a:lnTo>
                    <a:pt x="75" y="5"/>
                  </a:lnTo>
                  <a:lnTo>
                    <a:pt x="78" y="3"/>
                  </a:lnTo>
                  <a:lnTo>
                    <a:pt x="81" y="3"/>
                  </a:lnTo>
                  <a:lnTo>
                    <a:pt x="81" y="12"/>
                  </a:lnTo>
                  <a:lnTo>
                    <a:pt x="90" y="24"/>
                  </a:lnTo>
                  <a:lnTo>
                    <a:pt x="99" y="27"/>
                  </a:lnTo>
                  <a:lnTo>
                    <a:pt x="101" y="27"/>
                  </a:lnTo>
                  <a:lnTo>
                    <a:pt x="101" y="28"/>
                  </a:lnTo>
                  <a:lnTo>
                    <a:pt x="98" y="33"/>
                  </a:lnTo>
                  <a:lnTo>
                    <a:pt x="98" y="37"/>
                  </a:lnTo>
                  <a:lnTo>
                    <a:pt x="90" y="49"/>
                  </a:lnTo>
                  <a:lnTo>
                    <a:pt x="89" y="57"/>
                  </a:lnTo>
                  <a:lnTo>
                    <a:pt x="96" y="70"/>
                  </a:lnTo>
                  <a:lnTo>
                    <a:pt x="112" y="80"/>
                  </a:lnTo>
                  <a:lnTo>
                    <a:pt x="118" y="91"/>
                  </a:lnTo>
                  <a:lnTo>
                    <a:pt x="117" y="103"/>
                  </a:lnTo>
                  <a:lnTo>
                    <a:pt x="120" y="104"/>
                  </a:lnTo>
                  <a:lnTo>
                    <a:pt x="121" y="104"/>
                  </a:lnTo>
                  <a:lnTo>
                    <a:pt x="123" y="111"/>
                  </a:lnTo>
                  <a:lnTo>
                    <a:pt x="130" y="117"/>
                  </a:lnTo>
                  <a:lnTo>
                    <a:pt x="130" y="119"/>
                  </a:lnTo>
                  <a:lnTo>
                    <a:pt x="127" y="120"/>
                  </a:lnTo>
                  <a:lnTo>
                    <a:pt x="121" y="119"/>
                  </a:lnTo>
                  <a:lnTo>
                    <a:pt x="112" y="119"/>
                  </a:lnTo>
                  <a:lnTo>
                    <a:pt x="104" y="132"/>
                  </a:lnTo>
                  <a:lnTo>
                    <a:pt x="90" y="128"/>
                  </a:lnTo>
                  <a:lnTo>
                    <a:pt x="81" y="131"/>
                  </a:lnTo>
                  <a:lnTo>
                    <a:pt x="80" y="131"/>
                  </a:lnTo>
                  <a:lnTo>
                    <a:pt x="65" y="125"/>
                  </a:lnTo>
                  <a:lnTo>
                    <a:pt x="65" y="123"/>
                  </a:lnTo>
                  <a:lnTo>
                    <a:pt x="64" y="114"/>
                  </a:lnTo>
                  <a:lnTo>
                    <a:pt x="58" y="113"/>
                  </a:lnTo>
                  <a:lnTo>
                    <a:pt x="56" y="113"/>
                  </a:lnTo>
                  <a:lnTo>
                    <a:pt x="53" y="107"/>
                  </a:lnTo>
                  <a:lnTo>
                    <a:pt x="40" y="103"/>
                  </a:lnTo>
                  <a:lnTo>
                    <a:pt x="25" y="91"/>
                  </a:lnTo>
                  <a:lnTo>
                    <a:pt x="6" y="85"/>
                  </a:lnTo>
                  <a:lnTo>
                    <a:pt x="4" y="85"/>
                  </a:lnTo>
                  <a:lnTo>
                    <a:pt x="0" y="68"/>
                  </a:lnTo>
                  <a:lnTo>
                    <a:pt x="0" y="67"/>
                  </a:lnTo>
                  <a:lnTo>
                    <a:pt x="31" y="49"/>
                  </a:lnTo>
                  <a:lnTo>
                    <a:pt x="32" y="43"/>
                  </a:lnTo>
                  <a:lnTo>
                    <a:pt x="34" y="18"/>
                  </a:lnTo>
                  <a:lnTo>
                    <a:pt x="34" y="17"/>
                  </a:lnTo>
                  <a:lnTo>
                    <a:pt x="43" y="15"/>
                  </a:lnTo>
                  <a:lnTo>
                    <a:pt x="50" y="5"/>
                  </a:lnTo>
                  <a:lnTo>
                    <a:pt x="5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8" name="Jordan">
              <a:extLst>
                <a:ext uri="{FF2B5EF4-FFF2-40B4-BE49-F238E27FC236}">
                  <a16:creationId xmlns:a16="http://schemas.microsoft.com/office/drawing/2014/main" id="{38EF9BD0-0410-54B2-FE2E-6CF8A2EE695A}"/>
                </a:ext>
              </a:extLst>
            </p:cNvPr>
            <p:cNvSpPr>
              <a:spLocks/>
            </p:cNvSpPr>
            <p:nvPr/>
          </p:nvSpPr>
          <p:spPr bwMode="auto">
            <a:xfrm>
              <a:off x="6646250" y="3756157"/>
              <a:ext cx="103003" cy="117460"/>
            </a:xfrm>
            <a:custGeom>
              <a:avLst/>
              <a:gdLst>
                <a:gd name="T0" fmla="*/ 51 w 57"/>
                <a:gd name="T1" fmla="*/ 0 h 65"/>
                <a:gd name="T2" fmla="*/ 52 w 57"/>
                <a:gd name="T3" fmla="*/ 0 h 65"/>
                <a:gd name="T4" fmla="*/ 52 w 57"/>
                <a:gd name="T5" fmla="*/ 1 h 65"/>
                <a:gd name="T6" fmla="*/ 57 w 57"/>
                <a:gd name="T7" fmla="*/ 18 h 65"/>
                <a:gd name="T8" fmla="*/ 54 w 57"/>
                <a:gd name="T9" fmla="*/ 24 h 65"/>
                <a:gd name="T10" fmla="*/ 52 w 57"/>
                <a:gd name="T11" fmla="*/ 24 h 65"/>
                <a:gd name="T12" fmla="*/ 30 w 57"/>
                <a:gd name="T13" fmla="*/ 28 h 65"/>
                <a:gd name="T14" fmla="*/ 42 w 57"/>
                <a:gd name="T15" fmla="*/ 43 h 65"/>
                <a:gd name="T16" fmla="*/ 37 w 57"/>
                <a:gd name="T17" fmla="*/ 47 h 65"/>
                <a:gd name="T18" fmla="*/ 36 w 57"/>
                <a:gd name="T19" fmla="*/ 52 h 65"/>
                <a:gd name="T20" fmla="*/ 34 w 57"/>
                <a:gd name="T21" fmla="*/ 52 h 65"/>
                <a:gd name="T22" fmla="*/ 26 w 57"/>
                <a:gd name="T23" fmla="*/ 55 h 65"/>
                <a:gd name="T24" fmla="*/ 17 w 57"/>
                <a:gd name="T25" fmla="*/ 65 h 65"/>
                <a:gd name="T26" fmla="*/ 2 w 57"/>
                <a:gd name="T27" fmla="*/ 64 h 65"/>
                <a:gd name="T28" fmla="*/ 2 w 57"/>
                <a:gd name="T29" fmla="*/ 61 h 65"/>
                <a:gd name="T30" fmla="*/ 8 w 57"/>
                <a:gd name="T31" fmla="*/ 31 h 65"/>
                <a:gd name="T32" fmla="*/ 0 w 57"/>
                <a:gd name="T33" fmla="*/ 31 h 65"/>
                <a:gd name="T34" fmla="*/ 3 w 57"/>
                <a:gd name="T35" fmla="*/ 25 h 65"/>
                <a:gd name="T36" fmla="*/ 2 w 57"/>
                <a:gd name="T37" fmla="*/ 24 h 65"/>
                <a:gd name="T38" fmla="*/ 0 w 57"/>
                <a:gd name="T39" fmla="*/ 24 h 65"/>
                <a:gd name="T40" fmla="*/ 0 w 57"/>
                <a:gd name="T41" fmla="*/ 18 h 65"/>
                <a:gd name="T42" fmla="*/ 5 w 57"/>
                <a:gd name="T43" fmla="*/ 13 h 65"/>
                <a:gd name="T44" fmla="*/ 5 w 57"/>
                <a:gd name="T45" fmla="*/ 12 h 65"/>
                <a:gd name="T46" fmla="*/ 9 w 57"/>
                <a:gd name="T47" fmla="*/ 15 h 65"/>
                <a:gd name="T48" fmla="*/ 9 w 57"/>
                <a:gd name="T49" fmla="*/ 10 h 65"/>
                <a:gd name="T50" fmla="*/ 12 w 57"/>
                <a:gd name="T51" fmla="*/ 10 h 65"/>
                <a:gd name="T52" fmla="*/ 23 w 57"/>
                <a:gd name="T53" fmla="*/ 16 h 65"/>
                <a:gd name="T54" fmla="*/ 51 w 57"/>
                <a:gd name="T5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 h="65">
                  <a:moveTo>
                    <a:pt x="51" y="0"/>
                  </a:moveTo>
                  <a:lnTo>
                    <a:pt x="52" y="0"/>
                  </a:lnTo>
                  <a:lnTo>
                    <a:pt x="52" y="1"/>
                  </a:lnTo>
                  <a:lnTo>
                    <a:pt x="57" y="18"/>
                  </a:lnTo>
                  <a:lnTo>
                    <a:pt x="54" y="24"/>
                  </a:lnTo>
                  <a:lnTo>
                    <a:pt x="52" y="24"/>
                  </a:lnTo>
                  <a:lnTo>
                    <a:pt x="30" y="28"/>
                  </a:lnTo>
                  <a:lnTo>
                    <a:pt x="42" y="43"/>
                  </a:lnTo>
                  <a:lnTo>
                    <a:pt x="37" y="47"/>
                  </a:lnTo>
                  <a:lnTo>
                    <a:pt x="36" y="52"/>
                  </a:lnTo>
                  <a:lnTo>
                    <a:pt x="34" y="52"/>
                  </a:lnTo>
                  <a:lnTo>
                    <a:pt x="26" y="55"/>
                  </a:lnTo>
                  <a:lnTo>
                    <a:pt x="17" y="65"/>
                  </a:lnTo>
                  <a:lnTo>
                    <a:pt x="2" y="64"/>
                  </a:lnTo>
                  <a:lnTo>
                    <a:pt x="2" y="61"/>
                  </a:lnTo>
                  <a:lnTo>
                    <a:pt x="8" y="31"/>
                  </a:lnTo>
                  <a:lnTo>
                    <a:pt x="0" y="31"/>
                  </a:lnTo>
                  <a:lnTo>
                    <a:pt x="3" y="25"/>
                  </a:lnTo>
                  <a:lnTo>
                    <a:pt x="2" y="24"/>
                  </a:lnTo>
                  <a:lnTo>
                    <a:pt x="0" y="24"/>
                  </a:lnTo>
                  <a:lnTo>
                    <a:pt x="0" y="18"/>
                  </a:lnTo>
                  <a:lnTo>
                    <a:pt x="5" y="13"/>
                  </a:lnTo>
                  <a:lnTo>
                    <a:pt x="5" y="12"/>
                  </a:lnTo>
                  <a:lnTo>
                    <a:pt x="9" y="15"/>
                  </a:lnTo>
                  <a:lnTo>
                    <a:pt x="9" y="10"/>
                  </a:lnTo>
                  <a:lnTo>
                    <a:pt x="12" y="10"/>
                  </a:lnTo>
                  <a:lnTo>
                    <a:pt x="23" y="16"/>
                  </a:lnTo>
                  <a:lnTo>
                    <a:pt x="5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9" name="Saudi Arabia">
              <a:extLst>
                <a:ext uri="{FF2B5EF4-FFF2-40B4-BE49-F238E27FC236}">
                  <a16:creationId xmlns:a16="http://schemas.microsoft.com/office/drawing/2014/main" id="{F20CDF63-8004-7716-E7B4-0C83BECE1598}"/>
                </a:ext>
              </a:extLst>
            </p:cNvPr>
            <p:cNvSpPr>
              <a:spLocks/>
            </p:cNvSpPr>
            <p:nvPr/>
          </p:nvSpPr>
          <p:spPr bwMode="auto">
            <a:xfrm>
              <a:off x="6644443" y="3785071"/>
              <a:ext cx="498749" cy="433695"/>
            </a:xfrm>
            <a:custGeom>
              <a:avLst/>
              <a:gdLst>
                <a:gd name="T0" fmla="*/ 77 w 276"/>
                <a:gd name="T1" fmla="*/ 8 h 240"/>
                <a:gd name="T2" fmla="*/ 107 w 276"/>
                <a:gd name="T3" fmla="*/ 23 h 240"/>
                <a:gd name="T4" fmla="*/ 116 w 276"/>
                <a:gd name="T5" fmla="*/ 30 h 240"/>
                <a:gd name="T6" fmla="*/ 118 w 276"/>
                <a:gd name="T7" fmla="*/ 40 h 240"/>
                <a:gd name="T8" fmla="*/ 142 w 276"/>
                <a:gd name="T9" fmla="*/ 54 h 240"/>
                <a:gd name="T10" fmla="*/ 166 w 276"/>
                <a:gd name="T11" fmla="*/ 51 h 240"/>
                <a:gd name="T12" fmla="*/ 179 w 276"/>
                <a:gd name="T13" fmla="*/ 57 h 240"/>
                <a:gd name="T14" fmla="*/ 191 w 276"/>
                <a:gd name="T15" fmla="*/ 73 h 240"/>
                <a:gd name="T16" fmla="*/ 201 w 276"/>
                <a:gd name="T17" fmla="*/ 83 h 240"/>
                <a:gd name="T18" fmla="*/ 201 w 276"/>
                <a:gd name="T19" fmla="*/ 97 h 240"/>
                <a:gd name="T20" fmla="*/ 215 w 276"/>
                <a:gd name="T21" fmla="*/ 114 h 240"/>
                <a:gd name="T22" fmla="*/ 227 w 276"/>
                <a:gd name="T23" fmla="*/ 137 h 240"/>
                <a:gd name="T24" fmla="*/ 268 w 276"/>
                <a:gd name="T25" fmla="*/ 141 h 240"/>
                <a:gd name="T26" fmla="*/ 276 w 276"/>
                <a:gd name="T27" fmla="*/ 153 h 240"/>
                <a:gd name="T28" fmla="*/ 225 w 276"/>
                <a:gd name="T29" fmla="*/ 194 h 240"/>
                <a:gd name="T30" fmla="*/ 153 w 276"/>
                <a:gd name="T31" fmla="*/ 240 h 240"/>
                <a:gd name="T32" fmla="*/ 151 w 276"/>
                <a:gd name="T33" fmla="*/ 226 h 240"/>
                <a:gd name="T34" fmla="*/ 114 w 276"/>
                <a:gd name="T35" fmla="*/ 220 h 240"/>
                <a:gd name="T36" fmla="*/ 104 w 276"/>
                <a:gd name="T37" fmla="*/ 229 h 240"/>
                <a:gd name="T38" fmla="*/ 90 w 276"/>
                <a:gd name="T39" fmla="*/ 208 h 240"/>
                <a:gd name="T40" fmla="*/ 80 w 276"/>
                <a:gd name="T41" fmla="*/ 187 h 240"/>
                <a:gd name="T42" fmla="*/ 59 w 276"/>
                <a:gd name="T43" fmla="*/ 171 h 240"/>
                <a:gd name="T44" fmla="*/ 56 w 276"/>
                <a:gd name="T45" fmla="*/ 146 h 240"/>
                <a:gd name="T46" fmla="*/ 40 w 276"/>
                <a:gd name="T47" fmla="*/ 120 h 240"/>
                <a:gd name="T48" fmla="*/ 35 w 276"/>
                <a:gd name="T49" fmla="*/ 119 h 240"/>
                <a:gd name="T50" fmla="*/ 6 w 276"/>
                <a:gd name="T51" fmla="*/ 66 h 240"/>
                <a:gd name="T52" fmla="*/ 3 w 276"/>
                <a:gd name="T53" fmla="*/ 43 h 240"/>
                <a:gd name="T54" fmla="*/ 4 w 276"/>
                <a:gd name="T55" fmla="*/ 46 h 240"/>
                <a:gd name="T56" fmla="*/ 25 w 276"/>
                <a:gd name="T57" fmla="*/ 37 h 240"/>
                <a:gd name="T58" fmla="*/ 37 w 276"/>
                <a:gd name="T59" fmla="*/ 30 h 240"/>
                <a:gd name="T60" fmla="*/ 28 w 276"/>
                <a:gd name="T61" fmla="*/ 12 h 240"/>
                <a:gd name="T62" fmla="*/ 30 w 276"/>
                <a:gd name="T63" fmla="*/ 11 h 240"/>
                <a:gd name="T64" fmla="*/ 56 w 276"/>
                <a:gd name="T65" fmla="*/ 2 h 240"/>
                <a:gd name="T66" fmla="*/ 58 w 276"/>
                <a:gd name="T6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240">
                  <a:moveTo>
                    <a:pt x="58" y="0"/>
                  </a:moveTo>
                  <a:lnTo>
                    <a:pt x="77" y="8"/>
                  </a:lnTo>
                  <a:lnTo>
                    <a:pt x="93" y="18"/>
                  </a:lnTo>
                  <a:lnTo>
                    <a:pt x="107" y="23"/>
                  </a:lnTo>
                  <a:lnTo>
                    <a:pt x="110" y="28"/>
                  </a:lnTo>
                  <a:lnTo>
                    <a:pt x="116" y="30"/>
                  </a:lnTo>
                  <a:lnTo>
                    <a:pt x="117" y="30"/>
                  </a:lnTo>
                  <a:lnTo>
                    <a:pt x="118" y="40"/>
                  </a:lnTo>
                  <a:lnTo>
                    <a:pt x="133" y="46"/>
                  </a:lnTo>
                  <a:lnTo>
                    <a:pt x="142" y="54"/>
                  </a:lnTo>
                  <a:lnTo>
                    <a:pt x="156" y="48"/>
                  </a:lnTo>
                  <a:lnTo>
                    <a:pt x="166" y="51"/>
                  </a:lnTo>
                  <a:lnTo>
                    <a:pt x="170" y="57"/>
                  </a:lnTo>
                  <a:lnTo>
                    <a:pt x="179" y="57"/>
                  </a:lnTo>
                  <a:lnTo>
                    <a:pt x="184" y="67"/>
                  </a:lnTo>
                  <a:lnTo>
                    <a:pt x="191" y="73"/>
                  </a:lnTo>
                  <a:lnTo>
                    <a:pt x="193" y="77"/>
                  </a:lnTo>
                  <a:lnTo>
                    <a:pt x="201" y="83"/>
                  </a:lnTo>
                  <a:lnTo>
                    <a:pt x="203" y="91"/>
                  </a:lnTo>
                  <a:lnTo>
                    <a:pt x="201" y="97"/>
                  </a:lnTo>
                  <a:lnTo>
                    <a:pt x="210" y="111"/>
                  </a:lnTo>
                  <a:lnTo>
                    <a:pt x="215" y="114"/>
                  </a:lnTo>
                  <a:lnTo>
                    <a:pt x="222" y="126"/>
                  </a:lnTo>
                  <a:lnTo>
                    <a:pt x="227" y="137"/>
                  </a:lnTo>
                  <a:lnTo>
                    <a:pt x="265" y="143"/>
                  </a:lnTo>
                  <a:lnTo>
                    <a:pt x="268" y="141"/>
                  </a:lnTo>
                  <a:lnTo>
                    <a:pt x="276" y="151"/>
                  </a:lnTo>
                  <a:lnTo>
                    <a:pt x="276" y="153"/>
                  </a:lnTo>
                  <a:lnTo>
                    <a:pt x="265" y="180"/>
                  </a:lnTo>
                  <a:lnTo>
                    <a:pt x="225" y="194"/>
                  </a:lnTo>
                  <a:lnTo>
                    <a:pt x="185" y="203"/>
                  </a:lnTo>
                  <a:lnTo>
                    <a:pt x="153" y="240"/>
                  </a:lnTo>
                  <a:lnTo>
                    <a:pt x="151" y="240"/>
                  </a:lnTo>
                  <a:lnTo>
                    <a:pt x="151" y="226"/>
                  </a:lnTo>
                  <a:lnTo>
                    <a:pt x="127" y="217"/>
                  </a:lnTo>
                  <a:lnTo>
                    <a:pt x="114" y="220"/>
                  </a:lnTo>
                  <a:lnTo>
                    <a:pt x="104" y="230"/>
                  </a:lnTo>
                  <a:lnTo>
                    <a:pt x="104" y="229"/>
                  </a:lnTo>
                  <a:lnTo>
                    <a:pt x="98" y="214"/>
                  </a:lnTo>
                  <a:lnTo>
                    <a:pt x="90" y="208"/>
                  </a:lnTo>
                  <a:lnTo>
                    <a:pt x="83" y="197"/>
                  </a:lnTo>
                  <a:lnTo>
                    <a:pt x="80" y="187"/>
                  </a:lnTo>
                  <a:lnTo>
                    <a:pt x="73" y="180"/>
                  </a:lnTo>
                  <a:lnTo>
                    <a:pt x="59" y="171"/>
                  </a:lnTo>
                  <a:lnTo>
                    <a:pt x="55" y="153"/>
                  </a:lnTo>
                  <a:lnTo>
                    <a:pt x="56" y="146"/>
                  </a:lnTo>
                  <a:lnTo>
                    <a:pt x="47" y="126"/>
                  </a:lnTo>
                  <a:lnTo>
                    <a:pt x="40" y="120"/>
                  </a:lnTo>
                  <a:lnTo>
                    <a:pt x="35" y="120"/>
                  </a:lnTo>
                  <a:lnTo>
                    <a:pt x="35" y="119"/>
                  </a:lnTo>
                  <a:lnTo>
                    <a:pt x="30" y="103"/>
                  </a:lnTo>
                  <a:lnTo>
                    <a:pt x="6" y="66"/>
                  </a:lnTo>
                  <a:lnTo>
                    <a:pt x="0" y="64"/>
                  </a:lnTo>
                  <a:lnTo>
                    <a:pt x="3" y="43"/>
                  </a:lnTo>
                  <a:lnTo>
                    <a:pt x="4" y="43"/>
                  </a:lnTo>
                  <a:lnTo>
                    <a:pt x="4" y="46"/>
                  </a:lnTo>
                  <a:lnTo>
                    <a:pt x="18" y="48"/>
                  </a:lnTo>
                  <a:lnTo>
                    <a:pt x="25" y="37"/>
                  </a:lnTo>
                  <a:lnTo>
                    <a:pt x="35" y="34"/>
                  </a:lnTo>
                  <a:lnTo>
                    <a:pt x="37" y="30"/>
                  </a:lnTo>
                  <a:lnTo>
                    <a:pt x="41" y="27"/>
                  </a:lnTo>
                  <a:lnTo>
                    <a:pt x="28" y="12"/>
                  </a:lnTo>
                  <a:lnTo>
                    <a:pt x="28" y="11"/>
                  </a:lnTo>
                  <a:lnTo>
                    <a:pt x="30" y="11"/>
                  </a:lnTo>
                  <a:lnTo>
                    <a:pt x="53" y="6"/>
                  </a:lnTo>
                  <a:lnTo>
                    <a:pt x="56" y="2"/>
                  </a:lnTo>
                  <a:lnTo>
                    <a:pt x="58" y="2"/>
                  </a:lnTo>
                  <a:lnTo>
                    <a:pt x="5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0" name="Syria">
              <a:extLst>
                <a:ext uri="{FF2B5EF4-FFF2-40B4-BE49-F238E27FC236}">
                  <a16:creationId xmlns:a16="http://schemas.microsoft.com/office/drawing/2014/main" id="{A6219D05-4968-2048-207E-44364CC980A8}"/>
                </a:ext>
              </a:extLst>
            </p:cNvPr>
            <p:cNvSpPr>
              <a:spLocks/>
            </p:cNvSpPr>
            <p:nvPr/>
          </p:nvSpPr>
          <p:spPr bwMode="auto">
            <a:xfrm>
              <a:off x="6662514" y="3640505"/>
              <a:ext cx="169864" cy="148179"/>
            </a:xfrm>
            <a:custGeom>
              <a:avLst/>
              <a:gdLst>
                <a:gd name="T0" fmla="*/ 88 w 94"/>
                <a:gd name="T1" fmla="*/ 0 h 82"/>
                <a:gd name="T2" fmla="*/ 89 w 94"/>
                <a:gd name="T3" fmla="*/ 0 h 82"/>
                <a:gd name="T4" fmla="*/ 92 w 94"/>
                <a:gd name="T5" fmla="*/ 2 h 82"/>
                <a:gd name="T6" fmla="*/ 94 w 94"/>
                <a:gd name="T7" fmla="*/ 2 h 82"/>
                <a:gd name="T8" fmla="*/ 94 w 94"/>
                <a:gd name="T9" fmla="*/ 3 h 82"/>
                <a:gd name="T10" fmla="*/ 85 w 94"/>
                <a:gd name="T11" fmla="*/ 12 h 82"/>
                <a:gd name="T12" fmla="*/ 77 w 94"/>
                <a:gd name="T13" fmla="*/ 15 h 82"/>
                <a:gd name="T14" fmla="*/ 76 w 94"/>
                <a:gd name="T15" fmla="*/ 40 h 82"/>
                <a:gd name="T16" fmla="*/ 74 w 94"/>
                <a:gd name="T17" fmla="*/ 46 h 82"/>
                <a:gd name="T18" fmla="*/ 74 w 94"/>
                <a:gd name="T19" fmla="*/ 48 h 82"/>
                <a:gd name="T20" fmla="*/ 43 w 94"/>
                <a:gd name="T21" fmla="*/ 65 h 82"/>
                <a:gd name="T22" fmla="*/ 14 w 94"/>
                <a:gd name="T23" fmla="*/ 82 h 82"/>
                <a:gd name="T24" fmla="*/ 3 w 94"/>
                <a:gd name="T25" fmla="*/ 74 h 82"/>
                <a:gd name="T26" fmla="*/ 0 w 94"/>
                <a:gd name="T27" fmla="*/ 76 h 82"/>
                <a:gd name="T28" fmla="*/ 0 w 94"/>
                <a:gd name="T29" fmla="*/ 65 h 82"/>
                <a:gd name="T30" fmla="*/ 8 w 94"/>
                <a:gd name="T31" fmla="*/ 61 h 82"/>
                <a:gd name="T32" fmla="*/ 8 w 94"/>
                <a:gd name="T33" fmla="*/ 57 h 82"/>
                <a:gd name="T34" fmla="*/ 11 w 94"/>
                <a:gd name="T35" fmla="*/ 55 h 82"/>
                <a:gd name="T36" fmla="*/ 11 w 94"/>
                <a:gd name="T37" fmla="*/ 54 h 82"/>
                <a:gd name="T38" fmla="*/ 15 w 94"/>
                <a:gd name="T39" fmla="*/ 51 h 82"/>
                <a:gd name="T40" fmla="*/ 12 w 94"/>
                <a:gd name="T41" fmla="*/ 46 h 82"/>
                <a:gd name="T42" fmla="*/ 12 w 94"/>
                <a:gd name="T43" fmla="*/ 43 h 82"/>
                <a:gd name="T44" fmla="*/ 6 w 94"/>
                <a:gd name="T45" fmla="*/ 43 h 82"/>
                <a:gd name="T46" fmla="*/ 6 w 94"/>
                <a:gd name="T47" fmla="*/ 21 h 82"/>
                <a:gd name="T48" fmla="*/ 9 w 94"/>
                <a:gd name="T49" fmla="*/ 24 h 82"/>
                <a:gd name="T50" fmla="*/ 12 w 94"/>
                <a:gd name="T51" fmla="*/ 18 h 82"/>
                <a:gd name="T52" fmla="*/ 15 w 94"/>
                <a:gd name="T53" fmla="*/ 18 h 82"/>
                <a:gd name="T54" fmla="*/ 14 w 94"/>
                <a:gd name="T55" fmla="*/ 15 h 82"/>
                <a:gd name="T56" fmla="*/ 14 w 94"/>
                <a:gd name="T57" fmla="*/ 14 h 82"/>
                <a:gd name="T58" fmla="*/ 15 w 94"/>
                <a:gd name="T59" fmla="*/ 8 h 82"/>
                <a:gd name="T60" fmla="*/ 17 w 94"/>
                <a:gd name="T61" fmla="*/ 8 h 82"/>
                <a:gd name="T62" fmla="*/ 27 w 94"/>
                <a:gd name="T63" fmla="*/ 11 h 82"/>
                <a:gd name="T64" fmla="*/ 39 w 94"/>
                <a:gd name="T65" fmla="*/ 6 h 82"/>
                <a:gd name="T66" fmla="*/ 49 w 94"/>
                <a:gd name="T67" fmla="*/ 11 h 82"/>
                <a:gd name="T68" fmla="*/ 68 w 94"/>
                <a:gd name="T69" fmla="*/ 2 h 82"/>
                <a:gd name="T70" fmla="*/ 83 w 94"/>
                <a:gd name="T71" fmla="*/ 3 h 82"/>
                <a:gd name="T72" fmla="*/ 88 w 94"/>
                <a:gd name="T7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82">
                  <a:moveTo>
                    <a:pt x="88" y="0"/>
                  </a:moveTo>
                  <a:lnTo>
                    <a:pt x="89" y="0"/>
                  </a:lnTo>
                  <a:lnTo>
                    <a:pt x="92" y="2"/>
                  </a:lnTo>
                  <a:lnTo>
                    <a:pt x="94" y="2"/>
                  </a:lnTo>
                  <a:lnTo>
                    <a:pt x="94" y="3"/>
                  </a:lnTo>
                  <a:lnTo>
                    <a:pt x="85" y="12"/>
                  </a:lnTo>
                  <a:lnTo>
                    <a:pt x="77" y="15"/>
                  </a:lnTo>
                  <a:lnTo>
                    <a:pt x="76" y="40"/>
                  </a:lnTo>
                  <a:lnTo>
                    <a:pt x="74" y="46"/>
                  </a:lnTo>
                  <a:lnTo>
                    <a:pt x="74" y="48"/>
                  </a:lnTo>
                  <a:lnTo>
                    <a:pt x="43" y="65"/>
                  </a:lnTo>
                  <a:lnTo>
                    <a:pt x="14" y="82"/>
                  </a:lnTo>
                  <a:lnTo>
                    <a:pt x="3" y="74"/>
                  </a:lnTo>
                  <a:lnTo>
                    <a:pt x="0" y="76"/>
                  </a:lnTo>
                  <a:lnTo>
                    <a:pt x="0" y="65"/>
                  </a:lnTo>
                  <a:lnTo>
                    <a:pt x="8" y="61"/>
                  </a:lnTo>
                  <a:lnTo>
                    <a:pt x="8" y="57"/>
                  </a:lnTo>
                  <a:lnTo>
                    <a:pt x="11" y="55"/>
                  </a:lnTo>
                  <a:lnTo>
                    <a:pt x="11" y="54"/>
                  </a:lnTo>
                  <a:lnTo>
                    <a:pt x="15" y="51"/>
                  </a:lnTo>
                  <a:lnTo>
                    <a:pt x="12" y="46"/>
                  </a:lnTo>
                  <a:lnTo>
                    <a:pt x="12" y="43"/>
                  </a:lnTo>
                  <a:lnTo>
                    <a:pt x="6" y="43"/>
                  </a:lnTo>
                  <a:lnTo>
                    <a:pt x="6" y="21"/>
                  </a:lnTo>
                  <a:lnTo>
                    <a:pt x="9" y="24"/>
                  </a:lnTo>
                  <a:lnTo>
                    <a:pt x="12" y="18"/>
                  </a:lnTo>
                  <a:lnTo>
                    <a:pt x="15" y="18"/>
                  </a:lnTo>
                  <a:lnTo>
                    <a:pt x="14" y="15"/>
                  </a:lnTo>
                  <a:lnTo>
                    <a:pt x="14" y="14"/>
                  </a:lnTo>
                  <a:lnTo>
                    <a:pt x="15" y="8"/>
                  </a:lnTo>
                  <a:lnTo>
                    <a:pt x="17" y="8"/>
                  </a:lnTo>
                  <a:lnTo>
                    <a:pt x="27" y="11"/>
                  </a:lnTo>
                  <a:lnTo>
                    <a:pt x="39" y="6"/>
                  </a:lnTo>
                  <a:lnTo>
                    <a:pt x="49" y="11"/>
                  </a:lnTo>
                  <a:lnTo>
                    <a:pt x="68" y="2"/>
                  </a:lnTo>
                  <a:lnTo>
                    <a:pt x="83" y="3"/>
                  </a:lnTo>
                  <a:lnTo>
                    <a:pt x="8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1" name="United Arab Emirates">
              <a:extLst>
                <a:ext uri="{FF2B5EF4-FFF2-40B4-BE49-F238E27FC236}">
                  <a16:creationId xmlns:a16="http://schemas.microsoft.com/office/drawing/2014/main" id="{82967414-91DA-F731-46E8-7F525996A280}"/>
                </a:ext>
              </a:extLst>
            </p:cNvPr>
            <p:cNvSpPr>
              <a:spLocks/>
            </p:cNvSpPr>
            <p:nvPr/>
          </p:nvSpPr>
          <p:spPr bwMode="auto">
            <a:xfrm>
              <a:off x="7029347" y="3954935"/>
              <a:ext cx="126495" cy="93967"/>
            </a:xfrm>
            <a:custGeom>
              <a:avLst/>
              <a:gdLst>
                <a:gd name="T0" fmla="*/ 66 w 70"/>
                <a:gd name="T1" fmla="*/ 0 h 52"/>
                <a:gd name="T2" fmla="*/ 67 w 70"/>
                <a:gd name="T3" fmla="*/ 0 h 52"/>
                <a:gd name="T4" fmla="*/ 67 w 70"/>
                <a:gd name="T5" fmla="*/ 4 h 52"/>
                <a:gd name="T6" fmla="*/ 69 w 70"/>
                <a:gd name="T7" fmla="*/ 6 h 52"/>
                <a:gd name="T8" fmla="*/ 70 w 70"/>
                <a:gd name="T9" fmla="*/ 16 h 52"/>
                <a:gd name="T10" fmla="*/ 70 w 70"/>
                <a:gd name="T11" fmla="*/ 17 h 52"/>
                <a:gd name="T12" fmla="*/ 63 w 70"/>
                <a:gd name="T13" fmla="*/ 17 h 52"/>
                <a:gd name="T14" fmla="*/ 66 w 70"/>
                <a:gd name="T15" fmla="*/ 28 h 52"/>
                <a:gd name="T16" fmla="*/ 58 w 70"/>
                <a:gd name="T17" fmla="*/ 31 h 52"/>
                <a:gd name="T18" fmla="*/ 55 w 70"/>
                <a:gd name="T19" fmla="*/ 47 h 52"/>
                <a:gd name="T20" fmla="*/ 52 w 70"/>
                <a:gd name="T21" fmla="*/ 50 h 52"/>
                <a:gd name="T22" fmla="*/ 52 w 70"/>
                <a:gd name="T23" fmla="*/ 52 h 52"/>
                <a:gd name="T24" fmla="*/ 12 w 70"/>
                <a:gd name="T25" fmla="*/ 44 h 52"/>
                <a:gd name="T26" fmla="*/ 8 w 70"/>
                <a:gd name="T27" fmla="*/ 32 h 52"/>
                <a:gd name="T28" fmla="*/ 0 w 70"/>
                <a:gd name="T29" fmla="*/ 22 h 52"/>
                <a:gd name="T30" fmla="*/ 0 w 70"/>
                <a:gd name="T31" fmla="*/ 20 h 52"/>
                <a:gd name="T32" fmla="*/ 5 w 70"/>
                <a:gd name="T33" fmla="*/ 19 h 52"/>
                <a:gd name="T34" fmla="*/ 6 w 70"/>
                <a:gd name="T35" fmla="*/ 19 h 52"/>
                <a:gd name="T36" fmla="*/ 6 w 70"/>
                <a:gd name="T37" fmla="*/ 25 h 52"/>
                <a:gd name="T38" fmla="*/ 9 w 70"/>
                <a:gd name="T39" fmla="*/ 25 h 52"/>
                <a:gd name="T40" fmla="*/ 11 w 70"/>
                <a:gd name="T41" fmla="*/ 28 h 52"/>
                <a:gd name="T42" fmla="*/ 17 w 70"/>
                <a:gd name="T43" fmla="*/ 28 h 52"/>
                <a:gd name="T44" fmla="*/ 21 w 70"/>
                <a:gd name="T45" fmla="*/ 25 h 52"/>
                <a:gd name="T46" fmla="*/ 39 w 70"/>
                <a:gd name="T47" fmla="*/ 26 h 52"/>
                <a:gd name="T48" fmla="*/ 43 w 70"/>
                <a:gd name="T49" fmla="*/ 25 h 52"/>
                <a:gd name="T50" fmla="*/ 43 w 70"/>
                <a:gd name="T51" fmla="*/ 22 h 52"/>
                <a:gd name="T52" fmla="*/ 66 w 70"/>
                <a:gd name="T5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52">
                  <a:moveTo>
                    <a:pt x="66" y="0"/>
                  </a:moveTo>
                  <a:lnTo>
                    <a:pt x="67" y="0"/>
                  </a:lnTo>
                  <a:lnTo>
                    <a:pt x="67" y="4"/>
                  </a:lnTo>
                  <a:lnTo>
                    <a:pt x="69" y="6"/>
                  </a:lnTo>
                  <a:lnTo>
                    <a:pt x="70" y="16"/>
                  </a:lnTo>
                  <a:lnTo>
                    <a:pt x="70" y="17"/>
                  </a:lnTo>
                  <a:lnTo>
                    <a:pt x="63" y="17"/>
                  </a:lnTo>
                  <a:lnTo>
                    <a:pt x="66" y="28"/>
                  </a:lnTo>
                  <a:lnTo>
                    <a:pt x="58" y="31"/>
                  </a:lnTo>
                  <a:lnTo>
                    <a:pt x="55" y="47"/>
                  </a:lnTo>
                  <a:lnTo>
                    <a:pt x="52" y="50"/>
                  </a:lnTo>
                  <a:lnTo>
                    <a:pt x="52" y="52"/>
                  </a:lnTo>
                  <a:lnTo>
                    <a:pt x="12" y="44"/>
                  </a:lnTo>
                  <a:lnTo>
                    <a:pt x="8" y="32"/>
                  </a:lnTo>
                  <a:lnTo>
                    <a:pt x="0" y="22"/>
                  </a:lnTo>
                  <a:lnTo>
                    <a:pt x="0" y="20"/>
                  </a:lnTo>
                  <a:lnTo>
                    <a:pt x="5" y="19"/>
                  </a:lnTo>
                  <a:lnTo>
                    <a:pt x="6" y="19"/>
                  </a:lnTo>
                  <a:lnTo>
                    <a:pt x="6" y="25"/>
                  </a:lnTo>
                  <a:lnTo>
                    <a:pt x="9" y="25"/>
                  </a:lnTo>
                  <a:lnTo>
                    <a:pt x="11" y="28"/>
                  </a:lnTo>
                  <a:lnTo>
                    <a:pt x="17" y="28"/>
                  </a:lnTo>
                  <a:lnTo>
                    <a:pt x="21" y="25"/>
                  </a:lnTo>
                  <a:lnTo>
                    <a:pt x="39" y="26"/>
                  </a:lnTo>
                  <a:lnTo>
                    <a:pt x="43" y="25"/>
                  </a:lnTo>
                  <a:lnTo>
                    <a:pt x="43" y="22"/>
                  </a:lnTo>
                  <a:lnTo>
                    <a:pt x="6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2" name="Yemen">
              <a:extLst>
                <a:ext uri="{FF2B5EF4-FFF2-40B4-BE49-F238E27FC236}">
                  <a16:creationId xmlns:a16="http://schemas.microsoft.com/office/drawing/2014/main" id="{094D507D-B005-A4C8-0D59-C60BF2B97F97}"/>
                </a:ext>
              </a:extLst>
            </p:cNvPr>
            <p:cNvSpPr>
              <a:spLocks/>
            </p:cNvSpPr>
            <p:nvPr/>
          </p:nvSpPr>
          <p:spPr bwMode="auto">
            <a:xfrm>
              <a:off x="6828764" y="4133834"/>
              <a:ext cx="249374" cy="155407"/>
            </a:xfrm>
            <a:custGeom>
              <a:avLst/>
              <a:gdLst>
                <a:gd name="T0" fmla="*/ 123 w 138"/>
                <a:gd name="T1" fmla="*/ 0 h 86"/>
                <a:gd name="T2" fmla="*/ 125 w 138"/>
                <a:gd name="T3" fmla="*/ 0 h 86"/>
                <a:gd name="T4" fmla="*/ 138 w 138"/>
                <a:gd name="T5" fmla="*/ 33 h 86"/>
                <a:gd name="T6" fmla="*/ 129 w 138"/>
                <a:gd name="T7" fmla="*/ 39 h 86"/>
                <a:gd name="T8" fmla="*/ 128 w 138"/>
                <a:gd name="T9" fmla="*/ 46 h 86"/>
                <a:gd name="T10" fmla="*/ 128 w 138"/>
                <a:gd name="T11" fmla="*/ 47 h 86"/>
                <a:gd name="T12" fmla="*/ 92 w 138"/>
                <a:gd name="T13" fmla="*/ 59 h 86"/>
                <a:gd name="T14" fmla="*/ 86 w 138"/>
                <a:gd name="T15" fmla="*/ 62 h 86"/>
                <a:gd name="T16" fmla="*/ 82 w 138"/>
                <a:gd name="T17" fmla="*/ 67 h 86"/>
                <a:gd name="T18" fmla="*/ 70 w 138"/>
                <a:gd name="T19" fmla="*/ 70 h 86"/>
                <a:gd name="T20" fmla="*/ 56 w 138"/>
                <a:gd name="T21" fmla="*/ 77 h 86"/>
                <a:gd name="T22" fmla="*/ 43 w 138"/>
                <a:gd name="T23" fmla="*/ 77 h 86"/>
                <a:gd name="T24" fmla="*/ 31 w 138"/>
                <a:gd name="T25" fmla="*/ 86 h 86"/>
                <a:gd name="T26" fmla="*/ 12 w 138"/>
                <a:gd name="T27" fmla="*/ 86 h 86"/>
                <a:gd name="T28" fmla="*/ 9 w 138"/>
                <a:gd name="T29" fmla="*/ 79 h 86"/>
                <a:gd name="T30" fmla="*/ 3 w 138"/>
                <a:gd name="T31" fmla="*/ 53 h 86"/>
                <a:gd name="T32" fmla="*/ 0 w 138"/>
                <a:gd name="T33" fmla="*/ 50 h 86"/>
                <a:gd name="T34" fmla="*/ 3 w 138"/>
                <a:gd name="T35" fmla="*/ 42 h 86"/>
                <a:gd name="T36" fmla="*/ 2 w 138"/>
                <a:gd name="T37" fmla="*/ 36 h 86"/>
                <a:gd name="T38" fmla="*/ 12 w 138"/>
                <a:gd name="T39" fmla="*/ 27 h 86"/>
                <a:gd name="T40" fmla="*/ 25 w 138"/>
                <a:gd name="T41" fmla="*/ 22 h 86"/>
                <a:gd name="T42" fmla="*/ 49 w 138"/>
                <a:gd name="T43" fmla="*/ 31 h 86"/>
                <a:gd name="T44" fmla="*/ 51 w 138"/>
                <a:gd name="T45" fmla="*/ 31 h 86"/>
                <a:gd name="T46" fmla="*/ 51 w 138"/>
                <a:gd name="T47" fmla="*/ 44 h 86"/>
                <a:gd name="T48" fmla="*/ 82 w 138"/>
                <a:gd name="T49" fmla="*/ 9 h 86"/>
                <a:gd name="T50" fmla="*/ 123 w 138"/>
                <a:gd name="T5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8" h="86">
                  <a:moveTo>
                    <a:pt x="123" y="0"/>
                  </a:moveTo>
                  <a:lnTo>
                    <a:pt x="125" y="0"/>
                  </a:lnTo>
                  <a:lnTo>
                    <a:pt x="138" y="33"/>
                  </a:lnTo>
                  <a:lnTo>
                    <a:pt x="129" y="39"/>
                  </a:lnTo>
                  <a:lnTo>
                    <a:pt x="128" y="46"/>
                  </a:lnTo>
                  <a:lnTo>
                    <a:pt x="128" y="47"/>
                  </a:lnTo>
                  <a:lnTo>
                    <a:pt x="92" y="59"/>
                  </a:lnTo>
                  <a:lnTo>
                    <a:pt x="86" y="62"/>
                  </a:lnTo>
                  <a:lnTo>
                    <a:pt x="82" y="67"/>
                  </a:lnTo>
                  <a:lnTo>
                    <a:pt x="70" y="70"/>
                  </a:lnTo>
                  <a:lnTo>
                    <a:pt x="56" y="77"/>
                  </a:lnTo>
                  <a:lnTo>
                    <a:pt x="43" y="77"/>
                  </a:lnTo>
                  <a:lnTo>
                    <a:pt x="31" y="86"/>
                  </a:lnTo>
                  <a:lnTo>
                    <a:pt x="12" y="86"/>
                  </a:lnTo>
                  <a:lnTo>
                    <a:pt x="9" y="79"/>
                  </a:lnTo>
                  <a:lnTo>
                    <a:pt x="3" y="53"/>
                  </a:lnTo>
                  <a:lnTo>
                    <a:pt x="0" y="50"/>
                  </a:lnTo>
                  <a:lnTo>
                    <a:pt x="3" y="42"/>
                  </a:lnTo>
                  <a:lnTo>
                    <a:pt x="2" y="36"/>
                  </a:lnTo>
                  <a:lnTo>
                    <a:pt x="12" y="27"/>
                  </a:lnTo>
                  <a:lnTo>
                    <a:pt x="25" y="22"/>
                  </a:lnTo>
                  <a:lnTo>
                    <a:pt x="49" y="31"/>
                  </a:lnTo>
                  <a:lnTo>
                    <a:pt x="51" y="31"/>
                  </a:lnTo>
                  <a:lnTo>
                    <a:pt x="51" y="44"/>
                  </a:lnTo>
                  <a:lnTo>
                    <a:pt x="82" y="9"/>
                  </a:lnTo>
                  <a:lnTo>
                    <a:pt x="12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3" name="Iran">
              <a:extLst>
                <a:ext uri="{FF2B5EF4-FFF2-40B4-BE49-F238E27FC236}">
                  <a16:creationId xmlns:a16="http://schemas.microsoft.com/office/drawing/2014/main" id="{01902083-68B2-D640-BF8D-AA8BAD3E49B0}"/>
                </a:ext>
              </a:extLst>
            </p:cNvPr>
            <p:cNvSpPr>
              <a:spLocks/>
            </p:cNvSpPr>
            <p:nvPr/>
          </p:nvSpPr>
          <p:spPr bwMode="auto">
            <a:xfrm>
              <a:off x="6866711" y="3562803"/>
              <a:ext cx="451766" cy="415624"/>
            </a:xfrm>
            <a:custGeom>
              <a:avLst/>
              <a:gdLst>
                <a:gd name="T0" fmla="*/ 7 w 250"/>
                <a:gd name="T1" fmla="*/ 0 h 230"/>
                <a:gd name="T2" fmla="*/ 9 w 250"/>
                <a:gd name="T3" fmla="*/ 3 h 230"/>
                <a:gd name="T4" fmla="*/ 34 w 250"/>
                <a:gd name="T5" fmla="*/ 17 h 230"/>
                <a:gd name="T6" fmla="*/ 49 w 250"/>
                <a:gd name="T7" fmla="*/ 5 h 230"/>
                <a:gd name="T8" fmla="*/ 56 w 250"/>
                <a:gd name="T9" fmla="*/ 15 h 230"/>
                <a:gd name="T10" fmla="*/ 52 w 250"/>
                <a:gd name="T11" fmla="*/ 18 h 230"/>
                <a:gd name="T12" fmla="*/ 64 w 250"/>
                <a:gd name="T13" fmla="*/ 24 h 230"/>
                <a:gd name="T14" fmla="*/ 78 w 250"/>
                <a:gd name="T15" fmla="*/ 42 h 230"/>
                <a:gd name="T16" fmla="*/ 99 w 250"/>
                <a:gd name="T17" fmla="*/ 55 h 230"/>
                <a:gd name="T18" fmla="*/ 129 w 250"/>
                <a:gd name="T19" fmla="*/ 49 h 230"/>
                <a:gd name="T20" fmla="*/ 127 w 250"/>
                <a:gd name="T21" fmla="*/ 40 h 230"/>
                <a:gd name="T22" fmla="*/ 136 w 250"/>
                <a:gd name="T23" fmla="*/ 39 h 230"/>
                <a:gd name="T24" fmla="*/ 151 w 250"/>
                <a:gd name="T25" fmla="*/ 30 h 230"/>
                <a:gd name="T26" fmla="*/ 167 w 250"/>
                <a:gd name="T27" fmla="*/ 25 h 230"/>
                <a:gd name="T28" fmla="*/ 175 w 250"/>
                <a:gd name="T29" fmla="*/ 31 h 230"/>
                <a:gd name="T30" fmla="*/ 199 w 250"/>
                <a:gd name="T31" fmla="*/ 39 h 230"/>
                <a:gd name="T32" fmla="*/ 216 w 250"/>
                <a:gd name="T33" fmla="*/ 55 h 230"/>
                <a:gd name="T34" fmla="*/ 225 w 250"/>
                <a:gd name="T35" fmla="*/ 68 h 230"/>
                <a:gd name="T36" fmla="*/ 219 w 250"/>
                <a:gd name="T37" fmla="*/ 92 h 230"/>
                <a:gd name="T38" fmla="*/ 215 w 250"/>
                <a:gd name="T39" fmla="*/ 101 h 230"/>
                <a:gd name="T40" fmla="*/ 215 w 250"/>
                <a:gd name="T41" fmla="*/ 114 h 230"/>
                <a:gd name="T42" fmla="*/ 225 w 250"/>
                <a:gd name="T43" fmla="*/ 134 h 230"/>
                <a:gd name="T44" fmla="*/ 231 w 250"/>
                <a:gd name="T45" fmla="*/ 141 h 230"/>
                <a:gd name="T46" fmla="*/ 221 w 250"/>
                <a:gd name="T47" fmla="*/ 162 h 230"/>
                <a:gd name="T48" fmla="*/ 244 w 250"/>
                <a:gd name="T49" fmla="*/ 186 h 230"/>
                <a:gd name="T50" fmla="*/ 250 w 250"/>
                <a:gd name="T51" fmla="*/ 200 h 230"/>
                <a:gd name="T52" fmla="*/ 247 w 250"/>
                <a:gd name="T53" fmla="*/ 208 h 230"/>
                <a:gd name="T54" fmla="*/ 233 w 250"/>
                <a:gd name="T55" fmla="*/ 217 h 230"/>
                <a:gd name="T56" fmla="*/ 228 w 250"/>
                <a:gd name="T57" fmla="*/ 230 h 230"/>
                <a:gd name="T58" fmla="*/ 167 w 250"/>
                <a:gd name="T59" fmla="*/ 205 h 230"/>
                <a:gd name="T60" fmla="*/ 138 w 250"/>
                <a:gd name="T61" fmla="*/ 211 h 230"/>
                <a:gd name="T62" fmla="*/ 123 w 250"/>
                <a:gd name="T63" fmla="*/ 208 h 230"/>
                <a:gd name="T64" fmla="*/ 113 w 250"/>
                <a:gd name="T65" fmla="*/ 202 h 230"/>
                <a:gd name="T66" fmla="*/ 96 w 250"/>
                <a:gd name="T67" fmla="*/ 191 h 230"/>
                <a:gd name="T68" fmla="*/ 95 w 250"/>
                <a:gd name="T69" fmla="*/ 190 h 230"/>
                <a:gd name="T70" fmla="*/ 84 w 250"/>
                <a:gd name="T71" fmla="*/ 172 h 230"/>
                <a:gd name="T72" fmla="*/ 71 w 250"/>
                <a:gd name="T73" fmla="*/ 160 h 230"/>
                <a:gd name="T74" fmla="*/ 59 w 250"/>
                <a:gd name="T75" fmla="*/ 159 h 230"/>
                <a:gd name="T76" fmla="*/ 49 w 250"/>
                <a:gd name="T77" fmla="*/ 146 h 230"/>
                <a:gd name="T78" fmla="*/ 44 w 250"/>
                <a:gd name="T79" fmla="*/ 144 h 230"/>
                <a:gd name="T80" fmla="*/ 46 w 250"/>
                <a:gd name="T81" fmla="*/ 131 h 230"/>
                <a:gd name="T82" fmla="*/ 25 w 250"/>
                <a:gd name="T83" fmla="*/ 111 h 230"/>
                <a:gd name="T84" fmla="*/ 19 w 250"/>
                <a:gd name="T85" fmla="*/ 88 h 230"/>
                <a:gd name="T86" fmla="*/ 25 w 250"/>
                <a:gd name="T87" fmla="*/ 73 h 230"/>
                <a:gd name="T88" fmla="*/ 18 w 250"/>
                <a:gd name="T89" fmla="*/ 64 h 230"/>
                <a:gd name="T90" fmla="*/ 9 w 250"/>
                <a:gd name="T91" fmla="*/ 40 h 230"/>
                <a:gd name="T92" fmla="*/ 1 w 250"/>
                <a:gd name="T93" fmla="*/ 36 h 230"/>
                <a:gd name="T94" fmla="*/ 0 w 250"/>
                <a:gd name="T95" fmla="*/ 9 h 230"/>
                <a:gd name="T96" fmla="*/ 6 w 250"/>
                <a:gd name="T97" fmla="*/ 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 h="230">
                  <a:moveTo>
                    <a:pt x="6" y="0"/>
                  </a:moveTo>
                  <a:lnTo>
                    <a:pt x="7" y="0"/>
                  </a:lnTo>
                  <a:lnTo>
                    <a:pt x="7" y="2"/>
                  </a:lnTo>
                  <a:lnTo>
                    <a:pt x="9" y="3"/>
                  </a:lnTo>
                  <a:lnTo>
                    <a:pt x="18" y="17"/>
                  </a:lnTo>
                  <a:lnTo>
                    <a:pt x="34" y="17"/>
                  </a:lnTo>
                  <a:lnTo>
                    <a:pt x="38" y="8"/>
                  </a:lnTo>
                  <a:lnTo>
                    <a:pt x="49" y="5"/>
                  </a:lnTo>
                  <a:lnTo>
                    <a:pt x="53" y="6"/>
                  </a:lnTo>
                  <a:lnTo>
                    <a:pt x="56" y="15"/>
                  </a:lnTo>
                  <a:lnTo>
                    <a:pt x="55" y="15"/>
                  </a:lnTo>
                  <a:lnTo>
                    <a:pt x="52" y="18"/>
                  </a:lnTo>
                  <a:lnTo>
                    <a:pt x="62" y="24"/>
                  </a:lnTo>
                  <a:lnTo>
                    <a:pt x="64" y="24"/>
                  </a:lnTo>
                  <a:lnTo>
                    <a:pt x="67" y="39"/>
                  </a:lnTo>
                  <a:lnTo>
                    <a:pt x="78" y="42"/>
                  </a:lnTo>
                  <a:lnTo>
                    <a:pt x="87" y="49"/>
                  </a:lnTo>
                  <a:lnTo>
                    <a:pt x="99" y="55"/>
                  </a:lnTo>
                  <a:lnTo>
                    <a:pt x="120" y="51"/>
                  </a:lnTo>
                  <a:lnTo>
                    <a:pt x="129" y="49"/>
                  </a:lnTo>
                  <a:lnTo>
                    <a:pt x="127" y="42"/>
                  </a:lnTo>
                  <a:lnTo>
                    <a:pt x="127" y="40"/>
                  </a:lnTo>
                  <a:lnTo>
                    <a:pt x="129" y="40"/>
                  </a:lnTo>
                  <a:lnTo>
                    <a:pt x="136" y="39"/>
                  </a:lnTo>
                  <a:lnTo>
                    <a:pt x="147" y="30"/>
                  </a:lnTo>
                  <a:lnTo>
                    <a:pt x="151" y="30"/>
                  </a:lnTo>
                  <a:lnTo>
                    <a:pt x="159" y="27"/>
                  </a:lnTo>
                  <a:lnTo>
                    <a:pt x="167" y="25"/>
                  </a:lnTo>
                  <a:lnTo>
                    <a:pt x="170" y="25"/>
                  </a:lnTo>
                  <a:lnTo>
                    <a:pt x="175" y="31"/>
                  </a:lnTo>
                  <a:lnTo>
                    <a:pt x="199" y="37"/>
                  </a:lnTo>
                  <a:lnTo>
                    <a:pt x="199" y="39"/>
                  </a:lnTo>
                  <a:lnTo>
                    <a:pt x="202" y="45"/>
                  </a:lnTo>
                  <a:lnTo>
                    <a:pt x="216" y="55"/>
                  </a:lnTo>
                  <a:lnTo>
                    <a:pt x="224" y="55"/>
                  </a:lnTo>
                  <a:lnTo>
                    <a:pt x="225" y="68"/>
                  </a:lnTo>
                  <a:lnTo>
                    <a:pt x="222" y="83"/>
                  </a:lnTo>
                  <a:lnTo>
                    <a:pt x="219" y="92"/>
                  </a:lnTo>
                  <a:lnTo>
                    <a:pt x="215" y="95"/>
                  </a:lnTo>
                  <a:lnTo>
                    <a:pt x="215" y="101"/>
                  </a:lnTo>
                  <a:lnTo>
                    <a:pt x="218" y="104"/>
                  </a:lnTo>
                  <a:lnTo>
                    <a:pt x="215" y="114"/>
                  </a:lnTo>
                  <a:lnTo>
                    <a:pt x="218" y="131"/>
                  </a:lnTo>
                  <a:lnTo>
                    <a:pt x="225" y="134"/>
                  </a:lnTo>
                  <a:lnTo>
                    <a:pt x="230" y="141"/>
                  </a:lnTo>
                  <a:lnTo>
                    <a:pt x="231" y="141"/>
                  </a:lnTo>
                  <a:lnTo>
                    <a:pt x="228" y="150"/>
                  </a:lnTo>
                  <a:lnTo>
                    <a:pt x="221" y="162"/>
                  </a:lnTo>
                  <a:lnTo>
                    <a:pt x="230" y="177"/>
                  </a:lnTo>
                  <a:lnTo>
                    <a:pt x="244" y="186"/>
                  </a:lnTo>
                  <a:lnTo>
                    <a:pt x="244" y="197"/>
                  </a:lnTo>
                  <a:lnTo>
                    <a:pt x="250" y="200"/>
                  </a:lnTo>
                  <a:lnTo>
                    <a:pt x="250" y="202"/>
                  </a:lnTo>
                  <a:lnTo>
                    <a:pt x="247" y="208"/>
                  </a:lnTo>
                  <a:lnTo>
                    <a:pt x="237" y="212"/>
                  </a:lnTo>
                  <a:lnTo>
                    <a:pt x="233" y="217"/>
                  </a:lnTo>
                  <a:lnTo>
                    <a:pt x="230" y="230"/>
                  </a:lnTo>
                  <a:lnTo>
                    <a:pt x="228" y="230"/>
                  </a:lnTo>
                  <a:lnTo>
                    <a:pt x="173" y="223"/>
                  </a:lnTo>
                  <a:lnTo>
                    <a:pt x="167" y="205"/>
                  </a:lnTo>
                  <a:lnTo>
                    <a:pt x="161" y="202"/>
                  </a:lnTo>
                  <a:lnTo>
                    <a:pt x="138" y="211"/>
                  </a:lnTo>
                  <a:lnTo>
                    <a:pt x="124" y="208"/>
                  </a:lnTo>
                  <a:lnTo>
                    <a:pt x="123" y="208"/>
                  </a:lnTo>
                  <a:lnTo>
                    <a:pt x="121" y="205"/>
                  </a:lnTo>
                  <a:lnTo>
                    <a:pt x="113" y="202"/>
                  </a:lnTo>
                  <a:lnTo>
                    <a:pt x="108" y="196"/>
                  </a:lnTo>
                  <a:lnTo>
                    <a:pt x="96" y="191"/>
                  </a:lnTo>
                  <a:lnTo>
                    <a:pt x="95" y="191"/>
                  </a:lnTo>
                  <a:lnTo>
                    <a:pt x="95" y="190"/>
                  </a:lnTo>
                  <a:lnTo>
                    <a:pt x="89" y="177"/>
                  </a:lnTo>
                  <a:lnTo>
                    <a:pt x="84" y="172"/>
                  </a:lnTo>
                  <a:lnTo>
                    <a:pt x="77" y="157"/>
                  </a:lnTo>
                  <a:lnTo>
                    <a:pt x="71" y="160"/>
                  </a:lnTo>
                  <a:lnTo>
                    <a:pt x="62" y="151"/>
                  </a:lnTo>
                  <a:lnTo>
                    <a:pt x="59" y="159"/>
                  </a:lnTo>
                  <a:lnTo>
                    <a:pt x="50" y="151"/>
                  </a:lnTo>
                  <a:lnTo>
                    <a:pt x="49" y="146"/>
                  </a:lnTo>
                  <a:lnTo>
                    <a:pt x="46" y="144"/>
                  </a:lnTo>
                  <a:lnTo>
                    <a:pt x="44" y="144"/>
                  </a:lnTo>
                  <a:lnTo>
                    <a:pt x="44" y="143"/>
                  </a:lnTo>
                  <a:lnTo>
                    <a:pt x="46" y="131"/>
                  </a:lnTo>
                  <a:lnTo>
                    <a:pt x="41" y="122"/>
                  </a:lnTo>
                  <a:lnTo>
                    <a:pt x="25" y="111"/>
                  </a:lnTo>
                  <a:lnTo>
                    <a:pt x="16" y="97"/>
                  </a:lnTo>
                  <a:lnTo>
                    <a:pt x="19" y="88"/>
                  </a:lnTo>
                  <a:lnTo>
                    <a:pt x="25" y="77"/>
                  </a:lnTo>
                  <a:lnTo>
                    <a:pt x="25" y="73"/>
                  </a:lnTo>
                  <a:lnTo>
                    <a:pt x="28" y="68"/>
                  </a:lnTo>
                  <a:lnTo>
                    <a:pt x="18" y="64"/>
                  </a:lnTo>
                  <a:lnTo>
                    <a:pt x="9" y="52"/>
                  </a:lnTo>
                  <a:lnTo>
                    <a:pt x="9" y="40"/>
                  </a:lnTo>
                  <a:lnTo>
                    <a:pt x="3" y="36"/>
                  </a:lnTo>
                  <a:lnTo>
                    <a:pt x="1" y="36"/>
                  </a:lnTo>
                  <a:lnTo>
                    <a:pt x="1" y="15"/>
                  </a:lnTo>
                  <a:lnTo>
                    <a:pt x="0" y="9"/>
                  </a:lnTo>
                  <a:lnTo>
                    <a:pt x="0" y="8"/>
                  </a:lnTo>
                  <a:lnTo>
                    <a:pt x="6" y="2"/>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4" name="Bangladesh">
              <a:extLst>
                <a:ext uri="{FF2B5EF4-FFF2-40B4-BE49-F238E27FC236}">
                  <a16:creationId xmlns:a16="http://schemas.microsoft.com/office/drawing/2014/main" id="{8D431881-64C8-942E-169B-0653B64845CE}"/>
                </a:ext>
              </a:extLst>
            </p:cNvPr>
            <p:cNvSpPr>
              <a:spLocks/>
            </p:cNvSpPr>
            <p:nvPr/>
          </p:nvSpPr>
          <p:spPr bwMode="auto">
            <a:xfrm>
              <a:off x="7898543" y="3940479"/>
              <a:ext cx="113845" cy="148179"/>
            </a:xfrm>
            <a:custGeom>
              <a:avLst/>
              <a:gdLst>
                <a:gd name="T0" fmla="*/ 7 w 63"/>
                <a:gd name="T1" fmla="*/ 0 h 82"/>
                <a:gd name="T2" fmla="*/ 8 w 63"/>
                <a:gd name="T3" fmla="*/ 0 h 82"/>
                <a:gd name="T4" fmla="*/ 11 w 63"/>
                <a:gd name="T5" fmla="*/ 6 h 82"/>
                <a:gd name="T6" fmla="*/ 14 w 63"/>
                <a:gd name="T7" fmla="*/ 2 h 82"/>
                <a:gd name="T8" fmla="*/ 17 w 63"/>
                <a:gd name="T9" fmla="*/ 8 h 82"/>
                <a:gd name="T10" fmla="*/ 20 w 63"/>
                <a:gd name="T11" fmla="*/ 8 h 82"/>
                <a:gd name="T12" fmla="*/ 20 w 63"/>
                <a:gd name="T13" fmla="*/ 5 h 82"/>
                <a:gd name="T14" fmla="*/ 22 w 63"/>
                <a:gd name="T15" fmla="*/ 5 h 82"/>
                <a:gd name="T16" fmla="*/ 25 w 63"/>
                <a:gd name="T17" fmla="*/ 15 h 82"/>
                <a:gd name="T18" fmla="*/ 29 w 63"/>
                <a:gd name="T19" fmla="*/ 18 h 82"/>
                <a:gd name="T20" fmla="*/ 57 w 63"/>
                <a:gd name="T21" fmla="*/ 21 h 82"/>
                <a:gd name="T22" fmla="*/ 57 w 63"/>
                <a:gd name="T23" fmla="*/ 22 h 82"/>
                <a:gd name="T24" fmla="*/ 43 w 63"/>
                <a:gd name="T25" fmla="*/ 39 h 82"/>
                <a:gd name="T26" fmla="*/ 46 w 63"/>
                <a:gd name="T27" fmla="*/ 46 h 82"/>
                <a:gd name="T28" fmla="*/ 49 w 63"/>
                <a:gd name="T29" fmla="*/ 49 h 82"/>
                <a:gd name="T30" fmla="*/ 56 w 63"/>
                <a:gd name="T31" fmla="*/ 40 h 82"/>
                <a:gd name="T32" fmla="*/ 57 w 63"/>
                <a:gd name="T33" fmla="*/ 40 h 82"/>
                <a:gd name="T34" fmla="*/ 63 w 63"/>
                <a:gd name="T35" fmla="*/ 67 h 82"/>
                <a:gd name="T36" fmla="*/ 63 w 63"/>
                <a:gd name="T37" fmla="*/ 76 h 82"/>
                <a:gd name="T38" fmla="*/ 59 w 63"/>
                <a:gd name="T39" fmla="*/ 76 h 82"/>
                <a:gd name="T40" fmla="*/ 59 w 63"/>
                <a:gd name="T41" fmla="*/ 82 h 82"/>
                <a:gd name="T42" fmla="*/ 57 w 63"/>
                <a:gd name="T43" fmla="*/ 82 h 82"/>
                <a:gd name="T44" fmla="*/ 57 w 63"/>
                <a:gd name="T45" fmla="*/ 80 h 82"/>
                <a:gd name="T46" fmla="*/ 51 w 63"/>
                <a:gd name="T47" fmla="*/ 63 h 82"/>
                <a:gd name="T48" fmla="*/ 49 w 63"/>
                <a:gd name="T49" fmla="*/ 57 h 82"/>
                <a:gd name="T50" fmla="*/ 41 w 63"/>
                <a:gd name="T51" fmla="*/ 57 h 82"/>
                <a:gd name="T52" fmla="*/ 38 w 63"/>
                <a:gd name="T53" fmla="*/ 54 h 82"/>
                <a:gd name="T54" fmla="*/ 35 w 63"/>
                <a:gd name="T55" fmla="*/ 57 h 82"/>
                <a:gd name="T56" fmla="*/ 35 w 63"/>
                <a:gd name="T57" fmla="*/ 63 h 82"/>
                <a:gd name="T58" fmla="*/ 32 w 63"/>
                <a:gd name="T59" fmla="*/ 68 h 82"/>
                <a:gd name="T60" fmla="*/ 31 w 63"/>
                <a:gd name="T61" fmla="*/ 68 h 82"/>
                <a:gd name="T62" fmla="*/ 28 w 63"/>
                <a:gd name="T63" fmla="*/ 65 h 82"/>
                <a:gd name="T64" fmla="*/ 25 w 63"/>
                <a:gd name="T65" fmla="*/ 70 h 82"/>
                <a:gd name="T66" fmla="*/ 23 w 63"/>
                <a:gd name="T67" fmla="*/ 70 h 82"/>
                <a:gd name="T68" fmla="*/ 23 w 63"/>
                <a:gd name="T69" fmla="*/ 68 h 82"/>
                <a:gd name="T70" fmla="*/ 22 w 63"/>
                <a:gd name="T71" fmla="*/ 68 h 82"/>
                <a:gd name="T72" fmla="*/ 14 w 63"/>
                <a:gd name="T73" fmla="*/ 71 h 82"/>
                <a:gd name="T74" fmla="*/ 13 w 63"/>
                <a:gd name="T75" fmla="*/ 71 h 82"/>
                <a:gd name="T76" fmla="*/ 7 w 63"/>
                <a:gd name="T77" fmla="*/ 42 h 82"/>
                <a:gd name="T78" fmla="*/ 7 w 63"/>
                <a:gd name="T79" fmla="*/ 33 h 82"/>
                <a:gd name="T80" fmla="*/ 0 w 63"/>
                <a:gd name="T81" fmla="*/ 27 h 82"/>
                <a:gd name="T82" fmla="*/ 0 w 63"/>
                <a:gd name="T83" fmla="*/ 25 h 82"/>
                <a:gd name="T84" fmla="*/ 4 w 63"/>
                <a:gd name="T85" fmla="*/ 20 h 82"/>
                <a:gd name="T86" fmla="*/ 10 w 63"/>
                <a:gd name="T87" fmla="*/ 20 h 82"/>
                <a:gd name="T88" fmla="*/ 8 w 63"/>
                <a:gd name="T89" fmla="*/ 15 h 82"/>
                <a:gd name="T90" fmla="*/ 4 w 63"/>
                <a:gd name="T91" fmla="*/ 15 h 82"/>
                <a:gd name="T92" fmla="*/ 3 w 63"/>
                <a:gd name="T93" fmla="*/ 11 h 82"/>
                <a:gd name="T94" fmla="*/ 7 w 63"/>
                <a:gd name="T9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 h="82">
                  <a:moveTo>
                    <a:pt x="7" y="0"/>
                  </a:moveTo>
                  <a:lnTo>
                    <a:pt x="8" y="0"/>
                  </a:lnTo>
                  <a:lnTo>
                    <a:pt x="11" y="6"/>
                  </a:lnTo>
                  <a:lnTo>
                    <a:pt x="14" y="2"/>
                  </a:lnTo>
                  <a:lnTo>
                    <a:pt x="17" y="8"/>
                  </a:lnTo>
                  <a:lnTo>
                    <a:pt x="20" y="8"/>
                  </a:lnTo>
                  <a:lnTo>
                    <a:pt x="20" y="5"/>
                  </a:lnTo>
                  <a:lnTo>
                    <a:pt x="22" y="5"/>
                  </a:lnTo>
                  <a:lnTo>
                    <a:pt x="25" y="15"/>
                  </a:lnTo>
                  <a:lnTo>
                    <a:pt x="29" y="18"/>
                  </a:lnTo>
                  <a:lnTo>
                    <a:pt x="57" y="21"/>
                  </a:lnTo>
                  <a:lnTo>
                    <a:pt x="57" y="22"/>
                  </a:lnTo>
                  <a:lnTo>
                    <a:pt x="43" y="39"/>
                  </a:lnTo>
                  <a:lnTo>
                    <a:pt x="46" y="46"/>
                  </a:lnTo>
                  <a:lnTo>
                    <a:pt x="49" y="49"/>
                  </a:lnTo>
                  <a:lnTo>
                    <a:pt x="56" y="40"/>
                  </a:lnTo>
                  <a:lnTo>
                    <a:pt x="57" y="40"/>
                  </a:lnTo>
                  <a:lnTo>
                    <a:pt x="63" y="67"/>
                  </a:lnTo>
                  <a:lnTo>
                    <a:pt x="63" y="76"/>
                  </a:lnTo>
                  <a:lnTo>
                    <a:pt x="59" y="76"/>
                  </a:lnTo>
                  <a:lnTo>
                    <a:pt x="59" y="82"/>
                  </a:lnTo>
                  <a:lnTo>
                    <a:pt x="57" y="82"/>
                  </a:lnTo>
                  <a:lnTo>
                    <a:pt x="57" y="80"/>
                  </a:lnTo>
                  <a:lnTo>
                    <a:pt x="51" y="63"/>
                  </a:lnTo>
                  <a:lnTo>
                    <a:pt x="49" y="57"/>
                  </a:lnTo>
                  <a:lnTo>
                    <a:pt x="41" y="57"/>
                  </a:lnTo>
                  <a:lnTo>
                    <a:pt x="38" y="54"/>
                  </a:lnTo>
                  <a:lnTo>
                    <a:pt x="35" y="57"/>
                  </a:lnTo>
                  <a:lnTo>
                    <a:pt x="35" y="63"/>
                  </a:lnTo>
                  <a:lnTo>
                    <a:pt x="32" y="68"/>
                  </a:lnTo>
                  <a:lnTo>
                    <a:pt x="31" y="68"/>
                  </a:lnTo>
                  <a:lnTo>
                    <a:pt x="28" y="65"/>
                  </a:lnTo>
                  <a:lnTo>
                    <a:pt x="25" y="70"/>
                  </a:lnTo>
                  <a:lnTo>
                    <a:pt x="23" y="70"/>
                  </a:lnTo>
                  <a:lnTo>
                    <a:pt x="23" y="68"/>
                  </a:lnTo>
                  <a:lnTo>
                    <a:pt x="22" y="68"/>
                  </a:lnTo>
                  <a:lnTo>
                    <a:pt x="14" y="71"/>
                  </a:lnTo>
                  <a:lnTo>
                    <a:pt x="13" y="71"/>
                  </a:lnTo>
                  <a:lnTo>
                    <a:pt x="7" y="42"/>
                  </a:lnTo>
                  <a:lnTo>
                    <a:pt x="7" y="33"/>
                  </a:lnTo>
                  <a:lnTo>
                    <a:pt x="0" y="27"/>
                  </a:lnTo>
                  <a:lnTo>
                    <a:pt x="0" y="25"/>
                  </a:lnTo>
                  <a:lnTo>
                    <a:pt x="4" y="20"/>
                  </a:lnTo>
                  <a:lnTo>
                    <a:pt x="10" y="20"/>
                  </a:lnTo>
                  <a:lnTo>
                    <a:pt x="8" y="15"/>
                  </a:lnTo>
                  <a:lnTo>
                    <a:pt x="4" y="15"/>
                  </a:lnTo>
                  <a:lnTo>
                    <a:pt x="3" y="11"/>
                  </a:lnTo>
                  <a:lnTo>
                    <a:pt x="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5" name="Bhutan">
              <a:extLst>
                <a:ext uri="{FF2B5EF4-FFF2-40B4-BE49-F238E27FC236}">
                  <a16:creationId xmlns:a16="http://schemas.microsoft.com/office/drawing/2014/main" id="{714851D5-B772-F508-E01F-BDF54B2B61D8}"/>
                </a:ext>
              </a:extLst>
            </p:cNvPr>
            <p:cNvSpPr>
              <a:spLocks/>
            </p:cNvSpPr>
            <p:nvPr/>
          </p:nvSpPr>
          <p:spPr bwMode="auto">
            <a:xfrm>
              <a:off x="7918421" y="3895302"/>
              <a:ext cx="83124" cy="43369"/>
            </a:xfrm>
            <a:custGeom>
              <a:avLst/>
              <a:gdLst>
                <a:gd name="T0" fmla="*/ 17 w 46"/>
                <a:gd name="T1" fmla="*/ 0 h 24"/>
                <a:gd name="T2" fmla="*/ 36 w 46"/>
                <a:gd name="T3" fmla="*/ 5 h 24"/>
                <a:gd name="T4" fmla="*/ 40 w 46"/>
                <a:gd name="T5" fmla="*/ 7 h 24"/>
                <a:gd name="T6" fmla="*/ 40 w 46"/>
                <a:gd name="T7" fmla="*/ 10 h 24"/>
                <a:gd name="T8" fmla="*/ 46 w 46"/>
                <a:gd name="T9" fmla="*/ 13 h 24"/>
                <a:gd name="T10" fmla="*/ 46 w 46"/>
                <a:gd name="T11" fmla="*/ 15 h 24"/>
                <a:gd name="T12" fmla="*/ 43 w 46"/>
                <a:gd name="T13" fmla="*/ 21 h 24"/>
                <a:gd name="T14" fmla="*/ 40 w 46"/>
                <a:gd name="T15" fmla="*/ 21 h 24"/>
                <a:gd name="T16" fmla="*/ 33 w 46"/>
                <a:gd name="T17" fmla="*/ 22 h 24"/>
                <a:gd name="T18" fmla="*/ 23 w 46"/>
                <a:gd name="T19" fmla="*/ 22 h 24"/>
                <a:gd name="T20" fmla="*/ 15 w 46"/>
                <a:gd name="T21" fmla="*/ 24 h 24"/>
                <a:gd name="T22" fmla="*/ 12 w 46"/>
                <a:gd name="T23" fmla="*/ 24 h 24"/>
                <a:gd name="T24" fmla="*/ 2 w 46"/>
                <a:gd name="T25" fmla="*/ 21 h 24"/>
                <a:gd name="T26" fmla="*/ 0 w 46"/>
                <a:gd name="T27" fmla="*/ 18 h 24"/>
                <a:gd name="T28" fmla="*/ 0 w 46"/>
                <a:gd name="T29" fmla="*/ 16 h 24"/>
                <a:gd name="T30" fmla="*/ 17 w 46"/>
                <a:gd name="T3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24">
                  <a:moveTo>
                    <a:pt x="17" y="0"/>
                  </a:moveTo>
                  <a:lnTo>
                    <a:pt x="36" y="5"/>
                  </a:lnTo>
                  <a:lnTo>
                    <a:pt x="40" y="7"/>
                  </a:lnTo>
                  <a:lnTo>
                    <a:pt x="40" y="10"/>
                  </a:lnTo>
                  <a:lnTo>
                    <a:pt x="46" y="13"/>
                  </a:lnTo>
                  <a:lnTo>
                    <a:pt x="46" y="15"/>
                  </a:lnTo>
                  <a:lnTo>
                    <a:pt x="43" y="21"/>
                  </a:lnTo>
                  <a:lnTo>
                    <a:pt x="40" y="21"/>
                  </a:lnTo>
                  <a:lnTo>
                    <a:pt x="33" y="22"/>
                  </a:lnTo>
                  <a:lnTo>
                    <a:pt x="23" y="22"/>
                  </a:lnTo>
                  <a:lnTo>
                    <a:pt x="15" y="24"/>
                  </a:lnTo>
                  <a:lnTo>
                    <a:pt x="12" y="24"/>
                  </a:lnTo>
                  <a:lnTo>
                    <a:pt x="2" y="21"/>
                  </a:lnTo>
                  <a:lnTo>
                    <a:pt x="0" y="18"/>
                  </a:lnTo>
                  <a:lnTo>
                    <a:pt x="0" y="16"/>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6" name="Myanmar">
              <a:extLst>
                <a:ext uri="{FF2B5EF4-FFF2-40B4-BE49-F238E27FC236}">
                  <a16:creationId xmlns:a16="http://schemas.microsoft.com/office/drawing/2014/main" id="{A80EF24C-7FAB-06F9-C56F-8813FF859220}"/>
                </a:ext>
              </a:extLst>
            </p:cNvPr>
            <p:cNvSpPr>
              <a:spLocks/>
            </p:cNvSpPr>
            <p:nvPr/>
          </p:nvSpPr>
          <p:spPr bwMode="auto">
            <a:xfrm>
              <a:off x="8001547" y="3895302"/>
              <a:ext cx="211427" cy="455380"/>
            </a:xfrm>
            <a:custGeom>
              <a:avLst/>
              <a:gdLst>
                <a:gd name="T0" fmla="*/ 72 w 117"/>
                <a:gd name="T1" fmla="*/ 0 h 252"/>
                <a:gd name="T2" fmla="*/ 80 w 117"/>
                <a:gd name="T3" fmla="*/ 10 h 252"/>
                <a:gd name="T4" fmla="*/ 83 w 117"/>
                <a:gd name="T5" fmla="*/ 12 h 252"/>
                <a:gd name="T6" fmla="*/ 86 w 117"/>
                <a:gd name="T7" fmla="*/ 33 h 252"/>
                <a:gd name="T8" fmla="*/ 72 w 117"/>
                <a:gd name="T9" fmla="*/ 64 h 252"/>
                <a:gd name="T10" fmla="*/ 88 w 117"/>
                <a:gd name="T11" fmla="*/ 59 h 252"/>
                <a:gd name="T12" fmla="*/ 89 w 117"/>
                <a:gd name="T13" fmla="*/ 71 h 252"/>
                <a:gd name="T14" fmla="*/ 97 w 117"/>
                <a:gd name="T15" fmla="*/ 77 h 252"/>
                <a:gd name="T16" fmla="*/ 101 w 117"/>
                <a:gd name="T17" fmla="*/ 89 h 252"/>
                <a:gd name="T18" fmla="*/ 115 w 117"/>
                <a:gd name="T19" fmla="*/ 92 h 252"/>
                <a:gd name="T20" fmla="*/ 106 w 117"/>
                <a:gd name="T21" fmla="*/ 108 h 252"/>
                <a:gd name="T22" fmla="*/ 88 w 117"/>
                <a:gd name="T23" fmla="*/ 123 h 252"/>
                <a:gd name="T24" fmla="*/ 73 w 117"/>
                <a:gd name="T25" fmla="*/ 141 h 252"/>
                <a:gd name="T26" fmla="*/ 83 w 117"/>
                <a:gd name="T27" fmla="*/ 157 h 252"/>
                <a:gd name="T28" fmla="*/ 86 w 117"/>
                <a:gd name="T29" fmla="*/ 171 h 252"/>
                <a:gd name="T30" fmla="*/ 88 w 117"/>
                <a:gd name="T31" fmla="*/ 172 h 252"/>
                <a:gd name="T32" fmla="*/ 80 w 117"/>
                <a:gd name="T33" fmla="*/ 193 h 252"/>
                <a:gd name="T34" fmla="*/ 91 w 117"/>
                <a:gd name="T35" fmla="*/ 212 h 252"/>
                <a:gd name="T36" fmla="*/ 88 w 117"/>
                <a:gd name="T37" fmla="*/ 242 h 252"/>
                <a:gd name="T38" fmla="*/ 86 w 117"/>
                <a:gd name="T39" fmla="*/ 252 h 252"/>
                <a:gd name="T40" fmla="*/ 85 w 117"/>
                <a:gd name="T41" fmla="*/ 251 h 252"/>
                <a:gd name="T42" fmla="*/ 82 w 117"/>
                <a:gd name="T43" fmla="*/ 249 h 252"/>
                <a:gd name="T44" fmla="*/ 83 w 117"/>
                <a:gd name="T45" fmla="*/ 228 h 252"/>
                <a:gd name="T46" fmla="*/ 82 w 117"/>
                <a:gd name="T47" fmla="*/ 227 h 252"/>
                <a:gd name="T48" fmla="*/ 83 w 117"/>
                <a:gd name="T49" fmla="*/ 215 h 252"/>
                <a:gd name="T50" fmla="*/ 79 w 117"/>
                <a:gd name="T51" fmla="*/ 206 h 252"/>
                <a:gd name="T52" fmla="*/ 73 w 117"/>
                <a:gd name="T53" fmla="*/ 187 h 252"/>
                <a:gd name="T54" fmla="*/ 61 w 117"/>
                <a:gd name="T55" fmla="*/ 162 h 252"/>
                <a:gd name="T56" fmla="*/ 60 w 117"/>
                <a:gd name="T57" fmla="*/ 165 h 252"/>
                <a:gd name="T58" fmla="*/ 37 w 117"/>
                <a:gd name="T59" fmla="*/ 176 h 252"/>
                <a:gd name="T60" fmla="*/ 30 w 117"/>
                <a:gd name="T61" fmla="*/ 175 h 252"/>
                <a:gd name="T62" fmla="*/ 27 w 117"/>
                <a:gd name="T63" fmla="*/ 174 h 252"/>
                <a:gd name="T64" fmla="*/ 26 w 117"/>
                <a:gd name="T65" fmla="*/ 172 h 252"/>
                <a:gd name="T66" fmla="*/ 27 w 117"/>
                <a:gd name="T67" fmla="*/ 141 h 252"/>
                <a:gd name="T68" fmla="*/ 23 w 117"/>
                <a:gd name="T69" fmla="*/ 133 h 252"/>
                <a:gd name="T70" fmla="*/ 17 w 117"/>
                <a:gd name="T71" fmla="*/ 129 h 252"/>
                <a:gd name="T72" fmla="*/ 20 w 117"/>
                <a:gd name="T73" fmla="*/ 126 h 252"/>
                <a:gd name="T74" fmla="*/ 9 w 117"/>
                <a:gd name="T75" fmla="*/ 119 h 252"/>
                <a:gd name="T76" fmla="*/ 0 w 117"/>
                <a:gd name="T77" fmla="*/ 99 h 252"/>
                <a:gd name="T78" fmla="*/ 5 w 117"/>
                <a:gd name="T79" fmla="*/ 90 h 252"/>
                <a:gd name="T80" fmla="*/ 9 w 117"/>
                <a:gd name="T81" fmla="*/ 80 h 252"/>
                <a:gd name="T82" fmla="*/ 11 w 117"/>
                <a:gd name="T83" fmla="*/ 77 h 252"/>
                <a:gd name="T84" fmla="*/ 14 w 117"/>
                <a:gd name="T85" fmla="*/ 65 h 252"/>
                <a:gd name="T86" fmla="*/ 26 w 117"/>
                <a:gd name="T87" fmla="*/ 62 h 252"/>
                <a:gd name="T88" fmla="*/ 39 w 117"/>
                <a:gd name="T89" fmla="*/ 36 h 252"/>
                <a:gd name="T90" fmla="*/ 51 w 117"/>
                <a:gd name="T91" fmla="*/ 16 h 252"/>
                <a:gd name="T92" fmla="*/ 63 w 117"/>
                <a:gd name="T93" fmla="*/ 7 h 252"/>
                <a:gd name="T94" fmla="*/ 67 w 117"/>
                <a:gd name="T95" fmla="*/ 5 h 252"/>
                <a:gd name="T96" fmla="*/ 70 w 117"/>
                <a:gd name="T9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7" h="252">
                  <a:moveTo>
                    <a:pt x="70" y="0"/>
                  </a:moveTo>
                  <a:lnTo>
                    <a:pt x="72" y="0"/>
                  </a:lnTo>
                  <a:lnTo>
                    <a:pt x="75" y="2"/>
                  </a:lnTo>
                  <a:lnTo>
                    <a:pt x="80" y="10"/>
                  </a:lnTo>
                  <a:lnTo>
                    <a:pt x="83" y="10"/>
                  </a:lnTo>
                  <a:lnTo>
                    <a:pt x="83" y="12"/>
                  </a:lnTo>
                  <a:lnTo>
                    <a:pt x="86" y="24"/>
                  </a:lnTo>
                  <a:lnTo>
                    <a:pt x="86" y="33"/>
                  </a:lnTo>
                  <a:lnTo>
                    <a:pt x="75" y="47"/>
                  </a:lnTo>
                  <a:lnTo>
                    <a:pt x="72" y="64"/>
                  </a:lnTo>
                  <a:lnTo>
                    <a:pt x="80" y="59"/>
                  </a:lnTo>
                  <a:lnTo>
                    <a:pt x="88" y="59"/>
                  </a:lnTo>
                  <a:lnTo>
                    <a:pt x="88" y="61"/>
                  </a:lnTo>
                  <a:lnTo>
                    <a:pt x="89" y="71"/>
                  </a:lnTo>
                  <a:lnTo>
                    <a:pt x="97" y="76"/>
                  </a:lnTo>
                  <a:lnTo>
                    <a:pt x="97" y="77"/>
                  </a:lnTo>
                  <a:lnTo>
                    <a:pt x="94" y="86"/>
                  </a:lnTo>
                  <a:lnTo>
                    <a:pt x="101" y="89"/>
                  </a:lnTo>
                  <a:lnTo>
                    <a:pt x="106" y="95"/>
                  </a:lnTo>
                  <a:lnTo>
                    <a:pt x="115" y="92"/>
                  </a:lnTo>
                  <a:lnTo>
                    <a:pt x="117" y="95"/>
                  </a:lnTo>
                  <a:lnTo>
                    <a:pt x="106" y="108"/>
                  </a:lnTo>
                  <a:lnTo>
                    <a:pt x="101" y="114"/>
                  </a:lnTo>
                  <a:lnTo>
                    <a:pt x="88" y="123"/>
                  </a:lnTo>
                  <a:lnTo>
                    <a:pt x="77" y="125"/>
                  </a:lnTo>
                  <a:lnTo>
                    <a:pt x="73" y="141"/>
                  </a:lnTo>
                  <a:lnTo>
                    <a:pt x="76" y="151"/>
                  </a:lnTo>
                  <a:lnTo>
                    <a:pt x="83" y="157"/>
                  </a:lnTo>
                  <a:lnTo>
                    <a:pt x="83" y="168"/>
                  </a:lnTo>
                  <a:lnTo>
                    <a:pt x="86" y="171"/>
                  </a:lnTo>
                  <a:lnTo>
                    <a:pt x="88" y="171"/>
                  </a:lnTo>
                  <a:lnTo>
                    <a:pt x="88" y="172"/>
                  </a:lnTo>
                  <a:lnTo>
                    <a:pt x="80" y="188"/>
                  </a:lnTo>
                  <a:lnTo>
                    <a:pt x="80" y="193"/>
                  </a:lnTo>
                  <a:lnTo>
                    <a:pt x="91" y="200"/>
                  </a:lnTo>
                  <a:lnTo>
                    <a:pt x="91" y="212"/>
                  </a:lnTo>
                  <a:lnTo>
                    <a:pt x="98" y="228"/>
                  </a:lnTo>
                  <a:lnTo>
                    <a:pt x="88" y="242"/>
                  </a:lnTo>
                  <a:lnTo>
                    <a:pt x="86" y="251"/>
                  </a:lnTo>
                  <a:lnTo>
                    <a:pt x="86" y="252"/>
                  </a:lnTo>
                  <a:lnTo>
                    <a:pt x="85" y="252"/>
                  </a:lnTo>
                  <a:lnTo>
                    <a:pt x="85" y="251"/>
                  </a:lnTo>
                  <a:lnTo>
                    <a:pt x="83" y="249"/>
                  </a:lnTo>
                  <a:lnTo>
                    <a:pt x="82" y="249"/>
                  </a:lnTo>
                  <a:lnTo>
                    <a:pt x="86" y="230"/>
                  </a:lnTo>
                  <a:lnTo>
                    <a:pt x="83" y="228"/>
                  </a:lnTo>
                  <a:lnTo>
                    <a:pt x="82" y="228"/>
                  </a:lnTo>
                  <a:lnTo>
                    <a:pt x="82" y="227"/>
                  </a:lnTo>
                  <a:lnTo>
                    <a:pt x="85" y="225"/>
                  </a:lnTo>
                  <a:lnTo>
                    <a:pt x="83" y="215"/>
                  </a:lnTo>
                  <a:lnTo>
                    <a:pt x="80" y="205"/>
                  </a:lnTo>
                  <a:lnTo>
                    <a:pt x="79" y="206"/>
                  </a:lnTo>
                  <a:lnTo>
                    <a:pt x="79" y="205"/>
                  </a:lnTo>
                  <a:lnTo>
                    <a:pt x="73" y="187"/>
                  </a:lnTo>
                  <a:lnTo>
                    <a:pt x="72" y="166"/>
                  </a:lnTo>
                  <a:lnTo>
                    <a:pt x="61" y="162"/>
                  </a:lnTo>
                  <a:lnTo>
                    <a:pt x="60" y="159"/>
                  </a:lnTo>
                  <a:lnTo>
                    <a:pt x="60" y="165"/>
                  </a:lnTo>
                  <a:lnTo>
                    <a:pt x="40" y="176"/>
                  </a:lnTo>
                  <a:lnTo>
                    <a:pt x="37" y="176"/>
                  </a:lnTo>
                  <a:lnTo>
                    <a:pt x="33" y="175"/>
                  </a:lnTo>
                  <a:lnTo>
                    <a:pt x="30" y="175"/>
                  </a:lnTo>
                  <a:lnTo>
                    <a:pt x="30" y="172"/>
                  </a:lnTo>
                  <a:lnTo>
                    <a:pt x="27" y="174"/>
                  </a:lnTo>
                  <a:lnTo>
                    <a:pt x="26" y="174"/>
                  </a:lnTo>
                  <a:lnTo>
                    <a:pt x="26" y="172"/>
                  </a:lnTo>
                  <a:lnTo>
                    <a:pt x="30" y="157"/>
                  </a:lnTo>
                  <a:lnTo>
                    <a:pt x="27" y="141"/>
                  </a:lnTo>
                  <a:lnTo>
                    <a:pt x="23" y="132"/>
                  </a:lnTo>
                  <a:lnTo>
                    <a:pt x="23" y="133"/>
                  </a:lnTo>
                  <a:lnTo>
                    <a:pt x="21" y="133"/>
                  </a:lnTo>
                  <a:lnTo>
                    <a:pt x="17" y="129"/>
                  </a:lnTo>
                  <a:lnTo>
                    <a:pt x="18" y="126"/>
                  </a:lnTo>
                  <a:lnTo>
                    <a:pt x="20" y="126"/>
                  </a:lnTo>
                  <a:lnTo>
                    <a:pt x="18" y="123"/>
                  </a:lnTo>
                  <a:lnTo>
                    <a:pt x="9" y="119"/>
                  </a:lnTo>
                  <a:lnTo>
                    <a:pt x="0" y="105"/>
                  </a:lnTo>
                  <a:lnTo>
                    <a:pt x="0" y="99"/>
                  </a:lnTo>
                  <a:lnTo>
                    <a:pt x="5" y="99"/>
                  </a:lnTo>
                  <a:lnTo>
                    <a:pt x="5" y="90"/>
                  </a:lnTo>
                  <a:lnTo>
                    <a:pt x="11" y="88"/>
                  </a:lnTo>
                  <a:lnTo>
                    <a:pt x="9" y="80"/>
                  </a:lnTo>
                  <a:lnTo>
                    <a:pt x="11" y="79"/>
                  </a:lnTo>
                  <a:lnTo>
                    <a:pt x="11" y="77"/>
                  </a:lnTo>
                  <a:lnTo>
                    <a:pt x="14" y="77"/>
                  </a:lnTo>
                  <a:lnTo>
                    <a:pt x="14" y="65"/>
                  </a:lnTo>
                  <a:lnTo>
                    <a:pt x="15" y="65"/>
                  </a:lnTo>
                  <a:lnTo>
                    <a:pt x="26" y="62"/>
                  </a:lnTo>
                  <a:lnTo>
                    <a:pt x="32" y="45"/>
                  </a:lnTo>
                  <a:lnTo>
                    <a:pt x="39" y="36"/>
                  </a:lnTo>
                  <a:lnTo>
                    <a:pt x="39" y="27"/>
                  </a:lnTo>
                  <a:lnTo>
                    <a:pt x="51" y="16"/>
                  </a:lnTo>
                  <a:lnTo>
                    <a:pt x="63" y="15"/>
                  </a:lnTo>
                  <a:lnTo>
                    <a:pt x="63" y="7"/>
                  </a:lnTo>
                  <a:lnTo>
                    <a:pt x="64" y="7"/>
                  </a:lnTo>
                  <a:lnTo>
                    <a:pt x="67" y="5"/>
                  </a:lnTo>
                  <a:lnTo>
                    <a:pt x="67" y="2"/>
                  </a:lnTo>
                  <a:lnTo>
                    <a:pt x="7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7" name="Laos">
              <a:extLst>
                <a:ext uri="{FF2B5EF4-FFF2-40B4-BE49-F238E27FC236}">
                  <a16:creationId xmlns:a16="http://schemas.microsoft.com/office/drawing/2014/main" id="{0EA32D0C-4677-FE25-0B7A-B55168BE559B}"/>
                </a:ext>
              </a:extLst>
            </p:cNvPr>
            <p:cNvSpPr>
              <a:spLocks/>
            </p:cNvSpPr>
            <p:nvPr/>
          </p:nvSpPr>
          <p:spPr bwMode="auto">
            <a:xfrm>
              <a:off x="8189480" y="4045289"/>
              <a:ext cx="175286" cy="215041"/>
            </a:xfrm>
            <a:custGeom>
              <a:avLst/>
              <a:gdLst>
                <a:gd name="T0" fmla="*/ 21 w 97"/>
                <a:gd name="T1" fmla="*/ 0 h 119"/>
                <a:gd name="T2" fmla="*/ 22 w 97"/>
                <a:gd name="T3" fmla="*/ 0 h 119"/>
                <a:gd name="T4" fmla="*/ 28 w 97"/>
                <a:gd name="T5" fmla="*/ 2 h 119"/>
                <a:gd name="T6" fmla="*/ 36 w 97"/>
                <a:gd name="T7" fmla="*/ 12 h 119"/>
                <a:gd name="T8" fmla="*/ 37 w 97"/>
                <a:gd name="T9" fmla="*/ 19 h 119"/>
                <a:gd name="T10" fmla="*/ 40 w 97"/>
                <a:gd name="T11" fmla="*/ 22 h 119"/>
                <a:gd name="T12" fmla="*/ 54 w 97"/>
                <a:gd name="T13" fmla="*/ 22 h 119"/>
                <a:gd name="T14" fmla="*/ 56 w 97"/>
                <a:gd name="T15" fmla="*/ 25 h 119"/>
                <a:gd name="T16" fmla="*/ 61 w 97"/>
                <a:gd name="T17" fmla="*/ 36 h 119"/>
                <a:gd name="T18" fmla="*/ 56 w 97"/>
                <a:gd name="T19" fmla="*/ 40 h 119"/>
                <a:gd name="T20" fmla="*/ 52 w 97"/>
                <a:gd name="T21" fmla="*/ 40 h 119"/>
                <a:gd name="T22" fmla="*/ 51 w 97"/>
                <a:gd name="T23" fmla="*/ 45 h 119"/>
                <a:gd name="T24" fmla="*/ 65 w 97"/>
                <a:gd name="T25" fmla="*/ 53 h 119"/>
                <a:gd name="T26" fmla="*/ 76 w 97"/>
                <a:gd name="T27" fmla="*/ 68 h 119"/>
                <a:gd name="T28" fmla="*/ 82 w 97"/>
                <a:gd name="T29" fmla="*/ 71 h 119"/>
                <a:gd name="T30" fmla="*/ 82 w 97"/>
                <a:gd name="T31" fmla="*/ 73 h 119"/>
                <a:gd name="T32" fmla="*/ 83 w 97"/>
                <a:gd name="T33" fmla="*/ 82 h 119"/>
                <a:gd name="T34" fmla="*/ 92 w 97"/>
                <a:gd name="T35" fmla="*/ 86 h 119"/>
                <a:gd name="T36" fmla="*/ 97 w 97"/>
                <a:gd name="T37" fmla="*/ 99 h 119"/>
                <a:gd name="T38" fmla="*/ 95 w 97"/>
                <a:gd name="T39" fmla="*/ 107 h 119"/>
                <a:gd name="T40" fmla="*/ 95 w 97"/>
                <a:gd name="T41" fmla="*/ 108 h 119"/>
                <a:gd name="T42" fmla="*/ 89 w 97"/>
                <a:gd name="T43" fmla="*/ 113 h 119"/>
                <a:gd name="T44" fmla="*/ 86 w 97"/>
                <a:gd name="T45" fmla="*/ 113 h 119"/>
                <a:gd name="T46" fmla="*/ 85 w 97"/>
                <a:gd name="T47" fmla="*/ 111 h 119"/>
                <a:gd name="T48" fmla="*/ 82 w 97"/>
                <a:gd name="T49" fmla="*/ 111 h 119"/>
                <a:gd name="T50" fmla="*/ 76 w 97"/>
                <a:gd name="T51" fmla="*/ 117 h 119"/>
                <a:gd name="T52" fmla="*/ 76 w 97"/>
                <a:gd name="T53" fmla="*/ 119 h 119"/>
                <a:gd name="T54" fmla="*/ 74 w 97"/>
                <a:gd name="T55" fmla="*/ 119 h 119"/>
                <a:gd name="T56" fmla="*/ 65 w 97"/>
                <a:gd name="T57" fmla="*/ 113 h 119"/>
                <a:gd name="T58" fmla="*/ 68 w 97"/>
                <a:gd name="T59" fmla="*/ 110 h 119"/>
                <a:gd name="T60" fmla="*/ 68 w 97"/>
                <a:gd name="T61" fmla="*/ 95 h 119"/>
                <a:gd name="T62" fmla="*/ 59 w 97"/>
                <a:gd name="T63" fmla="*/ 86 h 119"/>
                <a:gd name="T64" fmla="*/ 56 w 97"/>
                <a:gd name="T65" fmla="*/ 68 h 119"/>
                <a:gd name="T66" fmla="*/ 48 w 97"/>
                <a:gd name="T67" fmla="*/ 58 h 119"/>
                <a:gd name="T68" fmla="*/ 43 w 97"/>
                <a:gd name="T69" fmla="*/ 58 h 119"/>
                <a:gd name="T70" fmla="*/ 39 w 97"/>
                <a:gd name="T71" fmla="*/ 59 h 119"/>
                <a:gd name="T72" fmla="*/ 37 w 97"/>
                <a:gd name="T73" fmla="*/ 62 h 119"/>
                <a:gd name="T74" fmla="*/ 33 w 97"/>
                <a:gd name="T75" fmla="*/ 64 h 119"/>
                <a:gd name="T76" fmla="*/ 31 w 97"/>
                <a:gd name="T77" fmla="*/ 64 h 119"/>
                <a:gd name="T78" fmla="*/ 22 w 97"/>
                <a:gd name="T79" fmla="*/ 61 h 119"/>
                <a:gd name="T80" fmla="*/ 11 w 97"/>
                <a:gd name="T81" fmla="*/ 68 h 119"/>
                <a:gd name="T82" fmla="*/ 9 w 97"/>
                <a:gd name="T83" fmla="*/ 68 h 119"/>
                <a:gd name="T84" fmla="*/ 12 w 97"/>
                <a:gd name="T85" fmla="*/ 42 h 119"/>
                <a:gd name="T86" fmla="*/ 6 w 97"/>
                <a:gd name="T87" fmla="*/ 40 h 119"/>
                <a:gd name="T88" fmla="*/ 5 w 97"/>
                <a:gd name="T89" fmla="*/ 40 h 119"/>
                <a:gd name="T90" fmla="*/ 5 w 97"/>
                <a:gd name="T91" fmla="*/ 31 h 119"/>
                <a:gd name="T92" fmla="*/ 0 w 97"/>
                <a:gd name="T93" fmla="*/ 30 h 119"/>
                <a:gd name="T94" fmla="*/ 0 w 97"/>
                <a:gd name="T95" fmla="*/ 28 h 119"/>
                <a:gd name="T96" fmla="*/ 2 w 97"/>
                <a:gd name="T97" fmla="*/ 25 h 119"/>
                <a:gd name="T98" fmla="*/ 12 w 97"/>
                <a:gd name="T99" fmla="*/ 12 h 119"/>
                <a:gd name="T100" fmla="*/ 13 w 97"/>
                <a:gd name="T101" fmla="*/ 12 h 119"/>
                <a:gd name="T102" fmla="*/ 15 w 97"/>
                <a:gd name="T103" fmla="*/ 18 h 119"/>
                <a:gd name="T104" fmla="*/ 19 w 97"/>
                <a:gd name="T105" fmla="*/ 16 h 119"/>
                <a:gd name="T106" fmla="*/ 18 w 97"/>
                <a:gd name="T107" fmla="*/ 2 h 119"/>
                <a:gd name="T108" fmla="*/ 21 w 9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119">
                  <a:moveTo>
                    <a:pt x="21" y="0"/>
                  </a:moveTo>
                  <a:lnTo>
                    <a:pt x="22" y="0"/>
                  </a:lnTo>
                  <a:lnTo>
                    <a:pt x="28" y="2"/>
                  </a:lnTo>
                  <a:lnTo>
                    <a:pt x="36" y="12"/>
                  </a:lnTo>
                  <a:lnTo>
                    <a:pt x="37" y="19"/>
                  </a:lnTo>
                  <a:lnTo>
                    <a:pt x="40" y="22"/>
                  </a:lnTo>
                  <a:lnTo>
                    <a:pt x="54" y="22"/>
                  </a:lnTo>
                  <a:lnTo>
                    <a:pt x="56" y="25"/>
                  </a:lnTo>
                  <a:lnTo>
                    <a:pt x="61" y="36"/>
                  </a:lnTo>
                  <a:lnTo>
                    <a:pt x="56" y="40"/>
                  </a:lnTo>
                  <a:lnTo>
                    <a:pt x="52" y="40"/>
                  </a:lnTo>
                  <a:lnTo>
                    <a:pt x="51" y="45"/>
                  </a:lnTo>
                  <a:lnTo>
                    <a:pt x="65" y="53"/>
                  </a:lnTo>
                  <a:lnTo>
                    <a:pt x="76" y="68"/>
                  </a:lnTo>
                  <a:lnTo>
                    <a:pt x="82" y="71"/>
                  </a:lnTo>
                  <a:lnTo>
                    <a:pt x="82" y="73"/>
                  </a:lnTo>
                  <a:lnTo>
                    <a:pt x="83" y="82"/>
                  </a:lnTo>
                  <a:lnTo>
                    <a:pt x="92" y="86"/>
                  </a:lnTo>
                  <a:lnTo>
                    <a:pt x="97" y="99"/>
                  </a:lnTo>
                  <a:lnTo>
                    <a:pt x="95" y="107"/>
                  </a:lnTo>
                  <a:lnTo>
                    <a:pt x="95" y="108"/>
                  </a:lnTo>
                  <a:lnTo>
                    <a:pt x="89" y="113"/>
                  </a:lnTo>
                  <a:lnTo>
                    <a:pt x="86" y="113"/>
                  </a:lnTo>
                  <a:lnTo>
                    <a:pt x="85" y="111"/>
                  </a:lnTo>
                  <a:lnTo>
                    <a:pt x="82" y="111"/>
                  </a:lnTo>
                  <a:lnTo>
                    <a:pt x="76" y="117"/>
                  </a:lnTo>
                  <a:lnTo>
                    <a:pt x="76" y="119"/>
                  </a:lnTo>
                  <a:lnTo>
                    <a:pt x="74" y="119"/>
                  </a:lnTo>
                  <a:lnTo>
                    <a:pt x="65" y="113"/>
                  </a:lnTo>
                  <a:lnTo>
                    <a:pt x="68" y="110"/>
                  </a:lnTo>
                  <a:lnTo>
                    <a:pt x="68" y="95"/>
                  </a:lnTo>
                  <a:lnTo>
                    <a:pt x="59" y="86"/>
                  </a:lnTo>
                  <a:lnTo>
                    <a:pt x="56" y="68"/>
                  </a:lnTo>
                  <a:lnTo>
                    <a:pt x="48" y="58"/>
                  </a:lnTo>
                  <a:lnTo>
                    <a:pt x="43" y="58"/>
                  </a:lnTo>
                  <a:lnTo>
                    <a:pt x="39" y="59"/>
                  </a:lnTo>
                  <a:lnTo>
                    <a:pt x="37" y="62"/>
                  </a:lnTo>
                  <a:lnTo>
                    <a:pt x="33" y="64"/>
                  </a:lnTo>
                  <a:lnTo>
                    <a:pt x="31" y="64"/>
                  </a:lnTo>
                  <a:lnTo>
                    <a:pt x="22" y="61"/>
                  </a:lnTo>
                  <a:lnTo>
                    <a:pt x="11" y="68"/>
                  </a:lnTo>
                  <a:lnTo>
                    <a:pt x="9" y="68"/>
                  </a:lnTo>
                  <a:lnTo>
                    <a:pt x="12" y="42"/>
                  </a:lnTo>
                  <a:lnTo>
                    <a:pt x="6" y="40"/>
                  </a:lnTo>
                  <a:lnTo>
                    <a:pt x="5" y="40"/>
                  </a:lnTo>
                  <a:lnTo>
                    <a:pt x="5" y="31"/>
                  </a:lnTo>
                  <a:lnTo>
                    <a:pt x="0" y="30"/>
                  </a:lnTo>
                  <a:lnTo>
                    <a:pt x="0" y="28"/>
                  </a:lnTo>
                  <a:lnTo>
                    <a:pt x="2" y="25"/>
                  </a:lnTo>
                  <a:lnTo>
                    <a:pt x="12" y="12"/>
                  </a:lnTo>
                  <a:lnTo>
                    <a:pt x="13" y="12"/>
                  </a:lnTo>
                  <a:lnTo>
                    <a:pt x="15" y="18"/>
                  </a:lnTo>
                  <a:lnTo>
                    <a:pt x="19" y="16"/>
                  </a:lnTo>
                  <a:lnTo>
                    <a:pt x="18" y="2"/>
                  </a:lnTo>
                  <a:lnTo>
                    <a:pt x="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8" name="Malaysia - East">
              <a:extLst>
                <a:ext uri="{FF2B5EF4-FFF2-40B4-BE49-F238E27FC236}">
                  <a16:creationId xmlns:a16="http://schemas.microsoft.com/office/drawing/2014/main" id="{C6481C48-BC05-97DB-6FE6-06B385C95D68}"/>
                </a:ext>
              </a:extLst>
            </p:cNvPr>
            <p:cNvSpPr>
              <a:spLocks/>
            </p:cNvSpPr>
            <p:nvPr/>
          </p:nvSpPr>
          <p:spPr bwMode="auto">
            <a:xfrm>
              <a:off x="8411748" y="4426578"/>
              <a:ext cx="231304" cy="140950"/>
            </a:xfrm>
            <a:custGeom>
              <a:avLst/>
              <a:gdLst>
                <a:gd name="T0" fmla="*/ 94 w 128"/>
                <a:gd name="T1" fmla="*/ 0 h 78"/>
                <a:gd name="T2" fmla="*/ 95 w 128"/>
                <a:gd name="T3" fmla="*/ 0 h 78"/>
                <a:gd name="T4" fmla="*/ 95 w 128"/>
                <a:gd name="T5" fmla="*/ 3 h 78"/>
                <a:gd name="T6" fmla="*/ 98 w 128"/>
                <a:gd name="T7" fmla="*/ 0 h 78"/>
                <a:gd name="T8" fmla="*/ 99 w 128"/>
                <a:gd name="T9" fmla="*/ 0 h 78"/>
                <a:gd name="T10" fmla="*/ 102 w 128"/>
                <a:gd name="T11" fmla="*/ 4 h 78"/>
                <a:gd name="T12" fmla="*/ 105 w 128"/>
                <a:gd name="T13" fmla="*/ 6 h 78"/>
                <a:gd name="T14" fmla="*/ 107 w 128"/>
                <a:gd name="T15" fmla="*/ 6 h 78"/>
                <a:gd name="T16" fmla="*/ 107 w 128"/>
                <a:gd name="T17" fmla="*/ 11 h 78"/>
                <a:gd name="T18" fmla="*/ 111 w 128"/>
                <a:gd name="T19" fmla="*/ 11 h 78"/>
                <a:gd name="T20" fmla="*/ 111 w 128"/>
                <a:gd name="T21" fmla="*/ 16 h 78"/>
                <a:gd name="T22" fmla="*/ 114 w 128"/>
                <a:gd name="T23" fmla="*/ 14 h 78"/>
                <a:gd name="T24" fmla="*/ 128 w 128"/>
                <a:gd name="T25" fmla="*/ 22 h 78"/>
                <a:gd name="T26" fmla="*/ 128 w 128"/>
                <a:gd name="T27" fmla="*/ 23 h 78"/>
                <a:gd name="T28" fmla="*/ 120 w 128"/>
                <a:gd name="T29" fmla="*/ 26 h 78"/>
                <a:gd name="T30" fmla="*/ 114 w 128"/>
                <a:gd name="T31" fmla="*/ 26 h 78"/>
                <a:gd name="T32" fmla="*/ 119 w 128"/>
                <a:gd name="T33" fmla="*/ 32 h 78"/>
                <a:gd name="T34" fmla="*/ 119 w 128"/>
                <a:gd name="T35" fmla="*/ 34 h 78"/>
                <a:gd name="T36" fmla="*/ 117 w 128"/>
                <a:gd name="T37" fmla="*/ 34 h 78"/>
                <a:gd name="T38" fmla="*/ 111 w 128"/>
                <a:gd name="T39" fmla="*/ 37 h 78"/>
                <a:gd name="T40" fmla="*/ 107 w 128"/>
                <a:gd name="T41" fmla="*/ 34 h 78"/>
                <a:gd name="T42" fmla="*/ 105 w 128"/>
                <a:gd name="T43" fmla="*/ 37 h 78"/>
                <a:gd name="T44" fmla="*/ 98 w 128"/>
                <a:gd name="T45" fmla="*/ 34 h 78"/>
                <a:gd name="T46" fmla="*/ 82 w 128"/>
                <a:gd name="T47" fmla="*/ 34 h 78"/>
                <a:gd name="T48" fmla="*/ 68 w 128"/>
                <a:gd name="T49" fmla="*/ 65 h 78"/>
                <a:gd name="T50" fmla="*/ 65 w 128"/>
                <a:gd name="T51" fmla="*/ 69 h 78"/>
                <a:gd name="T52" fmla="*/ 61 w 128"/>
                <a:gd name="T53" fmla="*/ 72 h 78"/>
                <a:gd name="T54" fmla="*/ 51 w 128"/>
                <a:gd name="T55" fmla="*/ 75 h 78"/>
                <a:gd name="T56" fmla="*/ 43 w 128"/>
                <a:gd name="T57" fmla="*/ 71 h 78"/>
                <a:gd name="T58" fmla="*/ 37 w 128"/>
                <a:gd name="T59" fmla="*/ 71 h 78"/>
                <a:gd name="T60" fmla="*/ 28 w 128"/>
                <a:gd name="T61" fmla="*/ 78 h 78"/>
                <a:gd name="T62" fmla="*/ 14 w 128"/>
                <a:gd name="T63" fmla="*/ 78 h 78"/>
                <a:gd name="T64" fmla="*/ 6 w 128"/>
                <a:gd name="T65" fmla="*/ 75 h 78"/>
                <a:gd name="T66" fmla="*/ 0 w 128"/>
                <a:gd name="T67" fmla="*/ 63 h 78"/>
                <a:gd name="T68" fmla="*/ 2 w 128"/>
                <a:gd name="T69" fmla="*/ 62 h 78"/>
                <a:gd name="T70" fmla="*/ 8 w 128"/>
                <a:gd name="T71" fmla="*/ 66 h 78"/>
                <a:gd name="T72" fmla="*/ 19 w 128"/>
                <a:gd name="T73" fmla="*/ 68 h 78"/>
                <a:gd name="T74" fmla="*/ 21 w 128"/>
                <a:gd name="T75" fmla="*/ 60 h 78"/>
                <a:gd name="T76" fmla="*/ 21 w 128"/>
                <a:gd name="T77" fmla="*/ 59 h 78"/>
                <a:gd name="T78" fmla="*/ 24 w 128"/>
                <a:gd name="T79" fmla="*/ 59 h 78"/>
                <a:gd name="T80" fmla="*/ 27 w 128"/>
                <a:gd name="T81" fmla="*/ 53 h 78"/>
                <a:gd name="T82" fmla="*/ 27 w 128"/>
                <a:gd name="T83" fmla="*/ 51 h 78"/>
                <a:gd name="T84" fmla="*/ 43 w 128"/>
                <a:gd name="T85" fmla="*/ 50 h 78"/>
                <a:gd name="T86" fmla="*/ 55 w 128"/>
                <a:gd name="T87" fmla="*/ 35 h 78"/>
                <a:gd name="T88" fmla="*/ 58 w 128"/>
                <a:gd name="T89" fmla="*/ 29 h 78"/>
                <a:gd name="T90" fmla="*/ 65 w 128"/>
                <a:gd name="T91" fmla="*/ 37 h 78"/>
                <a:gd name="T92" fmla="*/ 70 w 128"/>
                <a:gd name="T93" fmla="*/ 28 h 78"/>
                <a:gd name="T94" fmla="*/ 70 w 128"/>
                <a:gd name="T95" fmla="*/ 26 h 78"/>
                <a:gd name="T96" fmla="*/ 71 w 128"/>
                <a:gd name="T97" fmla="*/ 26 h 78"/>
                <a:gd name="T98" fmla="*/ 74 w 128"/>
                <a:gd name="T99" fmla="*/ 31 h 78"/>
                <a:gd name="T100" fmla="*/ 73 w 128"/>
                <a:gd name="T101" fmla="*/ 26 h 78"/>
                <a:gd name="T102" fmla="*/ 77 w 128"/>
                <a:gd name="T103" fmla="*/ 22 h 78"/>
                <a:gd name="T104" fmla="*/ 77 w 128"/>
                <a:gd name="T105" fmla="*/ 19 h 78"/>
                <a:gd name="T106" fmla="*/ 82 w 128"/>
                <a:gd name="T107" fmla="*/ 17 h 78"/>
                <a:gd name="T108" fmla="*/ 94 w 128"/>
                <a:gd name="T10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78">
                  <a:moveTo>
                    <a:pt x="94" y="0"/>
                  </a:moveTo>
                  <a:lnTo>
                    <a:pt x="95" y="0"/>
                  </a:lnTo>
                  <a:lnTo>
                    <a:pt x="95" y="3"/>
                  </a:lnTo>
                  <a:lnTo>
                    <a:pt x="98" y="0"/>
                  </a:lnTo>
                  <a:lnTo>
                    <a:pt x="99" y="0"/>
                  </a:lnTo>
                  <a:lnTo>
                    <a:pt x="102" y="4"/>
                  </a:lnTo>
                  <a:lnTo>
                    <a:pt x="105" y="6"/>
                  </a:lnTo>
                  <a:lnTo>
                    <a:pt x="107" y="6"/>
                  </a:lnTo>
                  <a:lnTo>
                    <a:pt x="107" y="11"/>
                  </a:lnTo>
                  <a:lnTo>
                    <a:pt x="111" y="11"/>
                  </a:lnTo>
                  <a:lnTo>
                    <a:pt x="111" y="16"/>
                  </a:lnTo>
                  <a:lnTo>
                    <a:pt x="114" y="14"/>
                  </a:lnTo>
                  <a:lnTo>
                    <a:pt x="128" y="22"/>
                  </a:lnTo>
                  <a:lnTo>
                    <a:pt x="128" y="23"/>
                  </a:lnTo>
                  <a:lnTo>
                    <a:pt x="120" y="26"/>
                  </a:lnTo>
                  <a:lnTo>
                    <a:pt x="114" y="26"/>
                  </a:lnTo>
                  <a:lnTo>
                    <a:pt x="119" y="32"/>
                  </a:lnTo>
                  <a:lnTo>
                    <a:pt x="119" y="34"/>
                  </a:lnTo>
                  <a:lnTo>
                    <a:pt x="117" y="34"/>
                  </a:lnTo>
                  <a:lnTo>
                    <a:pt x="111" y="37"/>
                  </a:lnTo>
                  <a:lnTo>
                    <a:pt x="107" y="34"/>
                  </a:lnTo>
                  <a:lnTo>
                    <a:pt x="105" y="37"/>
                  </a:lnTo>
                  <a:lnTo>
                    <a:pt x="98" y="34"/>
                  </a:lnTo>
                  <a:lnTo>
                    <a:pt x="82" y="34"/>
                  </a:lnTo>
                  <a:lnTo>
                    <a:pt x="68" y="65"/>
                  </a:lnTo>
                  <a:lnTo>
                    <a:pt x="65" y="69"/>
                  </a:lnTo>
                  <a:lnTo>
                    <a:pt x="61" y="72"/>
                  </a:lnTo>
                  <a:lnTo>
                    <a:pt x="51" y="75"/>
                  </a:lnTo>
                  <a:lnTo>
                    <a:pt x="43" y="71"/>
                  </a:lnTo>
                  <a:lnTo>
                    <a:pt x="37" y="71"/>
                  </a:lnTo>
                  <a:lnTo>
                    <a:pt x="28" y="78"/>
                  </a:lnTo>
                  <a:lnTo>
                    <a:pt x="14" y="78"/>
                  </a:lnTo>
                  <a:lnTo>
                    <a:pt x="6" y="75"/>
                  </a:lnTo>
                  <a:lnTo>
                    <a:pt x="0" y="63"/>
                  </a:lnTo>
                  <a:lnTo>
                    <a:pt x="2" y="62"/>
                  </a:lnTo>
                  <a:lnTo>
                    <a:pt x="8" y="66"/>
                  </a:lnTo>
                  <a:lnTo>
                    <a:pt x="19" y="68"/>
                  </a:lnTo>
                  <a:lnTo>
                    <a:pt x="21" y="60"/>
                  </a:lnTo>
                  <a:lnTo>
                    <a:pt x="21" y="59"/>
                  </a:lnTo>
                  <a:lnTo>
                    <a:pt x="24" y="59"/>
                  </a:lnTo>
                  <a:lnTo>
                    <a:pt x="27" y="53"/>
                  </a:lnTo>
                  <a:lnTo>
                    <a:pt x="27" y="51"/>
                  </a:lnTo>
                  <a:lnTo>
                    <a:pt x="43" y="50"/>
                  </a:lnTo>
                  <a:lnTo>
                    <a:pt x="55" y="35"/>
                  </a:lnTo>
                  <a:lnTo>
                    <a:pt x="58" y="29"/>
                  </a:lnTo>
                  <a:lnTo>
                    <a:pt x="65" y="37"/>
                  </a:lnTo>
                  <a:lnTo>
                    <a:pt x="70" y="28"/>
                  </a:lnTo>
                  <a:lnTo>
                    <a:pt x="70" y="26"/>
                  </a:lnTo>
                  <a:lnTo>
                    <a:pt x="71" y="26"/>
                  </a:lnTo>
                  <a:lnTo>
                    <a:pt x="74" y="31"/>
                  </a:lnTo>
                  <a:lnTo>
                    <a:pt x="73" y="26"/>
                  </a:lnTo>
                  <a:lnTo>
                    <a:pt x="77" y="22"/>
                  </a:lnTo>
                  <a:lnTo>
                    <a:pt x="77" y="19"/>
                  </a:lnTo>
                  <a:lnTo>
                    <a:pt x="82" y="17"/>
                  </a:lnTo>
                  <a:lnTo>
                    <a:pt x="9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9" name="Malaysia - West">
              <a:extLst>
                <a:ext uri="{FF2B5EF4-FFF2-40B4-BE49-F238E27FC236}">
                  <a16:creationId xmlns:a16="http://schemas.microsoft.com/office/drawing/2014/main" id="{EB34DC8D-35B6-586A-AEE2-4B8139A493AB}"/>
                </a:ext>
              </a:extLst>
            </p:cNvPr>
            <p:cNvSpPr>
              <a:spLocks/>
            </p:cNvSpPr>
            <p:nvPr/>
          </p:nvSpPr>
          <p:spPr bwMode="auto">
            <a:xfrm>
              <a:off x="8189480" y="4428386"/>
              <a:ext cx="99389" cy="126494"/>
            </a:xfrm>
            <a:custGeom>
              <a:avLst/>
              <a:gdLst>
                <a:gd name="T0" fmla="*/ 0 w 55"/>
                <a:gd name="T1" fmla="*/ 0 h 70"/>
                <a:gd name="T2" fmla="*/ 2 w 55"/>
                <a:gd name="T3" fmla="*/ 0 h 70"/>
                <a:gd name="T4" fmla="*/ 12 w 55"/>
                <a:gd name="T5" fmla="*/ 5 h 70"/>
                <a:gd name="T6" fmla="*/ 15 w 55"/>
                <a:gd name="T7" fmla="*/ 13 h 70"/>
                <a:gd name="T8" fmla="*/ 19 w 55"/>
                <a:gd name="T9" fmla="*/ 10 h 70"/>
                <a:gd name="T10" fmla="*/ 24 w 55"/>
                <a:gd name="T11" fmla="*/ 10 h 70"/>
                <a:gd name="T12" fmla="*/ 27 w 55"/>
                <a:gd name="T13" fmla="*/ 8 h 70"/>
                <a:gd name="T14" fmla="*/ 30 w 55"/>
                <a:gd name="T15" fmla="*/ 8 h 70"/>
                <a:gd name="T16" fmla="*/ 39 w 55"/>
                <a:gd name="T17" fmla="*/ 15 h 70"/>
                <a:gd name="T18" fmla="*/ 45 w 55"/>
                <a:gd name="T19" fmla="*/ 22 h 70"/>
                <a:gd name="T20" fmla="*/ 45 w 55"/>
                <a:gd name="T21" fmla="*/ 46 h 70"/>
                <a:gd name="T22" fmla="*/ 55 w 55"/>
                <a:gd name="T23" fmla="*/ 64 h 70"/>
                <a:gd name="T24" fmla="*/ 54 w 55"/>
                <a:gd name="T25" fmla="*/ 70 h 70"/>
                <a:gd name="T26" fmla="*/ 52 w 55"/>
                <a:gd name="T27" fmla="*/ 70 h 70"/>
                <a:gd name="T28" fmla="*/ 48 w 55"/>
                <a:gd name="T29" fmla="*/ 68 h 70"/>
                <a:gd name="T30" fmla="*/ 43 w 55"/>
                <a:gd name="T31" fmla="*/ 70 h 70"/>
                <a:gd name="T32" fmla="*/ 16 w 55"/>
                <a:gd name="T33" fmla="*/ 52 h 70"/>
                <a:gd name="T34" fmla="*/ 6 w 55"/>
                <a:gd name="T35" fmla="*/ 33 h 70"/>
                <a:gd name="T36" fmla="*/ 0 w 55"/>
                <a:gd name="T37" fmla="*/ 5 h 70"/>
                <a:gd name="T38" fmla="*/ 0 w 55"/>
                <a:gd name="T3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70">
                  <a:moveTo>
                    <a:pt x="0" y="0"/>
                  </a:moveTo>
                  <a:lnTo>
                    <a:pt x="2" y="0"/>
                  </a:lnTo>
                  <a:lnTo>
                    <a:pt x="12" y="5"/>
                  </a:lnTo>
                  <a:lnTo>
                    <a:pt x="15" y="13"/>
                  </a:lnTo>
                  <a:lnTo>
                    <a:pt x="19" y="10"/>
                  </a:lnTo>
                  <a:lnTo>
                    <a:pt x="24" y="10"/>
                  </a:lnTo>
                  <a:lnTo>
                    <a:pt x="27" y="8"/>
                  </a:lnTo>
                  <a:lnTo>
                    <a:pt x="30" y="8"/>
                  </a:lnTo>
                  <a:lnTo>
                    <a:pt x="39" y="15"/>
                  </a:lnTo>
                  <a:lnTo>
                    <a:pt x="45" y="22"/>
                  </a:lnTo>
                  <a:lnTo>
                    <a:pt x="45" y="46"/>
                  </a:lnTo>
                  <a:lnTo>
                    <a:pt x="55" y="64"/>
                  </a:lnTo>
                  <a:lnTo>
                    <a:pt x="54" y="70"/>
                  </a:lnTo>
                  <a:lnTo>
                    <a:pt x="52" y="70"/>
                  </a:lnTo>
                  <a:lnTo>
                    <a:pt x="48" y="68"/>
                  </a:lnTo>
                  <a:lnTo>
                    <a:pt x="43" y="70"/>
                  </a:lnTo>
                  <a:lnTo>
                    <a:pt x="16" y="52"/>
                  </a:lnTo>
                  <a:lnTo>
                    <a:pt x="6" y="33"/>
                  </a:lnTo>
                  <a:lnTo>
                    <a:pt x="0" y="5"/>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0" name="Nepal">
              <a:extLst>
                <a:ext uri="{FF2B5EF4-FFF2-40B4-BE49-F238E27FC236}">
                  <a16:creationId xmlns:a16="http://schemas.microsoft.com/office/drawing/2014/main" id="{ACEF8D01-E055-B35A-1B11-725E7F933AE7}"/>
                </a:ext>
              </a:extLst>
            </p:cNvPr>
            <p:cNvSpPr>
              <a:spLocks/>
            </p:cNvSpPr>
            <p:nvPr/>
          </p:nvSpPr>
          <p:spPr bwMode="auto">
            <a:xfrm>
              <a:off x="7712416" y="3841090"/>
              <a:ext cx="193357" cy="108424"/>
            </a:xfrm>
            <a:custGeom>
              <a:avLst/>
              <a:gdLst>
                <a:gd name="T0" fmla="*/ 15 w 107"/>
                <a:gd name="T1" fmla="*/ 0 h 60"/>
                <a:gd name="T2" fmla="*/ 15 w 107"/>
                <a:gd name="T3" fmla="*/ 2 h 60"/>
                <a:gd name="T4" fmla="*/ 18 w 107"/>
                <a:gd name="T5" fmla="*/ 3 h 60"/>
                <a:gd name="T6" fmla="*/ 18 w 107"/>
                <a:gd name="T7" fmla="*/ 0 h 60"/>
                <a:gd name="T8" fmla="*/ 26 w 107"/>
                <a:gd name="T9" fmla="*/ 0 h 60"/>
                <a:gd name="T10" fmla="*/ 28 w 107"/>
                <a:gd name="T11" fmla="*/ 2 h 60"/>
                <a:gd name="T12" fmla="*/ 31 w 107"/>
                <a:gd name="T13" fmla="*/ 2 h 60"/>
                <a:gd name="T14" fmla="*/ 43 w 107"/>
                <a:gd name="T15" fmla="*/ 11 h 60"/>
                <a:gd name="T16" fmla="*/ 48 w 107"/>
                <a:gd name="T17" fmla="*/ 18 h 60"/>
                <a:gd name="T18" fmla="*/ 55 w 107"/>
                <a:gd name="T19" fmla="*/ 15 h 60"/>
                <a:gd name="T20" fmla="*/ 57 w 107"/>
                <a:gd name="T21" fmla="*/ 15 h 60"/>
                <a:gd name="T22" fmla="*/ 55 w 107"/>
                <a:gd name="T23" fmla="*/ 23 h 60"/>
                <a:gd name="T24" fmla="*/ 68 w 107"/>
                <a:gd name="T25" fmla="*/ 26 h 60"/>
                <a:gd name="T26" fmla="*/ 68 w 107"/>
                <a:gd name="T27" fmla="*/ 29 h 60"/>
                <a:gd name="T28" fmla="*/ 76 w 107"/>
                <a:gd name="T29" fmla="*/ 32 h 60"/>
                <a:gd name="T30" fmla="*/ 79 w 107"/>
                <a:gd name="T31" fmla="*/ 36 h 60"/>
                <a:gd name="T32" fmla="*/ 88 w 107"/>
                <a:gd name="T33" fmla="*/ 35 h 60"/>
                <a:gd name="T34" fmla="*/ 97 w 107"/>
                <a:gd name="T35" fmla="*/ 37 h 60"/>
                <a:gd name="T36" fmla="*/ 100 w 107"/>
                <a:gd name="T37" fmla="*/ 37 h 60"/>
                <a:gd name="T38" fmla="*/ 104 w 107"/>
                <a:gd name="T39" fmla="*/ 36 h 60"/>
                <a:gd name="T40" fmla="*/ 107 w 107"/>
                <a:gd name="T41" fmla="*/ 36 h 60"/>
                <a:gd name="T42" fmla="*/ 106 w 107"/>
                <a:gd name="T43" fmla="*/ 46 h 60"/>
                <a:gd name="T44" fmla="*/ 104 w 107"/>
                <a:gd name="T45" fmla="*/ 49 h 60"/>
                <a:gd name="T46" fmla="*/ 107 w 107"/>
                <a:gd name="T47" fmla="*/ 52 h 60"/>
                <a:gd name="T48" fmla="*/ 107 w 107"/>
                <a:gd name="T49" fmla="*/ 54 h 60"/>
                <a:gd name="T50" fmla="*/ 106 w 107"/>
                <a:gd name="T51" fmla="*/ 58 h 60"/>
                <a:gd name="T52" fmla="*/ 103 w 107"/>
                <a:gd name="T53" fmla="*/ 58 h 60"/>
                <a:gd name="T54" fmla="*/ 100 w 107"/>
                <a:gd name="T55" fmla="*/ 60 h 60"/>
                <a:gd name="T56" fmla="*/ 94 w 107"/>
                <a:gd name="T57" fmla="*/ 60 h 60"/>
                <a:gd name="T58" fmla="*/ 66 w 107"/>
                <a:gd name="T59" fmla="*/ 52 h 60"/>
                <a:gd name="T60" fmla="*/ 57 w 107"/>
                <a:gd name="T61" fmla="*/ 45 h 60"/>
                <a:gd name="T62" fmla="*/ 37 w 107"/>
                <a:gd name="T63" fmla="*/ 45 h 60"/>
                <a:gd name="T64" fmla="*/ 2 w 107"/>
                <a:gd name="T65" fmla="*/ 24 h 60"/>
                <a:gd name="T66" fmla="*/ 0 w 107"/>
                <a:gd name="T67" fmla="*/ 24 h 60"/>
                <a:gd name="T68" fmla="*/ 0 w 107"/>
                <a:gd name="T69" fmla="*/ 23 h 60"/>
                <a:gd name="T70" fmla="*/ 5 w 107"/>
                <a:gd name="T71" fmla="*/ 8 h 60"/>
                <a:gd name="T72" fmla="*/ 14 w 107"/>
                <a:gd name="T73" fmla="*/ 2 h 60"/>
                <a:gd name="T74" fmla="*/ 15 w 107"/>
                <a:gd name="T7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60">
                  <a:moveTo>
                    <a:pt x="15" y="0"/>
                  </a:moveTo>
                  <a:lnTo>
                    <a:pt x="15" y="2"/>
                  </a:lnTo>
                  <a:lnTo>
                    <a:pt x="18" y="3"/>
                  </a:lnTo>
                  <a:lnTo>
                    <a:pt x="18" y="0"/>
                  </a:lnTo>
                  <a:lnTo>
                    <a:pt x="26" y="0"/>
                  </a:lnTo>
                  <a:lnTo>
                    <a:pt x="28" y="2"/>
                  </a:lnTo>
                  <a:lnTo>
                    <a:pt x="31" y="2"/>
                  </a:lnTo>
                  <a:lnTo>
                    <a:pt x="43" y="11"/>
                  </a:lnTo>
                  <a:lnTo>
                    <a:pt x="48" y="18"/>
                  </a:lnTo>
                  <a:lnTo>
                    <a:pt x="55" y="15"/>
                  </a:lnTo>
                  <a:lnTo>
                    <a:pt x="57" y="15"/>
                  </a:lnTo>
                  <a:lnTo>
                    <a:pt x="55" y="23"/>
                  </a:lnTo>
                  <a:lnTo>
                    <a:pt x="68" y="26"/>
                  </a:lnTo>
                  <a:lnTo>
                    <a:pt x="68" y="29"/>
                  </a:lnTo>
                  <a:lnTo>
                    <a:pt x="76" y="32"/>
                  </a:lnTo>
                  <a:lnTo>
                    <a:pt x="79" y="36"/>
                  </a:lnTo>
                  <a:lnTo>
                    <a:pt x="88" y="35"/>
                  </a:lnTo>
                  <a:lnTo>
                    <a:pt x="97" y="37"/>
                  </a:lnTo>
                  <a:lnTo>
                    <a:pt x="100" y="37"/>
                  </a:lnTo>
                  <a:lnTo>
                    <a:pt x="104" y="36"/>
                  </a:lnTo>
                  <a:lnTo>
                    <a:pt x="107" y="36"/>
                  </a:lnTo>
                  <a:lnTo>
                    <a:pt x="106" y="46"/>
                  </a:lnTo>
                  <a:lnTo>
                    <a:pt x="104" y="49"/>
                  </a:lnTo>
                  <a:lnTo>
                    <a:pt x="107" y="52"/>
                  </a:lnTo>
                  <a:lnTo>
                    <a:pt x="107" y="54"/>
                  </a:lnTo>
                  <a:lnTo>
                    <a:pt x="106" y="58"/>
                  </a:lnTo>
                  <a:lnTo>
                    <a:pt x="103" y="58"/>
                  </a:lnTo>
                  <a:lnTo>
                    <a:pt x="100" y="60"/>
                  </a:lnTo>
                  <a:lnTo>
                    <a:pt x="94" y="60"/>
                  </a:lnTo>
                  <a:lnTo>
                    <a:pt x="66" y="52"/>
                  </a:lnTo>
                  <a:lnTo>
                    <a:pt x="57" y="45"/>
                  </a:lnTo>
                  <a:lnTo>
                    <a:pt x="37" y="45"/>
                  </a:lnTo>
                  <a:lnTo>
                    <a:pt x="2" y="24"/>
                  </a:lnTo>
                  <a:lnTo>
                    <a:pt x="0" y="24"/>
                  </a:lnTo>
                  <a:lnTo>
                    <a:pt x="0" y="23"/>
                  </a:lnTo>
                  <a:lnTo>
                    <a:pt x="5" y="8"/>
                  </a:lnTo>
                  <a:lnTo>
                    <a:pt x="14" y="2"/>
                  </a:lnTo>
                  <a:lnTo>
                    <a:pt x="1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1" name="Vietnam">
              <a:extLst>
                <a:ext uri="{FF2B5EF4-FFF2-40B4-BE49-F238E27FC236}">
                  <a16:creationId xmlns:a16="http://schemas.microsoft.com/office/drawing/2014/main" id="{BF7A508D-F76C-E257-5CCD-5ACDE689B2EC}"/>
                </a:ext>
              </a:extLst>
            </p:cNvPr>
            <p:cNvSpPr>
              <a:spLocks/>
            </p:cNvSpPr>
            <p:nvPr/>
          </p:nvSpPr>
          <p:spPr bwMode="auto">
            <a:xfrm>
              <a:off x="8238270" y="4027218"/>
              <a:ext cx="168057" cy="357799"/>
            </a:xfrm>
            <a:custGeom>
              <a:avLst/>
              <a:gdLst>
                <a:gd name="T0" fmla="*/ 56 w 93"/>
                <a:gd name="T1" fmla="*/ 6 h 198"/>
                <a:gd name="T2" fmla="*/ 61 w 93"/>
                <a:gd name="T3" fmla="*/ 19 h 198"/>
                <a:gd name="T4" fmla="*/ 75 w 93"/>
                <a:gd name="T5" fmla="*/ 25 h 198"/>
                <a:gd name="T6" fmla="*/ 68 w 93"/>
                <a:gd name="T7" fmla="*/ 28 h 198"/>
                <a:gd name="T8" fmla="*/ 49 w 93"/>
                <a:gd name="T9" fmla="*/ 47 h 198"/>
                <a:gd name="T10" fmla="*/ 46 w 93"/>
                <a:gd name="T11" fmla="*/ 65 h 198"/>
                <a:gd name="T12" fmla="*/ 56 w 93"/>
                <a:gd name="T13" fmla="*/ 77 h 198"/>
                <a:gd name="T14" fmla="*/ 72 w 93"/>
                <a:gd name="T15" fmla="*/ 95 h 198"/>
                <a:gd name="T16" fmla="*/ 80 w 93"/>
                <a:gd name="T17" fmla="*/ 98 h 198"/>
                <a:gd name="T18" fmla="*/ 87 w 93"/>
                <a:gd name="T19" fmla="*/ 108 h 198"/>
                <a:gd name="T20" fmla="*/ 92 w 93"/>
                <a:gd name="T21" fmla="*/ 148 h 198"/>
                <a:gd name="T22" fmla="*/ 89 w 93"/>
                <a:gd name="T23" fmla="*/ 163 h 198"/>
                <a:gd name="T24" fmla="*/ 67 w 93"/>
                <a:gd name="T25" fmla="*/ 175 h 198"/>
                <a:gd name="T26" fmla="*/ 56 w 93"/>
                <a:gd name="T27" fmla="*/ 181 h 198"/>
                <a:gd name="T28" fmla="*/ 55 w 93"/>
                <a:gd name="T29" fmla="*/ 187 h 198"/>
                <a:gd name="T30" fmla="*/ 52 w 93"/>
                <a:gd name="T31" fmla="*/ 188 h 198"/>
                <a:gd name="T32" fmla="*/ 34 w 93"/>
                <a:gd name="T33" fmla="*/ 198 h 198"/>
                <a:gd name="T34" fmla="*/ 37 w 93"/>
                <a:gd name="T35" fmla="*/ 179 h 198"/>
                <a:gd name="T36" fmla="*/ 29 w 93"/>
                <a:gd name="T37" fmla="*/ 173 h 198"/>
                <a:gd name="T38" fmla="*/ 35 w 93"/>
                <a:gd name="T39" fmla="*/ 169 h 198"/>
                <a:gd name="T40" fmla="*/ 47 w 93"/>
                <a:gd name="T41" fmla="*/ 164 h 198"/>
                <a:gd name="T42" fmla="*/ 55 w 93"/>
                <a:gd name="T43" fmla="*/ 157 h 198"/>
                <a:gd name="T44" fmla="*/ 68 w 93"/>
                <a:gd name="T45" fmla="*/ 148 h 198"/>
                <a:gd name="T46" fmla="*/ 68 w 93"/>
                <a:gd name="T47" fmla="*/ 109 h 198"/>
                <a:gd name="T48" fmla="*/ 56 w 93"/>
                <a:gd name="T49" fmla="*/ 93 h 198"/>
                <a:gd name="T50" fmla="*/ 55 w 93"/>
                <a:gd name="T51" fmla="*/ 92 h 198"/>
                <a:gd name="T52" fmla="*/ 47 w 93"/>
                <a:gd name="T53" fmla="*/ 80 h 198"/>
                <a:gd name="T54" fmla="*/ 22 w 93"/>
                <a:gd name="T55" fmla="*/ 56 h 198"/>
                <a:gd name="T56" fmla="*/ 24 w 93"/>
                <a:gd name="T57" fmla="*/ 50 h 198"/>
                <a:gd name="T58" fmla="*/ 29 w 93"/>
                <a:gd name="T59" fmla="*/ 49 h 198"/>
                <a:gd name="T60" fmla="*/ 28 w 93"/>
                <a:gd name="T61" fmla="*/ 35 h 198"/>
                <a:gd name="T62" fmla="*/ 12 w 93"/>
                <a:gd name="T63" fmla="*/ 34 h 198"/>
                <a:gd name="T64" fmla="*/ 7 w 93"/>
                <a:gd name="T65" fmla="*/ 22 h 198"/>
                <a:gd name="T66" fmla="*/ 0 w 93"/>
                <a:gd name="T67" fmla="*/ 12 h 198"/>
                <a:gd name="T68" fmla="*/ 3 w 93"/>
                <a:gd name="T69" fmla="*/ 6 h 198"/>
                <a:gd name="T70" fmla="*/ 15 w 93"/>
                <a:gd name="T71" fmla="*/ 7 h 198"/>
                <a:gd name="T72" fmla="*/ 21 w 93"/>
                <a:gd name="T73" fmla="*/ 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 h="198">
                  <a:moveTo>
                    <a:pt x="38" y="0"/>
                  </a:moveTo>
                  <a:lnTo>
                    <a:pt x="56" y="6"/>
                  </a:lnTo>
                  <a:lnTo>
                    <a:pt x="56" y="7"/>
                  </a:lnTo>
                  <a:lnTo>
                    <a:pt x="61" y="19"/>
                  </a:lnTo>
                  <a:lnTo>
                    <a:pt x="67" y="23"/>
                  </a:lnTo>
                  <a:lnTo>
                    <a:pt x="75" y="25"/>
                  </a:lnTo>
                  <a:lnTo>
                    <a:pt x="75" y="26"/>
                  </a:lnTo>
                  <a:lnTo>
                    <a:pt x="68" y="28"/>
                  </a:lnTo>
                  <a:lnTo>
                    <a:pt x="58" y="37"/>
                  </a:lnTo>
                  <a:lnTo>
                    <a:pt x="49" y="47"/>
                  </a:lnTo>
                  <a:lnTo>
                    <a:pt x="46" y="59"/>
                  </a:lnTo>
                  <a:lnTo>
                    <a:pt x="46" y="65"/>
                  </a:lnTo>
                  <a:lnTo>
                    <a:pt x="53" y="71"/>
                  </a:lnTo>
                  <a:lnTo>
                    <a:pt x="56" y="77"/>
                  </a:lnTo>
                  <a:lnTo>
                    <a:pt x="64" y="86"/>
                  </a:lnTo>
                  <a:lnTo>
                    <a:pt x="72" y="95"/>
                  </a:lnTo>
                  <a:lnTo>
                    <a:pt x="78" y="98"/>
                  </a:lnTo>
                  <a:lnTo>
                    <a:pt x="80" y="98"/>
                  </a:lnTo>
                  <a:lnTo>
                    <a:pt x="81" y="103"/>
                  </a:lnTo>
                  <a:lnTo>
                    <a:pt x="87" y="108"/>
                  </a:lnTo>
                  <a:lnTo>
                    <a:pt x="93" y="142"/>
                  </a:lnTo>
                  <a:lnTo>
                    <a:pt x="92" y="148"/>
                  </a:lnTo>
                  <a:lnTo>
                    <a:pt x="92" y="158"/>
                  </a:lnTo>
                  <a:lnTo>
                    <a:pt x="89" y="163"/>
                  </a:lnTo>
                  <a:lnTo>
                    <a:pt x="75" y="172"/>
                  </a:lnTo>
                  <a:lnTo>
                    <a:pt x="67" y="175"/>
                  </a:lnTo>
                  <a:lnTo>
                    <a:pt x="61" y="175"/>
                  </a:lnTo>
                  <a:lnTo>
                    <a:pt x="56" y="181"/>
                  </a:lnTo>
                  <a:lnTo>
                    <a:pt x="56" y="187"/>
                  </a:lnTo>
                  <a:lnTo>
                    <a:pt x="55" y="187"/>
                  </a:lnTo>
                  <a:lnTo>
                    <a:pt x="50" y="184"/>
                  </a:lnTo>
                  <a:lnTo>
                    <a:pt x="52" y="188"/>
                  </a:lnTo>
                  <a:lnTo>
                    <a:pt x="38" y="198"/>
                  </a:lnTo>
                  <a:lnTo>
                    <a:pt x="34" y="198"/>
                  </a:lnTo>
                  <a:lnTo>
                    <a:pt x="34" y="188"/>
                  </a:lnTo>
                  <a:lnTo>
                    <a:pt x="37" y="179"/>
                  </a:lnTo>
                  <a:lnTo>
                    <a:pt x="29" y="175"/>
                  </a:lnTo>
                  <a:lnTo>
                    <a:pt x="29" y="173"/>
                  </a:lnTo>
                  <a:lnTo>
                    <a:pt x="34" y="172"/>
                  </a:lnTo>
                  <a:lnTo>
                    <a:pt x="35" y="169"/>
                  </a:lnTo>
                  <a:lnTo>
                    <a:pt x="35" y="167"/>
                  </a:lnTo>
                  <a:lnTo>
                    <a:pt x="47" y="164"/>
                  </a:lnTo>
                  <a:lnTo>
                    <a:pt x="47" y="157"/>
                  </a:lnTo>
                  <a:lnTo>
                    <a:pt x="55" y="157"/>
                  </a:lnTo>
                  <a:lnTo>
                    <a:pt x="55" y="154"/>
                  </a:lnTo>
                  <a:lnTo>
                    <a:pt x="68" y="148"/>
                  </a:lnTo>
                  <a:lnTo>
                    <a:pt x="67" y="117"/>
                  </a:lnTo>
                  <a:lnTo>
                    <a:pt x="68" y="109"/>
                  </a:lnTo>
                  <a:lnTo>
                    <a:pt x="64" y="96"/>
                  </a:lnTo>
                  <a:lnTo>
                    <a:pt x="56" y="93"/>
                  </a:lnTo>
                  <a:lnTo>
                    <a:pt x="55" y="93"/>
                  </a:lnTo>
                  <a:lnTo>
                    <a:pt x="55" y="92"/>
                  </a:lnTo>
                  <a:lnTo>
                    <a:pt x="53" y="83"/>
                  </a:lnTo>
                  <a:lnTo>
                    <a:pt x="47" y="80"/>
                  </a:lnTo>
                  <a:lnTo>
                    <a:pt x="37" y="65"/>
                  </a:lnTo>
                  <a:lnTo>
                    <a:pt x="22" y="56"/>
                  </a:lnTo>
                  <a:lnTo>
                    <a:pt x="22" y="55"/>
                  </a:lnTo>
                  <a:lnTo>
                    <a:pt x="24" y="50"/>
                  </a:lnTo>
                  <a:lnTo>
                    <a:pt x="24" y="49"/>
                  </a:lnTo>
                  <a:lnTo>
                    <a:pt x="29" y="49"/>
                  </a:lnTo>
                  <a:lnTo>
                    <a:pt x="32" y="46"/>
                  </a:lnTo>
                  <a:lnTo>
                    <a:pt x="28" y="35"/>
                  </a:lnTo>
                  <a:lnTo>
                    <a:pt x="25" y="34"/>
                  </a:lnTo>
                  <a:lnTo>
                    <a:pt x="12" y="34"/>
                  </a:lnTo>
                  <a:lnTo>
                    <a:pt x="9" y="29"/>
                  </a:lnTo>
                  <a:lnTo>
                    <a:pt x="7" y="22"/>
                  </a:lnTo>
                  <a:lnTo>
                    <a:pt x="0" y="13"/>
                  </a:lnTo>
                  <a:lnTo>
                    <a:pt x="0" y="12"/>
                  </a:lnTo>
                  <a:lnTo>
                    <a:pt x="3" y="7"/>
                  </a:lnTo>
                  <a:lnTo>
                    <a:pt x="3" y="6"/>
                  </a:lnTo>
                  <a:lnTo>
                    <a:pt x="12" y="9"/>
                  </a:lnTo>
                  <a:lnTo>
                    <a:pt x="15" y="7"/>
                  </a:lnTo>
                  <a:lnTo>
                    <a:pt x="16" y="7"/>
                  </a:lnTo>
                  <a:lnTo>
                    <a:pt x="21" y="9"/>
                  </a:lnTo>
                  <a:lnTo>
                    <a:pt x="3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2" name="India">
              <a:extLst>
                <a:ext uri="{FF2B5EF4-FFF2-40B4-BE49-F238E27FC236}">
                  <a16:creationId xmlns:a16="http://schemas.microsoft.com/office/drawing/2014/main" id="{E0B78947-98C2-122F-9E81-7C8CBB9B7583}"/>
                </a:ext>
              </a:extLst>
            </p:cNvPr>
            <p:cNvSpPr>
              <a:spLocks/>
            </p:cNvSpPr>
            <p:nvPr/>
          </p:nvSpPr>
          <p:spPr bwMode="auto">
            <a:xfrm>
              <a:off x="7428708" y="3680262"/>
              <a:ext cx="697525" cy="719211"/>
            </a:xfrm>
            <a:custGeom>
              <a:avLst/>
              <a:gdLst>
                <a:gd name="T0" fmla="*/ 162 w 386"/>
                <a:gd name="T1" fmla="*/ 8 h 398"/>
                <a:gd name="T2" fmla="*/ 153 w 386"/>
                <a:gd name="T3" fmla="*/ 26 h 398"/>
                <a:gd name="T4" fmla="*/ 145 w 386"/>
                <a:gd name="T5" fmla="*/ 42 h 398"/>
                <a:gd name="T6" fmla="*/ 145 w 386"/>
                <a:gd name="T7" fmla="*/ 60 h 398"/>
                <a:gd name="T8" fmla="*/ 140 w 386"/>
                <a:gd name="T9" fmla="*/ 55 h 398"/>
                <a:gd name="T10" fmla="*/ 151 w 386"/>
                <a:gd name="T11" fmla="*/ 78 h 398"/>
                <a:gd name="T12" fmla="*/ 194 w 386"/>
                <a:gd name="T13" fmla="*/ 132 h 398"/>
                <a:gd name="T14" fmla="*/ 261 w 386"/>
                <a:gd name="T15" fmla="*/ 146 h 398"/>
                <a:gd name="T16" fmla="*/ 263 w 386"/>
                <a:gd name="T17" fmla="*/ 125 h 398"/>
                <a:gd name="T18" fmla="*/ 273 w 386"/>
                <a:gd name="T19" fmla="*/ 131 h 398"/>
                <a:gd name="T20" fmla="*/ 274 w 386"/>
                <a:gd name="T21" fmla="*/ 140 h 398"/>
                <a:gd name="T22" fmla="*/ 310 w 386"/>
                <a:gd name="T23" fmla="*/ 131 h 398"/>
                <a:gd name="T24" fmla="*/ 357 w 386"/>
                <a:gd name="T25" fmla="*/ 104 h 398"/>
                <a:gd name="T26" fmla="*/ 372 w 386"/>
                <a:gd name="T27" fmla="*/ 109 h 398"/>
                <a:gd name="T28" fmla="*/ 386 w 386"/>
                <a:gd name="T29" fmla="*/ 121 h 398"/>
                <a:gd name="T30" fmla="*/ 380 w 386"/>
                <a:gd name="T31" fmla="*/ 135 h 398"/>
                <a:gd name="T32" fmla="*/ 350 w 386"/>
                <a:gd name="T33" fmla="*/ 165 h 398"/>
                <a:gd name="T34" fmla="*/ 332 w 386"/>
                <a:gd name="T35" fmla="*/ 198 h 398"/>
                <a:gd name="T36" fmla="*/ 329 w 386"/>
                <a:gd name="T37" fmla="*/ 208 h 398"/>
                <a:gd name="T38" fmla="*/ 310 w 386"/>
                <a:gd name="T39" fmla="*/ 195 h 398"/>
                <a:gd name="T40" fmla="*/ 304 w 386"/>
                <a:gd name="T41" fmla="*/ 192 h 398"/>
                <a:gd name="T42" fmla="*/ 288 w 386"/>
                <a:gd name="T43" fmla="*/ 164 h 398"/>
                <a:gd name="T44" fmla="*/ 276 w 386"/>
                <a:gd name="T45" fmla="*/ 153 h 398"/>
                <a:gd name="T46" fmla="*/ 268 w 386"/>
                <a:gd name="T47" fmla="*/ 147 h 398"/>
                <a:gd name="T48" fmla="*/ 270 w 386"/>
                <a:gd name="T49" fmla="*/ 159 h 398"/>
                <a:gd name="T50" fmla="*/ 261 w 386"/>
                <a:gd name="T51" fmla="*/ 169 h 398"/>
                <a:gd name="T52" fmla="*/ 274 w 386"/>
                <a:gd name="T53" fmla="*/ 215 h 398"/>
                <a:gd name="T54" fmla="*/ 263 w 386"/>
                <a:gd name="T55" fmla="*/ 209 h 398"/>
                <a:gd name="T56" fmla="*/ 240 w 386"/>
                <a:gd name="T57" fmla="*/ 238 h 398"/>
                <a:gd name="T58" fmla="*/ 185 w 386"/>
                <a:gd name="T59" fmla="*/ 285 h 398"/>
                <a:gd name="T60" fmla="*/ 159 w 386"/>
                <a:gd name="T61" fmla="*/ 301 h 398"/>
                <a:gd name="T62" fmla="*/ 156 w 386"/>
                <a:gd name="T63" fmla="*/ 368 h 398"/>
                <a:gd name="T64" fmla="*/ 134 w 386"/>
                <a:gd name="T65" fmla="*/ 384 h 398"/>
                <a:gd name="T66" fmla="*/ 113 w 386"/>
                <a:gd name="T67" fmla="*/ 386 h 398"/>
                <a:gd name="T68" fmla="*/ 79 w 386"/>
                <a:gd name="T69" fmla="*/ 306 h 398"/>
                <a:gd name="T70" fmla="*/ 68 w 386"/>
                <a:gd name="T71" fmla="*/ 285 h 398"/>
                <a:gd name="T72" fmla="*/ 59 w 386"/>
                <a:gd name="T73" fmla="*/ 241 h 398"/>
                <a:gd name="T74" fmla="*/ 61 w 386"/>
                <a:gd name="T75" fmla="*/ 207 h 398"/>
                <a:gd name="T76" fmla="*/ 31 w 386"/>
                <a:gd name="T77" fmla="*/ 226 h 398"/>
                <a:gd name="T78" fmla="*/ 25 w 386"/>
                <a:gd name="T79" fmla="*/ 202 h 398"/>
                <a:gd name="T80" fmla="*/ 12 w 386"/>
                <a:gd name="T81" fmla="*/ 198 h 398"/>
                <a:gd name="T82" fmla="*/ 12 w 386"/>
                <a:gd name="T83" fmla="*/ 175 h 398"/>
                <a:gd name="T84" fmla="*/ 37 w 386"/>
                <a:gd name="T85" fmla="*/ 177 h 398"/>
                <a:gd name="T86" fmla="*/ 30 w 386"/>
                <a:gd name="T87" fmla="*/ 146 h 398"/>
                <a:gd name="T88" fmla="*/ 33 w 386"/>
                <a:gd name="T89" fmla="*/ 122 h 398"/>
                <a:gd name="T90" fmla="*/ 57 w 386"/>
                <a:gd name="T91" fmla="*/ 113 h 398"/>
                <a:gd name="T92" fmla="*/ 82 w 386"/>
                <a:gd name="T93" fmla="*/ 81 h 398"/>
                <a:gd name="T94" fmla="*/ 88 w 386"/>
                <a:gd name="T95" fmla="*/ 72 h 398"/>
                <a:gd name="T96" fmla="*/ 97 w 386"/>
                <a:gd name="T97" fmla="*/ 60 h 398"/>
                <a:gd name="T98" fmla="*/ 83 w 386"/>
                <a:gd name="T99" fmla="*/ 51 h 398"/>
                <a:gd name="T100" fmla="*/ 79 w 386"/>
                <a:gd name="T101" fmla="*/ 36 h 398"/>
                <a:gd name="T102" fmla="*/ 76 w 386"/>
                <a:gd name="T103" fmla="*/ 27 h 398"/>
                <a:gd name="T104" fmla="*/ 83 w 386"/>
                <a:gd name="T105" fmla="*/ 18 h 398"/>
                <a:gd name="T106" fmla="*/ 119 w 386"/>
                <a:gd name="T107" fmla="*/ 1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6" h="398">
                  <a:moveTo>
                    <a:pt x="148" y="0"/>
                  </a:moveTo>
                  <a:lnTo>
                    <a:pt x="159" y="6"/>
                  </a:lnTo>
                  <a:lnTo>
                    <a:pt x="159" y="9"/>
                  </a:lnTo>
                  <a:lnTo>
                    <a:pt x="162" y="8"/>
                  </a:lnTo>
                  <a:lnTo>
                    <a:pt x="163" y="8"/>
                  </a:lnTo>
                  <a:lnTo>
                    <a:pt x="163" y="9"/>
                  </a:lnTo>
                  <a:lnTo>
                    <a:pt x="159" y="21"/>
                  </a:lnTo>
                  <a:lnTo>
                    <a:pt x="153" y="26"/>
                  </a:lnTo>
                  <a:lnTo>
                    <a:pt x="153" y="32"/>
                  </a:lnTo>
                  <a:lnTo>
                    <a:pt x="151" y="32"/>
                  </a:lnTo>
                  <a:lnTo>
                    <a:pt x="144" y="33"/>
                  </a:lnTo>
                  <a:lnTo>
                    <a:pt x="145" y="42"/>
                  </a:lnTo>
                  <a:lnTo>
                    <a:pt x="151" y="45"/>
                  </a:lnTo>
                  <a:lnTo>
                    <a:pt x="153" y="52"/>
                  </a:lnTo>
                  <a:lnTo>
                    <a:pt x="145" y="58"/>
                  </a:lnTo>
                  <a:lnTo>
                    <a:pt x="145" y="60"/>
                  </a:lnTo>
                  <a:lnTo>
                    <a:pt x="144" y="60"/>
                  </a:lnTo>
                  <a:lnTo>
                    <a:pt x="144" y="58"/>
                  </a:lnTo>
                  <a:lnTo>
                    <a:pt x="141" y="54"/>
                  </a:lnTo>
                  <a:lnTo>
                    <a:pt x="140" y="55"/>
                  </a:lnTo>
                  <a:lnTo>
                    <a:pt x="142" y="64"/>
                  </a:lnTo>
                  <a:lnTo>
                    <a:pt x="142" y="72"/>
                  </a:lnTo>
                  <a:lnTo>
                    <a:pt x="145" y="78"/>
                  </a:lnTo>
                  <a:lnTo>
                    <a:pt x="151" y="78"/>
                  </a:lnTo>
                  <a:lnTo>
                    <a:pt x="172" y="91"/>
                  </a:lnTo>
                  <a:lnTo>
                    <a:pt x="163" y="98"/>
                  </a:lnTo>
                  <a:lnTo>
                    <a:pt x="159" y="112"/>
                  </a:lnTo>
                  <a:lnTo>
                    <a:pt x="194" y="132"/>
                  </a:lnTo>
                  <a:lnTo>
                    <a:pt x="215" y="132"/>
                  </a:lnTo>
                  <a:lnTo>
                    <a:pt x="223" y="141"/>
                  </a:lnTo>
                  <a:lnTo>
                    <a:pt x="251" y="147"/>
                  </a:lnTo>
                  <a:lnTo>
                    <a:pt x="261" y="146"/>
                  </a:lnTo>
                  <a:lnTo>
                    <a:pt x="263" y="141"/>
                  </a:lnTo>
                  <a:lnTo>
                    <a:pt x="260" y="138"/>
                  </a:lnTo>
                  <a:lnTo>
                    <a:pt x="261" y="135"/>
                  </a:lnTo>
                  <a:lnTo>
                    <a:pt x="263" y="125"/>
                  </a:lnTo>
                  <a:lnTo>
                    <a:pt x="264" y="125"/>
                  </a:lnTo>
                  <a:lnTo>
                    <a:pt x="271" y="122"/>
                  </a:lnTo>
                  <a:lnTo>
                    <a:pt x="273" y="122"/>
                  </a:lnTo>
                  <a:lnTo>
                    <a:pt x="273" y="131"/>
                  </a:lnTo>
                  <a:lnTo>
                    <a:pt x="274" y="132"/>
                  </a:lnTo>
                  <a:lnTo>
                    <a:pt x="274" y="134"/>
                  </a:lnTo>
                  <a:lnTo>
                    <a:pt x="273" y="135"/>
                  </a:lnTo>
                  <a:lnTo>
                    <a:pt x="274" y="140"/>
                  </a:lnTo>
                  <a:lnTo>
                    <a:pt x="283" y="141"/>
                  </a:lnTo>
                  <a:lnTo>
                    <a:pt x="313" y="138"/>
                  </a:lnTo>
                  <a:lnTo>
                    <a:pt x="316" y="134"/>
                  </a:lnTo>
                  <a:lnTo>
                    <a:pt x="310" y="131"/>
                  </a:lnTo>
                  <a:lnTo>
                    <a:pt x="310" y="126"/>
                  </a:lnTo>
                  <a:lnTo>
                    <a:pt x="328" y="119"/>
                  </a:lnTo>
                  <a:lnTo>
                    <a:pt x="347" y="104"/>
                  </a:lnTo>
                  <a:lnTo>
                    <a:pt x="357" y="104"/>
                  </a:lnTo>
                  <a:lnTo>
                    <a:pt x="366" y="101"/>
                  </a:lnTo>
                  <a:lnTo>
                    <a:pt x="368" y="101"/>
                  </a:lnTo>
                  <a:lnTo>
                    <a:pt x="371" y="109"/>
                  </a:lnTo>
                  <a:lnTo>
                    <a:pt x="372" y="109"/>
                  </a:lnTo>
                  <a:lnTo>
                    <a:pt x="372" y="116"/>
                  </a:lnTo>
                  <a:lnTo>
                    <a:pt x="381" y="118"/>
                  </a:lnTo>
                  <a:lnTo>
                    <a:pt x="384" y="121"/>
                  </a:lnTo>
                  <a:lnTo>
                    <a:pt x="386" y="121"/>
                  </a:lnTo>
                  <a:lnTo>
                    <a:pt x="386" y="125"/>
                  </a:lnTo>
                  <a:lnTo>
                    <a:pt x="384" y="125"/>
                  </a:lnTo>
                  <a:lnTo>
                    <a:pt x="381" y="126"/>
                  </a:lnTo>
                  <a:lnTo>
                    <a:pt x="380" y="135"/>
                  </a:lnTo>
                  <a:lnTo>
                    <a:pt x="369" y="137"/>
                  </a:lnTo>
                  <a:lnTo>
                    <a:pt x="357" y="146"/>
                  </a:lnTo>
                  <a:lnTo>
                    <a:pt x="357" y="156"/>
                  </a:lnTo>
                  <a:lnTo>
                    <a:pt x="350" y="165"/>
                  </a:lnTo>
                  <a:lnTo>
                    <a:pt x="344" y="181"/>
                  </a:lnTo>
                  <a:lnTo>
                    <a:pt x="344" y="183"/>
                  </a:lnTo>
                  <a:lnTo>
                    <a:pt x="332" y="186"/>
                  </a:lnTo>
                  <a:lnTo>
                    <a:pt x="332" y="198"/>
                  </a:lnTo>
                  <a:lnTo>
                    <a:pt x="328" y="198"/>
                  </a:lnTo>
                  <a:lnTo>
                    <a:pt x="328" y="199"/>
                  </a:lnTo>
                  <a:lnTo>
                    <a:pt x="329" y="207"/>
                  </a:lnTo>
                  <a:lnTo>
                    <a:pt x="329" y="208"/>
                  </a:lnTo>
                  <a:lnTo>
                    <a:pt x="323" y="211"/>
                  </a:lnTo>
                  <a:lnTo>
                    <a:pt x="322" y="211"/>
                  </a:lnTo>
                  <a:lnTo>
                    <a:pt x="316" y="187"/>
                  </a:lnTo>
                  <a:lnTo>
                    <a:pt x="310" y="195"/>
                  </a:lnTo>
                  <a:lnTo>
                    <a:pt x="310" y="196"/>
                  </a:lnTo>
                  <a:lnTo>
                    <a:pt x="309" y="196"/>
                  </a:lnTo>
                  <a:lnTo>
                    <a:pt x="309" y="195"/>
                  </a:lnTo>
                  <a:lnTo>
                    <a:pt x="304" y="192"/>
                  </a:lnTo>
                  <a:lnTo>
                    <a:pt x="301" y="183"/>
                  </a:lnTo>
                  <a:lnTo>
                    <a:pt x="301" y="181"/>
                  </a:lnTo>
                  <a:lnTo>
                    <a:pt x="316" y="166"/>
                  </a:lnTo>
                  <a:lnTo>
                    <a:pt x="288" y="164"/>
                  </a:lnTo>
                  <a:lnTo>
                    <a:pt x="283" y="159"/>
                  </a:lnTo>
                  <a:lnTo>
                    <a:pt x="282" y="152"/>
                  </a:lnTo>
                  <a:lnTo>
                    <a:pt x="280" y="153"/>
                  </a:lnTo>
                  <a:lnTo>
                    <a:pt x="276" y="153"/>
                  </a:lnTo>
                  <a:lnTo>
                    <a:pt x="274" y="149"/>
                  </a:lnTo>
                  <a:lnTo>
                    <a:pt x="273" y="152"/>
                  </a:lnTo>
                  <a:lnTo>
                    <a:pt x="271" y="152"/>
                  </a:lnTo>
                  <a:lnTo>
                    <a:pt x="268" y="147"/>
                  </a:lnTo>
                  <a:lnTo>
                    <a:pt x="264" y="155"/>
                  </a:lnTo>
                  <a:lnTo>
                    <a:pt x="266" y="158"/>
                  </a:lnTo>
                  <a:lnTo>
                    <a:pt x="270" y="158"/>
                  </a:lnTo>
                  <a:lnTo>
                    <a:pt x="270" y="159"/>
                  </a:lnTo>
                  <a:lnTo>
                    <a:pt x="271" y="164"/>
                  </a:lnTo>
                  <a:lnTo>
                    <a:pt x="271" y="165"/>
                  </a:lnTo>
                  <a:lnTo>
                    <a:pt x="266" y="165"/>
                  </a:lnTo>
                  <a:lnTo>
                    <a:pt x="261" y="169"/>
                  </a:lnTo>
                  <a:lnTo>
                    <a:pt x="268" y="177"/>
                  </a:lnTo>
                  <a:lnTo>
                    <a:pt x="268" y="186"/>
                  </a:lnTo>
                  <a:lnTo>
                    <a:pt x="274" y="214"/>
                  </a:lnTo>
                  <a:lnTo>
                    <a:pt x="274" y="215"/>
                  </a:lnTo>
                  <a:lnTo>
                    <a:pt x="270" y="215"/>
                  </a:lnTo>
                  <a:lnTo>
                    <a:pt x="266" y="217"/>
                  </a:lnTo>
                  <a:lnTo>
                    <a:pt x="264" y="217"/>
                  </a:lnTo>
                  <a:lnTo>
                    <a:pt x="263" y="209"/>
                  </a:lnTo>
                  <a:lnTo>
                    <a:pt x="261" y="212"/>
                  </a:lnTo>
                  <a:lnTo>
                    <a:pt x="249" y="218"/>
                  </a:lnTo>
                  <a:lnTo>
                    <a:pt x="249" y="229"/>
                  </a:lnTo>
                  <a:lnTo>
                    <a:pt x="240" y="238"/>
                  </a:lnTo>
                  <a:lnTo>
                    <a:pt x="223" y="248"/>
                  </a:lnTo>
                  <a:lnTo>
                    <a:pt x="212" y="261"/>
                  </a:lnTo>
                  <a:lnTo>
                    <a:pt x="188" y="279"/>
                  </a:lnTo>
                  <a:lnTo>
                    <a:pt x="185" y="285"/>
                  </a:lnTo>
                  <a:lnTo>
                    <a:pt x="174" y="288"/>
                  </a:lnTo>
                  <a:lnTo>
                    <a:pt x="169" y="297"/>
                  </a:lnTo>
                  <a:lnTo>
                    <a:pt x="162" y="297"/>
                  </a:lnTo>
                  <a:lnTo>
                    <a:pt x="159" y="301"/>
                  </a:lnTo>
                  <a:lnTo>
                    <a:pt x="159" y="324"/>
                  </a:lnTo>
                  <a:lnTo>
                    <a:pt x="162" y="330"/>
                  </a:lnTo>
                  <a:lnTo>
                    <a:pt x="156" y="350"/>
                  </a:lnTo>
                  <a:lnTo>
                    <a:pt x="156" y="368"/>
                  </a:lnTo>
                  <a:lnTo>
                    <a:pt x="148" y="368"/>
                  </a:lnTo>
                  <a:lnTo>
                    <a:pt x="144" y="377"/>
                  </a:lnTo>
                  <a:lnTo>
                    <a:pt x="144" y="381"/>
                  </a:lnTo>
                  <a:lnTo>
                    <a:pt x="134" y="384"/>
                  </a:lnTo>
                  <a:lnTo>
                    <a:pt x="132" y="392"/>
                  </a:lnTo>
                  <a:lnTo>
                    <a:pt x="128" y="398"/>
                  </a:lnTo>
                  <a:lnTo>
                    <a:pt x="122" y="398"/>
                  </a:lnTo>
                  <a:lnTo>
                    <a:pt x="113" y="386"/>
                  </a:lnTo>
                  <a:lnTo>
                    <a:pt x="101" y="353"/>
                  </a:lnTo>
                  <a:lnTo>
                    <a:pt x="92" y="341"/>
                  </a:lnTo>
                  <a:lnTo>
                    <a:pt x="88" y="324"/>
                  </a:lnTo>
                  <a:lnTo>
                    <a:pt x="79" y="306"/>
                  </a:lnTo>
                  <a:lnTo>
                    <a:pt x="77" y="300"/>
                  </a:lnTo>
                  <a:lnTo>
                    <a:pt x="74" y="300"/>
                  </a:lnTo>
                  <a:lnTo>
                    <a:pt x="73" y="295"/>
                  </a:lnTo>
                  <a:lnTo>
                    <a:pt x="68" y="285"/>
                  </a:lnTo>
                  <a:lnTo>
                    <a:pt x="62" y="260"/>
                  </a:lnTo>
                  <a:lnTo>
                    <a:pt x="64" y="251"/>
                  </a:lnTo>
                  <a:lnTo>
                    <a:pt x="62" y="251"/>
                  </a:lnTo>
                  <a:lnTo>
                    <a:pt x="59" y="241"/>
                  </a:lnTo>
                  <a:lnTo>
                    <a:pt x="62" y="230"/>
                  </a:lnTo>
                  <a:lnTo>
                    <a:pt x="58" y="211"/>
                  </a:lnTo>
                  <a:lnTo>
                    <a:pt x="58" y="209"/>
                  </a:lnTo>
                  <a:lnTo>
                    <a:pt x="61" y="207"/>
                  </a:lnTo>
                  <a:lnTo>
                    <a:pt x="55" y="205"/>
                  </a:lnTo>
                  <a:lnTo>
                    <a:pt x="52" y="221"/>
                  </a:lnTo>
                  <a:lnTo>
                    <a:pt x="42" y="226"/>
                  </a:lnTo>
                  <a:lnTo>
                    <a:pt x="31" y="226"/>
                  </a:lnTo>
                  <a:lnTo>
                    <a:pt x="14" y="208"/>
                  </a:lnTo>
                  <a:lnTo>
                    <a:pt x="12" y="205"/>
                  </a:lnTo>
                  <a:lnTo>
                    <a:pt x="12" y="204"/>
                  </a:lnTo>
                  <a:lnTo>
                    <a:pt x="25" y="202"/>
                  </a:lnTo>
                  <a:lnTo>
                    <a:pt x="30" y="199"/>
                  </a:lnTo>
                  <a:lnTo>
                    <a:pt x="30" y="195"/>
                  </a:lnTo>
                  <a:lnTo>
                    <a:pt x="22" y="198"/>
                  </a:lnTo>
                  <a:lnTo>
                    <a:pt x="12" y="198"/>
                  </a:lnTo>
                  <a:lnTo>
                    <a:pt x="0" y="184"/>
                  </a:lnTo>
                  <a:lnTo>
                    <a:pt x="5" y="181"/>
                  </a:lnTo>
                  <a:lnTo>
                    <a:pt x="11" y="181"/>
                  </a:lnTo>
                  <a:lnTo>
                    <a:pt x="12" y="175"/>
                  </a:lnTo>
                  <a:lnTo>
                    <a:pt x="27" y="178"/>
                  </a:lnTo>
                  <a:lnTo>
                    <a:pt x="33" y="174"/>
                  </a:lnTo>
                  <a:lnTo>
                    <a:pt x="34" y="174"/>
                  </a:lnTo>
                  <a:lnTo>
                    <a:pt x="37" y="177"/>
                  </a:lnTo>
                  <a:lnTo>
                    <a:pt x="42" y="175"/>
                  </a:lnTo>
                  <a:lnTo>
                    <a:pt x="34" y="158"/>
                  </a:lnTo>
                  <a:lnTo>
                    <a:pt x="28" y="155"/>
                  </a:lnTo>
                  <a:lnTo>
                    <a:pt x="30" y="146"/>
                  </a:lnTo>
                  <a:lnTo>
                    <a:pt x="21" y="144"/>
                  </a:lnTo>
                  <a:lnTo>
                    <a:pt x="19" y="143"/>
                  </a:lnTo>
                  <a:lnTo>
                    <a:pt x="21" y="137"/>
                  </a:lnTo>
                  <a:lnTo>
                    <a:pt x="33" y="122"/>
                  </a:lnTo>
                  <a:lnTo>
                    <a:pt x="34" y="122"/>
                  </a:lnTo>
                  <a:lnTo>
                    <a:pt x="39" y="126"/>
                  </a:lnTo>
                  <a:lnTo>
                    <a:pt x="51" y="124"/>
                  </a:lnTo>
                  <a:lnTo>
                    <a:pt x="57" y="113"/>
                  </a:lnTo>
                  <a:lnTo>
                    <a:pt x="64" y="109"/>
                  </a:lnTo>
                  <a:lnTo>
                    <a:pt x="71" y="95"/>
                  </a:lnTo>
                  <a:lnTo>
                    <a:pt x="76" y="92"/>
                  </a:lnTo>
                  <a:lnTo>
                    <a:pt x="82" y="81"/>
                  </a:lnTo>
                  <a:lnTo>
                    <a:pt x="89" y="78"/>
                  </a:lnTo>
                  <a:lnTo>
                    <a:pt x="86" y="76"/>
                  </a:lnTo>
                  <a:lnTo>
                    <a:pt x="86" y="75"/>
                  </a:lnTo>
                  <a:lnTo>
                    <a:pt x="88" y="72"/>
                  </a:lnTo>
                  <a:lnTo>
                    <a:pt x="86" y="70"/>
                  </a:lnTo>
                  <a:lnTo>
                    <a:pt x="86" y="69"/>
                  </a:lnTo>
                  <a:lnTo>
                    <a:pt x="88" y="64"/>
                  </a:lnTo>
                  <a:lnTo>
                    <a:pt x="97" y="60"/>
                  </a:lnTo>
                  <a:lnTo>
                    <a:pt x="95" y="57"/>
                  </a:lnTo>
                  <a:lnTo>
                    <a:pt x="88" y="57"/>
                  </a:lnTo>
                  <a:lnTo>
                    <a:pt x="88" y="52"/>
                  </a:lnTo>
                  <a:lnTo>
                    <a:pt x="83" y="51"/>
                  </a:lnTo>
                  <a:lnTo>
                    <a:pt x="77" y="45"/>
                  </a:lnTo>
                  <a:lnTo>
                    <a:pt x="77" y="43"/>
                  </a:lnTo>
                  <a:lnTo>
                    <a:pt x="82" y="40"/>
                  </a:lnTo>
                  <a:lnTo>
                    <a:pt x="79" y="36"/>
                  </a:lnTo>
                  <a:lnTo>
                    <a:pt x="82" y="33"/>
                  </a:lnTo>
                  <a:lnTo>
                    <a:pt x="77" y="30"/>
                  </a:lnTo>
                  <a:lnTo>
                    <a:pt x="79" y="27"/>
                  </a:lnTo>
                  <a:lnTo>
                    <a:pt x="76" y="27"/>
                  </a:lnTo>
                  <a:lnTo>
                    <a:pt x="76" y="26"/>
                  </a:lnTo>
                  <a:lnTo>
                    <a:pt x="77" y="20"/>
                  </a:lnTo>
                  <a:lnTo>
                    <a:pt x="79" y="20"/>
                  </a:lnTo>
                  <a:lnTo>
                    <a:pt x="83" y="18"/>
                  </a:lnTo>
                  <a:lnTo>
                    <a:pt x="100" y="23"/>
                  </a:lnTo>
                  <a:lnTo>
                    <a:pt x="110" y="20"/>
                  </a:lnTo>
                  <a:lnTo>
                    <a:pt x="116" y="20"/>
                  </a:lnTo>
                  <a:lnTo>
                    <a:pt x="119" y="15"/>
                  </a:lnTo>
                  <a:lnTo>
                    <a:pt x="126" y="9"/>
                  </a:lnTo>
                  <a:lnTo>
                    <a:pt x="14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3" name="Mongolia">
              <a:extLst>
                <a:ext uri="{FF2B5EF4-FFF2-40B4-BE49-F238E27FC236}">
                  <a16:creationId xmlns:a16="http://schemas.microsoft.com/office/drawing/2014/main" id="{4F41040C-572C-174F-CC5D-9D3210E65D99}"/>
                </a:ext>
              </a:extLst>
            </p:cNvPr>
            <p:cNvSpPr>
              <a:spLocks/>
            </p:cNvSpPr>
            <p:nvPr/>
          </p:nvSpPr>
          <p:spPr bwMode="auto">
            <a:xfrm>
              <a:off x="7894931" y="3145371"/>
              <a:ext cx="749931" cy="366834"/>
            </a:xfrm>
            <a:custGeom>
              <a:avLst/>
              <a:gdLst>
                <a:gd name="T0" fmla="*/ 151 w 415"/>
                <a:gd name="T1" fmla="*/ 0 h 203"/>
                <a:gd name="T2" fmla="*/ 187 w 415"/>
                <a:gd name="T3" fmla="*/ 15 h 203"/>
                <a:gd name="T4" fmla="*/ 200 w 415"/>
                <a:gd name="T5" fmla="*/ 37 h 203"/>
                <a:gd name="T6" fmla="*/ 225 w 415"/>
                <a:gd name="T7" fmla="*/ 31 h 203"/>
                <a:gd name="T8" fmla="*/ 265 w 415"/>
                <a:gd name="T9" fmla="*/ 49 h 203"/>
                <a:gd name="T10" fmla="*/ 292 w 415"/>
                <a:gd name="T11" fmla="*/ 59 h 203"/>
                <a:gd name="T12" fmla="*/ 331 w 415"/>
                <a:gd name="T13" fmla="*/ 53 h 203"/>
                <a:gd name="T14" fmla="*/ 351 w 415"/>
                <a:gd name="T15" fmla="*/ 40 h 203"/>
                <a:gd name="T16" fmla="*/ 369 w 415"/>
                <a:gd name="T17" fmla="*/ 47 h 203"/>
                <a:gd name="T18" fmla="*/ 375 w 415"/>
                <a:gd name="T19" fmla="*/ 46 h 203"/>
                <a:gd name="T20" fmla="*/ 365 w 415"/>
                <a:gd name="T21" fmla="*/ 62 h 203"/>
                <a:gd name="T22" fmla="*/ 366 w 415"/>
                <a:gd name="T23" fmla="*/ 90 h 203"/>
                <a:gd name="T24" fmla="*/ 397 w 415"/>
                <a:gd name="T25" fmla="*/ 83 h 203"/>
                <a:gd name="T26" fmla="*/ 411 w 415"/>
                <a:gd name="T27" fmla="*/ 96 h 203"/>
                <a:gd name="T28" fmla="*/ 415 w 415"/>
                <a:gd name="T29" fmla="*/ 110 h 203"/>
                <a:gd name="T30" fmla="*/ 381 w 415"/>
                <a:gd name="T31" fmla="*/ 114 h 203"/>
                <a:gd name="T32" fmla="*/ 354 w 415"/>
                <a:gd name="T33" fmla="*/ 133 h 203"/>
                <a:gd name="T34" fmla="*/ 337 w 415"/>
                <a:gd name="T35" fmla="*/ 147 h 203"/>
                <a:gd name="T36" fmla="*/ 317 w 415"/>
                <a:gd name="T37" fmla="*/ 144 h 203"/>
                <a:gd name="T38" fmla="*/ 317 w 415"/>
                <a:gd name="T39" fmla="*/ 164 h 203"/>
                <a:gd name="T40" fmla="*/ 279 w 415"/>
                <a:gd name="T41" fmla="*/ 190 h 203"/>
                <a:gd name="T42" fmla="*/ 224 w 415"/>
                <a:gd name="T43" fmla="*/ 203 h 203"/>
                <a:gd name="T44" fmla="*/ 171 w 415"/>
                <a:gd name="T45" fmla="*/ 182 h 203"/>
                <a:gd name="T46" fmla="*/ 135 w 415"/>
                <a:gd name="T47" fmla="*/ 184 h 203"/>
                <a:gd name="T48" fmla="*/ 108 w 415"/>
                <a:gd name="T49" fmla="*/ 172 h 203"/>
                <a:gd name="T50" fmla="*/ 68 w 415"/>
                <a:gd name="T51" fmla="*/ 142 h 203"/>
                <a:gd name="T52" fmla="*/ 39 w 415"/>
                <a:gd name="T53" fmla="*/ 136 h 203"/>
                <a:gd name="T54" fmla="*/ 40 w 415"/>
                <a:gd name="T55" fmla="*/ 113 h 203"/>
                <a:gd name="T56" fmla="*/ 31 w 415"/>
                <a:gd name="T57" fmla="*/ 90 h 203"/>
                <a:gd name="T58" fmla="*/ 5 w 415"/>
                <a:gd name="T59" fmla="*/ 76 h 203"/>
                <a:gd name="T60" fmla="*/ 0 w 415"/>
                <a:gd name="T61" fmla="*/ 65 h 203"/>
                <a:gd name="T62" fmla="*/ 39 w 415"/>
                <a:gd name="T63" fmla="*/ 38 h 203"/>
                <a:gd name="T64" fmla="*/ 86 w 415"/>
                <a:gd name="T65" fmla="*/ 36 h 203"/>
                <a:gd name="T66" fmla="*/ 132 w 415"/>
                <a:gd name="T67" fmla="*/ 44 h 203"/>
                <a:gd name="T68" fmla="*/ 134 w 415"/>
                <a:gd name="T69" fmla="*/ 36 h 203"/>
                <a:gd name="T70" fmla="*/ 132 w 415"/>
                <a:gd name="T71" fmla="*/ 16 h 203"/>
                <a:gd name="T72" fmla="*/ 150 w 415"/>
                <a:gd name="T73"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5" h="203">
                  <a:moveTo>
                    <a:pt x="150" y="0"/>
                  </a:moveTo>
                  <a:lnTo>
                    <a:pt x="151" y="0"/>
                  </a:lnTo>
                  <a:lnTo>
                    <a:pt x="185" y="13"/>
                  </a:lnTo>
                  <a:lnTo>
                    <a:pt x="187" y="15"/>
                  </a:lnTo>
                  <a:lnTo>
                    <a:pt x="190" y="30"/>
                  </a:lnTo>
                  <a:lnTo>
                    <a:pt x="200" y="37"/>
                  </a:lnTo>
                  <a:lnTo>
                    <a:pt x="208" y="40"/>
                  </a:lnTo>
                  <a:lnTo>
                    <a:pt x="225" y="31"/>
                  </a:lnTo>
                  <a:lnTo>
                    <a:pt x="234" y="33"/>
                  </a:lnTo>
                  <a:lnTo>
                    <a:pt x="265" y="49"/>
                  </a:lnTo>
                  <a:lnTo>
                    <a:pt x="274" y="56"/>
                  </a:lnTo>
                  <a:lnTo>
                    <a:pt x="292" y="59"/>
                  </a:lnTo>
                  <a:lnTo>
                    <a:pt x="302" y="62"/>
                  </a:lnTo>
                  <a:lnTo>
                    <a:pt x="331" y="53"/>
                  </a:lnTo>
                  <a:lnTo>
                    <a:pt x="350" y="40"/>
                  </a:lnTo>
                  <a:lnTo>
                    <a:pt x="351" y="40"/>
                  </a:lnTo>
                  <a:lnTo>
                    <a:pt x="366" y="47"/>
                  </a:lnTo>
                  <a:lnTo>
                    <a:pt x="369" y="47"/>
                  </a:lnTo>
                  <a:lnTo>
                    <a:pt x="372" y="46"/>
                  </a:lnTo>
                  <a:lnTo>
                    <a:pt x="375" y="46"/>
                  </a:lnTo>
                  <a:lnTo>
                    <a:pt x="375" y="47"/>
                  </a:lnTo>
                  <a:lnTo>
                    <a:pt x="365" y="62"/>
                  </a:lnTo>
                  <a:lnTo>
                    <a:pt x="363" y="83"/>
                  </a:lnTo>
                  <a:lnTo>
                    <a:pt x="366" y="90"/>
                  </a:lnTo>
                  <a:lnTo>
                    <a:pt x="383" y="93"/>
                  </a:lnTo>
                  <a:lnTo>
                    <a:pt x="397" y="83"/>
                  </a:lnTo>
                  <a:lnTo>
                    <a:pt x="399" y="83"/>
                  </a:lnTo>
                  <a:lnTo>
                    <a:pt x="411" y="96"/>
                  </a:lnTo>
                  <a:lnTo>
                    <a:pt x="412" y="105"/>
                  </a:lnTo>
                  <a:lnTo>
                    <a:pt x="415" y="110"/>
                  </a:lnTo>
                  <a:lnTo>
                    <a:pt x="415" y="111"/>
                  </a:lnTo>
                  <a:lnTo>
                    <a:pt x="381" y="114"/>
                  </a:lnTo>
                  <a:lnTo>
                    <a:pt x="365" y="130"/>
                  </a:lnTo>
                  <a:lnTo>
                    <a:pt x="354" y="133"/>
                  </a:lnTo>
                  <a:lnTo>
                    <a:pt x="338" y="147"/>
                  </a:lnTo>
                  <a:lnTo>
                    <a:pt x="337" y="147"/>
                  </a:lnTo>
                  <a:lnTo>
                    <a:pt x="322" y="141"/>
                  </a:lnTo>
                  <a:lnTo>
                    <a:pt x="317" y="144"/>
                  </a:lnTo>
                  <a:lnTo>
                    <a:pt x="311" y="156"/>
                  </a:lnTo>
                  <a:lnTo>
                    <a:pt x="317" y="164"/>
                  </a:lnTo>
                  <a:lnTo>
                    <a:pt x="294" y="187"/>
                  </a:lnTo>
                  <a:lnTo>
                    <a:pt x="279" y="190"/>
                  </a:lnTo>
                  <a:lnTo>
                    <a:pt x="261" y="190"/>
                  </a:lnTo>
                  <a:lnTo>
                    <a:pt x="224" y="203"/>
                  </a:lnTo>
                  <a:lnTo>
                    <a:pt x="193" y="194"/>
                  </a:lnTo>
                  <a:lnTo>
                    <a:pt x="171" y="182"/>
                  </a:lnTo>
                  <a:lnTo>
                    <a:pt x="147" y="182"/>
                  </a:lnTo>
                  <a:lnTo>
                    <a:pt x="135" y="184"/>
                  </a:lnTo>
                  <a:lnTo>
                    <a:pt x="122" y="184"/>
                  </a:lnTo>
                  <a:lnTo>
                    <a:pt x="108" y="172"/>
                  </a:lnTo>
                  <a:lnTo>
                    <a:pt x="98" y="156"/>
                  </a:lnTo>
                  <a:lnTo>
                    <a:pt x="68" y="142"/>
                  </a:lnTo>
                  <a:lnTo>
                    <a:pt x="59" y="144"/>
                  </a:lnTo>
                  <a:lnTo>
                    <a:pt x="39" y="136"/>
                  </a:lnTo>
                  <a:lnTo>
                    <a:pt x="40" y="129"/>
                  </a:lnTo>
                  <a:lnTo>
                    <a:pt x="40" y="113"/>
                  </a:lnTo>
                  <a:lnTo>
                    <a:pt x="33" y="93"/>
                  </a:lnTo>
                  <a:lnTo>
                    <a:pt x="31" y="90"/>
                  </a:lnTo>
                  <a:lnTo>
                    <a:pt x="15" y="87"/>
                  </a:lnTo>
                  <a:lnTo>
                    <a:pt x="5" y="76"/>
                  </a:lnTo>
                  <a:lnTo>
                    <a:pt x="0" y="67"/>
                  </a:lnTo>
                  <a:lnTo>
                    <a:pt x="0" y="65"/>
                  </a:lnTo>
                  <a:lnTo>
                    <a:pt x="8" y="56"/>
                  </a:lnTo>
                  <a:lnTo>
                    <a:pt x="39" y="38"/>
                  </a:lnTo>
                  <a:lnTo>
                    <a:pt x="53" y="33"/>
                  </a:lnTo>
                  <a:lnTo>
                    <a:pt x="86" y="36"/>
                  </a:lnTo>
                  <a:lnTo>
                    <a:pt x="93" y="44"/>
                  </a:lnTo>
                  <a:lnTo>
                    <a:pt x="132" y="44"/>
                  </a:lnTo>
                  <a:lnTo>
                    <a:pt x="134" y="43"/>
                  </a:lnTo>
                  <a:lnTo>
                    <a:pt x="134" y="36"/>
                  </a:lnTo>
                  <a:lnTo>
                    <a:pt x="135" y="31"/>
                  </a:lnTo>
                  <a:lnTo>
                    <a:pt x="132" y="16"/>
                  </a:lnTo>
                  <a:lnTo>
                    <a:pt x="132" y="15"/>
                  </a:lnTo>
                  <a:lnTo>
                    <a:pt x="15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4" name="Georgia">
              <a:extLst>
                <a:ext uri="{FF2B5EF4-FFF2-40B4-BE49-F238E27FC236}">
                  <a16:creationId xmlns:a16="http://schemas.microsoft.com/office/drawing/2014/main" id="{BBF29540-4D24-70DC-5A0C-6EC2313E0D4D}"/>
                </a:ext>
              </a:extLst>
            </p:cNvPr>
            <p:cNvSpPr>
              <a:spLocks/>
            </p:cNvSpPr>
            <p:nvPr/>
          </p:nvSpPr>
          <p:spPr bwMode="auto">
            <a:xfrm>
              <a:off x="6765516" y="3445344"/>
              <a:ext cx="162635" cy="84933"/>
            </a:xfrm>
            <a:custGeom>
              <a:avLst/>
              <a:gdLst>
                <a:gd name="T0" fmla="*/ 11 w 90"/>
                <a:gd name="T1" fmla="*/ 0 h 47"/>
                <a:gd name="T2" fmla="*/ 26 w 90"/>
                <a:gd name="T3" fmla="*/ 6 h 47"/>
                <a:gd name="T4" fmla="*/ 41 w 90"/>
                <a:gd name="T5" fmla="*/ 6 h 47"/>
                <a:gd name="T6" fmla="*/ 56 w 90"/>
                <a:gd name="T7" fmla="*/ 16 h 47"/>
                <a:gd name="T8" fmla="*/ 65 w 90"/>
                <a:gd name="T9" fmla="*/ 13 h 47"/>
                <a:gd name="T10" fmla="*/ 71 w 90"/>
                <a:gd name="T11" fmla="*/ 15 h 47"/>
                <a:gd name="T12" fmla="*/ 78 w 90"/>
                <a:gd name="T13" fmla="*/ 18 h 47"/>
                <a:gd name="T14" fmla="*/ 78 w 90"/>
                <a:gd name="T15" fmla="*/ 24 h 47"/>
                <a:gd name="T16" fmla="*/ 87 w 90"/>
                <a:gd name="T17" fmla="*/ 28 h 47"/>
                <a:gd name="T18" fmla="*/ 87 w 90"/>
                <a:gd name="T19" fmla="*/ 30 h 47"/>
                <a:gd name="T20" fmla="*/ 89 w 90"/>
                <a:gd name="T21" fmla="*/ 30 h 47"/>
                <a:gd name="T22" fmla="*/ 86 w 90"/>
                <a:gd name="T23" fmla="*/ 34 h 47"/>
                <a:gd name="T24" fmla="*/ 90 w 90"/>
                <a:gd name="T25" fmla="*/ 39 h 47"/>
                <a:gd name="T26" fmla="*/ 90 w 90"/>
                <a:gd name="T27" fmla="*/ 43 h 47"/>
                <a:gd name="T28" fmla="*/ 89 w 90"/>
                <a:gd name="T29" fmla="*/ 43 h 47"/>
                <a:gd name="T30" fmla="*/ 74 w 90"/>
                <a:gd name="T31" fmla="*/ 39 h 47"/>
                <a:gd name="T32" fmla="*/ 69 w 90"/>
                <a:gd name="T33" fmla="*/ 40 h 47"/>
                <a:gd name="T34" fmla="*/ 66 w 90"/>
                <a:gd name="T35" fmla="*/ 41 h 47"/>
                <a:gd name="T36" fmla="*/ 49 w 90"/>
                <a:gd name="T37" fmla="*/ 47 h 47"/>
                <a:gd name="T38" fmla="*/ 38 w 90"/>
                <a:gd name="T39" fmla="*/ 37 h 47"/>
                <a:gd name="T40" fmla="*/ 34 w 90"/>
                <a:gd name="T41" fmla="*/ 39 h 47"/>
                <a:gd name="T42" fmla="*/ 22 w 90"/>
                <a:gd name="T43" fmla="*/ 37 h 47"/>
                <a:gd name="T44" fmla="*/ 22 w 90"/>
                <a:gd name="T45" fmla="*/ 36 h 47"/>
                <a:gd name="T46" fmla="*/ 25 w 90"/>
                <a:gd name="T47" fmla="*/ 34 h 47"/>
                <a:gd name="T48" fmla="*/ 25 w 90"/>
                <a:gd name="T49" fmla="*/ 28 h 47"/>
                <a:gd name="T50" fmla="*/ 19 w 90"/>
                <a:gd name="T51" fmla="*/ 16 h 47"/>
                <a:gd name="T52" fmla="*/ 6 w 90"/>
                <a:gd name="T53" fmla="*/ 9 h 47"/>
                <a:gd name="T54" fmla="*/ 0 w 90"/>
                <a:gd name="T55" fmla="*/ 3 h 47"/>
                <a:gd name="T56" fmla="*/ 0 w 90"/>
                <a:gd name="T57" fmla="*/ 1 h 47"/>
                <a:gd name="T58" fmla="*/ 11 w 90"/>
                <a:gd name="T5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47">
                  <a:moveTo>
                    <a:pt x="11" y="0"/>
                  </a:moveTo>
                  <a:lnTo>
                    <a:pt x="26" y="6"/>
                  </a:lnTo>
                  <a:lnTo>
                    <a:pt x="41" y="6"/>
                  </a:lnTo>
                  <a:lnTo>
                    <a:pt x="56" y="16"/>
                  </a:lnTo>
                  <a:lnTo>
                    <a:pt x="65" y="13"/>
                  </a:lnTo>
                  <a:lnTo>
                    <a:pt x="71" y="15"/>
                  </a:lnTo>
                  <a:lnTo>
                    <a:pt x="78" y="18"/>
                  </a:lnTo>
                  <a:lnTo>
                    <a:pt x="78" y="24"/>
                  </a:lnTo>
                  <a:lnTo>
                    <a:pt x="87" y="28"/>
                  </a:lnTo>
                  <a:lnTo>
                    <a:pt x="87" y="30"/>
                  </a:lnTo>
                  <a:lnTo>
                    <a:pt x="89" y="30"/>
                  </a:lnTo>
                  <a:lnTo>
                    <a:pt x="86" y="34"/>
                  </a:lnTo>
                  <a:lnTo>
                    <a:pt x="90" y="39"/>
                  </a:lnTo>
                  <a:lnTo>
                    <a:pt x="90" y="43"/>
                  </a:lnTo>
                  <a:lnTo>
                    <a:pt x="89" y="43"/>
                  </a:lnTo>
                  <a:lnTo>
                    <a:pt x="74" y="39"/>
                  </a:lnTo>
                  <a:lnTo>
                    <a:pt x="69" y="40"/>
                  </a:lnTo>
                  <a:lnTo>
                    <a:pt x="66" y="41"/>
                  </a:lnTo>
                  <a:lnTo>
                    <a:pt x="49" y="47"/>
                  </a:lnTo>
                  <a:lnTo>
                    <a:pt x="38" y="37"/>
                  </a:lnTo>
                  <a:lnTo>
                    <a:pt x="34" y="39"/>
                  </a:lnTo>
                  <a:lnTo>
                    <a:pt x="22" y="37"/>
                  </a:lnTo>
                  <a:lnTo>
                    <a:pt x="22" y="36"/>
                  </a:lnTo>
                  <a:lnTo>
                    <a:pt x="25" y="34"/>
                  </a:lnTo>
                  <a:lnTo>
                    <a:pt x="25" y="28"/>
                  </a:lnTo>
                  <a:lnTo>
                    <a:pt x="19" y="16"/>
                  </a:lnTo>
                  <a:lnTo>
                    <a:pt x="6" y="9"/>
                  </a:lnTo>
                  <a:lnTo>
                    <a:pt x="0" y="3"/>
                  </a:lnTo>
                  <a:lnTo>
                    <a:pt x="0" y="1"/>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5" name="Turkmenistan">
              <a:extLst>
                <a:ext uri="{FF2B5EF4-FFF2-40B4-BE49-F238E27FC236}">
                  <a16:creationId xmlns:a16="http://schemas.microsoft.com/office/drawing/2014/main" id="{0AACD9AC-45AA-0E14-3AED-B45F3B943F9D}"/>
                </a:ext>
              </a:extLst>
            </p:cNvPr>
            <p:cNvSpPr>
              <a:spLocks/>
            </p:cNvSpPr>
            <p:nvPr/>
          </p:nvSpPr>
          <p:spPr bwMode="auto">
            <a:xfrm>
              <a:off x="7061874" y="3468835"/>
              <a:ext cx="339728" cy="236726"/>
            </a:xfrm>
            <a:custGeom>
              <a:avLst/>
              <a:gdLst>
                <a:gd name="T0" fmla="*/ 83 w 188"/>
                <a:gd name="T1" fmla="*/ 0 h 131"/>
                <a:gd name="T2" fmla="*/ 101 w 188"/>
                <a:gd name="T3" fmla="*/ 9 h 131"/>
                <a:gd name="T4" fmla="*/ 104 w 188"/>
                <a:gd name="T5" fmla="*/ 18 h 131"/>
                <a:gd name="T6" fmla="*/ 102 w 188"/>
                <a:gd name="T7" fmla="*/ 20 h 131"/>
                <a:gd name="T8" fmla="*/ 117 w 188"/>
                <a:gd name="T9" fmla="*/ 28 h 131"/>
                <a:gd name="T10" fmla="*/ 126 w 188"/>
                <a:gd name="T11" fmla="*/ 30 h 131"/>
                <a:gd name="T12" fmla="*/ 148 w 188"/>
                <a:gd name="T13" fmla="*/ 58 h 131"/>
                <a:gd name="T14" fmla="*/ 162 w 188"/>
                <a:gd name="T15" fmla="*/ 69 h 131"/>
                <a:gd name="T16" fmla="*/ 178 w 188"/>
                <a:gd name="T17" fmla="*/ 77 h 131"/>
                <a:gd name="T18" fmla="*/ 187 w 188"/>
                <a:gd name="T19" fmla="*/ 88 h 131"/>
                <a:gd name="T20" fmla="*/ 182 w 188"/>
                <a:gd name="T21" fmla="*/ 95 h 131"/>
                <a:gd name="T22" fmla="*/ 175 w 188"/>
                <a:gd name="T23" fmla="*/ 94 h 131"/>
                <a:gd name="T24" fmla="*/ 165 w 188"/>
                <a:gd name="T25" fmla="*/ 97 h 131"/>
                <a:gd name="T26" fmla="*/ 159 w 188"/>
                <a:gd name="T27" fmla="*/ 112 h 131"/>
                <a:gd name="T28" fmla="*/ 142 w 188"/>
                <a:gd name="T29" fmla="*/ 122 h 131"/>
                <a:gd name="T30" fmla="*/ 141 w 188"/>
                <a:gd name="T31" fmla="*/ 126 h 131"/>
                <a:gd name="T32" fmla="*/ 135 w 188"/>
                <a:gd name="T33" fmla="*/ 131 h 131"/>
                <a:gd name="T34" fmla="*/ 116 w 188"/>
                <a:gd name="T35" fmla="*/ 123 h 131"/>
                <a:gd name="T36" fmla="*/ 114 w 188"/>
                <a:gd name="T37" fmla="*/ 109 h 131"/>
                <a:gd name="T38" fmla="*/ 94 w 188"/>
                <a:gd name="T39" fmla="*/ 98 h 131"/>
                <a:gd name="T40" fmla="*/ 67 w 188"/>
                <a:gd name="T41" fmla="*/ 85 h 131"/>
                <a:gd name="T42" fmla="*/ 40 w 188"/>
                <a:gd name="T43" fmla="*/ 83 h 131"/>
                <a:gd name="T44" fmla="*/ 21 w 188"/>
                <a:gd name="T45" fmla="*/ 94 h 131"/>
                <a:gd name="T46" fmla="*/ 18 w 188"/>
                <a:gd name="T47" fmla="*/ 76 h 131"/>
                <a:gd name="T48" fmla="*/ 13 w 188"/>
                <a:gd name="T49" fmla="*/ 63 h 131"/>
                <a:gd name="T50" fmla="*/ 12 w 188"/>
                <a:gd name="T51" fmla="*/ 61 h 131"/>
                <a:gd name="T52" fmla="*/ 18 w 188"/>
                <a:gd name="T53" fmla="*/ 58 h 131"/>
                <a:gd name="T54" fmla="*/ 12 w 188"/>
                <a:gd name="T55" fmla="*/ 55 h 131"/>
                <a:gd name="T56" fmla="*/ 15 w 188"/>
                <a:gd name="T57" fmla="*/ 52 h 131"/>
                <a:gd name="T58" fmla="*/ 6 w 188"/>
                <a:gd name="T59" fmla="*/ 52 h 131"/>
                <a:gd name="T60" fmla="*/ 6 w 188"/>
                <a:gd name="T61" fmla="*/ 31 h 131"/>
                <a:gd name="T62" fmla="*/ 9 w 188"/>
                <a:gd name="T63" fmla="*/ 37 h 131"/>
                <a:gd name="T64" fmla="*/ 25 w 188"/>
                <a:gd name="T65" fmla="*/ 39 h 131"/>
                <a:gd name="T66" fmla="*/ 24 w 188"/>
                <a:gd name="T67" fmla="*/ 36 h 131"/>
                <a:gd name="T68" fmla="*/ 22 w 188"/>
                <a:gd name="T69" fmla="*/ 24 h 131"/>
                <a:gd name="T70" fmla="*/ 15 w 188"/>
                <a:gd name="T71" fmla="*/ 17 h 131"/>
                <a:gd name="T72" fmla="*/ 6 w 188"/>
                <a:gd name="T73" fmla="*/ 31 h 131"/>
                <a:gd name="T74" fmla="*/ 5 w 188"/>
                <a:gd name="T75" fmla="*/ 30 h 131"/>
                <a:gd name="T76" fmla="*/ 9 w 188"/>
                <a:gd name="T77" fmla="*/ 12 h 131"/>
                <a:gd name="T78" fmla="*/ 25 w 188"/>
                <a:gd name="T79" fmla="*/ 8 h 131"/>
                <a:gd name="T80" fmla="*/ 42 w 188"/>
                <a:gd name="T81" fmla="*/ 27 h 131"/>
                <a:gd name="T82" fmla="*/ 61 w 188"/>
                <a:gd name="T83" fmla="*/ 27 h 131"/>
                <a:gd name="T84" fmla="*/ 61 w 188"/>
                <a:gd name="T85" fmla="*/ 17 h 131"/>
                <a:gd name="T86" fmla="*/ 73 w 188"/>
                <a:gd name="T87" fmla="*/ 11 h 131"/>
                <a:gd name="T88" fmla="*/ 76 w 188"/>
                <a:gd name="T89" fmla="*/ 6 h 131"/>
                <a:gd name="T90" fmla="*/ 77 w 188"/>
                <a:gd name="T91" fmla="*/ 5 h 131"/>
                <a:gd name="T92" fmla="*/ 80 w 188"/>
                <a:gd name="T93" fmla="*/ 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8" h="131">
                  <a:moveTo>
                    <a:pt x="82" y="0"/>
                  </a:moveTo>
                  <a:lnTo>
                    <a:pt x="83" y="0"/>
                  </a:lnTo>
                  <a:lnTo>
                    <a:pt x="92" y="9"/>
                  </a:lnTo>
                  <a:lnTo>
                    <a:pt x="101" y="9"/>
                  </a:lnTo>
                  <a:lnTo>
                    <a:pt x="101" y="15"/>
                  </a:lnTo>
                  <a:lnTo>
                    <a:pt x="104" y="18"/>
                  </a:lnTo>
                  <a:lnTo>
                    <a:pt x="104" y="20"/>
                  </a:lnTo>
                  <a:lnTo>
                    <a:pt x="102" y="20"/>
                  </a:lnTo>
                  <a:lnTo>
                    <a:pt x="104" y="26"/>
                  </a:lnTo>
                  <a:lnTo>
                    <a:pt x="117" y="28"/>
                  </a:lnTo>
                  <a:lnTo>
                    <a:pt x="122" y="26"/>
                  </a:lnTo>
                  <a:lnTo>
                    <a:pt x="126" y="30"/>
                  </a:lnTo>
                  <a:lnTo>
                    <a:pt x="136" y="52"/>
                  </a:lnTo>
                  <a:lnTo>
                    <a:pt x="148" y="58"/>
                  </a:lnTo>
                  <a:lnTo>
                    <a:pt x="154" y="66"/>
                  </a:lnTo>
                  <a:lnTo>
                    <a:pt x="162" y="69"/>
                  </a:lnTo>
                  <a:lnTo>
                    <a:pt x="174" y="77"/>
                  </a:lnTo>
                  <a:lnTo>
                    <a:pt x="178" y="77"/>
                  </a:lnTo>
                  <a:lnTo>
                    <a:pt x="188" y="83"/>
                  </a:lnTo>
                  <a:lnTo>
                    <a:pt x="187" y="88"/>
                  </a:lnTo>
                  <a:lnTo>
                    <a:pt x="187" y="95"/>
                  </a:lnTo>
                  <a:lnTo>
                    <a:pt x="182" y="95"/>
                  </a:lnTo>
                  <a:lnTo>
                    <a:pt x="178" y="94"/>
                  </a:lnTo>
                  <a:lnTo>
                    <a:pt x="175" y="94"/>
                  </a:lnTo>
                  <a:lnTo>
                    <a:pt x="171" y="97"/>
                  </a:lnTo>
                  <a:lnTo>
                    <a:pt x="165" y="97"/>
                  </a:lnTo>
                  <a:lnTo>
                    <a:pt x="160" y="112"/>
                  </a:lnTo>
                  <a:lnTo>
                    <a:pt x="159" y="112"/>
                  </a:lnTo>
                  <a:lnTo>
                    <a:pt x="141" y="120"/>
                  </a:lnTo>
                  <a:lnTo>
                    <a:pt x="142" y="122"/>
                  </a:lnTo>
                  <a:lnTo>
                    <a:pt x="142" y="123"/>
                  </a:lnTo>
                  <a:lnTo>
                    <a:pt x="141" y="126"/>
                  </a:lnTo>
                  <a:lnTo>
                    <a:pt x="136" y="131"/>
                  </a:lnTo>
                  <a:lnTo>
                    <a:pt x="135" y="131"/>
                  </a:lnTo>
                  <a:lnTo>
                    <a:pt x="120" y="126"/>
                  </a:lnTo>
                  <a:lnTo>
                    <a:pt x="116" y="123"/>
                  </a:lnTo>
                  <a:lnTo>
                    <a:pt x="116" y="119"/>
                  </a:lnTo>
                  <a:lnTo>
                    <a:pt x="114" y="109"/>
                  </a:lnTo>
                  <a:lnTo>
                    <a:pt x="108" y="109"/>
                  </a:lnTo>
                  <a:lnTo>
                    <a:pt x="94" y="98"/>
                  </a:lnTo>
                  <a:lnTo>
                    <a:pt x="89" y="91"/>
                  </a:lnTo>
                  <a:lnTo>
                    <a:pt x="67" y="85"/>
                  </a:lnTo>
                  <a:lnTo>
                    <a:pt x="62" y="79"/>
                  </a:lnTo>
                  <a:lnTo>
                    <a:pt x="40" y="83"/>
                  </a:lnTo>
                  <a:lnTo>
                    <a:pt x="28" y="92"/>
                  </a:lnTo>
                  <a:lnTo>
                    <a:pt x="21" y="94"/>
                  </a:lnTo>
                  <a:lnTo>
                    <a:pt x="19" y="94"/>
                  </a:lnTo>
                  <a:lnTo>
                    <a:pt x="18" y="76"/>
                  </a:lnTo>
                  <a:lnTo>
                    <a:pt x="21" y="67"/>
                  </a:lnTo>
                  <a:lnTo>
                    <a:pt x="13" y="63"/>
                  </a:lnTo>
                  <a:lnTo>
                    <a:pt x="12" y="63"/>
                  </a:lnTo>
                  <a:lnTo>
                    <a:pt x="12" y="61"/>
                  </a:lnTo>
                  <a:lnTo>
                    <a:pt x="13" y="61"/>
                  </a:lnTo>
                  <a:lnTo>
                    <a:pt x="18" y="58"/>
                  </a:lnTo>
                  <a:lnTo>
                    <a:pt x="13" y="55"/>
                  </a:lnTo>
                  <a:lnTo>
                    <a:pt x="12" y="55"/>
                  </a:lnTo>
                  <a:lnTo>
                    <a:pt x="12" y="54"/>
                  </a:lnTo>
                  <a:lnTo>
                    <a:pt x="15" y="52"/>
                  </a:lnTo>
                  <a:lnTo>
                    <a:pt x="13" y="51"/>
                  </a:lnTo>
                  <a:lnTo>
                    <a:pt x="6" y="52"/>
                  </a:lnTo>
                  <a:lnTo>
                    <a:pt x="5" y="45"/>
                  </a:lnTo>
                  <a:lnTo>
                    <a:pt x="6" y="31"/>
                  </a:lnTo>
                  <a:lnTo>
                    <a:pt x="8" y="31"/>
                  </a:lnTo>
                  <a:lnTo>
                    <a:pt x="9" y="37"/>
                  </a:lnTo>
                  <a:lnTo>
                    <a:pt x="24" y="39"/>
                  </a:lnTo>
                  <a:lnTo>
                    <a:pt x="25" y="39"/>
                  </a:lnTo>
                  <a:lnTo>
                    <a:pt x="24" y="37"/>
                  </a:lnTo>
                  <a:lnTo>
                    <a:pt x="24" y="36"/>
                  </a:lnTo>
                  <a:lnTo>
                    <a:pt x="30" y="31"/>
                  </a:lnTo>
                  <a:lnTo>
                    <a:pt x="22" y="24"/>
                  </a:lnTo>
                  <a:lnTo>
                    <a:pt x="18" y="17"/>
                  </a:lnTo>
                  <a:lnTo>
                    <a:pt x="15" y="17"/>
                  </a:lnTo>
                  <a:lnTo>
                    <a:pt x="6" y="21"/>
                  </a:lnTo>
                  <a:lnTo>
                    <a:pt x="6" y="31"/>
                  </a:lnTo>
                  <a:lnTo>
                    <a:pt x="5" y="31"/>
                  </a:lnTo>
                  <a:lnTo>
                    <a:pt x="5" y="30"/>
                  </a:lnTo>
                  <a:lnTo>
                    <a:pt x="0" y="18"/>
                  </a:lnTo>
                  <a:lnTo>
                    <a:pt x="9" y="12"/>
                  </a:lnTo>
                  <a:lnTo>
                    <a:pt x="24" y="8"/>
                  </a:lnTo>
                  <a:lnTo>
                    <a:pt x="25" y="8"/>
                  </a:lnTo>
                  <a:lnTo>
                    <a:pt x="33" y="12"/>
                  </a:lnTo>
                  <a:lnTo>
                    <a:pt x="42" y="27"/>
                  </a:lnTo>
                  <a:lnTo>
                    <a:pt x="49" y="26"/>
                  </a:lnTo>
                  <a:lnTo>
                    <a:pt x="61" y="27"/>
                  </a:lnTo>
                  <a:lnTo>
                    <a:pt x="62" y="27"/>
                  </a:lnTo>
                  <a:lnTo>
                    <a:pt x="61" y="17"/>
                  </a:lnTo>
                  <a:lnTo>
                    <a:pt x="65" y="12"/>
                  </a:lnTo>
                  <a:lnTo>
                    <a:pt x="73" y="11"/>
                  </a:lnTo>
                  <a:lnTo>
                    <a:pt x="74" y="6"/>
                  </a:lnTo>
                  <a:lnTo>
                    <a:pt x="76" y="6"/>
                  </a:lnTo>
                  <a:lnTo>
                    <a:pt x="79" y="8"/>
                  </a:lnTo>
                  <a:lnTo>
                    <a:pt x="77" y="5"/>
                  </a:lnTo>
                  <a:lnTo>
                    <a:pt x="77" y="3"/>
                  </a:lnTo>
                  <a:lnTo>
                    <a:pt x="80" y="3"/>
                  </a:lnTo>
                  <a:lnTo>
                    <a:pt x="8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6" name="Uzbekistan">
              <a:extLst>
                <a:ext uri="{FF2B5EF4-FFF2-40B4-BE49-F238E27FC236}">
                  <a16:creationId xmlns:a16="http://schemas.microsoft.com/office/drawing/2014/main" id="{F81C468D-6EFE-8634-DE33-49C40C7336C9}"/>
                </a:ext>
              </a:extLst>
            </p:cNvPr>
            <p:cNvSpPr>
              <a:spLocks/>
            </p:cNvSpPr>
            <p:nvPr/>
          </p:nvSpPr>
          <p:spPr bwMode="auto">
            <a:xfrm>
              <a:off x="7148613" y="3378482"/>
              <a:ext cx="406590" cy="265638"/>
            </a:xfrm>
            <a:custGeom>
              <a:avLst/>
              <a:gdLst>
                <a:gd name="T0" fmla="*/ 41 w 225"/>
                <a:gd name="T1" fmla="*/ 3 h 147"/>
                <a:gd name="T2" fmla="*/ 80 w 225"/>
                <a:gd name="T3" fmla="*/ 38 h 147"/>
                <a:gd name="T4" fmla="*/ 127 w 225"/>
                <a:gd name="T5" fmla="*/ 41 h 147"/>
                <a:gd name="T6" fmla="*/ 134 w 225"/>
                <a:gd name="T7" fmla="*/ 49 h 147"/>
                <a:gd name="T8" fmla="*/ 140 w 225"/>
                <a:gd name="T9" fmla="*/ 68 h 147"/>
                <a:gd name="T10" fmla="*/ 155 w 225"/>
                <a:gd name="T11" fmla="*/ 77 h 147"/>
                <a:gd name="T12" fmla="*/ 176 w 225"/>
                <a:gd name="T13" fmla="*/ 73 h 147"/>
                <a:gd name="T14" fmla="*/ 188 w 225"/>
                <a:gd name="T15" fmla="*/ 64 h 147"/>
                <a:gd name="T16" fmla="*/ 195 w 225"/>
                <a:gd name="T17" fmla="*/ 59 h 147"/>
                <a:gd name="T18" fmla="*/ 200 w 225"/>
                <a:gd name="T19" fmla="*/ 62 h 147"/>
                <a:gd name="T20" fmla="*/ 186 w 225"/>
                <a:gd name="T21" fmla="*/ 74 h 147"/>
                <a:gd name="T22" fmla="*/ 194 w 225"/>
                <a:gd name="T23" fmla="*/ 77 h 147"/>
                <a:gd name="T24" fmla="*/ 206 w 225"/>
                <a:gd name="T25" fmla="*/ 74 h 147"/>
                <a:gd name="T26" fmla="*/ 225 w 225"/>
                <a:gd name="T27" fmla="*/ 86 h 147"/>
                <a:gd name="T28" fmla="*/ 191 w 225"/>
                <a:gd name="T29" fmla="*/ 96 h 147"/>
                <a:gd name="T30" fmla="*/ 192 w 225"/>
                <a:gd name="T31" fmla="*/ 87 h 147"/>
                <a:gd name="T32" fmla="*/ 189 w 225"/>
                <a:gd name="T33" fmla="*/ 81 h 147"/>
                <a:gd name="T34" fmla="*/ 176 w 225"/>
                <a:gd name="T35" fmla="*/ 87 h 147"/>
                <a:gd name="T36" fmla="*/ 174 w 225"/>
                <a:gd name="T37" fmla="*/ 96 h 147"/>
                <a:gd name="T38" fmla="*/ 164 w 225"/>
                <a:gd name="T39" fmla="*/ 107 h 147"/>
                <a:gd name="T40" fmla="*/ 149 w 225"/>
                <a:gd name="T41" fmla="*/ 111 h 147"/>
                <a:gd name="T42" fmla="*/ 158 w 225"/>
                <a:gd name="T43" fmla="*/ 117 h 147"/>
                <a:gd name="T44" fmla="*/ 161 w 225"/>
                <a:gd name="T45" fmla="*/ 130 h 147"/>
                <a:gd name="T46" fmla="*/ 152 w 225"/>
                <a:gd name="T47" fmla="*/ 147 h 147"/>
                <a:gd name="T48" fmla="*/ 137 w 225"/>
                <a:gd name="T49" fmla="*/ 138 h 147"/>
                <a:gd name="T50" fmla="*/ 130 w 225"/>
                <a:gd name="T51" fmla="*/ 127 h 147"/>
                <a:gd name="T52" fmla="*/ 114 w 225"/>
                <a:gd name="T53" fmla="*/ 119 h 147"/>
                <a:gd name="T54" fmla="*/ 99 w 225"/>
                <a:gd name="T55" fmla="*/ 110 h 147"/>
                <a:gd name="T56" fmla="*/ 78 w 225"/>
                <a:gd name="T57" fmla="*/ 80 h 147"/>
                <a:gd name="T58" fmla="*/ 69 w 225"/>
                <a:gd name="T59" fmla="*/ 80 h 147"/>
                <a:gd name="T60" fmla="*/ 54 w 225"/>
                <a:gd name="T61" fmla="*/ 70 h 147"/>
                <a:gd name="T62" fmla="*/ 53 w 225"/>
                <a:gd name="T63" fmla="*/ 65 h 147"/>
                <a:gd name="T64" fmla="*/ 44 w 225"/>
                <a:gd name="T65" fmla="*/ 59 h 147"/>
                <a:gd name="T66" fmla="*/ 29 w 225"/>
                <a:gd name="T67" fmla="*/ 55 h 147"/>
                <a:gd name="T68" fmla="*/ 28 w 225"/>
                <a:gd name="T69" fmla="*/ 56 h 147"/>
                <a:gd name="T70" fmla="*/ 17 w 225"/>
                <a:gd name="T71" fmla="*/ 62 h 147"/>
                <a:gd name="T72" fmla="*/ 16 w 225"/>
                <a:gd name="T73" fmla="*/ 77 h 147"/>
                <a:gd name="T74" fmla="*/ 1 w 225"/>
                <a:gd name="T75" fmla="*/ 77 h 147"/>
                <a:gd name="T76" fmla="*/ 34 w 225"/>
                <a:gd name="T7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5" h="147">
                  <a:moveTo>
                    <a:pt x="34" y="0"/>
                  </a:moveTo>
                  <a:lnTo>
                    <a:pt x="41" y="3"/>
                  </a:lnTo>
                  <a:lnTo>
                    <a:pt x="54" y="13"/>
                  </a:lnTo>
                  <a:lnTo>
                    <a:pt x="80" y="38"/>
                  </a:lnTo>
                  <a:lnTo>
                    <a:pt x="118" y="34"/>
                  </a:lnTo>
                  <a:lnTo>
                    <a:pt x="127" y="41"/>
                  </a:lnTo>
                  <a:lnTo>
                    <a:pt x="130" y="49"/>
                  </a:lnTo>
                  <a:lnTo>
                    <a:pt x="134" y="49"/>
                  </a:lnTo>
                  <a:lnTo>
                    <a:pt x="133" y="67"/>
                  </a:lnTo>
                  <a:lnTo>
                    <a:pt x="140" y="68"/>
                  </a:lnTo>
                  <a:lnTo>
                    <a:pt x="143" y="78"/>
                  </a:lnTo>
                  <a:lnTo>
                    <a:pt x="155" y="77"/>
                  </a:lnTo>
                  <a:lnTo>
                    <a:pt x="167" y="81"/>
                  </a:lnTo>
                  <a:lnTo>
                    <a:pt x="176" y="73"/>
                  </a:lnTo>
                  <a:lnTo>
                    <a:pt x="185" y="68"/>
                  </a:lnTo>
                  <a:lnTo>
                    <a:pt x="188" y="64"/>
                  </a:lnTo>
                  <a:lnTo>
                    <a:pt x="192" y="64"/>
                  </a:lnTo>
                  <a:lnTo>
                    <a:pt x="195" y="59"/>
                  </a:lnTo>
                  <a:lnTo>
                    <a:pt x="198" y="61"/>
                  </a:lnTo>
                  <a:lnTo>
                    <a:pt x="200" y="62"/>
                  </a:lnTo>
                  <a:lnTo>
                    <a:pt x="186" y="71"/>
                  </a:lnTo>
                  <a:lnTo>
                    <a:pt x="186" y="74"/>
                  </a:lnTo>
                  <a:lnTo>
                    <a:pt x="192" y="74"/>
                  </a:lnTo>
                  <a:lnTo>
                    <a:pt x="194" y="77"/>
                  </a:lnTo>
                  <a:lnTo>
                    <a:pt x="201" y="80"/>
                  </a:lnTo>
                  <a:lnTo>
                    <a:pt x="206" y="74"/>
                  </a:lnTo>
                  <a:lnTo>
                    <a:pt x="212" y="81"/>
                  </a:lnTo>
                  <a:lnTo>
                    <a:pt x="225" y="86"/>
                  </a:lnTo>
                  <a:lnTo>
                    <a:pt x="209" y="96"/>
                  </a:lnTo>
                  <a:lnTo>
                    <a:pt x="191" y="96"/>
                  </a:lnTo>
                  <a:lnTo>
                    <a:pt x="189" y="90"/>
                  </a:lnTo>
                  <a:lnTo>
                    <a:pt x="192" y="87"/>
                  </a:lnTo>
                  <a:lnTo>
                    <a:pt x="192" y="81"/>
                  </a:lnTo>
                  <a:lnTo>
                    <a:pt x="189" y="81"/>
                  </a:lnTo>
                  <a:lnTo>
                    <a:pt x="180" y="89"/>
                  </a:lnTo>
                  <a:lnTo>
                    <a:pt x="176" y="87"/>
                  </a:lnTo>
                  <a:lnTo>
                    <a:pt x="174" y="90"/>
                  </a:lnTo>
                  <a:lnTo>
                    <a:pt x="174" y="96"/>
                  </a:lnTo>
                  <a:lnTo>
                    <a:pt x="167" y="99"/>
                  </a:lnTo>
                  <a:lnTo>
                    <a:pt x="164" y="107"/>
                  </a:lnTo>
                  <a:lnTo>
                    <a:pt x="152" y="107"/>
                  </a:lnTo>
                  <a:lnTo>
                    <a:pt x="149" y="111"/>
                  </a:lnTo>
                  <a:lnTo>
                    <a:pt x="154" y="116"/>
                  </a:lnTo>
                  <a:lnTo>
                    <a:pt x="158" y="117"/>
                  </a:lnTo>
                  <a:lnTo>
                    <a:pt x="158" y="121"/>
                  </a:lnTo>
                  <a:lnTo>
                    <a:pt x="161" y="130"/>
                  </a:lnTo>
                  <a:lnTo>
                    <a:pt x="155" y="139"/>
                  </a:lnTo>
                  <a:lnTo>
                    <a:pt x="152" y="147"/>
                  </a:lnTo>
                  <a:lnTo>
                    <a:pt x="137" y="144"/>
                  </a:lnTo>
                  <a:lnTo>
                    <a:pt x="137" y="138"/>
                  </a:lnTo>
                  <a:lnTo>
                    <a:pt x="140" y="133"/>
                  </a:lnTo>
                  <a:lnTo>
                    <a:pt x="130" y="127"/>
                  </a:lnTo>
                  <a:lnTo>
                    <a:pt x="124" y="129"/>
                  </a:lnTo>
                  <a:lnTo>
                    <a:pt x="114" y="119"/>
                  </a:lnTo>
                  <a:lnTo>
                    <a:pt x="106" y="116"/>
                  </a:lnTo>
                  <a:lnTo>
                    <a:pt x="99" y="110"/>
                  </a:lnTo>
                  <a:lnTo>
                    <a:pt x="87" y="102"/>
                  </a:lnTo>
                  <a:lnTo>
                    <a:pt x="78" y="80"/>
                  </a:lnTo>
                  <a:lnTo>
                    <a:pt x="74" y="77"/>
                  </a:lnTo>
                  <a:lnTo>
                    <a:pt x="69" y="80"/>
                  </a:lnTo>
                  <a:lnTo>
                    <a:pt x="54" y="77"/>
                  </a:lnTo>
                  <a:lnTo>
                    <a:pt x="54" y="70"/>
                  </a:lnTo>
                  <a:lnTo>
                    <a:pt x="56" y="68"/>
                  </a:lnTo>
                  <a:lnTo>
                    <a:pt x="53" y="65"/>
                  </a:lnTo>
                  <a:lnTo>
                    <a:pt x="51" y="61"/>
                  </a:lnTo>
                  <a:lnTo>
                    <a:pt x="44" y="59"/>
                  </a:lnTo>
                  <a:lnTo>
                    <a:pt x="35" y="52"/>
                  </a:lnTo>
                  <a:lnTo>
                    <a:pt x="29" y="55"/>
                  </a:lnTo>
                  <a:lnTo>
                    <a:pt x="32" y="59"/>
                  </a:lnTo>
                  <a:lnTo>
                    <a:pt x="28" y="56"/>
                  </a:lnTo>
                  <a:lnTo>
                    <a:pt x="25" y="61"/>
                  </a:lnTo>
                  <a:lnTo>
                    <a:pt x="17" y="62"/>
                  </a:lnTo>
                  <a:lnTo>
                    <a:pt x="14" y="67"/>
                  </a:lnTo>
                  <a:lnTo>
                    <a:pt x="16" y="77"/>
                  </a:lnTo>
                  <a:lnTo>
                    <a:pt x="13" y="78"/>
                  </a:lnTo>
                  <a:lnTo>
                    <a:pt x="1" y="77"/>
                  </a:lnTo>
                  <a:lnTo>
                    <a:pt x="0" y="12"/>
                  </a:lnTo>
                  <a:lnTo>
                    <a:pt x="3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7" name="Kazakhstan">
              <a:extLst>
                <a:ext uri="{FF2B5EF4-FFF2-40B4-BE49-F238E27FC236}">
                  <a16:creationId xmlns:a16="http://schemas.microsoft.com/office/drawing/2014/main" id="{34F62B6D-8CE6-6119-A24A-E117055690DF}"/>
                </a:ext>
              </a:extLst>
            </p:cNvPr>
            <p:cNvSpPr>
              <a:spLocks/>
            </p:cNvSpPr>
            <p:nvPr/>
          </p:nvSpPr>
          <p:spPr bwMode="auto">
            <a:xfrm>
              <a:off x="6926344" y="3013456"/>
              <a:ext cx="961356" cy="515013"/>
            </a:xfrm>
            <a:custGeom>
              <a:avLst/>
              <a:gdLst>
                <a:gd name="T0" fmla="*/ 309 w 532"/>
                <a:gd name="T1" fmla="*/ 6 h 285"/>
                <a:gd name="T2" fmla="*/ 323 w 532"/>
                <a:gd name="T3" fmla="*/ 24 h 285"/>
                <a:gd name="T4" fmla="*/ 336 w 532"/>
                <a:gd name="T5" fmla="*/ 24 h 285"/>
                <a:gd name="T6" fmla="*/ 339 w 532"/>
                <a:gd name="T7" fmla="*/ 31 h 285"/>
                <a:gd name="T8" fmla="*/ 355 w 532"/>
                <a:gd name="T9" fmla="*/ 31 h 285"/>
                <a:gd name="T10" fmla="*/ 357 w 532"/>
                <a:gd name="T11" fmla="*/ 40 h 285"/>
                <a:gd name="T12" fmla="*/ 379 w 532"/>
                <a:gd name="T13" fmla="*/ 28 h 285"/>
                <a:gd name="T14" fmla="*/ 397 w 532"/>
                <a:gd name="T15" fmla="*/ 28 h 285"/>
                <a:gd name="T16" fmla="*/ 441 w 532"/>
                <a:gd name="T17" fmla="*/ 98 h 285"/>
                <a:gd name="T18" fmla="*/ 456 w 532"/>
                <a:gd name="T19" fmla="*/ 103 h 285"/>
                <a:gd name="T20" fmla="*/ 478 w 532"/>
                <a:gd name="T21" fmla="*/ 97 h 285"/>
                <a:gd name="T22" fmla="*/ 501 w 532"/>
                <a:gd name="T23" fmla="*/ 114 h 285"/>
                <a:gd name="T24" fmla="*/ 520 w 532"/>
                <a:gd name="T25" fmla="*/ 125 h 285"/>
                <a:gd name="T26" fmla="*/ 521 w 532"/>
                <a:gd name="T27" fmla="*/ 150 h 285"/>
                <a:gd name="T28" fmla="*/ 495 w 532"/>
                <a:gd name="T29" fmla="*/ 177 h 285"/>
                <a:gd name="T30" fmla="*/ 440 w 532"/>
                <a:gd name="T31" fmla="*/ 223 h 285"/>
                <a:gd name="T32" fmla="*/ 426 w 532"/>
                <a:gd name="T33" fmla="*/ 255 h 285"/>
                <a:gd name="T34" fmla="*/ 360 w 532"/>
                <a:gd name="T35" fmla="*/ 246 h 285"/>
                <a:gd name="T36" fmla="*/ 326 w 532"/>
                <a:gd name="T37" fmla="*/ 254 h 285"/>
                <a:gd name="T38" fmla="*/ 315 w 532"/>
                <a:gd name="T39" fmla="*/ 267 h 285"/>
                <a:gd name="T40" fmla="*/ 278 w 532"/>
                <a:gd name="T41" fmla="*/ 280 h 285"/>
                <a:gd name="T42" fmla="*/ 263 w 532"/>
                <a:gd name="T43" fmla="*/ 270 h 285"/>
                <a:gd name="T44" fmla="*/ 253 w 532"/>
                <a:gd name="T45" fmla="*/ 251 h 285"/>
                <a:gd name="T46" fmla="*/ 216 w 532"/>
                <a:gd name="T47" fmla="*/ 240 h 285"/>
                <a:gd name="T48" fmla="*/ 164 w 532"/>
                <a:gd name="T49" fmla="*/ 206 h 285"/>
                <a:gd name="T50" fmla="*/ 120 w 532"/>
                <a:gd name="T51" fmla="*/ 280 h 285"/>
                <a:gd name="T52" fmla="*/ 77 w 532"/>
                <a:gd name="T53" fmla="*/ 272 h 285"/>
                <a:gd name="T54" fmla="*/ 60 w 532"/>
                <a:gd name="T55" fmla="*/ 248 h 285"/>
                <a:gd name="T56" fmla="*/ 60 w 532"/>
                <a:gd name="T57" fmla="*/ 214 h 285"/>
                <a:gd name="T58" fmla="*/ 84 w 532"/>
                <a:gd name="T59" fmla="*/ 208 h 285"/>
                <a:gd name="T60" fmla="*/ 106 w 532"/>
                <a:gd name="T61" fmla="*/ 208 h 285"/>
                <a:gd name="T62" fmla="*/ 69 w 532"/>
                <a:gd name="T63" fmla="*/ 177 h 285"/>
                <a:gd name="T64" fmla="*/ 23 w 532"/>
                <a:gd name="T65" fmla="*/ 181 h 285"/>
                <a:gd name="T66" fmla="*/ 22 w 532"/>
                <a:gd name="T67" fmla="*/ 162 h 285"/>
                <a:gd name="T68" fmla="*/ 0 w 532"/>
                <a:gd name="T69" fmla="*/ 149 h 285"/>
                <a:gd name="T70" fmla="*/ 10 w 532"/>
                <a:gd name="T71" fmla="*/ 116 h 285"/>
                <a:gd name="T72" fmla="*/ 29 w 532"/>
                <a:gd name="T73" fmla="*/ 117 h 285"/>
                <a:gd name="T74" fmla="*/ 37 w 532"/>
                <a:gd name="T75" fmla="*/ 95 h 285"/>
                <a:gd name="T76" fmla="*/ 59 w 532"/>
                <a:gd name="T77" fmla="*/ 82 h 285"/>
                <a:gd name="T78" fmla="*/ 69 w 532"/>
                <a:gd name="T79" fmla="*/ 82 h 285"/>
                <a:gd name="T80" fmla="*/ 103 w 532"/>
                <a:gd name="T81" fmla="*/ 100 h 285"/>
                <a:gd name="T82" fmla="*/ 114 w 532"/>
                <a:gd name="T83" fmla="*/ 101 h 285"/>
                <a:gd name="T84" fmla="*/ 139 w 532"/>
                <a:gd name="T85" fmla="*/ 95 h 285"/>
                <a:gd name="T86" fmla="*/ 161 w 532"/>
                <a:gd name="T87" fmla="*/ 104 h 285"/>
                <a:gd name="T88" fmla="*/ 177 w 532"/>
                <a:gd name="T89" fmla="*/ 100 h 285"/>
                <a:gd name="T90" fmla="*/ 188 w 532"/>
                <a:gd name="T91" fmla="*/ 88 h 285"/>
                <a:gd name="T92" fmla="*/ 176 w 532"/>
                <a:gd name="T93" fmla="*/ 76 h 285"/>
                <a:gd name="T94" fmla="*/ 189 w 532"/>
                <a:gd name="T95" fmla="*/ 55 h 285"/>
                <a:gd name="T96" fmla="*/ 191 w 532"/>
                <a:gd name="T97" fmla="*/ 43 h 285"/>
                <a:gd name="T98" fmla="*/ 189 w 532"/>
                <a:gd name="T99" fmla="*/ 42 h 285"/>
                <a:gd name="T100" fmla="*/ 195 w 532"/>
                <a:gd name="T101" fmla="*/ 31 h 285"/>
                <a:gd name="T102" fmla="*/ 210 w 532"/>
                <a:gd name="T103" fmla="*/ 31 h 285"/>
                <a:gd name="T104" fmla="*/ 229 w 532"/>
                <a:gd name="T105" fmla="*/ 27 h 285"/>
                <a:gd name="T106" fmla="*/ 283 w 532"/>
                <a:gd name="T107" fmla="*/ 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2" h="285">
                  <a:moveTo>
                    <a:pt x="293" y="0"/>
                  </a:moveTo>
                  <a:lnTo>
                    <a:pt x="296" y="0"/>
                  </a:lnTo>
                  <a:lnTo>
                    <a:pt x="299" y="2"/>
                  </a:lnTo>
                  <a:lnTo>
                    <a:pt x="302" y="2"/>
                  </a:lnTo>
                  <a:lnTo>
                    <a:pt x="309" y="6"/>
                  </a:lnTo>
                  <a:lnTo>
                    <a:pt x="315" y="3"/>
                  </a:lnTo>
                  <a:lnTo>
                    <a:pt x="320" y="6"/>
                  </a:lnTo>
                  <a:lnTo>
                    <a:pt x="321" y="15"/>
                  </a:lnTo>
                  <a:lnTo>
                    <a:pt x="324" y="18"/>
                  </a:lnTo>
                  <a:lnTo>
                    <a:pt x="323" y="24"/>
                  </a:lnTo>
                  <a:lnTo>
                    <a:pt x="321" y="27"/>
                  </a:lnTo>
                  <a:lnTo>
                    <a:pt x="323" y="30"/>
                  </a:lnTo>
                  <a:lnTo>
                    <a:pt x="333" y="28"/>
                  </a:lnTo>
                  <a:lnTo>
                    <a:pt x="333" y="24"/>
                  </a:lnTo>
                  <a:lnTo>
                    <a:pt x="336" y="24"/>
                  </a:lnTo>
                  <a:lnTo>
                    <a:pt x="336" y="25"/>
                  </a:lnTo>
                  <a:lnTo>
                    <a:pt x="339" y="30"/>
                  </a:lnTo>
                  <a:lnTo>
                    <a:pt x="339" y="33"/>
                  </a:lnTo>
                  <a:lnTo>
                    <a:pt x="340" y="33"/>
                  </a:lnTo>
                  <a:lnTo>
                    <a:pt x="339" y="31"/>
                  </a:lnTo>
                  <a:lnTo>
                    <a:pt x="340" y="30"/>
                  </a:lnTo>
                  <a:lnTo>
                    <a:pt x="342" y="30"/>
                  </a:lnTo>
                  <a:lnTo>
                    <a:pt x="349" y="34"/>
                  </a:lnTo>
                  <a:lnTo>
                    <a:pt x="354" y="31"/>
                  </a:lnTo>
                  <a:lnTo>
                    <a:pt x="355" y="31"/>
                  </a:lnTo>
                  <a:lnTo>
                    <a:pt x="355" y="37"/>
                  </a:lnTo>
                  <a:lnTo>
                    <a:pt x="352" y="37"/>
                  </a:lnTo>
                  <a:lnTo>
                    <a:pt x="351" y="42"/>
                  </a:lnTo>
                  <a:lnTo>
                    <a:pt x="351" y="43"/>
                  </a:lnTo>
                  <a:lnTo>
                    <a:pt x="357" y="40"/>
                  </a:lnTo>
                  <a:lnTo>
                    <a:pt x="358" y="40"/>
                  </a:lnTo>
                  <a:lnTo>
                    <a:pt x="364" y="42"/>
                  </a:lnTo>
                  <a:lnTo>
                    <a:pt x="364" y="39"/>
                  </a:lnTo>
                  <a:lnTo>
                    <a:pt x="373" y="36"/>
                  </a:lnTo>
                  <a:lnTo>
                    <a:pt x="379" y="28"/>
                  </a:lnTo>
                  <a:lnTo>
                    <a:pt x="385" y="28"/>
                  </a:lnTo>
                  <a:lnTo>
                    <a:pt x="394" y="24"/>
                  </a:lnTo>
                  <a:lnTo>
                    <a:pt x="395" y="24"/>
                  </a:lnTo>
                  <a:lnTo>
                    <a:pt x="397" y="27"/>
                  </a:lnTo>
                  <a:lnTo>
                    <a:pt x="397" y="28"/>
                  </a:lnTo>
                  <a:lnTo>
                    <a:pt x="392" y="30"/>
                  </a:lnTo>
                  <a:lnTo>
                    <a:pt x="392" y="33"/>
                  </a:lnTo>
                  <a:lnTo>
                    <a:pt x="410" y="49"/>
                  </a:lnTo>
                  <a:lnTo>
                    <a:pt x="438" y="101"/>
                  </a:lnTo>
                  <a:lnTo>
                    <a:pt x="441" y="98"/>
                  </a:lnTo>
                  <a:lnTo>
                    <a:pt x="444" y="92"/>
                  </a:lnTo>
                  <a:lnTo>
                    <a:pt x="447" y="91"/>
                  </a:lnTo>
                  <a:lnTo>
                    <a:pt x="453" y="95"/>
                  </a:lnTo>
                  <a:lnTo>
                    <a:pt x="453" y="98"/>
                  </a:lnTo>
                  <a:lnTo>
                    <a:pt x="456" y="103"/>
                  </a:lnTo>
                  <a:lnTo>
                    <a:pt x="471" y="103"/>
                  </a:lnTo>
                  <a:lnTo>
                    <a:pt x="472" y="100"/>
                  </a:lnTo>
                  <a:lnTo>
                    <a:pt x="474" y="98"/>
                  </a:lnTo>
                  <a:lnTo>
                    <a:pt x="477" y="98"/>
                  </a:lnTo>
                  <a:lnTo>
                    <a:pt x="478" y="97"/>
                  </a:lnTo>
                  <a:lnTo>
                    <a:pt x="480" y="97"/>
                  </a:lnTo>
                  <a:lnTo>
                    <a:pt x="483" y="98"/>
                  </a:lnTo>
                  <a:lnTo>
                    <a:pt x="493" y="104"/>
                  </a:lnTo>
                  <a:lnTo>
                    <a:pt x="495" y="113"/>
                  </a:lnTo>
                  <a:lnTo>
                    <a:pt x="501" y="114"/>
                  </a:lnTo>
                  <a:lnTo>
                    <a:pt x="501" y="116"/>
                  </a:lnTo>
                  <a:lnTo>
                    <a:pt x="502" y="119"/>
                  </a:lnTo>
                  <a:lnTo>
                    <a:pt x="506" y="125"/>
                  </a:lnTo>
                  <a:lnTo>
                    <a:pt x="518" y="128"/>
                  </a:lnTo>
                  <a:lnTo>
                    <a:pt x="520" y="125"/>
                  </a:lnTo>
                  <a:lnTo>
                    <a:pt x="524" y="123"/>
                  </a:lnTo>
                  <a:lnTo>
                    <a:pt x="532" y="134"/>
                  </a:lnTo>
                  <a:lnTo>
                    <a:pt x="532" y="135"/>
                  </a:lnTo>
                  <a:lnTo>
                    <a:pt x="527" y="141"/>
                  </a:lnTo>
                  <a:lnTo>
                    <a:pt x="521" y="150"/>
                  </a:lnTo>
                  <a:lnTo>
                    <a:pt x="512" y="152"/>
                  </a:lnTo>
                  <a:lnTo>
                    <a:pt x="509" y="162"/>
                  </a:lnTo>
                  <a:lnTo>
                    <a:pt x="509" y="177"/>
                  </a:lnTo>
                  <a:lnTo>
                    <a:pt x="499" y="181"/>
                  </a:lnTo>
                  <a:lnTo>
                    <a:pt x="495" y="177"/>
                  </a:lnTo>
                  <a:lnTo>
                    <a:pt x="475" y="175"/>
                  </a:lnTo>
                  <a:lnTo>
                    <a:pt x="466" y="197"/>
                  </a:lnTo>
                  <a:lnTo>
                    <a:pt x="466" y="211"/>
                  </a:lnTo>
                  <a:lnTo>
                    <a:pt x="437" y="218"/>
                  </a:lnTo>
                  <a:lnTo>
                    <a:pt x="440" y="223"/>
                  </a:lnTo>
                  <a:lnTo>
                    <a:pt x="446" y="245"/>
                  </a:lnTo>
                  <a:lnTo>
                    <a:pt x="441" y="261"/>
                  </a:lnTo>
                  <a:lnTo>
                    <a:pt x="440" y="261"/>
                  </a:lnTo>
                  <a:lnTo>
                    <a:pt x="431" y="260"/>
                  </a:lnTo>
                  <a:lnTo>
                    <a:pt x="426" y="255"/>
                  </a:lnTo>
                  <a:lnTo>
                    <a:pt x="398" y="251"/>
                  </a:lnTo>
                  <a:lnTo>
                    <a:pt x="394" y="252"/>
                  </a:lnTo>
                  <a:lnTo>
                    <a:pt x="376" y="252"/>
                  </a:lnTo>
                  <a:lnTo>
                    <a:pt x="367" y="251"/>
                  </a:lnTo>
                  <a:lnTo>
                    <a:pt x="360" y="246"/>
                  </a:lnTo>
                  <a:lnTo>
                    <a:pt x="352" y="251"/>
                  </a:lnTo>
                  <a:lnTo>
                    <a:pt x="351" y="260"/>
                  </a:lnTo>
                  <a:lnTo>
                    <a:pt x="349" y="260"/>
                  </a:lnTo>
                  <a:lnTo>
                    <a:pt x="335" y="255"/>
                  </a:lnTo>
                  <a:lnTo>
                    <a:pt x="326" y="254"/>
                  </a:lnTo>
                  <a:lnTo>
                    <a:pt x="321" y="254"/>
                  </a:lnTo>
                  <a:lnTo>
                    <a:pt x="321" y="258"/>
                  </a:lnTo>
                  <a:lnTo>
                    <a:pt x="318" y="263"/>
                  </a:lnTo>
                  <a:lnTo>
                    <a:pt x="315" y="266"/>
                  </a:lnTo>
                  <a:lnTo>
                    <a:pt x="315" y="267"/>
                  </a:lnTo>
                  <a:lnTo>
                    <a:pt x="312" y="267"/>
                  </a:lnTo>
                  <a:lnTo>
                    <a:pt x="309" y="272"/>
                  </a:lnTo>
                  <a:lnTo>
                    <a:pt x="300" y="276"/>
                  </a:lnTo>
                  <a:lnTo>
                    <a:pt x="290" y="285"/>
                  </a:lnTo>
                  <a:lnTo>
                    <a:pt x="278" y="280"/>
                  </a:lnTo>
                  <a:lnTo>
                    <a:pt x="272" y="280"/>
                  </a:lnTo>
                  <a:lnTo>
                    <a:pt x="269" y="282"/>
                  </a:lnTo>
                  <a:lnTo>
                    <a:pt x="265" y="282"/>
                  </a:lnTo>
                  <a:lnTo>
                    <a:pt x="265" y="280"/>
                  </a:lnTo>
                  <a:lnTo>
                    <a:pt x="263" y="270"/>
                  </a:lnTo>
                  <a:lnTo>
                    <a:pt x="256" y="269"/>
                  </a:lnTo>
                  <a:lnTo>
                    <a:pt x="254" y="269"/>
                  </a:lnTo>
                  <a:lnTo>
                    <a:pt x="256" y="252"/>
                  </a:lnTo>
                  <a:lnTo>
                    <a:pt x="253" y="252"/>
                  </a:lnTo>
                  <a:lnTo>
                    <a:pt x="253" y="251"/>
                  </a:lnTo>
                  <a:lnTo>
                    <a:pt x="249" y="243"/>
                  </a:lnTo>
                  <a:lnTo>
                    <a:pt x="240" y="237"/>
                  </a:lnTo>
                  <a:lnTo>
                    <a:pt x="235" y="237"/>
                  </a:lnTo>
                  <a:lnTo>
                    <a:pt x="226" y="239"/>
                  </a:lnTo>
                  <a:lnTo>
                    <a:pt x="216" y="240"/>
                  </a:lnTo>
                  <a:lnTo>
                    <a:pt x="207" y="242"/>
                  </a:lnTo>
                  <a:lnTo>
                    <a:pt x="203" y="242"/>
                  </a:lnTo>
                  <a:lnTo>
                    <a:pt x="203" y="240"/>
                  </a:lnTo>
                  <a:lnTo>
                    <a:pt x="176" y="215"/>
                  </a:lnTo>
                  <a:lnTo>
                    <a:pt x="164" y="206"/>
                  </a:lnTo>
                  <a:lnTo>
                    <a:pt x="157" y="203"/>
                  </a:lnTo>
                  <a:lnTo>
                    <a:pt x="124" y="214"/>
                  </a:lnTo>
                  <a:lnTo>
                    <a:pt x="124" y="279"/>
                  </a:lnTo>
                  <a:lnTo>
                    <a:pt x="121" y="279"/>
                  </a:lnTo>
                  <a:lnTo>
                    <a:pt x="120" y="280"/>
                  </a:lnTo>
                  <a:lnTo>
                    <a:pt x="115" y="280"/>
                  </a:lnTo>
                  <a:lnTo>
                    <a:pt x="106" y="264"/>
                  </a:lnTo>
                  <a:lnTo>
                    <a:pt x="99" y="261"/>
                  </a:lnTo>
                  <a:lnTo>
                    <a:pt x="85" y="266"/>
                  </a:lnTo>
                  <a:lnTo>
                    <a:pt x="77" y="272"/>
                  </a:lnTo>
                  <a:lnTo>
                    <a:pt x="75" y="272"/>
                  </a:lnTo>
                  <a:lnTo>
                    <a:pt x="75" y="270"/>
                  </a:lnTo>
                  <a:lnTo>
                    <a:pt x="78" y="255"/>
                  </a:lnTo>
                  <a:lnTo>
                    <a:pt x="62" y="248"/>
                  </a:lnTo>
                  <a:lnTo>
                    <a:pt x="60" y="248"/>
                  </a:lnTo>
                  <a:lnTo>
                    <a:pt x="57" y="233"/>
                  </a:lnTo>
                  <a:lnTo>
                    <a:pt x="45" y="223"/>
                  </a:lnTo>
                  <a:lnTo>
                    <a:pt x="63" y="223"/>
                  </a:lnTo>
                  <a:lnTo>
                    <a:pt x="60" y="215"/>
                  </a:lnTo>
                  <a:lnTo>
                    <a:pt x="60" y="214"/>
                  </a:lnTo>
                  <a:lnTo>
                    <a:pt x="62" y="211"/>
                  </a:lnTo>
                  <a:lnTo>
                    <a:pt x="69" y="211"/>
                  </a:lnTo>
                  <a:lnTo>
                    <a:pt x="72" y="206"/>
                  </a:lnTo>
                  <a:lnTo>
                    <a:pt x="77" y="206"/>
                  </a:lnTo>
                  <a:lnTo>
                    <a:pt x="84" y="208"/>
                  </a:lnTo>
                  <a:lnTo>
                    <a:pt x="94" y="211"/>
                  </a:lnTo>
                  <a:lnTo>
                    <a:pt x="102" y="212"/>
                  </a:lnTo>
                  <a:lnTo>
                    <a:pt x="105" y="212"/>
                  </a:lnTo>
                  <a:lnTo>
                    <a:pt x="103" y="208"/>
                  </a:lnTo>
                  <a:lnTo>
                    <a:pt x="106" y="208"/>
                  </a:lnTo>
                  <a:lnTo>
                    <a:pt x="105" y="205"/>
                  </a:lnTo>
                  <a:lnTo>
                    <a:pt x="96" y="197"/>
                  </a:lnTo>
                  <a:lnTo>
                    <a:pt x="85" y="180"/>
                  </a:lnTo>
                  <a:lnTo>
                    <a:pt x="78" y="175"/>
                  </a:lnTo>
                  <a:lnTo>
                    <a:pt x="69" y="177"/>
                  </a:lnTo>
                  <a:lnTo>
                    <a:pt x="57" y="174"/>
                  </a:lnTo>
                  <a:lnTo>
                    <a:pt x="48" y="181"/>
                  </a:lnTo>
                  <a:lnTo>
                    <a:pt x="26" y="186"/>
                  </a:lnTo>
                  <a:lnTo>
                    <a:pt x="23" y="186"/>
                  </a:lnTo>
                  <a:lnTo>
                    <a:pt x="23" y="181"/>
                  </a:lnTo>
                  <a:lnTo>
                    <a:pt x="25" y="181"/>
                  </a:lnTo>
                  <a:lnTo>
                    <a:pt x="25" y="180"/>
                  </a:lnTo>
                  <a:lnTo>
                    <a:pt x="31" y="180"/>
                  </a:lnTo>
                  <a:lnTo>
                    <a:pt x="26" y="168"/>
                  </a:lnTo>
                  <a:lnTo>
                    <a:pt x="22" y="162"/>
                  </a:lnTo>
                  <a:lnTo>
                    <a:pt x="11" y="162"/>
                  </a:lnTo>
                  <a:lnTo>
                    <a:pt x="11" y="163"/>
                  </a:lnTo>
                  <a:lnTo>
                    <a:pt x="8" y="160"/>
                  </a:lnTo>
                  <a:lnTo>
                    <a:pt x="5" y="152"/>
                  </a:lnTo>
                  <a:lnTo>
                    <a:pt x="0" y="149"/>
                  </a:lnTo>
                  <a:lnTo>
                    <a:pt x="2" y="138"/>
                  </a:lnTo>
                  <a:lnTo>
                    <a:pt x="7" y="135"/>
                  </a:lnTo>
                  <a:lnTo>
                    <a:pt x="4" y="131"/>
                  </a:lnTo>
                  <a:lnTo>
                    <a:pt x="5" y="119"/>
                  </a:lnTo>
                  <a:lnTo>
                    <a:pt x="10" y="116"/>
                  </a:lnTo>
                  <a:lnTo>
                    <a:pt x="11" y="107"/>
                  </a:lnTo>
                  <a:lnTo>
                    <a:pt x="13" y="106"/>
                  </a:lnTo>
                  <a:lnTo>
                    <a:pt x="13" y="107"/>
                  </a:lnTo>
                  <a:lnTo>
                    <a:pt x="25" y="120"/>
                  </a:lnTo>
                  <a:lnTo>
                    <a:pt x="29" y="117"/>
                  </a:lnTo>
                  <a:lnTo>
                    <a:pt x="26" y="106"/>
                  </a:lnTo>
                  <a:lnTo>
                    <a:pt x="26" y="104"/>
                  </a:lnTo>
                  <a:lnTo>
                    <a:pt x="29" y="104"/>
                  </a:lnTo>
                  <a:lnTo>
                    <a:pt x="37" y="100"/>
                  </a:lnTo>
                  <a:lnTo>
                    <a:pt x="37" y="95"/>
                  </a:lnTo>
                  <a:lnTo>
                    <a:pt x="38" y="94"/>
                  </a:lnTo>
                  <a:lnTo>
                    <a:pt x="48" y="91"/>
                  </a:lnTo>
                  <a:lnTo>
                    <a:pt x="53" y="83"/>
                  </a:lnTo>
                  <a:lnTo>
                    <a:pt x="57" y="83"/>
                  </a:lnTo>
                  <a:lnTo>
                    <a:pt x="59" y="82"/>
                  </a:lnTo>
                  <a:lnTo>
                    <a:pt x="62" y="82"/>
                  </a:lnTo>
                  <a:lnTo>
                    <a:pt x="63" y="85"/>
                  </a:lnTo>
                  <a:lnTo>
                    <a:pt x="66" y="85"/>
                  </a:lnTo>
                  <a:lnTo>
                    <a:pt x="68" y="86"/>
                  </a:lnTo>
                  <a:lnTo>
                    <a:pt x="69" y="82"/>
                  </a:lnTo>
                  <a:lnTo>
                    <a:pt x="71" y="80"/>
                  </a:lnTo>
                  <a:lnTo>
                    <a:pt x="77" y="80"/>
                  </a:lnTo>
                  <a:lnTo>
                    <a:pt x="80" y="86"/>
                  </a:lnTo>
                  <a:lnTo>
                    <a:pt x="91" y="86"/>
                  </a:lnTo>
                  <a:lnTo>
                    <a:pt x="103" y="100"/>
                  </a:lnTo>
                  <a:lnTo>
                    <a:pt x="105" y="106"/>
                  </a:lnTo>
                  <a:lnTo>
                    <a:pt x="106" y="106"/>
                  </a:lnTo>
                  <a:lnTo>
                    <a:pt x="106" y="97"/>
                  </a:lnTo>
                  <a:lnTo>
                    <a:pt x="109" y="95"/>
                  </a:lnTo>
                  <a:lnTo>
                    <a:pt x="114" y="101"/>
                  </a:lnTo>
                  <a:lnTo>
                    <a:pt x="120" y="104"/>
                  </a:lnTo>
                  <a:lnTo>
                    <a:pt x="128" y="97"/>
                  </a:lnTo>
                  <a:lnTo>
                    <a:pt x="133" y="97"/>
                  </a:lnTo>
                  <a:lnTo>
                    <a:pt x="133" y="95"/>
                  </a:lnTo>
                  <a:lnTo>
                    <a:pt x="139" y="95"/>
                  </a:lnTo>
                  <a:lnTo>
                    <a:pt x="143" y="98"/>
                  </a:lnTo>
                  <a:lnTo>
                    <a:pt x="148" y="95"/>
                  </a:lnTo>
                  <a:lnTo>
                    <a:pt x="154" y="94"/>
                  </a:lnTo>
                  <a:lnTo>
                    <a:pt x="157" y="95"/>
                  </a:lnTo>
                  <a:lnTo>
                    <a:pt x="161" y="104"/>
                  </a:lnTo>
                  <a:lnTo>
                    <a:pt x="169" y="104"/>
                  </a:lnTo>
                  <a:lnTo>
                    <a:pt x="170" y="106"/>
                  </a:lnTo>
                  <a:lnTo>
                    <a:pt x="173" y="106"/>
                  </a:lnTo>
                  <a:lnTo>
                    <a:pt x="176" y="100"/>
                  </a:lnTo>
                  <a:lnTo>
                    <a:pt x="177" y="100"/>
                  </a:lnTo>
                  <a:lnTo>
                    <a:pt x="183" y="104"/>
                  </a:lnTo>
                  <a:lnTo>
                    <a:pt x="194" y="101"/>
                  </a:lnTo>
                  <a:lnTo>
                    <a:pt x="197" y="91"/>
                  </a:lnTo>
                  <a:lnTo>
                    <a:pt x="189" y="88"/>
                  </a:lnTo>
                  <a:lnTo>
                    <a:pt x="188" y="88"/>
                  </a:lnTo>
                  <a:lnTo>
                    <a:pt x="186" y="85"/>
                  </a:lnTo>
                  <a:lnTo>
                    <a:pt x="180" y="83"/>
                  </a:lnTo>
                  <a:lnTo>
                    <a:pt x="179" y="80"/>
                  </a:lnTo>
                  <a:lnTo>
                    <a:pt x="176" y="79"/>
                  </a:lnTo>
                  <a:lnTo>
                    <a:pt x="176" y="76"/>
                  </a:lnTo>
                  <a:lnTo>
                    <a:pt x="188" y="70"/>
                  </a:lnTo>
                  <a:lnTo>
                    <a:pt x="189" y="67"/>
                  </a:lnTo>
                  <a:lnTo>
                    <a:pt x="185" y="61"/>
                  </a:lnTo>
                  <a:lnTo>
                    <a:pt x="185" y="60"/>
                  </a:lnTo>
                  <a:lnTo>
                    <a:pt x="189" y="55"/>
                  </a:lnTo>
                  <a:lnTo>
                    <a:pt x="203" y="55"/>
                  </a:lnTo>
                  <a:lnTo>
                    <a:pt x="204" y="54"/>
                  </a:lnTo>
                  <a:lnTo>
                    <a:pt x="200" y="49"/>
                  </a:lnTo>
                  <a:lnTo>
                    <a:pt x="191" y="49"/>
                  </a:lnTo>
                  <a:lnTo>
                    <a:pt x="191" y="43"/>
                  </a:lnTo>
                  <a:lnTo>
                    <a:pt x="195" y="42"/>
                  </a:lnTo>
                  <a:lnTo>
                    <a:pt x="192" y="42"/>
                  </a:lnTo>
                  <a:lnTo>
                    <a:pt x="191" y="43"/>
                  </a:lnTo>
                  <a:lnTo>
                    <a:pt x="189" y="43"/>
                  </a:lnTo>
                  <a:lnTo>
                    <a:pt x="189" y="42"/>
                  </a:lnTo>
                  <a:lnTo>
                    <a:pt x="191" y="37"/>
                  </a:lnTo>
                  <a:lnTo>
                    <a:pt x="188" y="34"/>
                  </a:lnTo>
                  <a:lnTo>
                    <a:pt x="188" y="33"/>
                  </a:lnTo>
                  <a:lnTo>
                    <a:pt x="189" y="33"/>
                  </a:lnTo>
                  <a:lnTo>
                    <a:pt x="195" y="31"/>
                  </a:lnTo>
                  <a:lnTo>
                    <a:pt x="197" y="31"/>
                  </a:lnTo>
                  <a:lnTo>
                    <a:pt x="197" y="33"/>
                  </a:lnTo>
                  <a:lnTo>
                    <a:pt x="209" y="33"/>
                  </a:lnTo>
                  <a:lnTo>
                    <a:pt x="210" y="34"/>
                  </a:lnTo>
                  <a:lnTo>
                    <a:pt x="210" y="31"/>
                  </a:lnTo>
                  <a:lnTo>
                    <a:pt x="217" y="31"/>
                  </a:lnTo>
                  <a:lnTo>
                    <a:pt x="223" y="27"/>
                  </a:lnTo>
                  <a:lnTo>
                    <a:pt x="225" y="27"/>
                  </a:lnTo>
                  <a:lnTo>
                    <a:pt x="229" y="28"/>
                  </a:lnTo>
                  <a:lnTo>
                    <a:pt x="229" y="27"/>
                  </a:lnTo>
                  <a:lnTo>
                    <a:pt x="235" y="24"/>
                  </a:lnTo>
                  <a:lnTo>
                    <a:pt x="243" y="24"/>
                  </a:lnTo>
                  <a:lnTo>
                    <a:pt x="244" y="20"/>
                  </a:lnTo>
                  <a:lnTo>
                    <a:pt x="254" y="18"/>
                  </a:lnTo>
                  <a:lnTo>
                    <a:pt x="283" y="11"/>
                  </a:lnTo>
                  <a:lnTo>
                    <a:pt x="284" y="6"/>
                  </a:lnTo>
                  <a:lnTo>
                    <a:pt x="287" y="5"/>
                  </a:lnTo>
                  <a:lnTo>
                    <a:pt x="29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8" name="Kyrgyzstan">
              <a:extLst>
                <a:ext uri="{FF2B5EF4-FFF2-40B4-BE49-F238E27FC236}">
                  <a16:creationId xmlns:a16="http://schemas.microsoft.com/office/drawing/2014/main" id="{A7CA1E72-EAD1-18CD-7054-E4833CC22F38}"/>
                </a:ext>
              </a:extLst>
            </p:cNvPr>
            <p:cNvSpPr>
              <a:spLocks/>
            </p:cNvSpPr>
            <p:nvPr/>
          </p:nvSpPr>
          <p:spPr bwMode="auto">
            <a:xfrm>
              <a:off x="7461234" y="3456186"/>
              <a:ext cx="262024" cy="126495"/>
            </a:xfrm>
            <a:custGeom>
              <a:avLst/>
              <a:gdLst>
                <a:gd name="T0" fmla="*/ 65 w 145"/>
                <a:gd name="T1" fmla="*/ 0 h 70"/>
                <a:gd name="T2" fmla="*/ 80 w 145"/>
                <a:gd name="T3" fmla="*/ 6 h 70"/>
                <a:gd name="T4" fmla="*/ 102 w 145"/>
                <a:gd name="T5" fmla="*/ 4 h 70"/>
                <a:gd name="T6" fmla="*/ 135 w 145"/>
                <a:gd name="T7" fmla="*/ 13 h 70"/>
                <a:gd name="T8" fmla="*/ 145 w 145"/>
                <a:gd name="T9" fmla="*/ 16 h 70"/>
                <a:gd name="T10" fmla="*/ 142 w 145"/>
                <a:gd name="T11" fmla="*/ 25 h 70"/>
                <a:gd name="T12" fmla="*/ 117 w 145"/>
                <a:gd name="T13" fmla="*/ 40 h 70"/>
                <a:gd name="T14" fmla="*/ 99 w 145"/>
                <a:gd name="T15" fmla="*/ 44 h 70"/>
                <a:gd name="T16" fmla="*/ 92 w 145"/>
                <a:gd name="T17" fmla="*/ 53 h 70"/>
                <a:gd name="T18" fmla="*/ 84 w 145"/>
                <a:gd name="T19" fmla="*/ 52 h 70"/>
                <a:gd name="T20" fmla="*/ 77 w 145"/>
                <a:gd name="T21" fmla="*/ 50 h 70"/>
                <a:gd name="T22" fmla="*/ 73 w 145"/>
                <a:gd name="T23" fmla="*/ 53 h 70"/>
                <a:gd name="T24" fmla="*/ 61 w 145"/>
                <a:gd name="T25" fmla="*/ 67 h 70"/>
                <a:gd name="T26" fmla="*/ 52 w 145"/>
                <a:gd name="T27" fmla="*/ 68 h 70"/>
                <a:gd name="T28" fmla="*/ 44 w 145"/>
                <a:gd name="T29" fmla="*/ 70 h 70"/>
                <a:gd name="T30" fmla="*/ 33 w 145"/>
                <a:gd name="T31" fmla="*/ 65 h 70"/>
                <a:gd name="T32" fmla="*/ 22 w 145"/>
                <a:gd name="T33" fmla="*/ 67 h 70"/>
                <a:gd name="T34" fmla="*/ 1 w 145"/>
                <a:gd name="T35" fmla="*/ 65 h 70"/>
                <a:gd name="T36" fmla="*/ 0 w 145"/>
                <a:gd name="T37" fmla="*/ 58 h 70"/>
                <a:gd name="T38" fmla="*/ 12 w 145"/>
                <a:gd name="T39" fmla="*/ 53 h 70"/>
                <a:gd name="T40" fmla="*/ 22 w 145"/>
                <a:gd name="T41" fmla="*/ 52 h 70"/>
                <a:gd name="T42" fmla="*/ 50 w 145"/>
                <a:gd name="T43" fmla="*/ 43 h 70"/>
                <a:gd name="T44" fmla="*/ 33 w 145"/>
                <a:gd name="T45" fmla="*/ 33 h 70"/>
                <a:gd name="T46" fmla="*/ 30 w 145"/>
                <a:gd name="T47" fmla="*/ 38 h 70"/>
                <a:gd name="T48" fmla="*/ 21 w 145"/>
                <a:gd name="T49" fmla="*/ 35 h 70"/>
                <a:gd name="T50" fmla="*/ 13 w 145"/>
                <a:gd name="T51" fmla="*/ 31 h 70"/>
                <a:gd name="T52" fmla="*/ 25 w 145"/>
                <a:gd name="T53" fmla="*/ 19 h 70"/>
                <a:gd name="T54" fmla="*/ 21 w 145"/>
                <a:gd name="T55" fmla="*/ 18 h 70"/>
                <a:gd name="T56" fmla="*/ 24 w 145"/>
                <a:gd name="T57" fmla="*/ 13 h 70"/>
                <a:gd name="T58" fmla="*/ 30 w 145"/>
                <a:gd name="T59" fmla="*/ 7 h 70"/>
                <a:gd name="T60" fmla="*/ 53 w 145"/>
                <a:gd name="T61" fmla="*/ 13 h 70"/>
                <a:gd name="T62" fmla="*/ 64 w 145"/>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5" h="70">
                  <a:moveTo>
                    <a:pt x="64" y="0"/>
                  </a:moveTo>
                  <a:lnTo>
                    <a:pt x="65" y="0"/>
                  </a:lnTo>
                  <a:lnTo>
                    <a:pt x="71" y="4"/>
                  </a:lnTo>
                  <a:lnTo>
                    <a:pt x="80" y="6"/>
                  </a:lnTo>
                  <a:lnTo>
                    <a:pt x="98" y="6"/>
                  </a:lnTo>
                  <a:lnTo>
                    <a:pt x="102" y="4"/>
                  </a:lnTo>
                  <a:lnTo>
                    <a:pt x="132" y="9"/>
                  </a:lnTo>
                  <a:lnTo>
                    <a:pt x="135" y="13"/>
                  </a:lnTo>
                  <a:lnTo>
                    <a:pt x="145" y="15"/>
                  </a:lnTo>
                  <a:lnTo>
                    <a:pt x="145" y="16"/>
                  </a:lnTo>
                  <a:lnTo>
                    <a:pt x="142" y="24"/>
                  </a:lnTo>
                  <a:lnTo>
                    <a:pt x="142" y="25"/>
                  </a:lnTo>
                  <a:lnTo>
                    <a:pt x="122" y="34"/>
                  </a:lnTo>
                  <a:lnTo>
                    <a:pt x="117" y="40"/>
                  </a:lnTo>
                  <a:lnTo>
                    <a:pt x="117" y="41"/>
                  </a:lnTo>
                  <a:lnTo>
                    <a:pt x="99" y="44"/>
                  </a:lnTo>
                  <a:lnTo>
                    <a:pt x="92" y="52"/>
                  </a:lnTo>
                  <a:lnTo>
                    <a:pt x="92" y="53"/>
                  </a:lnTo>
                  <a:lnTo>
                    <a:pt x="89" y="53"/>
                  </a:lnTo>
                  <a:lnTo>
                    <a:pt x="84" y="52"/>
                  </a:lnTo>
                  <a:lnTo>
                    <a:pt x="82" y="52"/>
                  </a:lnTo>
                  <a:lnTo>
                    <a:pt x="77" y="50"/>
                  </a:lnTo>
                  <a:lnTo>
                    <a:pt x="74" y="50"/>
                  </a:lnTo>
                  <a:lnTo>
                    <a:pt x="73" y="53"/>
                  </a:lnTo>
                  <a:lnTo>
                    <a:pt x="62" y="58"/>
                  </a:lnTo>
                  <a:lnTo>
                    <a:pt x="61" y="67"/>
                  </a:lnTo>
                  <a:lnTo>
                    <a:pt x="55" y="67"/>
                  </a:lnTo>
                  <a:lnTo>
                    <a:pt x="52" y="68"/>
                  </a:lnTo>
                  <a:lnTo>
                    <a:pt x="47" y="68"/>
                  </a:lnTo>
                  <a:lnTo>
                    <a:pt x="44" y="70"/>
                  </a:lnTo>
                  <a:lnTo>
                    <a:pt x="33" y="70"/>
                  </a:lnTo>
                  <a:lnTo>
                    <a:pt x="33" y="65"/>
                  </a:lnTo>
                  <a:lnTo>
                    <a:pt x="30" y="65"/>
                  </a:lnTo>
                  <a:lnTo>
                    <a:pt x="22" y="67"/>
                  </a:lnTo>
                  <a:lnTo>
                    <a:pt x="16" y="65"/>
                  </a:lnTo>
                  <a:lnTo>
                    <a:pt x="1" y="65"/>
                  </a:lnTo>
                  <a:lnTo>
                    <a:pt x="1" y="64"/>
                  </a:lnTo>
                  <a:lnTo>
                    <a:pt x="0" y="58"/>
                  </a:lnTo>
                  <a:lnTo>
                    <a:pt x="0" y="56"/>
                  </a:lnTo>
                  <a:lnTo>
                    <a:pt x="12" y="53"/>
                  </a:lnTo>
                  <a:lnTo>
                    <a:pt x="18" y="56"/>
                  </a:lnTo>
                  <a:lnTo>
                    <a:pt x="22" y="52"/>
                  </a:lnTo>
                  <a:lnTo>
                    <a:pt x="36" y="52"/>
                  </a:lnTo>
                  <a:lnTo>
                    <a:pt x="50" y="43"/>
                  </a:lnTo>
                  <a:lnTo>
                    <a:pt x="39" y="40"/>
                  </a:lnTo>
                  <a:lnTo>
                    <a:pt x="33" y="33"/>
                  </a:lnTo>
                  <a:lnTo>
                    <a:pt x="30" y="37"/>
                  </a:lnTo>
                  <a:lnTo>
                    <a:pt x="30" y="38"/>
                  </a:lnTo>
                  <a:lnTo>
                    <a:pt x="28" y="38"/>
                  </a:lnTo>
                  <a:lnTo>
                    <a:pt x="21" y="35"/>
                  </a:lnTo>
                  <a:lnTo>
                    <a:pt x="18" y="33"/>
                  </a:lnTo>
                  <a:lnTo>
                    <a:pt x="13" y="31"/>
                  </a:lnTo>
                  <a:lnTo>
                    <a:pt x="13" y="28"/>
                  </a:lnTo>
                  <a:lnTo>
                    <a:pt x="25" y="19"/>
                  </a:lnTo>
                  <a:lnTo>
                    <a:pt x="25" y="18"/>
                  </a:lnTo>
                  <a:lnTo>
                    <a:pt x="21" y="18"/>
                  </a:lnTo>
                  <a:lnTo>
                    <a:pt x="21" y="16"/>
                  </a:lnTo>
                  <a:lnTo>
                    <a:pt x="24" y="13"/>
                  </a:lnTo>
                  <a:lnTo>
                    <a:pt x="24" y="9"/>
                  </a:lnTo>
                  <a:lnTo>
                    <a:pt x="30" y="7"/>
                  </a:lnTo>
                  <a:lnTo>
                    <a:pt x="39" y="9"/>
                  </a:lnTo>
                  <a:lnTo>
                    <a:pt x="53" y="13"/>
                  </a:lnTo>
                  <a:lnTo>
                    <a:pt x="56" y="4"/>
                  </a:lnTo>
                  <a:lnTo>
                    <a:pt x="6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9" name="Tajikistan">
              <a:extLst>
                <a:ext uri="{FF2B5EF4-FFF2-40B4-BE49-F238E27FC236}">
                  <a16:creationId xmlns:a16="http://schemas.microsoft.com/office/drawing/2014/main" id="{B2CA48A8-C937-4880-73D2-C3881D4F49E2}"/>
                </a:ext>
              </a:extLst>
            </p:cNvPr>
            <p:cNvSpPr>
              <a:spLocks/>
            </p:cNvSpPr>
            <p:nvPr/>
          </p:nvSpPr>
          <p:spPr bwMode="auto">
            <a:xfrm>
              <a:off x="7417865" y="3524853"/>
              <a:ext cx="180706" cy="137337"/>
            </a:xfrm>
            <a:custGeom>
              <a:avLst/>
              <a:gdLst>
                <a:gd name="T0" fmla="*/ 43 w 100"/>
                <a:gd name="T1" fmla="*/ 0 h 76"/>
                <a:gd name="T2" fmla="*/ 40 w 100"/>
                <a:gd name="T3" fmla="*/ 9 h 76"/>
                <a:gd name="T4" fmla="*/ 48 w 100"/>
                <a:gd name="T5" fmla="*/ 14 h 76"/>
                <a:gd name="T6" fmla="*/ 42 w 100"/>
                <a:gd name="T7" fmla="*/ 20 h 76"/>
                <a:gd name="T8" fmla="*/ 25 w 100"/>
                <a:gd name="T9" fmla="*/ 20 h 76"/>
                <a:gd name="T10" fmla="*/ 42 w 100"/>
                <a:gd name="T11" fmla="*/ 26 h 76"/>
                <a:gd name="T12" fmla="*/ 54 w 100"/>
                <a:gd name="T13" fmla="*/ 26 h 76"/>
                <a:gd name="T14" fmla="*/ 58 w 100"/>
                <a:gd name="T15" fmla="*/ 30 h 76"/>
                <a:gd name="T16" fmla="*/ 71 w 100"/>
                <a:gd name="T17" fmla="*/ 29 h 76"/>
                <a:gd name="T18" fmla="*/ 79 w 100"/>
                <a:gd name="T19" fmla="*/ 27 h 76"/>
                <a:gd name="T20" fmla="*/ 85 w 100"/>
                <a:gd name="T21" fmla="*/ 29 h 76"/>
                <a:gd name="T22" fmla="*/ 85 w 100"/>
                <a:gd name="T23" fmla="*/ 45 h 76"/>
                <a:gd name="T24" fmla="*/ 97 w 100"/>
                <a:gd name="T25" fmla="*/ 46 h 76"/>
                <a:gd name="T26" fmla="*/ 100 w 100"/>
                <a:gd name="T27" fmla="*/ 67 h 76"/>
                <a:gd name="T28" fmla="*/ 95 w 100"/>
                <a:gd name="T29" fmla="*/ 66 h 76"/>
                <a:gd name="T30" fmla="*/ 83 w 100"/>
                <a:gd name="T31" fmla="*/ 67 h 76"/>
                <a:gd name="T32" fmla="*/ 79 w 100"/>
                <a:gd name="T33" fmla="*/ 63 h 76"/>
                <a:gd name="T34" fmla="*/ 51 w 100"/>
                <a:gd name="T35" fmla="*/ 69 h 76"/>
                <a:gd name="T36" fmla="*/ 49 w 100"/>
                <a:gd name="T37" fmla="*/ 54 h 76"/>
                <a:gd name="T38" fmla="*/ 45 w 100"/>
                <a:gd name="T39" fmla="*/ 46 h 76"/>
                <a:gd name="T40" fmla="*/ 37 w 100"/>
                <a:gd name="T41" fmla="*/ 58 h 76"/>
                <a:gd name="T42" fmla="*/ 27 w 100"/>
                <a:gd name="T43" fmla="*/ 60 h 76"/>
                <a:gd name="T44" fmla="*/ 24 w 100"/>
                <a:gd name="T45" fmla="*/ 69 h 76"/>
                <a:gd name="T46" fmla="*/ 9 w 100"/>
                <a:gd name="T47" fmla="*/ 72 h 76"/>
                <a:gd name="T48" fmla="*/ 2 w 100"/>
                <a:gd name="T49" fmla="*/ 66 h 76"/>
                <a:gd name="T50" fmla="*/ 12 w 100"/>
                <a:gd name="T51" fmla="*/ 49 h 76"/>
                <a:gd name="T52" fmla="*/ 9 w 100"/>
                <a:gd name="T53" fmla="*/ 36 h 76"/>
                <a:gd name="T54" fmla="*/ 0 w 100"/>
                <a:gd name="T55" fmla="*/ 30 h 76"/>
                <a:gd name="T56" fmla="*/ 3 w 100"/>
                <a:gd name="T57" fmla="*/ 26 h 76"/>
                <a:gd name="T58" fmla="*/ 18 w 100"/>
                <a:gd name="T59" fmla="*/ 18 h 76"/>
                <a:gd name="T60" fmla="*/ 24 w 100"/>
                <a:gd name="T61" fmla="*/ 15 h 76"/>
                <a:gd name="T62" fmla="*/ 25 w 100"/>
                <a:gd name="T63" fmla="*/ 6 h 76"/>
                <a:gd name="T64" fmla="*/ 40 w 100"/>
                <a:gd name="T6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76">
                  <a:moveTo>
                    <a:pt x="40" y="0"/>
                  </a:moveTo>
                  <a:lnTo>
                    <a:pt x="43" y="0"/>
                  </a:lnTo>
                  <a:lnTo>
                    <a:pt x="45" y="6"/>
                  </a:lnTo>
                  <a:lnTo>
                    <a:pt x="40" y="9"/>
                  </a:lnTo>
                  <a:lnTo>
                    <a:pt x="42" y="14"/>
                  </a:lnTo>
                  <a:lnTo>
                    <a:pt x="48" y="14"/>
                  </a:lnTo>
                  <a:lnTo>
                    <a:pt x="48" y="15"/>
                  </a:lnTo>
                  <a:lnTo>
                    <a:pt x="42" y="20"/>
                  </a:lnTo>
                  <a:lnTo>
                    <a:pt x="36" y="17"/>
                  </a:lnTo>
                  <a:lnTo>
                    <a:pt x="25" y="20"/>
                  </a:lnTo>
                  <a:lnTo>
                    <a:pt x="27" y="26"/>
                  </a:lnTo>
                  <a:lnTo>
                    <a:pt x="42" y="26"/>
                  </a:lnTo>
                  <a:lnTo>
                    <a:pt x="46" y="27"/>
                  </a:lnTo>
                  <a:lnTo>
                    <a:pt x="54" y="26"/>
                  </a:lnTo>
                  <a:lnTo>
                    <a:pt x="58" y="27"/>
                  </a:lnTo>
                  <a:lnTo>
                    <a:pt x="58" y="30"/>
                  </a:lnTo>
                  <a:lnTo>
                    <a:pt x="68" y="30"/>
                  </a:lnTo>
                  <a:lnTo>
                    <a:pt x="71" y="29"/>
                  </a:lnTo>
                  <a:lnTo>
                    <a:pt x="76" y="29"/>
                  </a:lnTo>
                  <a:lnTo>
                    <a:pt x="79" y="27"/>
                  </a:lnTo>
                  <a:lnTo>
                    <a:pt x="85" y="27"/>
                  </a:lnTo>
                  <a:lnTo>
                    <a:pt x="85" y="29"/>
                  </a:lnTo>
                  <a:lnTo>
                    <a:pt x="82" y="39"/>
                  </a:lnTo>
                  <a:lnTo>
                    <a:pt x="85" y="45"/>
                  </a:lnTo>
                  <a:lnTo>
                    <a:pt x="95" y="45"/>
                  </a:lnTo>
                  <a:lnTo>
                    <a:pt x="97" y="46"/>
                  </a:lnTo>
                  <a:lnTo>
                    <a:pt x="100" y="66"/>
                  </a:lnTo>
                  <a:lnTo>
                    <a:pt x="100" y="67"/>
                  </a:lnTo>
                  <a:lnTo>
                    <a:pt x="95" y="67"/>
                  </a:lnTo>
                  <a:lnTo>
                    <a:pt x="95" y="66"/>
                  </a:lnTo>
                  <a:lnTo>
                    <a:pt x="92" y="66"/>
                  </a:lnTo>
                  <a:lnTo>
                    <a:pt x="83" y="67"/>
                  </a:lnTo>
                  <a:lnTo>
                    <a:pt x="82" y="64"/>
                  </a:lnTo>
                  <a:lnTo>
                    <a:pt x="79" y="63"/>
                  </a:lnTo>
                  <a:lnTo>
                    <a:pt x="55" y="76"/>
                  </a:lnTo>
                  <a:lnTo>
                    <a:pt x="51" y="69"/>
                  </a:lnTo>
                  <a:lnTo>
                    <a:pt x="52" y="57"/>
                  </a:lnTo>
                  <a:lnTo>
                    <a:pt x="49" y="54"/>
                  </a:lnTo>
                  <a:lnTo>
                    <a:pt x="49" y="49"/>
                  </a:lnTo>
                  <a:lnTo>
                    <a:pt x="45" y="46"/>
                  </a:lnTo>
                  <a:lnTo>
                    <a:pt x="37" y="55"/>
                  </a:lnTo>
                  <a:lnTo>
                    <a:pt x="37" y="58"/>
                  </a:lnTo>
                  <a:lnTo>
                    <a:pt x="36" y="63"/>
                  </a:lnTo>
                  <a:lnTo>
                    <a:pt x="27" y="60"/>
                  </a:lnTo>
                  <a:lnTo>
                    <a:pt x="25" y="69"/>
                  </a:lnTo>
                  <a:lnTo>
                    <a:pt x="24" y="69"/>
                  </a:lnTo>
                  <a:lnTo>
                    <a:pt x="20" y="66"/>
                  </a:lnTo>
                  <a:lnTo>
                    <a:pt x="9" y="72"/>
                  </a:lnTo>
                  <a:lnTo>
                    <a:pt x="8" y="72"/>
                  </a:lnTo>
                  <a:lnTo>
                    <a:pt x="2" y="66"/>
                  </a:lnTo>
                  <a:lnTo>
                    <a:pt x="6" y="58"/>
                  </a:lnTo>
                  <a:lnTo>
                    <a:pt x="12" y="49"/>
                  </a:lnTo>
                  <a:lnTo>
                    <a:pt x="8" y="42"/>
                  </a:lnTo>
                  <a:lnTo>
                    <a:pt x="9" y="36"/>
                  </a:lnTo>
                  <a:lnTo>
                    <a:pt x="5" y="35"/>
                  </a:lnTo>
                  <a:lnTo>
                    <a:pt x="0" y="30"/>
                  </a:lnTo>
                  <a:lnTo>
                    <a:pt x="2" y="26"/>
                  </a:lnTo>
                  <a:lnTo>
                    <a:pt x="3" y="26"/>
                  </a:lnTo>
                  <a:lnTo>
                    <a:pt x="15" y="24"/>
                  </a:lnTo>
                  <a:lnTo>
                    <a:pt x="18" y="18"/>
                  </a:lnTo>
                  <a:lnTo>
                    <a:pt x="18" y="17"/>
                  </a:lnTo>
                  <a:lnTo>
                    <a:pt x="24" y="15"/>
                  </a:lnTo>
                  <a:lnTo>
                    <a:pt x="24" y="9"/>
                  </a:lnTo>
                  <a:lnTo>
                    <a:pt x="25" y="6"/>
                  </a:lnTo>
                  <a:lnTo>
                    <a:pt x="31" y="6"/>
                  </a:lnTo>
                  <a:lnTo>
                    <a:pt x="4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0" name="Israel">
              <a:extLst>
                <a:ext uri="{FF2B5EF4-FFF2-40B4-BE49-F238E27FC236}">
                  <a16:creationId xmlns:a16="http://schemas.microsoft.com/office/drawing/2014/main" id="{2DF2BA2C-62B5-8511-E8DE-0406A6DD90B8}"/>
                </a:ext>
              </a:extLst>
            </p:cNvPr>
            <p:cNvSpPr>
              <a:spLocks/>
            </p:cNvSpPr>
            <p:nvPr/>
          </p:nvSpPr>
          <p:spPr bwMode="auto">
            <a:xfrm>
              <a:off x="6629987" y="3757965"/>
              <a:ext cx="36141" cy="110231"/>
            </a:xfrm>
            <a:custGeom>
              <a:avLst/>
              <a:gdLst>
                <a:gd name="T0" fmla="*/ 18 w 20"/>
                <a:gd name="T1" fmla="*/ 0 h 61"/>
                <a:gd name="T2" fmla="*/ 20 w 20"/>
                <a:gd name="T3" fmla="*/ 0 h 61"/>
                <a:gd name="T4" fmla="*/ 20 w 20"/>
                <a:gd name="T5" fmla="*/ 15 h 61"/>
                <a:gd name="T6" fmla="*/ 18 w 20"/>
                <a:gd name="T7" fmla="*/ 15 h 61"/>
                <a:gd name="T8" fmla="*/ 14 w 20"/>
                <a:gd name="T9" fmla="*/ 12 h 61"/>
                <a:gd name="T10" fmla="*/ 11 w 20"/>
                <a:gd name="T11" fmla="*/ 17 h 61"/>
                <a:gd name="T12" fmla="*/ 11 w 20"/>
                <a:gd name="T13" fmla="*/ 23 h 61"/>
                <a:gd name="T14" fmla="*/ 15 w 20"/>
                <a:gd name="T15" fmla="*/ 23 h 61"/>
                <a:gd name="T16" fmla="*/ 15 w 20"/>
                <a:gd name="T17" fmla="*/ 24 h 61"/>
                <a:gd name="T18" fmla="*/ 14 w 20"/>
                <a:gd name="T19" fmla="*/ 24 h 61"/>
                <a:gd name="T20" fmla="*/ 11 w 20"/>
                <a:gd name="T21" fmla="*/ 29 h 61"/>
                <a:gd name="T22" fmla="*/ 18 w 20"/>
                <a:gd name="T23" fmla="*/ 29 h 61"/>
                <a:gd name="T24" fmla="*/ 12 w 20"/>
                <a:gd name="T25" fmla="*/ 60 h 61"/>
                <a:gd name="T26" fmla="*/ 11 w 20"/>
                <a:gd name="T27" fmla="*/ 61 h 61"/>
                <a:gd name="T28" fmla="*/ 9 w 20"/>
                <a:gd name="T29" fmla="*/ 61 h 61"/>
                <a:gd name="T30" fmla="*/ 0 w 20"/>
                <a:gd name="T31" fmla="*/ 32 h 61"/>
                <a:gd name="T32" fmla="*/ 5 w 20"/>
                <a:gd name="T33" fmla="*/ 24 h 61"/>
                <a:gd name="T34" fmla="*/ 11 w 20"/>
                <a:gd name="T35" fmla="*/ 2 h 61"/>
                <a:gd name="T36" fmla="*/ 15 w 20"/>
                <a:gd name="T37" fmla="*/ 2 h 61"/>
                <a:gd name="T38" fmla="*/ 17 w 20"/>
                <a:gd name="T39" fmla="*/ 3 h 61"/>
                <a:gd name="T40" fmla="*/ 18 w 20"/>
                <a:gd name="T4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61">
                  <a:moveTo>
                    <a:pt x="18" y="0"/>
                  </a:moveTo>
                  <a:lnTo>
                    <a:pt x="20" y="0"/>
                  </a:lnTo>
                  <a:lnTo>
                    <a:pt x="20" y="15"/>
                  </a:lnTo>
                  <a:lnTo>
                    <a:pt x="18" y="15"/>
                  </a:lnTo>
                  <a:lnTo>
                    <a:pt x="14" y="12"/>
                  </a:lnTo>
                  <a:lnTo>
                    <a:pt x="11" y="17"/>
                  </a:lnTo>
                  <a:lnTo>
                    <a:pt x="11" y="23"/>
                  </a:lnTo>
                  <a:lnTo>
                    <a:pt x="15" y="23"/>
                  </a:lnTo>
                  <a:lnTo>
                    <a:pt x="15" y="24"/>
                  </a:lnTo>
                  <a:lnTo>
                    <a:pt x="14" y="24"/>
                  </a:lnTo>
                  <a:lnTo>
                    <a:pt x="11" y="29"/>
                  </a:lnTo>
                  <a:lnTo>
                    <a:pt x="18" y="29"/>
                  </a:lnTo>
                  <a:lnTo>
                    <a:pt x="12" y="60"/>
                  </a:lnTo>
                  <a:lnTo>
                    <a:pt x="11" y="61"/>
                  </a:lnTo>
                  <a:lnTo>
                    <a:pt x="9" y="61"/>
                  </a:lnTo>
                  <a:lnTo>
                    <a:pt x="0" y="32"/>
                  </a:lnTo>
                  <a:lnTo>
                    <a:pt x="5" y="24"/>
                  </a:lnTo>
                  <a:lnTo>
                    <a:pt x="11" y="2"/>
                  </a:lnTo>
                  <a:lnTo>
                    <a:pt x="15" y="2"/>
                  </a:lnTo>
                  <a:lnTo>
                    <a:pt x="17" y="3"/>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1" name="Lebanon">
              <a:extLst>
                <a:ext uri="{FF2B5EF4-FFF2-40B4-BE49-F238E27FC236}">
                  <a16:creationId xmlns:a16="http://schemas.microsoft.com/office/drawing/2014/main" id="{AE422E85-1E8D-59BA-0E67-99DB018FFED6}"/>
                </a:ext>
              </a:extLst>
            </p:cNvPr>
            <p:cNvSpPr>
              <a:spLocks/>
            </p:cNvSpPr>
            <p:nvPr/>
          </p:nvSpPr>
          <p:spPr bwMode="auto">
            <a:xfrm>
              <a:off x="6649864" y="3716402"/>
              <a:ext cx="43369" cy="50598"/>
            </a:xfrm>
            <a:custGeom>
              <a:avLst/>
              <a:gdLst>
                <a:gd name="T0" fmla="*/ 13 w 24"/>
                <a:gd name="T1" fmla="*/ 0 h 28"/>
                <a:gd name="T2" fmla="*/ 22 w 24"/>
                <a:gd name="T3" fmla="*/ 0 h 28"/>
                <a:gd name="T4" fmla="*/ 22 w 24"/>
                <a:gd name="T5" fmla="*/ 1 h 28"/>
                <a:gd name="T6" fmla="*/ 21 w 24"/>
                <a:gd name="T7" fmla="*/ 3 h 28"/>
                <a:gd name="T8" fmla="*/ 24 w 24"/>
                <a:gd name="T9" fmla="*/ 9 h 28"/>
                <a:gd name="T10" fmla="*/ 19 w 24"/>
                <a:gd name="T11" fmla="*/ 13 h 28"/>
                <a:gd name="T12" fmla="*/ 21 w 24"/>
                <a:gd name="T13" fmla="*/ 13 h 28"/>
                <a:gd name="T14" fmla="*/ 21 w 24"/>
                <a:gd name="T15" fmla="*/ 15 h 28"/>
                <a:gd name="T16" fmla="*/ 19 w 24"/>
                <a:gd name="T17" fmla="*/ 15 h 28"/>
                <a:gd name="T18" fmla="*/ 16 w 24"/>
                <a:gd name="T19" fmla="*/ 16 h 28"/>
                <a:gd name="T20" fmla="*/ 16 w 24"/>
                <a:gd name="T21" fmla="*/ 19 h 28"/>
                <a:gd name="T22" fmla="*/ 15 w 24"/>
                <a:gd name="T23" fmla="*/ 19 h 28"/>
                <a:gd name="T24" fmla="*/ 15 w 24"/>
                <a:gd name="T25" fmla="*/ 20 h 28"/>
                <a:gd name="T26" fmla="*/ 9 w 24"/>
                <a:gd name="T27" fmla="*/ 25 h 28"/>
                <a:gd name="T28" fmla="*/ 7 w 24"/>
                <a:gd name="T29" fmla="*/ 26 h 28"/>
                <a:gd name="T30" fmla="*/ 7 w 24"/>
                <a:gd name="T31" fmla="*/ 28 h 28"/>
                <a:gd name="T32" fmla="*/ 1 w 24"/>
                <a:gd name="T33" fmla="*/ 26 h 28"/>
                <a:gd name="T34" fmla="*/ 0 w 24"/>
                <a:gd name="T35" fmla="*/ 26 h 28"/>
                <a:gd name="T36" fmla="*/ 0 w 24"/>
                <a:gd name="T37" fmla="*/ 25 h 28"/>
                <a:gd name="T38" fmla="*/ 13 w 24"/>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8">
                  <a:moveTo>
                    <a:pt x="13" y="0"/>
                  </a:moveTo>
                  <a:lnTo>
                    <a:pt x="22" y="0"/>
                  </a:lnTo>
                  <a:lnTo>
                    <a:pt x="22" y="1"/>
                  </a:lnTo>
                  <a:lnTo>
                    <a:pt x="21" y="3"/>
                  </a:lnTo>
                  <a:lnTo>
                    <a:pt x="24" y="9"/>
                  </a:lnTo>
                  <a:lnTo>
                    <a:pt x="19" y="13"/>
                  </a:lnTo>
                  <a:lnTo>
                    <a:pt x="21" y="13"/>
                  </a:lnTo>
                  <a:lnTo>
                    <a:pt x="21" y="15"/>
                  </a:lnTo>
                  <a:lnTo>
                    <a:pt x="19" y="15"/>
                  </a:lnTo>
                  <a:lnTo>
                    <a:pt x="16" y="16"/>
                  </a:lnTo>
                  <a:lnTo>
                    <a:pt x="16" y="19"/>
                  </a:lnTo>
                  <a:lnTo>
                    <a:pt x="15" y="19"/>
                  </a:lnTo>
                  <a:lnTo>
                    <a:pt x="15" y="20"/>
                  </a:lnTo>
                  <a:lnTo>
                    <a:pt x="9" y="25"/>
                  </a:lnTo>
                  <a:lnTo>
                    <a:pt x="7" y="26"/>
                  </a:lnTo>
                  <a:lnTo>
                    <a:pt x="7" y="28"/>
                  </a:lnTo>
                  <a:lnTo>
                    <a:pt x="1" y="26"/>
                  </a:lnTo>
                  <a:lnTo>
                    <a:pt x="0" y="26"/>
                  </a:lnTo>
                  <a:lnTo>
                    <a:pt x="0" y="25"/>
                  </a:lnTo>
                  <a:lnTo>
                    <a:pt x="1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2" name="Pakistan">
              <a:extLst>
                <a:ext uri="{FF2B5EF4-FFF2-40B4-BE49-F238E27FC236}">
                  <a16:creationId xmlns:a16="http://schemas.microsoft.com/office/drawing/2014/main" id="{6A9FD840-9F5E-0C2C-4FEB-00CF1E90363C}"/>
                </a:ext>
              </a:extLst>
            </p:cNvPr>
            <p:cNvSpPr>
              <a:spLocks/>
            </p:cNvSpPr>
            <p:nvPr/>
          </p:nvSpPr>
          <p:spPr bwMode="auto">
            <a:xfrm>
              <a:off x="7260651" y="3649541"/>
              <a:ext cx="399361" cy="363221"/>
            </a:xfrm>
            <a:custGeom>
              <a:avLst/>
              <a:gdLst>
                <a:gd name="T0" fmla="*/ 191 w 221"/>
                <a:gd name="T1" fmla="*/ 3 h 201"/>
                <a:gd name="T2" fmla="*/ 198 w 221"/>
                <a:gd name="T3" fmla="*/ 10 h 201"/>
                <a:gd name="T4" fmla="*/ 201 w 221"/>
                <a:gd name="T5" fmla="*/ 19 h 201"/>
                <a:gd name="T6" fmla="*/ 219 w 221"/>
                <a:gd name="T7" fmla="*/ 26 h 201"/>
                <a:gd name="T8" fmla="*/ 210 w 221"/>
                <a:gd name="T9" fmla="*/ 38 h 201"/>
                <a:gd name="T10" fmla="*/ 176 w 221"/>
                <a:gd name="T11" fmla="*/ 37 h 201"/>
                <a:gd name="T12" fmla="*/ 172 w 221"/>
                <a:gd name="T13" fmla="*/ 44 h 201"/>
                <a:gd name="T14" fmla="*/ 176 w 221"/>
                <a:gd name="T15" fmla="*/ 49 h 201"/>
                <a:gd name="T16" fmla="*/ 176 w 221"/>
                <a:gd name="T17" fmla="*/ 56 h 201"/>
                <a:gd name="T18" fmla="*/ 176 w 221"/>
                <a:gd name="T19" fmla="*/ 66 h 201"/>
                <a:gd name="T20" fmla="*/ 190 w 221"/>
                <a:gd name="T21" fmla="*/ 72 h 201"/>
                <a:gd name="T22" fmla="*/ 191 w 221"/>
                <a:gd name="T23" fmla="*/ 78 h 201"/>
                <a:gd name="T24" fmla="*/ 182 w 221"/>
                <a:gd name="T25" fmla="*/ 89 h 201"/>
                <a:gd name="T26" fmla="*/ 184 w 221"/>
                <a:gd name="T27" fmla="*/ 95 h 201"/>
                <a:gd name="T28" fmla="*/ 184 w 221"/>
                <a:gd name="T29" fmla="*/ 96 h 201"/>
                <a:gd name="T30" fmla="*/ 170 w 221"/>
                <a:gd name="T31" fmla="*/ 111 h 201"/>
                <a:gd name="T32" fmla="*/ 151 w 221"/>
                <a:gd name="T33" fmla="*/ 132 h 201"/>
                <a:gd name="T34" fmla="*/ 126 w 221"/>
                <a:gd name="T35" fmla="*/ 141 h 201"/>
                <a:gd name="T36" fmla="*/ 123 w 221"/>
                <a:gd name="T37" fmla="*/ 163 h 201"/>
                <a:gd name="T38" fmla="*/ 129 w 221"/>
                <a:gd name="T39" fmla="*/ 175 h 201"/>
                <a:gd name="T40" fmla="*/ 130 w 221"/>
                <a:gd name="T41" fmla="*/ 195 h 201"/>
                <a:gd name="T42" fmla="*/ 121 w 221"/>
                <a:gd name="T43" fmla="*/ 197 h 201"/>
                <a:gd name="T44" fmla="*/ 105 w 221"/>
                <a:gd name="T45" fmla="*/ 200 h 201"/>
                <a:gd name="T46" fmla="*/ 93 w 221"/>
                <a:gd name="T47" fmla="*/ 201 h 201"/>
                <a:gd name="T48" fmla="*/ 78 w 221"/>
                <a:gd name="T49" fmla="*/ 186 h 201"/>
                <a:gd name="T50" fmla="*/ 52 w 221"/>
                <a:gd name="T51" fmla="*/ 179 h 201"/>
                <a:gd name="T52" fmla="*/ 43 w 221"/>
                <a:gd name="T53" fmla="*/ 179 h 201"/>
                <a:gd name="T54" fmla="*/ 12 w 221"/>
                <a:gd name="T55" fmla="*/ 183 h 201"/>
                <a:gd name="T56" fmla="*/ 19 w 221"/>
                <a:gd name="T57" fmla="*/ 163 h 201"/>
                <a:gd name="T58" fmla="*/ 26 w 221"/>
                <a:gd name="T59" fmla="*/ 151 h 201"/>
                <a:gd name="T60" fmla="*/ 10 w 221"/>
                <a:gd name="T61" fmla="*/ 130 h 201"/>
                <a:gd name="T62" fmla="*/ 1 w 221"/>
                <a:gd name="T63" fmla="*/ 112 h 201"/>
                <a:gd name="T64" fmla="*/ 43 w 221"/>
                <a:gd name="T65" fmla="*/ 118 h 201"/>
                <a:gd name="T66" fmla="*/ 53 w 221"/>
                <a:gd name="T67" fmla="*/ 117 h 201"/>
                <a:gd name="T68" fmla="*/ 72 w 221"/>
                <a:gd name="T69" fmla="*/ 111 h 201"/>
                <a:gd name="T70" fmla="*/ 90 w 221"/>
                <a:gd name="T71" fmla="*/ 90 h 201"/>
                <a:gd name="T72" fmla="*/ 102 w 221"/>
                <a:gd name="T73" fmla="*/ 83 h 201"/>
                <a:gd name="T74" fmla="*/ 109 w 221"/>
                <a:gd name="T75" fmla="*/ 75 h 201"/>
                <a:gd name="T76" fmla="*/ 124 w 221"/>
                <a:gd name="T77" fmla="*/ 59 h 201"/>
                <a:gd name="T78" fmla="*/ 135 w 221"/>
                <a:gd name="T79" fmla="*/ 44 h 201"/>
                <a:gd name="T80" fmla="*/ 141 w 221"/>
                <a:gd name="T81" fmla="*/ 31 h 201"/>
                <a:gd name="T82" fmla="*/ 136 w 221"/>
                <a:gd name="T83" fmla="*/ 16 h 201"/>
                <a:gd name="T84" fmla="*/ 169 w 221"/>
                <a:gd name="T85"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01">
                  <a:moveTo>
                    <a:pt x="181" y="0"/>
                  </a:moveTo>
                  <a:lnTo>
                    <a:pt x="191" y="1"/>
                  </a:lnTo>
                  <a:lnTo>
                    <a:pt x="191" y="3"/>
                  </a:lnTo>
                  <a:lnTo>
                    <a:pt x="193" y="6"/>
                  </a:lnTo>
                  <a:lnTo>
                    <a:pt x="197" y="6"/>
                  </a:lnTo>
                  <a:lnTo>
                    <a:pt x="198" y="10"/>
                  </a:lnTo>
                  <a:lnTo>
                    <a:pt x="200" y="10"/>
                  </a:lnTo>
                  <a:lnTo>
                    <a:pt x="198" y="16"/>
                  </a:lnTo>
                  <a:lnTo>
                    <a:pt x="201" y="19"/>
                  </a:lnTo>
                  <a:lnTo>
                    <a:pt x="206" y="19"/>
                  </a:lnTo>
                  <a:lnTo>
                    <a:pt x="209" y="22"/>
                  </a:lnTo>
                  <a:lnTo>
                    <a:pt x="219" y="26"/>
                  </a:lnTo>
                  <a:lnTo>
                    <a:pt x="221" y="26"/>
                  </a:lnTo>
                  <a:lnTo>
                    <a:pt x="212" y="32"/>
                  </a:lnTo>
                  <a:lnTo>
                    <a:pt x="210" y="38"/>
                  </a:lnTo>
                  <a:lnTo>
                    <a:pt x="204" y="38"/>
                  </a:lnTo>
                  <a:lnTo>
                    <a:pt x="193" y="41"/>
                  </a:lnTo>
                  <a:lnTo>
                    <a:pt x="176" y="37"/>
                  </a:lnTo>
                  <a:lnTo>
                    <a:pt x="172" y="38"/>
                  </a:lnTo>
                  <a:lnTo>
                    <a:pt x="170" y="43"/>
                  </a:lnTo>
                  <a:lnTo>
                    <a:pt x="172" y="44"/>
                  </a:lnTo>
                  <a:lnTo>
                    <a:pt x="173" y="44"/>
                  </a:lnTo>
                  <a:lnTo>
                    <a:pt x="172" y="47"/>
                  </a:lnTo>
                  <a:lnTo>
                    <a:pt x="176" y="49"/>
                  </a:lnTo>
                  <a:lnTo>
                    <a:pt x="176" y="50"/>
                  </a:lnTo>
                  <a:lnTo>
                    <a:pt x="173" y="53"/>
                  </a:lnTo>
                  <a:lnTo>
                    <a:pt x="176" y="56"/>
                  </a:lnTo>
                  <a:lnTo>
                    <a:pt x="176" y="57"/>
                  </a:lnTo>
                  <a:lnTo>
                    <a:pt x="172" y="62"/>
                  </a:lnTo>
                  <a:lnTo>
                    <a:pt x="176" y="66"/>
                  </a:lnTo>
                  <a:lnTo>
                    <a:pt x="182" y="68"/>
                  </a:lnTo>
                  <a:lnTo>
                    <a:pt x="182" y="72"/>
                  </a:lnTo>
                  <a:lnTo>
                    <a:pt x="190" y="72"/>
                  </a:lnTo>
                  <a:lnTo>
                    <a:pt x="190" y="74"/>
                  </a:lnTo>
                  <a:lnTo>
                    <a:pt x="191" y="77"/>
                  </a:lnTo>
                  <a:lnTo>
                    <a:pt x="191" y="78"/>
                  </a:lnTo>
                  <a:lnTo>
                    <a:pt x="182" y="83"/>
                  </a:lnTo>
                  <a:lnTo>
                    <a:pt x="181" y="86"/>
                  </a:lnTo>
                  <a:lnTo>
                    <a:pt x="182" y="89"/>
                  </a:lnTo>
                  <a:lnTo>
                    <a:pt x="182" y="90"/>
                  </a:lnTo>
                  <a:lnTo>
                    <a:pt x="181" y="93"/>
                  </a:lnTo>
                  <a:lnTo>
                    <a:pt x="184" y="95"/>
                  </a:lnTo>
                  <a:lnTo>
                    <a:pt x="185" y="95"/>
                  </a:lnTo>
                  <a:lnTo>
                    <a:pt x="185" y="96"/>
                  </a:lnTo>
                  <a:lnTo>
                    <a:pt x="184" y="96"/>
                  </a:lnTo>
                  <a:lnTo>
                    <a:pt x="176" y="99"/>
                  </a:lnTo>
                  <a:lnTo>
                    <a:pt x="172" y="106"/>
                  </a:lnTo>
                  <a:lnTo>
                    <a:pt x="170" y="111"/>
                  </a:lnTo>
                  <a:lnTo>
                    <a:pt x="164" y="114"/>
                  </a:lnTo>
                  <a:lnTo>
                    <a:pt x="158" y="126"/>
                  </a:lnTo>
                  <a:lnTo>
                    <a:pt x="151" y="132"/>
                  </a:lnTo>
                  <a:lnTo>
                    <a:pt x="145" y="142"/>
                  </a:lnTo>
                  <a:lnTo>
                    <a:pt x="132" y="145"/>
                  </a:lnTo>
                  <a:lnTo>
                    <a:pt x="126" y="141"/>
                  </a:lnTo>
                  <a:lnTo>
                    <a:pt x="115" y="155"/>
                  </a:lnTo>
                  <a:lnTo>
                    <a:pt x="114" y="160"/>
                  </a:lnTo>
                  <a:lnTo>
                    <a:pt x="123" y="163"/>
                  </a:lnTo>
                  <a:lnTo>
                    <a:pt x="124" y="163"/>
                  </a:lnTo>
                  <a:lnTo>
                    <a:pt x="123" y="172"/>
                  </a:lnTo>
                  <a:lnTo>
                    <a:pt x="129" y="175"/>
                  </a:lnTo>
                  <a:lnTo>
                    <a:pt x="136" y="192"/>
                  </a:lnTo>
                  <a:lnTo>
                    <a:pt x="135" y="194"/>
                  </a:lnTo>
                  <a:lnTo>
                    <a:pt x="130" y="195"/>
                  </a:lnTo>
                  <a:lnTo>
                    <a:pt x="129" y="195"/>
                  </a:lnTo>
                  <a:lnTo>
                    <a:pt x="126" y="192"/>
                  </a:lnTo>
                  <a:lnTo>
                    <a:pt x="121" y="197"/>
                  </a:lnTo>
                  <a:lnTo>
                    <a:pt x="120" y="197"/>
                  </a:lnTo>
                  <a:lnTo>
                    <a:pt x="105" y="194"/>
                  </a:lnTo>
                  <a:lnTo>
                    <a:pt x="105" y="200"/>
                  </a:lnTo>
                  <a:lnTo>
                    <a:pt x="98" y="200"/>
                  </a:lnTo>
                  <a:lnTo>
                    <a:pt x="95" y="201"/>
                  </a:lnTo>
                  <a:lnTo>
                    <a:pt x="93" y="201"/>
                  </a:lnTo>
                  <a:lnTo>
                    <a:pt x="87" y="200"/>
                  </a:lnTo>
                  <a:lnTo>
                    <a:pt x="81" y="188"/>
                  </a:lnTo>
                  <a:lnTo>
                    <a:pt x="78" y="186"/>
                  </a:lnTo>
                  <a:lnTo>
                    <a:pt x="74" y="179"/>
                  </a:lnTo>
                  <a:lnTo>
                    <a:pt x="55" y="181"/>
                  </a:lnTo>
                  <a:lnTo>
                    <a:pt x="52" y="179"/>
                  </a:lnTo>
                  <a:lnTo>
                    <a:pt x="50" y="182"/>
                  </a:lnTo>
                  <a:lnTo>
                    <a:pt x="49" y="182"/>
                  </a:lnTo>
                  <a:lnTo>
                    <a:pt x="43" y="179"/>
                  </a:lnTo>
                  <a:lnTo>
                    <a:pt x="18" y="182"/>
                  </a:lnTo>
                  <a:lnTo>
                    <a:pt x="13" y="183"/>
                  </a:lnTo>
                  <a:lnTo>
                    <a:pt x="12" y="183"/>
                  </a:lnTo>
                  <a:lnTo>
                    <a:pt x="10" y="182"/>
                  </a:lnTo>
                  <a:lnTo>
                    <a:pt x="13" y="167"/>
                  </a:lnTo>
                  <a:lnTo>
                    <a:pt x="19" y="163"/>
                  </a:lnTo>
                  <a:lnTo>
                    <a:pt x="28" y="158"/>
                  </a:lnTo>
                  <a:lnTo>
                    <a:pt x="31" y="154"/>
                  </a:lnTo>
                  <a:lnTo>
                    <a:pt x="26" y="151"/>
                  </a:lnTo>
                  <a:lnTo>
                    <a:pt x="25" y="151"/>
                  </a:lnTo>
                  <a:lnTo>
                    <a:pt x="25" y="139"/>
                  </a:lnTo>
                  <a:lnTo>
                    <a:pt x="10" y="130"/>
                  </a:lnTo>
                  <a:lnTo>
                    <a:pt x="0" y="114"/>
                  </a:lnTo>
                  <a:lnTo>
                    <a:pt x="0" y="112"/>
                  </a:lnTo>
                  <a:lnTo>
                    <a:pt x="1" y="112"/>
                  </a:lnTo>
                  <a:lnTo>
                    <a:pt x="21" y="120"/>
                  </a:lnTo>
                  <a:lnTo>
                    <a:pt x="34" y="117"/>
                  </a:lnTo>
                  <a:lnTo>
                    <a:pt x="43" y="118"/>
                  </a:lnTo>
                  <a:lnTo>
                    <a:pt x="46" y="115"/>
                  </a:lnTo>
                  <a:lnTo>
                    <a:pt x="50" y="115"/>
                  </a:lnTo>
                  <a:lnTo>
                    <a:pt x="53" y="117"/>
                  </a:lnTo>
                  <a:lnTo>
                    <a:pt x="56" y="117"/>
                  </a:lnTo>
                  <a:lnTo>
                    <a:pt x="71" y="112"/>
                  </a:lnTo>
                  <a:lnTo>
                    <a:pt x="72" y="111"/>
                  </a:lnTo>
                  <a:lnTo>
                    <a:pt x="72" y="96"/>
                  </a:lnTo>
                  <a:lnTo>
                    <a:pt x="78" y="92"/>
                  </a:lnTo>
                  <a:lnTo>
                    <a:pt x="90" y="90"/>
                  </a:lnTo>
                  <a:lnTo>
                    <a:pt x="89" y="89"/>
                  </a:lnTo>
                  <a:lnTo>
                    <a:pt x="95" y="83"/>
                  </a:lnTo>
                  <a:lnTo>
                    <a:pt x="102" y="83"/>
                  </a:lnTo>
                  <a:lnTo>
                    <a:pt x="105" y="86"/>
                  </a:lnTo>
                  <a:lnTo>
                    <a:pt x="111" y="81"/>
                  </a:lnTo>
                  <a:lnTo>
                    <a:pt x="109" y="75"/>
                  </a:lnTo>
                  <a:lnTo>
                    <a:pt x="112" y="63"/>
                  </a:lnTo>
                  <a:lnTo>
                    <a:pt x="114" y="63"/>
                  </a:lnTo>
                  <a:lnTo>
                    <a:pt x="124" y="59"/>
                  </a:lnTo>
                  <a:lnTo>
                    <a:pt x="118" y="49"/>
                  </a:lnTo>
                  <a:lnTo>
                    <a:pt x="133" y="49"/>
                  </a:lnTo>
                  <a:lnTo>
                    <a:pt x="135" y="44"/>
                  </a:lnTo>
                  <a:lnTo>
                    <a:pt x="133" y="43"/>
                  </a:lnTo>
                  <a:lnTo>
                    <a:pt x="133" y="41"/>
                  </a:lnTo>
                  <a:lnTo>
                    <a:pt x="141" y="31"/>
                  </a:lnTo>
                  <a:lnTo>
                    <a:pt x="142" y="26"/>
                  </a:lnTo>
                  <a:lnTo>
                    <a:pt x="136" y="17"/>
                  </a:lnTo>
                  <a:lnTo>
                    <a:pt x="136" y="16"/>
                  </a:lnTo>
                  <a:lnTo>
                    <a:pt x="138" y="14"/>
                  </a:lnTo>
                  <a:lnTo>
                    <a:pt x="154" y="3"/>
                  </a:lnTo>
                  <a:lnTo>
                    <a:pt x="169" y="3"/>
                  </a:lnTo>
                  <a:lnTo>
                    <a:pt x="18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3" name="Cambodia">
              <a:extLst>
                <a:ext uri="{FF2B5EF4-FFF2-40B4-BE49-F238E27FC236}">
                  <a16:creationId xmlns:a16="http://schemas.microsoft.com/office/drawing/2014/main" id="{3B64194D-AF15-8988-B227-4277EE766C8B}"/>
                </a:ext>
              </a:extLst>
            </p:cNvPr>
            <p:cNvSpPr>
              <a:spLocks/>
            </p:cNvSpPr>
            <p:nvPr/>
          </p:nvSpPr>
          <p:spPr bwMode="auto">
            <a:xfrm>
              <a:off x="8238270" y="4238644"/>
              <a:ext cx="126495" cy="104809"/>
            </a:xfrm>
            <a:custGeom>
              <a:avLst/>
              <a:gdLst>
                <a:gd name="T0" fmla="*/ 68 w 70"/>
                <a:gd name="T1" fmla="*/ 0 h 58"/>
                <a:gd name="T2" fmla="*/ 70 w 70"/>
                <a:gd name="T3" fmla="*/ 31 h 58"/>
                <a:gd name="T4" fmla="*/ 56 w 70"/>
                <a:gd name="T5" fmla="*/ 38 h 58"/>
                <a:gd name="T6" fmla="*/ 56 w 70"/>
                <a:gd name="T7" fmla="*/ 40 h 58"/>
                <a:gd name="T8" fmla="*/ 55 w 70"/>
                <a:gd name="T9" fmla="*/ 40 h 58"/>
                <a:gd name="T10" fmla="*/ 55 w 70"/>
                <a:gd name="T11" fmla="*/ 41 h 58"/>
                <a:gd name="T12" fmla="*/ 49 w 70"/>
                <a:gd name="T13" fmla="*/ 41 h 58"/>
                <a:gd name="T14" fmla="*/ 49 w 70"/>
                <a:gd name="T15" fmla="*/ 49 h 58"/>
                <a:gd name="T16" fmla="*/ 37 w 70"/>
                <a:gd name="T17" fmla="*/ 52 h 58"/>
                <a:gd name="T18" fmla="*/ 35 w 70"/>
                <a:gd name="T19" fmla="*/ 55 h 58"/>
                <a:gd name="T20" fmla="*/ 29 w 70"/>
                <a:gd name="T21" fmla="*/ 58 h 58"/>
                <a:gd name="T22" fmla="*/ 18 w 70"/>
                <a:gd name="T23" fmla="*/ 56 h 58"/>
                <a:gd name="T24" fmla="*/ 18 w 70"/>
                <a:gd name="T25" fmla="*/ 50 h 58"/>
                <a:gd name="T26" fmla="*/ 13 w 70"/>
                <a:gd name="T27" fmla="*/ 52 h 58"/>
                <a:gd name="T28" fmla="*/ 12 w 70"/>
                <a:gd name="T29" fmla="*/ 52 h 58"/>
                <a:gd name="T30" fmla="*/ 9 w 70"/>
                <a:gd name="T31" fmla="*/ 41 h 58"/>
                <a:gd name="T32" fmla="*/ 7 w 70"/>
                <a:gd name="T33" fmla="*/ 34 h 58"/>
                <a:gd name="T34" fmla="*/ 3 w 70"/>
                <a:gd name="T35" fmla="*/ 28 h 58"/>
                <a:gd name="T36" fmla="*/ 0 w 70"/>
                <a:gd name="T37" fmla="*/ 21 h 58"/>
                <a:gd name="T38" fmla="*/ 4 w 70"/>
                <a:gd name="T39" fmla="*/ 12 h 58"/>
                <a:gd name="T40" fmla="*/ 13 w 70"/>
                <a:gd name="T41" fmla="*/ 4 h 58"/>
                <a:gd name="T42" fmla="*/ 38 w 70"/>
                <a:gd name="T43" fmla="*/ 4 h 58"/>
                <a:gd name="T44" fmla="*/ 47 w 70"/>
                <a:gd name="T45" fmla="*/ 9 h 58"/>
                <a:gd name="T46" fmla="*/ 53 w 70"/>
                <a:gd name="T47" fmla="*/ 3 h 58"/>
                <a:gd name="T48" fmla="*/ 58 w 70"/>
                <a:gd name="T49" fmla="*/ 3 h 58"/>
                <a:gd name="T50" fmla="*/ 59 w 70"/>
                <a:gd name="T51" fmla="*/ 4 h 58"/>
                <a:gd name="T52" fmla="*/ 62 w 70"/>
                <a:gd name="T53" fmla="*/ 4 h 58"/>
                <a:gd name="T54" fmla="*/ 68 w 70"/>
                <a:gd name="T5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58">
                  <a:moveTo>
                    <a:pt x="68" y="0"/>
                  </a:moveTo>
                  <a:lnTo>
                    <a:pt x="70" y="31"/>
                  </a:lnTo>
                  <a:lnTo>
                    <a:pt x="56" y="38"/>
                  </a:lnTo>
                  <a:lnTo>
                    <a:pt x="56" y="40"/>
                  </a:lnTo>
                  <a:lnTo>
                    <a:pt x="55" y="40"/>
                  </a:lnTo>
                  <a:lnTo>
                    <a:pt x="55" y="41"/>
                  </a:lnTo>
                  <a:lnTo>
                    <a:pt x="49" y="41"/>
                  </a:lnTo>
                  <a:lnTo>
                    <a:pt x="49" y="49"/>
                  </a:lnTo>
                  <a:lnTo>
                    <a:pt x="37" y="52"/>
                  </a:lnTo>
                  <a:lnTo>
                    <a:pt x="35" y="55"/>
                  </a:lnTo>
                  <a:lnTo>
                    <a:pt x="29" y="58"/>
                  </a:lnTo>
                  <a:lnTo>
                    <a:pt x="18" y="56"/>
                  </a:lnTo>
                  <a:lnTo>
                    <a:pt x="18" y="50"/>
                  </a:lnTo>
                  <a:lnTo>
                    <a:pt x="13" y="52"/>
                  </a:lnTo>
                  <a:lnTo>
                    <a:pt x="12" y="52"/>
                  </a:lnTo>
                  <a:lnTo>
                    <a:pt x="9" y="41"/>
                  </a:lnTo>
                  <a:lnTo>
                    <a:pt x="7" y="34"/>
                  </a:lnTo>
                  <a:lnTo>
                    <a:pt x="3" y="28"/>
                  </a:lnTo>
                  <a:lnTo>
                    <a:pt x="0" y="21"/>
                  </a:lnTo>
                  <a:lnTo>
                    <a:pt x="4" y="12"/>
                  </a:lnTo>
                  <a:lnTo>
                    <a:pt x="13" y="4"/>
                  </a:lnTo>
                  <a:lnTo>
                    <a:pt x="38" y="4"/>
                  </a:lnTo>
                  <a:lnTo>
                    <a:pt x="47" y="9"/>
                  </a:lnTo>
                  <a:lnTo>
                    <a:pt x="53" y="3"/>
                  </a:lnTo>
                  <a:lnTo>
                    <a:pt x="58" y="3"/>
                  </a:lnTo>
                  <a:lnTo>
                    <a:pt x="59" y="4"/>
                  </a:lnTo>
                  <a:lnTo>
                    <a:pt x="62" y="4"/>
                  </a:lnTo>
                  <a:lnTo>
                    <a:pt x="6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4" name="Taiwan">
              <a:extLst>
                <a:ext uri="{FF2B5EF4-FFF2-40B4-BE49-F238E27FC236}">
                  <a16:creationId xmlns:a16="http://schemas.microsoft.com/office/drawing/2014/main" id="{2C4B1689-B4A6-6D5E-7244-A2AADF9D34BE}"/>
                </a:ext>
              </a:extLst>
            </p:cNvPr>
            <p:cNvSpPr>
              <a:spLocks/>
            </p:cNvSpPr>
            <p:nvPr/>
          </p:nvSpPr>
          <p:spPr bwMode="auto">
            <a:xfrm>
              <a:off x="8659317" y="3976620"/>
              <a:ext cx="41563" cy="84933"/>
            </a:xfrm>
            <a:custGeom>
              <a:avLst/>
              <a:gdLst>
                <a:gd name="T0" fmla="*/ 17 w 23"/>
                <a:gd name="T1" fmla="*/ 0 h 47"/>
                <a:gd name="T2" fmla="*/ 23 w 23"/>
                <a:gd name="T3" fmla="*/ 1 h 47"/>
                <a:gd name="T4" fmla="*/ 23 w 23"/>
                <a:gd name="T5" fmla="*/ 8 h 47"/>
                <a:gd name="T6" fmla="*/ 10 w 23"/>
                <a:gd name="T7" fmla="*/ 47 h 47"/>
                <a:gd name="T8" fmla="*/ 8 w 23"/>
                <a:gd name="T9" fmla="*/ 47 h 47"/>
                <a:gd name="T10" fmla="*/ 1 w 23"/>
                <a:gd name="T11" fmla="*/ 35 h 47"/>
                <a:gd name="T12" fmla="*/ 0 w 23"/>
                <a:gd name="T13" fmla="*/ 23 h 47"/>
                <a:gd name="T14" fmla="*/ 10 w 23"/>
                <a:gd name="T15" fmla="*/ 2 h 47"/>
                <a:gd name="T16" fmla="*/ 10 w 23"/>
                <a:gd name="T17" fmla="*/ 1 h 47"/>
                <a:gd name="T18" fmla="*/ 11 w 23"/>
                <a:gd name="T19" fmla="*/ 1 h 47"/>
                <a:gd name="T20" fmla="*/ 17 w 23"/>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47">
                  <a:moveTo>
                    <a:pt x="17" y="0"/>
                  </a:moveTo>
                  <a:lnTo>
                    <a:pt x="23" y="1"/>
                  </a:lnTo>
                  <a:lnTo>
                    <a:pt x="23" y="8"/>
                  </a:lnTo>
                  <a:lnTo>
                    <a:pt x="10" y="47"/>
                  </a:lnTo>
                  <a:lnTo>
                    <a:pt x="8" y="47"/>
                  </a:lnTo>
                  <a:lnTo>
                    <a:pt x="1" y="35"/>
                  </a:lnTo>
                  <a:lnTo>
                    <a:pt x="0" y="23"/>
                  </a:lnTo>
                  <a:lnTo>
                    <a:pt x="10" y="2"/>
                  </a:lnTo>
                  <a:lnTo>
                    <a:pt x="10" y="1"/>
                  </a:lnTo>
                  <a:lnTo>
                    <a:pt x="11" y="1"/>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5" name="Unknown">
              <a:extLst>
                <a:ext uri="{FF2B5EF4-FFF2-40B4-BE49-F238E27FC236}">
                  <a16:creationId xmlns:a16="http://schemas.microsoft.com/office/drawing/2014/main" id="{532A3A43-ECDC-407E-202F-84DE4AD62A36}"/>
                </a:ext>
              </a:extLst>
            </p:cNvPr>
            <p:cNvSpPr>
              <a:spLocks/>
            </p:cNvSpPr>
            <p:nvPr/>
          </p:nvSpPr>
          <p:spPr bwMode="auto">
            <a:xfrm>
              <a:off x="6882976" y="3862775"/>
              <a:ext cx="43369" cy="21685"/>
            </a:xfrm>
            <a:custGeom>
              <a:avLst/>
              <a:gdLst>
                <a:gd name="T0" fmla="*/ 10 w 24"/>
                <a:gd name="T1" fmla="*/ 0 h 12"/>
                <a:gd name="T2" fmla="*/ 24 w 24"/>
                <a:gd name="T3" fmla="*/ 5 h 12"/>
                <a:gd name="T4" fmla="*/ 24 w 24"/>
                <a:gd name="T5" fmla="*/ 6 h 12"/>
                <a:gd name="T6" fmla="*/ 10 w 24"/>
                <a:gd name="T7" fmla="*/ 12 h 12"/>
                <a:gd name="T8" fmla="*/ 0 w 24"/>
                <a:gd name="T9" fmla="*/ 5 h 12"/>
                <a:gd name="T10" fmla="*/ 0 w 24"/>
                <a:gd name="T11" fmla="*/ 3 h 12"/>
                <a:gd name="T12" fmla="*/ 10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0" y="0"/>
                  </a:moveTo>
                  <a:lnTo>
                    <a:pt x="24" y="5"/>
                  </a:lnTo>
                  <a:lnTo>
                    <a:pt x="24" y="6"/>
                  </a:lnTo>
                  <a:lnTo>
                    <a:pt x="10" y="12"/>
                  </a:lnTo>
                  <a:lnTo>
                    <a:pt x="0" y="5"/>
                  </a:lnTo>
                  <a:lnTo>
                    <a:pt x="0" y="3"/>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6" name="Kuwait">
              <a:extLst>
                <a:ext uri="{FF2B5EF4-FFF2-40B4-BE49-F238E27FC236}">
                  <a16:creationId xmlns:a16="http://schemas.microsoft.com/office/drawing/2014/main" id="{A3CDC9B0-BA2C-0636-B0EA-459CBF1F401C}"/>
                </a:ext>
              </a:extLst>
            </p:cNvPr>
            <p:cNvSpPr>
              <a:spLocks/>
            </p:cNvSpPr>
            <p:nvPr/>
          </p:nvSpPr>
          <p:spPr bwMode="auto">
            <a:xfrm>
              <a:off x="6922731" y="3846511"/>
              <a:ext cx="45177" cy="43369"/>
            </a:xfrm>
            <a:custGeom>
              <a:avLst/>
              <a:gdLst>
                <a:gd name="T0" fmla="*/ 10 w 25"/>
                <a:gd name="T1" fmla="*/ 0 h 24"/>
                <a:gd name="T2" fmla="*/ 21 w 25"/>
                <a:gd name="T3" fmla="*/ 0 h 24"/>
                <a:gd name="T4" fmla="*/ 21 w 25"/>
                <a:gd name="T5" fmla="*/ 2 h 24"/>
                <a:gd name="T6" fmla="*/ 24 w 25"/>
                <a:gd name="T7" fmla="*/ 6 h 24"/>
                <a:gd name="T8" fmla="*/ 24 w 25"/>
                <a:gd name="T9" fmla="*/ 8 h 24"/>
                <a:gd name="T10" fmla="*/ 18 w 25"/>
                <a:gd name="T11" fmla="*/ 12 h 24"/>
                <a:gd name="T12" fmla="*/ 21 w 25"/>
                <a:gd name="T13" fmla="*/ 12 h 24"/>
                <a:gd name="T14" fmla="*/ 25 w 25"/>
                <a:gd name="T15" fmla="*/ 23 h 24"/>
                <a:gd name="T16" fmla="*/ 25 w 25"/>
                <a:gd name="T17" fmla="*/ 24 h 24"/>
                <a:gd name="T18" fmla="*/ 15 w 25"/>
                <a:gd name="T19" fmla="*/ 24 h 24"/>
                <a:gd name="T20" fmla="*/ 12 w 25"/>
                <a:gd name="T21" fmla="*/ 18 h 24"/>
                <a:gd name="T22" fmla="*/ 2 w 25"/>
                <a:gd name="T23" fmla="*/ 15 h 24"/>
                <a:gd name="T24" fmla="*/ 0 w 25"/>
                <a:gd name="T25" fmla="*/ 14 h 24"/>
                <a:gd name="T26" fmla="*/ 2 w 25"/>
                <a:gd name="T27" fmla="*/ 14 h 24"/>
                <a:gd name="T28" fmla="*/ 10 w 25"/>
                <a:gd name="T2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4">
                  <a:moveTo>
                    <a:pt x="10" y="0"/>
                  </a:moveTo>
                  <a:lnTo>
                    <a:pt x="21" y="0"/>
                  </a:lnTo>
                  <a:lnTo>
                    <a:pt x="21" y="2"/>
                  </a:lnTo>
                  <a:lnTo>
                    <a:pt x="24" y="6"/>
                  </a:lnTo>
                  <a:lnTo>
                    <a:pt x="24" y="8"/>
                  </a:lnTo>
                  <a:lnTo>
                    <a:pt x="18" y="12"/>
                  </a:lnTo>
                  <a:lnTo>
                    <a:pt x="21" y="12"/>
                  </a:lnTo>
                  <a:lnTo>
                    <a:pt x="25" y="23"/>
                  </a:lnTo>
                  <a:lnTo>
                    <a:pt x="25" y="24"/>
                  </a:lnTo>
                  <a:lnTo>
                    <a:pt x="15" y="24"/>
                  </a:lnTo>
                  <a:lnTo>
                    <a:pt x="12" y="18"/>
                  </a:lnTo>
                  <a:lnTo>
                    <a:pt x="2" y="15"/>
                  </a:lnTo>
                  <a:lnTo>
                    <a:pt x="0" y="14"/>
                  </a:lnTo>
                  <a:lnTo>
                    <a:pt x="2" y="14"/>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7" name="Qatar">
              <a:extLst>
                <a:ext uri="{FF2B5EF4-FFF2-40B4-BE49-F238E27FC236}">
                  <a16:creationId xmlns:a16="http://schemas.microsoft.com/office/drawing/2014/main" id="{17F603FC-22A5-5CFC-2817-893FE4B3F2C7}"/>
                </a:ext>
              </a:extLst>
            </p:cNvPr>
            <p:cNvSpPr>
              <a:spLocks/>
            </p:cNvSpPr>
            <p:nvPr/>
          </p:nvSpPr>
          <p:spPr bwMode="auto">
            <a:xfrm>
              <a:off x="7022118" y="3951321"/>
              <a:ext cx="21685" cy="43369"/>
            </a:xfrm>
            <a:custGeom>
              <a:avLst/>
              <a:gdLst>
                <a:gd name="T0" fmla="*/ 6 w 12"/>
                <a:gd name="T1" fmla="*/ 0 h 24"/>
                <a:gd name="T2" fmla="*/ 12 w 12"/>
                <a:gd name="T3" fmla="*/ 3 h 24"/>
                <a:gd name="T4" fmla="*/ 12 w 12"/>
                <a:gd name="T5" fmla="*/ 5 h 24"/>
                <a:gd name="T6" fmla="*/ 10 w 12"/>
                <a:gd name="T7" fmla="*/ 22 h 24"/>
                <a:gd name="T8" fmla="*/ 4 w 12"/>
                <a:gd name="T9" fmla="*/ 24 h 24"/>
                <a:gd name="T10" fmla="*/ 0 w 12"/>
                <a:gd name="T11" fmla="*/ 21 h 24"/>
                <a:gd name="T12" fmla="*/ 0 w 12"/>
                <a:gd name="T13" fmla="*/ 9 h 24"/>
                <a:gd name="T14" fmla="*/ 6 w 12"/>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4">
                  <a:moveTo>
                    <a:pt x="6" y="0"/>
                  </a:moveTo>
                  <a:lnTo>
                    <a:pt x="12" y="3"/>
                  </a:lnTo>
                  <a:lnTo>
                    <a:pt x="12" y="5"/>
                  </a:lnTo>
                  <a:lnTo>
                    <a:pt x="10" y="22"/>
                  </a:lnTo>
                  <a:lnTo>
                    <a:pt x="4" y="24"/>
                  </a:lnTo>
                  <a:lnTo>
                    <a:pt x="0" y="21"/>
                  </a:lnTo>
                  <a:lnTo>
                    <a:pt x="0" y="9"/>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8" name="Asian Island">
              <a:extLst>
                <a:ext uri="{FF2B5EF4-FFF2-40B4-BE49-F238E27FC236}">
                  <a16:creationId xmlns:a16="http://schemas.microsoft.com/office/drawing/2014/main" id="{D5CF3047-73A6-3892-2214-E13D22C212B3}"/>
                </a:ext>
              </a:extLst>
            </p:cNvPr>
            <p:cNvSpPr>
              <a:spLocks/>
            </p:cNvSpPr>
            <p:nvPr/>
          </p:nvSpPr>
          <p:spPr bwMode="auto">
            <a:xfrm>
              <a:off x="9855591" y="4377787"/>
              <a:ext cx="10843" cy="12650"/>
            </a:xfrm>
            <a:custGeom>
              <a:avLst/>
              <a:gdLst>
                <a:gd name="T0" fmla="*/ 0 w 6"/>
                <a:gd name="T1" fmla="*/ 0 h 7"/>
                <a:gd name="T2" fmla="*/ 2 w 6"/>
                <a:gd name="T3" fmla="*/ 0 h 7"/>
                <a:gd name="T4" fmla="*/ 6 w 6"/>
                <a:gd name="T5" fmla="*/ 3 h 7"/>
                <a:gd name="T6" fmla="*/ 6 w 6"/>
                <a:gd name="T7" fmla="*/ 4 h 7"/>
                <a:gd name="T8" fmla="*/ 5 w 6"/>
                <a:gd name="T9" fmla="*/ 7 h 7"/>
                <a:gd name="T10" fmla="*/ 0 w 6"/>
                <a:gd name="T11" fmla="*/ 1 h 7"/>
                <a:gd name="T12" fmla="*/ 0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0" y="0"/>
                  </a:moveTo>
                  <a:lnTo>
                    <a:pt x="2" y="0"/>
                  </a:lnTo>
                  <a:lnTo>
                    <a:pt x="6" y="3"/>
                  </a:lnTo>
                  <a:lnTo>
                    <a:pt x="6" y="4"/>
                  </a:lnTo>
                  <a:lnTo>
                    <a:pt x="5" y="7"/>
                  </a:lnTo>
                  <a:lnTo>
                    <a:pt x="0" y="1"/>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9" name="Asian Island">
              <a:extLst>
                <a:ext uri="{FF2B5EF4-FFF2-40B4-BE49-F238E27FC236}">
                  <a16:creationId xmlns:a16="http://schemas.microsoft.com/office/drawing/2014/main" id="{10AE837A-9210-4810-F46F-B6D1A7A6DDBC}"/>
                </a:ext>
              </a:extLst>
            </p:cNvPr>
            <p:cNvSpPr>
              <a:spLocks/>
            </p:cNvSpPr>
            <p:nvPr/>
          </p:nvSpPr>
          <p:spPr bwMode="auto">
            <a:xfrm>
              <a:off x="9759816" y="4318154"/>
              <a:ext cx="10843" cy="9036"/>
            </a:xfrm>
            <a:custGeom>
              <a:avLst/>
              <a:gdLst>
                <a:gd name="T0" fmla="*/ 0 w 6"/>
                <a:gd name="T1" fmla="*/ 0 h 5"/>
                <a:gd name="T2" fmla="*/ 6 w 6"/>
                <a:gd name="T3" fmla="*/ 0 h 5"/>
                <a:gd name="T4" fmla="*/ 6 w 6"/>
                <a:gd name="T5" fmla="*/ 2 h 5"/>
                <a:gd name="T6" fmla="*/ 1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1" y="5"/>
                  </a:lnTo>
                  <a:lnTo>
                    <a:pt x="0" y="5"/>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0" name="Asian Island">
              <a:extLst>
                <a:ext uri="{FF2B5EF4-FFF2-40B4-BE49-F238E27FC236}">
                  <a16:creationId xmlns:a16="http://schemas.microsoft.com/office/drawing/2014/main" id="{AFBC743C-2839-3BBD-459A-4907619098EA}"/>
                </a:ext>
              </a:extLst>
            </p:cNvPr>
            <p:cNvSpPr>
              <a:spLocks/>
            </p:cNvSpPr>
            <p:nvPr/>
          </p:nvSpPr>
          <p:spPr bwMode="auto">
            <a:xfrm>
              <a:off x="9765238" y="4368752"/>
              <a:ext cx="18071" cy="16264"/>
            </a:xfrm>
            <a:custGeom>
              <a:avLst/>
              <a:gdLst>
                <a:gd name="T0" fmla="*/ 0 w 10"/>
                <a:gd name="T1" fmla="*/ 0 h 9"/>
                <a:gd name="T2" fmla="*/ 7 w 10"/>
                <a:gd name="T3" fmla="*/ 0 h 9"/>
                <a:gd name="T4" fmla="*/ 10 w 10"/>
                <a:gd name="T5" fmla="*/ 8 h 9"/>
                <a:gd name="T6" fmla="*/ 10 w 10"/>
                <a:gd name="T7" fmla="*/ 9 h 9"/>
                <a:gd name="T8" fmla="*/ 9 w 10"/>
                <a:gd name="T9" fmla="*/ 9 h 9"/>
                <a:gd name="T10" fmla="*/ 6 w 10"/>
                <a:gd name="T11" fmla="*/ 3 h 9"/>
                <a:gd name="T12" fmla="*/ 0 w 10"/>
                <a:gd name="T13" fmla="*/ 2 h 9"/>
                <a:gd name="T14" fmla="*/ 0 w 10"/>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0" y="0"/>
                  </a:moveTo>
                  <a:lnTo>
                    <a:pt x="7" y="0"/>
                  </a:lnTo>
                  <a:lnTo>
                    <a:pt x="10" y="8"/>
                  </a:lnTo>
                  <a:lnTo>
                    <a:pt x="10" y="9"/>
                  </a:lnTo>
                  <a:lnTo>
                    <a:pt x="9" y="9"/>
                  </a:lnTo>
                  <a:lnTo>
                    <a:pt x="6" y="3"/>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1" name="Asian Island">
              <a:extLst>
                <a:ext uri="{FF2B5EF4-FFF2-40B4-BE49-F238E27FC236}">
                  <a16:creationId xmlns:a16="http://schemas.microsoft.com/office/drawing/2014/main" id="{975CDED7-A00E-BC33-CEFA-7CEC05820ACA}"/>
                </a:ext>
              </a:extLst>
            </p:cNvPr>
            <p:cNvSpPr>
              <a:spLocks/>
            </p:cNvSpPr>
            <p:nvPr/>
          </p:nvSpPr>
          <p:spPr bwMode="auto">
            <a:xfrm>
              <a:off x="7455814" y="5893913"/>
              <a:ext cx="23493" cy="18071"/>
            </a:xfrm>
            <a:custGeom>
              <a:avLst/>
              <a:gdLst>
                <a:gd name="T0" fmla="*/ 4 w 13"/>
                <a:gd name="T1" fmla="*/ 0 h 10"/>
                <a:gd name="T2" fmla="*/ 7 w 13"/>
                <a:gd name="T3" fmla="*/ 3 h 10"/>
                <a:gd name="T4" fmla="*/ 6 w 13"/>
                <a:gd name="T5" fmla="*/ 7 h 10"/>
                <a:gd name="T6" fmla="*/ 13 w 13"/>
                <a:gd name="T7" fmla="*/ 7 h 10"/>
                <a:gd name="T8" fmla="*/ 10 w 13"/>
                <a:gd name="T9" fmla="*/ 10 h 10"/>
                <a:gd name="T10" fmla="*/ 3 w 13"/>
                <a:gd name="T11" fmla="*/ 10 h 10"/>
                <a:gd name="T12" fmla="*/ 0 w 13"/>
                <a:gd name="T13" fmla="*/ 5 h 10"/>
                <a:gd name="T14" fmla="*/ 4 w 13"/>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4" y="0"/>
                  </a:moveTo>
                  <a:lnTo>
                    <a:pt x="7" y="3"/>
                  </a:lnTo>
                  <a:lnTo>
                    <a:pt x="6" y="7"/>
                  </a:lnTo>
                  <a:lnTo>
                    <a:pt x="13" y="7"/>
                  </a:lnTo>
                  <a:lnTo>
                    <a:pt x="10" y="10"/>
                  </a:lnTo>
                  <a:lnTo>
                    <a:pt x="3" y="10"/>
                  </a:lnTo>
                  <a:lnTo>
                    <a:pt x="0" y="5"/>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2" name="Asian Island">
              <a:extLst>
                <a:ext uri="{FF2B5EF4-FFF2-40B4-BE49-F238E27FC236}">
                  <a16:creationId xmlns:a16="http://schemas.microsoft.com/office/drawing/2014/main" id="{89F1D8EF-4A67-41B7-131F-1EA3AA839D81}"/>
                </a:ext>
              </a:extLst>
            </p:cNvPr>
            <p:cNvSpPr>
              <a:spLocks/>
            </p:cNvSpPr>
            <p:nvPr/>
          </p:nvSpPr>
          <p:spPr bwMode="auto">
            <a:xfrm>
              <a:off x="7461235" y="5910176"/>
              <a:ext cx="39755" cy="23493"/>
            </a:xfrm>
            <a:custGeom>
              <a:avLst/>
              <a:gdLst>
                <a:gd name="T0" fmla="*/ 18 w 22"/>
                <a:gd name="T1" fmla="*/ 0 h 13"/>
                <a:gd name="T2" fmla="*/ 22 w 22"/>
                <a:gd name="T3" fmla="*/ 0 h 13"/>
                <a:gd name="T4" fmla="*/ 22 w 22"/>
                <a:gd name="T5" fmla="*/ 1 h 13"/>
                <a:gd name="T6" fmla="*/ 19 w 22"/>
                <a:gd name="T7" fmla="*/ 7 h 13"/>
                <a:gd name="T8" fmla="*/ 15 w 22"/>
                <a:gd name="T9" fmla="*/ 7 h 13"/>
                <a:gd name="T10" fmla="*/ 19 w 22"/>
                <a:gd name="T11" fmla="*/ 12 h 13"/>
                <a:gd name="T12" fmla="*/ 18 w 22"/>
                <a:gd name="T13" fmla="*/ 12 h 13"/>
                <a:gd name="T14" fmla="*/ 10 w 22"/>
                <a:gd name="T15" fmla="*/ 10 h 13"/>
                <a:gd name="T16" fmla="*/ 9 w 22"/>
                <a:gd name="T17" fmla="*/ 12 h 13"/>
                <a:gd name="T18" fmla="*/ 7 w 22"/>
                <a:gd name="T19" fmla="*/ 12 h 13"/>
                <a:gd name="T20" fmla="*/ 6 w 22"/>
                <a:gd name="T21" fmla="*/ 10 h 13"/>
                <a:gd name="T22" fmla="*/ 3 w 22"/>
                <a:gd name="T23" fmla="*/ 13 h 13"/>
                <a:gd name="T24" fmla="*/ 1 w 22"/>
                <a:gd name="T25" fmla="*/ 13 h 13"/>
                <a:gd name="T26" fmla="*/ 0 w 22"/>
                <a:gd name="T27" fmla="*/ 10 h 13"/>
                <a:gd name="T28" fmla="*/ 1 w 22"/>
                <a:gd name="T29" fmla="*/ 3 h 13"/>
                <a:gd name="T30" fmla="*/ 3 w 22"/>
                <a:gd name="T31" fmla="*/ 3 h 13"/>
                <a:gd name="T32" fmla="*/ 13 w 22"/>
                <a:gd name="T33" fmla="*/ 1 h 13"/>
                <a:gd name="T34" fmla="*/ 16 w 22"/>
                <a:gd name="T35" fmla="*/ 1 h 13"/>
                <a:gd name="T36" fmla="*/ 18 w 22"/>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3">
                  <a:moveTo>
                    <a:pt x="18" y="0"/>
                  </a:moveTo>
                  <a:lnTo>
                    <a:pt x="22" y="0"/>
                  </a:lnTo>
                  <a:lnTo>
                    <a:pt x="22" y="1"/>
                  </a:lnTo>
                  <a:lnTo>
                    <a:pt x="19" y="7"/>
                  </a:lnTo>
                  <a:lnTo>
                    <a:pt x="15" y="7"/>
                  </a:lnTo>
                  <a:lnTo>
                    <a:pt x="19" y="12"/>
                  </a:lnTo>
                  <a:lnTo>
                    <a:pt x="18" y="12"/>
                  </a:lnTo>
                  <a:lnTo>
                    <a:pt x="10" y="10"/>
                  </a:lnTo>
                  <a:lnTo>
                    <a:pt x="9" y="12"/>
                  </a:lnTo>
                  <a:lnTo>
                    <a:pt x="7" y="12"/>
                  </a:lnTo>
                  <a:lnTo>
                    <a:pt x="6" y="10"/>
                  </a:lnTo>
                  <a:lnTo>
                    <a:pt x="3" y="13"/>
                  </a:lnTo>
                  <a:lnTo>
                    <a:pt x="1" y="13"/>
                  </a:lnTo>
                  <a:lnTo>
                    <a:pt x="0" y="10"/>
                  </a:lnTo>
                  <a:lnTo>
                    <a:pt x="1" y="3"/>
                  </a:lnTo>
                  <a:lnTo>
                    <a:pt x="3" y="3"/>
                  </a:lnTo>
                  <a:lnTo>
                    <a:pt x="13" y="1"/>
                  </a:lnTo>
                  <a:lnTo>
                    <a:pt x="16" y="1"/>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3" name="Brunei">
              <a:extLst>
                <a:ext uri="{FF2B5EF4-FFF2-40B4-BE49-F238E27FC236}">
                  <a16:creationId xmlns:a16="http://schemas.microsoft.com/office/drawing/2014/main" id="{721D2EA1-2D07-4745-69E1-35F3EA20105E}"/>
                </a:ext>
              </a:extLst>
            </p:cNvPr>
            <p:cNvSpPr>
              <a:spLocks/>
            </p:cNvSpPr>
            <p:nvPr/>
          </p:nvSpPr>
          <p:spPr bwMode="auto">
            <a:xfrm>
              <a:off x="8516558" y="4468141"/>
              <a:ext cx="34334" cy="27107"/>
            </a:xfrm>
            <a:custGeom>
              <a:avLst/>
              <a:gdLst>
                <a:gd name="T0" fmla="*/ 12 w 19"/>
                <a:gd name="T1" fmla="*/ 0 h 15"/>
                <a:gd name="T2" fmla="*/ 13 w 19"/>
                <a:gd name="T3" fmla="*/ 0 h 15"/>
                <a:gd name="T4" fmla="*/ 16 w 19"/>
                <a:gd name="T5" fmla="*/ 3 h 15"/>
                <a:gd name="T6" fmla="*/ 19 w 19"/>
                <a:gd name="T7" fmla="*/ 9 h 15"/>
                <a:gd name="T8" fmla="*/ 19 w 19"/>
                <a:gd name="T9" fmla="*/ 11 h 15"/>
                <a:gd name="T10" fmla="*/ 18 w 19"/>
                <a:gd name="T11" fmla="*/ 11 h 15"/>
                <a:gd name="T12" fmla="*/ 13 w 19"/>
                <a:gd name="T13" fmla="*/ 6 h 15"/>
                <a:gd name="T14" fmla="*/ 9 w 19"/>
                <a:gd name="T15" fmla="*/ 15 h 15"/>
                <a:gd name="T16" fmla="*/ 7 w 19"/>
                <a:gd name="T17" fmla="*/ 15 h 15"/>
                <a:gd name="T18" fmla="*/ 0 w 19"/>
                <a:gd name="T19" fmla="*/ 8 h 15"/>
                <a:gd name="T20" fmla="*/ 0 w 19"/>
                <a:gd name="T21" fmla="*/ 6 h 15"/>
                <a:gd name="T22" fmla="*/ 12 w 19"/>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5">
                  <a:moveTo>
                    <a:pt x="12" y="0"/>
                  </a:moveTo>
                  <a:lnTo>
                    <a:pt x="13" y="0"/>
                  </a:lnTo>
                  <a:lnTo>
                    <a:pt x="16" y="3"/>
                  </a:lnTo>
                  <a:lnTo>
                    <a:pt x="19" y="9"/>
                  </a:lnTo>
                  <a:lnTo>
                    <a:pt x="19" y="11"/>
                  </a:lnTo>
                  <a:lnTo>
                    <a:pt x="18" y="11"/>
                  </a:lnTo>
                  <a:lnTo>
                    <a:pt x="13" y="6"/>
                  </a:lnTo>
                  <a:lnTo>
                    <a:pt x="9" y="15"/>
                  </a:lnTo>
                  <a:lnTo>
                    <a:pt x="7" y="15"/>
                  </a:lnTo>
                  <a:lnTo>
                    <a:pt x="0" y="8"/>
                  </a:lnTo>
                  <a:lnTo>
                    <a:pt x="0" y="6"/>
                  </a:lnTo>
                  <a:lnTo>
                    <a:pt x="1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4" name="Philippines">
              <a:extLst>
                <a:ext uri="{FF2B5EF4-FFF2-40B4-BE49-F238E27FC236}">
                  <a16:creationId xmlns:a16="http://schemas.microsoft.com/office/drawing/2014/main" id="{78FB1BDF-60C2-9F19-4994-079A97EF1BD5}"/>
                </a:ext>
              </a:extLst>
            </p:cNvPr>
            <p:cNvSpPr>
              <a:spLocks/>
            </p:cNvSpPr>
            <p:nvPr/>
          </p:nvSpPr>
          <p:spPr bwMode="auto">
            <a:xfrm>
              <a:off x="8590647" y="4144676"/>
              <a:ext cx="224076" cy="328885"/>
            </a:xfrm>
            <a:custGeom>
              <a:avLst/>
              <a:gdLst/>
              <a:ahLst/>
              <a:cxnLst/>
              <a:rect l="l" t="t" r="r" b="b"/>
              <a:pathLst>
                <a:path w="225862" h="331507">
                  <a:moveTo>
                    <a:pt x="65572" y="324221"/>
                  </a:moveTo>
                  <a:lnTo>
                    <a:pt x="74680" y="324221"/>
                  </a:lnTo>
                  <a:lnTo>
                    <a:pt x="74680" y="326043"/>
                  </a:lnTo>
                  <a:lnTo>
                    <a:pt x="65572" y="331507"/>
                  </a:lnTo>
                  <a:lnTo>
                    <a:pt x="63751" y="331507"/>
                  </a:lnTo>
                  <a:lnTo>
                    <a:pt x="63751" y="329686"/>
                  </a:lnTo>
                  <a:close/>
                  <a:moveTo>
                    <a:pt x="92894" y="302364"/>
                  </a:moveTo>
                  <a:lnTo>
                    <a:pt x="94715" y="302364"/>
                  </a:lnTo>
                  <a:lnTo>
                    <a:pt x="100180" y="307829"/>
                  </a:lnTo>
                  <a:lnTo>
                    <a:pt x="103823" y="307829"/>
                  </a:lnTo>
                  <a:lnTo>
                    <a:pt x="100180" y="309650"/>
                  </a:lnTo>
                  <a:lnTo>
                    <a:pt x="89251" y="309650"/>
                  </a:lnTo>
                  <a:lnTo>
                    <a:pt x="89251" y="307829"/>
                  </a:lnTo>
                  <a:close/>
                  <a:moveTo>
                    <a:pt x="109288" y="289614"/>
                  </a:moveTo>
                  <a:lnTo>
                    <a:pt x="125682" y="289614"/>
                  </a:lnTo>
                  <a:lnTo>
                    <a:pt x="125682" y="291436"/>
                  </a:lnTo>
                  <a:lnTo>
                    <a:pt x="114753" y="296900"/>
                  </a:lnTo>
                  <a:lnTo>
                    <a:pt x="109288" y="291436"/>
                  </a:lnTo>
                  <a:close/>
                  <a:moveTo>
                    <a:pt x="200361" y="200362"/>
                  </a:moveTo>
                  <a:lnTo>
                    <a:pt x="204004" y="200362"/>
                  </a:lnTo>
                  <a:lnTo>
                    <a:pt x="204004" y="216755"/>
                  </a:lnTo>
                  <a:lnTo>
                    <a:pt x="204005" y="216755"/>
                  </a:lnTo>
                  <a:lnTo>
                    <a:pt x="216755" y="229505"/>
                  </a:lnTo>
                  <a:lnTo>
                    <a:pt x="220398" y="240434"/>
                  </a:lnTo>
                  <a:lnTo>
                    <a:pt x="216755" y="242256"/>
                  </a:lnTo>
                  <a:lnTo>
                    <a:pt x="220398" y="245899"/>
                  </a:lnTo>
                  <a:lnTo>
                    <a:pt x="225862" y="269578"/>
                  </a:lnTo>
                  <a:lnTo>
                    <a:pt x="216755" y="296900"/>
                  </a:lnTo>
                  <a:lnTo>
                    <a:pt x="214933" y="296900"/>
                  </a:lnTo>
                  <a:lnTo>
                    <a:pt x="209469" y="275042"/>
                  </a:lnTo>
                  <a:lnTo>
                    <a:pt x="198540" y="285971"/>
                  </a:lnTo>
                  <a:lnTo>
                    <a:pt x="198540" y="291435"/>
                  </a:lnTo>
                  <a:lnTo>
                    <a:pt x="205826" y="302364"/>
                  </a:lnTo>
                  <a:lnTo>
                    <a:pt x="198540" y="315114"/>
                  </a:lnTo>
                  <a:lnTo>
                    <a:pt x="193076" y="304185"/>
                  </a:lnTo>
                  <a:lnTo>
                    <a:pt x="183968" y="309650"/>
                  </a:lnTo>
                  <a:lnTo>
                    <a:pt x="167575" y="300543"/>
                  </a:lnTo>
                  <a:lnTo>
                    <a:pt x="165754" y="300543"/>
                  </a:lnTo>
                  <a:lnTo>
                    <a:pt x="162111" y="284149"/>
                  </a:lnTo>
                  <a:lnTo>
                    <a:pt x="162111" y="280506"/>
                  </a:lnTo>
                  <a:lnTo>
                    <a:pt x="165754" y="273221"/>
                  </a:lnTo>
                  <a:lnTo>
                    <a:pt x="154825" y="262292"/>
                  </a:lnTo>
                  <a:lnTo>
                    <a:pt x="149360" y="273221"/>
                  </a:lnTo>
                  <a:lnTo>
                    <a:pt x="147539" y="273221"/>
                  </a:lnTo>
                  <a:lnTo>
                    <a:pt x="143896" y="267756"/>
                  </a:lnTo>
                  <a:lnTo>
                    <a:pt x="138431" y="275042"/>
                  </a:lnTo>
                  <a:lnTo>
                    <a:pt x="136610" y="275042"/>
                  </a:lnTo>
                  <a:lnTo>
                    <a:pt x="132967" y="267756"/>
                  </a:lnTo>
                  <a:lnTo>
                    <a:pt x="131145" y="267756"/>
                  </a:lnTo>
                  <a:lnTo>
                    <a:pt x="122038" y="284149"/>
                  </a:lnTo>
                  <a:lnTo>
                    <a:pt x="122038" y="285971"/>
                  </a:lnTo>
                  <a:lnTo>
                    <a:pt x="114752" y="285971"/>
                  </a:lnTo>
                  <a:lnTo>
                    <a:pt x="114752" y="284149"/>
                  </a:lnTo>
                  <a:lnTo>
                    <a:pt x="111109" y="278685"/>
                  </a:lnTo>
                  <a:lnTo>
                    <a:pt x="122038" y="256827"/>
                  </a:lnTo>
                  <a:lnTo>
                    <a:pt x="136610" y="251363"/>
                  </a:lnTo>
                  <a:lnTo>
                    <a:pt x="147539" y="240434"/>
                  </a:lnTo>
                  <a:lnTo>
                    <a:pt x="149360" y="240434"/>
                  </a:lnTo>
                  <a:lnTo>
                    <a:pt x="156646" y="242256"/>
                  </a:lnTo>
                  <a:lnTo>
                    <a:pt x="156646" y="256827"/>
                  </a:lnTo>
                  <a:lnTo>
                    <a:pt x="165754" y="253185"/>
                  </a:lnTo>
                  <a:lnTo>
                    <a:pt x="167575" y="245899"/>
                  </a:lnTo>
                  <a:lnTo>
                    <a:pt x="176682" y="245899"/>
                  </a:lnTo>
                  <a:lnTo>
                    <a:pt x="178504" y="234970"/>
                  </a:lnTo>
                  <a:lnTo>
                    <a:pt x="182147" y="234970"/>
                  </a:lnTo>
                  <a:lnTo>
                    <a:pt x="194897" y="231327"/>
                  </a:lnTo>
                  <a:lnTo>
                    <a:pt x="194897" y="216755"/>
                  </a:lnTo>
                  <a:lnTo>
                    <a:pt x="200361" y="216755"/>
                  </a:lnTo>
                  <a:lnTo>
                    <a:pt x="200361" y="213113"/>
                  </a:lnTo>
                  <a:lnTo>
                    <a:pt x="198539" y="207648"/>
                  </a:lnTo>
                  <a:lnTo>
                    <a:pt x="198539" y="205826"/>
                  </a:lnTo>
                  <a:close/>
                  <a:moveTo>
                    <a:pt x="142074" y="185790"/>
                  </a:moveTo>
                  <a:lnTo>
                    <a:pt x="143896" y="185790"/>
                  </a:lnTo>
                  <a:lnTo>
                    <a:pt x="153003" y="189433"/>
                  </a:lnTo>
                  <a:lnTo>
                    <a:pt x="153003" y="194897"/>
                  </a:lnTo>
                  <a:lnTo>
                    <a:pt x="143896" y="213112"/>
                  </a:lnTo>
                  <a:lnTo>
                    <a:pt x="143896" y="229506"/>
                  </a:lnTo>
                  <a:lnTo>
                    <a:pt x="142074" y="234970"/>
                  </a:lnTo>
                  <a:lnTo>
                    <a:pt x="125680" y="218577"/>
                  </a:lnTo>
                  <a:lnTo>
                    <a:pt x="125680" y="211290"/>
                  </a:lnTo>
                  <a:lnTo>
                    <a:pt x="127502" y="211290"/>
                  </a:lnTo>
                  <a:lnTo>
                    <a:pt x="131145" y="207648"/>
                  </a:lnTo>
                  <a:lnTo>
                    <a:pt x="136609" y="189433"/>
                  </a:lnTo>
                  <a:close/>
                  <a:moveTo>
                    <a:pt x="162110" y="180326"/>
                  </a:moveTo>
                  <a:lnTo>
                    <a:pt x="165753" y="180326"/>
                  </a:lnTo>
                  <a:lnTo>
                    <a:pt x="165753" y="200362"/>
                  </a:lnTo>
                  <a:lnTo>
                    <a:pt x="157272" y="212612"/>
                  </a:lnTo>
                  <a:lnTo>
                    <a:pt x="165754" y="205827"/>
                  </a:lnTo>
                  <a:lnTo>
                    <a:pt x="178504" y="205827"/>
                  </a:lnTo>
                  <a:lnTo>
                    <a:pt x="178504" y="207648"/>
                  </a:lnTo>
                  <a:lnTo>
                    <a:pt x="176683" y="218578"/>
                  </a:lnTo>
                  <a:lnTo>
                    <a:pt x="171218" y="218578"/>
                  </a:lnTo>
                  <a:lnTo>
                    <a:pt x="167575" y="222221"/>
                  </a:lnTo>
                  <a:lnTo>
                    <a:pt x="160289" y="222221"/>
                  </a:lnTo>
                  <a:lnTo>
                    <a:pt x="156748" y="213368"/>
                  </a:lnTo>
                  <a:lnTo>
                    <a:pt x="149360" y="224041"/>
                  </a:lnTo>
                  <a:lnTo>
                    <a:pt x="147538" y="224041"/>
                  </a:lnTo>
                  <a:lnTo>
                    <a:pt x="147538" y="213112"/>
                  </a:lnTo>
                  <a:close/>
                  <a:moveTo>
                    <a:pt x="52823" y="174861"/>
                  </a:moveTo>
                  <a:lnTo>
                    <a:pt x="54644" y="174861"/>
                  </a:lnTo>
                  <a:lnTo>
                    <a:pt x="54644" y="178504"/>
                  </a:lnTo>
                  <a:lnTo>
                    <a:pt x="60109" y="200361"/>
                  </a:lnTo>
                  <a:lnTo>
                    <a:pt x="60109" y="202183"/>
                  </a:lnTo>
                  <a:lnTo>
                    <a:pt x="58287" y="202183"/>
                  </a:lnTo>
                  <a:lnTo>
                    <a:pt x="41894" y="213112"/>
                  </a:lnTo>
                  <a:lnTo>
                    <a:pt x="41894" y="218577"/>
                  </a:lnTo>
                  <a:lnTo>
                    <a:pt x="20036" y="236791"/>
                  </a:lnTo>
                  <a:lnTo>
                    <a:pt x="3643" y="247720"/>
                  </a:lnTo>
                  <a:lnTo>
                    <a:pt x="0" y="247720"/>
                  </a:lnTo>
                  <a:lnTo>
                    <a:pt x="0" y="245899"/>
                  </a:lnTo>
                  <a:lnTo>
                    <a:pt x="5464" y="234970"/>
                  </a:lnTo>
                  <a:lnTo>
                    <a:pt x="47358" y="200361"/>
                  </a:lnTo>
                  <a:lnTo>
                    <a:pt x="52823" y="178504"/>
                  </a:lnTo>
                  <a:close/>
                  <a:moveTo>
                    <a:pt x="111109" y="163932"/>
                  </a:moveTo>
                  <a:lnTo>
                    <a:pt x="114752" y="163932"/>
                  </a:lnTo>
                  <a:lnTo>
                    <a:pt x="125681" y="169396"/>
                  </a:lnTo>
                  <a:lnTo>
                    <a:pt x="142075" y="173039"/>
                  </a:lnTo>
                  <a:lnTo>
                    <a:pt x="142075" y="183968"/>
                  </a:lnTo>
                  <a:lnTo>
                    <a:pt x="138432" y="183968"/>
                  </a:lnTo>
                  <a:lnTo>
                    <a:pt x="114752" y="202183"/>
                  </a:lnTo>
                  <a:lnTo>
                    <a:pt x="114752" y="200361"/>
                  </a:lnTo>
                  <a:close/>
                  <a:moveTo>
                    <a:pt x="171218" y="147540"/>
                  </a:moveTo>
                  <a:lnTo>
                    <a:pt x="193076" y="147540"/>
                  </a:lnTo>
                  <a:lnTo>
                    <a:pt x="193076" y="151183"/>
                  </a:lnTo>
                  <a:lnTo>
                    <a:pt x="198540" y="156647"/>
                  </a:lnTo>
                  <a:lnTo>
                    <a:pt x="198540" y="173040"/>
                  </a:lnTo>
                  <a:lnTo>
                    <a:pt x="205826" y="185791"/>
                  </a:lnTo>
                  <a:lnTo>
                    <a:pt x="204005" y="185791"/>
                  </a:lnTo>
                  <a:lnTo>
                    <a:pt x="193076" y="183969"/>
                  </a:lnTo>
                  <a:lnTo>
                    <a:pt x="189433" y="183969"/>
                  </a:lnTo>
                  <a:lnTo>
                    <a:pt x="187739" y="180921"/>
                  </a:lnTo>
                  <a:lnTo>
                    <a:pt x="193076" y="205826"/>
                  </a:lnTo>
                  <a:lnTo>
                    <a:pt x="193076" y="207648"/>
                  </a:lnTo>
                  <a:lnTo>
                    <a:pt x="187612" y="207648"/>
                  </a:lnTo>
                  <a:lnTo>
                    <a:pt x="187612" y="211291"/>
                  </a:lnTo>
                  <a:lnTo>
                    <a:pt x="183969" y="211291"/>
                  </a:lnTo>
                  <a:lnTo>
                    <a:pt x="178504" y="205826"/>
                  </a:lnTo>
                  <a:lnTo>
                    <a:pt x="176683" y="189433"/>
                  </a:lnTo>
                  <a:lnTo>
                    <a:pt x="173040" y="191255"/>
                  </a:lnTo>
                  <a:lnTo>
                    <a:pt x="173040" y="189433"/>
                  </a:lnTo>
                  <a:lnTo>
                    <a:pt x="171218" y="174861"/>
                  </a:lnTo>
                  <a:lnTo>
                    <a:pt x="171218" y="173040"/>
                  </a:lnTo>
                  <a:lnTo>
                    <a:pt x="187342" y="180206"/>
                  </a:lnTo>
                  <a:lnTo>
                    <a:pt x="171218" y="151183"/>
                  </a:lnTo>
                  <a:close/>
                  <a:moveTo>
                    <a:pt x="143896" y="145718"/>
                  </a:moveTo>
                  <a:lnTo>
                    <a:pt x="147539" y="145718"/>
                  </a:lnTo>
                  <a:lnTo>
                    <a:pt x="162111" y="162112"/>
                  </a:lnTo>
                  <a:lnTo>
                    <a:pt x="165754" y="167576"/>
                  </a:lnTo>
                  <a:lnTo>
                    <a:pt x="162111" y="167576"/>
                  </a:lnTo>
                  <a:lnTo>
                    <a:pt x="162111" y="169398"/>
                  </a:lnTo>
                  <a:lnTo>
                    <a:pt x="153003" y="158469"/>
                  </a:lnTo>
                  <a:lnTo>
                    <a:pt x="143896" y="162112"/>
                  </a:lnTo>
                  <a:lnTo>
                    <a:pt x="142074" y="162112"/>
                  </a:lnTo>
                  <a:lnTo>
                    <a:pt x="143896" y="147539"/>
                  </a:lnTo>
                  <a:close/>
                  <a:moveTo>
                    <a:pt x="116574" y="145718"/>
                  </a:moveTo>
                  <a:lnTo>
                    <a:pt x="120217" y="145718"/>
                  </a:lnTo>
                  <a:lnTo>
                    <a:pt x="120217" y="147539"/>
                  </a:lnTo>
                  <a:lnTo>
                    <a:pt x="116574" y="158469"/>
                  </a:lnTo>
                  <a:lnTo>
                    <a:pt x="114752" y="158469"/>
                  </a:lnTo>
                  <a:lnTo>
                    <a:pt x="114752" y="151182"/>
                  </a:lnTo>
                  <a:close/>
                  <a:moveTo>
                    <a:pt x="109288" y="123860"/>
                  </a:moveTo>
                  <a:lnTo>
                    <a:pt x="116574" y="123860"/>
                  </a:lnTo>
                  <a:lnTo>
                    <a:pt x="116574" y="127503"/>
                  </a:lnTo>
                  <a:lnTo>
                    <a:pt x="120217" y="127503"/>
                  </a:lnTo>
                  <a:lnTo>
                    <a:pt x="120217" y="132967"/>
                  </a:lnTo>
                  <a:lnTo>
                    <a:pt x="116574" y="134789"/>
                  </a:lnTo>
                  <a:lnTo>
                    <a:pt x="109288" y="127503"/>
                  </a:lnTo>
                  <a:close/>
                  <a:moveTo>
                    <a:pt x="87429" y="123860"/>
                  </a:moveTo>
                  <a:lnTo>
                    <a:pt x="92893" y="123860"/>
                  </a:lnTo>
                  <a:lnTo>
                    <a:pt x="92893" y="127503"/>
                  </a:lnTo>
                  <a:lnTo>
                    <a:pt x="103822" y="132967"/>
                  </a:lnTo>
                  <a:lnTo>
                    <a:pt x="103822" y="153003"/>
                  </a:lnTo>
                  <a:lnTo>
                    <a:pt x="98357" y="158468"/>
                  </a:lnTo>
                  <a:lnTo>
                    <a:pt x="94715" y="158468"/>
                  </a:lnTo>
                  <a:lnTo>
                    <a:pt x="94715" y="156646"/>
                  </a:lnTo>
                  <a:lnTo>
                    <a:pt x="81965" y="132967"/>
                  </a:lnTo>
                  <a:lnTo>
                    <a:pt x="76500" y="129324"/>
                  </a:lnTo>
                  <a:lnTo>
                    <a:pt x="74679" y="129324"/>
                  </a:lnTo>
                  <a:lnTo>
                    <a:pt x="74679" y="127503"/>
                  </a:lnTo>
                  <a:lnTo>
                    <a:pt x="81965" y="127503"/>
                  </a:lnTo>
                  <a:close/>
                  <a:moveTo>
                    <a:pt x="114753" y="85610"/>
                  </a:moveTo>
                  <a:lnTo>
                    <a:pt x="116574" y="85610"/>
                  </a:lnTo>
                  <a:lnTo>
                    <a:pt x="116574" y="96539"/>
                  </a:lnTo>
                  <a:lnTo>
                    <a:pt x="114753" y="96539"/>
                  </a:lnTo>
                  <a:lnTo>
                    <a:pt x="111109" y="89253"/>
                  </a:lnTo>
                  <a:close/>
                  <a:moveTo>
                    <a:pt x="83787" y="0"/>
                  </a:moveTo>
                  <a:lnTo>
                    <a:pt x="109287" y="5464"/>
                  </a:lnTo>
                  <a:lnTo>
                    <a:pt x="114752" y="5464"/>
                  </a:lnTo>
                  <a:lnTo>
                    <a:pt x="116574" y="0"/>
                  </a:lnTo>
                  <a:lnTo>
                    <a:pt x="122038" y="1821"/>
                  </a:lnTo>
                  <a:lnTo>
                    <a:pt x="120217" y="27322"/>
                  </a:lnTo>
                  <a:lnTo>
                    <a:pt x="127502" y="40072"/>
                  </a:lnTo>
                  <a:lnTo>
                    <a:pt x="127502" y="43715"/>
                  </a:lnTo>
                  <a:lnTo>
                    <a:pt x="120217" y="61930"/>
                  </a:lnTo>
                  <a:lnTo>
                    <a:pt x="109287" y="69216"/>
                  </a:lnTo>
                  <a:lnTo>
                    <a:pt x="103823" y="80144"/>
                  </a:lnTo>
                  <a:lnTo>
                    <a:pt x="109287" y="102002"/>
                  </a:lnTo>
                  <a:lnTo>
                    <a:pt x="114752" y="112931"/>
                  </a:lnTo>
                  <a:lnTo>
                    <a:pt x="120217" y="112931"/>
                  </a:lnTo>
                  <a:lnTo>
                    <a:pt x="120217" y="107466"/>
                  </a:lnTo>
                  <a:lnTo>
                    <a:pt x="131145" y="102002"/>
                  </a:lnTo>
                  <a:lnTo>
                    <a:pt x="132967" y="102002"/>
                  </a:lnTo>
                  <a:lnTo>
                    <a:pt x="132967" y="105645"/>
                  </a:lnTo>
                  <a:lnTo>
                    <a:pt x="142074" y="118395"/>
                  </a:lnTo>
                  <a:lnTo>
                    <a:pt x="143896" y="112931"/>
                  </a:lnTo>
                  <a:lnTo>
                    <a:pt x="147539" y="112931"/>
                  </a:lnTo>
                  <a:lnTo>
                    <a:pt x="160289" y="118395"/>
                  </a:lnTo>
                  <a:lnTo>
                    <a:pt x="160289" y="122038"/>
                  </a:lnTo>
                  <a:lnTo>
                    <a:pt x="154824" y="123860"/>
                  </a:lnTo>
                  <a:lnTo>
                    <a:pt x="160289" y="129324"/>
                  </a:lnTo>
                  <a:lnTo>
                    <a:pt x="160289" y="134789"/>
                  </a:lnTo>
                  <a:lnTo>
                    <a:pt x="165753" y="138431"/>
                  </a:lnTo>
                  <a:lnTo>
                    <a:pt x="165753" y="151182"/>
                  </a:lnTo>
                  <a:lnTo>
                    <a:pt x="162110" y="151182"/>
                  </a:lnTo>
                  <a:lnTo>
                    <a:pt x="156646" y="143896"/>
                  </a:lnTo>
                  <a:lnTo>
                    <a:pt x="160289" y="143896"/>
                  </a:lnTo>
                  <a:lnTo>
                    <a:pt x="147539" y="138431"/>
                  </a:lnTo>
                  <a:lnTo>
                    <a:pt x="131145" y="118395"/>
                  </a:lnTo>
                  <a:lnTo>
                    <a:pt x="127502" y="118395"/>
                  </a:lnTo>
                  <a:lnTo>
                    <a:pt x="132967" y="132967"/>
                  </a:lnTo>
                  <a:lnTo>
                    <a:pt x="132967" y="134789"/>
                  </a:lnTo>
                  <a:lnTo>
                    <a:pt x="131145" y="134789"/>
                  </a:lnTo>
                  <a:lnTo>
                    <a:pt x="114752" y="116574"/>
                  </a:lnTo>
                  <a:lnTo>
                    <a:pt x="105644" y="116574"/>
                  </a:lnTo>
                  <a:lnTo>
                    <a:pt x="100180" y="123860"/>
                  </a:lnTo>
                  <a:lnTo>
                    <a:pt x="94716" y="123860"/>
                  </a:lnTo>
                  <a:lnTo>
                    <a:pt x="89251" y="122038"/>
                  </a:lnTo>
                  <a:lnTo>
                    <a:pt x="83787" y="122038"/>
                  </a:lnTo>
                  <a:lnTo>
                    <a:pt x="83787" y="118395"/>
                  </a:lnTo>
                  <a:lnTo>
                    <a:pt x="81965" y="111109"/>
                  </a:lnTo>
                  <a:lnTo>
                    <a:pt x="87430" y="100181"/>
                  </a:lnTo>
                  <a:lnTo>
                    <a:pt x="83787" y="96538"/>
                  </a:lnTo>
                  <a:lnTo>
                    <a:pt x="81965" y="105645"/>
                  </a:lnTo>
                  <a:lnTo>
                    <a:pt x="78322" y="105645"/>
                  </a:lnTo>
                  <a:lnTo>
                    <a:pt x="69215" y="89252"/>
                  </a:lnTo>
                  <a:lnTo>
                    <a:pt x="60108" y="61930"/>
                  </a:lnTo>
                  <a:lnTo>
                    <a:pt x="60108" y="60108"/>
                  </a:lnTo>
                  <a:lnTo>
                    <a:pt x="74679" y="60108"/>
                  </a:lnTo>
                  <a:lnTo>
                    <a:pt x="81965"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5" name="Thailand">
              <a:extLst>
                <a:ext uri="{FF2B5EF4-FFF2-40B4-BE49-F238E27FC236}">
                  <a16:creationId xmlns:a16="http://schemas.microsoft.com/office/drawing/2014/main" id="{628668B5-C824-6E58-F2FB-CF8CF91AAEA3}"/>
                </a:ext>
              </a:extLst>
            </p:cNvPr>
            <p:cNvSpPr>
              <a:spLocks/>
            </p:cNvSpPr>
            <p:nvPr/>
          </p:nvSpPr>
          <p:spPr bwMode="auto">
            <a:xfrm>
              <a:off x="8131654" y="4090464"/>
              <a:ext cx="184321" cy="365026"/>
            </a:xfrm>
            <a:custGeom>
              <a:avLst/>
              <a:gdLst/>
              <a:ahLst/>
              <a:cxnLst/>
              <a:rect l="l" t="t" r="r" b="b"/>
              <a:pathLst>
                <a:path w="185790" h="367936">
                  <a:moveTo>
                    <a:pt x="18215" y="218576"/>
                  </a:moveTo>
                  <a:lnTo>
                    <a:pt x="20036" y="218576"/>
                  </a:lnTo>
                  <a:lnTo>
                    <a:pt x="20036" y="227684"/>
                  </a:lnTo>
                  <a:lnTo>
                    <a:pt x="12750" y="227684"/>
                  </a:lnTo>
                  <a:lnTo>
                    <a:pt x="12750" y="224041"/>
                  </a:lnTo>
                  <a:close/>
                  <a:moveTo>
                    <a:pt x="61930" y="0"/>
                  </a:moveTo>
                  <a:lnTo>
                    <a:pt x="61930" y="5465"/>
                  </a:lnTo>
                  <a:lnTo>
                    <a:pt x="67395" y="9107"/>
                  </a:lnTo>
                  <a:lnTo>
                    <a:pt x="69216" y="9107"/>
                  </a:lnTo>
                  <a:lnTo>
                    <a:pt x="69216" y="25501"/>
                  </a:lnTo>
                  <a:lnTo>
                    <a:pt x="81966" y="27322"/>
                  </a:lnTo>
                  <a:lnTo>
                    <a:pt x="81966" y="30965"/>
                  </a:lnTo>
                  <a:lnTo>
                    <a:pt x="78323" y="76502"/>
                  </a:lnTo>
                  <a:lnTo>
                    <a:pt x="98360" y="61930"/>
                  </a:lnTo>
                  <a:lnTo>
                    <a:pt x="118396" y="67394"/>
                  </a:lnTo>
                  <a:lnTo>
                    <a:pt x="123860" y="65573"/>
                  </a:lnTo>
                  <a:lnTo>
                    <a:pt x="129325" y="60108"/>
                  </a:lnTo>
                  <a:lnTo>
                    <a:pt x="136611" y="56466"/>
                  </a:lnTo>
                  <a:lnTo>
                    <a:pt x="145718" y="56466"/>
                  </a:lnTo>
                  <a:lnTo>
                    <a:pt x="160290" y="78323"/>
                  </a:lnTo>
                  <a:lnTo>
                    <a:pt x="169397" y="111110"/>
                  </a:lnTo>
                  <a:lnTo>
                    <a:pt x="185790" y="127503"/>
                  </a:lnTo>
                  <a:lnTo>
                    <a:pt x="185790" y="154825"/>
                  </a:lnTo>
                  <a:lnTo>
                    <a:pt x="180326" y="160289"/>
                  </a:lnTo>
                  <a:lnTo>
                    <a:pt x="134789" y="160289"/>
                  </a:lnTo>
                  <a:lnTo>
                    <a:pt x="114753" y="173039"/>
                  </a:lnTo>
                  <a:lnTo>
                    <a:pt x="109288" y="187611"/>
                  </a:lnTo>
                  <a:lnTo>
                    <a:pt x="114753" y="200361"/>
                  </a:lnTo>
                  <a:lnTo>
                    <a:pt x="123860" y="211290"/>
                  </a:lnTo>
                  <a:lnTo>
                    <a:pt x="125682" y="224040"/>
                  </a:lnTo>
                  <a:lnTo>
                    <a:pt x="123860" y="227683"/>
                  </a:lnTo>
                  <a:lnTo>
                    <a:pt x="123860" y="224040"/>
                  </a:lnTo>
                  <a:lnTo>
                    <a:pt x="118396" y="213112"/>
                  </a:lnTo>
                  <a:lnTo>
                    <a:pt x="98360" y="202183"/>
                  </a:lnTo>
                  <a:lnTo>
                    <a:pt x="78323" y="202183"/>
                  </a:lnTo>
                  <a:lnTo>
                    <a:pt x="74681" y="200361"/>
                  </a:lnTo>
                  <a:lnTo>
                    <a:pt x="74681" y="182147"/>
                  </a:lnTo>
                  <a:lnTo>
                    <a:pt x="61930" y="178504"/>
                  </a:lnTo>
                  <a:lnTo>
                    <a:pt x="56466" y="182147"/>
                  </a:lnTo>
                  <a:lnTo>
                    <a:pt x="52823" y="211290"/>
                  </a:lnTo>
                  <a:lnTo>
                    <a:pt x="36430" y="260470"/>
                  </a:lnTo>
                  <a:lnTo>
                    <a:pt x="40073" y="280506"/>
                  </a:lnTo>
                  <a:lnTo>
                    <a:pt x="52823" y="280506"/>
                  </a:lnTo>
                  <a:lnTo>
                    <a:pt x="69216" y="327864"/>
                  </a:lnTo>
                  <a:lnTo>
                    <a:pt x="78323" y="335150"/>
                  </a:lnTo>
                  <a:lnTo>
                    <a:pt x="92895" y="338793"/>
                  </a:lnTo>
                  <a:lnTo>
                    <a:pt x="109288" y="355186"/>
                  </a:lnTo>
                  <a:lnTo>
                    <a:pt x="109288" y="357007"/>
                  </a:lnTo>
                  <a:lnTo>
                    <a:pt x="103824" y="362472"/>
                  </a:lnTo>
                  <a:lnTo>
                    <a:pt x="92895" y="362472"/>
                  </a:lnTo>
                  <a:lnTo>
                    <a:pt x="85609" y="367936"/>
                  </a:lnTo>
                  <a:lnTo>
                    <a:pt x="81966" y="367936"/>
                  </a:lnTo>
                  <a:lnTo>
                    <a:pt x="78323" y="349722"/>
                  </a:lnTo>
                  <a:lnTo>
                    <a:pt x="61930" y="346079"/>
                  </a:lnTo>
                  <a:lnTo>
                    <a:pt x="61930" y="349722"/>
                  </a:lnTo>
                  <a:lnTo>
                    <a:pt x="23679" y="306006"/>
                  </a:lnTo>
                  <a:lnTo>
                    <a:pt x="14572" y="307828"/>
                  </a:lnTo>
                  <a:lnTo>
                    <a:pt x="14572" y="289613"/>
                  </a:lnTo>
                  <a:lnTo>
                    <a:pt x="23679" y="260470"/>
                  </a:lnTo>
                  <a:lnTo>
                    <a:pt x="25501" y="244077"/>
                  </a:lnTo>
                  <a:lnTo>
                    <a:pt x="45537" y="218576"/>
                  </a:lnTo>
                  <a:lnTo>
                    <a:pt x="30965" y="189433"/>
                  </a:lnTo>
                  <a:lnTo>
                    <a:pt x="30965" y="167575"/>
                  </a:lnTo>
                  <a:lnTo>
                    <a:pt x="14572" y="154825"/>
                  </a:lnTo>
                  <a:lnTo>
                    <a:pt x="12751" y="145717"/>
                  </a:lnTo>
                  <a:lnTo>
                    <a:pt x="23679" y="116574"/>
                  </a:lnTo>
                  <a:lnTo>
                    <a:pt x="18215" y="111110"/>
                  </a:lnTo>
                  <a:lnTo>
                    <a:pt x="18215" y="92895"/>
                  </a:lnTo>
                  <a:lnTo>
                    <a:pt x="7286" y="78323"/>
                  </a:lnTo>
                  <a:lnTo>
                    <a:pt x="0" y="60108"/>
                  </a:lnTo>
                  <a:lnTo>
                    <a:pt x="7286" y="30965"/>
                  </a:lnTo>
                  <a:lnTo>
                    <a:pt x="7286" y="27322"/>
                  </a:lnTo>
                  <a:lnTo>
                    <a:pt x="25501" y="25501"/>
                  </a:lnTo>
                  <a:lnTo>
                    <a:pt x="52823" y="9107"/>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6" name="Andaman &amp; Nicobar Islands">
              <a:extLst>
                <a:ext uri="{FF2B5EF4-FFF2-40B4-BE49-F238E27FC236}">
                  <a16:creationId xmlns:a16="http://schemas.microsoft.com/office/drawing/2014/main" id="{B25C705A-B27E-38CB-C901-14D0187C0CC4}"/>
                </a:ext>
              </a:extLst>
            </p:cNvPr>
            <p:cNvSpPr>
              <a:spLocks/>
            </p:cNvSpPr>
            <p:nvPr/>
          </p:nvSpPr>
          <p:spPr bwMode="auto">
            <a:xfrm>
              <a:off x="8006968" y="4265750"/>
              <a:ext cx="14457" cy="50598"/>
            </a:xfrm>
            <a:custGeom>
              <a:avLst/>
              <a:gdLst>
                <a:gd name="T0" fmla="*/ 6 w 8"/>
                <a:gd name="T1" fmla="*/ 0 h 28"/>
                <a:gd name="T2" fmla="*/ 8 w 8"/>
                <a:gd name="T3" fmla="*/ 0 h 28"/>
                <a:gd name="T4" fmla="*/ 8 w 8"/>
                <a:gd name="T5" fmla="*/ 1 h 28"/>
                <a:gd name="T6" fmla="*/ 3 w 8"/>
                <a:gd name="T7" fmla="*/ 28 h 28"/>
                <a:gd name="T8" fmla="*/ 0 w 8"/>
                <a:gd name="T9" fmla="*/ 23 h 28"/>
                <a:gd name="T10" fmla="*/ 6 w 8"/>
                <a:gd name="T11" fmla="*/ 1 h 28"/>
                <a:gd name="T12" fmla="*/ 6 w 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8" h="28">
                  <a:moveTo>
                    <a:pt x="6" y="0"/>
                  </a:moveTo>
                  <a:lnTo>
                    <a:pt x="8" y="0"/>
                  </a:lnTo>
                  <a:lnTo>
                    <a:pt x="8" y="1"/>
                  </a:lnTo>
                  <a:lnTo>
                    <a:pt x="3" y="28"/>
                  </a:lnTo>
                  <a:lnTo>
                    <a:pt x="0" y="23"/>
                  </a:lnTo>
                  <a:lnTo>
                    <a:pt x="6" y="1"/>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7" name="Indonesia">
              <a:extLst>
                <a:ext uri="{FF2B5EF4-FFF2-40B4-BE49-F238E27FC236}">
                  <a16:creationId xmlns:a16="http://schemas.microsoft.com/office/drawing/2014/main" id="{DF82299C-83F1-F653-B511-DE8A95C7D4EA}"/>
                </a:ext>
              </a:extLst>
            </p:cNvPr>
            <p:cNvSpPr>
              <a:spLocks/>
            </p:cNvSpPr>
            <p:nvPr/>
          </p:nvSpPr>
          <p:spPr bwMode="auto">
            <a:xfrm>
              <a:off x="8034073" y="4415735"/>
              <a:ext cx="1127607" cy="430083"/>
            </a:xfrm>
            <a:custGeom>
              <a:avLst/>
              <a:gdLst/>
              <a:ahLst/>
              <a:cxnLst/>
              <a:rect l="l" t="t" r="r" b="b"/>
              <a:pathLst>
                <a:path w="1136596" h="433511">
                  <a:moveTo>
                    <a:pt x="708552" y="420760"/>
                  </a:moveTo>
                  <a:lnTo>
                    <a:pt x="710373" y="420760"/>
                  </a:lnTo>
                  <a:lnTo>
                    <a:pt x="710373" y="422582"/>
                  </a:lnTo>
                  <a:lnTo>
                    <a:pt x="708552" y="431690"/>
                  </a:lnTo>
                  <a:lnTo>
                    <a:pt x="704909" y="431690"/>
                  </a:lnTo>
                  <a:lnTo>
                    <a:pt x="697622" y="433511"/>
                  </a:lnTo>
                  <a:lnTo>
                    <a:pt x="697622" y="431690"/>
                  </a:lnTo>
                  <a:close/>
                  <a:moveTo>
                    <a:pt x="621121" y="393437"/>
                  </a:moveTo>
                  <a:lnTo>
                    <a:pt x="630228" y="393437"/>
                  </a:lnTo>
                  <a:lnTo>
                    <a:pt x="642978" y="404366"/>
                  </a:lnTo>
                  <a:lnTo>
                    <a:pt x="650264" y="413474"/>
                  </a:lnTo>
                  <a:lnTo>
                    <a:pt x="650264" y="415296"/>
                  </a:lnTo>
                  <a:lnTo>
                    <a:pt x="637514" y="420760"/>
                  </a:lnTo>
                  <a:lnTo>
                    <a:pt x="621121" y="408010"/>
                  </a:lnTo>
                  <a:lnTo>
                    <a:pt x="608370" y="408010"/>
                  </a:lnTo>
                  <a:lnTo>
                    <a:pt x="604727" y="398902"/>
                  </a:lnTo>
                  <a:lnTo>
                    <a:pt x="604727" y="397080"/>
                  </a:lnTo>
                  <a:lnTo>
                    <a:pt x="613835" y="397080"/>
                  </a:lnTo>
                  <a:close/>
                  <a:moveTo>
                    <a:pt x="790516" y="371580"/>
                  </a:moveTo>
                  <a:lnTo>
                    <a:pt x="801445" y="371580"/>
                  </a:lnTo>
                  <a:lnTo>
                    <a:pt x="801445" y="375223"/>
                  </a:lnTo>
                  <a:lnTo>
                    <a:pt x="799624" y="380688"/>
                  </a:lnTo>
                  <a:lnTo>
                    <a:pt x="799624" y="382509"/>
                  </a:lnTo>
                  <a:lnTo>
                    <a:pt x="750444" y="398902"/>
                  </a:lnTo>
                  <a:lnTo>
                    <a:pt x="743159" y="413474"/>
                  </a:lnTo>
                  <a:lnTo>
                    <a:pt x="723123" y="420760"/>
                  </a:lnTo>
                  <a:lnTo>
                    <a:pt x="714015" y="420760"/>
                  </a:lnTo>
                  <a:lnTo>
                    <a:pt x="714015" y="417117"/>
                  </a:lnTo>
                  <a:lnTo>
                    <a:pt x="717658" y="402545"/>
                  </a:lnTo>
                  <a:lnTo>
                    <a:pt x="717658" y="398902"/>
                  </a:lnTo>
                  <a:lnTo>
                    <a:pt x="743159" y="387974"/>
                  </a:lnTo>
                  <a:lnTo>
                    <a:pt x="748623" y="377045"/>
                  </a:lnTo>
                  <a:lnTo>
                    <a:pt x="759552" y="377045"/>
                  </a:lnTo>
                  <a:close/>
                  <a:moveTo>
                    <a:pt x="734052" y="366116"/>
                  </a:moveTo>
                  <a:lnTo>
                    <a:pt x="739517" y="366116"/>
                  </a:lnTo>
                  <a:lnTo>
                    <a:pt x="744982" y="369759"/>
                  </a:lnTo>
                  <a:lnTo>
                    <a:pt x="750446" y="369759"/>
                  </a:lnTo>
                  <a:lnTo>
                    <a:pt x="750446" y="371581"/>
                  </a:lnTo>
                  <a:lnTo>
                    <a:pt x="739517" y="375224"/>
                  </a:lnTo>
                  <a:lnTo>
                    <a:pt x="737695" y="375224"/>
                  </a:lnTo>
                  <a:lnTo>
                    <a:pt x="734052" y="369759"/>
                  </a:lnTo>
                  <a:close/>
                  <a:moveTo>
                    <a:pt x="728588" y="366116"/>
                  </a:moveTo>
                  <a:lnTo>
                    <a:pt x="732231" y="366116"/>
                  </a:lnTo>
                  <a:lnTo>
                    <a:pt x="732231" y="369759"/>
                  </a:lnTo>
                  <a:lnTo>
                    <a:pt x="728588" y="377045"/>
                  </a:lnTo>
                  <a:lnTo>
                    <a:pt x="728588" y="380688"/>
                  </a:lnTo>
                  <a:lnTo>
                    <a:pt x="726766" y="380688"/>
                  </a:lnTo>
                  <a:lnTo>
                    <a:pt x="723123" y="375224"/>
                  </a:lnTo>
                  <a:close/>
                  <a:moveTo>
                    <a:pt x="710373" y="366116"/>
                  </a:moveTo>
                  <a:lnTo>
                    <a:pt x="714016" y="369759"/>
                  </a:lnTo>
                  <a:lnTo>
                    <a:pt x="715838" y="366116"/>
                  </a:lnTo>
                  <a:lnTo>
                    <a:pt x="717659" y="366116"/>
                  </a:lnTo>
                  <a:lnTo>
                    <a:pt x="717659" y="369759"/>
                  </a:lnTo>
                  <a:lnTo>
                    <a:pt x="715838" y="377045"/>
                  </a:lnTo>
                  <a:lnTo>
                    <a:pt x="708551" y="377045"/>
                  </a:lnTo>
                  <a:lnTo>
                    <a:pt x="710373" y="369759"/>
                  </a:lnTo>
                  <a:close/>
                  <a:moveTo>
                    <a:pt x="697624" y="364294"/>
                  </a:moveTo>
                  <a:lnTo>
                    <a:pt x="699445" y="364294"/>
                  </a:lnTo>
                  <a:lnTo>
                    <a:pt x="703088" y="371580"/>
                  </a:lnTo>
                  <a:lnTo>
                    <a:pt x="699445" y="371580"/>
                  </a:lnTo>
                  <a:lnTo>
                    <a:pt x="692159" y="382510"/>
                  </a:lnTo>
                  <a:lnTo>
                    <a:pt x="683052" y="382510"/>
                  </a:lnTo>
                  <a:lnTo>
                    <a:pt x="677587" y="386153"/>
                  </a:lnTo>
                  <a:lnTo>
                    <a:pt x="670301" y="386153"/>
                  </a:lnTo>
                  <a:lnTo>
                    <a:pt x="664837" y="387974"/>
                  </a:lnTo>
                  <a:lnTo>
                    <a:pt x="655730" y="387974"/>
                  </a:lnTo>
                  <a:lnTo>
                    <a:pt x="626586" y="386153"/>
                  </a:lnTo>
                  <a:lnTo>
                    <a:pt x="626586" y="382510"/>
                  </a:lnTo>
                  <a:lnTo>
                    <a:pt x="624764" y="382510"/>
                  </a:lnTo>
                  <a:lnTo>
                    <a:pt x="626586" y="375223"/>
                  </a:lnTo>
                  <a:lnTo>
                    <a:pt x="626586" y="371580"/>
                  </a:lnTo>
                  <a:lnTo>
                    <a:pt x="642979" y="366116"/>
                  </a:lnTo>
                  <a:lnTo>
                    <a:pt x="644801" y="366116"/>
                  </a:lnTo>
                  <a:lnTo>
                    <a:pt x="664837" y="377045"/>
                  </a:lnTo>
                  <a:lnTo>
                    <a:pt x="677587" y="371580"/>
                  </a:lnTo>
                  <a:lnTo>
                    <a:pt x="686695" y="377045"/>
                  </a:lnTo>
                  <a:lnTo>
                    <a:pt x="697624" y="369759"/>
                  </a:lnTo>
                  <a:close/>
                  <a:moveTo>
                    <a:pt x="581049" y="364294"/>
                  </a:moveTo>
                  <a:lnTo>
                    <a:pt x="582870" y="364294"/>
                  </a:lnTo>
                  <a:lnTo>
                    <a:pt x="588335" y="371580"/>
                  </a:lnTo>
                  <a:lnTo>
                    <a:pt x="591978" y="371580"/>
                  </a:lnTo>
                  <a:lnTo>
                    <a:pt x="593799" y="369759"/>
                  </a:lnTo>
                  <a:lnTo>
                    <a:pt x="597442" y="369759"/>
                  </a:lnTo>
                  <a:lnTo>
                    <a:pt x="597442" y="375223"/>
                  </a:lnTo>
                  <a:lnTo>
                    <a:pt x="602906" y="369759"/>
                  </a:lnTo>
                  <a:lnTo>
                    <a:pt x="604728" y="369759"/>
                  </a:lnTo>
                  <a:lnTo>
                    <a:pt x="610192" y="380688"/>
                  </a:lnTo>
                  <a:lnTo>
                    <a:pt x="610192" y="382510"/>
                  </a:lnTo>
                  <a:lnTo>
                    <a:pt x="597442" y="386153"/>
                  </a:lnTo>
                  <a:lnTo>
                    <a:pt x="593799" y="382510"/>
                  </a:lnTo>
                  <a:lnTo>
                    <a:pt x="559191" y="391617"/>
                  </a:lnTo>
                  <a:lnTo>
                    <a:pt x="557370" y="391617"/>
                  </a:lnTo>
                  <a:lnTo>
                    <a:pt x="552451" y="381780"/>
                  </a:lnTo>
                  <a:lnTo>
                    <a:pt x="551905" y="386153"/>
                  </a:lnTo>
                  <a:lnTo>
                    <a:pt x="531868" y="386153"/>
                  </a:lnTo>
                  <a:lnTo>
                    <a:pt x="535511" y="375224"/>
                  </a:lnTo>
                  <a:lnTo>
                    <a:pt x="540976" y="366116"/>
                  </a:lnTo>
                  <a:lnTo>
                    <a:pt x="542797" y="366116"/>
                  </a:lnTo>
                  <a:lnTo>
                    <a:pt x="551905" y="371581"/>
                  </a:lnTo>
                  <a:lnTo>
                    <a:pt x="553726" y="371581"/>
                  </a:lnTo>
                  <a:lnTo>
                    <a:pt x="553161" y="376103"/>
                  </a:lnTo>
                  <a:lnTo>
                    <a:pt x="559191" y="371580"/>
                  </a:lnTo>
                  <a:lnTo>
                    <a:pt x="571941" y="371580"/>
                  </a:lnTo>
                  <a:lnTo>
                    <a:pt x="581049" y="380688"/>
                  </a:lnTo>
                  <a:lnTo>
                    <a:pt x="582870" y="377045"/>
                  </a:lnTo>
                  <a:lnTo>
                    <a:pt x="577406" y="371580"/>
                  </a:lnTo>
                  <a:lnTo>
                    <a:pt x="581049" y="366116"/>
                  </a:lnTo>
                  <a:close/>
                  <a:moveTo>
                    <a:pt x="786875" y="349722"/>
                  </a:moveTo>
                  <a:lnTo>
                    <a:pt x="788697" y="349722"/>
                  </a:lnTo>
                  <a:lnTo>
                    <a:pt x="794161" y="355187"/>
                  </a:lnTo>
                  <a:lnTo>
                    <a:pt x="794161" y="358830"/>
                  </a:lnTo>
                  <a:lnTo>
                    <a:pt x="783232" y="364295"/>
                  </a:lnTo>
                  <a:lnTo>
                    <a:pt x="777767" y="364295"/>
                  </a:lnTo>
                  <a:lnTo>
                    <a:pt x="775946" y="366116"/>
                  </a:lnTo>
                  <a:lnTo>
                    <a:pt x="770481" y="366116"/>
                  </a:lnTo>
                  <a:lnTo>
                    <a:pt x="770481" y="355187"/>
                  </a:lnTo>
                  <a:close/>
                  <a:moveTo>
                    <a:pt x="901628" y="342436"/>
                  </a:moveTo>
                  <a:lnTo>
                    <a:pt x="907092" y="342436"/>
                  </a:lnTo>
                  <a:lnTo>
                    <a:pt x="907092" y="353365"/>
                  </a:lnTo>
                  <a:lnTo>
                    <a:pt x="899806" y="366116"/>
                  </a:lnTo>
                  <a:lnTo>
                    <a:pt x="896163" y="366116"/>
                  </a:lnTo>
                  <a:lnTo>
                    <a:pt x="894341" y="358830"/>
                  </a:lnTo>
                  <a:close/>
                  <a:moveTo>
                    <a:pt x="457189" y="336972"/>
                  </a:moveTo>
                  <a:lnTo>
                    <a:pt x="486334" y="336972"/>
                  </a:lnTo>
                  <a:lnTo>
                    <a:pt x="488155" y="342437"/>
                  </a:lnTo>
                  <a:lnTo>
                    <a:pt x="484512" y="342437"/>
                  </a:lnTo>
                  <a:lnTo>
                    <a:pt x="480869" y="344258"/>
                  </a:lnTo>
                  <a:lnTo>
                    <a:pt x="459011" y="344258"/>
                  </a:lnTo>
                  <a:lnTo>
                    <a:pt x="457189" y="338794"/>
                  </a:lnTo>
                  <a:close/>
                  <a:moveTo>
                    <a:pt x="515476" y="335150"/>
                  </a:moveTo>
                  <a:lnTo>
                    <a:pt x="520941" y="336972"/>
                  </a:lnTo>
                  <a:lnTo>
                    <a:pt x="524584" y="336972"/>
                  </a:lnTo>
                  <a:lnTo>
                    <a:pt x="520941" y="342436"/>
                  </a:lnTo>
                  <a:lnTo>
                    <a:pt x="519119" y="342436"/>
                  </a:lnTo>
                  <a:lnTo>
                    <a:pt x="515476" y="336972"/>
                  </a:lnTo>
                  <a:close/>
                  <a:moveTo>
                    <a:pt x="302364" y="313293"/>
                  </a:moveTo>
                  <a:lnTo>
                    <a:pt x="318758" y="315115"/>
                  </a:lnTo>
                  <a:lnTo>
                    <a:pt x="329686" y="313293"/>
                  </a:lnTo>
                  <a:lnTo>
                    <a:pt x="333329" y="318758"/>
                  </a:lnTo>
                  <a:lnTo>
                    <a:pt x="351544" y="320579"/>
                  </a:lnTo>
                  <a:lnTo>
                    <a:pt x="367937" y="335151"/>
                  </a:lnTo>
                  <a:lnTo>
                    <a:pt x="400724" y="336972"/>
                  </a:lnTo>
                  <a:lnTo>
                    <a:pt x="413474" y="324222"/>
                  </a:lnTo>
                  <a:lnTo>
                    <a:pt x="415296" y="324222"/>
                  </a:lnTo>
                  <a:lnTo>
                    <a:pt x="420760" y="331508"/>
                  </a:lnTo>
                  <a:lnTo>
                    <a:pt x="426224" y="329687"/>
                  </a:lnTo>
                  <a:lnTo>
                    <a:pt x="451725" y="336972"/>
                  </a:lnTo>
                  <a:lnTo>
                    <a:pt x="464475" y="353366"/>
                  </a:lnTo>
                  <a:lnTo>
                    <a:pt x="497262" y="358830"/>
                  </a:lnTo>
                  <a:lnTo>
                    <a:pt x="499083" y="358830"/>
                  </a:lnTo>
                  <a:lnTo>
                    <a:pt x="498400" y="364977"/>
                  </a:lnTo>
                  <a:lnTo>
                    <a:pt x="499083" y="364294"/>
                  </a:lnTo>
                  <a:lnTo>
                    <a:pt x="520940" y="364294"/>
                  </a:lnTo>
                  <a:lnTo>
                    <a:pt x="526404" y="369759"/>
                  </a:lnTo>
                  <a:lnTo>
                    <a:pt x="526404" y="371580"/>
                  </a:lnTo>
                  <a:lnTo>
                    <a:pt x="519118" y="386152"/>
                  </a:lnTo>
                  <a:lnTo>
                    <a:pt x="515476" y="386152"/>
                  </a:lnTo>
                  <a:lnTo>
                    <a:pt x="508190" y="375223"/>
                  </a:lnTo>
                  <a:lnTo>
                    <a:pt x="499083" y="371580"/>
                  </a:lnTo>
                  <a:lnTo>
                    <a:pt x="497667" y="371580"/>
                  </a:lnTo>
                  <a:lnTo>
                    <a:pt x="497262" y="375223"/>
                  </a:lnTo>
                  <a:lnTo>
                    <a:pt x="499083" y="382509"/>
                  </a:lnTo>
                  <a:lnTo>
                    <a:pt x="499083" y="386152"/>
                  </a:lnTo>
                  <a:lnTo>
                    <a:pt x="468118" y="371580"/>
                  </a:lnTo>
                  <a:lnTo>
                    <a:pt x="457189" y="375223"/>
                  </a:lnTo>
                  <a:lnTo>
                    <a:pt x="442618" y="371580"/>
                  </a:lnTo>
                  <a:lnTo>
                    <a:pt x="431689" y="375223"/>
                  </a:lnTo>
                  <a:lnTo>
                    <a:pt x="409831" y="369759"/>
                  </a:lnTo>
                  <a:lnTo>
                    <a:pt x="384331" y="358830"/>
                  </a:lnTo>
                  <a:lnTo>
                    <a:pt x="362473" y="355187"/>
                  </a:lnTo>
                  <a:lnTo>
                    <a:pt x="357009" y="360652"/>
                  </a:lnTo>
                  <a:lnTo>
                    <a:pt x="318758" y="349723"/>
                  </a:lnTo>
                  <a:lnTo>
                    <a:pt x="306007" y="344258"/>
                  </a:lnTo>
                  <a:lnTo>
                    <a:pt x="306007" y="342437"/>
                  </a:lnTo>
                  <a:lnTo>
                    <a:pt x="307829" y="342437"/>
                  </a:lnTo>
                  <a:lnTo>
                    <a:pt x="280507" y="336972"/>
                  </a:lnTo>
                  <a:lnTo>
                    <a:pt x="280507" y="335151"/>
                  </a:lnTo>
                  <a:lnTo>
                    <a:pt x="278685" y="331508"/>
                  </a:lnTo>
                  <a:lnTo>
                    <a:pt x="278685" y="329687"/>
                  </a:lnTo>
                  <a:lnTo>
                    <a:pt x="289614" y="329687"/>
                  </a:lnTo>
                  <a:lnTo>
                    <a:pt x="296900" y="315115"/>
                  </a:lnTo>
                  <a:close/>
                  <a:moveTo>
                    <a:pt x="972664" y="302364"/>
                  </a:moveTo>
                  <a:lnTo>
                    <a:pt x="974485" y="302364"/>
                  </a:lnTo>
                  <a:lnTo>
                    <a:pt x="978128" y="304186"/>
                  </a:lnTo>
                  <a:lnTo>
                    <a:pt x="978128" y="326044"/>
                  </a:lnTo>
                  <a:lnTo>
                    <a:pt x="975326" y="325484"/>
                  </a:lnTo>
                  <a:lnTo>
                    <a:pt x="978128" y="329688"/>
                  </a:lnTo>
                  <a:lnTo>
                    <a:pt x="978128" y="331509"/>
                  </a:lnTo>
                  <a:lnTo>
                    <a:pt x="974485" y="331509"/>
                  </a:lnTo>
                  <a:lnTo>
                    <a:pt x="969022" y="338794"/>
                  </a:lnTo>
                  <a:lnTo>
                    <a:pt x="967200" y="338794"/>
                  </a:lnTo>
                  <a:lnTo>
                    <a:pt x="963557" y="331508"/>
                  </a:lnTo>
                  <a:lnTo>
                    <a:pt x="963557" y="329687"/>
                  </a:lnTo>
                  <a:lnTo>
                    <a:pt x="967200" y="331508"/>
                  </a:lnTo>
                  <a:lnTo>
                    <a:pt x="963557" y="324222"/>
                  </a:lnTo>
                  <a:lnTo>
                    <a:pt x="963557" y="320579"/>
                  </a:lnTo>
                  <a:lnTo>
                    <a:pt x="967199" y="320579"/>
                  </a:lnTo>
                  <a:lnTo>
                    <a:pt x="967199" y="315115"/>
                  </a:lnTo>
                  <a:lnTo>
                    <a:pt x="969021" y="317392"/>
                  </a:lnTo>
                  <a:lnTo>
                    <a:pt x="969021" y="313293"/>
                  </a:lnTo>
                  <a:lnTo>
                    <a:pt x="967199" y="313293"/>
                  </a:lnTo>
                  <a:lnTo>
                    <a:pt x="967199" y="309650"/>
                  </a:lnTo>
                  <a:close/>
                  <a:moveTo>
                    <a:pt x="945342" y="298721"/>
                  </a:moveTo>
                  <a:lnTo>
                    <a:pt x="945342" y="302364"/>
                  </a:lnTo>
                  <a:lnTo>
                    <a:pt x="939878" y="313294"/>
                  </a:lnTo>
                  <a:lnTo>
                    <a:pt x="939878" y="315115"/>
                  </a:lnTo>
                  <a:lnTo>
                    <a:pt x="938056" y="315115"/>
                  </a:lnTo>
                  <a:lnTo>
                    <a:pt x="938056" y="302364"/>
                  </a:lnTo>
                  <a:lnTo>
                    <a:pt x="939878" y="302364"/>
                  </a:lnTo>
                  <a:close/>
                  <a:moveTo>
                    <a:pt x="699444" y="275042"/>
                  </a:moveTo>
                  <a:lnTo>
                    <a:pt x="703087" y="276864"/>
                  </a:lnTo>
                  <a:lnTo>
                    <a:pt x="704908" y="287793"/>
                  </a:lnTo>
                  <a:lnTo>
                    <a:pt x="703087" y="293257"/>
                  </a:lnTo>
                  <a:lnTo>
                    <a:pt x="704908" y="302364"/>
                  </a:lnTo>
                  <a:lnTo>
                    <a:pt x="697622" y="309650"/>
                  </a:lnTo>
                  <a:lnTo>
                    <a:pt x="693979" y="309650"/>
                  </a:lnTo>
                  <a:lnTo>
                    <a:pt x="692158" y="302368"/>
                  </a:lnTo>
                  <a:lnTo>
                    <a:pt x="692158" y="304186"/>
                  </a:lnTo>
                  <a:lnTo>
                    <a:pt x="681230" y="302365"/>
                  </a:lnTo>
                  <a:lnTo>
                    <a:pt x="681230" y="304186"/>
                  </a:lnTo>
                  <a:lnTo>
                    <a:pt x="677587" y="304186"/>
                  </a:lnTo>
                  <a:lnTo>
                    <a:pt x="672122" y="298722"/>
                  </a:lnTo>
                  <a:lnTo>
                    <a:pt x="675765" y="293257"/>
                  </a:lnTo>
                  <a:lnTo>
                    <a:pt x="677587" y="293257"/>
                  </a:lnTo>
                  <a:lnTo>
                    <a:pt x="681229" y="302363"/>
                  </a:lnTo>
                  <a:lnTo>
                    <a:pt x="683051" y="287793"/>
                  </a:lnTo>
                  <a:lnTo>
                    <a:pt x="683051" y="285971"/>
                  </a:lnTo>
                  <a:lnTo>
                    <a:pt x="692158" y="285971"/>
                  </a:lnTo>
                  <a:lnTo>
                    <a:pt x="692158" y="302358"/>
                  </a:lnTo>
                  <a:lnTo>
                    <a:pt x="693979" y="291436"/>
                  </a:lnTo>
                  <a:lnTo>
                    <a:pt x="699444" y="276864"/>
                  </a:lnTo>
                  <a:close/>
                  <a:moveTo>
                    <a:pt x="699443" y="269577"/>
                  </a:moveTo>
                  <a:lnTo>
                    <a:pt x="704908" y="269577"/>
                  </a:lnTo>
                  <a:lnTo>
                    <a:pt x="704908" y="275042"/>
                  </a:lnTo>
                  <a:close/>
                  <a:moveTo>
                    <a:pt x="540976" y="251363"/>
                  </a:moveTo>
                  <a:lnTo>
                    <a:pt x="542797" y="253185"/>
                  </a:lnTo>
                  <a:lnTo>
                    <a:pt x="546440" y="265936"/>
                  </a:lnTo>
                  <a:lnTo>
                    <a:pt x="540976" y="271400"/>
                  </a:lnTo>
                  <a:lnTo>
                    <a:pt x="537333" y="271400"/>
                  </a:lnTo>
                  <a:lnTo>
                    <a:pt x="535511" y="258649"/>
                  </a:lnTo>
                  <a:lnTo>
                    <a:pt x="540976" y="253185"/>
                  </a:lnTo>
                  <a:close/>
                  <a:moveTo>
                    <a:pt x="770480" y="245899"/>
                  </a:moveTo>
                  <a:lnTo>
                    <a:pt x="788696" y="245899"/>
                  </a:lnTo>
                  <a:lnTo>
                    <a:pt x="799625" y="251364"/>
                  </a:lnTo>
                  <a:lnTo>
                    <a:pt x="801446" y="251364"/>
                  </a:lnTo>
                  <a:lnTo>
                    <a:pt x="801446" y="258650"/>
                  </a:lnTo>
                  <a:lnTo>
                    <a:pt x="790517" y="265936"/>
                  </a:lnTo>
                  <a:lnTo>
                    <a:pt x="783231" y="265936"/>
                  </a:lnTo>
                  <a:lnTo>
                    <a:pt x="775945" y="258650"/>
                  </a:lnTo>
                  <a:lnTo>
                    <a:pt x="770480" y="247721"/>
                  </a:lnTo>
                  <a:close/>
                  <a:moveTo>
                    <a:pt x="823303" y="240434"/>
                  </a:moveTo>
                  <a:lnTo>
                    <a:pt x="856090" y="240434"/>
                  </a:lnTo>
                  <a:lnTo>
                    <a:pt x="877947" y="245899"/>
                  </a:lnTo>
                  <a:lnTo>
                    <a:pt x="879769" y="245899"/>
                  </a:lnTo>
                  <a:lnTo>
                    <a:pt x="888876" y="260471"/>
                  </a:lnTo>
                  <a:lnTo>
                    <a:pt x="888876" y="264114"/>
                  </a:lnTo>
                  <a:lnTo>
                    <a:pt x="885233" y="265935"/>
                  </a:lnTo>
                  <a:lnTo>
                    <a:pt x="859733" y="256828"/>
                  </a:lnTo>
                  <a:lnTo>
                    <a:pt x="848804" y="258649"/>
                  </a:lnTo>
                  <a:lnTo>
                    <a:pt x="839696" y="253185"/>
                  </a:lnTo>
                  <a:lnTo>
                    <a:pt x="832411" y="258649"/>
                  </a:lnTo>
                  <a:lnTo>
                    <a:pt x="828768" y="258649"/>
                  </a:lnTo>
                  <a:lnTo>
                    <a:pt x="828768" y="258650"/>
                  </a:lnTo>
                  <a:lnTo>
                    <a:pt x="826947" y="258650"/>
                  </a:lnTo>
                  <a:lnTo>
                    <a:pt x="821482" y="265936"/>
                  </a:lnTo>
                  <a:lnTo>
                    <a:pt x="817839" y="265936"/>
                  </a:lnTo>
                  <a:lnTo>
                    <a:pt x="817839" y="258650"/>
                  </a:lnTo>
                  <a:lnTo>
                    <a:pt x="821482" y="258650"/>
                  </a:lnTo>
                  <a:lnTo>
                    <a:pt x="826947" y="256828"/>
                  </a:lnTo>
                  <a:lnTo>
                    <a:pt x="823303" y="253185"/>
                  </a:lnTo>
                  <a:lnTo>
                    <a:pt x="817839" y="258649"/>
                  </a:lnTo>
                  <a:lnTo>
                    <a:pt x="816017" y="258649"/>
                  </a:lnTo>
                  <a:lnTo>
                    <a:pt x="816017" y="251363"/>
                  </a:lnTo>
                  <a:lnTo>
                    <a:pt x="823303" y="242256"/>
                  </a:lnTo>
                  <a:close/>
                  <a:moveTo>
                    <a:pt x="336972" y="234970"/>
                  </a:moveTo>
                  <a:lnTo>
                    <a:pt x="340615" y="234970"/>
                  </a:lnTo>
                  <a:lnTo>
                    <a:pt x="351544" y="236792"/>
                  </a:lnTo>
                  <a:lnTo>
                    <a:pt x="351544" y="247721"/>
                  </a:lnTo>
                  <a:lnTo>
                    <a:pt x="347901" y="251364"/>
                  </a:lnTo>
                  <a:lnTo>
                    <a:pt x="336972" y="247721"/>
                  </a:lnTo>
                  <a:lnTo>
                    <a:pt x="335150" y="247721"/>
                  </a:lnTo>
                  <a:lnTo>
                    <a:pt x="335150" y="245900"/>
                  </a:lnTo>
                  <a:close/>
                  <a:moveTo>
                    <a:pt x="868841" y="213113"/>
                  </a:moveTo>
                  <a:lnTo>
                    <a:pt x="874305" y="213113"/>
                  </a:lnTo>
                  <a:lnTo>
                    <a:pt x="874305" y="224043"/>
                  </a:lnTo>
                  <a:lnTo>
                    <a:pt x="867019" y="225864"/>
                  </a:lnTo>
                  <a:lnTo>
                    <a:pt x="867019" y="224043"/>
                  </a:lnTo>
                  <a:lnTo>
                    <a:pt x="861554" y="218578"/>
                  </a:lnTo>
                  <a:lnTo>
                    <a:pt x="861554" y="214935"/>
                  </a:lnTo>
                  <a:lnTo>
                    <a:pt x="867019" y="214935"/>
                  </a:lnTo>
                  <a:close/>
                  <a:moveTo>
                    <a:pt x="732230" y="213113"/>
                  </a:moveTo>
                  <a:lnTo>
                    <a:pt x="739516" y="213113"/>
                  </a:lnTo>
                  <a:lnTo>
                    <a:pt x="748624" y="214935"/>
                  </a:lnTo>
                  <a:lnTo>
                    <a:pt x="755909" y="214935"/>
                  </a:lnTo>
                  <a:lnTo>
                    <a:pt x="755909" y="214933"/>
                  </a:lnTo>
                  <a:lnTo>
                    <a:pt x="781410" y="214933"/>
                  </a:lnTo>
                  <a:lnTo>
                    <a:pt x="781410" y="218576"/>
                  </a:lnTo>
                  <a:lnTo>
                    <a:pt x="777767" y="218576"/>
                  </a:lnTo>
                  <a:lnTo>
                    <a:pt x="761374" y="224041"/>
                  </a:lnTo>
                  <a:lnTo>
                    <a:pt x="759552" y="224041"/>
                  </a:lnTo>
                  <a:lnTo>
                    <a:pt x="759552" y="220398"/>
                  </a:lnTo>
                  <a:lnTo>
                    <a:pt x="755910" y="218577"/>
                  </a:lnTo>
                  <a:lnTo>
                    <a:pt x="755910" y="218578"/>
                  </a:lnTo>
                  <a:lnTo>
                    <a:pt x="754089" y="218578"/>
                  </a:lnTo>
                  <a:lnTo>
                    <a:pt x="739516" y="224042"/>
                  </a:lnTo>
                  <a:lnTo>
                    <a:pt x="737695" y="224042"/>
                  </a:lnTo>
                  <a:lnTo>
                    <a:pt x="732230" y="214935"/>
                  </a:lnTo>
                  <a:close/>
                  <a:moveTo>
                    <a:pt x="1007272" y="209470"/>
                  </a:moveTo>
                  <a:lnTo>
                    <a:pt x="1029131" y="213113"/>
                  </a:lnTo>
                  <a:lnTo>
                    <a:pt x="1030952" y="218578"/>
                  </a:lnTo>
                  <a:lnTo>
                    <a:pt x="1029131" y="218578"/>
                  </a:lnTo>
                  <a:lnTo>
                    <a:pt x="999986" y="214935"/>
                  </a:lnTo>
                  <a:lnTo>
                    <a:pt x="999986" y="213113"/>
                  </a:lnTo>
                  <a:close/>
                  <a:moveTo>
                    <a:pt x="805088" y="207648"/>
                  </a:moveTo>
                  <a:lnTo>
                    <a:pt x="812374" y="207648"/>
                  </a:lnTo>
                  <a:lnTo>
                    <a:pt x="823303" y="209470"/>
                  </a:lnTo>
                  <a:lnTo>
                    <a:pt x="823303" y="213113"/>
                  </a:lnTo>
                  <a:lnTo>
                    <a:pt x="806910" y="214934"/>
                  </a:lnTo>
                  <a:lnTo>
                    <a:pt x="805088" y="214934"/>
                  </a:lnTo>
                  <a:lnTo>
                    <a:pt x="805088" y="209470"/>
                  </a:lnTo>
                  <a:lnTo>
                    <a:pt x="801445" y="209470"/>
                  </a:lnTo>
                  <a:close/>
                  <a:moveTo>
                    <a:pt x="295079" y="207648"/>
                  </a:moveTo>
                  <a:lnTo>
                    <a:pt x="296900" y="207648"/>
                  </a:lnTo>
                  <a:lnTo>
                    <a:pt x="296900" y="209470"/>
                  </a:lnTo>
                  <a:lnTo>
                    <a:pt x="306007" y="231327"/>
                  </a:lnTo>
                  <a:lnTo>
                    <a:pt x="316936" y="231327"/>
                  </a:lnTo>
                  <a:lnTo>
                    <a:pt x="316936" y="247720"/>
                  </a:lnTo>
                  <a:lnTo>
                    <a:pt x="313293" y="247720"/>
                  </a:lnTo>
                  <a:lnTo>
                    <a:pt x="300543" y="242256"/>
                  </a:lnTo>
                  <a:lnTo>
                    <a:pt x="291436" y="225863"/>
                  </a:lnTo>
                  <a:lnTo>
                    <a:pt x="278685" y="220398"/>
                  </a:lnTo>
                  <a:lnTo>
                    <a:pt x="284150" y="209470"/>
                  </a:lnTo>
                  <a:lnTo>
                    <a:pt x="291436" y="213113"/>
                  </a:lnTo>
                  <a:close/>
                  <a:moveTo>
                    <a:pt x="703087" y="202184"/>
                  </a:moveTo>
                  <a:lnTo>
                    <a:pt x="704908" y="204006"/>
                  </a:lnTo>
                  <a:lnTo>
                    <a:pt x="704908" y="207648"/>
                  </a:lnTo>
                  <a:lnTo>
                    <a:pt x="710372" y="204005"/>
                  </a:lnTo>
                  <a:lnTo>
                    <a:pt x="714015" y="204005"/>
                  </a:lnTo>
                  <a:lnTo>
                    <a:pt x="714015" y="209470"/>
                  </a:lnTo>
                  <a:lnTo>
                    <a:pt x="710372" y="213113"/>
                  </a:lnTo>
                  <a:lnTo>
                    <a:pt x="704908" y="213113"/>
                  </a:lnTo>
                  <a:lnTo>
                    <a:pt x="703542" y="209015"/>
                  </a:lnTo>
                  <a:lnTo>
                    <a:pt x="699444" y="213113"/>
                  </a:lnTo>
                  <a:lnTo>
                    <a:pt x="697622" y="213113"/>
                  </a:lnTo>
                  <a:lnTo>
                    <a:pt x="697622" y="204006"/>
                  </a:lnTo>
                  <a:close/>
                  <a:moveTo>
                    <a:pt x="123860" y="196719"/>
                  </a:moveTo>
                  <a:lnTo>
                    <a:pt x="132968" y="196719"/>
                  </a:lnTo>
                  <a:lnTo>
                    <a:pt x="138432" y="214934"/>
                  </a:lnTo>
                  <a:lnTo>
                    <a:pt x="127503" y="209470"/>
                  </a:lnTo>
                  <a:lnTo>
                    <a:pt x="123860" y="209470"/>
                  </a:lnTo>
                  <a:close/>
                  <a:moveTo>
                    <a:pt x="996343" y="191255"/>
                  </a:moveTo>
                  <a:lnTo>
                    <a:pt x="1007272" y="191255"/>
                  </a:lnTo>
                  <a:lnTo>
                    <a:pt x="1018201" y="202185"/>
                  </a:lnTo>
                  <a:lnTo>
                    <a:pt x="1018201" y="204006"/>
                  </a:lnTo>
                  <a:lnTo>
                    <a:pt x="1010915" y="204006"/>
                  </a:lnTo>
                  <a:lnTo>
                    <a:pt x="996343" y="193077"/>
                  </a:lnTo>
                  <a:close/>
                  <a:moveTo>
                    <a:pt x="923484" y="182147"/>
                  </a:moveTo>
                  <a:lnTo>
                    <a:pt x="934413" y="182147"/>
                  </a:lnTo>
                  <a:lnTo>
                    <a:pt x="947163" y="191255"/>
                  </a:lnTo>
                  <a:lnTo>
                    <a:pt x="963557" y="191255"/>
                  </a:lnTo>
                  <a:lnTo>
                    <a:pt x="969021" y="204005"/>
                  </a:lnTo>
                  <a:lnTo>
                    <a:pt x="969021" y="231327"/>
                  </a:lnTo>
                  <a:lnTo>
                    <a:pt x="972664" y="236791"/>
                  </a:lnTo>
                  <a:lnTo>
                    <a:pt x="972664" y="234970"/>
                  </a:lnTo>
                  <a:lnTo>
                    <a:pt x="978128" y="234970"/>
                  </a:lnTo>
                  <a:lnTo>
                    <a:pt x="983593" y="251363"/>
                  </a:lnTo>
                  <a:lnTo>
                    <a:pt x="990879" y="253184"/>
                  </a:lnTo>
                  <a:lnTo>
                    <a:pt x="999986" y="253184"/>
                  </a:lnTo>
                  <a:lnTo>
                    <a:pt x="1018201" y="225862"/>
                  </a:lnTo>
                  <a:lnTo>
                    <a:pt x="1034594" y="225862"/>
                  </a:lnTo>
                  <a:lnTo>
                    <a:pt x="1040058" y="214934"/>
                  </a:lnTo>
                  <a:lnTo>
                    <a:pt x="1052809" y="207648"/>
                  </a:lnTo>
                  <a:lnTo>
                    <a:pt x="1056452" y="207648"/>
                  </a:lnTo>
                  <a:lnTo>
                    <a:pt x="1096524" y="225862"/>
                  </a:lnTo>
                  <a:lnTo>
                    <a:pt x="1131132" y="234970"/>
                  </a:lnTo>
                  <a:lnTo>
                    <a:pt x="1134775" y="234970"/>
                  </a:lnTo>
                  <a:lnTo>
                    <a:pt x="1134775" y="293257"/>
                  </a:lnTo>
                  <a:lnTo>
                    <a:pt x="1131132" y="336972"/>
                  </a:lnTo>
                  <a:lnTo>
                    <a:pt x="1136596" y="391616"/>
                  </a:lnTo>
                  <a:lnTo>
                    <a:pt x="1136596" y="393437"/>
                  </a:lnTo>
                  <a:lnTo>
                    <a:pt x="1134775" y="393437"/>
                  </a:lnTo>
                  <a:lnTo>
                    <a:pt x="1103810" y="366115"/>
                  </a:lnTo>
                  <a:lnTo>
                    <a:pt x="1083774" y="369758"/>
                  </a:lnTo>
                  <a:lnTo>
                    <a:pt x="1080131" y="371580"/>
                  </a:lnTo>
                  <a:lnTo>
                    <a:pt x="1080131" y="375223"/>
                  </a:lnTo>
                  <a:lnTo>
                    <a:pt x="1050987" y="375223"/>
                  </a:lnTo>
                  <a:lnTo>
                    <a:pt x="1050987" y="371580"/>
                  </a:lnTo>
                  <a:lnTo>
                    <a:pt x="1052809" y="371580"/>
                  </a:lnTo>
                  <a:lnTo>
                    <a:pt x="1063737" y="349722"/>
                  </a:lnTo>
                  <a:lnTo>
                    <a:pt x="1074666" y="347901"/>
                  </a:lnTo>
                  <a:lnTo>
                    <a:pt x="1078309" y="349722"/>
                  </a:lnTo>
                  <a:lnTo>
                    <a:pt x="1078309" y="347901"/>
                  </a:lnTo>
                  <a:lnTo>
                    <a:pt x="1074666" y="347901"/>
                  </a:lnTo>
                  <a:lnTo>
                    <a:pt x="1074666" y="344258"/>
                  </a:lnTo>
                  <a:lnTo>
                    <a:pt x="1080131" y="344258"/>
                  </a:lnTo>
                  <a:lnTo>
                    <a:pt x="1069202" y="338793"/>
                  </a:lnTo>
                  <a:lnTo>
                    <a:pt x="1069202" y="336972"/>
                  </a:lnTo>
                  <a:lnTo>
                    <a:pt x="1074666" y="331507"/>
                  </a:lnTo>
                  <a:lnTo>
                    <a:pt x="1058273" y="302364"/>
                  </a:lnTo>
                  <a:lnTo>
                    <a:pt x="1025487" y="287792"/>
                  </a:lnTo>
                  <a:lnTo>
                    <a:pt x="989057" y="282328"/>
                  </a:lnTo>
                  <a:lnTo>
                    <a:pt x="979950" y="271399"/>
                  </a:lnTo>
                  <a:lnTo>
                    <a:pt x="969021" y="271399"/>
                  </a:lnTo>
                  <a:lnTo>
                    <a:pt x="956271" y="260470"/>
                  </a:lnTo>
                  <a:lnTo>
                    <a:pt x="956271" y="253184"/>
                  </a:lnTo>
                  <a:lnTo>
                    <a:pt x="950806" y="269578"/>
                  </a:lnTo>
                  <a:lnTo>
                    <a:pt x="945342" y="269578"/>
                  </a:lnTo>
                  <a:lnTo>
                    <a:pt x="941699" y="271399"/>
                  </a:lnTo>
                  <a:lnTo>
                    <a:pt x="938056" y="271399"/>
                  </a:lnTo>
                  <a:lnTo>
                    <a:pt x="932592" y="253184"/>
                  </a:lnTo>
                  <a:lnTo>
                    <a:pt x="916198" y="245899"/>
                  </a:lnTo>
                  <a:lnTo>
                    <a:pt x="912555" y="245899"/>
                  </a:lnTo>
                  <a:lnTo>
                    <a:pt x="912555" y="240434"/>
                  </a:lnTo>
                  <a:lnTo>
                    <a:pt x="916198" y="240434"/>
                  </a:lnTo>
                  <a:lnTo>
                    <a:pt x="932592" y="236791"/>
                  </a:lnTo>
                  <a:lnTo>
                    <a:pt x="941699" y="231327"/>
                  </a:lnTo>
                  <a:lnTo>
                    <a:pt x="952628" y="234970"/>
                  </a:lnTo>
                  <a:lnTo>
                    <a:pt x="956271" y="231327"/>
                  </a:lnTo>
                  <a:lnTo>
                    <a:pt x="956271" y="224041"/>
                  </a:lnTo>
                  <a:lnTo>
                    <a:pt x="923484" y="229505"/>
                  </a:lnTo>
                  <a:lnTo>
                    <a:pt x="916198" y="225862"/>
                  </a:lnTo>
                  <a:lnTo>
                    <a:pt x="907091" y="213112"/>
                  </a:lnTo>
                  <a:lnTo>
                    <a:pt x="888876" y="209469"/>
                  </a:lnTo>
                  <a:lnTo>
                    <a:pt x="888876" y="207648"/>
                  </a:lnTo>
                  <a:lnTo>
                    <a:pt x="890698" y="204005"/>
                  </a:lnTo>
                  <a:lnTo>
                    <a:pt x="883412" y="204005"/>
                  </a:lnTo>
                  <a:lnTo>
                    <a:pt x="883412" y="196719"/>
                  </a:lnTo>
                  <a:lnTo>
                    <a:pt x="890698" y="196719"/>
                  </a:lnTo>
                  <a:lnTo>
                    <a:pt x="890698" y="204004"/>
                  </a:lnTo>
                  <a:lnTo>
                    <a:pt x="894341" y="196719"/>
                  </a:lnTo>
                  <a:close/>
                  <a:moveTo>
                    <a:pt x="801445" y="182147"/>
                  </a:moveTo>
                  <a:lnTo>
                    <a:pt x="806910" y="182147"/>
                  </a:lnTo>
                  <a:lnTo>
                    <a:pt x="816017" y="196719"/>
                  </a:lnTo>
                  <a:lnTo>
                    <a:pt x="812374" y="196719"/>
                  </a:lnTo>
                  <a:lnTo>
                    <a:pt x="806910" y="193076"/>
                  </a:lnTo>
                  <a:lnTo>
                    <a:pt x="805088" y="193076"/>
                  </a:lnTo>
                  <a:lnTo>
                    <a:pt x="801445" y="185790"/>
                  </a:lnTo>
                  <a:close/>
                  <a:moveTo>
                    <a:pt x="262292" y="180326"/>
                  </a:moveTo>
                  <a:lnTo>
                    <a:pt x="264113" y="187612"/>
                  </a:lnTo>
                  <a:lnTo>
                    <a:pt x="256827" y="187612"/>
                  </a:lnTo>
                  <a:lnTo>
                    <a:pt x="256827" y="185791"/>
                  </a:lnTo>
                  <a:close/>
                  <a:moveTo>
                    <a:pt x="883412" y="174861"/>
                  </a:moveTo>
                  <a:lnTo>
                    <a:pt x="896162" y="180326"/>
                  </a:lnTo>
                  <a:lnTo>
                    <a:pt x="896162" y="182147"/>
                  </a:lnTo>
                  <a:lnTo>
                    <a:pt x="888876" y="185790"/>
                  </a:lnTo>
                  <a:lnTo>
                    <a:pt x="885233" y="185790"/>
                  </a:lnTo>
                  <a:lnTo>
                    <a:pt x="874304" y="180326"/>
                  </a:lnTo>
                  <a:lnTo>
                    <a:pt x="874304" y="178504"/>
                  </a:lnTo>
                  <a:lnTo>
                    <a:pt x="877947" y="178504"/>
                  </a:lnTo>
                  <a:close/>
                  <a:moveTo>
                    <a:pt x="256827" y="145718"/>
                  </a:moveTo>
                  <a:lnTo>
                    <a:pt x="258649" y="145718"/>
                  </a:lnTo>
                  <a:lnTo>
                    <a:pt x="264113" y="147540"/>
                  </a:lnTo>
                  <a:lnTo>
                    <a:pt x="264113" y="156647"/>
                  </a:lnTo>
                  <a:lnTo>
                    <a:pt x="262292" y="156647"/>
                  </a:lnTo>
                  <a:lnTo>
                    <a:pt x="262292" y="153004"/>
                  </a:lnTo>
                  <a:close/>
                  <a:moveTo>
                    <a:pt x="245899" y="136611"/>
                  </a:moveTo>
                  <a:lnTo>
                    <a:pt x="251363" y="136611"/>
                  </a:lnTo>
                  <a:lnTo>
                    <a:pt x="251363" y="140255"/>
                  </a:lnTo>
                  <a:lnTo>
                    <a:pt x="244077" y="142076"/>
                  </a:lnTo>
                  <a:lnTo>
                    <a:pt x="240434" y="142076"/>
                  </a:lnTo>
                  <a:lnTo>
                    <a:pt x="240434" y="140255"/>
                  </a:lnTo>
                  <a:close/>
                  <a:moveTo>
                    <a:pt x="94716" y="136611"/>
                  </a:moveTo>
                  <a:lnTo>
                    <a:pt x="107467" y="151183"/>
                  </a:lnTo>
                  <a:lnTo>
                    <a:pt x="107467" y="162112"/>
                  </a:lnTo>
                  <a:lnTo>
                    <a:pt x="105646" y="162112"/>
                  </a:lnTo>
                  <a:lnTo>
                    <a:pt x="87430" y="142076"/>
                  </a:lnTo>
                  <a:lnTo>
                    <a:pt x="87430" y="140254"/>
                  </a:lnTo>
                  <a:close/>
                  <a:moveTo>
                    <a:pt x="202183" y="134789"/>
                  </a:moveTo>
                  <a:lnTo>
                    <a:pt x="213112" y="134789"/>
                  </a:lnTo>
                  <a:lnTo>
                    <a:pt x="216755" y="136611"/>
                  </a:lnTo>
                  <a:lnTo>
                    <a:pt x="216755" y="142075"/>
                  </a:lnTo>
                  <a:lnTo>
                    <a:pt x="213112" y="142075"/>
                  </a:lnTo>
                  <a:lnTo>
                    <a:pt x="202183" y="136611"/>
                  </a:lnTo>
                  <a:close/>
                  <a:moveTo>
                    <a:pt x="748624" y="131146"/>
                  </a:moveTo>
                  <a:lnTo>
                    <a:pt x="754088" y="142075"/>
                  </a:lnTo>
                  <a:lnTo>
                    <a:pt x="732231" y="167576"/>
                  </a:lnTo>
                  <a:lnTo>
                    <a:pt x="704909" y="167576"/>
                  </a:lnTo>
                  <a:lnTo>
                    <a:pt x="686694" y="163933"/>
                  </a:lnTo>
                  <a:lnTo>
                    <a:pt x="639336" y="163933"/>
                  </a:lnTo>
                  <a:lnTo>
                    <a:pt x="637514" y="169397"/>
                  </a:lnTo>
                  <a:lnTo>
                    <a:pt x="635693" y="191255"/>
                  </a:lnTo>
                  <a:lnTo>
                    <a:pt x="644800" y="207648"/>
                  </a:lnTo>
                  <a:lnTo>
                    <a:pt x="653907" y="207648"/>
                  </a:lnTo>
                  <a:lnTo>
                    <a:pt x="666658" y="193076"/>
                  </a:lnTo>
                  <a:lnTo>
                    <a:pt x="670301" y="193076"/>
                  </a:lnTo>
                  <a:lnTo>
                    <a:pt x="672122" y="196719"/>
                  </a:lnTo>
                  <a:lnTo>
                    <a:pt x="677587" y="196719"/>
                  </a:lnTo>
                  <a:lnTo>
                    <a:pt x="677587" y="191255"/>
                  </a:lnTo>
                  <a:lnTo>
                    <a:pt x="697623" y="191255"/>
                  </a:lnTo>
                  <a:lnTo>
                    <a:pt x="703087" y="185790"/>
                  </a:lnTo>
                  <a:lnTo>
                    <a:pt x="710373" y="185790"/>
                  </a:lnTo>
                  <a:lnTo>
                    <a:pt x="710373" y="187612"/>
                  </a:lnTo>
                  <a:lnTo>
                    <a:pt x="714016" y="196719"/>
                  </a:lnTo>
                  <a:lnTo>
                    <a:pt x="710373" y="196719"/>
                  </a:lnTo>
                  <a:lnTo>
                    <a:pt x="697623" y="198541"/>
                  </a:lnTo>
                  <a:lnTo>
                    <a:pt x="686694" y="213112"/>
                  </a:lnTo>
                  <a:lnTo>
                    <a:pt x="670301" y="218577"/>
                  </a:lnTo>
                  <a:lnTo>
                    <a:pt x="664836" y="218577"/>
                  </a:lnTo>
                  <a:lnTo>
                    <a:pt x="688515" y="251363"/>
                  </a:lnTo>
                  <a:lnTo>
                    <a:pt x="686694" y="258649"/>
                  </a:lnTo>
                  <a:lnTo>
                    <a:pt x="692158" y="269578"/>
                  </a:lnTo>
                  <a:lnTo>
                    <a:pt x="697623" y="269578"/>
                  </a:lnTo>
                  <a:lnTo>
                    <a:pt x="697623" y="276864"/>
                  </a:lnTo>
                  <a:lnTo>
                    <a:pt x="683051" y="282328"/>
                  </a:lnTo>
                  <a:lnTo>
                    <a:pt x="675765" y="291436"/>
                  </a:lnTo>
                  <a:lnTo>
                    <a:pt x="666658" y="291436"/>
                  </a:lnTo>
                  <a:lnTo>
                    <a:pt x="666658" y="271399"/>
                  </a:lnTo>
                  <a:lnTo>
                    <a:pt x="653907" y="260471"/>
                  </a:lnTo>
                  <a:lnTo>
                    <a:pt x="650264" y="256828"/>
                  </a:lnTo>
                  <a:lnTo>
                    <a:pt x="650264" y="253185"/>
                  </a:lnTo>
                  <a:lnTo>
                    <a:pt x="653907" y="240434"/>
                  </a:lnTo>
                  <a:lnTo>
                    <a:pt x="648443" y="236791"/>
                  </a:lnTo>
                  <a:lnTo>
                    <a:pt x="637514" y="247720"/>
                  </a:lnTo>
                  <a:lnTo>
                    <a:pt x="639336" y="253185"/>
                  </a:lnTo>
                  <a:lnTo>
                    <a:pt x="639336" y="307829"/>
                  </a:lnTo>
                  <a:lnTo>
                    <a:pt x="635693" y="307829"/>
                  </a:lnTo>
                  <a:lnTo>
                    <a:pt x="626585" y="309650"/>
                  </a:lnTo>
                  <a:lnTo>
                    <a:pt x="621121" y="309650"/>
                  </a:lnTo>
                  <a:lnTo>
                    <a:pt x="613835" y="302364"/>
                  </a:lnTo>
                  <a:lnTo>
                    <a:pt x="613835" y="298721"/>
                  </a:lnTo>
                  <a:lnTo>
                    <a:pt x="621121" y="269578"/>
                  </a:lnTo>
                  <a:lnTo>
                    <a:pt x="615657" y="258649"/>
                  </a:lnTo>
                  <a:lnTo>
                    <a:pt x="604728" y="258649"/>
                  </a:lnTo>
                  <a:lnTo>
                    <a:pt x="602906" y="240434"/>
                  </a:lnTo>
                  <a:lnTo>
                    <a:pt x="613835" y="218577"/>
                  </a:lnTo>
                  <a:lnTo>
                    <a:pt x="613835" y="204005"/>
                  </a:lnTo>
                  <a:lnTo>
                    <a:pt x="621121" y="187612"/>
                  </a:lnTo>
                  <a:lnTo>
                    <a:pt x="621121" y="174862"/>
                  </a:lnTo>
                  <a:lnTo>
                    <a:pt x="630228" y="156647"/>
                  </a:lnTo>
                  <a:lnTo>
                    <a:pt x="635693" y="153004"/>
                  </a:lnTo>
                  <a:lnTo>
                    <a:pt x="642979" y="153004"/>
                  </a:lnTo>
                  <a:lnTo>
                    <a:pt x="644800" y="145718"/>
                  </a:lnTo>
                  <a:lnTo>
                    <a:pt x="648443" y="145718"/>
                  </a:lnTo>
                  <a:lnTo>
                    <a:pt x="653907" y="142075"/>
                  </a:lnTo>
                  <a:lnTo>
                    <a:pt x="697623" y="153004"/>
                  </a:lnTo>
                  <a:lnTo>
                    <a:pt x="721302" y="153004"/>
                  </a:lnTo>
                  <a:close/>
                  <a:moveTo>
                    <a:pt x="817839" y="120217"/>
                  </a:moveTo>
                  <a:lnTo>
                    <a:pt x="821254" y="144124"/>
                  </a:lnTo>
                  <a:lnTo>
                    <a:pt x="812374" y="153004"/>
                  </a:lnTo>
                  <a:lnTo>
                    <a:pt x="821481" y="145718"/>
                  </a:lnTo>
                  <a:lnTo>
                    <a:pt x="821254" y="144124"/>
                  </a:lnTo>
                  <a:lnTo>
                    <a:pt x="828767" y="136611"/>
                  </a:lnTo>
                  <a:lnTo>
                    <a:pt x="837875" y="142075"/>
                  </a:lnTo>
                  <a:lnTo>
                    <a:pt x="837875" y="151182"/>
                  </a:lnTo>
                  <a:lnTo>
                    <a:pt x="828767" y="156647"/>
                  </a:lnTo>
                  <a:lnTo>
                    <a:pt x="839696" y="167576"/>
                  </a:lnTo>
                  <a:lnTo>
                    <a:pt x="839696" y="169397"/>
                  </a:lnTo>
                  <a:lnTo>
                    <a:pt x="837875" y="169397"/>
                  </a:lnTo>
                  <a:lnTo>
                    <a:pt x="821481" y="163933"/>
                  </a:lnTo>
                  <a:lnTo>
                    <a:pt x="817839" y="167576"/>
                  </a:lnTo>
                  <a:lnTo>
                    <a:pt x="817839" y="180326"/>
                  </a:lnTo>
                  <a:lnTo>
                    <a:pt x="826946" y="196719"/>
                  </a:lnTo>
                  <a:lnTo>
                    <a:pt x="823303" y="196719"/>
                  </a:lnTo>
                  <a:lnTo>
                    <a:pt x="812374" y="180326"/>
                  </a:lnTo>
                  <a:lnTo>
                    <a:pt x="801445" y="147539"/>
                  </a:lnTo>
                  <a:lnTo>
                    <a:pt x="806910" y="131146"/>
                  </a:lnTo>
                  <a:close/>
                  <a:moveTo>
                    <a:pt x="832411" y="109288"/>
                  </a:moveTo>
                  <a:lnTo>
                    <a:pt x="834232" y="109288"/>
                  </a:lnTo>
                  <a:lnTo>
                    <a:pt x="837875" y="120218"/>
                  </a:lnTo>
                  <a:lnTo>
                    <a:pt x="834232" y="120218"/>
                  </a:lnTo>
                  <a:lnTo>
                    <a:pt x="826946" y="125682"/>
                  </a:lnTo>
                  <a:lnTo>
                    <a:pt x="823303" y="118396"/>
                  </a:lnTo>
                  <a:lnTo>
                    <a:pt x="823303" y="114753"/>
                  </a:lnTo>
                  <a:close/>
                  <a:moveTo>
                    <a:pt x="56466" y="103825"/>
                  </a:moveTo>
                  <a:lnTo>
                    <a:pt x="71038" y="118398"/>
                  </a:lnTo>
                  <a:lnTo>
                    <a:pt x="71038" y="120219"/>
                  </a:lnTo>
                  <a:lnTo>
                    <a:pt x="54644" y="109290"/>
                  </a:lnTo>
                  <a:lnTo>
                    <a:pt x="54644" y="107468"/>
                  </a:lnTo>
                  <a:close/>
                  <a:moveTo>
                    <a:pt x="530047" y="69216"/>
                  </a:moveTo>
                  <a:lnTo>
                    <a:pt x="559191" y="69216"/>
                  </a:lnTo>
                  <a:lnTo>
                    <a:pt x="571941" y="74681"/>
                  </a:lnTo>
                  <a:lnTo>
                    <a:pt x="571941" y="78324"/>
                  </a:lnTo>
                  <a:lnTo>
                    <a:pt x="570119" y="78324"/>
                  </a:lnTo>
                  <a:lnTo>
                    <a:pt x="577405" y="85609"/>
                  </a:lnTo>
                  <a:lnTo>
                    <a:pt x="577405" y="89252"/>
                  </a:lnTo>
                  <a:lnTo>
                    <a:pt x="564655" y="91074"/>
                  </a:lnTo>
                  <a:lnTo>
                    <a:pt x="582870" y="118396"/>
                  </a:lnTo>
                  <a:lnTo>
                    <a:pt x="582870" y="120217"/>
                  </a:lnTo>
                  <a:lnTo>
                    <a:pt x="581048" y="129325"/>
                  </a:lnTo>
                  <a:lnTo>
                    <a:pt x="604727" y="153004"/>
                  </a:lnTo>
                  <a:lnTo>
                    <a:pt x="604727" y="156647"/>
                  </a:lnTo>
                  <a:lnTo>
                    <a:pt x="591977" y="156647"/>
                  </a:lnTo>
                  <a:lnTo>
                    <a:pt x="582870" y="151182"/>
                  </a:lnTo>
                  <a:lnTo>
                    <a:pt x="582870" y="156647"/>
                  </a:lnTo>
                  <a:lnTo>
                    <a:pt x="571941" y="167576"/>
                  </a:lnTo>
                  <a:lnTo>
                    <a:pt x="570119" y="185790"/>
                  </a:lnTo>
                  <a:lnTo>
                    <a:pt x="561012" y="202183"/>
                  </a:lnTo>
                  <a:lnTo>
                    <a:pt x="542797" y="218577"/>
                  </a:lnTo>
                  <a:lnTo>
                    <a:pt x="551905" y="225863"/>
                  </a:lnTo>
                  <a:lnTo>
                    <a:pt x="551905" y="229505"/>
                  </a:lnTo>
                  <a:lnTo>
                    <a:pt x="535511" y="258649"/>
                  </a:lnTo>
                  <a:lnTo>
                    <a:pt x="508189" y="271399"/>
                  </a:lnTo>
                  <a:lnTo>
                    <a:pt x="502725" y="271399"/>
                  </a:lnTo>
                  <a:lnTo>
                    <a:pt x="497261" y="258649"/>
                  </a:lnTo>
                  <a:lnTo>
                    <a:pt x="493618" y="256827"/>
                  </a:lnTo>
                  <a:lnTo>
                    <a:pt x="488153" y="256827"/>
                  </a:lnTo>
                  <a:lnTo>
                    <a:pt x="486332" y="258649"/>
                  </a:lnTo>
                  <a:lnTo>
                    <a:pt x="479046" y="258649"/>
                  </a:lnTo>
                  <a:lnTo>
                    <a:pt x="479046" y="251363"/>
                  </a:lnTo>
                  <a:lnTo>
                    <a:pt x="464474" y="247720"/>
                  </a:lnTo>
                  <a:lnTo>
                    <a:pt x="453545" y="256827"/>
                  </a:lnTo>
                  <a:lnTo>
                    <a:pt x="437152" y="258649"/>
                  </a:lnTo>
                  <a:lnTo>
                    <a:pt x="435331" y="258649"/>
                  </a:lnTo>
                  <a:lnTo>
                    <a:pt x="431688" y="242256"/>
                  </a:lnTo>
                  <a:lnTo>
                    <a:pt x="418937" y="247720"/>
                  </a:lnTo>
                  <a:lnTo>
                    <a:pt x="400723" y="245899"/>
                  </a:lnTo>
                  <a:lnTo>
                    <a:pt x="397080" y="245899"/>
                  </a:lnTo>
                  <a:lnTo>
                    <a:pt x="389794" y="204005"/>
                  </a:lnTo>
                  <a:lnTo>
                    <a:pt x="384329" y="191255"/>
                  </a:lnTo>
                  <a:lnTo>
                    <a:pt x="373401" y="185790"/>
                  </a:lnTo>
                  <a:lnTo>
                    <a:pt x="364293" y="162111"/>
                  </a:lnTo>
                  <a:lnTo>
                    <a:pt x="369758" y="136611"/>
                  </a:lnTo>
                  <a:lnTo>
                    <a:pt x="378865" y="125682"/>
                  </a:lnTo>
                  <a:lnTo>
                    <a:pt x="380686" y="123860"/>
                  </a:lnTo>
                  <a:lnTo>
                    <a:pt x="384329" y="123860"/>
                  </a:lnTo>
                  <a:lnTo>
                    <a:pt x="384329" y="125682"/>
                  </a:lnTo>
                  <a:lnTo>
                    <a:pt x="395258" y="145718"/>
                  </a:lnTo>
                  <a:lnTo>
                    <a:pt x="406187" y="151182"/>
                  </a:lnTo>
                  <a:lnTo>
                    <a:pt x="429866" y="151182"/>
                  </a:lnTo>
                  <a:lnTo>
                    <a:pt x="446259" y="136611"/>
                  </a:lnTo>
                  <a:lnTo>
                    <a:pt x="459010" y="136611"/>
                  </a:lnTo>
                  <a:lnTo>
                    <a:pt x="473581" y="145718"/>
                  </a:lnTo>
                  <a:lnTo>
                    <a:pt x="491796" y="140254"/>
                  </a:lnTo>
                  <a:lnTo>
                    <a:pt x="497261" y="136611"/>
                  </a:lnTo>
                  <a:lnTo>
                    <a:pt x="502725" y="129325"/>
                  </a:lnTo>
                  <a:lnTo>
                    <a:pt x="530047" y="72859"/>
                  </a:lnTo>
                  <a:close/>
                  <a:moveTo>
                    <a:pt x="40072" y="40073"/>
                  </a:moveTo>
                  <a:lnTo>
                    <a:pt x="54644" y="40073"/>
                  </a:lnTo>
                  <a:lnTo>
                    <a:pt x="71037" y="47359"/>
                  </a:lnTo>
                  <a:lnTo>
                    <a:pt x="98359" y="51002"/>
                  </a:lnTo>
                  <a:lnTo>
                    <a:pt x="100181" y="51002"/>
                  </a:lnTo>
                  <a:lnTo>
                    <a:pt x="116574" y="74681"/>
                  </a:lnTo>
                  <a:lnTo>
                    <a:pt x="143896" y="91074"/>
                  </a:lnTo>
                  <a:lnTo>
                    <a:pt x="171218" y="120218"/>
                  </a:lnTo>
                  <a:lnTo>
                    <a:pt x="176682" y="123861"/>
                  </a:lnTo>
                  <a:lnTo>
                    <a:pt x="178504" y="120218"/>
                  </a:lnTo>
                  <a:lnTo>
                    <a:pt x="180325" y="120218"/>
                  </a:lnTo>
                  <a:lnTo>
                    <a:pt x="189433" y="131147"/>
                  </a:lnTo>
                  <a:lnTo>
                    <a:pt x="196087" y="133999"/>
                  </a:lnTo>
                  <a:lnTo>
                    <a:pt x="189433" y="125682"/>
                  </a:lnTo>
                  <a:lnTo>
                    <a:pt x="189433" y="123860"/>
                  </a:lnTo>
                  <a:lnTo>
                    <a:pt x="200362" y="123860"/>
                  </a:lnTo>
                  <a:lnTo>
                    <a:pt x="200362" y="125682"/>
                  </a:lnTo>
                  <a:lnTo>
                    <a:pt x="196719" y="131146"/>
                  </a:lnTo>
                  <a:lnTo>
                    <a:pt x="196719" y="134270"/>
                  </a:lnTo>
                  <a:lnTo>
                    <a:pt x="202183" y="136611"/>
                  </a:lnTo>
                  <a:lnTo>
                    <a:pt x="207647" y="142076"/>
                  </a:lnTo>
                  <a:lnTo>
                    <a:pt x="211290" y="142076"/>
                  </a:lnTo>
                  <a:lnTo>
                    <a:pt x="216755" y="147540"/>
                  </a:lnTo>
                  <a:lnTo>
                    <a:pt x="229505" y="147540"/>
                  </a:lnTo>
                  <a:lnTo>
                    <a:pt x="229505" y="163933"/>
                  </a:lnTo>
                  <a:lnTo>
                    <a:pt x="234969" y="162112"/>
                  </a:lnTo>
                  <a:lnTo>
                    <a:pt x="244077" y="167576"/>
                  </a:lnTo>
                  <a:lnTo>
                    <a:pt x="245898" y="173041"/>
                  </a:lnTo>
                  <a:lnTo>
                    <a:pt x="245898" y="174862"/>
                  </a:lnTo>
                  <a:lnTo>
                    <a:pt x="240434" y="178505"/>
                  </a:lnTo>
                  <a:lnTo>
                    <a:pt x="244077" y="180326"/>
                  </a:lnTo>
                  <a:lnTo>
                    <a:pt x="240434" y="191255"/>
                  </a:lnTo>
                  <a:lnTo>
                    <a:pt x="240434" y="193077"/>
                  </a:lnTo>
                  <a:lnTo>
                    <a:pt x="258648" y="198541"/>
                  </a:lnTo>
                  <a:lnTo>
                    <a:pt x="264113" y="218577"/>
                  </a:lnTo>
                  <a:lnTo>
                    <a:pt x="273220" y="220399"/>
                  </a:lnTo>
                  <a:lnTo>
                    <a:pt x="273220" y="224042"/>
                  </a:lnTo>
                  <a:lnTo>
                    <a:pt x="269577" y="229506"/>
                  </a:lnTo>
                  <a:lnTo>
                    <a:pt x="289613" y="231328"/>
                  </a:lnTo>
                  <a:lnTo>
                    <a:pt x="300542" y="245899"/>
                  </a:lnTo>
                  <a:lnTo>
                    <a:pt x="295078" y="313294"/>
                  </a:lnTo>
                  <a:lnTo>
                    <a:pt x="291435" y="313294"/>
                  </a:lnTo>
                  <a:lnTo>
                    <a:pt x="284149" y="307829"/>
                  </a:lnTo>
                  <a:lnTo>
                    <a:pt x="278685" y="313294"/>
                  </a:lnTo>
                  <a:lnTo>
                    <a:pt x="275042" y="313294"/>
                  </a:lnTo>
                  <a:lnTo>
                    <a:pt x="269577" y="307829"/>
                  </a:lnTo>
                  <a:lnTo>
                    <a:pt x="267756" y="307829"/>
                  </a:lnTo>
                  <a:lnTo>
                    <a:pt x="267756" y="315115"/>
                  </a:lnTo>
                  <a:lnTo>
                    <a:pt x="264113" y="315115"/>
                  </a:lnTo>
                  <a:lnTo>
                    <a:pt x="244077" y="293258"/>
                  </a:lnTo>
                  <a:lnTo>
                    <a:pt x="213112" y="271400"/>
                  </a:lnTo>
                  <a:lnTo>
                    <a:pt x="205826" y="258650"/>
                  </a:lnTo>
                  <a:lnTo>
                    <a:pt x="178504" y="229506"/>
                  </a:lnTo>
                  <a:lnTo>
                    <a:pt x="160289" y="191255"/>
                  </a:lnTo>
                  <a:lnTo>
                    <a:pt x="149360" y="174862"/>
                  </a:lnTo>
                  <a:lnTo>
                    <a:pt x="138432" y="169398"/>
                  </a:lnTo>
                  <a:lnTo>
                    <a:pt x="138432" y="167576"/>
                  </a:lnTo>
                  <a:lnTo>
                    <a:pt x="134789" y="167576"/>
                  </a:lnTo>
                  <a:lnTo>
                    <a:pt x="123860" y="134790"/>
                  </a:lnTo>
                  <a:lnTo>
                    <a:pt x="118395" y="125682"/>
                  </a:lnTo>
                  <a:lnTo>
                    <a:pt x="100181" y="120218"/>
                  </a:lnTo>
                  <a:lnTo>
                    <a:pt x="100181" y="118396"/>
                  </a:lnTo>
                  <a:lnTo>
                    <a:pt x="98359" y="107468"/>
                  </a:lnTo>
                  <a:lnTo>
                    <a:pt x="87430" y="91074"/>
                  </a:lnTo>
                  <a:lnTo>
                    <a:pt x="76502" y="85610"/>
                  </a:lnTo>
                  <a:lnTo>
                    <a:pt x="49180" y="61931"/>
                  </a:lnTo>
                  <a:lnTo>
                    <a:pt x="40072" y="41895"/>
                  </a:lnTo>
                  <a:close/>
                  <a:moveTo>
                    <a:pt x="5465" y="0"/>
                  </a:moveTo>
                  <a:lnTo>
                    <a:pt x="9108" y="0"/>
                  </a:lnTo>
                  <a:lnTo>
                    <a:pt x="9108" y="1821"/>
                  </a:lnTo>
                  <a:lnTo>
                    <a:pt x="5465" y="12751"/>
                  </a:lnTo>
                  <a:lnTo>
                    <a:pt x="3643" y="12751"/>
                  </a:lnTo>
                  <a:lnTo>
                    <a:pt x="0" y="1821"/>
                  </a:lnTo>
                  <a:lnTo>
                    <a:pt x="3643"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8" name="Socotra">
              <a:extLst>
                <a:ext uri="{FF2B5EF4-FFF2-40B4-BE49-F238E27FC236}">
                  <a16:creationId xmlns:a16="http://schemas.microsoft.com/office/drawing/2014/main" id="{C522873F-BB05-2560-C403-5C0D3615C1A9}"/>
                </a:ext>
              </a:extLst>
            </p:cNvPr>
            <p:cNvSpPr>
              <a:spLocks/>
            </p:cNvSpPr>
            <p:nvPr/>
          </p:nvSpPr>
          <p:spPr bwMode="auto">
            <a:xfrm>
              <a:off x="7085366" y="4287434"/>
              <a:ext cx="27107" cy="14457"/>
            </a:xfrm>
            <a:custGeom>
              <a:avLst/>
              <a:gdLst>
                <a:gd name="T0" fmla="*/ 3 w 15"/>
                <a:gd name="T1" fmla="*/ 0 h 8"/>
                <a:gd name="T2" fmla="*/ 6 w 15"/>
                <a:gd name="T3" fmla="*/ 0 h 8"/>
                <a:gd name="T4" fmla="*/ 11 w 15"/>
                <a:gd name="T5" fmla="*/ 1 h 8"/>
                <a:gd name="T6" fmla="*/ 15 w 15"/>
                <a:gd name="T7" fmla="*/ 1 h 8"/>
                <a:gd name="T8" fmla="*/ 15 w 15"/>
                <a:gd name="T9" fmla="*/ 2 h 8"/>
                <a:gd name="T10" fmla="*/ 14 w 15"/>
                <a:gd name="T11" fmla="*/ 4 h 8"/>
                <a:gd name="T12" fmla="*/ 14 w 15"/>
                <a:gd name="T13" fmla="*/ 5 h 8"/>
                <a:gd name="T14" fmla="*/ 9 w 15"/>
                <a:gd name="T15" fmla="*/ 8 h 8"/>
                <a:gd name="T16" fmla="*/ 2 w 15"/>
                <a:gd name="T17" fmla="*/ 4 h 8"/>
                <a:gd name="T18" fmla="*/ 0 w 15"/>
                <a:gd name="T19" fmla="*/ 4 h 8"/>
                <a:gd name="T20" fmla="*/ 3 w 15"/>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8">
                  <a:moveTo>
                    <a:pt x="3" y="0"/>
                  </a:moveTo>
                  <a:lnTo>
                    <a:pt x="6" y="0"/>
                  </a:lnTo>
                  <a:lnTo>
                    <a:pt x="11" y="1"/>
                  </a:lnTo>
                  <a:lnTo>
                    <a:pt x="15" y="1"/>
                  </a:lnTo>
                  <a:lnTo>
                    <a:pt x="15" y="2"/>
                  </a:lnTo>
                  <a:lnTo>
                    <a:pt x="14" y="4"/>
                  </a:lnTo>
                  <a:lnTo>
                    <a:pt x="14" y="5"/>
                  </a:lnTo>
                  <a:lnTo>
                    <a:pt x="9" y="8"/>
                  </a:lnTo>
                  <a:lnTo>
                    <a:pt x="2" y="4"/>
                  </a:lnTo>
                  <a:lnTo>
                    <a:pt x="0" y="4"/>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9" name="Bahrain">
              <a:extLst>
                <a:ext uri="{FF2B5EF4-FFF2-40B4-BE49-F238E27FC236}">
                  <a16:creationId xmlns:a16="http://schemas.microsoft.com/office/drawing/2014/main" id="{C4E1609E-6587-5CBD-1C10-53870118F606}"/>
                </a:ext>
              </a:extLst>
            </p:cNvPr>
            <p:cNvSpPr>
              <a:spLocks/>
            </p:cNvSpPr>
            <p:nvPr/>
          </p:nvSpPr>
          <p:spPr bwMode="auto">
            <a:xfrm>
              <a:off x="7013084" y="3945900"/>
              <a:ext cx="9036" cy="10843"/>
            </a:xfrm>
            <a:custGeom>
              <a:avLst/>
              <a:gdLst>
                <a:gd name="T0" fmla="*/ 0 w 5"/>
                <a:gd name="T1" fmla="*/ 0 h 6"/>
                <a:gd name="T2" fmla="*/ 2 w 5"/>
                <a:gd name="T3" fmla="*/ 0 h 6"/>
                <a:gd name="T4" fmla="*/ 3 w 5"/>
                <a:gd name="T5" fmla="*/ 2 h 6"/>
                <a:gd name="T6" fmla="*/ 5 w 5"/>
                <a:gd name="T7" fmla="*/ 2 h 6"/>
                <a:gd name="T8" fmla="*/ 2 w 5"/>
                <a:gd name="T9" fmla="*/ 6 h 6"/>
                <a:gd name="T10" fmla="*/ 0 w 5"/>
                <a:gd name="T11" fmla="*/ 6 h 6"/>
                <a:gd name="T12" fmla="*/ 0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0" y="0"/>
                  </a:moveTo>
                  <a:lnTo>
                    <a:pt x="2" y="0"/>
                  </a:lnTo>
                  <a:lnTo>
                    <a:pt x="3" y="2"/>
                  </a:lnTo>
                  <a:lnTo>
                    <a:pt x="5" y="2"/>
                  </a:lnTo>
                  <a:lnTo>
                    <a:pt x="2" y="6"/>
                  </a:lnTo>
                  <a:lnTo>
                    <a:pt x="0" y="6"/>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0" name="Oman">
              <a:extLst>
                <a:ext uri="{FF2B5EF4-FFF2-40B4-BE49-F238E27FC236}">
                  <a16:creationId xmlns:a16="http://schemas.microsoft.com/office/drawing/2014/main" id="{628805D5-0435-A81D-56E0-F7D1CBDC09AF}"/>
                </a:ext>
              </a:extLst>
            </p:cNvPr>
            <p:cNvSpPr>
              <a:spLocks/>
            </p:cNvSpPr>
            <p:nvPr/>
          </p:nvSpPr>
          <p:spPr bwMode="auto">
            <a:xfrm>
              <a:off x="7051032" y="3983847"/>
              <a:ext cx="187935" cy="209619"/>
            </a:xfrm>
            <a:custGeom>
              <a:avLst/>
              <a:gdLst>
                <a:gd name="T0" fmla="*/ 49 w 104"/>
                <a:gd name="T1" fmla="*/ 0 h 116"/>
                <a:gd name="T2" fmla="*/ 58 w 104"/>
                <a:gd name="T3" fmla="*/ 0 h 116"/>
                <a:gd name="T4" fmla="*/ 65 w 104"/>
                <a:gd name="T5" fmla="*/ 10 h 116"/>
                <a:gd name="T6" fmla="*/ 88 w 104"/>
                <a:gd name="T7" fmla="*/ 19 h 116"/>
                <a:gd name="T8" fmla="*/ 97 w 104"/>
                <a:gd name="T9" fmla="*/ 30 h 116"/>
                <a:gd name="T10" fmla="*/ 102 w 104"/>
                <a:gd name="T11" fmla="*/ 34 h 116"/>
                <a:gd name="T12" fmla="*/ 104 w 104"/>
                <a:gd name="T13" fmla="*/ 36 h 116"/>
                <a:gd name="T14" fmla="*/ 101 w 104"/>
                <a:gd name="T15" fmla="*/ 43 h 116"/>
                <a:gd name="T16" fmla="*/ 86 w 104"/>
                <a:gd name="T17" fmla="*/ 64 h 116"/>
                <a:gd name="T18" fmla="*/ 85 w 104"/>
                <a:gd name="T19" fmla="*/ 64 h 116"/>
                <a:gd name="T20" fmla="*/ 82 w 104"/>
                <a:gd name="T21" fmla="*/ 62 h 116"/>
                <a:gd name="T22" fmla="*/ 79 w 104"/>
                <a:gd name="T23" fmla="*/ 64 h 116"/>
                <a:gd name="T24" fmla="*/ 76 w 104"/>
                <a:gd name="T25" fmla="*/ 70 h 116"/>
                <a:gd name="T26" fmla="*/ 77 w 104"/>
                <a:gd name="T27" fmla="*/ 83 h 116"/>
                <a:gd name="T28" fmla="*/ 76 w 104"/>
                <a:gd name="T29" fmla="*/ 83 h 116"/>
                <a:gd name="T30" fmla="*/ 64 w 104"/>
                <a:gd name="T31" fmla="*/ 87 h 116"/>
                <a:gd name="T32" fmla="*/ 58 w 104"/>
                <a:gd name="T33" fmla="*/ 98 h 116"/>
                <a:gd name="T34" fmla="*/ 48 w 104"/>
                <a:gd name="T35" fmla="*/ 101 h 116"/>
                <a:gd name="T36" fmla="*/ 40 w 104"/>
                <a:gd name="T37" fmla="*/ 111 h 116"/>
                <a:gd name="T38" fmla="*/ 28 w 104"/>
                <a:gd name="T39" fmla="*/ 111 h 116"/>
                <a:gd name="T40" fmla="*/ 14 w 104"/>
                <a:gd name="T41" fmla="*/ 116 h 116"/>
                <a:gd name="T42" fmla="*/ 0 w 104"/>
                <a:gd name="T43" fmla="*/ 83 h 116"/>
                <a:gd name="T44" fmla="*/ 39 w 104"/>
                <a:gd name="T45" fmla="*/ 68 h 116"/>
                <a:gd name="T46" fmla="*/ 49 w 104"/>
                <a:gd name="T47" fmla="*/ 41 h 116"/>
                <a:gd name="T48" fmla="*/ 42 w 104"/>
                <a:gd name="T49" fmla="*/ 31 h 116"/>
                <a:gd name="T50" fmla="*/ 45 w 104"/>
                <a:gd name="T51" fmla="*/ 15 h 116"/>
                <a:gd name="T52" fmla="*/ 45 w 104"/>
                <a:gd name="T53" fmla="*/ 13 h 116"/>
                <a:gd name="T54" fmla="*/ 46 w 104"/>
                <a:gd name="T55" fmla="*/ 13 h 116"/>
                <a:gd name="T56" fmla="*/ 52 w 104"/>
                <a:gd name="T57" fmla="*/ 12 h 116"/>
                <a:gd name="T58" fmla="*/ 49 w 104"/>
                <a:gd name="T59" fmla="*/ 1 h 116"/>
                <a:gd name="T60" fmla="*/ 49 w 104"/>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116">
                  <a:moveTo>
                    <a:pt x="49" y="0"/>
                  </a:moveTo>
                  <a:lnTo>
                    <a:pt x="58" y="0"/>
                  </a:lnTo>
                  <a:lnTo>
                    <a:pt x="65" y="10"/>
                  </a:lnTo>
                  <a:lnTo>
                    <a:pt x="88" y="19"/>
                  </a:lnTo>
                  <a:lnTo>
                    <a:pt x="97" y="30"/>
                  </a:lnTo>
                  <a:lnTo>
                    <a:pt x="102" y="34"/>
                  </a:lnTo>
                  <a:lnTo>
                    <a:pt x="104" y="36"/>
                  </a:lnTo>
                  <a:lnTo>
                    <a:pt x="101" y="43"/>
                  </a:lnTo>
                  <a:lnTo>
                    <a:pt x="86" y="64"/>
                  </a:lnTo>
                  <a:lnTo>
                    <a:pt x="85" y="64"/>
                  </a:lnTo>
                  <a:lnTo>
                    <a:pt x="82" y="62"/>
                  </a:lnTo>
                  <a:lnTo>
                    <a:pt x="79" y="64"/>
                  </a:lnTo>
                  <a:lnTo>
                    <a:pt x="76" y="70"/>
                  </a:lnTo>
                  <a:lnTo>
                    <a:pt x="77" y="83"/>
                  </a:lnTo>
                  <a:lnTo>
                    <a:pt x="76" y="83"/>
                  </a:lnTo>
                  <a:lnTo>
                    <a:pt x="64" y="87"/>
                  </a:lnTo>
                  <a:lnTo>
                    <a:pt x="58" y="98"/>
                  </a:lnTo>
                  <a:lnTo>
                    <a:pt x="48" y="101"/>
                  </a:lnTo>
                  <a:lnTo>
                    <a:pt x="40" y="111"/>
                  </a:lnTo>
                  <a:lnTo>
                    <a:pt x="28" y="111"/>
                  </a:lnTo>
                  <a:lnTo>
                    <a:pt x="14" y="116"/>
                  </a:lnTo>
                  <a:lnTo>
                    <a:pt x="0" y="83"/>
                  </a:lnTo>
                  <a:lnTo>
                    <a:pt x="39" y="68"/>
                  </a:lnTo>
                  <a:lnTo>
                    <a:pt x="49" y="41"/>
                  </a:lnTo>
                  <a:lnTo>
                    <a:pt x="42" y="31"/>
                  </a:lnTo>
                  <a:lnTo>
                    <a:pt x="45" y="15"/>
                  </a:lnTo>
                  <a:lnTo>
                    <a:pt x="45" y="13"/>
                  </a:lnTo>
                  <a:lnTo>
                    <a:pt x="46" y="13"/>
                  </a:lnTo>
                  <a:lnTo>
                    <a:pt x="52" y="12"/>
                  </a:lnTo>
                  <a:lnTo>
                    <a:pt x="49" y="1"/>
                  </a:lnTo>
                  <a:lnTo>
                    <a:pt x="4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1" name="Musandam Peninsula">
              <a:extLst>
                <a:ext uri="{FF2B5EF4-FFF2-40B4-BE49-F238E27FC236}">
                  <a16:creationId xmlns:a16="http://schemas.microsoft.com/office/drawing/2014/main" id="{C81B25C8-527C-CB17-7E6B-D9E6257F5530}"/>
                </a:ext>
              </a:extLst>
            </p:cNvPr>
            <p:cNvSpPr>
              <a:spLocks/>
            </p:cNvSpPr>
            <p:nvPr/>
          </p:nvSpPr>
          <p:spPr bwMode="auto">
            <a:xfrm>
              <a:off x="7148613" y="3945900"/>
              <a:ext cx="7228" cy="21685"/>
            </a:xfrm>
            <a:custGeom>
              <a:avLst/>
              <a:gdLst>
                <a:gd name="T0" fmla="*/ 3 w 4"/>
                <a:gd name="T1" fmla="*/ 0 h 12"/>
                <a:gd name="T2" fmla="*/ 4 w 4"/>
                <a:gd name="T3" fmla="*/ 0 h 12"/>
                <a:gd name="T4" fmla="*/ 4 w 4"/>
                <a:gd name="T5" fmla="*/ 2 h 12"/>
                <a:gd name="T6" fmla="*/ 3 w 4"/>
                <a:gd name="T7" fmla="*/ 11 h 12"/>
                <a:gd name="T8" fmla="*/ 3 w 4"/>
                <a:gd name="T9" fmla="*/ 12 h 12"/>
                <a:gd name="T10" fmla="*/ 0 w 4"/>
                <a:gd name="T11" fmla="*/ 11 h 12"/>
                <a:gd name="T12" fmla="*/ 0 w 4"/>
                <a:gd name="T13" fmla="*/ 5 h 12"/>
                <a:gd name="T14" fmla="*/ 3 w 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3" y="0"/>
                  </a:moveTo>
                  <a:lnTo>
                    <a:pt x="4" y="0"/>
                  </a:lnTo>
                  <a:lnTo>
                    <a:pt x="4" y="2"/>
                  </a:lnTo>
                  <a:lnTo>
                    <a:pt x="3" y="11"/>
                  </a:lnTo>
                  <a:lnTo>
                    <a:pt x="3" y="12"/>
                  </a:lnTo>
                  <a:lnTo>
                    <a:pt x="0" y="11"/>
                  </a:lnTo>
                  <a:lnTo>
                    <a:pt x="0" y="5"/>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2" name="Qeshm Island">
              <a:extLst>
                <a:ext uri="{FF2B5EF4-FFF2-40B4-BE49-F238E27FC236}">
                  <a16:creationId xmlns:a16="http://schemas.microsoft.com/office/drawing/2014/main" id="{C9E3A197-B856-C6E9-75F8-61F6EA99633E}"/>
                </a:ext>
              </a:extLst>
            </p:cNvPr>
            <p:cNvSpPr>
              <a:spLocks/>
            </p:cNvSpPr>
            <p:nvPr/>
          </p:nvSpPr>
          <p:spPr bwMode="auto">
            <a:xfrm>
              <a:off x="7128736" y="3933250"/>
              <a:ext cx="25299" cy="12650"/>
            </a:xfrm>
            <a:custGeom>
              <a:avLst/>
              <a:gdLst>
                <a:gd name="T0" fmla="*/ 8 w 14"/>
                <a:gd name="T1" fmla="*/ 0 h 7"/>
                <a:gd name="T2" fmla="*/ 14 w 14"/>
                <a:gd name="T3" fmla="*/ 0 h 7"/>
                <a:gd name="T4" fmla="*/ 2 w 14"/>
                <a:gd name="T5" fmla="*/ 6 h 7"/>
                <a:gd name="T6" fmla="*/ 2 w 14"/>
                <a:gd name="T7" fmla="*/ 7 h 7"/>
                <a:gd name="T8" fmla="*/ 0 w 14"/>
                <a:gd name="T9" fmla="*/ 6 h 7"/>
                <a:gd name="T10" fmla="*/ 8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8" y="0"/>
                  </a:moveTo>
                  <a:lnTo>
                    <a:pt x="14" y="0"/>
                  </a:lnTo>
                  <a:lnTo>
                    <a:pt x="2" y="6"/>
                  </a:lnTo>
                  <a:lnTo>
                    <a:pt x="2" y="7"/>
                  </a:lnTo>
                  <a:lnTo>
                    <a:pt x="0" y="6"/>
                  </a:lnTo>
                  <a:lnTo>
                    <a:pt x="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3" name="China">
              <a:extLst>
                <a:ext uri="{FF2B5EF4-FFF2-40B4-BE49-F238E27FC236}">
                  <a16:creationId xmlns:a16="http://schemas.microsoft.com/office/drawing/2014/main" id="{EF667E68-5517-1F35-124A-3E6B77A43F4D}"/>
                </a:ext>
              </a:extLst>
            </p:cNvPr>
            <p:cNvSpPr>
              <a:spLocks/>
            </p:cNvSpPr>
            <p:nvPr/>
          </p:nvSpPr>
          <p:spPr bwMode="auto">
            <a:xfrm>
              <a:off x="7562428" y="3096580"/>
              <a:ext cx="1447457" cy="1058939"/>
            </a:xfrm>
            <a:custGeom>
              <a:avLst/>
              <a:gdLst/>
              <a:ahLst/>
              <a:cxnLst/>
              <a:rect l="l" t="t" r="r" b="b"/>
              <a:pathLst>
                <a:path w="1458996" h="1067381">
                  <a:moveTo>
                    <a:pt x="877948" y="1018201"/>
                  </a:moveTo>
                  <a:lnTo>
                    <a:pt x="888877" y="1018201"/>
                  </a:lnTo>
                  <a:lnTo>
                    <a:pt x="888877" y="1021844"/>
                  </a:lnTo>
                  <a:lnTo>
                    <a:pt x="890698" y="1029130"/>
                  </a:lnTo>
                  <a:lnTo>
                    <a:pt x="877948" y="1050988"/>
                  </a:lnTo>
                  <a:lnTo>
                    <a:pt x="859733" y="1067381"/>
                  </a:lnTo>
                  <a:lnTo>
                    <a:pt x="837876" y="1058274"/>
                  </a:lnTo>
                  <a:lnTo>
                    <a:pt x="832411" y="1038237"/>
                  </a:lnTo>
                  <a:lnTo>
                    <a:pt x="854269" y="1021844"/>
                  </a:lnTo>
                  <a:close/>
                  <a:moveTo>
                    <a:pt x="1191240" y="905270"/>
                  </a:moveTo>
                  <a:lnTo>
                    <a:pt x="1193062" y="905270"/>
                  </a:lnTo>
                  <a:lnTo>
                    <a:pt x="1196705" y="910734"/>
                  </a:lnTo>
                  <a:lnTo>
                    <a:pt x="1196705" y="912556"/>
                  </a:lnTo>
                  <a:lnTo>
                    <a:pt x="1191240" y="912556"/>
                  </a:lnTo>
                  <a:close/>
                  <a:moveTo>
                    <a:pt x="1183954" y="0"/>
                  </a:moveTo>
                  <a:lnTo>
                    <a:pt x="1191240" y="0"/>
                  </a:lnTo>
                  <a:lnTo>
                    <a:pt x="1209455" y="14572"/>
                  </a:lnTo>
                  <a:lnTo>
                    <a:pt x="1236777" y="20036"/>
                  </a:lnTo>
                  <a:lnTo>
                    <a:pt x="1240420" y="20036"/>
                  </a:lnTo>
                  <a:lnTo>
                    <a:pt x="1256813" y="43715"/>
                  </a:lnTo>
                  <a:lnTo>
                    <a:pt x="1262278" y="67394"/>
                  </a:lnTo>
                  <a:lnTo>
                    <a:pt x="1275028" y="100181"/>
                  </a:lnTo>
                  <a:lnTo>
                    <a:pt x="1282314" y="143896"/>
                  </a:lnTo>
                  <a:lnTo>
                    <a:pt x="1324208" y="151182"/>
                  </a:lnTo>
                  <a:lnTo>
                    <a:pt x="1355172" y="171218"/>
                  </a:lnTo>
                  <a:lnTo>
                    <a:pt x="1360637" y="187611"/>
                  </a:lnTo>
                  <a:lnTo>
                    <a:pt x="1360637" y="202183"/>
                  </a:lnTo>
                  <a:lnTo>
                    <a:pt x="1369744" y="213112"/>
                  </a:lnTo>
                  <a:lnTo>
                    <a:pt x="1391602" y="213112"/>
                  </a:lnTo>
                  <a:lnTo>
                    <a:pt x="1455353" y="187611"/>
                  </a:lnTo>
                  <a:lnTo>
                    <a:pt x="1458996" y="187611"/>
                  </a:lnTo>
                  <a:lnTo>
                    <a:pt x="1458996" y="189433"/>
                  </a:lnTo>
                  <a:lnTo>
                    <a:pt x="1453532" y="194897"/>
                  </a:lnTo>
                  <a:lnTo>
                    <a:pt x="1455353" y="218576"/>
                  </a:lnTo>
                  <a:lnTo>
                    <a:pt x="1444424" y="229505"/>
                  </a:lnTo>
                  <a:lnTo>
                    <a:pt x="1433496" y="271399"/>
                  </a:lnTo>
                  <a:lnTo>
                    <a:pt x="1417102" y="306006"/>
                  </a:lnTo>
                  <a:lnTo>
                    <a:pt x="1413459" y="311471"/>
                  </a:lnTo>
                  <a:lnTo>
                    <a:pt x="1409817" y="311471"/>
                  </a:lnTo>
                  <a:lnTo>
                    <a:pt x="1386137" y="302364"/>
                  </a:lnTo>
                  <a:lnTo>
                    <a:pt x="1366101" y="318757"/>
                  </a:lnTo>
                  <a:lnTo>
                    <a:pt x="1371566" y="335150"/>
                  </a:lnTo>
                  <a:lnTo>
                    <a:pt x="1371566" y="364293"/>
                  </a:lnTo>
                  <a:lnTo>
                    <a:pt x="1358815" y="380687"/>
                  </a:lnTo>
                  <a:lnTo>
                    <a:pt x="1358815" y="389794"/>
                  </a:lnTo>
                  <a:lnTo>
                    <a:pt x="1355172" y="389794"/>
                  </a:lnTo>
                  <a:lnTo>
                    <a:pt x="1344244" y="378865"/>
                  </a:lnTo>
                  <a:lnTo>
                    <a:pt x="1335136" y="397080"/>
                  </a:lnTo>
                  <a:lnTo>
                    <a:pt x="1320565" y="408009"/>
                  </a:lnTo>
                  <a:lnTo>
                    <a:pt x="1302350" y="408009"/>
                  </a:lnTo>
                  <a:lnTo>
                    <a:pt x="1302350" y="426223"/>
                  </a:lnTo>
                  <a:lnTo>
                    <a:pt x="1282314" y="429866"/>
                  </a:lnTo>
                  <a:lnTo>
                    <a:pt x="1269563" y="422580"/>
                  </a:lnTo>
                  <a:lnTo>
                    <a:pt x="1245884" y="446259"/>
                  </a:lnTo>
                  <a:lnTo>
                    <a:pt x="1220384" y="457188"/>
                  </a:lnTo>
                  <a:lnTo>
                    <a:pt x="1209455" y="473581"/>
                  </a:lnTo>
                  <a:lnTo>
                    <a:pt x="1185776" y="479046"/>
                  </a:lnTo>
                  <a:lnTo>
                    <a:pt x="1136596" y="510011"/>
                  </a:lnTo>
                  <a:lnTo>
                    <a:pt x="1134775" y="510011"/>
                  </a:lnTo>
                  <a:lnTo>
                    <a:pt x="1131132" y="508189"/>
                  </a:lnTo>
                  <a:lnTo>
                    <a:pt x="1131132" y="504546"/>
                  </a:lnTo>
                  <a:lnTo>
                    <a:pt x="1142061" y="500903"/>
                  </a:lnTo>
                  <a:lnTo>
                    <a:pt x="1142061" y="491796"/>
                  </a:lnTo>
                  <a:lnTo>
                    <a:pt x="1134775" y="486332"/>
                  </a:lnTo>
                  <a:lnTo>
                    <a:pt x="1134775" y="484510"/>
                  </a:lnTo>
                  <a:lnTo>
                    <a:pt x="1156632" y="457188"/>
                  </a:lnTo>
                  <a:lnTo>
                    <a:pt x="1147525" y="440795"/>
                  </a:lnTo>
                  <a:lnTo>
                    <a:pt x="1131132" y="442617"/>
                  </a:lnTo>
                  <a:lnTo>
                    <a:pt x="1114739" y="468117"/>
                  </a:lnTo>
                  <a:lnTo>
                    <a:pt x="1094703" y="479046"/>
                  </a:lnTo>
                  <a:lnTo>
                    <a:pt x="1085595" y="491796"/>
                  </a:lnTo>
                  <a:lnTo>
                    <a:pt x="1069202" y="500903"/>
                  </a:lnTo>
                  <a:lnTo>
                    <a:pt x="1058273" y="497261"/>
                  </a:lnTo>
                  <a:lnTo>
                    <a:pt x="1050987" y="510011"/>
                  </a:lnTo>
                  <a:lnTo>
                    <a:pt x="1047344" y="515475"/>
                  </a:lnTo>
                  <a:lnTo>
                    <a:pt x="1058273" y="526404"/>
                  </a:lnTo>
                  <a:lnTo>
                    <a:pt x="1074666" y="537333"/>
                  </a:lnTo>
                  <a:lnTo>
                    <a:pt x="1083774" y="551905"/>
                  </a:lnTo>
                  <a:lnTo>
                    <a:pt x="1094703" y="557369"/>
                  </a:lnTo>
                  <a:lnTo>
                    <a:pt x="1123846" y="537333"/>
                  </a:lnTo>
                  <a:lnTo>
                    <a:pt x="1125667" y="537333"/>
                  </a:lnTo>
                  <a:lnTo>
                    <a:pt x="1142061" y="548262"/>
                  </a:lnTo>
                  <a:lnTo>
                    <a:pt x="1167561" y="548262"/>
                  </a:lnTo>
                  <a:lnTo>
                    <a:pt x="1167561" y="551905"/>
                  </a:lnTo>
                  <a:lnTo>
                    <a:pt x="1162097" y="568298"/>
                  </a:lnTo>
                  <a:lnTo>
                    <a:pt x="1162097" y="570119"/>
                  </a:lnTo>
                  <a:lnTo>
                    <a:pt x="1158454" y="570119"/>
                  </a:lnTo>
                  <a:lnTo>
                    <a:pt x="1158454" y="568298"/>
                  </a:lnTo>
                  <a:lnTo>
                    <a:pt x="1156632" y="562833"/>
                  </a:lnTo>
                  <a:lnTo>
                    <a:pt x="1151168" y="562833"/>
                  </a:lnTo>
                  <a:lnTo>
                    <a:pt x="1145704" y="570119"/>
                  </a:lnTo>
                  <a:lnTo>
                    <a:pt x="1125667" y="573762"/>
                  </a:lnTo>
                  <a:lnTo>
                    <a:pt x="1125667" y="579227"/>
                  </a:lnTo>
                  <a:lnTo>
                    <a:pt x="1120203" y="588334"/>
                  </a:lnTo>
                  <a:lnTo>
                    <a:pt x="1118382" y="588334"/>
                  </a:lnTo>
                  <a:lnTo>
                    <a:pt x="1111096" y="586512"/>
                  </a:lnTo>
                  <a:lnTo>
                    <a:pt x="1111096" y="593798"/>
                  </a:lnTo>
                  <a:lnTo>
                    <a:pt x="1107453" y="593798"/>
                  </a:lnTo>
                  <a:lnTo>
                    <a:pt x="1096524" y="604727"/>
                  </a:lnTo>
                  <a:lnTo>
                    <a:pt x="1085595" y="624763"/>
                  </a:lnTo>
                  <a:lnTo>
                    <a:pt x="1111096" y="637514"/>
                  </a:lnTo>
                  <a:lnTo>
                    <a:pt x="1125667" y="683050"/>
                  </a:lnTo>
                  <a:lnTo>
                    <a:pt x="1151168" y="710372"/>
                  </a:lnTo>
                  <a:lnTo>
                    <a:pt x="1151168" y="714015"/>
                  </a:lnTo>
                  <a:lnTo>
                    <a:pt x="1118382" y="704908"/>
                  </a:lnTo>
                  <a:lnTo>
                    <a:pt x="1131132" y="714015"/>
                  </a:lnTo>
                  <a:lnTo>
                    <a:pt x="1151168" y="732230"/>
                  </a:lnTo>
                  <a:lnTo>
                    <a:pt x="1151168" y="735873"/>
                  </a:lnTo>
                  <a:lnTo>
                    <a:pt x="1118382" y="754088"/>
                  </a:lnTo>
                  <a:lnTo>
                    <a:pt x="1131132" y="750445"/>
                  </a:lnTo>
                  <a:lnTo>
                    <a:pt x="1151168" y="761373"/>
                  </a:lnTo>
                  <a:lnTo>
                    <a:pt x="1145704" y="766838"/>
                  </a:lnTo>
                  <a:lnTo>
                    <a:pt x="1147525" y="766838"/>
                  </a:lnTo>
                  <a:lnTo>
                    <a:pt x="1147525" y="781410"/>
                  </a:lnTo>
                  <a:lnTo>
                    <a:pt x="1140239" y="783231"/>
                  </a:lnTo>
                  <a:lnTo>
                    <a:pt x="1142061" y="786874"/>
                  </a:lnTo>
                  <a:lnTo>
                    <a:pt x="1136596" y="810553"/>
                  </a:lnTo>
                  <a:lnTo>
                    <a:pt x="1134775" y="810553"/>
                  </a:lnTo>
                  <a:lnTo>
                    <a:pt x="1129310" y="808732"/>
                  </a:lnTo>
                  <a:lnTo>
                    <a:pt x="1101988" y="854268"/>
                  </a:lnTo>
                  <a:lnTo>
                    <a:pt x="1100167" y="854268"/>
                  </a:lnTo>
                  <a:lnTo>
                    <a:pt x="1100167" y="848804"/>
                  </a:lnTo>
                  <a:lnTo>
                    <a:pt x="1094703" y="848804"/>
                  </a:lnTo>
                  <a:lnTo>
                    <a:pt x="1100167" y="859733"/>
                  </a:lnTo>
                  <a:lnTo>
                    <a:pt x="1091060" y="881590"/>
                  </a:lnTo>
                  <a:lnTo>
                    <a:pt x="1091060" y="883412"/>
                  </a:lnTo>
                  <a:lnTo>
                    <a:pt x="1089238" y="883412"/>
                  </a:lnTo>
                  <a:lnTo>
                    <a:pt x="1085595" y="881590"/>
                  </a:lnTo>
                  <a:lnTo>
                    <a:pt x="1072845" y="901626"/>
                  </a:lnTo>
                  <a:lnTo>
                    <a:pt x="1069202" y="901626"/>
                  </a:lnTo>
                  <a:lnTo>
                    <a:pt x="1058273" y="907091"/>
                  </a:lnTo>
                  <a:lnTo>
                    <a:pt x="1058273" y="916198"/>
                  </a:lnTo>
                  <a:lnTo>
                    <a:pt x="1047344" y="927127"/>
                  </a:lnTo>
                  <a:lnTo>
                    <a:pt x="1045523" y="927127"/>
                  </a:lnTo>
                  <a:lnTo>
                    <a:pt x="1032773" y="932591"/>
                  </a:lnTo>
                  <a:lnTo>
                    <a:pt x="1018201" y="945342"/>
                  </a:lnTo>
                  <a:lnTo>
                    <a:pt x="996343" y="954449"/>
                  </a:lnTo>
                  <a:lnTo>
                    <a:pt x="994522" y="954449"/>
                  </a:lnTo>
                  <a:lnTo>
                    <a:pt x="989057" y="948985"/>
                  </a:lnTo>
                  <a:lnTo>
                    <a:pt x="979950" y="956270"/>
                  </a:lnTo>
                  <a:lnTo>
                    <a:pt x="978129" y="956270"/>
                  </a:lnTo>
                  <a:lnTo>
                    <a:pt x="978129" y="954449"/>
                  </a:lnTo>
                  <a:lnTo>
                    <a:pt x="972664" y="959913"/>
                  </a:lnTo>
                  <a:lnTo>
                    <a:pt x="969021" y="956270"/>
                  </a:lnTo>
                  <a:lnTo>
                    <a:pt x="969021" y="961735"/>
                  </a:lnTo>
                  <a:lnTo>
                    <a:pt x="959914" y="961735"/>
                  </a:lnTo>
                  <a:lnTo>
                    <a:pt x="950807" y="950806"/>
                  </a:lnTo>
                  <a:lnTo>
                    <a:pt x="950807" y="965378"/>
                  </a:lnTo>
                  <a:lnTo>
                    <a:pt x="948985" y="965378"/>
                  </a:lnTo>
                  <a:lnTo>
                    <a:pt x="939878" y="956270"/>
                  </a:lnTo>
                  <a:lnTo>
                    <a:pt x="938056" y="972664"/>
                  </a:lnTo>
                  <a:lnTo>
                    <a:pt x="934413" y="972664"/>
                  </a:lnTo>
                  <a:lnTo>
                    <a:pt x="877948" y="985414"/>
                  </a:lnTo>
                  <a:lnTo>
                    <a:pt x="872483" y="996343"/>
                  </a:lnTo>
                  <a:lnTo>
                    <a:pt x="877948" y="1010914"/>
                  </a:lnTo>
                  <a:lnTo>
                    <a:pt x="877948" y="1012736"/>
                  </a:lnTo>
                  <a:lnTo>
                    <a:pt x="867019" y="1016379"/>
                  </a:lnTo>
                  <a:lnTo>
                    <a:pt x="856090" y="996343"/>
                  </a:lnTo>
                  <a:lnTo>
                    <a:pt x="856090" y="983592"/>
                  </a:lnTo>
                  <a:lnTo>
                    <a:pt x="845161" y="985414"/>
                  </a:lnTo>
                  <a:lnTo>
                    <a:pt x="832411" y="978128"/>
                  </a:lnTo>
                  <a:lnTo>
                    <a:pt x="823303" y="985414"/>
                  </a:lnTo>
                  <a:lnTo>
                    <a:pt x="823303" y="983592"/>
                  </a:lnTo>
                  <a:lnTo>
                    <a:pt x="821482" y="979950"/>
                  </a:lnTo>
                  <a:lnTo>
                    <a:pt x="817839" y="985414"/>
                  </a:lnTo>
                  <a:lnTo>
                    <a:pt x="816018" y="985414"/>
                  </a:lnTo>
                  <a:lnTo>
                    <a:pt x="803267" y="979950"/>
                  </a:lnTo>
                  <a:lnTo>
                    <a:pt x="788695" y="972664"/>
                  </a:lnTo>
                  <a:lnTo>
                    <a:pt x="783231" y="950806"/>
                  </a:lnTo>
                  <a:lnTo>
                    <a:pt x="750445" y="939877"/>
                  </a:lnTo>
                  <a:lnTo>
                    <a:pt x="719480" y="956270"/>
                  </a:lnTo>
                  <a:lnTo>
                    <a:pt x="710372" y="954449"/>
                  </a:lnTo>
                  <a:lnTo>
                    <a:pt x="703086" y="956270"/>
                  </a:lnTo>
                  <a:lnTo>
                    <a:pt x="699444" y="956270"/>
                  </a:lnTo>
                  <a:lnTo>
                    <a:pt x="686693" y="950806"/>
                  </a:lnTo>
                  <a:lnTo>
                    <a:pt x="683050" y="961735"/>
                  </a:lnTo>
                  <a:lnTo>
                    <a:pt x="681229" y="961735"/>
                  </a:lnTo>
                  <a:lnTo>
                    <a:pt x="670300" y="959913"/>
                  </a:lnTo>
                  <a:lnTo>
                    <a:pt x="666657" y="961735"/>
                  </a:lnTo>
                  <a:lnTo>
                    <a:pt x="670300" y="985414"/>
                  </a:lnTo>
                  <a:lnTo>
                    <a:pt x="666657" y="989057"/>
                  </a:lnTo>
                  <a:lnTo>
                    <a:pt x="659371" y="990878"/>
                  </a:lnTo>
                  <a:lnTo>
                    <a:pt x="655728" y="990878"/>
                  </a:lnTo>
                  <a:lnTo>
                    <a:pt x="653907" y="978128"/>
                  </a:lnTo>
                  <a:lnTo>
                    <a:pt x="652085" y="974485"/>
                  </a:lnTo>
                  <a:lnTo>
                    <a:pt x="635692" y="979950"/>
                  </a:lnTo>
                  <a:lnTo>
                    <a:pt x="624763" y="969021"/>
                  </a:lnTo>
                  <a:lnTo>
                    <a:pt x="610192" y="965378"/>
                  </a:lnTo>
                  <a:lnTo>
                    <a:pt x="615656" y="945342"/>
                  </a:lnTo>
                  <a:lnTo>
                    <a:pt x="604727" y="938056"/>
                  </a:lnTo>
                  <a:lnTo>
                    <a:pt x="602906" y="938056"/>
                  </a:lnTo>
                  <a:lnTo>
                    <a:pt x="599263" y="916198"/>
                  </a:lnTo>
                  <a:lnTo>
                    <a:pt x="588334" y="916198"/>
                  </a:lnTo>
                  <a:lnTo>
                    <a:pt x="573762" y="923484"/>
                  </a:lnTo>
                  <a:lnTo>
                    <a:pt x="570119" y="923484"/>
                  </a:lnTo>
                  <a:lnTo>
                    <a:pt x="579227" y="890698"/>
                  </a:lnTo>
                  <a:lnTo>
                    <a:pt x="597441" y="865197"/>
                  </a:lnTo>
                  <a:lnTo>
                    <a:pt x="597441" y="848804"/>
                  </a:lnTo>
                  <a:lnTo>
                    <a:pt x="591977" y="826946"/>
                  </a:lnTo>
                  <a:lnTo>
                    <a:pt x="586513" y="826946"/>
                  </a:lnTo>
                  <a:lnTo>
                    <a:pt x="579227" y="810553"/>
                  </a:lnTo>
                  <a:lnTo>
                    <a:pt x="570119" y="808732"/>
                  </a:lnTo>
                  <a:lnTo>
                    <a:pt x="564655" y="810553"/>
                  </a:lnTo>
                  <a:lnTo>
                    <a:pt x="559191" y="805089"/>
                  </a:lnTo>
                  <a:lnTo>
                    <a:pt x="540976" y="799624"/>
                  </a:lnTo>
                  <a:lnTo>
                    <a:pt x="540976" y="788695"/>
                  </a:lnTo>
                  <a:lnTo>
                    <a:pt x="537333" y="786874"/>
                  </a:lnTo>
                  <a:lnTo>
                    <a:pt x="531868" y="775945"/>
                  </a:lnTo>
                  <a:lnTo>
                    <a:pt x="515475" y="781410"/>
                  </a:lnTo>
                  <a:lnTo>
                    <a:pt x="500904" y="781410"/>
                  </a:lnTo>
                  <a:lnTo>
                    <a:pt x="462653" y="808732"/>
                  </a:lnTo>
                  <a:lnTo>
                    <a:pt x="431688" y="821482"/>
                  </a:lnTo>
                  <a:lnTo>
                    <a:pt x="429866" y="821482"/>
                  </a:lnTo>
                  <a:lnTo>
                    <a:pt x="429866" y="817839"/>
                  </a:lnTo>
                  <a:lnTo>
                    <a:pt x="424402" y="816017"/>
                  </a:lnTo>
                  <a:lnTo>
                    <a:pt x="389794" y="808732"/>
                  </a:lnTo>
                  <a:lnTo>
                    <a:pt x="364293" y="832411"/>
                  </a:lnTo>
                  <a:lnTo>
                    <a:pt x="358829" y="828768"/>
                  </a:lnTo>
                  <a:lnTo>
                    <a:pt x="358829" y="814196"/>
                  </a:lnTo>
                  <a:lnTo>
                    <a:pt x="346079" y="817839"/>
                  </a:lnTo>
                  <a:lnTo>
                    <a:pt x="327864" y="821482"/>
                  </a:lnTo>
                  <a:lnTo>
                    <a:pt x="311471" y="816017"/>
                  </a:lnTo>
                  <a:lnTo>
                    <a:pt x="306006" y="816017"/>
                  </a:lnTo>
                  <a:lnTo>
                    <a:pt x="300542" y="817839"/>
                  </a:lnTo>
                  <a:lnTo>
                    <a:pt x="291435" y="817839"/>
                  </a:lnTo>
                  <a:lnTo>
                    <a:pt x="285970" y="810553"/>
                  </a:lnTo>
                  <a:lnTo>
                    <a:pt x="273220" y="805089"/>
                  </a:lnTo>
                  <a:lnTo>
                    <a:pt x="273220" y="797803"/>
                  </a:lnTo>
                  <a:lnTo>
                    <a:pt x="251362" y="794160"/>
                  </a:lnTo>
                  <a:lnTo>
                    <a:pt x="249541" y="792338"/>
                  </a:lnTo>
                  <a:lnTo>
                    <a:pt x="251362" y="781410"/>
                  </a:lnTo>
                  <a:lnTo>
                    <a:pt x="238612" y="786874"/>
                  </a:lnTo>
                  <a:lnTo>
                    <a:pt x="234969" y="786874"/>
                  </a:lnTo>
                  <a:lnTo>
                    <a:pt x="227683" y="770481"/>
                  </a:lnTo>
                  <a:lnTo>
                    <a:pt x="207647" y="755909"/>
                  </a:lnTo>
                  <a:lnTo>
                    <a:pt x="187611" y="754088"/>
                  </a:lnTo>
                  <a:lnTo>
                    <a:pt x="183968" y="759552"/>
                  </a:lnTo>
                  <a:lnTo>
                    <a:pt x="176682" y="754088"/>
                  </a:lnTo>
                  <a:lnTo>
                    <a:pt x="140253" y="732230"/>
                  </a:lnTo>
                  <a:lnTo>
                    <a:pt x="127503" y="732230"/>
                  </a:lnTo>
                  <a:lnTo>
                    <a:pt x="122038" y="721301"/>
                  </a:lnTo>
                  <a:lnTo>
                    <a:pt x="122038" y="704908"/>
                  </a:lnTo>
                  <a:lnTo>
                    <a:pt x="114752" y="688515"/>
                  </a:lnTo>
                  <a:lnTo>
                    <a:pt x="116574" y="688515"/>
                  </a:lnTo>
                  <a:lnTo>
                    <a:pt x="122038" y="683050"/>
                  </a:lnTo>
                  <a:lnTo>
                    <a:pt x="123860" y="683050"/>
                  </a:lnTo>
                  <a:lnTo>
                    <a:pt x="129324" y="692158"/>
                  </a:lnTo>
                  <a:lnTo>
                    <a:pt x="140253" y="683050"/>
                  </a:lnTo>
                  <a:lnTo>
                    <a:pt x="138431" y="672121"/>
                  </a:lnTo>
                  <a:lnTo>
                    <a:pt x="127503" y="666657"/>
                  </a:lnTo>
                  <a:lnTo>
                    <a:pt x="127503" y="664836"/>
                  </a:lnTo>
                  <a:lnTo>
                    <a:pt x="123860" y="648442"/>
                  </a:lnTo>
                  <a:lnTo>
                    <a:pt x="123860" y="646621"/>
                  </a:lnTo>
                  <a:lnTo>
                    <a:pt x="127503" y="646621"/>
                  </a:lnTo>
                  <a:lnTo>
                    <a:pt x="140253" y="642978"/>
                  </a:lnTo>
                  <a:lnTo>
                    <a:pt x="140253" y="635692"/>
                  </a:lnTo>
                  <a:lnTo>
                    <a:pt x="151182" y="624763"/>
                  </a:lnTo>
                  <a:lnTo>
                    <a:pt x="160289" y="604727"/>
                  </a:lnTo>
                  <a:lnTo>
                    <a:pt x="154825" y="608370"/>
                  </a:lnTo>
                  <a:lnTo>
                    <a:pt x="151182" y="608370"/>
                  </a:lnTo>
                  <a:lnTo>
                    <a:pt x="151182" y="602906"/>
                  </a:lnTo>
                  <a:lnTo>
                    <a:pt x="134788" y="591977"/>
                  </a:lnTo>
                  <a:lnTo>
                    <a:pt x="98359" y="604727"/>
                  </a:lnTo>
                  <a:lnTo>
                    <a:pt x="94716" y="608370"/>
                  </a:lnTo>
                  <a:lnTo>
                    <a:pt x="94716" y="604727"/>
                  </a:lnTo>
                  <a:lnTo>
                    <a:pt x="76501" y="599263"/>
                  </a:lnTo>
                  <a:lnTo>
                    <a:pt x="71037" y="593798"/>
                  </a:lnTo>
                  <a:lnTo>
                    <a:pt x="60108" y="593798"/>
                  </a:lnTo>
                  <a:lnTo>
                    <a:pt x="54644" y="588334"/>
                  </a:lnTo>
                  <a:lnTo>
                    <a:pt x="54644" y="586512"/>
                  </a:lnTo>
                  <a:lnTo>
                    <a:pt x="56465" y="575584"/>
                  </a:lnTo>
                  <a:lnTo>
                    <a:pt x="51001" y="570119"/>
                  </a:lnTo>
                  <a:lnTo>
                    <a:pt x="43715" y="570119"/>
                  </a:lnTo>
                  <a:lnTo>
                    <a:pt x="41894" y="562833"/>
                  </a:lnTo>
                  <a:lnTo>
                    <a:pt x="25500" y="559190"/>
                  </a:lnTo>
                  <a:lnTo>
                    <a:pt x="20036" y="557369"/>
                  </a:lnTo>
                  <a:lnTo>
                    <a:pt x="20036" y="553726"/>
                  </a:lnTo>
                  <a:lnTo>
                    <a:pt x="27322" y="551905"/>
                  </a:lnTo>
                  <a:lnTo>
                    <a:pt x="32786" y="551905"/>
                  </a:lnTo>
                  <a:lnTo>
                    <a:pt x="27322" y="515475"/>
                  </a:lnTo>
                  <a:lnTo>
                    <a:pt x="9107" y="515475"/>
                  </a:lnTo>
                  <a:lnTo>
                    <a:pt x="0" y="504546"/>
                  </a:lnTo>
                  <a:lnTo>
                    <a:pt x="0" y="502725"/>
                  </a:lnTo>
                  <a:lnTo>
                    <a:pt x="5464" y="480867"/>
                  </a:lnTo>
                  <a:lnTo>
                    <a:pt x="9107" y="468117"/>
                  </a:lnTo>
                  <a:lnTo>
                    <a:pt x="27322" y="459010"/>
                  </a:lnTo>
                  <a:lnTo>
                    <a:pt x="30965" y="451724"/>
                  </a:lnTo>
                  <a:lnTo>
                    <a:pt x="38251" y="451724"/>
                  </a:lnTo>
                  <a:lnTo>
                    <a:pt x="47358" y="453545"/>
                  </a:lnTo>
                  <a:lnTo>
                    <a:pt x="51001" y="453545"/>
                  </a:lnTo>
                  <a:lnTo>
                    <a:pt x="60108" y="457188"/>
                  </a:lnTo>
                  <a:lnTo>
                    <a:pt x="65573" y="457188"/>
                  </a:lnTo>
                  <a:lnTo>
                    <a:pt x="78323" y="440795"/>
                  </a:lnTo>
                  <a:lnTo>
                    <a:pt x="109288" y="435331"/>
                  </a:lnTo>
                  <a:lnTo>
                    <a:pt x="120217" y="422580"/>
                  </a:lnTo>
                  <a:lnTo>
                    <a:pt x="154825" y="406187"/>
                  </a:lnTo>
                  <a:lnTo>
                    <a:pt x="160289" y="391615"/>
                  </a:lnTo>
                  <a:lnTo>
                    <a:pt x="167575" y="362472"/>
                  </a:lnTo>
                  <a:lnTo>
                    <a:pt x="156646" y="322400"/>
                  </a:lnTo>
                  <a:lnTo>
                    <a:pt x="149360" y="313292"/>
                  </a:lnTo>
                  <a:lnTo>
                    <a:pt x="149360" y="311471"/>
                  </a:lnTo>
                  <a:lnTo>
                    <a:pt x="151182" y="311471"/>
                  </a:lnTo>
                  <a:lnTo>
                    <a:pt x="205826" y="296899"/>
                  </a:lnTo>
                  <a:lnTo>
                    <a:pt x="205826" y="275041"/>
                  </a:lnTo>
                  <a:lnTo>
                    <a:pt x="222219" y="233148"/>
                  </a:lnTo>
                  <a:lnTo>
                    <a:pt x="240434" y="233148"/>
                  </a:lnTo>
                  <a:lnTo>
                    <a:pt x="245898" y="234969"/>
                  </a:lnTo>
                  <a:lnTo>
                    <a:pt x="262291" y="234969"/>
                  </a:lnTo>
                  <a:lnTo>
                    <a:pt x="267756" y="244077"/>
                  </a:lnTo>
                  <a:lnTo>
                    <a:pt x="284149" y="234969"/>
                  </a:lnTo>
                  <a:lnTo>
                    <a:pt x="284149" y="211290"/>
                  </a:lnTo>
                  <a:lnTo>
                    <a:pt x="289613" y="189433"/>
                  </a:lnTo>
                  <a:lnTo>
                    <a:pt x="291435" y="189433"/>
                  </a:lnTo>
                  <a:lnTo>
                    <a:pt x="307828" y="187611"/>
                  </a:lnTo>
                  <a:lnTo>
                    <a:pt x="316935" y="171218"/>
                  </a:lnTo>
                  <a:lnTo>
                    <a:pt x="318757" y="171218"/>
                  </a:lnTo>
                  <a:lnTo>
                    <a:pt x="327864" y="173039"/>
                  </a:lnTo>
                  <a:lnTo>
                    <a:pt x="335150" y="167575"/>
                  </a:lnTo>
                  <a:lnTo>
                    <a:pt x="338793" y="167575"/>
                  </a:lnTo>
                  <a:lnTo>
                    <a:pt x="338793" y="171218"/>
                  </a:lnTo>
                  <a:lnTo>
                    <a:pt x="346079" y="187611"/>
                  </a:lnTo>
                  <a:lnTo>
                    <a:pt x="362472" y="205826"/>
                  </a:lnTo>
                  <a:lnTo>
                    <a:pt x="391615" y="211290"/>
                  </a:lnTo>
                  <a:lnTo>
                    <a:pt x="395258" y="211290"/>
                  </a:lnTo>
                  <a:lnTo>
                    <a:pt x="397080" y="218576"/>
                  </a:lnTo>
                  <a:lnTo>
                    <a:pt x="408009" y="255005"/>
                  </a:lnTo>
                  <a:lnTo>
                    <a:pt x="411652" y="284149"/>
                  </a:lnTo>
                  <a:lnTo>
                    <a:pt x="408009" y="295078"/>
                  </a:lnTo>
                  <a:lnTo>
                    <a:pt x="446259" y="307828"/>
                  </a:lnTo>
                  <a:lnTo>
                    <a:pt x="459010" y="306006"/>
                  </a:lnTo>
                  <a:lnTo>
                    <a:pt x="515475" y="329686"/>
                  </a:lnTo>
                  <a:lnTo>
                    <a:pt x="535511" y="358829"/>
                  </a:lnTo>
                  <a:lnTo>
                    <a:pt x="559191" y="380687"/>
                  </a:lnTo>
                  <a:lnTo>
                    <a:pt x="646621" y="378865"/>
                  </a:lnTo>
                  <a:lnTo>
                    <a:pt x="686693" y="400723"/>
                  </a:lnTo>
                  <a:lnTo>
                    <a:pt x="743159" y="417116"/>
                  </a:lnTo>
                  <a:lnTo>
                    <a:pt x="810553" y="391615"/>
                  </a:lnTo>
                  <a:lnTo>
                    <a:pt x="839697" y="391615"/>
                  </a:lnTo>
                  <a:lnTo>
                    <a:pt x="867019" y="386151"/>
                  </a:lnTo>
                  <a:lnTo>
                    <a:pt x="910734" y="347900"/>
                  </a:lnTo>
                  <a:lnTo>
                    <a:pt x="899805" y="333328"/>
                  </a:lnTo>
                  <a:lnTo>
                    <a:pt x="899805" y="329686"/>
                  </a:lnTo>
                  <a:lnTo>
                    <a:pt x="910734" y="307828"/>
                  </a:lnTo>
                  <a:lnTo>
                    <a:pt x="912556" y="307828"/>
                  </a:lnTo>
                  <a:lnTo>
                    <a:pt x="921663" y="302364"/>
                  </a:lnTo>
                  <a:lnTo>
                    <a:pt x="948985" y="313292"/>
                  </a:lnTo>
                  <a:lnTo>
                    <a:pt x="978129" y="289613"/>
                  </a:lnTo>
                  <a:lnTo>
                    <a:pt x="999986" y="284149"/>
                  </a:lnTo>
                  <a:lnTo>
                    <a:pt x="1027308" y="255005"/>
                  </a:lnTo>
                  <a:lnTo>
                    <a:pt x="1029130" y="255005"/>
                  </a:lnTo>
                  <a:lnTo>
                    <a:pt x="1089238" y="249541"/>
                  </a:lnTo>
                  <a:lnTo>
                    <a:pt x="1083774" y="240434"/>
                  </a:lnTo>
                  <a:lnTo>
                    <a:pt x="1080131" y="224040"/>
                  </a:lnTo>
                  <a:lnTo>
                    <a:pt x="1061916" y="202183"/>
                  </a:lnTo>
                  <a:lnTo>
                    <a:pt x="1032773" y="222219"/>
                  </a:lnTo>
                  <a:lnTo>
                    <a:pt x="999986" y="216755"/>
                  </a:lnTo>
                  <a:lnTo>
                    <a:pt x="996343" y="202183"/>
                  </a:lnTo>
                  <a:lnTo>
                    <a:pt x="996343" y="162110"/>
                  </a:lnTo>
                  <a:lnTo>
                    <a:pt x="1016379" y="132967"/>
                  </a:lnTo>
                  <a:lnTo>
                    <a:pt x="1018201" y="132967"/>
                  </a:lnTo>
                  <a:lnTo>
                    <a:pt x="1052809" y="145717"/>
                  </a:lnTo>
                  <a:lnTo>
                    <a:pt x="1083774" y="127503"/>
                  </a:lnTo>
                  <a:lnTo>
                    <a:pt x="1085595" y="116574"/>
                  </a:lnTo>
                  <a:lnTo>
                    <a:pt x="1100167" y="72859"/>
                  </a:lnTo>
                  <a:lnTo>
                    <a:pt x="1118382" y="56465"/>
                  </a:lnTo>
                  <a:lnTo>
                    <a:pt x="1118382" y="40072"/>
                  </a:lnTo>
                  <a:lnTo>
                    <a:pt x="1101988" y="40072"/>
                  </a:lnTo>
                  <a:lnTo>
                    <a:pt x="1101988" y="38251"/>
                  </a:lnTo>
                  <a:lnTo>
                    <a:pt x="1105631" y="32786"/>
                  </a:lnTo>
                  <a:lnTo>
                    <a:pt x="1123846" y="9107"/>
                  </a:lnTo>
                  <a:lnTo>
                    <a:pt x="1129310" y="9107"/>
                  </a:lnTo>
                  <a:lnTo>
                    <a:pt x="1145704" y="5464"/>
                  </a:lnTo>
                  <a:lnTo>
                    <a:pt x="1167561"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4" name="Japan - Offshore">
              <a:extLst>
                <a:ext uri="{FF2B5EF4-FFF2-40B4-BE49-F238E27FC236}">
                  <a16:creationId xmlns:a16="http://schemas.microsoft.com/office/drawing/2014/main" id="{F7921A34-2E92-E370-6BCD-65BD73CC116C}"/>
                </a:ext>
              </a:extLst>
            </p:cNvPr>
            <p:cNvSpPr>
              <a:spLocks/>
            </p:cNvSpPr>
            <p:nvPr/>
          </p:nvSpPr>
          <p:spPr bwMode="auto">
            <a:xfrm>
              <a:off x="8838215" y="3362218"/>
              <a:ext cx="540313" cy="592718"/>
            </a:xfrm>
            <a:custGeom>
              <a:avLst/>
              <a:gdLst/>
              <a:ahLst/>
              <a:cxnLst/>
              <a:rect l="l" t="t" r="r" b="b"/>
              <a:pathLst>
                <a:path w="544620" h="597443">
                  <a:moveTo>
                    <a:pt x="10929" y="575585"/>
                  </a:moveTo>
                  <a:lnTo>
                    <a:pt x="12751" y="575585"/>
                  </a:lnTo>
                  <a:lnTo>
                    <a:pt x="1821" y="593800"/>
                  </a:lnTo>
                  <a:lnTo>
                    <a:pt x="1821" y="597443"/>
                  </a:lnTo>
                  <a:lnTo>
                    <a:pt x="0" y="597443"/>
                  </a:lnTo>
                  <a:lnTo>
                    <a:pt x="0" y="593800"/>
                  </a:lnTo>
                  <a:lnTo>
                    <a:pt x="1821" y="586514"/>
                  </a:lnTo>
                  <a:close/>
                  <a:moveTo>
                    <a:pt x="45538" y="530048"/>
                  </a:moveTo>
                  <a:lnTo>
                    <a:pt x="45538" y="531870"/>
                  </a:lnTo>
                  <a:lnTo>
                    <a:pt x="49181" y="531870"/>
                  </a:lnTo>
                  <a:lnTo>
                    <a:pt x="40073" y="540977"/>
                  </a:lnTo>
                  <a:lnTo>
                    <a:pt x="38252" y="540977"/>
                  </a:lnTo>
                  <a:lnTo>
                    <a:pt x="38252" y="535513"/>
                  </a:lnTo>
                  <a:lnTo>
                    <a:pt x="40073" y="531870"/>
                  </a:lnTo>
                  <a:close/>
                  <a:moveTo>
                    <a:pt x="67395" y="480869"/>
                  </a:moveTo>
                  <a:lnTo>
                    <a:pt x="69216" y="480869"/>
                  </a:lnTo>
                  <a:lnTo>
                    <a:pt x="72860" y="486334"/>
                  </a:lnTo>
                  <a:lnTo>
                    <a:pt x="67395" y="486334"/>
                  </a:lnTo>
                  <a:close/>
                  <a:moveTo>
                    <a:pt x="32787" y="404367"/>
                  </a:moveTo>
                  <a:lnTo>
                    <a:pt x="34608" y="404367"/>
                  </a:lnTo>
                  <a:lnTo>
                    <a:pt x="38251" y="408010"/>
                  </a:lnTo>
                  <a:lnTo>
                    <a:pt x="40073" y="408010"/>
                  </a:lnTo>
                  <a:lnTo>
                    <a:pt x="40073" y="409832"/>
                  </a:lnTo>
                  <a:lnTo>
                    <a:pt x="38251" y="409832"/>
                  </a:lnTo>
                  <a:lnTo>
                    <a:pt x="34608" y="413475"/>
                  </a:lnTo>
                  <a:lnTo>
                    <a:pt x="34608" y="415296"/>
                  </a:lnTo>
                  <a:lnTo>
                    <a:pt x="32787" y="415296"/>
                  </a:lnTo>
                  <a:close/>
                  <a:moveTo>
                    <a:pt x="74681" y="380688"/>
                  </a:moveTo>
                  <a:lnTo>
                    <a:pt x="78323" y="380688"/>
                  </a:lnTo>
                  <a:lnTo>
                    <a:pt x="85609" y="391617"/>
                  </a:lnTo>
                  <a:lnTo>
                    <a:pt x="89252" y="391617"/>
                  </a:lnTo>
                  <a:lnTo>
                    <a:pt x="91074" y="389795"/>
                  </a:lnTo>
                  <a:lnTo>
                    <a:pt x="96538" y="389795"/>
                  </a:lnTo>
                  <a:lnTo>
                    <a:pt x="96538" y="398903"/>
                  </a:lnTo>
                  <a:lnTo>
                    <a:pt x="100181" y="402546"/>
                  </a:lnTo>
                  <a:lnTo>
                    <a:pt x="102003" y="402546"/>
                  </a:lnTo>
                  <a:lnTo>
                    <a:pt x="105646" y="413474"/>
                  </a:lnTo>
                  <a:lnTo>
                    <a:pt x="89252" y="453546"/>
                  </a:lnTo>
                  <a:lnTo>
                    <a:pt x="74681" y="464475"/>
                  </a:lnTo>
                  <a:lnTo>
                    <a:pt x="72859" y="464475"/>
                  </a:lnTo>
                  <a:lnTo>
                    <a:pt x="72859" y="459011"/>
                  </a:lnTo>
                  <a:lnTo>
                    <a:pt x="69216" y="462654"/>
                  </a:lnTo>
                  <a:lnTo>
                    <a:pt x="61930" y="457189"/>
                  </a:lnTo>
                  <a:lnTo>
                    <a:pt x="61930" y="437153"/>
                  </a:lnTo>
                  <a:lnTo>
                    <a:pt x="69216" y="424403"/>
                  </a:lnTo>
                  <a:lnTo>
                    <a:pt x="63752" y="408010"/>
                  </a:lnTo>
                  <a:lnTo>
                    <a:pt x="63752" y="418939"/>
                  </a:lnTo>
                  <a:lnTo>
                    <a:pt x="58287" y="418939"/>
                  </a:lnTo>
                  <a:lnTo>
                    <a:pt x="56466" y="420760"/>
                  </a:lnTo>
                  <a:lnTo>
                    <a:pt x="49180" y="420760"/>
                  </a:lnTo>
                  <a:lnTo>
                    <a:pt x="49180" y="408010"/>
                  </a:lnTo>
                  <a:lnTo>
                    <a:pt x="51001" y="408010"/>
                  </a:lnTo>
                  <a:lnTo>
                    <a:pt x="54644" y="409831"/>
                  </a:lnTo>
                  <a:lnTo>
                    <a:pt x="49180" y="402546"/>
                  </a:lnTo>
                  <a:close/>
                  <a:moveTo>
                    <a:pt x="174861" y="362473"/>
                  </a:moveTo>
                  <a:lnTo>
                    <a:pt x="178504" y="362473"/>
                  </a:lnTo>
                  <a:lnTo>
                    <a:pt x="174861" y="373403"/>
                  </a:lnTo>
                  <a:lnTo>
                    <a:pt x="173039" y="373403"/>
                  </a:lnTo>
                  <a:lnTo>
                    <a:pt x="169396" y="375224"/>
                  </a:lnTo>
                  <a:lnTo>
                    <a:pt x="167835" y="375224"/>
                  </a:lnTo>
                  <a:lnTo>
                    <a:pt x="169397" y="386153"/>
                  </a:lnTo>
                  <a:lnTo>
                    <a:pt x="158468" y="402546"/>
                  </a:lnTo>
                  <a:lnTo>
                    <a:pt x="156646" y="402546"/>
                  </a:lnTo>
                  <a:lnTo>
                    <a:pt x="140253" y="397082"/>
                  </a:lnTo>
                  <a:lnTo>
                    <a:pt x="129324" y="415296"/>
                  </a:lnTo>
                  <a:lnTo>
                    <a:pt x="129324" y="418939"/>
                  </a:lnTo>
                  <a:lnTo>
                    <a:pt x="123860" y="418939"/>
                  </a:lnTo>
                  <a:lnTo>
                    <a:pt x="123860" y="415296"/>
                  </a:lnTo>
                  <a:lnTo>
                    <a:pt x="116574" y="398903"/>
                  </a:lnTo>
                  <a:lnTo>
                    <a:pt x="107467" y="398903"/>
                  </a:lnTo>
                  <a:lnTo>
                    <a:pt x="107467" y="397082"/>
                  </a:lnTo>
                  <a:lnTo>
                    <a:pt x="123860" y="378867"/>
                  </a:lnTo>
                  <a:lnTo>
                    <a:pt x="129324" y="378867"/>
                  </a:lnTo>
                  <a:lnTo>
                    <a:pt x="131146" y="380688"/>
                  </a:lnTo>
                  <a:lnTo>
                    <a:pt x="136610" y="380688"/>
                  </a:lnTo>
                  <a:lnTo>
                    <a:pt x="151182" y="367938"/>
                  </a:lnTo>
                  <a:lnTo>
                    <a:pt x="153004" y="367938"/>
                  </a:lnTo>
                  <a:lnTo>
                    <a:pt x="167575" y="373402"/>
                  </a:lnTo>
                  <a:close/>
                  <a:moveTo>
                    <a:pt x="258650" y="253185"/>
                  </a:moveTo>
                  <a:lnTo>
                    <a:pt x="262293" y="253185"/>
                  </a:lnTo>
                  <a:lnTo>
                    <a:pt x="258650" y="269579"/>
                  </a:lnTo>
                  <a:lnTo>
                    <a:pt x="253185" y="269579"/>
                  </a:lnTo>
                  <a:lnTo>
                    <a:pt x="253185" y="267758"/>
                  </a:lnTo>
                  <a:close/>
                  <a:moveTo>
                    <a:pt x="442619" y="60109"/>
                  </a:moveTo>
                  <a:lnTo>
                    <a:pt x="444440" y="65574"/>
                  </a:lnTo>
                  <a:lnTo>
                    <a:pt x="426225" y="83789"/>
                  </a:lnTo>
                  <a:lnTo>
                    <a:pt x="424403" y="78325"/>
                  </a:lnTo>
                  <a:close/>
                  <a:moveTo>
                    <a:pt x="320578" y="32788"/>
                  </a:moveTo>
                  <a:lnTo>
                    <a:pt x="324222" y="32788"/>
                  </a:lnTo>
                  <a:lnTo>
                    <a:pt x="326043" y="38253"/>
                  </a:lnTo>
                  <a:lnTo>
                    <a:pt x="320578" y="34610"/>
                  </a:lnTo>
                  <a:close/>
                  <a:moveTo>
                    <a:pt x="336972" y="23680"/>
                  </a:moveTo>
                  <a:lnTo>
                    <a:pt x="340615" y="23680"/>
                  </a:lnTo>
                  <a:lnTo>
                    <a:pt x="377044" y="65574"/>
                  </a:lnTo>
                  <a:lnTo>
                    <a:pt x="404366" y="76503"/>
                  </a:lnTo>
                  <a:lnTo>
                    <a:pt x="413473" y="71039"/>
                  </a:lnTo>
                  <a:lnTo>
                    <a:pt x="424402" y="65574"/>
                  </a:lnTo>
                  <a:lnTo>
                    <a:pt x="424402" y="67396"/>
                  </a:lnTo>
                  <a:lnTo>
                    <a:pt x="418938" y="80146"/>
                  </a:lnTo>
                  <a:lnTo>
                    <a:pt x="424402" y="94718"/>
                  </a:lnTo>
                  <a:lnTo>
                    <a:pt x="426223" y="94718"/>
                  </a:lnTo>
                  <a:lnTo>
                    <a:pt x="429866" y="91075"/>
                  </a:lnTo>
                  <a:lnTo>
                    <a:pt x="437152" y="91075"/>
                  </a:lnTo>
                  <a:lnTo>
                    <a:pt x="431688" y="96539"/>
                  </a:lnTo>
                  <a:lnTo>
                    <a:pt x="387973" y="112933"/>
                  </a:lnTo>
                  <a:lnTo>
                    <a:pt x="371580" y="140255"/>
                  </a:lnTo>
                  <a:lnTo>
                    <a:pt x="371580" y="143898"/>
                  </a:lnTo>
                  <a:lnTo>
                    <a:pt x="340615" y="123862"/>
                  </a:lnTo>
                  <a:lnTo>
                    <a:pt x="324222" y="127504"/>
                  </a:lnTo>
                  <a:lnTo>
                    <a:pt x="307828" y="123862"/>
                  </a:lnTo>
                  <a:lnTo>
                    <a:pt x="304185" y="127504"/>
                  </a:lnTo>
                  <a:lnTo>
                    <a:pt x="307828" y="132969"/>
                  </a:lnTo>
                  <a:lnTo>
                    <a:pt x="324222" y="143898"/>
                  </a:lnTo>
                  <a:lnTo>
                    <a:pt x="324222" y="145719"/>
                  </a:lnTo>
                  <a:lnTo>
                    <a:pt x="296900" y="156648"/>
                  </a:lnTo>
                  <a:lnTo>
                    <a:pt x="296900" y="140255"/>
                  </a:lnTo>
                  <a:lnTo>
                    <a:pt x="287792" y="132969"/>
                  </a:lnTo>
                  <a:lnTo>
                    <a:pt x="291435" y="122040"/>
                  </a:lnTo>
                  <a:lnTo>
                    <a:pt x="304185" y="107468"/>
                  </a:lnTo>
                  <a:lnTo>
                    <a:pt x="304185" y="96539"/>
                  </a:lnTo>
                  <a:lnTo>
                    <a:pt x="309650" y="96539"/>
                  </a:lnTo>
                  <a:lnTo>
                    <a:pt x="318757" y="100182"/>
                  </a:lnTo>
                  <a:lnTo>
                    <a:pt x="324222" y="100182"/>
                  </a:lnTo>
                  <a:lnTo>
                    <a:pt x="326043" y="91075"/>
                  </a:lnTo>
                  <a:lnTo>
                    <a:pt x="326043" y="83789"/>
                  </a:lnTo>
                  <a:lnTo>
                    <a:pt x="331507" y="72860"/>
                  </a:lnTo>
                  <a:lnTo>
                    <a:pt x="336972" y="49181"/>
                  </a:lnTo>
                  <a:lnTo>
                    <a:pt x="331507" y="32788"/>
                  </a:lnTo>
                  <a:lnTo>
                    <a:pt x="331507" y="29145"/>
                  </a:lnTo>
                  <a:lnTo>
                    <a:pt x="335150" y="29145"/>
                  </a:lnTo>
                  <a:close/>
                  <a:moveTo>
                    <a:pt x="504547" y="21858"/>
                  </a:moveTo>
                  <a:lnTo>
                    <a:pt x="508190" y="27323"/>
                  </a:lnTo>
                  <a:lnTo>
                    <a:pt x="460832" y="60109"/>
                  </a:lnTo>
                  <a:lnTo>
                    <a:pt x="482690" y="29144"/>
                  </a:lnTo>
                  <a:lnTo>
                    <a:pt x="491797" y="32787"/>
                  </a:lnTo>
                  <a:close/>
                  <a:moveTo>
                    <a:pt x="544620" y="0"/>
                  </a:moveTo>
                  <a:lnTo>
                    <a:pt x="522762" y="21858"/>
                  </a:lnTo>
                  <a:lnTo>
                    <a:pt x="533691" y="5464"/>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5" name="Japan - Mainland">
              <a:extLst>
                <a:ext uri="{FF2B5EF4-FFF2-40B4-BE49-F238E27FC236}">
                  <a16:creationId xmlns:a16="http://schemas.microsoft.com/office/drawing/2014/main" id="{43411DEC-5E7B-E5AA-2D99-C400270CD9B4}"/>
                </a:ext>
              </a:extLst>
            </p:cNvPr>
            <p:cNvSpPr>
              <a:spLocks noEditPoints="1"/>
            </p:cNvSpPr>
            <p:nvPr/>
          </p:nvSpPr>
          <p:spPr bwMode="auto">
            <a:xfrm>
              <a:off x="8917726" y="3515820"/>
              <a:ext cx="263831" cy="240340"/>
            </a:xfrm>
            <a:custGeom>
              <a:avLst/>
              <a:gdLst>
                <a:gd name="T0" fmla="*/ 112 w 146"/>
                <a:gd name="T1" fmla="*/ 103 h 133"/>
                <a:gd name="T2" fmla="*/ 117 w 146"/>
                <a:gd name="T3" fmla="*/ 97 h 133"/>
                <a:gd name="T4" fmla="*/ 137 w 146"/>
                <a:gd name="T5" fmla="*/ 2 h 133"/>
                <a:gd name="T6" fmla="*/ 138 w 146"/>
                <a:gd name="T7" fmla="*/ 14 h 133"/>
                <a:gd name="T8" fmla="*/ 144 w 146"/>
                <a:gd name="T9" fmla="*/ 41 h 133"/>
                <a:gd name="T10" fmla="*/ 138 w 146"/>
                <a:gd name="T11" fmla="*/ 56 h 133"/>
                <a:gd name="T12" fmla="*/ 129 w 146"/>
                <a:gd name="T13" fmla="*/ 59 h 133"/>
                <a:gd name="T14" fmla="*/ 132 w 146"/>
                <a:gd name="T15" fmla="*/ 77 h 133"/>
                <a:gd name="T16" fmla="*/ 131 w 146"/>
                <a:gd name="T17" fmla="*/ 97 h 133"/>
                <a:gd name="T18" fmla="*/ 125 w 146"/>
                <a:gd name="T19" fmla="*/ 105 h 133"/>
                <a:gd name="T20" fmla="*/ 109 w 146"/>
                <a:gd name="T21" fmla="*/ 109 h 133"/>
                <a:gd name="T22" fmla="*/ 107 w 146"/>
                <a:gd name="T23" fmla="*/ 109 h 133"/>
                <a:gd name="T24" fmla="*/ 101 w 146"/>
                <a:gd name="T25" fmla="*/ 114 h 133"/>
                <a:gd name="T26" fmla="*/ 98 w 146"/>
                <a:gd name="T27" fmla="*/ 108 h 133"/>
                <a:gd name="T28" fmla="*/ 95 w 146"/>
                <a:gd name="T29" fmla="*/ 117 h 133"/>
                <a:gd name="T30" fmla="*/ 76 w 146"/>
                <a:gd name="T31" fmla="*/ 112 h 133"/>
                <a:gd name="T32" fmla="*/ 74 w 146"/>
                <a:gd name="T33" fmla="*/ 112 h 133"/>
                <a:gd name="T34" fmla="*/ 79 w 146"/>
                <a:gd name="T35" fmla="*/ 120 h 133"/>
                <a:gd name="T36" fmla="*/ 67 w 146"/>
                <a:gd name="T37" fmla="*/ 131 h 133"/>
                <a:gd name="T38" fmla="*/ 58 w 146"/>
                <a:gd name="T39" fmla="*/ 131 h 133"/>
                <a:gd name="T40" fmla="*/ 51 w 146"/>
                <a:gd name="T41" fmla="*/ 123 h 133"/>
                <a:gd name="T42" fmla="*/ 58 w 146"/>
                <a:gd name="T43" fmla="*/ 115 h 133"/>
                <a:gd name="T44" fmla="*/ 54 w 146"/>
                <a:gd name="T45" fmla="*/ 115 h 133"/>
                <a:gd name="T46" fmla="*/ 49 w 146"/>
                <a:gd name="T47" fmla="*/ 112 h 133"/>
                <a:gd name="T48" fmla="*/ 40 w 146"/>
                <a:gd name="T49" fmla="*/ 118 h 133"/>
                <a:gd name="T50" fmla="*/ 36 w 146"/>
                <a:gd name="T51" fmla="*/ 117 h 133"/>
                <a:gd name="T52" fmla="*/ 23 w 146"/>
                <a:gd name="T53" fmla="*/ 121 h 133"/>
                <a:gd name="T54" fmla="*/ 18 w 146"/>
                <a:gd name="T55" fmla="*/ 127 h 133"/>
                <a:gd name="T56" fmla="*/ 0 w 146"/>
                <a:gd name="T57" fmla="*/ 123 h 133"/>
                <a:gd name="T58" fmla="*/ 8 w 146"/>
                <a:gd name="T59" fmla="*/ 117 h 133"/>
                <a:gd name="T60" fmla="*/ 23 w 146"/>
                <a:gd name="T61" fmla="*/ 97 h 133"/>
                <a:gd name="T62" fmla="*/ 28 w 146"/>
                <a:gd name="T63" fmla="*/ 94 h 133"/>
                <a:gd name="T64" fmla="*/ 30 w 146"/>
                <a:gd name="T65" fmla="*/ 99 h 133"/>
                <a:gd name="T66" fmla="*/ 55 w 146"/>
                <a:gd name="T67" fmla="*/ 96 h 133"/>
                <a:gd name="T68" fmla="*/ 66 w 146"/>
                <a:gd name="T69" fmla="*/ 97 h 133"/>
                <a:gd name="T70" fmla="*/ 67 w 146"/>
                <a:gd name="T71" fmla="*/ 84 h 133"/>
                <a:gd name="T72" fmla="*/ 74 w 146"/>
                <a:gd name="T73" fmla="*/ 71 h 133"/>
                <a:gd name="T74" fmla="*/ 83 w 146"/>
                <a:gd name="T75" fmla="*/ 66 h 133"/>
                <a:gd name="T76" fmla="*/ 85 w 146"/>
                <a:gd name="T77" fmla="*/ 69 h 133"/>
                <a:gd name="T78" fmla="*/ 80 w 146"/>
                <a:gd name="T79" fmla="*/ 72 h 133"/>
                <a:gd name="T80" fmla="*/ 98 w 146"/>
                <a:gd name="T81" fmla="*/ 71 h 133"/>
                <a:gd name="T82" fmla="*/ 103 w 146"/>
                <a:gd name="T83" fmla="*/ 60 h 133"/>
                <a:gd name="T84" fmla="*/ 119 w 146"/>
                <a:gd name="T85" fmla="*/ 32 h 133"/>
                <a:gd name="T86" fmla="*/ 114 w 146"/>
                <a:gd name="T87" fmla="*/ 29 h 133"/>
                <a:gd name="T88" fmla="*/ 117 w 146"/>
                <a:gd name="T89" fmla="*/ 25 h 133"/>
                <a:gd name="T90" fmla="*/ 120 w 146"/>
                <a:gd name="T91" fmla="*/ 13 h 133"/>
                <a:gd name="T92" fmla="*/ 132 w 146"/>
                <a:gd name="T9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33">
                  <a:moveTo>
                    <a:pt x="117" y="97"/>
                  </a:moveTo>
                  <a:lnTo>
                    <a:pt x="112" y="103"/>
                  </a:lnTo>
                  <a:lnTo>
                    <a:pt x="117" y="100"/>
                  </a:lnTo>
                  <a:lnTo>
                    <a:pt x="117" y="97"/>
                  </a:lnTo>
                  <a:close/>
                  <a:moveTo>
                    <a:pt x="132" y="0"/>
                  </a:moveTo>
                  <a:lnTo>
                    <a:pt x="137" y="2"/>
                  </a:lnTo>
                  <a:lnTo>
                    <a:pt x="138" y="2"/>
                  </a:lnTo>
                  <a:lnTo>
                    <a:pt x="138" y="14"/>
                  </a:lnTo>
                  <a:lnTo>
                    <a:pt x="146" y="31"/>
                  </a:lnTo>
                  <a:lnTo>
                    <a:pt x="144" y="41"/>
                  </a:lnTo>
                  <a:lnTo>
                    <a:pt x="138" y="47"/>
                  </a:lnTo>
                  <a:lnTo>
                    <a:pt x="138" y="56"/>
                  </a:lnTo>
                  <a:lnTo>
                    <a:pt x="135" y="53"/>
                  </a:lnTo>
                  <a:lnTo>
                    <a:pt x="129" y="59"/>
                  </a:lnTo>
                  <a:lnTo>
                    <a:pt x="132" y="65"/>
                  </a:lnTo>
                  <a:lnTo>
                    <a:pt x="132" y="77"/>
                  </a:lnTo>
                  <a:lnTo>
                    <a:pt x="126" y="86"/>
                  </a:lnTo>
                  <a:lnTo>
                    <a:pt x="131" y="97"/>
                  </a:lnTo>
                  <a:lnTo>
                    <a:pt x="125" y="100"/>
                  </a:lnTo>
                  <a:lnTo>
                    <a:pt x="125" y="105"/>
                  </a:lnTo>
                  <a:lnTo>
                    <a:pt x="119" y="109"/>
                  </a:lnTo>
                  <a:lnTo>
                    <a:pt x="109" y="109"/>
                  </a:lnTo>
                  <a:lnTo>
                    <a:pt x="109" y="106"/>
                  </a:lnTo>
                  <a:lnTo>
                    <a:pt x="107" y="109"/>
                  </a:lnTo>
                  <a:lnTo>
                    <a:pt x="103" y="114"/>
                  </a:lnTo>
                  <a:lnTo>
                    <a:pt x="101" y="114"/>
                  </a:lnTo>
                  <a:lnTo>
                    <a:pt x="103" y="108"/>
                  </a:lnTo>
                  <a:lnTo>
                    <a:pt x="98" y="108"/>
                  </a:lnTo>
                  <a:lnTo>
                    <a:pt x="95" y="115"/>
                  </a:lnTo>
                  <a:lnTo>
                    <a:pt x="95" y="117"/>
                  </a:lnTo>
                  <a:lnTo>
                    <a:pt x="83" y="112"/>
                  </a:lnTo>
                  <a:lnTo>
                    <a:pt x="76" y="112"/>
                  </a:lnTo>
                  <a:lnTo>
                    <a:pt x="76" y="109"/>
                  </a:lnTo>
                  <a:lnTo>
                    <a:pt x="74" y="112"/>
                  </a:lnTo>
                  <a:lnTo>
                    <a:pt x="79" y="118"/>
                  </a:lnTo>
                  <a:lnTo>
                    <a:pt x="79" y="120"/>
                  </a:lnTo>
                  <a:lnTo>
                    <a:pt x="70" y="121"/>
                  </a:lnTo>
                  <a:lnTo>
                    <a:pt x="67" y="131"/>
                  </a:lnTo>
                  <a:lnTo>
                    <a:pt x="67" y="133"/>
                  </a:lnTo>
                  <a:lnTo>
                    <a:pt x="58" y="131"/>
                  </a:lnTo>
                  <a:lnTo>
                    <a:pt x="52" y="124"/>
                  </a:lnTo>
                  <a:lnTo>
                    <a:pt x="51" y="123"/>
                  </a:lnTo>
                  <a:lnTo>
                    <a:pt x="52" y="123"/>
                  </a:lnTo>
                  <a:lnTo>
                    <a:pt x="58" y="115"/>
                  </a:lnTo>
                  <a:lnTo>
                    <a:pt x="58" y="112"/>
                  </a:lnTo>
                  <a:lnTo>
                    <a:pt x="54" y="115"/>
                  </a:lnTo>
                  <a:lnTo>
                    <a:pt x="52" y="115"/>
                  </a:lnTo>
                  <a:lnTo>
                    <a:pt x="49" y="112"/>
                  </a:lnTo>
                  <a:lnTo>
                    <a:pt x="46" y="112"/>
                  </a:lnTo>
                  <a:lnTo>
                    <a:pt x="40" y="118"/>
                  </a:lnTo>
                  <a:lnTo>
                    <a:pt x="39" y="118"/>
                  </a:lnTo>
                  <a:lnTo>
                    <a:pt x="36" y="117"/>
                  </a:lnTo>
                  <a:lnTo>
                    <a:pt x="23" y="123"/>
                  </a:lnTo>
                  <a:lnTo>
                    <a:pt x="23" y="121"/>
                  </a:lnTo>
                  <a:lnTo>
                    <a:pt x="20" y="120"/>
                  </a:lnTo>
                  <a:lnTo>
                    <a:pt x="18" y="127"/>
                  </a:lnTo>
                  <a:lnTo>
                    <a:pt x="17" y="127"/>
                  </a:lnTo>
                  <a:lnTo>
                    <a:pt x="0" y="123"/>
                  </a:lnTo>
                  <a:lnTo>
                    <a:pt x="0" y="117"/>
                  </a:lnTo>
                  <a:lnTo>
                    <a:pt x="8" y="117"/>
                  </a:lnTo>
                  <a:lnTo>
                    <a:pt x="23" y="102"/>
                  </a:lnTo>
                  <a:lnTo>
                    <a:pt x="23" y="97"/>
                  </a:lnTo>
                  <a:lnTo>
                    <a:pt x="24" y="97"/>
                  </a:lnTo>
                  <a:lnTo>
                    <a:pt x="28" y="94"/>
                  </a:lnTo>
                  <a:lnTo>
                    <a:pt x="30" y="94"/>
                  </a:lnTo>
                  <a:lnTo>
                    <a:pt x="30" y="99"/>
                  </a:lnTo>
                  <a:lnTo>
                    <a:pt x="42" y="96"/>
                  </a:lnTo>
                  <a:lnTo>
                    <a:pt x="55" y="96"/>
                  </a:lnTo>
                  <a:lnTo>
                    <a:pt x="61" y="102"/>
                  </a:lnTo>
                  <a:lnTo>
                    <a:pt x="66" y="97"/>
                  </a:lnTo>
                  <a:lnTo>
                    <a:pt x="66" y="84"/>
                  </a:lnTo>
                  <a:lnTo>
                    <a:pt x="67" y="84"/>
                  </a:lnTo>
                  <a:lnTo>
                    <a:pt x="74" y="83"/>
                  </a:lnTo>
                  <a:lnTo>
                    <a:pt x="74" y="71"/>
                  </a:lnTo>
                  <a:lnTo>
                    <a:pt x="76" y="71"/>
                  </a:lnTo>
                  <a:lnTo>
                    <a:pt x="83" y="66"/>
                  </a:lnTo>
                  <a:lnTo>
                    <a:pt x="85" y="66"/>
                  </a:lnTo>
                  <a:lnTo>
                    <a:pt x="85" y="69"/>
                  </a:lnTo>
                  <a:lnTo>
                    <a:pt x="83" y="71"/>
                  </a:lnTo>
                  <a:lnTo>
                    <a:pt x="80" y="72"/>
                  </a:lnTo>
                  <a:lnTo>
                    <a:pt x="80" y="78"/>
                  </a:lnTo>
                  <a:lnTo>
                    <a:pt x="98" y="71"/>
                  </a:lnTo>
                  <a:lnTo>
                    <a:pt x="103" y="62"/>
                  </a:lnTo>
                  <a:lnTo>
                    <a:pt x="103" y="60"/>
                  </a:lnTo>
                  <a:lnTo>
                    <a:pt x="110" y="57"/>
                  </a:lnTo>
                  <a:lnTo>
                    <a:pt x="119" y="32"/>
                  </a:lnTo>
                  <a:lnTo>
                    <a:pt x="116" y="29"/>
                  </a:lnTo>
                  <a:lnTo>
                    <a:pt x="114" y="29"/>
                  </a:lnTo>
                  <a:lnTo>
                    <a:pt x="114" y="25"/>
                  </a:lnTo>
                  <a:lnTo>
                    <a:pt x="117" y="25"/>
                  </a:lnTo>
                  <a:lnTo>
                    <a:pt x="117" y="13"/>
                  </a:lnTo>
                  <a:lnTo>
                    <a:pt x="120" y="13"/>
                  </a:lnTo>
                  <a:lnTo>
                    <a:pt x="122" y="4"/>
                  </a:lnTo>
                  <a:lnTo>
                    <a:pt x="13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6" name="Korea - South">
              <a:extLst>
                <a:ext uri="{FF2B5EF4-FFF2-40B4-BE49-F238E27FC236}">
                  <a16:creationId xmlns:a16="http://schemas.microsoft.com/office/drawing/2014/main" id="{F841B16A-B9E5-C1DA-A710-6D0970B1C92A}"/>
                </a:ext>
              </a:extLst>
            </p:cNvPr>
            <p:cNvSpPr>
              <a:spLocks/>
            </p:cNvSpPr>
            <p:nvPr/>
          </p:nvSpPr>
          <p:spPr bwMode="auto">
            <a:xfrm>
              <a:off x="8800267" y="3606172"/>
              <a:ext cx="86739" cy="157215"/>
            </a:xfrm>
            <a:custGeom>
              <a:avLst/>
              <a:gdLst/>
              <a:ahLst/>
              <a:cxnLst/>
              <a:rect l="l" t="t" r="r" b="b"/>
              <a:pathLst>
                <a:path w="87430" h="158468">
                  <a:moveTo>
                    <a:pt x="5465" y="151182"/>
                  </a:moveTo>
                  <a:lnTo>
                    <a:pt x="21858" y="151182"/>
                  </a:lnTo>
                  <a:lnTo>
                    <a:pt x="21858" y="153004"/>
                  </a:lnTo>
                  <a:lnTo>
                    <a:pt x="10929" y="158468"/>
                  </a:lnTo>
                  <a:lnTo>
                    <a:pt x="3643" y="158468"/>
                  </a:lnTo>
                  <a:lnTo>
                    <a:pt x="3643" y="156647"/>
                  </a:lnTo>
                  <a:close/>
                  <a:moveTo>
                    <a:pt x="56465" y="0"/>
                  </a:moveTo>
                  <a:lnTo>
                    <a:pt x="78323" y="32787"/>
                  </a:lnTo>
                  <a:lnTo>
                    <a:pt x="87430" y="74680"/>
                  </a:lnTo>
                  <a:lnTo>
                    <a:pt x="78323" y="96538"/>
                  </a:lnTo>
                  <a:lnTo>
                    <a:pt x="71037" y="102002"/>
                  </a:lnTo>
                  <a:lnTo>
                    <a:pt x="71037" y="105645"/>
                  </a:lnTo>
                  <a:lnTo>
                    <a:pt x="67394" y="105645"/>
                  </a:lnTo>
                  <a:lnTo>
                    <a:pt x="60108" y="102002"/>
                  </a:lnTo>
                  <a:lnTo>
                    <a:pt x="54644" y="111110"/>
                  </a:lnTo>
                  <a:lnTo>
                    <a:pt x="45537" y="107467"/>
                  </a:lnTo>
                  <a:lnTo>
                    <a:pt x="38251" y="116574"/>
                  </a:lnTo>
                  <a:lnTo>
                    <a:pt x="34608" y="116574"/>
                  </a:lnTo>
                  <a:lnTo>
                    <a:pt x="32786" y="112931"/>
                  </a:lnTo>
                  <a:lnTo>
                    <a:pt x="32786" y="118396"/>
                  </a:lnTo>
                  <a:lnTo>
                    <a:pt x="29144" y="122039"/>
                  </a:lnTo>
                  <a:lnTo>
                    <a:pt x="27322" y="118396"/>
                  </a:lnTo>
                  <a:lnTo>
                    <a:pt x="27322" y="116574"/>
                  </a:lnTo>
                  <a:lnTo>
                    <a:pt x="21858" y="122039"/>
                  </a:lnTo>
                  <a:lnTo>
                    <a:pt x="16393" y="122039"/>
                  </a:lnTo>
                  <a:lnTo>
                    <a:pt x="10929" y="123860"/>
                  </a:lnTo>
                  <a:lnTo>
                    <a:pt x="3643" y="123860"/>
                  </a:lnTo>
                  <a:lnTo>
                    <a:pt x="5465" y="112931"/>
                  </a:lnTo>
                  <a:lnTo>
                    <a:pt x="10929" y="116574"/>
                  </a:lnTo>
                  <a:lnTo>
                    <a:pt x="10929" y="111110"/>
                  </a:lnTo>
                  <a:lnTo>
                    <a:pt x="5465" y="111110"/>
                  </a:lnTo>
                  <a:lnTo>
                    <a:pt x="5465" y="107467"/>
                  </a:lnTo>
                  <a:lnTo>
                    <a:pt x="16393" y="80145"/>
                  </a:lnTo>
                  <a:lnTo>
                    <a:pt x="10929" y="60109"/>
                  </a:lnTo>
                  <a:lnTo>
                    <a:pt x="9108" y="65573"/>
                  </a:lnTo>
                  <a:lnTo>
                    <a:pt x="5465" y="65573"/>
                  </a:lnTo>
                  <a:lnTo>
                    <a:pt x="5465" y="61930"/>
                  </a:lnTo>
                  <a:lnTo>
                    <a:pt x="0" y="54644"/>
                  </a:lnTo>
                  <a:lnTo>
                    <a:pt x="3643" y="54644"/>
                  </a:lnTo>
                  <a:lnTo>
                    <a:pt x="16393" y="45537"/>
                  </a:lnTo>
                  <a:lnTo>
                    <a:pt x="16393" y="49180"/>
                  </a:lnTo>
                  <a:lnTo>
                    <a:pt x="18215" y="49180"/>
                  </a:lnTo>
                  <a:lnTo>
                    <a:pt x="10929" y="27322"/>
                  </a:lnTo>
                  <a:lnTo>
                    <a:pt x="10929" y="23679"/>
                  </a:lnTo>
                  <a:lnTo>
                    <a:pt x="27322" y="10929"/>
                  </a:lnTo>
                  <a:lnTo>
                    <a:pt x="43715"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7" name="Korea - North">
              <a:extLst>
                <a:ext uri="{FF2B5EF4-FFF2-40B4-BE49-F238E27FC236}">
                  <a16:creationId xmlns:a16="http://schemas.microsoft.com/office/drawing/2014/main" id="{EE021BE6-5636-BA55-1F87-D1D03E6544C8}"/>
                </a:ext>
              </a:extLst>
            </p:cNvPr>
            <p:cNvSpPr>
              <a:spLocks/>
            </p:cNvSpPr>
            <p:nvPr/>
          </p:nvSpPr>
          <p:spPr bwMode="auto">
            <a:xfrm>
              <a:off x="8760512" y="3468835"/>
              <a:ext cx="149986" cy="164443"/>
            </a:xfrm>
            <a:custGeom>
              <a:avLst/>
              <a:gdLst>
                <a:gd name="T0" fmla="*/ 74 w 83"/>
                <a:gd name="T1" fmla="*/ 0 h 91"/>
                <a:gd name="T2" fmla="*/ 75 w 83"/>
                <a:gd name="T3" fmla="*/ 0 h 91"/>
                <a:gd name="T4" fmla="*/ 81 w 83"/>
                <a:gd name="T5" fmla="*/ 6 h 91"/>
                <a:gd name="T6" fmla="*/ 83 w 83"/>
                <a:gd name="T7" fmla="*/ 11 h 91"/>
                <a:gd name="T8" fmla="*/ 71 w 83"/>
                <a:gd name="T9" fmla="*/ 24 h 91"/>
                <a:gd name="T10" fmla="*/ 71 w 83"/>
                <a:gd name="T11" fmla="*/ 37 h 91"/>
                <a:gd name="T12" fmla="*/ 53 w 83"/>
                <a:gd name="T13" fmla="*/ 51 h 91"/>
                <a:gd name="T14" fmla="*/ 41 w 83"/>
                <a:gd name="T15" fmla="*/ 57 h 91"/>
                <a:gd name="T16" fmla="*/ 41 w 83"/>
                <a:gd name="T17" fmla="*/ 66 h 91"/>
                <a:gd name="T18" fmla="*/ 53 w 83"/>
                <a:gd name="T19" fmla="*/ 76 h 91"/>
                <a:gd name="T20" fmla="*/ 53 w 83"/>
                <a:gd name="T21" fmla="*/ 77 h 91"/>
                <a:gd name="T22" fmla="*/ 46 w 83"/>
                <a:gd name="T23" fmla="*/ 83 h 91"/>
                <a:gd name="T24" fmla="*/ 37 w 83"/>
                <a:gd name="T25" fmla="*/ 83 h 91"/>
                <a:gd name="T26" fmla="*/ 30 w 83"/>
                <a:gd name="T27" fmla="*/ 91 h 91"/>
                <a:gd name="T28" fmla="*/ 28 w 83"/>
                <a:gd name="T29" fmla="*/ 91 h 91"/>
                <a:gd name="T30" fmla="*/ 18 w 83"/>
                <a:gd name="T31" fmla="*/ 86 h 91"/>
                <a:gd name="T32" fmla="*/ 18 w 83"/>
                <a:gd name="T33" fmla="*/ 89 h 91"/>
                <a:gd name="T34" fmla="*/ 16 w 83"/>
                <a:gd name="T35" fmla="*/ 89 h 91"/>
                <a:gd name="T36" fmla="*/ 12 w 83"/>
                <a:gd name="T37" fmla="*/ 91 h 91"/>
                <a:gd name="T38" fmla="*/ 9 w 83"/>
                <a:gd name="T39" fmla="*/ 86 h 91"/>
                <a:gd name="T40" fmla="*/ 10 w 83"/>
                <a:gd name="T41" fmla="*/ 85 h 91"/>
                <a:gd name="T42" fmla="*/ 4 w 83"/>
                <a:gd name="T43" fmla="*/ 85 h 91"/>
                <a:gd name="T44" fmla="*/ 9 w 83"/>
                <a:gd name="T45" fmla="*/ 77 h 91"/>
                <a:gd name="T46" fmla="*/ 13 w 83"/>
                <a:gd name="T47" fmla="*/ 74 h 91"/>
                <a:gd name="T48" fmla="*/ 12 w 83"/>
                <a:gd name="T49" fmla="*/ 73 h 91"/>
                <a:gd name="T50" fmla="*/ 10 w 83"/>
                <a:gd name="T51" fmla="*/ 73 h 91"/>
                <a:gd name="T52" fmla="*/ 13 w 83"/>
                <a:gd name="T53" fmla="*/ 61 h 91"/>
                <a:gd name="T54" fmla="*/ 4 w 83"/>
                <a:gd name="T55" fmla="*/ 60 h 91"/>
                <a:gd name="T56" fmla="*/ 3 w 83"/>
                <a:gd name="T57" fmla="*/ 60 h 91"/>
                <a:gd name="T58" fmla="*/ 0 w 83"/>
                <a:gd name="T59" fmla="*/ 54 h 91"/>
                <a:gd name="T60" fmla="*/ 7 w 83"/>
                <a:gd name="T61" fmla="*/ 43 h 91"/>
                <a:gd name="T62" fmla="*/ 19 w 83"/>
                <a:gd name="T63" fmla="*/ 37 h 91"/>
                <a:gd name="T64" fmla="*/ 32 w 83"/>
                <a:gd name="T65" fmla="*/ 24 h 91"/>
                <a:gd name="T66" fmla="*/ 34 w 83"/>
                <a:gd name="T67" fmla="*/ 24 h 91"/>
                <a:gd name="T68" fmla="*/ 41 w 83"/>
                <a:gd name="T69" fmla="*/ 28 h 91"/>
                <a:gd name="T70" fmla="*/ 50 w 83"/>
                <a:gd name="T71" fmla="*/ 27 h 91"/>
                <a:gd name="T72" fmla="*/ 50 w 83"/>
                <a:gd name="T73" fmla="*/ 17 h 91"/>
                <a:gd name="T74" fmla="*/ 61 w 83"/>
                <a:gd name="T75" fmla="*/ 17 h 91"/>
                <a:gd name="T76" fmla="*/ 68 w 83"/>
                <a:gd name="T77" fmla="*/ 11 h 91"/>
                <a:gd name="T78" fmla="*/ 74 w 83"/>
                <a:gd name="T7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3" h="91">
                  <a:moveTo>
                    <a:pt x="74" y="0"/>
                  </a:moveTo>
                  <a:lnTo>
                    <a:pt x="75" y="0"/>
                  </a:lnTo>
                  <a:lnTo>
                    <a:pt x="81" y="6"/>
                  </a:lnTo>
                  <a:lnTo>
                    <a:pt x="83" y="11"/>
                  </a:lnTo>
                  <a:lnTo>
                    <a:pt x="71" y="24"/>
                  </a:lnTo>
                  <a:lnTo>
                    <a:pt x="71" y="37"/>
                  </a:lnTo>
                  <a:lnTo>
                    <a:pt x="53" y="51"/>
                  </a:lnTo>
                  <a:lnTo>
                    <a:pt x="41" y="57"/>
                  </a:lnTo>
                  <a:lnTo>
                    <a:pt x="41" y="66"/>
                  </a:lnTo>
                  <a:lnTo>
                    <a:pt x="53" y="76"/>
                  </a:lnTo>
                  <a:lnTo>
                    <a:pt x="53" y="77"/>
                  </a:lnTo>
                  <a:lnTo>
                    <a:pt x="46" y="83"/>
                  </a:lnTo>
                  <a:lnTo>
                    <a:pt x="37" y="83"/>
                  </a:lnTo>
                  <a:lnTo>
                    <a:pt x="30" y="91"/>
                  </a:lnTo>
                  <a:lnTo>
                    <a:pt x="28" y="91"/>
                  </a:lnTo>
                  <a:lnTo>
                    <a:pt x="18" y="86"/>
                  </a:lnTo>
                  <a:lnTo>
                    <a:pt x="18" y="89"/>
                  </a:lnTo>
                  <a:lnTo>
                    <a:pt x="16" y="89"/>
                  </a:lnTo>
                  <a:lnTo>
                    <a:pt x="12" y="91"/>
                  </a:lnTo>
                  <a:lnTo>
                    <a:pt x="9" y="86"/>
                  </a:lnTo>
                  <a:lnTo>
                    <a:pt x="10" y="85"/>
                  </a:lnTo>
                  <a:lnTo>
                    <a:pt x="4" y="85"/>
                  </a:lnTo>
                  <a:lnTo>
                    <a:pt x="9" y="77"/>
                  </a:lnTo>
                  <a:lnTo>
                    <a:pt x="13" y="74"/>
                  </a:lnTo>
                  <a:lnTo>
                    <a:pt x="12" y="73"/>
                  </a:lnTo>
                  <a:lnTo>
                    <a:pt x="10" y="73"/>
                  </a:lnTo>
                  <a:lnTo>
                    <a:pt x="13" y="61"/>
                  </a:lnTo>
                  <a:lnTo>
                    <a:pt x="4" y="60"/>
                  </a:lnTo>
                  <a:lnTo>
                    <a:pt x="3" y="60"/>
                  </a:lnTo>
                  <a:lnTo>
                    <a:pt x="0" y="54"/>
                  </a:lnTo>
                  <a:lnTo>
                    <a:pt x="7" y="43"/>
                  </a:lnTo>
                  <a:lnTo>
                    <a:pt x="19" y="37"/>
                  </a:lnTo>
                  <a:lnTo>
                    <a:pt x="32" y="24"/>
                  </a:lnTo>
                  <a:lnTo>
                    <a:pt x="34" y="24"/>
                  </a:lnTo>
                  <a:lnTo>
                    <a:pt x="41" y="28"/>
                  </a:lnTo>
                  <a:lnTo>
                    <a:pt x="50" y="27"/>
                  </a:lnTo>
                  <a:lnTo>
                    <a:pt x="50" y="17"/>
                  </a:lnTo>
                  <a:lnTo>
                    <a:pt x="61" y="17"/>
                  </a:lnTo>
                  <a:lnTo>
                    <a:pt x="68" y="11"/>
                  </a:lnTo>
                  <a:lnTo>
                    <a:pt x="7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8" name="Russia - Offshore">
              <a:extLst>
                <a:ext uri="{FF2B5EF4-FFF2-40B4-BE49-F238E27FC236}">
                  <a16:creationId xmlns:a16="http://schemas.microsoft.com/office/drawing/2014/main" id="{13783423-A979-E1CC-7FD2-11B6E5F26359}"/>
                </a:ext>
              </a:extLst>
            </p:cNvPr>
            <p:cNvSpPr>
              <a:spLocks/>
            </p:cNvSpPr>
            <p:nvPr/>
          </p:nvSpPr>
          <p:spPr bwMode="auto">
            <a:xfrm>
              <a:off x="6962485" y="1109715"/>
              <a:ext cx="3371978" cy="2259732"/>
            </a:xfrm>
            <a:custGeom>
              <a:avLst/>
              <a:gdLst/>
              <a:ahLst/>
              <a:cxnLst/>
              <a:rect l="l" t="t" r="r" b="b"/>
              <a:pathLst>
                <a:path w="3398859" h="2277745">
                  <a:moveTo>
                    <a:pt x="2568269" y="2108349"/>
                  </a:moveTo>
                  <a:lnTo>
                    <a:pt x="2568269" y="2117457"/>
                  </a:lnTo>
                  <a:lnTo>
                    <a:pt x="2564626" y="2121100"/>
                  </a:lnTo>
                  <a:lnTo>
                    <a:pt x="2550054" y="2132029"/>
                  </a:lnTo>
                  <a:lnTo>
                    <a:pt x="2550054" y="2124743"/>
                  </a:lnTo>
                  <a:close/>
                  <a:moveTo>
                    <a:pt x="3172996" y="2062812"/>
                  </a:moveTo>
                  <a:lnTo>
                    <a:pt x="3178461" y="2062812"/>
                  </a:lnTo>
                  <a:lnTo>
                    <a:pt x="3180282" y="2064634"/>
                  </a:lnTo>
                  <a:lnTo>
                    <a:pt x="3189390" y="2064634"/>
                  </a:lnTo>
                  <a:lnTo>
                    <a:pt x="3186111" y="2070098"/>
                  </a:lnTo>
                  <a:lnTo>
                    <a:pt x="3189390" y="2070098"/>
                  </a:lnTo>
                  <a:lnTo>
                    <a:pt x="3200319" y="2062812"/>
                  </a:lnTo>
                  <a:lnTo>
                    <a:pt x="3202141" y="2062812"/>
                  </a:lnTo>
                  <a:lnTo>
                    <a:pt x="3202141" y="2064634"/>
                  </a:lnTo>
                  <a:lnTo>
                    <a:pt x="3200319" y="2070098"/>
                  </a:lnTo>
                  <a:lnTo>
                    <a:pt x="3189390" y="2073741"/>
                  </a:lnTo>
                  <a:lnTo>
                    <a:pt x="3185747" y="2073741"/>
                  </a:lnTo>
                  <a:lnTo>
                    <a:pt x="3185747" y="2070705"/>
                  </a:lnTo>
                  <a:lnTo>
                    <a:pt x="3183925" y="2073742"/>
                  </a:lnTo>
                  <a:lnTo>
                    <a:pt x="3183925" y="2075563"/>
                  </a:lnTo>
                  <a:lnTo>
                    <a:pt x="3180282" y="2075563"/>
                  </a:lnTo>
                  <a:lnTo>
                    <a:pt x="3172996" y="2064634"/>
                  </a:lnTo>
                  <a:close/>
                  <a:moveTo>
                    <a:pt x="3211247" y="2059169"/>
                  </a:moveTo>
                  <a:lnTo>
                    <a:pt x="3213068" y="2059169"/>
                  </a:lnTo>
                  <a:lnTo>
                    <a:pt x="3218533" y="2068277"/>
                  </a:lnTo>
                  <a:lnTo>
                    <a:pt x="3218533" y="2070098"/>
                  </a:lnTo>
                  <a:lnTo>
                    <a:pt x="3211247" y="2075563"/>
                  </a:lnTo>
                  <a:lnTo>
                    <a:pt x="3207604" y="2075563"/>
                  </a:lnTo>
                  <a:lnTo>
                    <a:pt x="3207604" y="2073742"/>
                  </a:lnTo>
                  <a:lnTo>
                    <a:pt x="3205782" y="2070098"/>
                  </a:lnTo>
                  <a:lnTo>
                    <a:pt x="3205782" y="2068277"/>
                  </a:lnTo>
                  <a:close/>
                  <a:moveTo>
                    <a:pt x="3121995" y="2057348"/>
                  </a:moveTo>
                  <a:lnTo>
                    <a:pt x="3123817" y="2057348"/>
                  </a:lnTo>
                  <a:lnTo>
                    <a:pt x="3123817" y="2059170"/>
                  </a:lnTo>
                  <a:lnTo>
                    <a:pt x="3127460" y="2059170"/>
                  </a:lnTo>
                  <a:lnTo>
                    <a:pt x="3127460" y="2062813"/>
                  </a:lnTo>
                  <a:lnTo>
                    <a:pt x="3123817" y="2062813"/>
                  </a:lnTo>
                  <a:lnTo>
                    <a:pt x="3123817" y="2064634"/>
                  </a:lnTo>
                  <a:lnTo>
                    <a:pt x="3121995" y="2064634"/>
                  </a:lnTo>
                  <a:close/>
                  <a:moveTo>
                    <a:pt x="3072816" y="2053705"/>
                  </a:moveTo>
                  <a:lnTo>
                    <a:pt x="3076458" y="2053705"/>
                  </a:lnTo>
                  <a:lnTo>
                    <a:pt x="3078280" y="2062813"/>
                  </a:lnTo>
                  <a:lnTo>
                    <a:pt x="3067351" y="2068277"/>
                  </a:lnTo>
                  <a:lnTo>
                    <a:pt x="3067351" y="2064634"/>
                  </a:lnTo>
                  <a:close/>
                  <a:moveTo>
                    <a:pt x="3307785" y="2042776"/>
                  </a:moveTo>
                  <a:lnTo>
                    <a:pt x="3311428" y="2042776"/>
                  </a:lnTo>
                  <a:lnTo>
                    <a:pt x="3316893" y="2046419"/>
                  </a:lnTo>
                  <a:lnTo>
                    <a:pt x="3316893" y="2048241"/>
                  </a:lnTo>
                  <a:lnTo>
                    <a:pt x="3307785" y="2048241"/>
                  </a:lnTo>
                  <a:close/>
                  <a:moveTo>
                    <a:pt x="3267713" y="2042776"/>
                  </a:moveTo>
                  <a:lnTo>
                    <a:pt x="3269534" y="2042776"/>
                  </a:lnTo>
                  <a:lnTo>
                    <a:pt x="3274999" y="2048241"/>
                  </a:lnTo>
                  <a:lnTo>
                    <a:pt x="3274999" y="2051884"/>
                  </a:lnTo>
                  <a:lnTo>
                    <a:pt x="3258605" y="2057348"/>
                  </a:lnTo>
                  <a:lnTo>
                    <a:pt x="3267713" y="2046419"/>
                  </a:lnTo>
                  <a:close/>
                  <a:moveTo>
                    <a:pt x="2950777" y="2022740"/>
                  </a:moveTo>
                  <a:lnTo>
                    <a:pt x="2959884" y="2022740"/>
                  </a:lnTo>
                  <a:lnTo>
                    <a:pt x="2967170" y="2024562"/>
                  </a:lnTo>
                  <a:lnTo>
                    <a:pt x="2972635" y="2024562"/>
                  </a:lnTo>
                  <a:lnTo>
                    <a:pt x="2972635" y="2028205"/>
                  </a:lnTo>
                  <a:lnTo>
                    <a:pt x="2965349" y="2030026"/>
                  </a:lnTo>
                  <a:lnTo>
                    <a:pt x="2965349" y="2033669"/>
                  </a:lnTo>
                  <a:lnTo>
                    <a:pt x="2961706" y="2033669"/>
                  </a:lnTo>
                  <a:lnTo>
                    <a:pt x="2950777" y="2024562"/>
                  </a:lnTo>
                  <a:close/>
                  <a:moveTo>
                    <a:pt x="3397037" y="2011811"/>
                  </a:moveTo>
                  <a:lnTo>
                    <a:pt x="3398859" y="2011811"/>
                  </a:lnTo>
                  <a:lnTo>
                    <a:pt x="3398859" y="2024562"/>
                  </a:lnTo>
                  <a:lnTo>
                    <a:pt x="3389751" y="2030026"/>
                  </a:lnTo>
                  <a:lnTo>
                    <a:pt x="3386108" y="2030026"/>
                  </a:lnTo>
                  <a:lnTo>
                    <a:pt x="3389751" y="2028205"/>
                  </a:lnTo>
                  <a:lnTo>
                    <a:pt x="3397037" y="2013633"/>
                  </a:lnTo>
                  <a:close/>
                  <a:moveTo>
                    <a:pt x="2247691" y="1968096"/>
                  </a:moveTo>
                  <a:lnTo>
                    <a:pt x="2254977" y="1975382"/>
                  </a:lnTo>
                  <a:lnTo>
                    <a:pt x="2265906" y="2028204"/>
                  </a:lnTo>
                  <a:lnTo>
                    <a:pt x="2260441" y="2048241"/>
                  </a:lnTo>
                  <a:lnTo>
                    <a:pt x="2262263" y="2075563"/>
                  </a:lnTo>
                  <a:lnTo>
                    <a:pt x="2287763" y="2157528"/>
                  </a:lnTo>
                  <a:lnTo>
                    <a:pt x="2298692" y="2181208"/>
                  </a:lnTo>
                  <a:lnTo>
                    <a:pt x="2276835" y="2159350"/>
                  </a:lnTo>
                  <a:lnTo>
                    <a:pt x="2256798" y="2164814"/>
                  </a:lnTo>
                  <a:lnTo>
                    <a:pt x="2247691" y="2221280"/>
                  </a:lnTo>
                  <a:lnTo>
                    <a:pt x="2260441" y="2246780"/>
                  </a:lnTo>
                  <a:lnTo>
                    <a:pt x="2267727" y="2252245"/>
                  </a:lnTo>
                  <a:lnTo>
                    <a:pt x="2271370" y="2270459"/>
                  </a:lnTo>
                  <a:lnTo>
                    <a:pt x="2267727" y="2275924"/>
                  </a:lnTo>
                  <a:lnTo>
                    <a:pt x="2265906" y="2257709"/>
                  </a:lnTo>
                  <a:lnTo>
                    <a:pt x="2247691" y="2254066"/>
                  </a:lnTo>
                  <a:lnTo>
                    <a:pt x="2236762" y="2277745"/>
                  </a:lnTo>
                  <a:lnTo>
                    <a:pt x="2233119" y="2275924"/>
                  </a:lnTo>
                  <a:lnTo>
                    <a:pt x="2231298" y="2254066"/>
                  </a:lnTo>
                  <a:lnTo>
                    <a:pt x="2238584" y="2204887"/>
                  </a:lnTo>
                  <a:lnTo>
                    <a:pt x="2231298" y="2181208"/>
                  </a:lnTo>
                  <a:lnTo>
                    <a:pt x="2238584" y="2135671"/>
                  </a:lnTo>
                  <a:lnTo>
                    <a:pt x="2236762" y="2108349"/>
                  </a:lnTo>
                  <a:lnTo>
                    <a:pt x="2236762" y="2090134"/>
                  </a:lnTo>
                  <a:lnTo>
                    <a:pt x="2225833" y="2070098"/>
                  </a:lnTo>
                  <a:lnTo>
                    <a:pt x="2225833" y="2046419"/>
                  </a:lnTo>
                  <a:lnTo>
                    <a:pt x="2231298" y="2000882"/>
                  </a:lnTo>
                  <a:lnTo>
                    <a:pt x="2244048" y="2002704"/>
                  </a:lnTo>
                  <a:lnTo>
                    <a:pt x="2249512" y="1991775"/>
                  </a:lnTo>
                  <a:lnTo>
                    <a:pt x="2242227" y="1969918"/>
                  </a:lnTo>
                  <a:close/>
                  <a:moveTo>
                    <a:pt x="2127474" y="1929845"/>
                  </a:moveTo>
                  <a:lnTo>
                    <a:pt x="2142046" y="1938953"/>
                  </a:lnTo>
                  <a:lnTo>
                    <a:pt x="2131117" y="1957168"/>
                  </a:lnTo>
                  <a:lnTo>
                    <a:pt x="2127474" y="1957168"/>
                  </a:lnTo>
                  <a:lnTo>
                    <a:pt x="2120188" y="1955347"/>
                  </a:lnTo>
                  <a:lnTo>
                    <a:pt x="2120188" y="1949882"/>
                  </a:lnTo>
                  <a:lnTo>
                    <a:pt x="2127474" y="1933488"/>
                  </a:lnTo>
                  <a:close/>
                  <a:moveTo>
                    <a:pt x="2803240" y="1928023"/>
                  </a:moveTo>
                  <a:lnTo>
                    <a:pt x="2808704" y="1928023"/>
                  </a:lnTo>
                  <a:lnTo>
                    <a:pt x="2815990" y="1951703"/>
                  </a:lnTo>
                  <a:lnTo>
                    <a:pt x="2808704" y="1946239"/>
                  </a:lnTo>
                  <a:lnTo>
                    <a:pt x="2797775" y="1929845"/>
                  </a:lnTo>
                  <a:close/>
                  <a:moveTo>
                    <a:pt x="2763168" y="1756806"/>
                  </a:moveTo>
                  <a:lnTo>
                    <a:pt x="2768632" y="1767735"/>
                  </a:lnTo>
                  <a:lnTo>
                    <a:pt x="2737666" y="1793235"/>
                  </a:lnTo>
                  <a:lnTo>
                    <a:pt x="2748595" y="1767735"/>
                  </a:lnTo>
                  <a:lnTo>
                    <a:pt x="2746774" y="1767735"/>
                  </a:lnTo>
                  <a:close/>
                  <a:moveTo>
                    <a:pt x="3329642" y="1527301"/>
                  </a:moveTo>
                  <a:lnTo>
                    <a:pt x="3351500" y="1536409"/>
                  </a:lnTo>
                  <a:lnTo>
                    <a:pt x="3364250" y="1532766"/>
                  </a:lnTo>
                  <a:lnTo>
                    <a:pt x="3367893" y="1532766"/>
                  </a:lnTo>
                  <a:lnTo>
                    <a:pt x="3386108" y="1549159"/>
                  </a:lnTo>
                  <a:lnTo>
                    <a:pt x="3398858" y="1552802"/>
                  </a:lnTo>
                  <a:lnTo>
                    <a:pt x="3398858" y="1558266"/>
                  </a:lnTo>
                  <a:lnTo>
                    <a:pt x="3378822" y="1569195"/>
                  </a:lnTo>
                  <a:lnTo>
                    <a:pt x="3325999" y="1543694"/>
                  </a:lnTo>
                  <a:close/>
                  <a:moveTo>
                    <a:pt x="25500" y="1184865"/>
                  </a:moveTo>
                  <a:lnTo>
                    <a:pt x="51001" y="1212187"/>
                  </a:lnTo>
                  <a:lnTo>
                    <a:pt x="20036" y="1239509"/>
                  </a:lnTo>
                  <a:lnTo>
                    <a:pt x="3643" y="1228580"/>
                  </a:lnTo>
                  <a:lnTo>
                    <a:pt x="3643" y="1239509"/>
                  </a:lnTo>
                  <a:lnTo>
                    <a:pt x="0" y="1228580"/>
                  </a:lnTo>
                  <a:lnTo>
                    <a:pt x="0" y="1206723"/>
                  </a:lnTo>
                  <a:lnTo>
                    <a:pt x="10929" y="1188508"/>
                  </a:lnTo>
                  <a:close/>
                  <a:moveTo>
                    <a:pt x="2852419" y="1150257"/>
                  </a:moveTo>
                  <a:lnTo>
                    <a:pt x="2881562" y="1163007"/>
                  </a:lnTo>
                  <a:lnTo>
                    <a:pt x="2877919" y="1179400"/>
                  </a:lnTo>
                  <a:lnTo>
                    <a:pt x="2861526" y="1177579"/>
                  </a:lnTo>
                  <a:lnTo>
                    <a:pt x="2846954" y="1155721"/>
                  </a:lnTo>
                  <a:close/>
                  <a:moveTo>
                    <a:pt x="256828" y="1117471"/>
                  </a:moveTo>
                  <a:lnTo>
                    <a:pt x="295079" y="1166651"/>
                  </a:lnTo>
                  <a:lnTo>
                    <a:pt x="278686" y="1172115"/>
                  </a:lnTo>
                  <a:lnTo>
                    <a:pt x="256828" y="1155722"/>
                  </a:lnTo>
                  <a:lnTo>
                    <a:pt x="260471" y="1163008"/>
                  </a:lnTo>
                  <a:lnTo>
                    <a:pt x="245899" y="1135686"/>
                  </a:lnTo>
                  <a:lnTo>
                    <a:pt x="255007" y="1135686"/>
                  </a:lnTo>
                  <a:lnTo>
                    <a:pt x="249542" y="1130221"/>
                  </a:lnTo>
                  <a:close/>
                  <a:moveTo>
                    <a:pt x="98361" y="1057362"/>
                  </a:moveTo>
                  <a:lnTo>
                    <a:pt x="114755" y="1057362"/>
                  </a:lnTo>
                  <a:lnTo>
                    <a:pt x="118398" y="1062827"/>
                  </a:lnTo>
                  <a:lnTo>
                    <a:pt x="118398" y="1084685"/>
                  </a:lnTo>
                  <a:close/>
                  <a:moveTo>
                    <a:pt x="3156602" y="1035504"/>
                  </a:moveTo>
                  <a:lnTo>
                    <a:pt x="3191210" y="1057362"/>
                  </a:lnTo>
                  <a:lnTo>
                    <a:pt x="3185746" y="1071933"/>
                  </a:lnTo>
                  <a:lnTo>
                    <a:pt x="3156602" y="1084684"/>
                  </a:lnTo>
                  <a:lnTo>
                    <a:pt x="3132923" y="1079219"/>
                  </a:lnTo>
                  <a:lnTo>
                    <a:pt x="3105601" y="1090148"/>
                  </a:lnTo>
                  <a:lnTo>
                    <a:pt x="3100137" y="1077398"/>
                  </a:lnTo>
                  <a:lnTo>
                    <a:pt x="3129280" y="1039147"/>
                  </a:lnTo>
                  <a:lnTo>
                    <a:pt x="3138388" y="1039147"/>
                  </a:lnTo>
                  <a:close/>
                  <a:moveTo>
                    <a:pt x="2111081" y="1031862"/>
                  </a:moveTo>
                  <a:lnTo>
                    <a:pt x="2132939" y="1035505"/>
                  </a:lnTo>
                  <a:lnTo>
                    <a:pt x="2122010" y="1044613"/>
                  </a:lnTo>
                  <a:lnTo>
                    <a:pt x="2105616" y="1035505"/>
                  </a:lnTo>
                  <a:close/>
                  <a:moveTo>
                    <a:pt x="2152976" y="1028219"/>
                  </a:moveTo>
                  <a:lnTo>
                    <a:pt x="2158440" y="1040970"/>
                  </a:lnTo>
                  <a:lnTo>
                    <a:pt x="2138404" y="1051899"/>
                  </a:lnTo>
                  <a:lnTo>
                    <a:pt x="2132939" y="1051899"/>
                  </a:lnTo>
                  <a:lnTo>
                    <a:pt x="2138404" y="1039148"/>
                  </a:lnTo>
                  <a:close/>
                  <a:moveTo>
                    <a:pt x="2165725" y="962646"/>
                  </a:moveTo>
                  <a:lnTo>
                    <a:pt x="2194868" y="962646"/>
                  </a:lnTo>
                  <a:lnTo>
                    <a:pt x="2189404" y="979040"/>
                  </a:lnTo>
                  <a:lnTo>
                    <a:pt x="2158439" y="979040"/>
                  </a:lnTo>
                  <a:close/>
                  <a:moveTo>
                    <a:pt x="2203976" y="849715"/>
                  </a:moveTo>
                  <a:lnTo>
                    <a:pt x="2216726" y="849715"/>
                  </a:lnTo>
                  <a:lnTo>
                    <a:pt x="2244048" y="855180"/>
                  </a:lnTo>
                  <a:lnTo>
                    <a:pt x="2265906" y="878859"/>
                  </a:lnTo>
                  <a:lnTo>
                    <a:pt x="2267727" y="906181"/>
                  </a:lnTo>
                  <a:lnTo>
                    <a:pt x="2178476" y="893431"/>
                  </a:lnTo>
                  <a:lnTo>
                    <a:pt x="2176654" y="887966"/>
                  </a:lnTo>
                  <a:lnTo>
                    <a:pt x="2193047" y="882502"/>
                  </a:lnTo>
                  <a:close/>
                  <a:moveTo>
                    <a:pt x="2076473" y="820571"/>
                  </a:moveTo>
                  <a:lnTo>
                    <a:pt x="2091046" y="833321"/>
                  </a:lnTo>
                  <a:lnTo>
                    <a:pt x="2096510" y="844250"/>
                  </a:lnTo>
                  <a:lnTo>
                    <a:pt x="2091046" y="849714"/>
                  </a:lnTo>
                  <a:close/>
                  <a:moveTo>
                    <a:pt x="2194869" y="815107"/>
                  </a:moveTo>
                  <a:lnTo>
                    <a:pt x="2205798" y="827857"/>
                  </a:lnTo>
                  <a:lnTo>
                    <a:pt x="2194869" y="849715"/>
                  </a:lnTo>
                  <a:lnTo>
                    <a:pt x="2187583" y="844251"/>
                  </a:lnTo>
                  <a:lnTo>
                    <a:pt x="2187583" y="826036"/>
                  </a:lnTo>
                  <a:close/>
                  <a:moveTo>
                    <a:pt x="2333300" y="698534"/>
                  </a:moveTo>
                  <a:lnTo>
                    <a:pt x="2387944" y="714927"/>
                  </a:lnTo>
                  <a:lnTo>
                    <a:pt x="2378837" y="727678"/>
                  </a:lnTo>
                  <a:lnTo>
                    <a:pt x="2449874" y="742249"/>
                  </a:lnTo>
                  <a:lnTo>
                    <a:pt x="2438945" y="765929"/>
                  </a:lnTo>
                  <a:lnTo>
                    <a:pt x="2400695" y="775036"/>
                  </a:lnTo>
                  <a:lnTo>
                    <a:pt x="2351515" y="744071"/>
                  </a:lnTo>
                  <a:close/>
                  <a:moveTo>
                    <a:pt x="2076474" y="671211"/>
                  </a:moveTo>
                  <a:lnTo>
                    <a:pt x="2087403" y="693069"/>
                  </a:lnTo>
                  <a:lnTo>
                    <a:pt x="2085582" y="698533"/>
                  </a:lnTo>
                  <a:lnTo>
                    <a:pt x="2081939" y="720391"/>
                  </a:lnTo>
                  <a:lnTo>
                    <a:pt x="2074652" y="709462"/>
                  </a:lnTo>
                  <a:close/>
                  <a:moveTo>
                    <a:pt x="2216726" y="642068"/>
                  </a:moveTo>
                  <a:lnTo>
                    <a:pt x="2315085" y="707641"/>
                  </a:lnTo>
                  <a:lnTo>
                    <a:pt x="2295049" y="709463"/>
                  </a:lnTo>
                  <a:lnTo>
                    <a:pt x="2298692" y="725856"/>
                  </a:lnTo>
                  <a:lnTo>
                    <a:pt x="2287763" y="742249"/>
                  </a:lnTo>
                  <a:lnTo>
                    <a:pt x="2254977" y="742249"/>
                  </a:lnTo>
                  <a:lnTo>
                    <a:pt x="2238584" y="713106"/>
                  </a:lnTo>
                  <a:lnTo>
                    <a:pt x="2247691" y="676676"/>
                  </a:lnTo>
                  <a:close/>
                  <a:moveTo>
                    <a:pt x="2158439" y="634782"/>
                  </a:moveTo>
                  <a:lnTo>
                    <a:pt x="2182119" y="671211"/>
                  </a:lnTo>
                  <a:lnTo>
                    <a:pt x="2193047" y="674854"/>
                  </a:lnTo>
                  <a:lnTo>
                    <a:pt x="2189404" y="693069"/>
                  </a:lnTo>
                  <a:lnTo>
                    <a:pt x="2200333" y="696712"/>
                  </a:lnTo>
                  <a:lnTo>
                    <a:pt x="2205798" y="680319"/>
                  </a:lnTo>
                  <a:lnTo>
                    <a:pt x="2200333" y="654818"/>
                  </a:lnTo>
                  <a:lnTo>
                    <a:pt x="2220369" y="654818"/>
                  </a:lnTo>
                  <a:lnTo>
                    <a:pt x="2242227" y="685783"/>
                  </a:lnTo>
                  <a:lnTo>
                    <a:pt x="2236763" y="713105"/>
                  </a:lnTo>
                  <a:lnTo>
                    <a:pt x="2238584" y="733141"/>
                  </a:lnTo>
                  <a:lnTo>
                    <a:pt x="2262263" y="754999"/>
                  </a:lnTo>
                  <a:lnTo>
                    <a:pt x="2236763" y="765927"/>
                  </a:lnTo>
                  <a:lnTo>
                    <a:pt x="2225834" y="744070"/>
                  </a:lnTo>
                  <a:lnTo>
                    <a:pt x="2178476" y="769570"/>
                  </a:lnTo>
                  <a:lnTo>
                    <a:pt x="2176654" y="765927"/>
                  </a:lnTo>
                  <a:lnTo>
                    <a:pt x="2182119" y="764106"/>
                  </a:lnTo>
                  <a:lnTo>
                    <a:pt x="2176654" y="744070"/>
                  </a:lnTo>
                  <a:lnTo>
                    <a:pt x="2169368" y="749534"/>
                  </a:lnTo>
                  <a:lnTo>
                    <a:pt x="2169368" y="758641"/>
                  </a:lnTo>
                  <a:lnTo>
                    <a:pt x="2171190" y="758641"/>
                  </a:lnTo>
                  <a:lnTo>
                    <a:pt x="2165725" y="776856"/>
                  </a:lnTo>
                  <a:lnTo>
                    <a:pt x="2132939" y="765927"/>
                  </a:lnTo>
                  <a:lnTo>
                    <a:pt x="2103795" y="720391"/>
                  </a:lnTo>
                  <a:lnTo>
                    <a:pt x="2120188" y="718569"/>
                  </a:lnTo>
                  <a:lnTo>
                    <a:pt x="2109260" y="696712"/>
                  </a:lnTo>
                  <a:lnTo>
                    <a:pt x="2122010" y="676676"/>
                  </a:lnTo>
                  <a:lnTo>
                    <a:pt x="2116546" y="660283"/>
                  </a:lnTo>
                  <a:close/>
                  <a:moveTo>
                    <a:pt x="457189" y="561923"/>
                  </a:moveTo>
                  <a:lnTo>
                    <a:pt x="480868" y="563745"/>
                  </a:lnTo>
                  <a:lnTo>
                    <a:pt x="495440" y="592888"/>
                  </a:lnTo>
                  <a:lnTo>
                    <a:pt x="491797" y="609281"/>
                  </a:lnTo>
                  <a:lnTo>
                    <a:pt x="495440" y="609281"/>
                  </a:lnTo>
                  <a:lnTo>
                    <a:pt x="480868" y="642068"/>
                  </a:lnTo>
                  <a:lnTo>
                    <a:pt x="373402" y="696712"/>
                  </a:lnTo>
                  <a:lnTo>
                    <a:pt x="367938" y="685783"/>
                  </a:lnTo>
                  <a:lnTo>
                    <a:pt x="313293" y="744070"/>
                  </a:lnTo>
                  <a:lnTo>
                    <a:pt x="291436" y="744070"/>
                  </a:lnTo>
                  <a:lnTo>
                    <a:pt x="289614" y="753178"/>
                  </a:lnTo>
                  <a:lnTo>
                    <a:pt x="300543" y="760463"/>
                  </a:lnTo>
                  <a:lnTo>
                    <a:pt x="285971" y="782321"/>
                  </a:lnTo>
                  <a:lnTo>
                    <a:pt x="267757" y="776857"/>
                  </a:lnTo>
                  <a:lnTo>
                    <a:pt x="278686" y="796893"/>
                  </a:lnTo>
                  <a:lnTo>
                    <a:pt x="256828" y="785964"/>
                  </a:lnTo>
                  <a:lnTo>
                    <a:pt x="262292" y="798714"/>
                  </a:lnTo>
                  <a:lnTo>
                    <a:pt x="255007" y="806000"/>
                  </a:lnTo>
                  <a:lnTo>
                    <a:pt x="240435" y="793250"/>
                  </a:lnTo>
                  <a:lnTo>
                    <a:pt x="251364" y="822393"/>
                  </a:lnTo>
                  <a:lnTo>
                    <a:pt x="238613" y="844251"/>
                  </a:lnTo>
                  <a:lnTo>
                    <a:pt x="222220" y="822393"/>
                  </a:lnTo>
                  <a:lnTo>
                    <a:pt x="216756" y="838787"/>
                  </a:lnTo>
                  <a:lnTo>
                    <a:pt x="229506" y="849715"/>
                  </a:lnTo>
                  <a:lnTo>
                    <a:pt x="229506" y="864287"/>
                  </a:lnTo>
                  <a:lnTo>
                    <a:pt x="205827" y="855180"/>
                  </a:lnTo>
                  <a:lnTo>
                    <a:pt x="222220" y="875216"/>
                  </a:lnTo>
                  <a:lnTo>
                    <a:pt x="205827" y="869752"/>
                  </a:lnTo>
                  <a:lnTo>
                    <a:pt x="213113" y="889788"/>
                  </a:lnTo>
                  <a:lnTo>
                    <a:pt x="202184" y="906181"/>
                  </a:lnTo>
                  <a:lnTo>
                    <a:pt x="165755" y="889788"/>
                  </a:lnTo>
                  <a:lnTo>
                    <a:pt x="159931" y="891244"/>
                  </a:lnTo>
                  <a:lnTo>
                    <a:pt x="163058" y="890540"/>
                  </a:lnTo>
                  <a:lnTo>
                    <a:pt x="194774" y="908790"/>
                  </a:lnTo>
                  <a:lnTo>
                    <a:pt x="175867" y="928835"/>
                  </a:lnTo>
                  <a:lnTo>
                    <a:pt x="190809" y="924946"/>
                  </a:lnTo>
                  <a:lnTo>
                    <a:pt x="190809" y="934819"/>
                  </a:lnTo>
                  <a:lnTo>
                    <a:pt x="174342" y="944692"/>
                  </a:lnTo>
                  <a:lnTo>
                    <a:pt x="182271" y="947086"/>
                  </a:lnTo>
                  <a:lnTo>
                    <a:pt x="170377" y="968926"/>
                  </a:lnTo>
                  <a:lnTo>
                    <a:pt x="170377" y="1006922"/>
                  </a:lnTo>
                  <a:lnTo>
                    <a:pt x="186845" y="1059578"/>
                  </a:lnTo>
                  <a:lnTo>
                    <a:pt x="222220" y="1095779"/>
                  </a:lnTo>
                  <a:lnTo>
                    <a:pt x="207277" y="1101763"/>
                  </a:lnTo>
                  <a:lnTo>
                    <a:pt x="214901" y="1106550"/>
                  </a:lnTo>
                  <a:lnTo>
                    <a:pt x="210937" y="1110140"/>
                  </a:lnTo>
                  <a:lnTo>
                    <a:pt x="200263" y="1092488"/>
                  </a:lnTo>
                  <a:lnTo>
                    <a:pt x="190809" y="1097275"/>
                  </a:lnTo>
                  <a:lnTo>
                    <a:pt x="194469" y="1106550"/>
                  </a:lnTo>
                  <a:lnTo>
                    <a:pt x="170377" y="1097275"/>
                  </a:lnTo>
                  <a:lnTo>
                    <a:pt x="162753" y="1108046"/>
                  </a:lnTo>
                  <a:lnTo>
                    <a:pt x="151775" y="1095480"/>
                  </a:lnTo>
                  <a:lnTo>
                    <a:pt x="159399" y="1091890"/>
                  </a:lnTo>
                  <a:lnTo>
                    <a:pt x="129513" y="1089497"/>
                  </a:lnTo>
                  <a:lnTo>
                    <a:pt x="126158" y="1073640"/>
                  </a:lnTo>
                  <a:lnTo>
                    <a:pt x="143236" y="1067955"/>
                  </a:lnTo>
                  <a:lnTo>
                    <a:pt x="126158" y="1057185"/>
                  </a:lnTo>
                  <a:lnTo>
                    <a:pt x="135612" y="1040730"/>
                  </a:lnTo>
                  <a:lnTo>
                    <a:pt x="120973" y="1053595"/>
                  </a:lnTo>
                  <a:lnTo>
                    <a:pt x="120669" y="1035943"/>
                  </a:lnTo>
                  <a:lnTo>
                    <a:pt x="79804" y="1031754"/>
                  </a:lnTo>
                  <a:lnTo>
                    <a:pt x="74620" y="1019488"/>
                  </a:lnTo>
                  <a:lnTo>
                    <a:pt x="78279" y="997647"/>
                  </a:lnTo>
                  <a:lnTo>
                    <a:pt x="97187" y="1001238"/>
                  </a:lnTo>
                  <a:lnTo>
                    <a:pt x="113350" y="954565"/>
                  </a:lnTo>
                  <a:lnTo>
                    <a:pt x="107555" y="959352"/>
                  </a:lnTo>
                  <a:lnTo>
                    <a:pt x="100236" y="939905"/>
                  </a:lnTo>
                  <a:lnTo>
                    <a:pt x="120059" y="928835"/>
                  </a:lnTo>
                  <a:lnTo>
                    <a:pt x="114874" y="925245"/>
                  </a:lnTo>
                  <a:lnTo>
                    <a:pt x="119144" y="923450"/>
                  </a:lnTo>
                  <a:lnTo>
                    <a:pt x="115179" y="912081"/>
                  </a:lnTo>
                  <a:lnTo>
                    <a:pt x="129818" y="898020"/>
                  </a:lnTo>
                  <a:lnTo>
                    <a:pt x="144258" y="894770"/>
                  </a:lnTo>
                  <a:lnTo>
                    <a:pt x="165755" y="866109"/>
                  </a:lnTo>
                  <a:lnTo>
                    <a:pt x="138433" y="875216"/>
                  </a:lnTo>
                  <a:lnTo>
                    <a:pt x="129325" y="860644"/>
                  </a:lnTo>
                  <a:lnTo>
                    <a:pt x="165755" y="827858"/>
                  </a:lnTo>
                  <a:lnTo>
                    <a:pt x="189434" y="838787"/>
                  </a:lnTo>
                  <a:lnTo>
                    <a:pt x="165755" y="822393"/>
                  </a:lnTo>
                  <a:lnTo>
                    <a:pt x="178505" y="816929"/>
                  </a:lnTo>
                  <a:lnTo>
                    <a:pt x="167576" y="806000"/>
                  </a:lnTo>
                  <a:lnTo>
                    <a:pt x="187612" y="804179"/>
                  </a:lnTo>
                  <a:lnTo>
                    <a:pt x="176683" y="785964"/>
                  </a:lnTo>
                  <a:lnTo>
                    <a:pt x="202184" y="782321"/>
                  </a:lnTo>
                  <a:lnTo>
                    <a:pt x="178505" y="776857"/>
                  </a:lnTo>
                  <a:lnTo>
                    <a:pt x="183969" y="758642"/>
                  </a:lnTo>
                  <a:lnTo>
                    <a:pt x="176683" y="758642"/>
                  </a:lnTo>
                  <a:lnTo>
                    <a:pt x="173040" y="749535"/>
                  </a:lnTo>
                  <a:lnTo>
                    <a:pt x="176683" y="736784"/>
                  </a:lnTo>
                  <a:lnTo>
                    <a:pt x="189434" y="747713"/>
                  </a:lnTo>
                  <a:lnTo>
                    <a:pt x="222220" y="725855"/>
                  </a:lnTo>
                  <a:lnTo>
                    <a:pt x="251364" y="676676"/>
                  </a:lnTo>
                  <a:lnTo>
                    <a:pt x="291436" y="645711"/>
                  </a:lnTo>
                  <a:lnTo>
                    <a:pt x="296900" y="647532"/>
                  </a:lnTo>
                  <a:lnTo>
                    <a:pt x="289614" y="660282"/>
                  </a:lnTo>
                  <a:lnTo>
                    <a:pt x="306008" y="652997"/>
                  </a:lnTo>
                  <a:lnTo>
                    <a:pt x="306008" y="629317"/>
                  </a:lnTo>
                  <a:lnTo>
                    <a:pt x="338794" y="642068"/>
                  </a:lnTo>
                  <a:lnTo>
                    <a:pt x="384331" y="625675"/>
                  </a:lnTo>
                  <a:close/>
                  <a:moveTo>
                    <a:pt x="1301439" y="254094"/>
                  </a:moveTo>
                  <a:lnTo>
                    <a:pt x="1317832" y="267755"/>
                  </a:lnTo>
                  <a:lnTo>
                    <a:pt x="1315100" y="303274"/>
                  </a:lnTo>
                  <a:lnTo>
                    <a:pt x="1334225" y="292345"/>
                  </a:lnTo>
                  <a:lnTo>
                    <a:pt x="1364280" y="330596"/>
                  </a:lnTo>
                  <a:lnTo>
                    <a:pt x="1377940" y="371579"/>
                  </a:lnTo>
                  <a:lnTo>
                    <a:pt x="1358816" y="398901"/>
                  </a:lnTo>
                  <a:lnTo>
                    <a:pt x="1296887" y="415415"/>
                  </a:lnTo>
                  <a:lnTo>
                    <a:pt x="1296887" y="418027"/>
                  </a:lnTo>
                  <a:lnTo>
                    <a:pt x="1293244" y="418027"/>
                  </a:lnTo>
                  <a:lnTo>
                    <a:pt x="1258637" y="425313"/>
                  </a:lnTo>
                  <a:lnTo>
                    <a:pt x="1231314" y="452636"/>
                  </a:lnTo>
                  <a:lnTo>
                    <a:pt x="1214920" y="441707"/>
                  </a:lnTo>
                  <a:lnTo>
                    <a:pt x="1224028" y="414384"/>
                  </a:lnTo>
                  <a:lnTo>
                    <a:pt x="1229381" y="414384"/>
                  </a:lnTo>
                  <a:cubicBezTo>
                    <a:pt x="1235052" y="397333"/>
                    <a:pt x="1248615" y="371968"/>
                    <a:pt x="1244063" y="366114"/>
                  </a:cubicBezTo>
                  <a:lnTo>
                    <a:pt x="1260456" y="333328"/>
                  </a:lnTo>
                  <a:lnTo>
                    <a:pt x="1279581" y="275952"/>
                  </a:lnTo>
                  <a:close/>
                  <a:moveTo>
                    <a:pt x="1186686" y="158467"/>
                  </a:moveTo>
                  <a:lnTo>
                    <a:pt x="1203079" y="185790"/>
                  </a:lnTo>
                  <a:lnTo>
                    <a:pt x="1219473" y="174861"/>
                  </a:lnTo>
                  <a:lnTo>
                    <a:pt x="1246794" y="213111"/>
                  </a:lnTo>
                  <a:lnTo>
                    <a:pt x="1235865" y="289613"/>
                  </a:lnTo>
                  <a:lnTo>
                    <a:pt x="1252259" y="322399"/>
                  </a:lnTo>
                  <a:lnTo>
                    <a:pt x="1216741" y="341525"/>
                  </a:lnTo>
                  <a:lnTo>
                    <a:pt x="1189418" y="338793"/>
                  </a:lnTo>
                  <a:lnTo>
                    <a:pt x="1153900" y="314203"/>
                  </a:lnTo>
                  <a:lnTo>
                    <a:pt x="1115649" y="300542"/>
                  </a:lnTo>
                  <a:lnTo>
                    <a:pt x="1091059" y="248631"/>
                  </a:lnTo>
                  <a:lnTo>
                    <a:pt x="1115649" y="174861"/>
                  </a:lnTo>
                  <a:close/>
                  <a:moveTo>
                    <a:pt x="1151168" y="0"/>
                  </a:moveTo>
                  <a:lnTo>
                    <a:pt x="1164829" y="51912"/>
                  </a:lnTo>
                  <a:lnTo>
                    <a:pt x="1194883" y="65573"/>
                  </a:lnTo>
                  <a:lnTo>
                    <a:pt x="1197615" y="92894"/>
                  </a:lnTo>
                  <a:lnTo>
                    <a:pt x="1170293" y="98359"/>
                  </a:lnTo>
                  <a:lnTo>
                    <a:pt x="1186686" y="147538"/>
                  </a:lnTo>
                  <a:cubicBezTo>
                    <a:pt x="1170293" y="153003"/>
                    <a:pt x="1148436" y="150270"/>
                    <a:pt x="1132043" y="155735"/>
                  </a:cubicBezTo>
                  <a:lnTo>
                    <a:pt x="1096524" y="180325"/>
                  </a:lnTo>
                  <a:lnTo>
                    <a:pt x="1039147" y="147538"/>
                  </a:lnTo>
                  <a:lnTo>
                    <a:pt x="1082862" y="76502"/>
                  </a:lnTo>
                  <a:lnTo>
                    <a:pt x="1071934" y="57376"/>
                  </a:lnTo>
                  <a:lnTo>
                    <a:pt x="1134774" y="5464"/>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9" name="Russia - Mainland">
              <a:extLst>
                <a:ext uri="{FF2B5EF4-FFF2-40B4-BE49-F238E27FC236}">
                  <a16:creationId xmlns:a16="http://schemas.microsoft.com/office/drawing/2014/main" id="{3521A76F-0291-A7E9-1332-CE751E70F46B}"/>
                </a:ext>
              </a:extLst>
            </p:cNvPr>
            <p:cNvSpPr>
              <a:spLocks noEditPoints="1"/>
            </p:cNvSpPr>
            <p:nvPr/>
          </p:nvSpPr>
          <p:spPr bwMode="auto">
            <a:xfrm>
              <a:off x="6465544" y="1584069"/>
              <a:ext cx="3854463" cy="1935364"/>
            </a:xfrm>
            <a:custGeom>
              <a:avLst/>
              <a:gdLst>
                <a:gd name="T0" fmla="*/ 1071 w 2133"/>
                <a:gd name="T1" fmla="*/ 56 h 1071"/>
                <a:gd name="T2" fmla="*/ 1107 w 2133"/>
                <a:gd name="T3" fmla="*/ 161 h 1071"/>
                <a:gd name="T4" fmla="*/ 1089 w 2133"/>
                <a:gd name="T5" fmla="*/ 210 h 1071"/>
                <a:gd name="T6" fmla="*/ 1128 w 2133"/>
                <a:gd name="T7" fmla="*/ 235 h 1071"/>
                <a:gd name="T8" fmla="*/ 1304 w 2133"/>
                <a:gd name="T9" fmla="*/ 219 h 1071"/>
                <a:gd name="T10" fmla="*/ 1406 w 2133"/>
                <a:gd name="T11" fmla="*/ 315 h 1071"/>
                <a:gd name="T12" fmla="*/ 1593 w 2133"/>
                <a:gd name="T13" fmla="*/ 302 h 1071"/>
                <a:gd name="T14" fmla="*/ 1801 w 2133"/>
                <a:gd name="T15" fmla="*/ 384 h 1071"/>
                <a:gd name="T16" fmla="*/ 1996 w 2133"/>
                <a:gd name="T17" fmla="*/ 407 h 1071"/>
                <a:gd name="T18" fmla="*/ 2054 w 2133"/>
                <a:gd name="T19" fmla="*/ 450 h 1071"/>
                <a:gd name="T20" fmla="*/ 2093 w 2133"/>
                <a:gd name="T21" fmla="*/ 475 h 1071"/>
                <a:gd name="T22" fmla="*/ 2093 w 2133"/>
                <a:gd name="T23" fmla="*/ 548 h 1071"/>
                <a:gd name="T24" fmla="*/ 2050 w 2133"/>
                <a:gd name="T25" fmla="*/ 539 h 1071"/>
                <a:gd name="T26" fmla="*/ 1978 w 2133"/>
                <a:gd name="T27" fmla="*/ 554 h 1071"/>
                <a:gd name="T28" fmla="*/ 1965 w 2133"/>
                <a:gd name="T29" fmla="*/ 609 h 1071"/>
                <a:gd name="T30" fmla="*/ 1870 w 2133"/>
                <a:gd name="T31" fmla="*/ 683 h 1071"/>
                <a:gd name="T32" fmla="*/ 1763 w 2133"/>
                <a:gd name="T33" fmla="*/ 738 h 1071"/>
                <a:gd name="T34" fmla="*/ 1756 w 2133"/>
                <a:gd name="T35" fmla="*/ 815 h 1071"/>
                <a:gd name="T36" fmla="*/ 1715 w 2133"/>
                <a:gd name="T37" fmla="*/ 729 h 1071"/>
                <a:gd name="T38" fmla="*/ 1778 w 2133"/>
                <a:gd name="T39" fmla="*/ 637 h 1071"/>
                <a:gd name="T40" fmla="*/ 1660 w 2133"/>
                <a:gd name="T41" fmla="*/ 686 h 1071"/>
                <a:gd name="T42" fmla="*/ 1590 w 2133"/>
                <a:gd name="T43" fmla="*/ 696 h 1071"/>
                <a:gd name="T44" fmla="*/ 1433 w 2133"/>
                <a:gd name="T45" fmla="*/ 811 h 1071"/>
                <a:gd name="T46" fmla="*/ 1491 w 2133"/>
                <a:gd name="T47" fmla="*/ 855 h 1071"/>
                <a:gd name="T48" fmla="*/ 1360 w 2133"/>
                <a:gd name="T49" fmla="*/ 1051 h 1071"/>
                <a:gd name="T50" fmla="*/ 1353 w 2133"/>
                <a:gd name="T51" fmla="*/ 940 h 1071"/>
                <a:gd name="T52" fmla="*/ 1184 w 2133"/>
                <a:gd name="T53" fmla="*/ 919 h 1071"/>
                <a:gd name="T54" fmla="*/ 923 w 2133"/>
                <a:gd name="T55" fmla="*/ 910 h 1071"/>
                <a:gd name="T56" fmla="*/ 754 w 2133"/>
                <a:gd name="T57" fmla="*/ 907 h 1071"/>
                <a:gd name="T58" fmla="*/ 650 w 2133"/>
                <a:gd name="T59" fmla="*/ 818 h 1071"/>
                <a:gd name="T60" fmla="*/ 592 w 2133"/>
                <a:gd name="T61" fmla="*/ 825 h 1071"/>
                <a:gd name="T62" fmla="*/ 548 w 2133"/>
                <a:gd name="T63" fmla="*/ 793 h 1071"/>
                <a:gd name="T64" fmla="*/ 447 w 2133"/>
                <a:gd name="T65" fmla="*/ 827 h 1071"/>
                <a:gd name="T66" fmla="*/ 435 w 2133"/>
                <a:gd name="T67" fmla="*/ 870 h 1071"/>
                <a:gd name="T68" fmla="*/ 398 w 2133"/>
                <a:gd name="T69" fmla="*/ 891 h 1071"/>
                <a:gd name="T70" fmla="*/ 323 w 2133"/>
                <a:gd name="T71" fmla="*/ 879 h 1071"/>
                <a:gd name="T72" fmla="*/ 263 w 2133"/>
                <a:gd name="T73" fmla="*/ 925 h 1071"/>
                <a:gd name="T74" fmla="*/ 271 w 2133"/>
                <a:gd name="T75" fmla="*/ 983 h 1071"/>
                <a:gd name="T76" fmla="*/ 243 w 2133"/>
                <a:gd name="T77" fmla="*/ 1055 h 1071"/>
                <a:gd name="T78" fmla="*/ 142 w 2133"/>
                <a:gd name="T79" fmla="*/ 986 h 1071"/>
                <a:gd name="T80" fmla="*/ 166 w 2133"/>
                <a:gd name="T81" fmla="*/ 934 h 1071"/>
                <a:gd name="T82" fmla="*/ 102 w 2133"/>
                <a:gd name="T83" fmla="*/ 885 h 1071"/>
                <a:gd name="T84" fmla="*/ 75 w 2133"/>
                <a:gd name="T85" fmla="*/ 833 h 1071"/>
                <a:gd name="T86" fmla="*/ 11 w 2133"/>
                <a:gd name="T87" fmla="*/ 759 h 1071"/>
                <a:gd name="T88" fmla="*/ 16 w 2133"/>
                <a:gd name="T89" fmla="*/ 665 h 1071"/>
                <a:gd name="T90" fmla="*/ 29 w 2133"/>
                <a:gd name="T91" fmla="*/ 437 h 1071"/>
                <a:gd name="T92" fmla="*/ 77 w 2133"/>
                <a:gd name="T93" fmla="*/ 385 h 1071"/>
                <a:gd name="T94" fmla="*/ 94 w 2133"/>
                <a:gd name="T95" fmla="*/ 486 h 1071"/>
                <a:gd name="T96" fmla="*/ 124 w 2133"/>
                <a:gd name="T97" fmla="*/ 550 h 1071"/>
                <a:gd name="T98" fmla="*/ 219 w 2133"/>
                <a:gd name="T99" fmla="*/ 504 h 1071"/>
                <a:gd name="T100" fmla="*/ 320 w 2133"/>
                <a:gd name="T101" fmla="*/ 425 h 1071"/>
                <a:gd name="T102" fmla="*/ 352 w 2133"/>
                <a:gd name="T103" fmla="*/ 430 h 1071"/>
                <a:gd name="T104" fmla="*/ 538 w 2133"/>
                <a:gd name="T105" fmla="*/ 432 h 1071"/>
                <a:gd name="T106" fmla="*/ 552 w 2133"/>
                <a:gd name="T107" fmla="*/ 247 h 1071"/>
                <a:gd name="T108" fmla="*/ 587 w 2133"/>
                <a:gd name="T109" fmla="*/ 477 h 1071"/>
                <a:gd name="T110" fmla="*/ 655 w 2133"/>
                <a:gd name="T111" fmla="*/ 431 h 1071"/>
                <a:gd name="T112" fmla="*/ 625 w 2133"/>
                <a:gd name="T113" fmla="*/ 277 h 1071"/>
                <a:gd name="T114" fmla="*/ 658 w 2133"/>
                <a:gd name="T115" fmla="*/ 320 h 1071"/>
                <a:gd name="T116" fmla="*/ 721 w 2133"/>
                <a:gd name="T117" fmla="*/ 358 h 1071"/>
                <a:gd name="T118" fmla="*/ 698 w 2133"/>
                <a:gd name="T119" fmla="*/ 234 h 1071"/>
                <a:gd name="T120" fmla="*/ 794 w 2133"/>
                <a:gd name="T121" fmla="*/ 145 h 1071"/>
                <a:gd name="T122" fmla="*/ 933 w 2133"/>
                <a:gd name="T123" fmla="*/ 84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33" h="1071">
                  <a:moveTo>
                    <a:pt x="1117" y="111"/>
                  </a:moveTo>
                  <a:lnTo>
                    <a:pt x="1122" y="120"/>
                  </a:lnTo>
                  <a:lnTo>
                    <a:pt x="1126" y="121"/>
                  </a:lnTo>
                  <a:lnTo>
                    <a:pt x="1117" y="111"/>
                  </a:lnTo>
                  <a:close/>
                  <a:moveTo>
                    <a:pt x="1005" y="0"/>
                  </a:moveTo>
                  <a:lnTo>
                    <a:pt x="1006" y="0"/>
                  </a:lnTo>
                  <a:lnTo>
                    <a:pt x="1027" y="10"/>
                  </a:lnTo>
                  <a:lnTo>
                    <a:pt x="1031" y="23"/>
                  </a:lnTo>
                  <a:lnTo>
                    <a:pt x="1013" y="41"/>
                  </a:lnTo>
                  <a:lnTo>
                    <a:pt x="1027" y="34"/>
                  </a:lnTo>
                  <a:lnTo>
                    <a:pt x="1027" y="40"/>
                  </a:lnTo>
                  <a:lnTo>
                    <a:pt x="1046" y="43"/>
                  </a:lnTo>
                  <a:lnTo>
                    <a:pt x="1048" y="43"/>
                  </a:lnTo>
                  <a:lnTo>
                    <a:pt x="1048" y="44"/>
                  </a:lnTo>
                  <a:lnTo>
                    <a:pt x="1049" y="49"/>
                  </a:lnTo>
                  <a:lnTo>
                    <a:pt x="1046" y="57"/>
                  </a:lnTo>
                  <a:lnTo>
                    <a:pt x="1033" y="72"/>
                  </a:lnTo>
                  <a:lnTo>
                    <a:pt x="1048" y="72"/>
                  </a:lnTo>
                  <a:lnTo>
                    <a:pt x="1058" y="56"/>
                  </a:lnTo>
                  <a:lnTo>
                    <a:pt x="1071" y="56"/>
                  </a:lnTo>
                  <a:lnTo>
                    <a:pt x="1083" y="57"/>
                  </a:lnTo>
                  <a:lnTo>
                    <a:pt x="1096" y="57"/>
                  </a:lnTo>
                  <a:lnTo>
                    <a:pt x="1096" y="59"/>
                  </a:lnTo>
                  <a:lnTo>
                    <a:pt x="1119" y="81"/>
                  </a:lnTo>
                  <a:lnTo>
                    <a:pt x="1116" y="87"/>
                  </a:lnTo>
                  <a:lnTo>
                    <a:pt x="1119" y="93"/>
                  </a:lnTo>
                  <a:lnTo>
                    <a:pt x="1123" y="86"/>
                  </a:lnTo>
                  <a:lnTo>
                    <a:pt x="1129" y="102"/>
                  </a:lnTo>
                  <a:lnTo>
                    <a:pt x="1132" y="102"/>
                  </a:lnTo>
                  <a:lnTo>
                    <a:pt x="1134" y="109"/>
                  </a:lnTo>
                  <a:lnTo>
                    <a:pt x="1128" y="121"/>
                  </a:lnTo>
                  <a:lnTo>
                    <a:pt x="1132" y="123"/>
                  </a:lnTo>
                  <a:lnTo>
                    <a:pt x="1132" y="124"/>
                  </a:lnTo>
                  <a:lnTo>
                    <a:pt x="1131" y="127"/>
                  </a:lnTo>
                  <a:lnTo>
                    <a:pt x="1132" y="136"/>
                  </a:lnTo>
                  <a:lnTo>
                    <a:pt x="1123" y="149"/>
                  </a:lnTo>
                  <a:lnTo>
                    <a:pt x="1113" y="157"/>
                  </a:lnTo>
                  <a:lnTo>
                    <a:pt x="1114" y="158"/>
                  </a:lnTo>
                  <a:lnTo>
                    <a:pt x="1114" y="160"/>
                  </a:lnTo>
                  <a:lnTo>
                    <a:pt x="1107" y="161"/>
                  </a:lnTo>
                  <a:lnTo>
                    <a:pt x="1107" y="169"/>
                  </a:lnTo>
                  <a:lnTo>
                    <a:pt x="1089" y="176"/>
                  </a:lnTo>
                  <a:lnTo>
                    <a:pt x="1059" y="219"/>
                  </a:lnTo>
                  <a:lnTo>
                    <a:pt x="1046" y="219"/>
                  </a:lnTo>
                  <a:lnTo>
                    <a:pt x="1025" y="249"/>
                  </a:lnTo>
                  <a:lnTo>
                    <a:pt x="1030" y="246"/>
                  </a:lnTo>
                  <a:lnTo>
                    <a:pt x="1031" y="246"/>
                  </a:lnTo>
                  <a:lnTo>
                    <a:pt x="1034" y="249"/>
                  </a:lnTo>
                  <a:lnTo>
                    <a:pt x="1034" y="237"/>
                  </a:lnTo>
                  <a:lnTo>
                    <a:pt x="1043" y="237"/>
                  </a:lnTo>
                  <a:lnTo>
                    <a:pt x="1046" y="238"/>
                  </a:lnTo>
                  <a:lnTo>
                    <a:pt x="1051" y="238"/>
                  </a:lnTo>
                  <a:lnTo>
                    <a:pt x="1071" y="228"/>
                  </a:lnTo>
                  <a:lnTo>
                    <a:pt x="1073" y="226"/>
                  </a:lnTo>
                  <a:lnTo>
                    <a:pt x="1070" y="220"/>
                  </a:lnTo>
                  <a:lnTo>
                    <a:pt x="1070" y="219"/>
                  </a:lnTo>
                  <a:lnTo>
                    <a:pt x="1071" y="220"/>
                  </a:lnTo>
                  <a:lnTo>
                    <a:pt x="1079" y="225"/>
                  </a:lnTo>
                  <a:lnTo>
                    <a:pt x="1093" y="215"/>
                  </a:lnTo>
                  <a:lnTo>
                    <a:pt x="1089" y="210"/>
                  </a:lnTo>
                  <a:lnTo>
                    <a:pt x="1079" y="219"/>
                  </a:lnTo>
                  <a:lnTo>
                    <a:pt x="1077" y="219"/>
                  </a:lnTo>
                  <a:lnTo>
                    <a:pt x="1077" y="218"/>
                  </a:lnTo>
                  <a:lnTo>
                    <a:pt x="1074" y="209"/>
                  </a:lnTo>
                  <a:lnTo>
                    <a:pt x="1082" y="198"/>
                  </a:lnTo>
                  <a:lnTo>
                    <a:pt x="1083" y="198"/>
                  </a:lnTo>
                  <a:lnTo>
                    <a:pt x="1092" y="204"/>
                  </a:lnTo>
                  <a:lnTo>
                    <a:pt x="1101" y="198"/>
                  </a:lnTo>
                  <a:lnTo>
                    <a:pt x="1101" y="200"/>
                  </a:lnTo>
                  <a:lnTo>
                    <a:pt x="1099" y="203"/>
                  </a:lnTo>
                  <a:lnTo>
                    <a:pt x="1099" y="209"/>
                  </a:lnTo>
                  <a:lnTo>
                    <a:pt x="1114" y="213"/>
                  </a:lnTo>
                  <a:lnTo>
                    <a:pt x="1119" y="209"/>
                  </a:lnTo>
                  <a:lnTo>
                    <a:pt x="1117" y="198"/>
                  </a:lnTo>
                  <a:lnTo>
                    <a:pt x="1119" y="198"/>
                  </a:lnTo>
                  <a:lnTo>
                    <a:pt x="1126" y="216"/>
                  </a:lnTo>
                  <a:lnTo>
                    <a:pt x="1125" y="229"/>
                  </a:lnTo>
                  <a:lnTo>
                    <a:pt x="1129" y="231"/>
                  </a:lnTo>
                  <a:lnTo>
                    <a:pt x="1125" y="234"/>
                  </a:lnTo>
                  <a:lnTo>
                    <a:pt x="1128" y="235"/>
                  </a:lnTo>
                  <a:lnTo>
                    <a:pt x="1136" y="231"/>
                  </a:lnTo>
                  <a:lnTo>
                    <a:pt x="1128" y="223"/>
                  </a:lnTo>
                  <a:lnTo>
                    <a:pt x="1128" y="222"/>
                  </a:lnTo>
                  <a:lnTo>
                    <a:pt x="1156" y="213"/>
                  </a:lnTo>
                  <a:lnTo>
                    <a:pt x="1199" y="222"/>
                  </a:lnTo>
                  <a:lnTo>
                    <a:pt x="1199" y="223"/>
                  </a:lnTo>
                  <a:lnTo>
                    <a:pt x="1193" y="226"/>
                  </a:lnTo>
                  <a:lnTo>
                    <a:pt x="1194" y="237"/>
                  </a:lnTo>
                  <a:lnTo>
                    <a:pt x="1227" y="247"/>
                  </a:lnTo>
                  <a:lnTo>
                    <a:pt x="1255" y="243"/>
                  </a:lnTo>
                  <a:lnTo>
                    <a:pt x="1258" y="238"/>
                  </a:lnTo>
                  <a:lnTo>
                    <a:pt x="1254" y="225"/>
                  </a:lnTo>
                  <a:lnTo>
                    <a:pt x="1257" y="212"/>
                  </a:lnTo>
                  <a:lnTo>
                    <a:pt x="1257" y="210"/>
                  </a:lnTo>
                  <a:lnTo>
                    <a:pt x="1261" y="212"/>
                  </a:lnTo>
                  <a:lnTo>
                    <a:pt x="1262" y="206"/>
                  </a:lnTo>
                  <a:lnTo>
                    <a:pt x="1264" y="206"/>
                  </a:lnTo>
                  <a:lnTo>
                    <a:pt x="1300" y="225"/>
                  </a:lnTo>
                  <a:lnTo>
                    <a:pt x="1304" y="220"/>
                  </a:lnTo>
                  <a:lnTo>
                    <a:pt x="1304" y="219"/>
                  </a:lnTo>
                  <a:lnTo>
                    <a:pt x="1305" y="219"/>
                  </a:lnTo>
                  <a:lnTo>
                    <a:pt x="1320" y="223"/>
                  </a:lnTo>
                  <a:lnTo>
                    <a:pt x="1338" y="246"/>
                  </a:lnTo>
                  <a:lnTo>
                    <a:pt x="1335" y="263"/>
                  </a:lnTo>
                  <a:lnTo>
                    <a:pt x="1340" y="272"/>
                  </a:lnTo>
                  <a:lnTo>
                    <a:pt x="1337" y="280"/>
                  </a:lnTo>
                  <a:lnTo>
                    <a:pt x="1338" y="281"/>
                  </a:lnTo>
                  <a:lnTo>
                    <a:pt x="1328" y="293"/>
                  </a:lnTo>
                  <a:lnTo>
                    <a:pt x="1329" y="304"/>
                  </a:lnTo>
                  <a:lnTo>
                    <a:pt x="1332" y="302"/>
                  </a:lnTo>
                  <a:lnTo>
                    <a:pt x="1344" y="327"/>
                  </a:lnTo>
                  <a:lnTo>
                    <a:pt x="1356" y="332"/>
                  </a:lnTo>
                  <a:lnTo>
                    <a:pt x="1357" y="332"/>
                  </a:lnTo>
                  <a:lnTo>
                    <a:pt x="1360" y="341"/>
                  </a:lnTo>
                  <a:lnTo>
                    <a:pt x="1369" y="323"/>
                  </a:lnTo>
                  <a:lnTo>
                    <a:pt x="1371" y="308"/>
                  </a:lnTo>
                  <a:lnTo>
                    <a:pt x="1378" y="289"/>
                  </a:lnTo>
                  <a:lnTo>
                    <a:pt x="1380" y="289"/>
                  </a:lnTo>
                  <a:lnTo>
                    <a:pt x="1391" y="312"/>
                  </a:lnTo>
                  <a:lnTo>
                    <a:pt x="1406" y="315"/>
                  </a:lnTo>
                  <a:lnTo>
                    <a:pt x="1408" y="305"/>
                  </a:lnTo>
                  <a:lnTo>
                    <a:pt x="1409" y="304"/>
                  </a:lnTo>
                  <a:lnTo>
                    <a:pt x="1417" y="304"/>
                  </a:lnTo>
                  <a:lnTo>
                    <a:pt x="1448" y="323"/>
                  </a:lnTo>
                  <a:lnTo>
                    <a:pt x="1467" y="308"/>
                  </a:lnTo>
                  <a:lnTo>
                    <a:pt x="1473" y="309"/>
                  </a:lnTo>
                  <a:lnTo>
                    <a:pt x="1470" y="299"/>
                  </a:lnTo>
                  <a:lnTo>
                    <a:pt x="1471" y="295"/>
                  </a:lnTo>
                  <a:lnTo>
                    <a:pt x="1470" y="287"/>
                  </a:lnTo>
                  <a:lnTo>
                    <a:pt x="1470" y="286"/>
                  </a:lnTo>
                  <a:lnTo>
                    <a:pt x="1488" y="263"/>
                  </a:lnTo>
                  <a:lnTo>
                    <a:pt x="1485" y="256"/>
                  </a:lnTo>
                  <a:lnTo>
                    <a:pt x="1488" y="252"/>
                  </a:lnTo>
                  <a:lnTo>
                    <a:pt x="1489" y="252"/>
                  </a:lnTo>
                  <a:lnTo>
                    <a:pt x="1597" y="278"/>
                  </a:lnTo>
                  <a:lnTo>
                    <a:pt x="1602" y="281"/>
                  </a:lnTo>
                  <a:lnTo>
                    <a:pt x="1606" y="295"/>
                  </a:lnTo>
                  <a:lnTo>
                    <a:pt x="1605" y="295"/>
                  </a:lnTo>
                  <a:lnTo>
                    <a:pt x="1597" y="293"/>
                  </a:lnTo>
                  <a:lnTo>
                    <a:pt x="1593" y="302"/>
                  </a:lnTo>
                  <a:lnTo>
                    <a:pt x="1608" y="304"/>
                  </a:lnTo>
                  <a:lnTo>
                    <a:pt x="1615" y="312"/>
                  </a:lnTo>
                  <a:lnTo>
                    <a:pt x="1618" y="312"/>
                  </a:lnTo>
                  <a:lnTo>
                    <a:pt x="1623" y="311"/>
                  </a:lnTo>
                  <a:lnTo>
                    <a:pt x="1626" y="311"/>
                  </a:lnTo>
                  <a:lnTo>
                    <a:pt x="1636" y="321"/>
                  </a:lnTo>
                  <a:lnTo>
                    <a:pt x="1636" y="323"/>
                  </a:lnTo>
                  <a:lnTo>
                    <a:pt x="1630" y="330"/>
                  </a:lnTo>
                  <a:lnTo>
                    <a:pt x="1639" y="336"/>
                  </a:lnTo>
                  <a:lnTo>
                    <a:pt x="1666" y="330"/>
                  </a:lnTo>
                  <a:lnTo>
                    <a:pt x="1720" y="330"/>
                  </a:lnTo>
                  <a:lnTo>
                    <a:pt x="1720" y="332"/>
                  </a:lnTo>
                  <a:lnTo>
                    <a:pt x="1735" y="352"/>
                  </a:lnTo>
                  <a:lnTo>
                    <a:pt x="1737" y="360"/>
                  </a:lnTo>
                  <a:lnTo>
                    <a:pt x="1732" y="375"/>
                  </a:lnTo>
                  <a:lnTo>
                    <a:pt x="1752" y="385"/>
                  </a:lnTo>
                  <a:lnTo>
                    <a:pt x="1752" y="390"/>
                  </a:lnTo>
                  <a:lnTo>
                    <a:pt x="1766" y="379"/>
                  </a:lnTo>
                  <a:lnTo>
                    <a:pt x="1787" y="376"/>
                  </a:lnTo>
                  <a:lnTo>
                    <a:pt x="1801" y="384"/>
                  </a:lnTo>
                  <a:lnTo>
                    <a:pt x="1824" y="387"/>
                  </a:lnTo>
                  <a:lnTo>
                    <a:pt x="1836" y="376"/>
                  </a:lnTo>
                  <a:lnTo>
                    <a:pt x="1838" y="376"/>
                  </a:lnTo>
                  <a:lnTo>
                    <a:pt x="1838" y="378"/>
                  </a:lnTo>
                  <a:lnTo>
                    <a:pt x="1842" y="384"/>
                  </a:lnTo>
                  <a:lnTo>
                    <a:pt x="1844" y="397"/>
                  </a:lnTo>
                  <a:lnTo>
                    <a:pt x="1864" y="413"/>
                  </a:lnTo>
                  <a:lnTo>
                    <a:pt x="1879" y="401"/>
                  </a:lnTo>
                  <a:lnTo>
                    <a:pt x="1873" y="385"/>
                  </a:lnTo>
                  <a:lnTo>
                    <a:pt x="1867" y="384"/>
                  </a:lnTo>
                  <a:lnTo>
                    <a:pt x="1866" y="384"/>
                  </a:lnTo>
                  <a:lnTo>
                    <a:pt x="1866" y="382"/>
                  </a:lnTo>
                  <a:lnTo>
                    <a:pt x="1870" y="378"/>
                  </a:lnTo>
                  <a:lnTo>
                    <a:pt x="1870" y="367"/>
                  </a:lnTo>
                  <a:lnTo>
                    <a:pt x="1872" y="367"/>
                  </a:lnTo>
                  <a:lnTo>
                    <a:pt x="1876" y="366"/>
                  </a:lnTo>
                  <a:lnTo>
                    <a:pt x="1907" y="375"/>
                  </a:lnTo>
                  <a:lnTo>
                    <a:pt x="1946" y="373"/>
                  </a:lnTo>
                  <a:lnTo>
                    <a:pt x="1975" y="390"/>
                  </a:lnTo>
                  <a:lnTo>
                    <a:pt x="1996" y="407"/>
                  </a:lnTo>
                  <a:lnTo>
                    <a:pt x="2001" y="410"/>
                  </a:lnTo>
                  <a:lnTo>
                    <a:pt x="2011" y="415"/>
                  </a:lnTo>
                  <a:lnTo>
                    <a:pt x="2012" y="422"/>
                  </a:lnTo>
                  <a:lnTo>
                    <a:pt x="2020" y="425"/>
                  </a:lnTo>
                  <a:lnTo>
                    <a:pt x="2023" y="431"/>
                  </a:lnTo>
                  <a:lnTo>
                    <a:pt x="2030" y="432"/>
                  </a:lnTo>
                  <a:lnTo>
                    <a:pt x="2036" y="437"/>
                  </a:lnTo>
                  <a:lnTo>
                    <a:pt x="2038" y="441"/>
                  </a:lnTo>
                  <a:lnTo>
                    <a:pt x="2036" y="443"/>
                  </a:lnTo>
                  <a:lnTo>
                    <a:pt x="2047" y="446"/>
                  </a:lnTo>
                  <a:lnTo>
                    <a:pt x="2048" y="446"/>
                  </a:lnTo>
                  <a:lnTo>
                    <a:pt x="2048" y="447"/>
                  </a:lnTo>
                  <a:lnTo>
                    <a:pt x="2047" y="447"/>
                  </a:lnTo>
                  <a:lnTo>
                    <a:pt x="2044" y="452"/>
                  </a:lnTo>
                  <a:lnTo>
                    <a:pt x="2054" y="458"/>
                  </a:lnTo>
                  <a:lnTo>
                    <a:pt x="2048" y="450"/>
                  </a:lnTo>
                  <a:lnTo>
                    <a:pt x="2050" y="450"/>
                  </a:lnTo>
                  <a:lnTo>
                    <a:pt x="2050" y="449"/>
                  </a:lnTo>
                  <a:lnTo>
                    <a:pt x="2053" y="449"/>
                  </a:lnTo>
                  <a:lnTo>
                    <a:pt x="2054" y="450"/>
                  </a:lnTo>
                  <a:lnTo>
                    <a:pt x="2057" y="450"/>
                  </a:lnTo>
                  <a:lnTo>
                    <a:pt x="2057" y="452"/>
                  </a:lnTo>
                  <a:lnTo>
                    <a:pt x="2064" y="461"/>
                  </a:lnTo>
                  <a:lnTo>
                    <a:pt x="2064" y="462"/>
                  </a:lnTo>
                  <a:lnTo>
                    <a:pt x="2061" y="464"/>
                  </a:lnTo>
                  <a:lnTo>
                    <a:pt x="2066" y="483"/>
                  </a:lnTo>
                  <a:lnTo>
                    <a:pt x="2072" y="487"/>
                  </a:lnTo>
                  <a:lnTo>
                    <a:pt x="2072" y="477"/>
                  </a:lnTo>
                  <a:lnTo>
                    <a:pt x="2067" y="474"/>
                  </a:lnTo>
                  <a:lnTo>
                    <a:pt x="2067" y="473"/>
                  </a:lnTo>
                  <a:lnTo>
                    <a:pt x="2070" y="473"/>
                  </a:lnTo>
                  <a:lnTo>
                    <a:pt x="2073" y="474"/>
                  </a:lnTo>
                  <a:lnTo>
                    <a:pt x="2076" y="474"/>
                  </a:lnTo>
                  <a:lnTo>
                    <a:pt x="2078" y="471"/>
                  </a:lnTo>
                  <a:lnTo>
                    <a:pt x="2078" y="470"/>
                  </a:lnTo>
                  <a:lnTo>
                    <a:pt x="2085" y="474"/>
                  </a:lnTo>
                  <a:lnTo>
                    <a:pt x="2082" y="477"/>
                  </a:lnTo>
                  <a:lnTo>
                    <a:pt x="2084" y="478"/>
                  </a:lnTo>
                  <a:lnTo>
                    <a:pt x="2085" y="475"/>
                  </a:lnTo>
                  <a:lnTo>
                    <a:pt x="2093" y="475"/>
                  </a:lnTo>
                  <a:lnTo>
                    <a:pt x="2097" y="477"/>
                  </a:lnTo>
                  <a:lnTo>
                    <a:pt x="2104" y="477"/>
                  </a:lnTo>
                  <a:lnTo>
                    <a:pt x="2122" y="498"/>
                  </a:lnTo>
                  <a:lnTo>
                    <a:pt x="2121" y="501"/>
                  </a:lnTo>
                  <a:lnTo>
                    <a:pt x="2131" y="504"/>
                  </a:lnTo>
                  <a:lnTo>
                    <a:pt x="2133" y="504"/>
                  </a:lnTo>
                  <a:lnTo>
                    <a:pt x="2133" y="505"/>
                  </a:lnTo>
                  <a:lnTo>
                    <a:pt x="2121" y="511"/>
                  </a:lnTo>
                  <a:lnTo>
                    <a:pt x="2119" y="520"/>
                  </a:lnTo>
                  <a:lnTo>
                    <a:pt x="2119" y="521"/>
                  </a:lnTo>
                  <a:lnTo>
                    <a:pt x="2110" y="514"/>
                  </a:lnTo>
                  <a:lnTo>
                    <a:pt x="2110" y="518"/>
                  </a:lnTo>
                  <a:lnTo>
                    <a:pt x="2113" y="524"/>
                  </a:lnTo>
                  <a:lnTo>
                    <a:pt x="2103" y="524"/>
                  </a:lnTo>
                  <a:lnTo>
                    <a:pt x="2098" y="532"/>
                  </a:lnTo>
                  <a:lnTo>
                    <a:pt x="2094" y="532"/>
                  </a:lnTo>
                  <a:lnTo>
                    <a:pt x="2100" y="538"/>
                  </a:lnTo>
                  <a:lnTo>
                    <a:pt x="2088" y="545"/>
                  </a:lnTo>
                  <a:lnTo>
                    <a:pt x="2093" y="547"/>
                  </a:lnTo>
                  <a:lnTo>
                    <a:pt x="2093" y="548"/>
                  </a:lnTo>
                  <a:lnTo>
                    <a:pt x="2090" y="550"/>
                  </a:lnTo>
                  <a:lnTo>
                    <a:pt x="2097" y="556"/>
                  </a:lnTo>
                  <a:lnTo>
                    <a:pt x="2097" y="557"/>
                  </a:lnTo>
                  <a:lnTo>
                    <a:pt x="2090" y="557"/>
                  </a:lnTo>
                  <a:lnTo>
                    <a:pt x="2088" y="563"/>
                  </a:lnTo>
                  <a:lnTo>
                    <a:pt x="2082" y="561"/>
                  </a:lnTo>
                  <a:lnTo>
                    <a:pt x="2082" y="556"/>
                  </a:lnTo>
                  <a:lnTo>
                    <a:pt x="2081" y="560"/>
                  </a:lnTo>
                  <a:lnTo>
                    <a:pt x="2079" y="560"/>
                  </a:lnTo>
                  <a:lnTo>
                    <a:pt x="2078" y="557"/>
                  </a:lnTo>
                  <a:lnTo>
                    <a:pt x="2075" y="559"/>
                  </a:lnTo>
                  <a:lnTo>
                    <a:pt x="2073" y="559"/>
                  </a:lnTo>
                  <a:lnTo>
                    <a:pt x="2073" y="557"/>
                  </a:lnTo>
                  <a:lnTo>
                    <a:pt x="2072" y="551"/>
                  </a:lnTo>
                  <a:lnTo>
                    <a:pt x="2064" y="548"/>
                  </a:lnTo>
                  <a:lnTo>
                    <a:pt x="2064" y="547"/>
                  </a:lnTo>
                  <a:lnTo>
                    <a:pt x="2063" y="547"/>
                  </a:lnTo>
                  <a:lnTo>
                    <a:pt x="2063" y="548"/>
                  </a:lnTo>
                  <a:lnTo>
                    <a:pt x="2057" y="547"/>
                  </a:lnTo>
                  <a:lnTo>
                    <a:pt x="2050" y="539"/>
                  </a:lnTo>
                  <a:lnTo>
                    <a:pt x="2048" y="539"/>
                  </a:lnTo>
                  <a:lnTo>
                    <a:pt x="2048" y="526"/>
                  </a:lnTo>
                  <a:lnTo>
                    <a:pt x="2042" y="521"/>
                  </a:lnTo>
                  <a:lnTo>
                    <a:pt x="2030" y="521"/>
                  </a:lnTo>
                  <a:lnTo>
                    <a:pt x="2021" y="523"/>
                  </a:lnTo>
                  <a:lnTo>
                    <a:pt x="2015" y="523"/>
                  </a:lnTo>
                  <a:lnTo>
                    <a:pt x="2010" y="505"/>
                  </a:lnTo>
                  <a:lnTo>
                    <a:pt x="2015" y="504"/>
                  </a:lnTo>
                  <a:lnTo>
                    <a:pt x="2015" y="499"/>
                  </a:lnTo>
                  <a:lnTo>
                    <a:pt x="2011" y="504"/>
                  </a:lnTo>
                  <a:lnTo>
                    <a:pt x="2010" y="504"/>
                  </a:lnTo>
                  <a:lnTo>
                    <a:pt x="2007" y="498"/>
                  </a:lnTo>
                  <a:lnTo>
                    <a:pt x="2005" y="498"/>
                  </a:lnTo>
                  <a:lnTo>
                    <a:pt x="2005" y="504"/>
                  </a:lnTo>
                  <a:lnTo>
                    <a:pt x="1998" y="505"/>
                  </a:lnTo>
                  <a:lnTo>
                    <a:pt x="1999" y="511"/>
                  </a:lnTo>
                  <a:lnTo>
                    <a:pt x="2007" y="523"/>
                  </a:lnTo>
                  <a:lnTo>
                    <a:pt x="1998" y="538"/>
                  </a:lnTo>
                  <a:lnTo>
                    <a:pt x="1995" y="541"/>
                  </a:lnTo>
                  <a:lnTo>
                    <a:pt x="1978" y="554"/>
                  </a:lnTo>
                  <a:lnTo>
                    <a:pt x="1977" y="554"/>
                  </a:lnTo>
                  <a:lnTo>
                    <a:pt x="1977" y="553"/>
                  </a:lnTo>
                  <a:lnTo>
                    <a:pt x="1972" y="548"/>
                  </a:lnTo>
                  <a:lnTo>
                    <a:pt x="1964" y="548"/>
                  </a:lnTo>
                  <a:lnTo>
                    <a:pt x="1965" y="557"/>
                  </a:lnTo>
                  <a:lnTo>
                    <a:pt x="1971" y="561"/>
                  </a:lnTo>
                  <a:lnTo>
                    <a:pt x="1974" y="559"/>
                  </a:lnTo>
                  <a:lnTo>
                    <a:pt x="1978" y="567"/>
                  </a:lnTo>
                  <a:lnTo>
                    <a:pt x="1977" y="567"/>
                  </a:lnTo>
                  <a:lnTo>
                    <a:pt x="1975" y="569"/>
                  </a:lnTo>
                  <a:lnTo>
                    <a:pt x="1980" y="570"/>
                  </a:lnTo>
                  <a:lnTo>
                    <a:pt x="1981" y="585"/>
                  </a:lnTo>
                  <a:lnTo>
                    <a:pt x="1989" y="597"/>
                  </a:lnTo>
                  <a:lnTo>
                    <a:pt x="1989" y="599"/>
                  </a:lnTo>
                  <a:lnTo>
                    <a:pt x="1984" y="599"/>
                  </a:lnTo>
                  <a:lnTo>
                    <a:pt x="1990" y="606"/>
                  </a:lnTo>
                  <a:lnTo>
                    <a:pt x="1990" y="607"/>
                  </a:lnTo>
                  <a:lnTo>
                    <a:pt x="1984" y="618"/>
                  </a:lnTo>
                  <a:lnTo>
                    <a:pt x="1983" y="618"/>
                  </a:lnTo>
                  <a:lnTo>
                    <a:pt x="1965" y="609"/>
                  </a:lnTo>
                  <a:lnTo>
                    <a:pt x="1964" y="612"/>
                  </a:lnTo>
                  <a:lnTo>
                    <a:pt x="1962" y="612"/>
                  </a:lnTo>
                  <a:lnTo>
                    <a:pt x="1959" y="606"/>
                  </a:lnTo>
                  <a:lnTo>
                    <a:pt x="1961" y="612"/>
                  </a:lnTo>
                  <a:lnTo>
                    <a:pt x="1961" y="613"/>
                  </a:lnTo>
                  <a:lnTo>
                    <a:pt x="1959" y="613"/>
                  </a:lnTo>
                  <a:lnTo>
                    <a:pt x="1932" y="624"/>
                  </a:lnTo>
                  <a:lnTo>
                    <a:pt x="1931" y="628"/>
                  </a:lnTo>
                  <a:lnTo>
                    <a:pt x="1931" y="630"/>
                  </a:lnTo>
                  <a:lnTo>
                    <a:pt x="1916" y="637"/>
                  </a:lnTo>
                  <a:lnTo>
                    <a:pt x="1912" y="636"/>
                  </a:lnTo>
                  <a:lnTo>
                    <a:pt x="1907" y="645"/>
                  </a:lnTo>
                  <a:lnTo>
                    <a:pt x="1897" y="650"/>
                  </a:lnTo>
                  <a:lnTo>
                    <a:pt x="1898" y="653"/>
                  </a:lnTo>
                  <a:lnTo>
                    <a:pt x="1897" y="653"/>
                  </a:lnTo>
                  <a:lnTo>
                    <a:pt x="1897" y="655"/>
                  </a:lnTo>
                  <a:lnTo>
                    <a:pt x="1894" y="653"/>
                  </a:lnTo>
                  <a:lnTo>
                    <a:pt x="1894" y="658"/>
                  </a:lnTo>
                  <a:lnTo>
                    <a:pt x="1873" y="670"/>
                  </a:lnTo>
                  <a:lnTo>
                    <a:pt x="1870" y="683"/>
                  </a:lnTo>
                  <a:lnTo>
                    <a:pt x="1869" y="683"/>
                  </a:lnTo>
                  <a:lnTo>
                    <a:pt x="1857" y="668"/>
                  </a:lnTo>
                  <a:lnTo>
                    <a:pt x="1842" y="665"/>
                  </a:lnTo>
                  <a:lnTo>
                    <a:pt x="1827" y="671"/>
                  </a:lnTo>
                  <a:lnTo>
                    <a:pt x="1817" y="686"/>
                  </a:lnTo>
                  <a:lnTo>
                    <a:pt x="1815" y="686"/>
                  </a:lnTo>
                  <a:lnTo>
                    <a:pt x="1817" y="670"/>
                  </a:lnTo>
                  <a:lnTo>
                    <a:pt x="1815" y="670"/>
                  </a:lnTo>
                  <a:lnTo>
                    <a:pt x="1803" y="677"/>
                  </a:lnTo>
                  <a:lnTo>
                    <a:pt x="1801" y="686"/>
                  </a:lnTo>
                  <a:lnTo>
                    <a:pt x="1795" y="682"/>
                  </a:lnTo>
                  <a:lnTo>
                    <a:pt x="1790" y="686"/>
                  </a:lnTo>
                  <a:lnTo>
                    <a:pt x="1789" y="686"/>
                  </a:lnTo>
                  <a:lnTo>
                    <a:pt x="1787" y="683"/>
                  </a:lnTo>
                  <a:lnTo>
                    <a:pt x="1781" y="686"/>
                  </a:lnTo>
                  <a:lnTo>
                    <a:pt x="1777" y="705"/>
                  </a:lnTo>
                  <a:lnTo>
                    <a:pt x="1774" y="705"/>
                  </a:lnTo>
                  <a:lnTo>
                    <a:pt x="1762" y="726"/>
                  </a:lnTo>
                  <a:lnTo>
                    <a:pt x="1762" y="735"/>
                  </a:lnTo>
                  <a:lnTo>
                    <a:pt x="1763" y="738"/>
                  </a:lnTo>
                  <a:lnTo>
                    <a:pt x="1769" y="732"/>
                  </a:lnTo>
                  <a:lnTo>
                    <a:pt x="1771" y="732"/>
                  </a:lnTo>
                  <a:lnTo>
                    <a:pt x="1778" y="736"/>
                  </a:lnTo>
                  <a:lnTo>
                    <a:pt x="1778" y="738"/>
                  </a:lnTo>
                  <a:lnTo>
                    <a:pt x="1771" y="753"/>
                  </a:lnTo>
                  <a:lnTo>
                    <a:pt x="1772" y="762"/>
                  </a:lnTo>
                  <a:lnTo>
                    <a:pt x="1778" y="765"/>
                  </a:lnTo>
                  <a:lnTo>
                    <a:pt x="1778" y="773"/>
                  </a:lnTo>
                  <a:lnTo>
                    <a:pt x="1775" y="781"/>
                  </a:lnTo>
                  <a:lnTo>
                    <a:pt x="1774" y="781"/>
                  </a:lnTo>
                  <a:lnTo>
                    <a:pt x="1769" y="775"/>
                  </a:lnTo>
                  <a:lnTo>
                    <a:pt x="1772" y="769"/>
                  </a:lnTo>
                  <a:lnTo>
                    <a:pt x="1766" y="772"/>
                  </a:lnTo>
                  <a:lnTo>
                    <a:pt x="1768" y="775"/>
                  </a:lnTo>
                  <a:lnTo>
                    <a:pt x="1768" y="776"/>
                  </a:lnTo>
                  <a:lnTo>
                    <a:pt x="1761" y="782"/>
                  </a:lnTo>
                  <a:lnTo>
                    <a:pt x="1758" y="791"/>
                  </a:lnTo>
                  <a:lnTo>
                    <a:pt x="1763" y="809"/>
                  </a:lnTo>
                  <a:lnTo>
                    <a:pt x="1762" y="809"/>
                  </a:lnTo>
                  <a:lnTo>
                    <a:pt x="1756" y="815"/>
                  </a:lnTo>
                  <a:lnTo>
                    <a:pt x="1755" y="815"/>
                  </a:lnTo>
                  <a:lnTo>
                    <a:pt x="1747" y="814"/>
                  </a:lnTo>
                  <a:lnTo>
                    <a:pt x="1735" y="825"/>
                  </a:lnTo>
                  <a:lnTo>
                    <a:pt x="1735" y="845"/>
                  </a:lnTo>
                  <a:lnTo>
                    <a:pt x="1734" y="845"/>
                  </a:lnTo>
                  <a:lnTo>
                    <a:pt x="1731" y="843"/>
                  </a:lnTo>
                  <a:lnTo>
                    <a:pt x="1718" y="849"/>
                  </a:lnTo>
                  <a:lnTo>
                    <a:pt x="1713" y="871"/>
                  </a:lnTo>
                  <a:lnTo>
                    <a:pt x="1694" y="892"/>
                  </a:lnTo>
                  <a:lnTo>
                    <a:pt x="1678" y="811"/>
                  </a:lnTo>
                  <a:lnTo>
                    <a:pt x="1678" y="793"/>
                  </a:lnTo>
                  <a:lnTo>
                    <a:pt x="1682" y="763"/>
                  </a:lnTo>
                  <a:lnTo>
                    <a:pt x="1694" y="754"/>
                  </a:lnTo>
                  <a:lnTo>
                    <a:pt x="1697" y="744"/>
                  </a:lnTo>
                  <a:lnTo>
                    <a:pt x="1694" y="736"/>
                  </a:lnTo>
                  <a:lnTo>
                    <a:pt x="1694" y="735"/>
                  </a:lnTo>
                  <a:lnTo>
                    <a:pt x="1697" y="735"/>
                  </a:lnTo>
                  <a:lnTo>
                    <a:pt x="1698" y="736"/>
                  </a:lnTo>
                  <a:lnTo>
                    <a:pt x="1701" y="736"/>
                  </a:lnTo>
                  <a:lnTo>
                    <a:pt x="1715" y="729"/>
                  </a:lnTo>
                  <a:lnTo>
                    <a:pt x="1741" y="693"/>
                  </a:lnTo>
                  <a:lnTo>
                    <a:pt x="1758" y="676"/>
                  </a:lnTo>
                  <a:lnTo>
                    <a:pt x="1761" y="670"/>
                  </a:lnTo>
                  <a:lnTo>
                    <a:pt x="1761" y="668"/>
                  </a:lnTo>
                  <a:lnTo>
                    <a:pt x="1783" y="658"/>
                  </a:lnTo>
                  <a:lnTo>
                    <a:pt x="1781" y="652"/>
                  </a:lnTo>
                  <a:lnTo>
                    <a:pt x="1784" y="647"/>
                  </a:lnTo>
                  <a:lnTo>
                    <a:pt x="1784" y="640"/>
                  </a:lnTo>
                  <a:lnTo>
                    <a:pt x="1787" y="636"/>
                  </a:lnTo>
                  <a:lnTo>
                    <a:pt x="1789" y="622"/>
                  </a:lnTo>
                  <a:lnTo>
                    <a:pt x="1789" y="621"/>
                  </a:lnTo>
                  <a:lnTo>
                    <a:pt x="1790" y="621"/>
                  </a:lnTo>
                  <a:lnTo>
                    <a:pt x="1799" y="615"/>
                  </a:lnTo>
                  <a:lnTo>
                    <a:pt x="1799" y="613"/>
                  </a:lnTo>
                  <a:lnTo>
                    <a:pt x="1793" y="609"/>
                  </a:lnTo>
                  <a:lnTo>
                    <a:pt x="1783" y="613"/>
                  </a:lnTo>
                  <a:lnTo>
                    <a:pt x="1775" y="624"/>
                  </a:lnTo>
                  <a:lnTo>
                    <a:pt x="1775" y="633"/>
                  </a:lnTo>
                  <a:lnTo>
                    <a:pt x="1778" y="636"/>
                  </a:lnTo>
                  <a:lnTo>
                    <a:pt x="1778" y="637"/>
                  </a:lnTo>
                  <a:lnTo>
                    <a:pt x="1775" y="640"/>
                  </a:lnTo>
                  <a:lnTo>
                    <a:pt x="1772" y="637"/>
                  </a:lnTo>
                  <a:lnTo>
                    <a:pt x="1766" y="639"/>
                  </a:lnTo>
                  <a:lnTo>
                    <a:pt x="1738" y="667"/>
                  </a:lnTo>
                  <a:lnTo>
                    <a:pt x="1737" y="667"/>
                  </a:lnTo>
                  <a:lnTo>
                    <a:pt x="1737" y="665"/>
                  </a:lnTo>
                  <a:lnTo>
                    <a:pt x="1740" y="656"/>
                  </a:lnTo>
                  <a:lnTo>
                    <a:pt x="1732" y="656"/>
                  </a:lnTo>
                  <a:lnTo>
                    <a:pt x="1732" y="655"/>
                  </a:lnTo>
                  <a:lnTo>
                    <a:pt x="1735" y="650"/>
                  </a:lnTo>
                  <a:lnTo>
                    <a:pt x="1734" y="646"/>
                  </a:lnTo>
                  <a:lnTo>
                    <a:pt x="1738" y="639"/>
                  </a:lnTo>
                  <a:lnTo>
                    <a:pt x="1740" y="631"/>
                  </a:lnTo>
                  <a:lnTo>
                    <a:pt x="1734" y="637"/>
                  </a:lnTo>
                  <a:lnTo>
                    <a:pt x="1722" y="631"/>
                  </a:lnTo>
                  <a:lnTo>
                    <a:pt x="1700" y="637"/>
                  </a:lnTo>
                  <a:lnTo>
                    <a:pt x="1683" y="662"/>
                  </a:lnTo>
                  <a:lnTo>
                    <a:pt x="1669" y="674"/>
                  </a:lnTo>
                  <a:lnTo>
                    <a:pt x="1663" y="686"/>
                  </a:lnTo>
                  <a:lnTo>
                    <a:pt x="1660" y="686"/>
                  </a:lnTo>
                  <a:lnTo>
                    <a:pt x="1663" y="692"/>
                  </a:lnTo>
                  <a:lnTo>
                    <a:pt x="1661" y="695"/>
                  </a:lnTo>
                  <a:lnTo>
                    <a:pt x="1672" y="698"/>
                  </a:lnTo>
                  <a:lnTo>
                    <a:pt x="1673" y="702"/>
                  </a:lnTo>
                  <a:lnTo>
                    <a:pt x="1672" y="704"/>
                  </a:lnTo>
                  <a:lnTo>
                    <a:pt x="1669" y="704"/>
                  </a:lnTo>
                  <a:lnTo>
                    <a:pt x="1652" y="702"/>
                  </a:lnTo>
                  <a:lnTo>
                    <a:pt x="1642" y="710"/>
                  </a:lnTo>
                  <a:lnTo>
                    <a:pt x="1637" y="707"/>
                  </a:lnTo>
                  <a:lnTo>
                    <a:pt x="1623" y="711"/>
                  </a:lnTo>
                  <a:lnTo>
                    <a:pt x="1620" y="705"/>
                  </a:lnTo>
                  <a:lnTo>
                    <a:pt x="1620" y="704"/>
                  </a:lnTo>
                  <a:lnTo>
                    <a:pt x="1632" y="699"/>
                  </a:lnTo>
                  <a:lnTo>
                    <a:pt x="1623" y="693"/>
                  </a:lnTo>
                  <a:lnTo>
                    <a:pt x="1617" y="696"/>
                  </a:lnTo>
                  <a:lnTo>
                    <a:pt x="1596" y="689"/>
                  </a:lnTo>
                  <a:lnTo>
                    <a:pt x="1593" y="690"/>
                  </a:lnTo>
                  <a:lnTo>
                    <a:pt x="1594" y="695"/>
                  </a:lnTo>
                  <a:lnTo>
                    <a:pt x="1594" y="696"/>
                  </a:lnTo>
                  <a:lnTo>
                    <a:pt x="1590" y="696"/>
                  </a:lnTo>
                  <a:lnTo>
                    <a:pt x="1590" y="702"/>
                  </a:lnTo>
                  <a:lnTo>
                    <a:pt x="1586" y="702"/>
                  </a:lnTo>
                  <a:lnTo>
                    <a:pt x="1583" y="698"/>
                  </a:lnTo>
                  <a:lnTo>
                    <a:pt x="1572" y="702"/>
                  </a:lnTo>
                  <a:lnTo>
                    <a:pt x="1559" y="696"/>
                  </a:lnTo>
                  <a:lnTo>
                    <a:pt x="1554" y="704"/>
                  </a:lnTo>
                  <a:lnTo>
                    <a:pt x="1553" y="704"/>
                  </a:lnTo>
                  <a:lnTo>
                    <a:pt x="1546" y="698"/>
                  </a:lnTo>
                  <a:lnTo>
                    <a:pt x="1516" y="699"/>
                  </a:lnTo>
                  <a:lnTo>
                    <a:pt x="1504" y="705"/>
                  </a:lnTo>
                  <a:lnTo>
                    <a:pt x="1486" y="726"/>
                  </a:lnTo>
                  <a:lnTo>
                    <a:pt x="1480" y="738"/>
                  </a:lnTo>
                  <a:lnTo>
                    <a:pt x="1464" y="750"/>
                  </a:lnTo>
                  <a:lnTo>
                    <a:pt x="1445" y="776"/>
                  </a:lnTo>
                  <a:lnTo>
                    <a:pt x="1414" y="805"/>
                  </a:lnTo>
                  <a:lnTo>
                    <a:pt x="1414" y="808"/>
                  </a:lnTo>
                  <a:lnTo>
                    <a:pt x="1420" y="812"/>
                  </a:lnTo>
                  <a:lnTo>
                    <a:pt x="1423" y="812"/>
                  </a:lnTo>
                  <a:lnTo>
                    <a:pt x="1427" y="811"/>
                  </a:lnTo>
                  <a:lnTo>
                    <a:pt x="1433" y="811"/>
                  </a:lnTo>
                  <a:lnTo>
                    <a:pt x="1433" y="830"/>
                  </a:lnTo>
                  <a:lnTo>
                    <a:pt x="1437" y="827"/>
                  </a:lnTo>
                  <a:lnTo>
                    <a:pt x="1437" y="821"/>
                  </a:lnTo>
                  <a:lnTo>
                    <a:pt x="1443" y="818"/>
                  </a:lnTo>
                  <a:lnTo>
                    <a:pt x="1445" y="818"/>
                  </a:lnTo>
                  <a:lnTo>
                    <a:pt x="1445" y="819"/>
                  </a:lnTo>
                  <a:lnTo>
                    <a:pt x="1440" y="822"/>
                  </a:lnTo>
                  <a:lnTo>
                    <a:pt x="1445" y="828"/>
                  </a:lnTo>
                  <a:lnTo>
                    <a:pt x="1440" y="834"/>
                  </a:lnTo>
                  <a:lnTo>
                    <a:pt x="1451" y="831"/>
                  </a:lnTo>
                  <a:lnTo>
                    <a:pt x="1454" y="828"/>
                  </a:lnTo>
                  <a:lnTo>
                    <a:pt x="1454" y="833"/>
                  </a:lnTo>
                  <a:lnTo>
                    <a:pt x="1457" y="830"/>
                  </a:lnTo>
                  <a:lnTo>
                    <a:pt x="1457" y="818"/>
                  </a:lnTo>
                  <a:lnTo>
                    <a:pt x="1473" y="818"/>
                  </a:lnTo>
                  <a:lnTo>
                    <a:pt x="1480" y="831"/>
                  </a:lnTo>
                  <a:lnTo>
                    <a:pt x="1494" y="840"/>
                  </a:lnTo>
                  <a:lnTo>
                    <a:pt x="1494" y="842"/>
                  </a:lnTo>
                  <a:lnTo>
                    <a:pt x="1489" y="849"/>
                  </a:lnTo>
                  <a:lnTo>
                    <a:pt x="1491" y="855"/>
                  </a:lnTo>
                  <a:lnTo>
                    <a:pt x="1491" y="859"/>
                  </a:lnTo>
                  <a:lnTo>
                    <a:pt x="1494" y="864"/>
                  </a:lnTo>
                  <a:lnTo>
                    <a:pt x="1494" y="865"/>
                  </a:lnTo>
                  <a:lnTo>
                    <a:pt x="1486" y="880"/>
                  </a:lnTo>
                  <a:lnTo>
                    <a:pt x="1482" y="895"/>
                  </a:lnTo>
                  <a:lnTo>
                    <a:pt x="1483" y="908"/>
                  </a:lnTo>
                  <a:lnTo>
                    <a:pt x="1479" y="941"/>
                  </a:lnTo>
                  <a:lnTo>
                    <a:pt x="1467" y="954"/>
                  </a:lnTo>
                  <a:lnTo>
                    <a:pt x="1457" y="971"/>
                  </a:lnTo>
                  <a:lnTo>
                    <a:pt x="1451" y="986"/>
                  </a:lnTo>
                  <a:lnTo>
                    <a:pt x="1411" y="1036"/>
                  </a:lnTo>
                  <a:lnTo>
                    <a:pt x="1397" y="1046"/>
                  </a:lnTo>
                  <a:lnTo>
                    <a:pt x="1387" y="1049"/>
                  </a:lnTo>
                  <a:lnTo>
                    <a:pt x="1375" y="1046"/>
                  </a:lnTo>
                  <a:lnTo>
                    <a:pt x="1374" y="1046"/>
                  </a:lnTo>
                  <a:lnTo>
                    <a:pt x="1374" y="1039"/>
                  </a:lnTo>
                  <a:lnTo>
                    <a:pt x="1371" y="1042"/>
                  </a:lnTo>
                  <a:lnTo>
                    <a:pt x="1368" y="1036"/>
                  </a:lnTo>
                  <a:lnTo>
                    <a:pt x="1360" y="1049"/>
                  </a:lnTo>
                  <a:lnTo>
                    <a:pt x="1360" y="1051"/>
                  </a:lnTo>
                  <a:lnTo>
                    <a:pt x="1354" y="1051"/>
                  </a:lnTo>
                  <a:lnTo>
                    <a:pt x="1354" y="1054"/>
                  </a:lnTo>
                  <a:lnTo>
                    <a:pt x="1353" y="1054"/>
                  </a:lnTo>
                  <a:lnTo>
                    <a:pt x="1351" y="1051"/>
                  </a:lnTo>
                  <a:lnTo>
                    <a:pt x="1351" y="1046"/>
                  </a:lnTo>
                  <a:lnTo>
                    <a:pt x="1359" y="1036"/>
                  </a:lnTo>
                  <a:lnTo>
                    <a:pt x="1359" y="1021"/>
                  </a:lnTo>
                  <a:lnTo>
                    <a:pt x="1356" y="1012"/>
                  </a:lnTo>
                  <a:lnTo>
                    <a:pt x="1368" y="1002"/>
                  </a:lnTo>
                  <a:lnTo>
                    <a:pt x="1381" y="1006"/>
                  </a:lnTo>
                  <a:lnTo>
                    <a:pt x="1384" y="1003"/>
                  </a:lnTo>
                  <a:lnTo>
                    <a:pt x="1393" y="986"/>
                  </a:lnTo>
                  <a:lnTo>
                    <a:pt x="1399" y="963"/>
                  </a:lnTo>
                  <a:lnTo>
                    <a:pt x="1405" y="957"/>
                  </a:lnTo>
                  <a:lnTo>
                    <a:pt x="1403" y="944"/>
                  </a:lnTo>
                  <a:lnTo>
                    <a:pt x="1405" y="941"/>
                  </a:lnTo>
                  <a:lnTo>
                    <a:pt x="1371" y="956"/>
                  </a:lnTo>
                  <a:lnTo>
                    <a:pt x="1357" y="956"/>
                  </a:lnTo>
                  <a:lnTo>
                    <a:pt x="1353" y="948"/>
                  </a:lnTo>
                  <a:lnTo>
                    <a:pt x="1353" y="940"/>
                  </a:lnTo>
                  <a:lnTo>
                    <a:pt x="1350" y="932"/>
                  </a:lnTo>
                  <a:lnTo>
                    <a:pt x="1332" y="922"/>
                  </a:lnTo>
                  <a:lnTo>
                    <a:pt x="1311" y="917"/>
                  </a:lnTo>
                  <a:lnTo>
                    <a:pt x="1310" y="917"/>
                  </a:lnTo>
                  <a:lnTo>
                    <a:pt x="1305" y="892"/>
                  </a:lnTo>
                  <a:lnTo>
                    <a:pt x="1298" y="874"/>
                  </a:lnTo>
                  <a:lnTo>
                    <a:pt x="1297" y="862"/>
                  </a:lnTo>
                  <a:lnTo>
                    <a:pt x="1286" y="849"/>
                  </a:lnTo>
                  <a:lnTo>
                    <a:pt x="1271" y="846"/>
                  </a:lnTo>
                  <a:lnTo>
                    <a:pt x="1260" y="839"/>
                  </a:lnTo>
                  <a:lnTo>
                    <a:pt x="1224" y="843"/>
                  </a:lnTo>
                  <a:lnTo>
                    <a:pt x="1215" y="855"/>
                  </a:lnTo>
                  <a:lnTo>
                    <a:pt x="1214" y="858"/>
                  </a:lnTo>
                  <a:lnTo>
                    <a:pt x="1222" y="858"/>
                  </a:lnTo>
                  <a:lnTo>
                    <a:pt x="1222" y="870"/>
                  </a:lnTo>
                  <a:lnTo>
                    <a:pt x="1212" y="879"/>
                  </a:lnTo>
                  <a:lnTo>
                    <a:pt x="1205" y="901"/>
                  </a:lnTo>
                  <a:lnTo>
                    <a:pt x="1203" y="908"/>
                  </a:lnTo>
                  <a:lnTo>
                    <a:pt x="1185" y="919"/>
                  </a:lnTo>
                  <a:lnTo>
                    <a:pt x="1184" y="919"/>
                  </a:lnTo>
                  <a:lnTo>
                    <a:pt x="1165" y="911"/>
                  </a:lnTo>
                  <a:lnTo>
                    <a:pt x="1156" y="913"/>
                  </a:lnTo>
                  <a:lnTo>
                    <a:pt x="1142" y="905"/>
                  </a:lnTo>
                  <a:lnTo>
                    <a:pt x="1122" y="919"/>
                  </a:lnTo>
                  <a:lnTo>
                    <a:pt x="1093" y="928"/>
                  </a:lnTo>
                  <a:lnTo>
                    <a:pt x="1083" y="925"/>
                  </a:lnTo>
                  <a:lnTo>
                    <a:pt x="1065" y="922"/>
                  </a:lnTo>
                  <a:lnTo>
                    <a:pt x="1055" y="914"/>
                  </a:lnTo>
                  <a:lnTo>
                    <a:pt x="1025" y="898"/>
                  </a:lnTo>
                  <a:lnTo>
                    <a:pt x="1016" y="897"/>
                  </a:lnTo>
                  <a:lnTo>
                    <a:pt x="999" y="905"/>
                  </a:lnTo>
                  <a:lnTo>
                    <a:pt x="990" y="902"/>
                  </a:lnTo>
                  <a:lnTo>
                    <a:pt x="979" y="895"/>
                  </a:lnTo>
                  <a:lnTo>
                    <a:pt x="976" y="879"/>
                  </a:lnTo>
                  <a:lnTo>
                    <a:pt x="942" y="865"/>
                  </a:lnTo>
                  <a:lnTo>
                    <a:pt x="925" y="880"/>
                  </a:lnTo>
                  <a:lnTo>
                    <a:pt x="927" y="895"/>
                  </a:lnTo>
                  <a:lnTo>
                    <a:pt x="925" y="900"/>
                  </a:lnTo>
                  <a:lnTo>
                    <a:pt x="926" y="908"/>
                  </a:lnTo>
                  <a:lnTo>
                    <a:pt x="923" y="910"/>
                  </a:lnTo>
                  <a:lnTo>
                    <a:pt x="884" y="910"/>
                  </a:lnTo>
                  <a:lnTo>
                    <a:pt x="877" y="901"/>
                  </a:lnTo>
                  <a:lnTo>
                    <a:pt x="844" y="898"/>
                  </a:lnTo>
                  <a:lnTo>
                    <a:pt x="830" y="902"/>
                  </a:lnTo>
                  <a:lnTo>
                    <a:pt x="799" y="922"/>
                  </a:lnTo>
                  <a:lnTo>
                    <a:pt x="793" y="931"/>
                  </a:lnTo>
                  <a:lnTo>
                    <a:pt x="788" y="934"/>
                  </a:lnTo>
                  <a:lnTo>
                    <a:pt x="788" y="935"/>
                  </a:lnTo>
                  <a:lnTo>
                    <a:pt x="787" y="935"/>
                  </a:lnTo>
                  <a:lnTo>
                    <a:pt x="787" y="934"/>
                  </a:lnTo>
                  <a:lnTo>
                    <a:pt x="781" y="932"/>
                  </a:lnTo>
                  <a:lnTo>
                    <a:pt x="781" y="931"/>
                  </a:lnTo>
                  <a:lnTo>
                    <a:pt x="785" y="926"/>
                  </a:lnTo>
                  <a:lnTo>
                    <a:pt x="779" y="916"/>
                  </a:lnTo>
                  <a:lnTo>
                    <a:pt x="776" y="916"/>
                  </a:lnTo>
                  <a:lnTo>
                    <a:pt x="775" y="919"/>
                  </a:lnTo>
                  <a:lnTo>
                    <a:pt x="773" y="920"/>
                  </a:lnTo>
                  <a:lnTo>
                    <a:pt x="760" y="916"/>
                  </a:lnTo>
                  <a:lnTo>
                    <a:pt x="756" y="910"/>
                  </a:lnTo>
                  <a:lnTo>
                    <a:pt x="754" y="907"/>
                  </a:lnTo>
                  <a:lnTo>
                    <a:pt x="748" y="904"/>
                  </a:lnTo>
                  <a:lnTo>
                    <a:pt x="747" y="897"/>
                  </a:lnTo>
                  <a:lnTo>
                    <a:pt x="738" y="889"/>
                  </a:lnTo>
                  <a:lnTo>
                    <a:pt x="735" y="889"/>
                  </a:lnTo>
                  <a:lnTo>
                    <a:pt x="732" y="891"/>
                  </a:lnTo>
                  <a:lnTo>
                    <a:pt x="729" y="891"/>
                  </a:lnTo>
                  <a:lnTo>
                    <a:pt x="727" y="894"/>
                  </a:lnTo>
                  <a:lnTo>
                    <a:pt x="727" y="895"/>
                  </a:lnTo>
                  <a:lnTo>
                    <a:pt x="710" y="895"/>
                  </a:lnTo>
                  <a:lnTo>
                    <a:pt x="710" y="894"/>
                  </a:lnTo>
                  <a:lnTo>
                    <a:pt x="707" y="889"/>
                  </a:lnTo>
                  <a:lnTo>
                    <a:pt x="707" y="886"/>
                  </a:lnTo>
                  <a:lnTo>
                    <a:pt x="702" y="883"/>
                  </a:lnTo>
                  <a:lnTo>
                    <a:pt x="701" y="883"/>
                  </a:lnTo>
                  <a:lnTo>
                    <a:pt x="698" y="891"/>
                  </a:lnTo>
                  <a:lnTo>
                    <a:pt x="693" y="894"/>
                  </a:lnTo>
                  <a:lnTo>
                    <a:pt x="664" y="840"/>
                  </a:lnTo>
                  <a:lnTo>
                    <a:pt x="646" y="825"/>
                  </a:lnTo>
                  <a:lnTo>
                    <a:pt x="646" y="821"/>
                  </a:lnTo>
                  <a:lnTo>
                    <a:pt x="650" y="818"/>
                  </a:lnTo>
                  <a:lnTo>
                    <a:pt x="649" y="816"/>
                  </a:lnTo>
                  <a:lnTo>
                    <a:pt x="640" y="821"/>
                  </a:lnTo>
                  <a:lnTo>
                    <a:pt x="635" y="821"/>
                  </a:lnTo>
                  <a:lnTo>
                    <a:pt x="630" y="828"/>
                  </a:lnTo>
                  <a:lnTo>
                    <a:pt x="621" y="831"/>
                  </a:lnTo>
                  <a:lnTo>
                    <a:pt x="621" y="836"/>
                  </a:lnTo>
                  <a:lnTo>
                    <a:pt x="619" y="836"/>
                  </a:lnTo>
                  <a:lnTo>
                    <a:pt x="619" y="834"/>
                  </a:lnTo>
                  <a:lnTo>
                    <a:pt x="613" y="833"/>
                  </a:lnTo>
                  <a:lnTo>
                    <a:pt x="606" y="836"/>
                  </a:lnTo>
                  <a:lnTo>
                    <a:pt x="604" y="833"/>
                  </a:lnTo>
                  <a:lnTo>
                    <a:pt x="604" y="831"/>
                  </a:lnTo>
                  <a:lnTo>
                    <a:pt x="606" y="828"/>
                  </a:lnTo>
                  <a:lnTo>
                    <a:pt x="609" y="827"/>
                  </a:lnTo>
                  <a:lnTo>
                    <a:pt x="609" y="824"/>
                  </a:lnTo>
                  <a:lnTo>
                    <a:pt x="606" y="827"/>
                  </a:lnTo>
                  <a:lnTo>
                    <a:pt x="604" y="827"/>
                  </a:lnTo>
                  <a:lnTo>
                    <a:pt x="595" y="822"/>
                  </a:lnTo>
                  <a:lnTo>
                    <a:pt x="597" y="825"/>
                  </a:lnTo>
                  <a:lnTo>
                    <a:pt x="592" y="825"/>
                  </a:lnTo>
                  <a:lnTo>
                    <a:pt x="592" y="821"/>
                  </a:lnTo>
                  <a:lnTo>
                    <a:pt x="591" y="816"/>
                  </a:lnTo>
                  <a:lnTo>
                    <a:pt x="590" y="816"/>
                  </a:lnTo>
                  <a:lnTo>
                    <a:pt x="590" y="819"/>
                  </a:lnTo>
                  <a:lnTo>
                    <a:pt x="588" y="821"/>
                  </a:lnTo>
                  <a:lnTo>
                    <a:pt x="584" y="821"/>
                  </a:lnTo>
                  <a:lnTo>
                    <a:pt x="581" y="822"/>
                  </a:lnTo>
                  <a:lnTo>
                    <a:pt x="576" y="822"/>
                  </a:lnTo>
                  <a:lnTo>
                    <a:pt x="576" y="821"/>
                  </a:lnTo>
                  <a:lnTo>
                    <a:pt x="575" y="818"/>
                  </a:lnTo>
                  <a:lnTo>
                    <a:pt x="578" y="814"/>
                  </a:lnTo>
                  <a:lnTo>
                    <a:pt x="578" y="809"/>
                  </a:lnTo>
                  <a:lnTo>
                    <a:pt x="575" y="808"/>
                  </a:lnTo>
                  <a:lnTo>
                    <a:pt x="575" y="806"/>
                  </a:lnTo>
                  <a:lnTo>
                    <a:pt x="573" y="797"/>
                  </a:lnTo>
                  <a:lnTo>
                    <a:pt x="570" y="796"/>
                  </a:lnTo>
                  <a:lnTo>
                    <a:pt x="564" y="799"/>
                  </a:lnTo>
                  <a:lnTo>
                    <a:pt x="563" y="799"/>
                  </a:lnTo>
                  <a:lnTo>
                    <a:pt x="557" y="794"/>
                  </a:lnTo>
                  <a:lnTo>
                    <a:pt x="548" y="793"/>
                  </a:lnTo>
                  <a:lnTo>
                    <a:pt x="544" y="797"/>
                  </a:lnTo>
                  <a:lnTo>
                    <a:pt x="539" y="797"/>
                  </a:lnTo>
                  <a:lnTo>
                    <a:pt x="539" y="803"/>
                  </a:lnTo>
                  <a:lnTo>
                    <a:pt x="538" y="803"/>
                  </a:lnTo>
                  <a:lnTo>
                    <a:pt x="509" y="811"/>
                  </a:lnTo>
                  <a:lnTo>
                    <a:pt x="501" y="812"/>
                  </a:lnTo>
                  <a:lnTo>
                    <a:pt x="498" y="816"/>
                  </a:lnTo>
                  <a:lnTo>
                    <a:pt x="490" y="816"/>
                  </a:lnTo>
                  <a:lnTo>
                    <a:pt x="486" y="819"/>
                  </a:lnTo>
                  <a:lnTo>
                    <a:pt x="484" y="821"/>
                  </a:lnTo>
                  <a:lnTo>
                    <a:pt x="478" y="819"/>
                  </a:lnTo>
                  <a:lnTo>
                    <a:pt x="472" y="824"/>
                  </a:lnTo>
                  <a:lnTo>
                    <a:pt x="466" y="824"/>
                  </a:lnTo>
                  <a:lnTo>
                    <a:pt x="465" y="827"/>
                  </a:lnTo>
                  <a:lnTo>
                    <a:pt x="464" y="827"/>
                  </a:lnTo>
                  <a:lnTo>
                    <a:pt x="462" y="825"/>
                  </a:lnTo>
                  <a:lnTo>
                    <a:pt x="452" y="825"/>
                  </a:lnTo>
                  <a:lnTo>
                    <a:pt x="450" y="824"/>
                  </a:lnTo>
                  <a:lnTo>
                    <a:pt x="446" y="825"/>
                  </a:lnTo>
                  <a:lnTo>
                    <a:pt x="447" y="827"/>
                  </a:lnTo>
                  <a:lnTo>
                    <a:pt x="447" y="828"/>
                  </a:lnTo>
                  <a:lnTo>
                    <a:pt x="446" y="833"/>
                  </a:lnTo>
                  <a:lnTo>
                    <a:pt x="449" y="831"/>
                  </a:lnTo>
                  <a:lnTo>
                    <a:pt x="450" y="831"/>
                  </a:lnTo>
                  <a:lnTo>
                    <a:pt x="452" y="833"/>
                  </a:lnTo>
                  <a:lnTo>
                    <a:pt x="452" y="834"/>
                  </a:lnTo>
                  <a:lnTo>
                    <a:pt x="447" y="836"/>
                  </a:lnTo>
                  <a:lnTo>
                    <a:pt x="447" y="839"/>
                  </a:lnTo>
                  <a:lnTo>
                    <a:pt x="455" y="840"/>
                  </a:lnTo>
                  <a:lnTo>
                    <a:pt x="461" y="843"/>
                  </a:lnTo>
                  <a:lnTo>
                    <a:pt x="461" y="845"/>
                  </a:lnTo>
                  <a:lnTo>
                    <a:pt x="458" y="846"/>
                  </a:lnTo>
                  <a:lnTo>
                    <a:pt x="446" y="848"/>
                  </a:lnTo>
                  <a:lnTo>
                    <a:pt x="441" y="852"/>
                  </a:lnTo>
                  <a:lnTo>
                    <a:pt x="446" y="857"/>
                  </a:lnTo>
                  <a:lnTo>
                    <a:pt x="446" y="858"/>
                  </a:lnTo>
                  <a:lnTo>
                    <a:pt x="444" y="861"/>
                  </a:lnTo>
                  <a:lnTo>
                    <a:pt x="444" y="862"/>
                  </a:lnTo>
                  <a:lnTo>
                    <a:pt x="432" y="868"/>
                  </a:lnTo>
                  <a:lnTo>
                    <a:pt x="435" y="870"/>
                  </a:lnTo>
                  <a:lnTo>
                    <a:pt x="437" y="873"/>
                  </a:lnTo>
                  <a:lnTo>
                    <a:pt x="441" y="874"/>
                  </a:lnTo>
                  <a:lnTo>
                    <a:pt x="443" y="874"/>
                  </a:lnTo>
                  <a:lnTo>
                    <a:pt x="444" y="879"/>
                  </a:lnTo>
                  <a:lnTo>
                    <a:pt x="453" y="880"/>
                  </a:lnTo>
                  <a:lnTo>
                    <a:pt x="453" y="882"/>
                  </a:lnTo>
                  <a:lnTo>
                    <a:pt x="450" y="892"/>
                  </a:lnTo>
                  <a:lnTo>
                    <a:pt x="450" y="894"/>
                  </a:lnTo>
                  <a:lnTo>
                    <a:pt x="449" y="894"/>
                  </a:lnTo>
                  <a:lnTo>
                    <a:pt x="438" y="897"/>
                  </a:lnTo>
                  <a:lnTo>
                    <a:pt x="432" y="892"/>
                  </a:lnTo>
                  <a:lnTo>
                    <a:pt x="428" y="898"/>
                  </a:lnTo>
                  <a:lnTo>
                    <a:pt x="424" y="898"/>
                  </a:lnTo>
                  <a:lnTo>
                    <a:pt x="422" y="897"/>
                  </a:lnTo>
                  <a:lnTo>
                    <a:pt x="415" y="897"/>
                  </a:lnTo>
                  <a:lnTo>
                    <a:pt x="415" y="895"/>
                  </a:lnTo>
                  <a:lnTo>
                    <a:pt x="410" y="888"/>
                  </a:lnTo>
                  <a:lnTo>
                    <a:pt x="409" y="886"/>
                  </a:lnTo>
                  <a:lnTo>
                    <a:pt x="403" y="888"/>
                  </a:lnTo>
                  <a:lnTo>
                    <a:pt x="398" y="891"/>
                  </a:lnTo>
                  <a:lnTo>
                    <a:pt x="394" y="888"/>
                  </a:lnTo>
                  <a:lnTo>
                    <a:pt x="389" y="888"/>
                  </a:lnTo>
                  <a:lnTo>
                    <a:pt x="389" y="889"/>
                  </a:lnTo>
                  <a:lnTo>
                    <a:pt x="388" y="891"/>
                  </a:lnTo>
                  <a:lnTo>
                    <a:pt x="386" y="889"/>
                  </a:lnTo>
                  <a:lnTo>
                    <a:pt x="385" y="889"/>
                  </a:lnTo>
                  <a:lnTo>
                    <a:pt x="376" y="897"/>
                  </a:lnTo>
                  <a:lnTo>
                    <a:pt x="375" y="897"/>
                  </a:lnTo>
                  <a:lnTo>
                    <a:pt x="367" y="894"/>
                  </a:lnTo>
                  <a:lnTo>
                    <a:pt x="363" y="888"/>
                  </a:lnTo>
                  <a:lnTo>
                    <a:pt x="363" y="897"/>
                  </a:lnTo>
                  <a:lnTo>
                    <a:pt x="361" y="897"/>
                  </a:lnTo>
                  <a:lnTo>
                    <a:pt x="360" y="898"/>
                  </a:lnTo>
                  <a:lnTo>
                    <a:pt x="358" y="892"/>
                  </a:lnTo>
                  <a:lnTo>
                    <a:pt x="346" y="879"/>
                  </a:lnTo>
                  <a:lnTo>
                    <a:pt x="333" y="879"/>
                  </a:lnTo>
                  <a:lnTo>
                    <a:pt x="333" y="877"/>
                  </a:lnTo>
                  <a:lnTo>
                    <a:pt x="330" y="873"/>
                  </a:lnTo>
                  <a:lnTo>
                    <a:pt x="326" y="873"/>
                  </a:lnTo>
                  <a:lnTo>
                    <a:pt x="323" y="879"/>
                  </a:lnTo>
                  <a:lnTo>
                    <a:pt x="321" y="877"/>
                  </a:lnTo>
                  <a:lnTo>
                    <a:pt x="320" y="877"/>
                  </a:lnTo>
                  <a:lnTo>
                    <a:pt x="318" y="879"/>
                  </a:lnTo>
                  <a:lnTo>
                    <a:pt x="317" y="877"/>
                  </a:lnTo>
                  <a:lnTo>
                    <a:pt x="317" y="874"/>
                  </a:lnTo>
                  <a:lnTo>
                    <a:pt x="309" y="876"/>
                  </a:lnTo>
                  <a:lnTo>
                    <a:pt x="303" y="882"/>
                  </a:lnTo>
                  <a:lnTo>
                    <a:pt x="293" y="886"/>
                  </a:lnTo>
                  <a:lnTo>
                    <a:pt x="292" y="892"/>
                  </a:lnTo>
                  <a:lnTo>
                    <a:pt x="286" y="897"/>
                  </a:lnTo>
                  <a:lnTo>
                    <a:pt x="283" y="897"/>
                  </a:lnTo>
                  <a:lnTo>
                    <a:pt x="286" y="908"/>
                  </a:lnTo>
                  <a:lnTo>
                    <a:pt x="280" y="914"/>
                  </a:lnTo>
                  <a:lnTo>
                    <a:pt x="280" y="913"/>
                  </a:lnTo>
                  <a:lnTo>
                    <a:pt x="268" y="900"/>
                  </a:lnTo>
                  <a:lnTo>
                    <a:pt x="266" y="907"/>
                  </a:lnTo>
                  <a:lnTo>
                    <a:pt x="266" y="908"/>
                  </a:lnTo>
                  <a:lnTo>
                    <a:pt x="262" y="911"/>
                  </a:lnTo>
                  <a:lnTo>
                    <a:pt x="260" y="922"/>
                  </a:lnTo>
                  <a:lnTo>
                    <a:pt x="263" y="925"/>
                  </a:lnTo>
                  <a:lnTo>
                    <a:pt x="263" y="926"/>
                  </a:lnTo>
                  <a:lnTo>
                    <a:pt x="259" y="931"/>
                  </a:lnTo>
                  <a:lnTo>
                    <a:pt x="256" y="940"/>
                  </a:lnTo>
                  <a:lnTo>
                    <a:pt x="262" y="941"/>
                  </a:lnTo>
                  <a:lnTo>
                    <a:pt x="262" y="943"/>
                  </a:lnTo>
                  <a:lnTo>
                    <a:pt x="265" y="951"/>
                  </a:lnTo>
                  <a:lnTo>
                    <a:pt x="277" y="951"/>
                  </a:lnTo>
                  <a:lnTo>
                    <a:pt x="277" y="953"/>
                  </a:lnTo>
                  <a:lnTo>
                    <a:pt x="278" y="953"/>
                  </a:lnTo>
                  <a:lnTo>
                    <a:pt x="283" y="959"/>
                  </a:lnTo>
                  <a:lnTo>
                    <a:pt x="287" y="972"/>
                  </a:lnTo>
                  <a:lnTo>
                    <a:pt x="280" y="972"/>
                  </a:lnTo>
                  <a:lnTo>
                    <a:pt x="280" y="975"/>
                  </a:lnTo>
                  <a:lnTo>
                    <a:pt x="281" y="975"/>
                  </a:lnTo>
                  <a:lnTo>
                    <a:pt x="287" y="980"/>
                  </a:lnTo>
                  <a:lnTo>
                    <a:pt x="287" y="981"/>
                  </a:lnTo>
                  <a:lnTo>
                    <a:pt x="281" y="983"/>
                  </a:lnTo>
                  <a:lnTo>
                    <a:pt x="275" y="990"/>
                  </a:lnTo>
                  <a:lnTo>
                    <a:pt x="274" y="990"/>
                  </a:lnTo>
                  <a:lnTo>
                    <a:pt x="271" y="983"/>
                  </a:lnTo>
                  <a:lnTo>
                    <a:pt x="268" y="981"/>
                  </a:lnTo>
                  <a:lnTo>
                    <a:pt x="269" y="984"/>
                  </a:lnTo>
                  <a:lnTo>
                    <a:pt x="268" y="993"/>
                  </a:lnTo>
                  <a:lnTo>
                    <a:pt x="265" y="993"/>
                  </a:lnTo>
                  <a:lnTo>
                    <a:pt x="265" y="1000"/>
                  </a:lnTo>
                  <a:lnTo>
                    <a:pt x="256" y="1014"/>
                  </a:lnTo>
                  <a:lnTo>
                    <a:pt x="262" y="1020"/>
                  </a:lnTo>
                  <a:lnTo>
                    <a:pt x="266" y="1028"/>
                  </a:lnTo>
                  <a:lnTo>
                    <a:pt x="266" y="1026"/>
                  </a:lnTo>
                  <a:lnTo>
                    <a:pt x="268" y="1026"/>
                  </a:lnTo>
                  <a:lnTo>
                    <a:pt x="268" y="1040"/>
                  </a:lnTo>
                  <a:lnTo>
                    <a:pt x="278" y="1060"/>
                  </a:lnTo>
                  <a:lnTo>
                    <a:pt x="280" y="1061"/>
                  </a:lnTo>
                  <a:lnTo>
                    <a:pt x="280" y="1063"/>
                  </a:lnTo>
                  <a:lnTo>
                    <a:pt x="272" y="1071"/>
                  </a:lnTo>
                  <a:lnTo>
                    <a:pt x="263" y="1071"/>
                  </a:lnTo>
                  <a:lnTo>
                    <a:pt x="262" y="1066"/>
                  </a:lnTo>
                  <a:lnTo>
                    <a:pt x="253" y="1060"/>
                  </a:lnTo>
                  <a:lnTo>
                    <a:pt x="244" y="1055"/>
                  </a:lnTo>
                  <a:lnTo>
                    <a:pt x="243" y="1055"/>
                  </a:lnTo>
                  <a:lnTo>
                    <a:pt x="243" y="1049"/>
                  </a:lnTo>
                  <a:lnTo>
                    <a:pt x="237" y="1046"/>
                  </a:lnTo>
                  <a:lnTo>
                    <a:pt x="231" y="1045"/>
                  </a:lnTo>
                  <a:lnTo>
                    <a:pt x="222" y="1048"/>
                  </a:lnTo>
                  <a:lnTo>
                    <a:pt x="220" y="1048"/>
                  </a:lnTo>
                  <a:lnTo>
                    <a:pt x="207" y="1037"/>
                  </a:lnTo>
                  <a:lnTo>
                    <a:pt x="192" y="1037"/>
                  </a:lnTo>
                  <a:lnTo>
                    <a:pt x="177" y="1031"/>
                  </a:lnTo>
                  <a:lnTo>
                    <a:pt x="174" y="1031"/>
                  </a:lnTo>
                  <a:lnTo>
                    <a:pt x="170" y="1033"/>
                  </a:lnTo>
                  <a:lnTo>
                    <a:pt x="166" y="1033"/>
                  </a:lnTo>
                  <a:lnTo>
                    <a:pt x="152" y="1020"/>
                  </a:lnTo>
                  <a:lnTo>
                    <a:pt x="137" y="1011"/>
                  </a:lnTo>
                  <a:lnTo>
                    <a:pt x="136" y="1011"/>
                  </a:lnTo>
                  <a:lnTo>
                    <a:pt x="134" y="1012"/>
                  </a:lnTo>
                  <a:lnTo>
                    <a:pt x="124" y="1002"/>
                  </a:lnTo>
                  <a:lnTo>
                    <a:pt x="124" y="1000"/>
                  </a:lnTo>
                  <a:lnTo>
                    <a:pt x="127" y="997"/>
                  </a:lnTo>
                  <a:lnTo>
                    <a:pt x="134" y="997"/>
                  </a:lnTo>
                  <a:lnTo>
                    <a:pt x="142" y="986"/>
                  </a:lnTo>
                  <a:lnTo>
                    <a:pt x="148" y="984"/>
                  </a:lnTo>
                  <a:lnTo>
                    <a:pt x="139" y="977"/>
                  </a:lnTo>
                  <a:lnTo>
                    <a:pt x="140" y="974"/>
                  </a:lnTo>
                  <a:lnTo>
                    <a:pt x="148" y="972"/>
                  </a:lnTo>
                  <a:lnTo>
                    <a:pt x="148" y="971"/>
                  </a:lnTo>
                  <a:lnTo>
                    <a:pt x="160" y="966"/>
                  </a:lnTo>
                  <a:lnTo>
                    <a:pt x="158" y="965"/>
                  </a:lnTo>
                  <a:lnTo>
                    <a:pt x="148" y="966"/>
                  </a:lnTo>
                  <a:lnTo>
                    <a:pt x="146" y="966"/>
                  </a:lnTo>
                  <a:lnTo>
                    <a:pt x="146" y="959"/>
                  </a:lnTo>
                  <a:lnTo>
                    <a:pt x="148" y="954"/>
                  </a:lnTo>
                  <a:lnTo>
                    <a:pt x="152" y="953"/>
                  </a:lnTo>
                  <a:lnTo>
                    <a:pt x="155" y="948"/>
                  </a:lnTo>
                  <a:lnTo>
                    <a:pt x="157" y="948"/>
                  </a:lnTo>
                  <a:lnTo>
                    <a:pt x="160" y="951"/>
                  </a:lnTo>
                  <a:lnTo>
                    <a:pt x="166" y="951"/>
                  </a:lnTo>
                  <a:lnTo>
                    <a:pt x="169" y="943"/>
                  </a:lnTo>
                  <a:lnTo>
                    <a:pt x="167" y="941"/>
                  </a:lnTo>
                  <a:lnTo>
                    <a:pt x="166" y="941"/>
                  </a:lnTo>
                  <a:lnTo>
                    <a:pt x="166" y="934"/>
                  </a:lnTo>
                  <a:lnTo>
                    <a:pt x="170" y="931"/>
                  </a:lnTo>
                  <a:lnTo>
                    <a:pt x="166" y="928"/>
                  </a:lnTo>
                  <a:lnTo>
                    <a:pt x="170" y="926"/>
                  </a:lnTo>
                  <a:lnTo>
                    <a:pt x="172" y="923"/>
                  </a:lnTo>
                  <a:lnTo>
                    <a:pt x="170" y="917"/>
                  </a:lnTo>
                  <a:lnTo>
                    <a:pt x="158" y="911"/>
                  </a:lnTo>
                  <a:lnTo>
                    <a:pt x="154" y="911"/>
                  </a:lnTo>
                  <a:lnTo>
                    <a:pt x="148" y="908"/>
                  </a:lnTo>
                  <a:lnTo>
                    <a:pt x="145" y="910"/>
                  </a:lnTo>
                  <a:lnTo>
                    <a:pt x="143" y="910"/>
                  </a:lnTo>
                  <a:lnTo>
                    <a:pt x="143" y="908"/>
                  </a:lnTo>
                  <a:lnTo>
                    <a:pt x="134" y="900"/>
                  </a:lnTo>
                  <a:lnTo>
                    <a:pt x="126" y="902"/>
                  </a:lnTo>
                  <a:lnTo>
                    <a:pt x="123" y="902"/>
                  </a:lnTo>
                  <a:lnTo>
                    <a:pt x="120" y="900"/>
                  </a:lnTo>
                  <a:lnTo>
                    <a:pt x="112" y="900"/>
                  </a:lnTo>
                  <a:lnTo>
                    <a:pt x="109" y="897"/>
                  </a:lnTo>
                  <a:lnTo>
                    <a:pt x="109" y="888"/>
                  </a:lnTo>
                  <a:lnTo>
                    <a:pt x="106" y="883"/>
                  </a:lnTo>
                  <a:lnTo>
                    <a:pt x="102" y="885"/>
                  </a:lnTo>
                  <a:lnTo>
                    <a:pt x="96" y="882"/>
                  </a:lnTo>
                  <a:lnTo>
                    <a:pt x="94" y="882"/>
                  </a:lnTo>
                  <a:lnTo>
                    <a:pt x="94" y="880"/>
                  </a:lnTo>
                  <a:lnTo>
                    <a:pt x="93" y="873"/>
                  </a:lnTo>
                  <a:lnTo>
                    <a:pt x="96" y="871"/>
                  </a:lnTo>
                  <a:lnTo>
                    <a:pt x="96" y="870"/>
                  </a:lnTo>
                  <a:lnTo>
                    <a:pt x="89" y="859"/>
                  </a:lnTo>
                  <a:lnTo>
                    <a:pt x="72" y="861"/>
                  </a:lnTo>
                  <a:lnTo>
                    <a:pt x="66" y="867"/>
                  </a:lnTo>
                  <a:lnTo>
                    <a:pt x="63" y="865"/>
                  </a:lnTo>
                  <a:lnTo>
                    <a:pt x="63" y="864"/>
                  </a:lnTo>
                  <a:lnTo>
                    <a:pt x="62" y="864"/>
                  </a:lnTo>
                  <a:lnTo>
                    <a:pt x="59" y="848"/>
                  </a:lnTo>
                  <a:lnTo>
                    <a:pt x="56" y="843"/>
                  </a:lnTo>
                  <a:lnTo>
                    <a:pt x="56" y="842"/>
                  </a:lnTo>
                  <a:lnTo>
                    <a:pt x="59" y="839"/>
                  </a:lnTo>
                  <a:lnTo>
                    <a:pt x="60" y="839"/>
                  </a:lnTo>
                  <a:lnTo>
                    <a:pt x="68" y="842"/>
                  </a:lnTo>
                  <a:lnTo>
                    <a:pt x="75" y="836"/>
                  </a:lnTo>
                  <a:lnTo>
                    <a:pt x="75" y="833"/>
                  </a:lnTo>
                  <a:lnTo>
                    <a:pt x="74" y="833"/>
                  </a:lnTo>
                  <a:lnTo>
                    <a:pt x="72" y="830"/>
                  </a:lnTo>
                  <a:lnTo>
                    <a:pt x="69" y="828"/>
                  </a:lnTo>
                  <a:lnTo>
                    <a:pt x="63" y="828"/>
                  </a:lnTo>
                  <a:lnTo>
                    <a:pt x="62" y="824"/>
                  </a:lnTo>
                  <a:lnTo>
                    <a:pt x="57" y="819"/>
                  </a:lnTo>
                  <a:lnTo>
                    <a:pt x="50" y="806"/>
                  </a:lnTo>
                  <a:lnTo>
                    <a:pt x="53" y="799"/>
                  </a:lnTo>
                  <a:lnTo>
                    <a:pt x="50" y="794"/>
                  </a:lnTo>
                  <a:lnTo>
                    <a:pt x="51" y="788"/>
                  </a:lnTo>
                  <a:lnTo>
                    <a:pt x="43" y="782"/>
                  </a:lnTo>
                  <a:lnTo>
                    <a:pt x="32" y="785"/>
                  </a:lnTo>
                  <a:lnTo>
                    <a:pt x="31" y="785"/>
                  </a:lnTo>
                  <a:lnTo>
                    <a:pt x="32" y="781"/>
                  </a:lnTo>
                  <a:lnTo>
                    <a:pt x="29" y="779"/>
                  </a:lnTo>
                  <a:lnTo>
                    <a:pt x="17" y="778"/>
                  </a:lnTo>
                  <a:lnTo>
                    <a:pt x="17" y="776"/>
                  </a:lnTo>
                  <a:lnTo>
                    <a:pt x="16" y="775"/>
                  </a:lnTo>
                  <a:lnTo>
                    <a:pt x="16" y="766"/>
                  </a:lnTo>
                  <a:lnTo>
                    <a:pt x="11" y="759"/>
                  </a:lnTo>
                  <a:lnTo>
                    <a:pt x="8" y="757"/>
                  </a:lnTo>
                  <a:lnTo>
                    <a:pt x="10" y="748"/>
                  </a:lnTo>
                  <a:lnTo>
                    <a:pt x="6" y="742"/>
                  </a:lnTo>
                  <a:lnTo>
                    <a:pt x="6" y="739"/>
                  </a:lnTo>
                  <a:lnTo>
                    <a:pt x="10" y="733"/>
                  </a:lnTo>
                  <a:lnTo>
                    <a:pt x="7" y="728"/>
                  </a:lnTo>
                  <a:lnTo>
                    <a:pt x="6" y="723"/>
                  </a:lnTo>
                  <a:lnTo>
                    <a:pt x="4" y="723"/>
                  </a:lnTo>
                  <a:lnTo>
                    <a:pt x="3" y="722"/>
                  </a:lnTo>
                  <a:lnTo>
                    <a:pt x="0" y="708"/>
                  </a:lnTo>
                  <a:lnTo>
                    <a:pt x="10" y="704"/>
                  </a:lnTo>
                  <a:lnTo>
                    <a:pt x="16" y="696"/>
                  </a:lnTo>
                  <a:lnTo>
                    <a:pt x="14" y="689"/>
                  </a:lnTo>
                  <a:lnTo>
                    <a:pt x="26" y="680"/>
                  </a:lnTo>
                  <a:lnTo>
                    <a:pt x="40" y="682"/>
                  </a:lnTo>
                  <a:lnTo>
                    <a:pt x="35" y="677"/>
                  </a:lnTo>
                  <a:lnTo>
                    <a:pt x="19" y="673"/>
                  </a:lnTo>
                  <a:lnTo>
                    <a:pt x="17" y="673"/>
                  </a:lnTo>
                  <a:lnTo>
                    <a:pt x="16" y="667"/>
                  </a:lnTo>
                  <a:lnTo>
                    <a:pt x="16" y="665"/>
                  </a:lnTo>
                  <a:lnTo>
                    <a:pt x="17" y="665"/>
                  </a:lnTo>
                  <a:lnTo>
                    <a:pt x="19" y="667"/>
                  </a:lnTo>
                  <a:lnTo>
                    <a:pt x="19" y="662"/>
                  </a:lnTo>
                  <a:lnTo>
                    <a:pt x="7" y="665"/>
                  </a:lnTo>
                  <a:lnTo>
                    <a:pt x="6" y="664"/>
                  </a:lnTo>
                  <a:lnTo>
                    <a:pt x="7" y="664"/>
                  </a:lnTo>
                  <a:lnTo>
                    <a:pt x="37" y="636"/>
                  </a:lnTo>
                  <a:lnTo>
                    <a:pt x="56" y="606"/>
                  </a:lnTo>
                  <a:lnTo>
                    <a:pt x="56" y="597"/>
                  </a:lnTo>
                  <a:lnTo>
                    <a:pt x="48" y="587"/>
                  </a:lnTo>
                  <a:lnTo>
                    <a:pt x="41" y="578"/>
                  </a:lnTo>
                  <a:lnTo>
                    <a:pt x="46" y="561"/>
                  </a:lnTo>
                  <a:lnTo>
                    <a:pt x="40" y="554"/>
                  </a:lnTo>
                  <a:lnTo>
                    <a:pt x="38" y="545"/>
                  </a:lnTo>
                  <a:lnTo>
                    <a:pt x="35" y="544"/>
                  </a:lnTo>
                  <a:lnTo>
                    <a:pt x="35" y="530"/>
                  </a:lnTo>
                  <a:lnTo>
                    <a:pt x="40" y="514"/>
                  </a:lnTo>
                  <a:lnTo>
                    <a:pt x="28" y="477"/>
                  </a:lnTo>
                  <a:lnTo>
                    <a:pt x="38" y="455"/>
                  </a:lnTo>
                  <a:lnTo>
                    <a:pt x="29" y="437"/>
                  </a:lnTo>
                  <a:lnTo>
                    <a:pt x="19" y="428"/>
                  </a:lnTo>
                  <a:lnTo>
                    <a:pt x="19" y="427"/>
                  </a:lnTo>
                  <a:lnTo>
                    <a:pt x="20" y="412"/>
                  </a:lnTo>
                  <a:lnTo>
                    <a:pt x="19" y="410"/>
                  </a:lnTo>
                  <a:lnTo>
                    <a:pt x="19" y="409"/>
                  </a:lnTo>
                  <a:lnTo>
                    <a:pt x="38" y="390"/>
                  </a:lnTo>
                  <a:lnTo>
                    <a:pt x="41" y="382"/>
                  </a:lnTo>
                  <a:lnTo>
                    <a:pt x="41" y="381"/>
                  </a:lnTo>
                  <a:lnTo>
                    <a:pt x="48" y="384"/>
                  </a:lnTo>
                  <a:lnTo>
                    <a:pt x="48" y="376"/>
                  </a:lnTo>
                  <a:lnTo>
                    <a:pt x="50" y="376"/>
                  </a:lnTo>
                  <a:lnTo>
                    <a:pt x="59" y="381"/>
                  </a:lnTo>
                  <a:lnTo>
                    <a:pt x="60" y="376"/>
                  </a:lnTo>
                  <a:lnTo>
                    <a:pt x="62" y="376"/>
                  </a:lnTo>
                  <a:lnTo>
                    <a:pt x="62" y="370"/>
                  </a:lnTo>
                  <a:lnTo>
                    <a:pt x="63" y="370"/>
                  </a:lnTo>
                  <a:lnTo>
                    <a:pt x="78" y="378"/>
                  </a:lnTo>
                  <a:lnTo>
                    <a:pt x="80" y="378"/>
                  </a:lnTo>
                  <a:lnTo>
                    <a:pt x="80" y="379"/>
                  </a:lnTo>
                  <a:lnTo>
                    <a:pt x="77" y="385"/>
                  </a:lnTo>
                  <a:lnTo>
                    <a:pt x="75" y="385"/>
                  </a:lnTo>
                  <a:lnTo>
                    <a:pt x="66" y="379"/>
                  </a:lnTo>
                  <a:lnTo>
                    <a:pt x="65" y="385"/>
                  </a:lnTo>
                  <a:lnTo>
                    <a:pt x="77" y="390"/>
                  </a:lnTo>
                  <a:lnTo>
                    <a:pt x="77" y="392"/>
                  </a:lnTo>
                  <a:lnTo>
                    <a:pt x="80" y="391"/>
                  </a:lnTo>
                  <a:lnTo>
                    <a:pt x="83" y="397"/>
                  </a:lnTo>
                  <a:lnTo>
                    <a:pt x="115" y="398"/>
                  </a:lnTo>
                  <a:lnTo>
                    <a:pt x="149" y="431"/>
                  </a:lnTo>
                  <a:lnTo>
                    <a:pt x="169" y="437"/>
                  </a:lnTo>
                  <a:lnTo>
                    <a:pt x="182" y="453"/>
                  </a:lnTo>
                  <a:lnTo>
                    <a:pt x="183" y="468"/>
                  </a:lnTo>
                  <a:lnTo>
                    <a:pt x="188" y="470"/>
                  </a:lnTo>
                  <a:lnTo>
                    <a:pt x="188" y="471"/>
                  </a:lnTo>
                  <a:lnTo>
                    <a:pt x="185" y="483"/>
                  </a:lnTo>
                  <a:lnTo>
                    <a:pt x="170" y="499"/>
                  </a:lnTo>
                  <a:lnTo>
                    <a:pt x="154" y="505"/>
                  </a:lnTo>
                  <a:lnTo>
                    <a:pt x="96" y="492"/>
                  </a:lnTo>
                  <a:lnTo>
                    <a:pt x="96" y="490"/>
                  </a:lnTo>
                  <a:lnTo>
                    <a:pt x="94" y="486"/>
                  </a:lnTo>
                  <a:lnTo>
                    <a:pt x="84" y="484"/>
                  </a:lnTo>
                  <a:lnTo>
                    <a:pt x="83" y="484"/>
                  </a:lnTo>
                  <a:lnTo>
                    <a:pt x="69" y="471"/>
                  </a:lnTo>
                  <a:lnTo>
                    <a:pt x="65" y="474"/>
                  </a:lnTo>
                  <a:lnTo>
                    <a:pt x="102" y="511"/>
                  </a:lnTo>
                  <a:lnTo>
                    <a:pt x="102" y="513"/>
                  </a:lnTo>
                  <a:lnTo>
                    <a:pt x="100" y="526"/>
                  </a:lnTo>
                  <a:lnTo>
                    <a:pt x="100" y="527"/>
                  </a:lnTo>
                  <a:lnTo>
                    <a:pt x="96" y="530"/>
                  </a:lnTo>
                  <a:lnTo>
                    <a:pt x="102" y="544"/>
                  </a:lnTo>
                  <a:lnTo>
                    <a:pt x="103" y="551"/>
                  </a:lnTo>
                  <a:lnTo>
                    <a:pt x="100" y="557"/>
                  </a:lnTo>
                  <a:lnTo>
                    <a:pt x="112" y="559"/>
                  </a:lnTo>
                  <a:lnTo>
                    <a:pt x="120" y="569"/>
                  </a:lnTo>
                  <a:lnTo>
                    <a:pt x="136" y="576"/>
                  </a:lnTo>
                  <a:lnTo>
                    <a:pt x="145" y="573"/>
                  </a:lnTo>
                  <a:lnTo>
                    <a:pt x="140" y="557"/>
                  </a:lnTo>
                  <a:lnTo>
                    <a:pt x="134" y="560"/>
                  </a:lnTo>
                  <a:lnTo>
                    <a:pt x="133" y="560"/>
                  </a:lnTo>
                  <a:lnTo>
                    <a:pt x="124" y="550"/>
                  </a:lnTo>
                  <a:lnTo>
                    <a:pt x="123" y="544"/>
                  </a:lnTo>
                  <a:lnTo>
                    <a:pt x="123" y="542"/>
                  </a:lnTo>
                  <a:lnTo>
                    <a:pt x="129" y="533"/>
                  </a:lnTo>
                  <a:lnTo>
                    <a:pt x="148" y="544"/>
                  </a:lnTo>
                  <a:lnTo>
                    <a:pt x="148" y="545"/>
                  </a:lnTo>
                  <a:lnTo>
                    <a:pt x="145" y="547"/>
                  </a:lnTo>
                  <a:lnTo>
                    <a:pt x="145" y="550"/>
                  </a:lnTo>
                  <a:lnTo>
                    <a:pt x="149" y="545"/>
                  </a:lnTo>
                  <a:lnTo>
                    <a:pt x="179" y="556"/>
                  </a:lnTo>
                  <a:lnTo>
                    <a:pt x="167" y="530"/>
                  </a:lnTo>
                  <a:lnTo>
                    <a:pt x="166" y="520"/>
                  </a:lnTo>
                  <a:lnTo>
                    <a:pt x="167" y="520"/>
                  </a:lnTo>
                  <a:lnTo>
                    <a:pt x="188" y="505"/>
                  </a:lnTo>
                  <a:lnTo>
                    <a:pt x="198" y="490"/>
                  </a:lnTo>
                  <a:lnTo>
                    <a:pt x="200" y="490"/>
                  </a:lnTo>
                  <a:lnTo>
                    <a:pt x="216" y="499"/>
                  </a:lnTo>
                  <a:lnTo>
                    <a:pt x="216" y="501"/>
                  </a:lnTo>
                  <a:lnTo>
                    <a:pt x="215" y="505"/>
                  </a:lnTo>
                  <a:lnTo>
                    <a:pt x="217" y="504"/>
                  </a:lnTo>
                  <a:lnTo>
                    <a:pt x="219" y="504"/>
                  </a:lnTo>
                  <a:lnTo>
                    <a:pt x="222" y="508"/>
                  </a:lnTo>
                  <a:lnTo>
                    <a:pt x="222" y="499"/>
                  </a:lnTo>
                  <a:lnTo>
                    <a:pt x="228" y="477"/>
                  </a:lnTo>
                  <a:lnTo>
                    <a:pt x="217" y="465"/>
                  </a:lnTo>
                  <a:lnTo>
                    <a:pt x="222" y="450"/>
                  </a:lnTo>
                  <a:lnTo>
                    <a:pt x="222" y="431"/>
                  </a:lnTo>
                  <a:lnTo>
                    <a:pt x="212" y="418"/>
                  </a:lnTo>
                  <a:lnTo>
                    <a:pt x="244" y="424"/>
                  </a:lnTo>
                  <a:lnTo>
                    <a:pt x="253" y="434"/>
                  </a:lnTo>
                  <a:lnTo>
                    <a:pt x="256" y="447"/>
                  </a:lnTo>
                  <a:lnTo>
                    <a:pt x="256" y="449"/>
                  </a:lnTo>
                  <a:lnTo>
                    <a:pt x="240" y="452"/>
                  </a:lnTo>
                  <a:lnTo>
                    <a:pt x="235" y="461"/>
                  </a:lnTo>
                  <a:lnTo>
                    <a:pt x="247" y="480"/>
                  </a:lnTo>
                  <a:lnTo>
                    <a:pt x="255" y="480"/>
                  </a:lnTo>
                  <a:lnTo>
                    <a:pt x="256" y="486"/>
                  </a:lnTo>
                  <a:lnTo>
                    <a:pt x="268" y="475"/>
                  </a:lnTo>
                  <a:lnTo>
                    <a:pt x="268" y="470"/>
                  </a:lnTo>
                  <a:lnTo>
                    <a:pt x="272" y="456"/>
                  </a:lnTo>
                  <a:lnTo>
                    <a:pt x="320" y="425"/>
                  </a:lnTo>
                  <a:lnTo>
                    <a:pt x="327" y="424"/>
                  </a:lnTo>
                  <a:lnTo>
                    <a:pt x="330" y="428"/>
                  </a:lnTo>
                  <a:lnTo>
                    <a:pt x="333" y="424"/>
                  </a:lnTo>
                  <a:lnTo>
                    <a:pt x="330" y="422"/>
                  </a:lnTo>
                  <a:lnTo>
                    <a:pt x="330" y="421"/>
                  </a:lnTo>
                  <a:lnTo>
                    <a:pt x="335" y="415"/>
                  </a:lnTo>
                  <a:lnTo>
                    <a:pt x="336" y="415"/>
                  </a:lnTo>
                  <a:lnTo>
                    <a:pt x="339" y="419"/>
                  </a:lnTo>
                  <a:lnTo>
                    <a:pt x="340" y="419"/>
                  </a:lnTo>
                  <a:lnTo>
                    <a:pt x="340" y="415"/>
                  </a:lnTo>
                  <a:lnTo>
                    <a:pt x="342" y="410"/>
                  </a:lnTo>
                  <a:lnTo>
                    <a:pt x="343" y="410"/>
                  </a:lnTo>
                  <a:lnTo>
                    <a:pt x="358" y="406"/>
                  </a:lnTo>
                  <a:lnTo>
                    <a:pt x="358" y="407"/>
                  </a:lnTo>
                  <a:lnTo>
                    <a:pt x="349" y="412"/>
                  </a:lnTo>
                  <a:lnTo>
                    <a:pt x="352" y="413"/>
                  </a:lnTo>
                  <a:lnTo>
                    <a:pt x="354" y="413"/>
                  </a:lnTo>
                  <a:lnTo>
                    <a:pt x="354" y="415"/>
                  </a:lnTo>
                  <a:lnTo>
                    <a:pt x="351" y="421"/>
                  </a:lnTo>
                  <a:lnTo>
                    <a:pt x="352" y="430"/>
                  </a:lnTo>
                  <a:lnTo>
                    <a:pt x="360" y="435"/>
                  </a:lnTo>
                  <a:lnTo>
                    <a:pt x="370" y="421"/>
                  </a:lnTo>
                  <a:lnTo>
                    <a:pt x="382" y="421"/>
                  </a:lnTo>
                  <a:lnTo>
                    <a:pt x="391" y="422"/>
                  </a:lnTo>
                  <a:lnTo>
                    <a:pt x="394" y="422"/>
                  </a:lnTo>
                  <a:lnTo>
                    <a:pt x="415" y="404"/>
                  </a:lnTo>
                  <a:lnTo>
                    <a:pt x="424" y="416"/>
                  </a:lnTo>
                  <a:lnTo>
                    <a:pt x="419" y="425"/>
                  </a:lnTo>
                  <a:lnTo>
                    <a:pt x="424" y="430"/>
                  </a:lnTo>
                  <a:lnTo>
                    <a:pt x="428" y="425"/>
                  </a:lnTo>
                  <a:lnTo>
                    <a:pt x="428" y="416"/>
                  </a:lnTo>
                  <a:lnTo>
                    <a:pt x="440" y="409"/>
                  </a:lnTo>
                  <a:lnTo>
                    <a:pt x="441" y="401"/>
                  </a:lnTo>
                  <a:lnTo>
                    <a:pt x="434" y="384"/>
                  </a:lnTo>
                  <a:lnTo>
                    <a:pt x="434" y="382"/>
                  </a:lnTo>
                  <a:lnTo>
                    <a:pt x="444" y="375"/>
                  </a:lnTo>
                  <a:lnTo>
                    <a:pt x="446" y="375"/>
                  </a:lnTo>
                  <a:lnTo>
                    <a:pt x="484" y="385"/>
                  </a:lnTo>
                  <a:lnTo>
                    <a:pt x="523" y="412"/>
                  </a:lnTo>
                  <a:lnTo>
                    <a:pt x="538" y="432"/>
                  </a:lnTo>
                  <a:lnTo>
                    <a:pt x="548" y="412"/>
                  </a:lnTo>
                  <a:lnTo>
                    <a:pt x="541" y="406"/>
                  </a:lnTo>
                  <a:lnTo>
                    <a:pt x="535" y="392"/>
                  </a:lnTo>
                  <a:lnTo>
                    <a:pt x="535" y="388"/>
                  </a:lnTo>
                  <a:lnTo>
                    <a:pt x="520" y="384"/>
                  </a:lnTo>
                  <a:lnTo>
                    <a:pt x="518" y="384"/>
                  </a:lnTo>
                  <a:lnTo>
                    <a:pt x="520" y="367"/>
                  </a:lnTo>
                  <a:lnTo>
                    <a:pt x="524" y="364"/>
                  </a:lnTo>
                  <a:lnTo>
                    <a:pt x="523" y="358"/>
                  </a:lnTo>
                  <a:lnTo>
                    <a:pt x="526" y="342"/>
                  </a:lnTo>
                  <a:lnTo>
                    <a:pt x="515" y="338"/>
                  </a:lnTo>
                  <a:lnTo>
                    <a:pt x="520" y="329"/>
                  </a:lnTo>
                  <a:lnTo>
                    <a:pt x="515" y="329"/>
                  </a:lnTo>
                  <a:lnTo>
                    <a:pt x="515" y="327"/>
                  </a:lnTo>
                  <a:lnTo>
                    <a:pt x="518" y="318"/>
                  </a:lnTo>
                  <a:lnTo>
                    <a:pt x="539" y="296"/>
                  </a:lnTo>
                  <a:lnTo>
                    <a:pt x="545" y="262"/>
                  </a:lnTo>
                  <a:lnTo>
                    <a:pt x="551" y="249"/>
                  </a:lnTo>
                  <a:lnTo>
                    <a:pt x="551" y="247"/>
                  </a:lnTo>
                  <a:lnTo>
                    <a:pt x="552" y="247"/>
                  </a:lnTo>
                  <a:lnTo>
                    <a:pt x="594" y="256"/>
                  </a:lnTo>
                  <a:lnTo>
                    <a:pt x="594" y="258"/>
                  </a:lnTo>
                  <a:lnTo>
                    <a:pt x="595" y="280"/>
                  </a:lnTo>
                  <a:lnTo>
                    <a:pt x="584" y="309"/>
                  </a:lnTo>
                  <a:lnTo>
                    <a:pt x="594" y="321"/>
                  </a:lnTo>
                  <a:lnTo>
                    <a:pt x="597" y="335"/>
                  </a:lnTo>
                  <a:lnTo>
                    <a:pt x="597" y="352"/>
                  </a:lnTo>
                  <a:lnTo>
                    <a:pt x="592" y="358"/>
                  </a:lnTo>
                  <a:lnTo>
                    <a:pt x="595" y="375"/>
                  </a:lnTo>
                  <a:lnTo>
                    <a:pt x="592" y="404"/>
                  </a:lnTo>
                  <a:lnTo>
                    <a:pt x="606" y="421"/>
                  </a:lnTo>
                  <a:lnTo>
                    <a:pt x="606" y="427"/>
                  </a:lnTo>
                  <a:lnTo>
                    <a:pt x="601" y="437"/>
                  </a:lnTo>
                  <a:lnTo>
                    <a:pt x="601" y="452"/>
                  </a:lnTo>
                  <a:lnTo>
                    <a:pt x="600" y="452"/>
                  </a:lnTo>
                  <a:lnTo>
                    <a:pt x="595" y="456"/>
                  </a:lnTo>
                  <a:lnTo>
                    <a:pt x="590" y="471"/>
                  </a:lnTo>
                  <a:lnTo>
                    <a:pt x="581" y="471"/>
                  </a:lnTo>
                  <a:lnTo>
                    <a:pt x="587" y="475"/>
                  </a:lnTo>
                  <a:lnTo>
                    <a:pt x="587" y="477"/>
                  </a:lnTo>
                  <a:lnTo>
                    <a:pt x="585" y="477"/>
                  </a:lnTo>
                  <a:lnTo>
                    <a:pt x="567" y="486"/>
                  </a:lnTo>
                  <a:lnTo>
                    <a:pt x="561" y="484"/>
                  </a:lnTo>
                  <a:lnTo>
                    <a:pt x="563" y="496"/>
                  </a:lnTo>
                  <a:lnTo>
                    <a:pt x="587" y="499"/>
                  </a:lnTo>
                  <a:lnTo>
                    <a:pt x="590" y="499"/>
                  </a:lnTo>
                  <a:lnTo>
                    <a:pt x="590" y="489"/>
                  </a:lnTo>
                  <a:lnTo>
                    <a:pt x="591" y="489"/>
                  </a:lnTo>
                  <a:lnTo>
                    <a:pt x="604" y="480"/>
                  </a:lnTo>
                  <a:lnTo>
                    <a:pt x="610" y="464"/>
                  </a:lnTo>
                  <a:lnTo>
                    <a:pt x="621" y="452"/>
                  </a:lnTo>
                  <a:lnTo>
                    <a:pt x="621" y="441"/>
                  </a:lnTo>
                  <a:lnTo>
                    <a:pt x="615" y="428"/>
                  </a:lnTo>
                  <a:lnTo>
                    <a:pt x="619" y="415"/>
                  </a:lnTo>
                  <a:lnTo>
                    <a:pt x="646" y="406"/>
                  </a:lnTo>
                  <a:lnTo>
                    <a:pt x="646" y="407"/>
                  </a:lnTo>
                  <a:lnTo>
                    <a:pt x="649" y="416"/>
                  </a:lnTo>
                  <a:lnTo>
                    <a:pt x="656" y="424"/>
                  </a:lnTo>
                  <a:lnTo>
                    <a:pt x="656" y="425"/>
                  </a:lnTo>
                  <a:lnTo>
                    <a:pt x="655" y="431"/>
                  </a:lnTo>
                  <a:lnTo>
                    <a:pt x="658" y="434"/>
                  </a:lnTo>
                  <a:lnTo>
                    <a:pt x="658" y="435"/>
                  </a:lnTo>
                  <a:lnTo>
                    <a:pt x="655" y="450"/>
                  </a:lnTo>
                  <a:lnTo>
                    <a:pt x="661" y="456"/>
                  </a:lnTo>
                  <a:lnTo>
                    <a:pt x="673" y="456"/>
                  </a:lnTo>
                  <a:lnTo>
                    <a:pt x="658" y="450"/>
                  </a:lnTo>
                  <a:lnTo>
                    <a:pt x="658" y="437"/>
                  </a:lnTo>
                  <a:lnTo>
                    <a:pt x="659" y="437"/>
                  </a:lnTo>
                  <a:lnTo>
                    <a:pt x="665" y="431"/>
                  </a:lnTo>
                  <a:lnTo>
                    <a:pt x="659" y="412"/>
                  </a:lnTo>
                  <a:lnTo>
                    <a:pt x="638" y="398"/>
                  </a:lnTo>
                  <a:lnTo>
                    <a:pt x="627" y="404"/>
                  </a:lnTo>
                  <a:lnTo>
                    <a:pt x="609" y="400"/>
                  </a:lnTo>
                  <a:lnTo>
                    <a:pt x="609" y="398"/>
                  </a:lnTo>
                  <a:lnTo>
                    <a:pt x="610" y="388"/>
                  </a:lnTo>
                  <a:lnTo>
                    <a:pt x="606" y="375"/>
                  </a:lnTo>
                  <a:lnTo>
                    <a:pt x="615" y="342"/>
                  </a:lnTo>
                  <a:lnTo>
                    <a:pt x="598" y="308"/>
                  </a:lnTo>
                  <a:lnTo>
                    <a:pt x="603" y="295"/>
                  </a:lnTo>
                  <a:lnTo>
                    <a:pt x="625" y="277"/>
                  </a:lnTo>
                  <a:lnTo>
                    <a:pt x="621" y="253"/>
                  </a:lnTo>
                  <a:lnTo>
                    <a:pt x="621" y="252"/>
                  </a:lnTo>
                  <a:lnTo>
                    <a:pt x="622" y="252"/>
                  </a:lnTo>
                  <a:lnTo>
                    <a:pt x="625" y="250"/>
                  </a:lnTo>
                  <a:lnTo>
                    <a:pt x="627" y="250"/>
                  </a:lnTo>
                  <a:lnTo>
                    <a:pt x="627" y="252"/>
                  </a:lnTo>
                  <a:lnTo>
                    <a:pt x="634" y="265"/>
                  </a:lnTo>
                  <a:lnTo>
                    <a:pt x="634" y="266"/>
                  </a:lnTo>
                  <a:lnTo>
                    <a:pt x="633" y="266"/>
                  </a:lnTo>
                  <a:lnTo>
                    <a:pt x="634" y="277"/>
                  </a:lnTo>
                  <a:lnTo>
                    <a:pt x="628" y="289"/>
                  </a:lnTo>
                  <a:lnTo>
                    <a:pt x="633" y="305"/>
                  </a:lnTo>
                  <a:lnTo>
                    <a:pt x="633" y="312"/>
                  </a:lnTo>
                  <a:lnTo>
                    <a:pt x="630" y="312"/>
                  </a:lnTo>
                  <a:lnTo>
                    <a:pt x="631" y="315"/>
                  </a:lnTo>
                  <a:lnTo>
                    <a:pt x="670" y="330"/>
                  </a:lnTo>
                  <a:lnTo>
                    <a:pt x="664" y="315"/>
                  </a:lnTo>
                  <a:lnTo>
                    <a:pt x="659" y="318"/>
                  </a:lnTo>
                  <a:lnTo>
                    <a:pt x="659" y="320"/>
                  </a:lnTo>
                  <a:lnTo>
                    <a:pt x="658" y="320"/>
                  </a:lnTo>
                  <a:lnTo>
                    <a:pt x="658" y="318"/>
                  </a:lnTo>
                  <a:lnTo>
                    <a:pt x="641" y="306"/>
                  </a:lnTo>
                  <a:lnTo>
                    <a:pt x="638" y="293"/>
                  </a:lnTo>
                  <a:lnTo>
                    <a:pt x="643" y="290"/>
                  </a:lnTo>
                  <a:lnTo>
                    <a:pt x="644" y="290"/>
                  </a:lnTo>
                  <a:lnTo>
                    <a:pt x="649" y="301"/>
                  </a:lnTo>
                  <a:lnTo>
                    <a:pt x="655" y="299"/>
                  </a:lnTo>
                  <a:lnTo>
                    <a:pt x="664" y="290"/>
                  </a:lnTo>
                  <a:lnTo>
                    <a:pt x="656" y="287"/>
                  </a:lnTo>
                  <a:lnTo>
                    <a:pt x="656" y="281"/>
                  </a:lnTo>
                  <a:lnTo>
                    <a:pt x="658" y="281"/>
                  </a:lnTo>
                  <a:lnTo>
                    <a:pt x="681" y="272"/>
                  </a:lnTo>
                  <a:lnTo>
                    <a:pt x="702" y="286"/>
                  </a:lnTo>
                  <a:lnTo>
                    <a:pt x="711" y="299"/>
                  </a:lnTo>
                  <a:lnTo>
                    <a:pt x="733" y="302"/>
                  </a:lnTo>
                  <a:lnTo>
                    <a:pt x="735" y="302"/>
                  </a:lnTo>
                  <a:lnTo>
                    <a:pt x="732" y="315"/>
                  </a:lnTo>
                  <a:lnTo>
                    <a:pt x="721" y="323"/>
                  </a:lnTo>
                  <a:lnTo>
                    <a:pt x="723" y="341"/>
                  </a:lnTo>
                  <a:lnTo>
                    <a:pt x="721" y="358"/>
                  </a:lnTo>
                  <a:lnTo>
                    <a:pt x="732" y="364"/>
                  </a:lnTo>
                  <a:lnTo>
                    <a:pt x="732" y="357"/>
                  </a:lnTo>
                  <a:lnTo>
                    <a:pt x="738" y="354"/>
                  </a:lnTo>
                  <a:lnTo>
                    <a:pt x="738" y="344"/>
                  </a:lnTo>
                  <a:lnTo>
                    <a:pt x="733" y="320"/>
                  </a:lnTo>
                  <a:lnTo>
                    <a:pt x="738" y="305"/>
                  </a:lnTo>
                  <a:lnTo>
                    <a:pt x="736" y="296"/>
                  </a:lnTo>
                  <a:lnTo>
                    <a:pt x="720" y="287"/>
                  </a:lnTo>
                  <a:lnTo>
                    <a:pt x="720" y="286"/>
                  </a:lnTo>
                  <a:lnTo>
                    <a:pt x="721" y="281"/>
                  </a:lnTo>
                  <a:lnTo>
                    <a:pt x="720" y="280"/>
                  </a:lnTo>
                  <a:lnTo>
                    <a:pt x="704" y="269"/>
                  </a:lnTo>
                  <a:lnTo>
                    <a:pt x="702" y="269"/>
                  </a:lnTo>
                  <a:lnTo>
                    <a:pt x="701" y="258"/>
                  </a:lnTo>
                  <a:lnTo>
                    <a:pt x="704" y="250"/>
                  </a:lnTo>
                  <a:lnTo>
                    <a:pt x="695" y="238"/>
                  </a:lnTo>
                  <a:lnTo>
                    <a:pt x="693" y="238"/>
                  </a:lnTo>
                  <a:lnTo>
                    <a:pt x="693" y="237"/>
                  </a:lnTo>
                  <a:lnTo>
                    <a:pt x="695" y="237"/>
                  </a:lnTo>
                  <a:lnTo>
                    <a:pt x="698" y="234"/>
                  </a:lnTo>
                  <a:lnTo>
                    <a:pt x="695" y="232"/>
                  </a:lnTo>
                  <a:lnTo>
                    <a:pt x="695" y="231"/>
                  </a:lnTo>
                  <a:lnTo>
                    <a:pt x="701" y="225"/>
                  </a:lnTo>
                  <a:lnTo>
                    <a:pt x="698" y="220"/>
                  </a:lnTo>
                  <a:lnTo>
                    <a:pt x="698" y="219"/>
                  </a:lnTo>
                  <a:lnTo>
                    <a:pt x="704" y="218"/>
                  </a:lnTo>
                  <a:lnTo>
                    <a:pt x="776" y="204"/>
                  </a:lnTo>
                  <a:lnTo>
                    <a:pt x="776" y="197"/>
                  </a:lnTo>
                  <a:lnTo>
                    <a:pt x="779" y="197"/>
                  </a:lnTo>
                  <a:lnTo>
                    <a:pt x="776" y="188"/>
                  </a:lnTo>
                  <a:lnTo>
                    <a:pt x="766" y="182"/>
                  </a:lnTo>
                  <a:lnTo>
                    <a:pt x="776" y="173"/>
                  </a:lnTo>
                  <a:lnTo>
                    <a:pt x="764" y="167"/>
                  </a:lnTo>
                  <a:lnTo>
                    <a:pt x="767" y="158"/>
                  </a:lnTo>
                  <a:lnTo>
                    <a:pt x="778" y="166"/>
                  </a:lnTo>
                  <a:lnTo>
                    <a:pt x="782" y="152"/>
                  </a:lnTo>
                  <a:lnTo>
                    <a:pt x="784" y="152"/>
                  </a:lnTo>
                  <a:lnTo>
                    <a:pt x="790" y="149"/>
                  </a:lnTo>
                  <a:lnTo>
                    <a:pt x="781" y="145"/>
                  </a:lnTo>
                  <a:lnTo>
                    <a:pt x="794" y="145"/>
                  </a:lnTo>
                  <a:lnTo>
                    <a:pt x="810" y="126"/>
                  </a:lnTo>
                  <a:lnTo>
                    <a:pt x="864" y="106"/>
                  </a:lnTo>
                  <a:lnTo>
                    <a:pt x="865" y="102"/>
                  </a:lnTo>
                  <a:lnTo>
                    <a:pt x="858" y="102"/>
                  </a:lnTo>
                  <a:lnTo>
                    <a:pt x="858" y="94"/>
                  </a:lnTo>
                  <a:lnTo>
                    <a:pt x="862" y="94"/>
                  </a:lnTo>
                  <a:lnTo>
                    <a:pt x="871" y="93"/>
                  </a:lnTo>
                  <a:lnTo>
                    <a:pt x="883" y="92"/>
                  </a:lnTo>
                  <a:lnTo>
                    <a:pt x="892" y="90"/>
                  </a:lnTo>
                  <a:lnTo>
                    <a:pt x="896" y="90"/>
                  </a:lnTo>
                  <a:lnTo>
                    <a:pt x="901" y="93"/>
                  </a:lnTo>
                  <a:lnTo>
                    <a:pt x="896" y="103"/>
                  </a:lnTo>
                  <a:lnTo>
                    <a:pt x="904" y="97"/>
                  </a:lnTo>
                  <a:lnTo>
                    <a:pt x="908" y="99"/>
                  </a:lnTo>
                  <a:lnTo>
                    <a:pt x="908" y="100"/>
                  </a:lnTo>
                  <a:lnTo>
                    <a:pt x="907" y="105"/>
                  </a:lnTo>
                  <a:lnTo>
                    <a:pt x="922" y="99"/>
                  </a:lnTo>
                  <a:lnTo>
                    <a:pt x="920" y="94"/>
                  </a:lnTo>
                  <a:lnTo>
                    <a:pt x="920" y="93"/>
                  </a:lnTo>
                  <a:lnTo>
                    <a:pt x="933" y="84"/>
                  </a:lnTo>
                  <a:lnTo>
                    <a:pt x="933" y="83"/>
                  </a:lnTo>
                  <a:lnTo>
                    <a:pt x="935" y="83"/>
                  </a:lnTo>
                  <a:lnTo>
                    <a:pt x="935" y="84"/>
                  </a:lnTo>
                  <a:lnTo>
                    <a:pt x="947" y="96"/>
                  </a:lnTo>
                  <a:lnTo>
                    <a:pt x="948" y="86"/>
                  </a:lnTo>
                  <a:lnTo>
                    <a:pt x="936" y="74"/>
                  </a:lnTo>
                  <a:lnTo>
                    <a:pt x="936" y="72"/>
                  </a:lnTo>
                  <a:lnTo>
                    <a:pt x="966" y="68"/>
                  </a:lnTo>
                  <a:lnTo>
                    <a:pt x="966" y="60"/>
                  </a:lnTo>
                  <a:lnTo>
                    <a:pt x="967" y="62"/>
                  </a:lnTo>
                  <a:lnTo>
                    <a:pt x="962" y="53"/>
                  </a:lnTo>
                  <a:lnTo>
                    <a:pt x="967" y="37"/>
                  </a:lnTo>
                  <a:lnTo>
                    <a:pt x="990" y="6"/>
                  </a:lnTo>
                  <a:lnTo>
                    <a:pt x="100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0" name="Turkey">
              <a:extLst>
                <a:ext uri="{FF2B5EF4-FFF2-40B4-BE49-F238E27FC236}">
                  <a16:creationId xmlns:a16="http://schemas.microsoft.com/office/drawing/2014/main" id="{69DB9EA0-820B-416D-4F13-8902DBF23720}"/>
                </a:ext>
              </a:extLst>
            </p:cNvPr>
            <p:cNvSpPr>
              <a:spLocks/>
            </p:cNvSpPr>
            <p:nvPr/>
          </p:nvSpPr>
          <p:spPr bwMode="auto">
            <a:xfrm>
              <a:off x="6440245" y="3495941"/>
              <a:ext cx="444537" cy="189742"/>
            </a:xfrm>
            <a:custGeom>
              <a:avLst/>
              <a:gdLst/>
              <a:ahLst/>
              <a:cxnLst/>
              <a:rect l="l" t="t" r="r" b="b"/>
              <a:pathLst>
                <a:path w="448081" h="191255">
                  <a:moveTo>
                    <a:pt x="176683" y="0"/>
                  </a:moveTo>
                  <a:lnTo>
                    <a:pt x="218576" y="0"/>
                  </a:lnTo>
                  <a:lnTo>
                    <a:pt x="229505" y="10929"/>
                  </a:lnTo>
                  <a:lnTo>
                    <a:pt x="240434" y="10929"/>
                  </a:lnTo>
                  <a:lnTo>
                    <a:pt x="249541" y="23679"/>
                  </a:lnTo>
                  <a:lnTo>
                    <a:pt x="285971" y="34608"/>
                  </a:lnTo>
                  <a:lnTo>
                    <a:pt x="316936" y="29144"/>
                  </a:lnTo>
                  <a:lnTo>
                    <a:pt x="340615" y="32787"/>
                  </a:lnTo>
                  <a:lnTo>
                    <a:pt x="367937" y="14572"/>
                  </a:lnTo>
                  <a:lnTo>
                    <a:pt x="378865" y="14572"/>
                  </a:lnTo>
                  <a:lnTo>
                    <a:pt x="384330" y="16393"/>
                  </a:lnTo>
                  <a:lnTo>
                    <a:pt x="389794" y="16393"/>
                  </a:lnTo>
                  <a:lnTo>
                    <a:pt x="397080" y="14572"/>
                  </a:lnTo>
                  <a:lnTo>
                    <a:pt x="400723" y="14572"/>
                  </a:lnTo>
                  <a:lnTo>
                    <a:pt x="417116" y="32787"/>
                  </a:lnTo>
                  <a:lnTo>
                    <a:pt x="424402" y="56466"/>
                  </a:lnTo>
                  <a:lnTo>
                    <a:pt x="442617" y="67395"/>
                  </a:lnTo>
                  <a:lnTo>
                    <a:pt x="442617" y="71038"/>
                  </a:lnTo>
                  <a:lnTo>
                    <a:pt x="431688" y="83788"/>
                  </a:lnTo>
                  <a:lnTo>
                    <a:pt x="435331" y="94717"/>
                  </a:lnTo>
                  <a:lnTo>
                    <a:pt x="435331" y="129325"/>
                  </a:lnTo>
                  <a:lnTo>
                    <a:pt x="448081" y="140254"/>
                  </a:lnTo>
                  <a:lnTo>
                    <a:pt x="448081" y="149361"/>
                  </a:lnTo>
                  <a:lnTo>
                    <a:pt x="440795" y="149361"/>
                  </a:lnTo>
                  <a:lnTo>
                    <a:pt x="437152" y="151183"/>
                  </a:lnTo>
                  <a:lnTo>
                    <a:pt x="435331" y="151183"/>
                  </a:lnTo>
                  <a:lnTo>
                    <a:pt x="431688" y="145718"/>
                  </a:lnTo>
                  <a:lnTo>
                    <a:pt x="402545" y="143897"/>
                  </a:lnTo>
                  <a:lnTo>
                    <a:pt x="395259" y="151183"/>
                  </a:lnTo>
                  <a:lnTo>
                    <a:pt x="391616" y="151183"/>
                  </a:lnTo>
                  <a:lnTo>
                    <a:pt x="386151" y="149361"/>
                  </a:lnTo>
                  <a:lnTo>
                    <a:pt x="375223" y="154826"/>
                  </a:lnTo>
                  <a:lnTo>
                    <a:pt x="351543" y="151183"/>
                  </a:lnTo>
                  <a:lnTo>
                    <a:pt x="313293" y="167576"/>
                  </a:lnTo>
                  <a:lnTo>
                    <a:pt x="295078" y="160290"/>
                  </a:lnTo>
                  <a:lnTo>
                    <a:pt x="273220" y="167576"/>
                  </a:lnTo>
                  <a:lnTo>
                    <a:pt x="255006" y="162112"/>
                  </a:lnTo>
                  <a:lnTo>
                    <a:pt x="251363" y="171219"/>
                  </a:lnTo>
                  <a:lnTo>
                    <a:pt x="255006" y="178505"/>
                  </a:lnTo>
                  <a:lnTo>
                    <a:pt x="255006" y="180326"/>
                  </a:lnTo>
                  <a:lnTo>
                    <a:pt x="249541" y="180326"/>
                  </a:lnTo>
                  <a:lnTo>
                    <a:pt x="244077" y="191255"/>
                  </a:lnTo>
                  <a:lnTo>
                    <a:pt x="240434" y="191255"/>
                  </a:lnTo>
                  <a:lnTo>
                    <a:pt x="234970" y="185791"/>
                  </a:lnTo>
                  <a:lnTo>
                    <a:pt x="234970" y="171219"/>
                  </a:lnTo>
                  <a:lnTo>
                    <a:pt x="240434" y="165754"/>
                  </a:lnTo>
                  <a:lnTo>
                    <a:pt x="238613" y="162112"/>
                  </a:lnTo>
                  <a:lnTo>
                    <a:pt x="227684" y="171219"/>
                  </a:lnTo>
                  <a:lnTo>
                    <a:pt x="224041" y="171219"/>
                  </a:lnTo>
                  <a:lnTo>
                    <a:pt x="211290" y="165754"/>
                  </a:lnTo>
                  <a:lnTo>
                    <a:pt x="202183" y="167576"/>
                  </a:lnTo>
                  <a:lnTo>
                    <a:pt x="194897" y="176683"/>
                  </a:lnTo>
                  <a:lnTo>
                    <a:pt x="165754" y="185791"/>
                  </a:lnTo>
                  <a:lnTo>
                    <a:pt x="162111" y="185791"/>
                  </a:lnTo>
                  <a:lnTo>
                    <a:pt x="116574" y="160290"/>
                  </a:lnTo>
                  <a:lnTo>
                    <a:pt x="111110" y="162112"/>
                  </a:lnTo>
                  <a:lnTo>
                    <a:pt x="109288" y="178505"/>
                  </a:lnTo>
                  <a:lnTo>
                    <a:pt x="92895" y="183969"/>
                  </a:lnTo>
                  <a:lnTo>
                    <a:pt x="78323" y="178505"/>
                  </a:lnTo>
                  <a:lnTo>
                    <a:pt x="72859" y="167576"/>
                  </a:lnTo>
                  <a:lnTo>
                    <a:pt x="67395" y="171219"/>
                  </a:lnTo>
                  <a:lnTo>
                    <a:pt x="67395" y="167576"/>
                  </a:lnTo>
                  <a:lnTo>
                    <a:pt x="61930" y="162112"/>
                  </a:lnTo>
                  <a:lnTo>
                    <a:pt x="51001" y="171219"/>
                  </a:lnTo>
                  <a:lnTo>
                    <a:pt x="49180" y="171219"/>
                  </a:lnTo>
                  <a:lnTo>
                    <a:pt x="49180" y="165754"/>
                  </a:lnTo>
                  <a:lnTo>
                    <a:pt x="36430" y="167576"/>
                  </a:lnTo>
                  <a:lnTo>
                    <a:pt x="36430" y="165754"/>
                  </a:lnTo>
                  <a:lnTo>
                    <a:pt x="51001" y="156647"/>
                  </a:lnTo>
                  <a:lnTo>
                    <a:pt x="32787" y="156647"/>
                  </a:lnTo>
                  <a:lnTo>
                    <a:pt x="32787" y="154826"/>
                  </a:lnTo>
                  <a:lnTo>
                    <a:pt x="36430" y="149361"/>
                  </a:lnTo>
                  <a:lnTo>
                    <a:pt x="30965" y="145718"/>
                  </a:lnTo>
                  <a:lnTo>
                    <a:pt x="30965" y="138432"/>
                  </a:lnTo>
                  <a:lnTo>
                    <a:pt x="25501" y="134789"/>
                  </a:lnTo>
                  <a:lnTo>
                    <a:pt x="27322" y="127503"/>
                  </a:lnTo>
                  <a:lnTo>
                    <a:pt x="9108" y="118396"/>
                  </a:lnTo>
                  <a:lnTo>
                    <a:pt x="5465" y="118396"/>
                  </a:lnTo>
                  <a:lnTo>
                    <a:pt x="10929" y="105646"/>
                  </a:lnTo>
                  <a:lnTo>
                    <a:pt x="16394" y="111110"/>
                  </a:lnTo>
                  <a:lnTo>
                    <a:pt x="25501" y="111110"/>
                  </a:lnTo>
                  <a:lnTo>
                    <a:pt x="16394" y="107467"/>
                  </a:lnTo>
                  <a:lnTo>
                    <a:pt x="16394" y="105646"/>
                  </a:lnTo>
                  <a:lnTo>
                    <a:pt x="21858" y="100181"/>
                  </a:lnTo>
                  <a:lnTo>
                    <a:pt x="16394" y="89252"/>
                  </a:lnTo>
                  <a:lnTo>
                    <a:pt x="20036" y="81967"/>
                  </a:lnTo>
                  <a:lnTo>
                    <a:pt x="3643" y="81967"/>
                  </a:lnTo>
                  <a:lnTo>
                    <a:pt x="9108" y="65573"/>
                  </a:lnTo>
                  <a:lnTo>
                    <a:pt x="16394" y="56466"/>
                  </a:lnTo>
                  <a:lnTo>
                    <a:pt x="40073" y="54644"/>
                  </a:lnTo>
                  <a:lnTo>
                    <a:pt x="40073" y="49180"/>
                  </a:lnTo>
                  <a:lnTo>
                    <a:pt x="54644" y="49180"/>
                  </a:lnTo>
                  <a:lnTo>
                    <a:pt x="60109" y="51001"/>
                  </a:lnTo>
                  <a:lnTo>
                    <a:pt x="71038" y="51001"/>
                  </a:lnTo>
                  <a:lnTo>
                    <a:pt x="67395" y="45537"/>
                  </a:lnTo>
                  <a:lnTo>
                    <a:pt x="67395" y="43716"/>
                  </a:lnTo>
                  <a:lnTo>
                    <a:pt x="72859" y="43716"/>
                  </a:lnTo>
                  <a:lnTo>
                    <a:pt x="83788" y="40073"/>
                  </a:lnTo>
                  <a:lnTo>
                    <a:pt x="76502" y="40073"/>
                  </a:lnTo>
                  <a:lnTo>
                    <a:pt x="71038" y="34608"/>
                  </a:lnTo>
                  <a:lnTo>
                    <a:pt x="71038" y="32787"/>
                  </a:lnTo>
                  <a:lnTo>
                    <a:pt x="76502" y="27322"/>
                  </a:lnTo>
                  <a:lnTo>
                    <a:pt x="76502" y="23679"/>
                  </a:lnTo>
                  <a:lnTo>
                    <a:pt x="87431" y="23679"/>
                  </a:lnTo>
                  <a:lnTo>
                    <a:pt x="100181" y="27322"/>
                  </a:lnTo>
                  <a:lnTo>
                    <a:pt x="116574" y="32787"/>
                  </a:lnTo>
                  <a:lnTo>
                    <a:pt x="122039" y="32787"/>
                  </a:lnTo>
                  <a:lnTo>
                    <a:pt x="151182" y="10929"/>
                  </a:lnTo>
                  <a:close/>
                  <a:moveTo>
                    <a:pt x="27322" y="0"/>
                  </a:moveTo>
                  <a:lnTo>
                    <a:pt x="49180" y="3643"/>
                  </a:lnTo>
                  <a:lnTo>
                    <a:pt x="54644" y="14572"/>
                  </a:lnTo>
                  <a:lnTo>
                    <a:pt x="72859" y="23679"/>
                  </a:lnTo>
                  <a:lnTo>
                    <a:pt x="72859" y="27322"/>
                  </a:lnTo>
                  <a:lnTo>
                    <a:pt x="67395" y="32787"/>
                  </a:lnTo>
                  <a:lnTo>
                    <a:pt x="67395" y="34608"/>
                  </a:lnTo>
                  <a:lnTo>
                    <a:pt x="38251" y="34608"/>
                  </a:lnTo>
                  <a:lnTo>
                    <a:pt x="5465" y="61930"/>
                  </a:lnTo>
                  <a:lnTo>
                    <a:pt x="3643" y="61930"/>
                  </a:lnTo>
                  <a:lnTo>
                    <a:pt x="5465" y="51001"/>
                  </a:lnTo>
                  <a:lnTo>
                    <a:pt x="10929" y="45537"/>
                  </a:lnTo>
                  <a:lnTo>
                    <a:pt x="0" y="43715"/>
                  </a:lnTo>
                  <a:lnTo>
                    <a:pt x="0" y="40072"/>
                  </a:lnTo>
                  <a:lnTo>
                    <a:pt x="10929" y="20036"/>
                  </a:lnTo>
                  <a:lnTo>
                    <a:pt x="5465" y="9107"/>
                  </a:lnTo>
                  <a:lnTo>
                    <a:pt x="9108" y="9107"/>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1" name="African Island">
              <a:extLst>
                <a:ext uri="{FF2B5EF4-FFF2-40B4-BE49-F238E27FC236}">
                  <a16:creationId xmlns:a16="http://schemas.microsoft.com/office/drawing/2014/main" id="{8F0848E4-190E-D6F9-74F8-B5E05370852C}"/>
                </a:ext>
              </a:extLst>
            </p:cNvPr>
            <p:cNvSpPr>
              <a:spLocks/>
            </p:cNvSpPr>
            <p:nvPr/>
          </p:nvSpPr>
          <p:spPr bwMode="auto">
            <a:xfrm>
              <a:off x="5229514" y="4179011"/>
              <a:ext cx="10843" cy="9036"/>
            </a:xfrm>
            <a:custGeom>
              <a:avLst/>
              <a:gdLst>
                <a:gd name="T0" fmla="*/ 0 w 6"/>
                <a:gd name="T1" fmla="*/ 0 h 5"/>
                <a:gd name="T2" fmla="*/ 6 w 6"/>
                <a:gd name="T3" fmla="*/ 0 h 5"/>
                <a:gd name="T4" fmla="*/ 6 w 6"/>
                <a:gd name="T5" fmla="*/ 2 h 5"/>
                <a:gd name="T6" fmla="*/ 2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2" y="5"/>
                  </a:lnTo>
                  <a:lnTo>
                    <a:pt x="0" y="5"/>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2" name="African Island">
              <a:extLst>
                <a:ext uri="{FF2B5EF4-FFF2-40B4-BE49-F238E27FC236}">
                  <a16:creationId xmlns:a16="http://schemas.microsoft.com/office/drawing/2014/main" id="{EA7A04B3-416D-EECA-9D54-5B4A0C6EA759}"/>
                </a:ext>
              </a:extLst>
            </p:cNvPr>
            <p:cNvSpPr>
              <a:spLocks/>
            </p:cNvSpPr>
            <p:nvPr/>
          </p:nvSpPr>
          <p:spPr bwMode="auto">
            <a:xfrm>
              <a:off x="5267462" y="4224187"/>
              <a:ext cx="7228" cy="14457"/>
            </a:xfrm>
            <a:custGeom>
              <a:avLst/>
              <a:gdLst>
                <a:gd name="T0" fmla="*/ 0 w 4"/>
                <a:gd name="T1" fmla="*/ 0 h 8"/>
                <a:gd name="T2" fmla="*/ 1 w 4"/>
                <a:gd name="T3" fmla="*/ 0 h 8"/>
                <a:gd name="T4" fmla="*/ 1 w 4"/>
                <a:gd name="T5" fmla="*/ 2 h 8"/>
                <a:gd name="T6" fmla="*/ 4 w 4"/>
                <a:gd name="T7" fmla="*/ 6 h 8"/>
                <a:gd name="T8" fmla="*/ 4 w 4"/>
                <a:gd name="T9" fmla="*/ 8 h 8"/>
                <a:gd name="T10" fmla="*/ 0 w 4"/>
                <a:gd name="T11" fmla="*/ 8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1" y="0"/>
                  </a:lnTo>
                  <a:lnTo>
                    <a:pt x="1" y="2"/>
                  </a:lnTo>
                  <a:lnTo>
                    <a:pt x="4" y="6"/>
                  </a:lnTo>
                  <a:lnTo>
                    <a:pt x="4" y="8"/>
                  </a:lnTo>
                  <a:lnTo>
                    <a:pt x="0" y="8"/>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3" name="African Island">
              <a:extLst>
                <a:ext uri="{FF2B5EF4-FFF2-40B4-BE49-F238E27FC236}">
                  <a16:creationId xmlns:a16="http://schemas.microsoft.com/office/drawing/2014/main" id="{F742D0C4-EF60-2EBB-6620-CA06D1B6EDDD}"/>
                </a:ext>
              </a:extLst>
            </p:cNvPr>
            <p:cNvSpPr>
              <a:spLocks/>
            </p:cNvSpPr>
            <p:nvPr/>
          </p:nvSpPr>
          <p:spPr bwMode="auto">
            <a:xfrm>
              <a:off x="5285533" y="4204310"/>
              <a:ext cx="9036" cy="7228"/>
            </a:xfrm>
            <a:custGeom>
              <a:avLst/>
              <a:gdLst>
                <a:gd name="T0" fmla="*/ 0 w 5"/>
                <a:gd name="T1" fmla="*/ 0 h 4"/>
                <a:gd name="T2" fmla="*/ 2 w 5"/>
                <a:gd name="T3" fmla="*/ 0 h 4"/>
                <a:gd name="T4" fmla="*/ 5 w 5"/>
                <a:gd name="T5" fmla="*/ 1 h 4"/>
                <a:gd name="T6" fmla="*/ 5 w 5"/>
                <a:gd name="T7" fmla="*/ 3 h 4"/>
                <a:gd name="T8" fmla="*/ 2 w 5"/>
                <a:gd name="T9" fmla="*/ 4 h 4"/>
                <a:gd name="T10" fmla="*/ 0 w 5"/>
                <a:gd name="T11" fmla="*/ 4 h 4"/>
                <a:gd name="T12" fmla="*/ 0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0"/>
                  </a:moveTo>
                  <a:lnTo>
                    <a:pt x="2" y="0"/>
                  </a:lnTo>
                  <a:lnTo>
                    <a:pt x="5" y="1"/>
                  </a:lnTo>
                  <a:lnTo>
                    <a:pt x="5" y="3"/>
                  </a:lnTo>
                  <a:lnTo>
                    <a:pt x="2" y="4"/>
                  </a:lnTo>
                  <a:lnTo>
                    <a:pt x="0" y="4"/>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4" name="African Island">
              <a:extLst>
                <a:ext uri="{FF2B5EF4-FFF2-40B4-BE49-F238E27FC236}">
                  <a16:creationId xmlns:a16="http://schemas.microsoft.com/office/drawing/2014/main" id="{1BCE8F0D-C295-BD6F-A020-97A8319586C9}"/>
                </a:ext>
              </a:extLst>
            </p:cNvPr>
            <p:cNvSpPr>
              <a:spLocks/>
            </p:cNvSpPr>
            <p:nvPr/>
          </p:nvSpPr>
          <p:spPr bwMode="auto">
            <a:xfrm>
              <a:off x="5424676" y="3772422"/>
              <a:ext cx="10843" cy="7228"/>
            </a:xfrm>
            <a:custGeom>
              <a:avLst/>
              <a:gdLst>
                <a:gd name="T0" fmla="*/ 2 w 6"/>
                <a:gd name="T1" fmla="*/ 0 h 4"/>
                <a:gd name="T2" fmla="*/ 3 w 6"/>
                <a:gd name="T3" fmla="*/ 0 h 4"/>
                <a:gd name="T4" fmla="*/ 6 w 6"/>
                <a:gd name="T5" fmla="*/ 3 h 4"/>
                <a:gd name="T6" fmla="*/ 3 w 6"/>
                <a:gd name="T7" fmla="*/ 4 h 4"/>
                <a:gd name="T8" fmla="*/ 0 w 6"/>
                <a:gd name="T9" fmla="*/ 1 h 4"/>
                <a:gd name="T10" fmla="*/ 2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2" y="0"/>
                  </a:moveTo>
                  <a:lnTo>
                    <a:pt x="3" y="0"/>
                  </a:lnTo>
                  <a:lnTo>
                    <a:pt x="6" y="3"/>
                  </a:lnTo>
                  <a:lnTo>
                    <a:pt x="3" y="4"/>
                  </a:lnTo>
                  <a:lnTo>
                    <a:pt x="0" y="1"/>
                  </a:lnTo>
                  <a:lnTo>
                    <a:pt x="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5" name="African Island">
              <a:extLst>
                <a:ext uri="{FF2B5EF4-FFF2-40B4-BE49-F238E27FC236}">
                  <a16:creationId xmlns:a16="http://schemas.microsoft.com/office/drawing/2014/main" id="{563295A8-C4B1-E3AA-1080-32E91C2BF2B3}"/>
                </a:ext>
              </a:extLst>
            </p:cNvPr>
            <p:cNvSpPr>
              <a:spLocks/>
            </p:cNvSpPr>
            <p:nvPr/>
          </p:nvSpPr>
          <p:spPr bwMode="auto">
            <a:xfrm>
              <a:off x="5430098" y="3888073"/>
              <a:ext cx="16264" cy="16264"/>
            </a:xfrm>
            <a:custGeom>
              <a:avLst/>
              <a:gdLst>
                <a:gd name="T0" fmla="*/ 9 w 9"/>
                <a:gd name="T1" fmla="*/ 0 h 9"/>
                <a:gd name="T2" fmla="*/ 9 w 9"/>
                <a:gd name="T3" fmla="*/ 1 h 9"/>
                <a:gd name="T4" fmla="*/ 6 w 9"/>
                <a:gd name="T5" fmla="*/ 9 h 9"/>
                <a:gd name="T6" fmla="*/ 0 w 9"/>
                <a:gd name="T7" fmla="*/ 7 h 9"/>
                <a:gd name="T8" fmla="*/ 0 w 9"/>
                <a:gd name="T9" fmla="*/ 4 h 9"/>
                <a:gd name="T10" fmla="*/ 9 w 9"/>
                <a:gd name="T11" fmla="*/ 0 h 9"/>
              </a:gdLst>
              <a:ahLst/>
              <a:cxnLst>
                <a:cxn ang="0">
                  <a:pos x="T0" y="T1"/>
                </a:cxn>
                <a:cxn ang="0">
                  <a:pos x="T2" y="T3"/>
                </a:cxn>
                <a:cxn ang="0">
                  <a:pos x="T4" y="T5"/>
                </a:cxn>
                <a:cxn ang="0">
                  <a:pos x="T6" y="T7"/>
                </a:cxn>
                <a:cxn ang="0">
                  <a:pos x="T8" y="T9"/>
                </a:cxn>
                <a:cxn ang="0">
                  <a:pos x="T10" y="T11"/>
                </a:cxn>
              </a:cxnLst>
              <a:rect l="0" t="0" r="r" b="b"/>
              <a:pathLst>
                <a:path w="9" h="9">
                  <a:moveTo>
                    <a:pt x="9" y="0"/>
                  </a:moveTo>
                  <a:lnTo>
                    <a:pt x="9" y="1"/>
                  </a:lnTo>
                  <a:lnTo>
                    <a:pt x="6" y="9"/>
                  </a:lnTo>
                  <a:lnTo>
                    <a:pt x="0" y="7"/>
                  </a:lnTo>
                  <a:lnTo>
                    <a:pt x="0" y="4"/>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6" name="African Island">
              <a:extLst>
                <a:ext uri="{FF2B5EF4-FFF2-40B4-BE49-F238E27FC236}">
                  <a16:creationId xmlns:a16="http://schemas.microsoft.com/office/drawing/2014/main" id="{FFB7095E-4BFB-1B74-B7A6-CF438A5D4100}"/>
                </a:ext>
              </a:extLst>
            </p:cNvPr>
            <p:cNvSpPr>
              <a:spLocks/>
            </p:cNvSpPr>
            <p:nvPr/>
          </p:nvSpPr>
          <p:spPr bwMode="auto">
            <a:xfrm>
              <a:off x="5487924" y="3884460"/>
              <a:ext cx="14457" cy="19879"/>
            </a:xfrm>
            <a:custGeom>
              <a:avLst/>
              <a:gdLst>
                <a:gd name="T0" fmla="*/ 7 w 8"/>
                <a:gd name="T1" fmla="*/ 0 h 11"/>
                <a:gd name="T2" fmla="*/ 8 w 8"/>
                <a:gd name="T3" fmla="*/ 0 h 11"/>
                <a:gd name="T4" fmla="*/ 7 w 8"/>
                <a:gd name="T5" fmla="*/ 6 h 11"/>
                <a:gd name="T6" fmla="*/ 7 w 8"/>
                <a:gd name="T7" fmla="*/ 8 h 11"/>
                <a:gd name="T8" fmla="*/ 1 w 8"/>
                <a:gd name="T9" fmla="*/ 11 h 11"/>
                <a:gd name="T10" fmla="*/ 0 w 8"/>
                <a:gd name="T11" fmla="*/ 11 h 11"/>
                <a:gd name="T12" fmla="*/ 0 w 8"/>
                <a:gd name="T13" fmla="*/ 9 h 11"/>
                <a:gd name="T14" fmla="*/ 1 w 8"/>
                <a:gd name="T15" fmla="*/ 9 h 11"/>
                <a:gd name="T16" fmla="*/ 7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7" y="0"/>
                  </a:moveTo>
                  <a:lnTo>
                    <a:pt x="8" y="0"/>
                  </a:lnTo>
                  <a:lnTo>
                    <a:pt x="7" y="6"/>
                  </a:lnTo>
                  <a:lnTo>
                    <a:pt x="7" y="8"/>
                  </a:lnTo>
                  <a:lnTo>
                    <a:pt x="1" y="11"/>
                  </a:lnTo>
                  <a:lnTo>
                    <a:pt x="0" y="11"/>
                  </a:lnTo>
                  <a:lnTo>
                    <a:pt x="0" y="9"/>
                  </a:lnTo>
                  <a:lnTo>
                    <a:pt x="1" y="9"/>
                  </a:lnTo>
                  <a:lnTo>
                    <a:pt x="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7" name="African Island">
              <a:extLst>
                <a:ext uri="{FF2B5EF4-FFF2-40B4-BE49-F238E27FC236}">
                  <a16:creationId xmlns:a16="http://schemas.microsoft.com/office/drawing/2014/main" id="{6B5AE78E-9D3E-617A-F8F3-3B30EE2832EF}"/>
                </a:ext>
              </a:extLst>
            </p:cNvPr>
            <p:cNvSpPr>
              <a:spLocks/>
            </p:cNvSpPr>
            <p:nvPr/>
          </p:nvSpPr>
          <p:spPr bwMode="auto">
            <a:xfrm>
              <a:off x="5455397" y="3898916"/>
              <a:ext cx="12650" cy="12650"/>
            </a:xfrm>
            <a:custGeom>
              <a:avLst/>
              <a:gdLst>
                <a:gd name="T0" fmla="*/ 3 w 7"/>
                <a:gd name="T1" fmla="*/ 0 h 7"/>
                <a:gd name="T2" fmla="*/ 3 w 7"/>
                <a:gd name="T3" fmla="*/ 1 h 7"/>
                <a:gd name="T4" fmla="*/ 6 w 7"/>
                <a:gd name="T5" fmla="*/ 3 h 7"/>
                <a:gd name="T6" fmla="*/ 7 w 7"/>
                <a:gd name="T7" fmla="*/ 3 h 7"/>
                <a:gd name="T8" fmla="*/ 6 w 7"/>
                <a:gd name="T9" fmla="*/ 4 h 7"/>
                <a:gd name="T10" fmla="*/ 4 w 7"/>
                <a:gd name="T11" fmla="*/ 7 h 7"/>
                <a:gd name="T12" fmla="*/ 0 w 7"/>
                <a:gd name="T13" fmla="*/ 7 h 7"/>
                <a:gd name="T14" fmla="*/ 1 w 7"/>
                <a:gd name="T15" fmla="*/ 1 h 7"/>
                <a:gd name="T16" fmla="*/ 3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0"/>
                  </a:moveTo>
                  <a:lnTo>
                    <a:pt x="3" y="1"/>
                  </a:lnTo>
                  <a:lnTo>
                    <a:pt x="6" y="3"/>
                  </a:lnTo>
                  <a:lnTo>
                    <a:pt x="7" y="3"/>
                  </a:lnTo>
                  <a:lnTo>
                    <a:pt x="6" y="4"/>
                  </a:lnTo>
                  <a:lnTo>
                    <a:pt x="4" y="7"/>
                  </a:lnTo>
                  <a:lnTo>
                    <a:pt x="0" y="7"/>
                  </a:lnTo>
                  <a:lnTo>
                    <a:pt x="1" y="1"/>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8" name="African Island">
              <a:extLst>
                <a:ext uri="{FF2B5EF4-FFF2-40B4-BE49-F238E27FC236}">
                  <a16:creationId xmlns:a16="http://schemas.microsoft.com/office/drawing/2014/main" id="{9CB2A1FC-B6DB-8F15-81AF-6CF5173CAABC}"/>
                </a:ext>
              </a:extLst>
            </p:cNvPr>
            <p:cNvSpPr>
              <a:spLocks/>
            </p:cNvSpPr>
            <p:nvPr/>
          </p:nvSpPr>
          <p:spPr bwMode="auto">
            <a:xfrm>
              <a:off x="6024620" y="4498860"/>
              <a:ext cx="14457" cy="12650"/>
            </a:xfrm>
            <a:custGeom>
              <a:avLst/>
              <a:gdLst>
                <a:gd name="T0" fmla="*/ 2 w 8"/>
                <a:gd name="T1" fmla="*/ 0 h 7"/>
                <a:gd name="T2" fmla="*/ 3 w 8"/>
                <a:gd name="T3" fmla="*/ 0 h 7"/>
                <a:gd name="T4" fmla="*/ 8 w 8"/>
                <a:gd name="T5" fmla="*/ 1 h 7"/>
                <a:gd name="T6" fmla="*/ 8 w 8"/>
                <a:gd name="T7" fmla="*/ 3 h 7"/>
                <a:gd name="T8" fmla="*/ 6 w 8"/>
                <a:gd name="T9" fmla="*/ 7 h 7"/>
                <a:gd name="T10" fmla="*/ 0 w 8"/>
                <a:gd name="T11" fmla="*/ 7 h 7"/>
                <a:gd name="T12" fmla="*/ 2 w 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0"/>
                  </a:moveTo>
                  <a:lnTo>
                    <a:pt x="3" y="0"/>
                  </a:lnTo>
                  <a:lnTo>
                    <a:pt x="8" y="1"/>
                  </a:lnTo>
                  <a:lnTo>
                    <a:pt x="8" y="3"/>
                  </a:lnTo>
                  <a:lnTo>
                    <a:pt x="6" y="7"/>
                  </a:lnTo>
                  <a:lnTo>
                    <a:pt x="0" y="7"/>
                  </a:lnTo>
                  <a:lnTo>
                    <a:pt x="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9" name="African Island">
              <a:extLst>
                <a:ext uri="{FF2B5EF4-FFF2-40B4-BE49-F238E27FC236}">
                  <a16:creationId xmlns:a16="http://schemas.microsoft.com/office/drawing/2014/main" id="{716F96D3-BAA9-140A-C8AF-1C02510C8B08}"/>
                </a:ext>
              </a:extLst>
            </p:cNvPr>
            <p:cNvSpPr>
              <a:spLocks/>
            </p:cNvSpPr>
            <p:nvPr/>
          </p:nvSpPr>
          <p:spPr bwMode="auto">
            <a:xfrm>
              <a:off x="5977637" y="4576564"/>
              <a:ext cx="10843" cy="10843"/>
            </a:xfrm>
            <a:custGeom>
              <a:avLst/>
              <a:gdLst>
                <a:gd name="T0" fmla="*/ 3 w 6"/>
                <a:gd name="T1" fmla="*/ 0 h 6"/>
                <a:gd name="T2" fmla="*/ 6 w 6"/>
                <a:gd name="T3" fmla="*/ 3 h 6"/>
                <a:gd name="T4" fmla="*/ 3 w 6"/>
                <a:gd name="T5" fmla="*/ 6 h 6"/>
                <a:gd name="T6" fmla="*/ 1 w 6"/>
                <a:gd name="T7" fmla="*/ 6 h 6"/>
                <a:gd name="T8" fmla="*/ 0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6" y="3"/>
                  </a:lnTo>
                  <a:lnTo>
                    <a:pt x="3" y="6"/>
                  </a:lnTo>
                  <a:lnTo>
                    <a:pt x="1" y="6"/>
                  </a:lnTo>
                  <a:lnTo>
                    <a:pt x="0" y="3"/>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0" name="African Island">
              <a:extLst>
                <a:ext uri="{FF2B5EF4-FFF2-40B4-BE49-F238E27FC236}">
                  <a16:creationId xmlns:a16="http://schemas.microsoft.com/office/drawing/2014/main" id="{DEE37262-9BDB-3FB8-EC76-2201548AED64}"/>
                </a:ext>
              </a:extLst>
            </p:cNvPr>
            <p:cNvSpPr>
              <a:spLocks/>
            </p:cNvSpPr>
            <p:nvPr/>
          </p:nvSpPr>
          <p:spPr bwMode="auto">
            <a:xfrm>
              <a:off x="7177525" y="5066278"/>
              <a:ext cx="10843" cy="16264"/>
            </a:xfrm>
            <a:custGeom>
              <a:avLst/>
              <a:gdLst>
                <a:gd name="T0" fmla="*/ 1 w 6"/>
                <a:gd name="T1" fmla="*/ 0 h 9"/>
                <a:gd name="T2" fmla="*/ 6 w 6"/>
                <a:gd name="T3" fmla="*/ 0 h 9"/>
                <a:gd name="T4" fmla="*/ 6 w 6"/>
                <a:gd name="T5" fmla="*/ 7 h 9"/>
                <a:gd name="T6" fmla="*/ 1 w 6"/>
                <a:gd name="T7" fmla="*/ 9 h 9"/>
                <a:gd name="T8" fmla="*/ 0 w 6"/>
                <a:gd name="T9" fmla="*/ 9 h 9"/>
                <a:gd name="T10" fmla="*/ 0 w 6"/>
                <a:gd name="T11" fmla="*/ 7 h 9"/>
                <a:gd name="T12" fmla="*/ 1 w 6"/>
                <a:gd name="T13" fmla="*/ 1 h 9"/>
                <a:gd name="T14" fmla="*/ 1 w 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1" y="0"/>
                  </a:moveTo>
                  <a:lnTo>
                    <a:pt x="6" y="0"/>
                  </a:lnTo>
                  <a:lnTo>
                    <a:pt x="6" y="7"/>
                  </a:lnTo>
                  <a:lnTo>
                    <a:pt x="1" y="9"/>
                  </a:lnTo>
                  <a:lnTo>
                    <a:pt x="0" y="9"/>
                  </a:lnTo>
                  <a:lnTo>
                    <a:pt x="0" y="7"/>
                  </a:lnTo>
                  <a:lnTo>
                    <a:pt x="1" y="1"/>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1" name="African Island">
              <a:extLst>
                <a:ext uri="{FF2B5EF4-FFF2-40B4-BE49-F238E27FC236}">
                  <a16:creationId xmlns:a16="http://schemas.microsoft.com/office/drawing/2014/main" id="{42BF0DDA-345A-F4AA-317A-3BA46A511302}"/>
                </a:ext>
              </a:extLst>
            </p:cNvPr>
            <p:cNvSpPr>
              <a:spLocks/>
            </p:cNvSpPr>
            <p:nvPr/>
          </p:nvSpPr>
          <p:spPr bwMode="auto">
            <a:xfrm>
              <a:off x="6754673" y="4722936"/>
              <a:ext cx="10843" cy="19879"/>
            </a:xfrm>
            <a:custGeom>
              <a:avLst/>
              <a:gdLst>
                <a:gd name="T0" fmla="*/ 0 w 6"/>
                <a:gd name="T1" fmla="*/ 0 h 11"/>
                <a:gd name="T2" fmla="*/ 1 w 6"/>
                <a:gd name="T3" fmla="*/ 0 h 11"/>
                <a:gd name="T4" fmla="*/ 6 w 6"/>
                <a:gd name="T5" fmla="*/ 9 h 11"/>
                <a:gd name="T6" fmla="*/ 4 w 6"/>
                <a:gd name="T7" fmla="*/ 11 h 11"/>
                <a:gd name="T8" fmla="*/ 1 w 6"/>
                <a:gd name="T9" fmla="*/ 8 h 11"/>
                <a:gd name="T10" fmla="*/ 0 w 6"/>
                <a:gd name="T11" fmla="*/ 8 h 11"/>
                <a:gd name="T12" fmla="*/ 0 w 6"/>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0" y="0"/>
                  </a:moveTo>
                  <a:lnTo>
                    <a:pt x="1" y="0"/>
                  </a:lnTo>
                  <a:lnTo>
                    <a:pt x="6" y="9"/>
                  </a:lnTo>
                  <a:lnTo>
                    <a:pt x="4" y="11"/>
                  </a:lnTo>
                  <a:lnTo>
                    <a:pt x="1" y="8"/>
                  </a:lnTo>
                  <a:lnTo>
                    <a:pt x="0" y="8"/>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2" name="African Island">
              <a:extLst>
                <a:ext uri="{FF2B5EF4-FFF2-40B4-BE49-F238E27FC236}">
                  <a16:creationId xmlns:a16="http://schemas.microsoft.com/office/drawing/2014/main" id="{2F38796D-EAF4-A6ED-3CE6-3CCD613CFB89}"/>
                </a:ext>
              </a:extLst>
            </p:cNvPr>
            <p:cNvSpPr>
              <a:spLocks/>
            </p:cNvSpPr>
            <p:nvPr/>
          </p:nvSpPr>
          <p:spPr bwMode="auto">
            <a:xfrm>
              <a:off x="6765516" y="4701251"/>
              <a:ext cx="5422" cy="16264"/>
            </a:xfrm>
            <a:custGeom>
              <a:avLst/>
              <a:gdLst>
                <a:gd name="T0" fmla="*/ 0 w 3"/>
                <a:gd name="T1" fmla="*/ 0 h 9"/>
                <a:gd name="T2" fmla="*/ 1 w 3"/>
                <a:gd name="T3" fmla="*/ 0 h 9"/>
                <a:gd name="T4" fmla="*/ 3 w 3"/>
                <a:gd name="T5" fmla="*/ 3 h 9"/>
                <a:gd name="T6" fmla="*/ 3 w 3"/>
                <a:gd name="T7" fmla="*/ 9 h 9"/>
                <a:gd name="T8" fmla="*/ 1 w 3"/>
                <a:gd name="T9" fmla="*/ 9 h 9"/>
                <a:gd name="T10" fmla="*/ 1 w 3"/>
                <a:gd name="T11" fmla="*/ 8 h 9"/>
                <a:gd name="T12" fmla="*/ 0 w 3"/>
                <a:gd name="T13" fmla="*/ 2 h 9"/>
                <a:gd name="T14" fmla="*/ 0 w 3"/>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9">
                  <a:moveTo>
                    <a:pt x="0" y="0"/>
                  </a:moveTo>
                  <a:lnTo>
                    <a:pt x="1" y="0"/>
                  </a:lnTo>
                  <a:lnTo>
                    <a:pt x="3" y="3"/>
                  </a:lnTo>
                  <a:lnTo>
                    <a:pt x="3" y="9"/>
                  </a:lnTo>
                  <a:lnTo>
                    <a:pt x="1" y="9"/>
                  </a:lnTo>
                  <a:lnTo>
                    <a:pt x="1" y="8"/>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3" name="African Island">
              <a:extLst>
                <a:ext uri="{FF2B5EF4-FFF2-40B4-BE49-F238E27FC236}">
                  <a16:creationId xmlns:a16="http://schemas.microsoft.com/office/drawing/2014/main" id="{1FD6355B-8850-1C05-DF5F-DCE1E6B05F75}"/>
                </a:ext>
              </a:extLst>
            </p:cNvPr>
            <p:cNvSpPr>
              <a:spLocks/>
            </p:cNvSpPr>
            <p:nvPr/>
          </p:nvSpPr>
          <p:spPr bwMode="auto">
            <a:xfrm>
              <a:off x="6845026" y="4854852"/>
              <a:ext cx="9036" cy="16264"/>
            </a:xfrm>
            <a:custGeom>
              <a:avLst/>
              <a:gdLst>
                <a:gd name="T0" fmla="*/ 3 w 5"/>
                <a:gd name="T1" fmla="*/ 0 h 9"/>
                <a:gd name="T2" fmla="*/ 5 w 5"/>
                <a:gd name="T3" fmla="*/ 0 h 9"/>
                <a:gd name="T4" fmla="*/ 5 w 5"/>
                <a:gd name="T5" fmla="*/ 9 h 9"/>
                <a:gd name="T6" fmla="*/ 3 w 5"/>
                <a:gd name="T7" fmla="*/ 9 h 9"/>
                <a:gd name="T8" fmla="*/ 2 w 5"/>
                <a:gd name="T9" fmla="*/ 6 h 9"/>
                <a:gd name="T10" fmla="*/ 0 w 5"/>
                <a:gd name="T11" fmla="*/ 6 h 9"/>
                <a:gd name="T12" fmla="*/ 0 w 5"/>
                <a:gd name="T13" fmla="*/ 4 h 9"/>
                <a:gd name="T14" fmla="*/ 3 w 5"/>
                <a:gd name="T15" fmla="*/ 1 h 9"/>
                <a:gd name="T16" fmla="*/ 3 w 5"/>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3" y="0"/>
                  </a:moveTo>
                  <a:lnTo>
                    <a:pt x="5" y="0"/>
                  </a:lnTo>
                  <a:lnTo>
                    <a:pt x="5" y="9"/>
                  </a:lnTo>
                  <a:lnTo>
                    <a:pt x="3" y="9"/>
                  </a:lnTo>
                  <a:lnTo>
                    <a:pt x="2" y="6"/>
                  </a:lnTo>
                  <a:lnTo>
                    <a:pt x="0" y="6"/>
                  </a:lnTo>
                  <a:lnTo>
                    <a:pt x="0" y="4"/>
                  </a:lnTo>
                  <a:lnTo>
                    <a:pt x="3" y="1"/>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4" name="African Island">
              <a:extLst>
                <a:ext uri="{FF2B5EF4-FFF2-40B4-BE49-F238E27FC236}">
                  <a16:creationId xmlns:a16="http://schemas.microsoft.com/office/drawing/2014/main" id="{4A049F8C-24D0-C065-9041-9BC8C504002A}"/>
                </a:ext>
              </a:extLst>
            </p:cNvPr>
            <p:cNvSpPr>
              <a:spLocks/>
            </p:cNvSpPr>
            <p:nvPr/>
          </p:nvSpPr>
          <p:spPr bwMode="auto">
            <a:xfrm>
              <a:off x="6868519" y="4872923"/>
              <a:ext cx="10843" cy="10843"/>
            </a:xfrm>
            <a:custGeom>
              <a:avLst/>
              <a:gdLst>
                <a:gd name="T0" fmla="*/ 5 w 6"/>
                <a:gd name="T1" fmla="*/ 0 h 6"/>
                <a:gd name="T2" fmla="*/ 6 w 6"/>
                <a:gd name="T3" fmla="*/ 0 h 6"/>
                <a:gd name="T4" fmla="*/ 6 w 6"/>
                <a:gd name="T5" fmla="*/ 5 h 6"/>
                <a:gd name="T6" fmla="*/ 5 w 6"/>
                <a:gd name="T7" fmla="*/ 6 h 6"/>
                <a:gd name="T8" fmla="*/ 2 w 6"/>
                <a:gd name="T9" fmla="*/ 3 h 6"/>
                <a:gd name="T10" fmla="*/ 0 w 6"/>
                <a:gd name="T11" fmla="*/ 3 h 6"/>
                <a:gd name="T12" fmla="*/ 0 w 6"/>
                <a:gd name="T13" fmla="*/ 2 h 6"/>
                <a:gd name="T14" fmla="*/ 2 w 6"/>
                <a:gd name="T15" fmla="*/ 2 h 6"/>
                <a:gd name="T16" fmla="*/ 5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5" y="0"/>
                  </a:moveTo>
                  <a:lnTo>
                    <a:pt x="6" y="0"/>
                  </a:lnTo>
                  <a:lnTo>
                    <a:pt x="6" y="5"/>
                  </a:lnTo>
                  <a:lnTo>
                    <a:pt x="5" y="6"/>
                  </a:lnTo>
                  <a:lnTo>
                    <a:pt x="2" y="3"/>
                  </a:lnTo>
                  <a:lnTo>
                    <a:pt x="0" y="3"/>
                  </a:lnTo>
                  <a:lnTo>
                    <a:pt x="0" y="2"/>
                  </a:lnTo>
                  <a:lnTo>
                    <a:pt x="2" y="2"/>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5" name="African Island">
              <a:extLst>
                <a:ext uri="{FF2B5EF4-FFF2-40B4-BE49-F238E27FC236}">
                  <a16:creationId xmlns:a16="http://schemas.microsoft.com/office/drawing/2014/main" id="{FE0CFC54-F05E-DC79-4914-6217AAFCB49B}"/>
                </a:ext>
              </a:extLst>
            </p:cNvPr>
            <p:cNvSpPr>
              <a:spLocks/>
            </p:cNvSpPr>
            <p:nvPr/>
          </p:nvSpPr>
          <p:spPr bwMode="auto">
            <a:xfrm>
              <a:off x="6890204" y="4887379"/>
              <a:ext cx="5422" cy="10843"/>
            </a:xfrm>
            <a:custGeom>
              <a:avLst/>
              <a:gdLst>
                <a:gd name="T0" fmla="*/ 0 w 3"/>
                <a:gd name="T1" fmla="*/ 0 h 6"/>
                <a:gd name="T2" fmla="*/ 3 w 3"/>
                <a:gd name="T3" fmla="*/ 1 h 6"/>
                <a:gd name="T4" fmla="*/ 3 w 3"/>
                <a:gd name="T5" fmla="*/ 3 h 6"/>
                <a:gd name="T6" fmla="*/ 2 w 3"/>
                <a:gd name="T7" fmla="*/ 4 h 6"/>
                <a:gd name="T8" fmla="*/ 2 w 3"/>
                <a:gd name="T9" fmla="*/ 6 h 6"/>
                <a:gd name="T10" fmla="*/ 0 w 3"/>
                <a:gd name="T11" fmla="*/ 6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1"/>
                  </a:lnTo>
                  <a:lnTo>
                    <a:pt x="3" y="3"/>
                  </a:lnTo>
                  <a:lnTo>
                    <a:pt x="2" y="4"/>
                  </a:lnTo>
                  <a:lnTo>
                    <a:pt x="2" y="6"/>
                  </a:lnTo>
                  <a:lnTo>
                    <a:pt x="0" y="6"/>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6" name="African Island">
              <a:extLst>
                <a:ext uri="{FF2B5EF4-FFF2-40B4-BE49-F238E27FC236}">
                  <a16:creationId xmlns:a16="http://schemas.microsoft.com/office/drawing/2014/main" id="{A5E4B2A0-11E7-A9F0-AFF5-0AC22E354842}"/>
                </a:ext>
              </a:extLst>
            </p:cNvPr>
            <p:cNvSpPr>
              <a:spLocks/>
            </p:cNvSpPr>
            <p:nvPr/>
          </p:nvSpPr>
          <p:spPr bwMode="auto">
            <a:xfrm>
              <a:off x="7126928" y="5089770"/>
              <a:ext cx="16264" cy="14457"/>
            </a:xfrm>
            <a:custGeom>
              <a:avLst/>
              <a:gdLst>
                <a:gd name="T0" fmla="*/ 1 w 9"/>
                <a:gd name="T1" fmla="*/ 0 h 8"/>
                <a:gd name="T2" fmla="*/ 7 w 9"/>
                <a:gd name="T3" fmla="*/ 0 h 8"/>
                <a:gd name="T4" fmla="*/ 7 w 9"/>
                <a:gd name="T5" fmla="*/ 2 h 8"/>
                <a:gd name="T6" fmla="*/ 9 w 9"/>
                <a:gd name="T7" fmla="*/ 6 h 8"/>
                <a:gd name="T8" fmla="*/ 9 w 9"/>
                <a:gd name="T9" fmla="*/ 8 h 8"/>
                <a:gd name="T10" fmla="*/ 7 w 9"/>
                <a:gd name="T11" fmla="*/ 8 h 8"/>
                <a:gd name="T12" fmla="*/ 4 w 9"/>
                <a:gd name="T13" fmla="*/ 6 h 8"/>
                <a:gd name="T14" fmla="*/ 3 w 9"/>
                <a:gd name="T15" fmla="*/ 6 h 8"/>
                <a:gd name="T16" fmla="*/ 0 w 9"/>
                <a:gd name="T17" fmla="*/ 2 h 8"/>
                <a:gd name="T18" fmla="*/ 1 w 9"/>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1" y="0"/>
                  </a:moveTo>
                  <a:lnTo>
                    <a:pt x="7" y="0"/>
                  </a:lnTo>
                  <a:lnTo>
                    <a:pt x="7" y="2"/>
                  </a:lnTo>
                  <a:lnTo>
                    <a:pt x="9" y="6"/>
                  </a:lnTo>
                  <a:lnTo>
                    <a:pt x="9" y="8"/>
                  </a:lnTo>
                  <a:lnTo>
                    <a:pt x="7" y="8"/>
                  </a:lnTo>
                  <a:lnTo>
                    <a:pt x="4" y="6"/>
                  </a:lnTo>
                  <a:lnTo>
                    <a:pt x="3" y="6"/>
                  </a:lnTo>
                  <a:lnTo>
                    <a:pt x="0" y="2"/>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7" name="Zimbabwe">
              <a:extLst>
                <a:ext uri="{FF2B5EF4-FFF2-40B4-BE49-F238E27FC236}">
                  <a16:creationId xmlns:a16="http://schemas.microsoft.com/office/drawing/2014/main" id="{E6B9AE21-FCFE-63DD-8A25-049FF62B7022}"/>
                </a:ext>
              </a:extLst>
            </p:cNvPr>
            <p:cNvSpPr>
              <a:spLocks/>
            </p:cNvSpPr>
            <p:nvPr/>
          </p:nvSpPr>
          <p:spPr bwMode="auto">
            <a:xfrm>
              <a:off x="6418560" y="4956048"/>
              <a:ext cx="187935" cy="178900"/>
            </a:xfrm>
            <a:custGeom>
              <a:avLst/>
              <a:gdLst>
                <a:gd name="T0" fmla="*/ 61 w 104"/>
                <a:gd name="T1" fmla="*/ 0 h 99"/>
                <a:gd name="T2" fmla="*/ 69 w 104"/>
                <a:gd name="T3" fmla="*/ 2 h 99"/>
                <a:gd name="T4" fmla="*/ 69 w 104"/>
                <a:gd name="T5" fmla="*/ 5 h 99"/>
                <a:gd name="T6" fmla="*/ 82 w 104"/>
                <a:gd name="T7" fmla="*/ 6 h 99"/>
                <a:gd name="T8" fmla="*/ 100 w 104"/>
                <a:gd name="T9" fmla="*/ 14 h 99"/>
                <a:gd name="T10" fmla="*/ 104 w 104"/>
                <a:gd name="T11" fmla="*/ 27 h 99"/>
                <a:gd name="T12" fmla="*/ 104 w 104"/>
                <a:gd name="T13" fmla="*/ 37 h 99"/>
                <a:gd name="T14" fmla="*/ 100 w 104"/>
                <a:gd name="T15" fmla="*/ 48 h 99"/>
                <a:gd name="T16" fmla="*/ 103 w 104"/>
                <a:gd name="T17" fmla="*/ 61 h 99"/>
                <a:gd name="T18" fmla="*/ 92 w 104"/>
                <a:gd name="T19" fmla="*/ 86 h 99"/>
                <a:gd name="T20" fmla="*/ 86 w 104"/>
                <a:gd name="T21" fmla="*/ 92 h 99"/>
                <a:gd name="T22" fmla="*/ 85 w 104"/>
                <a:gd name="T23" fmla="*/ 98 h 99"/>
                <a:gd name="T24" fmla="*/ 85 w 104"/>
                <a:gd name="T25" fmla="*/ 99 h 99"/>
                <a:gd name="T26" fmla="*/ 83 w 104"/>
                <a:gd name="T27" fmla="*/ 98 h 99"/>
                <a:gd name="T28" fmla="*/ 74 w 104"/>
                <a:gd name="T29" fmla="*/ 92 h 99"/>
                <a:gd name="T30" fmla="*/ 55 w 104"/>
                <a:gd name="T31" fmla="*/ 92 h 99"/>
                <a:gd name="T32" fmla="*/ 36 w 104"/>
                <a:gd name="T33" fmla="*/ 83 h 99"/>
                <a:gd name="T34" fmla="*/ 36 w 104"/>
                <a:gd name="T35" fmla="*/ 82 h 99"/>
                <a:gd name="T36" fmla="*/ 34 w 104"/>
                <a:gd name="T37" fmla="*/ 71 h 99"/>
                <a:gd name="T38" fmla="*/ 12 w 104"/>
                <a:gd name="T39" fmla="*/ 54 h 99"/>
                <a:gd name="T40" fmla="*/ 0 w 104"/>
                <a:gd name="T41" fmla="*/ 31 h 99"/>
                <a:gd name="T42" fmla="*/ 0 w 104"/>
                <a:gd name="T43" fmla="*/ 30 h 99"/>
                <a:gd name="T44" fmla="*/ 3 w 104"/>
                <a:gd name="T45" fmla="*/ 30 h 99"/>
                <a:gd name="T46" fmla="*/ 8 w 104"/>
                <a:gd name="T47" fmla="*/ 31 h 99"/>
                <a:gd name="T48" fmla="*/ 15 w 104"/>
                <a:gd name="T49" fmla="*/ 31 h 99"/>
                <a:gd name="T50" fmla="*/ 20 w 104"/>
                <a:gd name="T51" fmla="*/ 33 h 99"/>
                <a:gd name="T52" fmla="*/ 23 w 104"/>
                <a:gd name="T53" fmla="*/ 33 h 99"/>
                <a:gd name="T54" fmla="*/ 34 w 104"/>
                <a:gd name="T55" fmla="*/ 19 h 99"/>
                <a:gd name="T56" fmla="*/ 45 w 104"/>
                <a:gd name="T57" fmla="*/ 15 h 99"/>
                <a:gd name="T58" fmla="*/ 46 w 104"/>
                <a:gd name="T59" fmla="*/ 6 h 99"/>
                <a:gd name="T60" fmla="*/ 48 w 104"/>
                <a:gd name="T61" fmla="*/ 5 h 99"/>
                <a:gd name="T62" fmla="*/ 61 w 104"/>
                <a:gd name="T6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99">
                  <a:moveTo>
                    <a:pt x="61" y="0"/>
                  </a:moveTo>
                  <a:lnTo>
                    <a:pt x="69" y="2"/>
                  </a:lnTo>
                  <a:lnTo>
                    <a:pt x="69" y="5"/>
                  </a:lnTo>
                  <a:lnTo>
                    <a:pt x="82" y="6"/>
                  </a:lnTo>
                  <a:lnTo>
                    <a:pt x="100" y="14"/>
                  </a:lnTo>
                  <a:lnTo>
                    <a:pt x="104" y="27"/>
                  </a:lnTo>
                  <a:lnTo>
                    <a:pt x="104" y="37"/>
                  </a:lnTo>
                  <a:lnTo>
                    <a:pt x="100" y="48"/>
                  </a:lnTo>
                  <a:lnTo>
                    <a:pt x="103" y="61"/>
                  </a:lnTo>
                  <a:lnTo>
                    <a:pt x="92" y="86"/>
                  </a:lnTo>
                  <a:lnTo>
                    <a:pt x="86" y="92"/>
                  </a:lnTo>
                  <a:lnTo>
                    <a:pt x="85" y="98"/>
                  </a:lnTo>
                  <a:lnTo>
                    <a:pt x="85" y="99"/>
                  </a:lnTo>
                  <a:lnTo>
                    <a:pt x="83" y="98"/>
                  </a:lnTo>
                  <a:lnTo>
                    <a:pt x="74" y="92"/>
                  </a:lnTo>
                  <a:lnTo>
                    <a:pt x="55" y="92"/>
                  </a:lnTo>
                  <a:lnTo>
                    <a:pt x="36" y="83"/>
                  </a:lnTo>
                  <a:lnTo>
                    <a:pt x="36" y="82"/>
                  </a:lnTo>
                  <a:lnTo>
                    <a:pt x="34" y="71"/>
                  </a:lnTo>
                  <a:lnTo>
                    <a:pt x="12" y="54"/>
                  </a:lnTo>
                  <a:lnTo>
                    <a:pt x="0" y="31"/>
                  </a:lnTo>
                  <a:lnTo>
                    <a:pt x="0" y="30"/>
                  </a:lnTo>
                  <a:lnTo>
                    <a:pt x="3" y="30"/>
                  </a:lnTo>
                  <a:lnTo>
                    <a:pt x="8" y="31"/>
                  </a:lnTo>
                  <a:lnTo>
                    <a:pt x="15" y="31"/>
                  </a:lnTo>
                  <a:lnTo>
                    <a:pt x="20" y="33"/>
                  </a:lnTo>
                  <a:lnTo>
                    <a:pt x="23" y="33"/>
                  </a:lnTo>
                  <a:lnTo>
                    <a:pt x="34" y="19"/>
                  </a:lnTo>
                  <a:lnTo>
                    <a:pt x="45" y="15"/>
                  </a:lnTo>
                  <a:lnTo>
                    <a:pt x="46" y="6"/>
                  </a:lnTo>
                  <a:lnTo>
                    <a:pt x="48" y="5"/>
                  </a:lnTo>
                  <a:lnTo>
                    <a:pt x="6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8" name="Zambia">
              <a:extLst>
                <a:ext uri="{FF2B5EF4-FFF2-40B4-BE49-F238E27FC236}">
                  <a16:creationId xmlns:a16="http://schemas.microsoft.com/office/drawing/2014/main" id="{872AE8BB-EE7F-3BD5-520D-D6BB71447646}"/>
                </a:ext>
              </a:extLst>
            </p:cNvPr>
            <p:cNvSpPr>
              <a:spLocks/>
            </p:cNvSpPr>
            <p:nvPr/>
          </p:nvSpPr>
          <p:spPr bwMode="auto">
            <a:xfrm>
              <a:off x="6344472" y="4778956"/>
              <a:ext cx="278287" cy="238533"/>
            </a:xfrm>
            <a:custGeom>
              <a:avLst/>
              <a:gdLst>
                <a:gd name="T0" fmla="*/ 114 w 154"/>
                <a:gd name="T1" fmla="*/ 0 h 132"/>
                <a:gd name="T2" fmla="*/ 118 w 154"/>
                <a:gd name="T3" fmla="*/ 8 h 132"/>
                <a:gd name="T4" fmla="*/ 145 w 154"/>
                <a:gd name="T5" fmla="*/ 17 h 132"/>
                <a:gd name="T6" fmla="*/ 154 w 154"/>
                <a:gd name="T7" fmla="*/ 33 h 132"/>
                <a:gd name="T8" fmla="*/ 151 w 154"/>
                <a:gd name="T9" fmla="*/ 37 h 132"/>
                <a:gd name="T10" fmla="*/ 150 w 154"/>
                <a:gd name="T11" fmla="*/ 54 h 132"/>
                <a:gd name="T12" fmla="*/ 151 w 154"/>
                <a:gd name="T13" fmla="*/ 58 h 132"/>
                <a:gd name="T14" fmla="*/ 142 w 154"/>
                <a:gd name="T15" fmla="*/ 73 h 132"/>
                <a:gd name="T16" fmla="*/ 107 w 154"/>
                <a:gd name="T17" fmla="*/ 94 h 132"/>
                <a:gd name="T18" fmla="*/ 110 w 154"/>
                <a:gd name="T19" fmla="*/ 101 h 132"/>
                <a:gd name="T20" fmla="*/ 105 w 154"/>
                <a:gd name="T21" fmla="*/ 100 h 132"/>
                <a:gd name="T22" fmla="*/ 89 w 154"/>
                <a:gd name="T23" fmla="*/ 104 h 132"/>
                <a:gd name="T24" fmla="*/ 77 w 154"/>
                <a:gd name="T25" fmla="*/ 119 h 132"/>
                <a:gd name="T26" fmla="*/ 64 w 154"/>
                <a:gd name="T27" fmla="*/ 132 h 132"/>
                <a:gd name="T28" fmla="*/ 37 w 154"/>
                <a:gd name="T29" fmla="*/ 126 h 132"/>
                <a:gd name="T30" fmla="*/ 27 w 154"/>
                <a:gd name="T31" fmla="*/ 125 h 132"/>
                <a:gd name="T32" fmla="*/ 21 w 154"/>
                <a:gd name="T33" fmla="*/ 126 h 132"/>
                <a:gd name="T34" fmla="*/ 16 w 154"/>
                <a:gd name="T35" fmla="*/ 128 h 132"/>
                <a:gd name="T36" fmla="*/ 0 w 154"/>
                <a:gd name="T37" fmla="*/ 64 h 132"/>
                <a:gd name="T38" fmla="*/ 25 w 154"/>
                <a:gd name="T39" fmla="*/ 63 h 132"/>
                <a:gd name="T40" fmla="*/ 30 w 154"/>
                <a:gd name="T41" fmla="*/ 36 h 132"/>
                <a:gd name="T42" fmla="*/ 31 w 154"/>
                <a:gd name="T43" fmla="*/ 36 h 132"/>
                <a:gd name="T44" fmla="*/ 43 w 154"/>
                <a:gd name="T45" fmla="*/ 39 h 132"/>
                <a:gd name="T46" fmla="*/ 58 w 154"/>
                <a:gd name="T47" fmla="*/ 49 h 132"/>
                <a:gd name="T48" fmla="*/ 61 w 154"/>
                <a:gd name="T49" fmla="*/ 48 h 132"/>
                <a:gd name="T50" fmla="*/ 65 w 154"/>
                <a:gd name="T51" fmla="*/ 46 h 132"/>
                <a:gd name="T52" fmla="*/ 68 w 154"/>
                <a:gd name="T53" fmla="*/ 48 h 132"/>
                <a:gd name="T54" fmla="*/ 80 w 154"/>
                <a:gd name="T55" fmla="*/ 54 h 132"/>
                <a:gd name="T56" fmla="*/ 102 w 154"/>
                <a:gd name="T57" fmla="*/ 69 h 132"/>
                <a:gd name="T58" fmla="*/ 92 w 154"/>
                <a:gd name="T59" fmla="*/ 55 h 132"/>
                <a:gd name="T60" fmla="*/ 90 w 154"/>
                <a:gd name="T61" fmla="*/ 30 h 132"/>
                <a:gd name="T62" fmla="*/ 95 w 154"/>
                <a:gd name="T63" fmla="*/ 5 h 132"/>
                <a:gd name="T64" fmla="*/ 98 w 154"/>
                <a:gd name="T65" fmla="*/ 3 h 132"/>
                <a:gd name="T66" fmla="*/ 105 w 154"/>
                <a:gd name="T67"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32">
                  <a:moveTo>
                    <a:pt x="110" y="0"/>
                  </a:moveTo>
                  <a:lnTo>
                    <a:pt x="114" y="0"/>
                  </a:lnTo>
                  <a:lnTo>
                    <a:pt x="114" y="6"/>
                  </a:lnTo>
                  <a:lnTo>
                    <a:pt x="118" y="8"/>
                  </a:lnTo>
                  <a:lnTo>
                    <a:pt x="120" y="6"/>
                  </a:lnTo>
                  <a:lnTo>
                    <a:pt x="145" y="17"/>
                  </a:lnTo>
                  <a:lnTo>
                    <a:pt x="147" y="17"/>
                  </a:lnTo>
                  <a:lnTo>
                    <a:pt x="154" y="33"/>
                  </a:lnTo>
                  <a:lnTo>
                    <a:pt x="154" y="34"/>
                  </a:lnTo>
                  <a:lnTo>
                    <a:pt x="151" y="37"/>
                  </a:lnTo>
                  <a:lnTo>
                    <a:pt x="150" y="46"/>
                  </a:lnTo>
                  <a:lnTo>
                    <a:pt x="150" y="54"/>
                  </a:lnTo>
                  <a:lnTo>
                    <a:pt x="151" y="57"/>
                  </a:lnTo>
                  <a:lnTo>
                    <a:pt x="151" y="58"/>
                  </a:lnTo>
                  <a:lnTo>
                    <a:pt x="147" y="61"/>
                  </a:lnTo>
                  <a:lnTo>
                    <a:pt x="142" y="73"/>
                  </a:lnTo>
                  <a:lnTo>
                    <a:pt x="147" y="79"/>
                  </a:lnTo>
                  <a:lnTo>
                    <a:pt x="107" y="94"/>
                  </a:lnTo>
                  <a:lnTo>
                    <a:pt x="110" y="100"/>
                  </a:lnTo>
                  <a:lnTo>
                    <a:pt x="110" y="101"/>
                  </a:lnTo>
                  <a:lnTo>
                    <a:pt x="107" y="101"/>
                  </a:lnTo>
                  <a:lnTo>
                    <a:pt x="105" y="100"/>
                  </a:lnTo>
                  <a:lnTo>
                    <a:pt x="102" y="100"/>
                  </a:lnTo>
                  <a:lnTo>
                    <a:pt x="89" y="104"/>
                  </a:lnTo>
                  <a:lnTo>
                    <a:pt x="87" y="114"/>
                  </a:lnTo>
                  <a:lnTo>
                    <a:pt x="77" y="119"/>
                  </a:lnTo>
                  <a:lnTo>
                    <a:pt x="65" y="132"/>
                  </a:lnTo>
                  <a:lnTo>
                    <a:pt x="64" y="132"/>
                  </a:lnTo>
                  <a:lnTo>
                    <a:pt x="41" y="129"/>
                  </a:lnTo>
                  <a:lnTo>
                    <a:pt x="37" y="126"/>
                  </a:lnTo>
                  <a:lnTo>
                    <a:pt x="28" y="125"/>
                  </a:lnTo>
                  <a:lnTo>
                    <a:pt x="27" y="125"/>
                  </a:lnTo>
                  <a:lnTo>
                    <a:pt x="25" y="126"/>
                  </a:lnTo>
                  <a:lnTo>
                    <a:pt x="21" y="126"/>
                  </a:lnTo>
                  <a:lnTo>
                    <a:pt x="18" y="128"/>
                  </a:lnTo>
                  <a:lnTo>
                    <a:pt x="16" y="128"/>
                  </a:lnTo>
                  <a:lnTo>
                    <a:pt x="0" y="113"/>
                  </a:lnTo>
                  <a:lnTo>
                    <a:pt x="0" y="64"/>
                  </a:lnTo>
                  <a:lnTo>
                    <a:pt x="27" y="64"/>
                  </a:lnTo>
                  <a:lnTo>
                    <a:pt x="25" y="63"/>
                  </a:lnTo>
                  <a:lnTo>
                    <a:pt x="27" y="36"/>
                  </a:lnTo>
                  <a:lnTo>
                    <a:pt x="30" y="36"/>
                  </a:lnTo>
                  <a:lnTo>
                    <a:pt x="31" y="34"/>
                  </a:lnTo>
                  <a:lnTo>
                    <a:pt x="31" y="36"/>
                  </a:lnTo>
                  <a:lnTo>
                    <a:pt x="34" y="42"/>
                  </a:lnTo>
                  <a:lnTo>
                    <a:pt x="43" y="39"/>
                  </a:lnTo>
                  <a:lnTo>
                    <a:pt x="47" y="43"/>
                  </a:lnTo>
                  <a:lnTo>
                    <a:pt x="58" y="49"/>
                  </a:lnTo>
                  <a:lnTo>
                    <a:pt x="59" y="49"/>
                  </a:lnTo>
                  <a:lnTo>
                    <a:pt x="61" y="48"/>
                  </a:lnTo>
                  <a:lnTo>
                    <a:pt x="64" y="48"/>
                  </a:lnTo>
                  <a:lnTo>
                    <a:pt x="65" y="46"/>
                  </a:lnTo>
                  <a:lnTo>
                    <a:pt x="68" y="46"/>
                  </a:lnTo>
                  <a:lnTo>
                    <a:pt x="68" y="48"/>
                  </a:lnTo>
                  <a:lnTo>
                    <a:pt x="73" y="52"/>
                  </a:lnTo>
                  <a:lnTo>
                    <a:pt x="80" y="54"/>
                  </a:lnTo>
                  <a:lnTo>
                    <a:pt x="92" y="66"/>
                  </a:lnTo>
                  <a:lnTo>
                    <a:pt x="102" y="69"/>
                  </a:lnTo>
                  <a:lnTo>
                    <a:pt x="101" y="55"/>
                  </a:lnTo>
                  <a:lnTo>
                    <a:pt x="92" y="55"/>
                  </a:lnTo>
                  <a:lnTo>
                    <a:pt x="86" y="48"/>
                  </a:lnTo>
                  <a:lnTo>
                    <a:pt x="90" y="30"/>
                  </a:lnTo>
                  <a:lnTo>
                    <a:pt x="89" y="14"/>
                  </a:lnTo>
                  <a:lnTo>
                    <a:pt x="95" y="5"/>
                  </a:lnTo>
                  <a:lnTo>
                    <a:pt x="95" y="3"/>
                  </a:lnTo>
                  <a:lnTo>
                    <a:pt x="98" y="3"/>
                  </a:lnTo>
                  <a:lnTo>
                    <a:pt x="102" y="2"/>
                  </a:lnTo>
                  <a:lnTo>
                    <a:pt x="105" y="2"/>
                  </a:lnTo>
                  <a:lnTo>
                    <a:pt x="1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9" name="Western Sahara">
              <a:extLst>
                <a:ext uri="{FF2B5EF4-FFF2-40B4-BE49-F238E27FC236}">
                  <a16:creationId xmlns:a16="http://schemas.microsoft.com/office/drawing/2014/main" id="{ECF6A3E9-7435-32FB-7D06-01A20CBA4FA6}"/>
                </a:ext>
              </a:extLst>
            </p:cNvPr>
            <p:cNvSpPr>
              <a:spLocks/>
            </p:cNvSpPr>
            <p:nvPr/>
          </p:nvSpPr>
          <p:spPr bwMode="auto">
            <a:xfrm>
              <a:off x="5428290" y="3907952"/>
              <a:ext cx="198776" cy="177092"/>
            </a:xfrm>
            <a:custGeom>
              <a:avLst/>
              <a:gdLst>
                <a:gd name="T0" fmla="*/ 52 w 110"/>
                <a:gd name="T1" fmla="*/ 0 h 98"/>
                <a:gd name="T2" fmla="*/ 110 w 110"/>
                <a:gd name="T3" fmla="*/ 0 h 98"/>
                <a:gd name="T4" fmla="*/ 110 w 110"/>
                <a:gd name="T5" fmla="*/ 8 h 98"/>
                <a:gd name="T6" fmla="*/ 108 w 110"/>
                <a:gd name="T7" fmla="*/ 27 h 98"/>
                <a:gd name="T8" fmla="*/ 68 w 110"/>
                <a:gd name="T9" fmla="*/ 27 h 98"/>
                <a:gd name="T10" fmla="*/ 67 w 110"/>
                <a:gd name="T11" fmla="*/ 63 h 98"/>
                <a:gd name="T12" fmla="*/ 55 w 110"/>
                <a:gd name="T13" fmla="*/ 66 h 98"/>
                <a:gd name="T14" fmla="*/ 52 w 110"/>
                <a:gd name="T15" fmla="*/ 72 h 98"/>
                <a:gd name="T16" fmla="*/ 53 w 110"/>
                <a:gd name="T17" fmla="*/ 91 h 98"/>
                <a:gd name="T18" fmla="*/ 53 w 110"/>
                <a:gd name="T19" fmla="*/ 92 h 98"/>
                <a:gd name="T20" fmla="*/ 4 w 110"/>
                <a:gd name="T21" fmla="*/ 92 h 98"/>
                <a:gd name="T22" fmla="*/ 1 w 110"/>
                <a:gd name="T23" fmla="*/ 98 h 98"/>
                <a:gd name="T24" fmla="*/ 0 w 110"/>
                <a:gd name="T25" fmla="*/ 98 h 98"/>
                <a:gd name="T26" fmla="*/ 0 w 110"/>
                <a:gd name="T27" fmla="*/ 97 h 98"/>
                <a:gd name="T28" fmla="*/ 3 w 110"/>
                <a:gd name="T29" fmla="*/ 81 h 98"/>
                <a:gd name="T30" fmla="*/ 3 w 110"/>
                <a:gd name="T31" fmla="*/ 79 h 98"/>
                <a:gd name="T32" fmla="*/ 6 w 110"/>
                <a:gd name="T33" fmla="*/ 78 h 98"/>
                <a:gd name="T34" fmla="*/ 16 w 110"/>
                <a:gd name="T35" fmla="*/ 55 h 98"/>
                <a:gd name="T36" fmla="*/ 28 w 110"/>
                <a:gd name="T37" fmla="*/ 40 h 98"/>
                <a:gd name="T38" fmla="*/ 33 w 110"/>
                <a:gd name="T39" fmla="*/ 26 h 98"/>
                <a:gd name="T40" fmla="*/ 46 w 110"/>
                <a:gd name="T41" fmla="*/ 15 h 98"/>
                <a:gd name="T42" fmla="*/ 52 w 110"/>
                <a:gd name="T43" fmla="*/ 2 h 98"/>
                <a:gd name="T44" fmla="*/ 52 w 110"/>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98">
                  <a:moveTo>
                    <a:pt x="52" y="0"/>
                  </a:moveTo>
                  <a:lnTo>
                    <a:pt x="110" y="0"/>
                  </a:lnTo>
                  <a:lnTo>
                    <a:pt x="110" y="8"/>
                  </a:lnTo>
                  <a:lnTo>
                    <a:pt x="108" y="27"/>
                  </a:lnTo>
                  <a:lnTo>
                    <a:pt x="68" y="27"/>
                  </a:lnTo>
                  <a:lnTo>
                    <a:pt x="67" y="63"/>
                  </a:lnTo>
                  <a:lnTo>
                    <a:pt x="55" y="66"/>
                  </a:lnTo>
                  <a:lnTo>
                    <a:pt x="52" y="72"/>
                  </a:lnTo>
                  <a:lnTo>
                    <a:pt x="53" y="91"/>
                  </a:lnTo>
                  <a:lnTo>
                    <a:pt x="53" y="92"/>
                  </a:lnTo>
                  <a:lnTo>
                    <a:pt x="4" y="92"/>
                  </a:lnTo>
                  <a:lnTo>
                    <a:pt x="1" y="98"/>
                  </a:lnTo>
                  <a:lnTo>
                    <a:pt x="0" y="98"/>
                  </a:lnTo>
                  <a:lnTo>
                    <a:pt x="0" y="97"/>
                  </a:lnTo>
                  <a:lnTo>
                    <a:pt x="3" y="81"/>
                  </a:lnTo>
                  <a:lnTo>
                    <a:pt x="3" y="79"/>
                  </a:lnTo>
                  <a:lnTo>
                    <a:pt x="6" y="78"/>
                  </a:lnTo>
                  <a:lnTo>
                    <a:pt x="16" y="55"/>
                  </a:lnTo>
                  <a:lnTo>
                    <a:pt x="28" y="40"/>
                  </a:lnTo>
                  <a:lnTo>
                    <a:pt x="33" y="26"/>
                  </a:lnTo>
                  <a:lnTo>
                    <a:pt x="46" y="15"/>
                  </a:lnTo>
                  <a:lnTo>
                    <a:pt x="52" y="2"/>
                  </a:lnTo>
                  <a:lnTo>
                    <a:pt x="5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0" name="Uganda">
              <a:extLst>
                <a:ext uri="{FF2B5EF4-FFF2-40B4-BE49-F238E27FC236}">
                  <a16:creationId xmlns:a16="http://schemas.microsoft.com/office/drawing/2014/main" id="{41130121-27E9-EAF5-1CD8-D93C39D5476B}"/>
                </a:ext>
              </a:extLst>
            </p:cNvPr>
            <p:cNvSpPr>
              <a:spLocks/>
            </p:cNvSpPr>
            <p:nvPr/>
          </p:nvSpPr>
          <p:spPr bwMode="auto">
            <a:xfrm>
              <a:off x="6528791" y="4493441"/>
              <a:ext cx="128302" cy="128302"/>
            </a:xfrm>
            <a:custGeom>
              <a:avLst/>
              <a:gdLst>
                <a:gd name="T0" fmla="*/ 55 w 71"/>
                <a:gd name="T1" fmla="*/ 0 h 71"/>
                <a:gd name="T2" fmla="*/ 61 w 71"/>
                <a:gd name="T3" fmla="*/ 1 h 71"/>
                <a:gd name="T4" fmla="*/ 64 w 71"/>
                <a:gd name="T5" fmla="*/ 12 h 71"/>
                <a:gd name="T6" fmla="*/ 68 w 71"/>
                <a:gd name="T7" fmla="*/ 16 h 71"/>
                <a:gd name="T8" fmla="*/ 71 w 71"/>
                <a:gd name="T9" fmla="*/ 25 h 71"/>
                <a:gd name="T10" fmla="*/ 68 w 71"/>
                <a:gd name="T11" fmla="*/ 34 h 71"/>
                <a:gd name="T12" fmla="*/ 56 w 71"/>
                <a:gd name="T13" fmla="*/ 50 h 71"/>
                <a:gd name="T14" fmla="*/ 54 w 71"/>
                <a:gd name="T15" fmla="*/ 50 h 71"/>
                <a:gd name="T16" fmla="*/ 51 w 71"/>
                <a:gd name="T17" fmla="*/ 49 h 71"/>
                <a:gd name="T18" fmla="*/ 48 w 71"/>
                <a:gd name="T19" fmla="*/ 49 h 71"/>
                <a:gd name="T20" fmla="*/ 45 w 71"/>
                <a:gd name="T21" fmla="*/ 53 h 71"/>
                <a:gd name="T22" fmla="*/ 43 w 71"/>
                <a:gd name="T23" fmla="*/ 53 h 71"/>
                <a:gd name="T24" fmla="*/ 39 w 71"/>
                <a:gd name="T25" fmla="*/ 52 h 71"/>
                <a:gd name="T26" fmla="*/ 30 w 71"/>
                <a:gd name="T27" fmla="*/ 55 h 71"/>
                <a:gd name="T28" fmla="*/ 28 w 71"/>
                <a:gd name="T29" fmla="*/ 65 h 71"/>
                <a:gd name="T30" fmla="*/ 28 w 71"/>
                <a:gd name="T31" fmla="*/ 66 h 71"/>
                <a:gd name="T32" fmla="*/ 11 w 71"/>
                <a:gd name="T33" fmla="*/ 66 h 71"/>
                <a:gd name="T34" fmla="*/ 6 w 71"/>
                <a:gd name="T35" fmla="*/ 71 h 71"/>
                <a:gd name="T36" fmla="*/ 5 w 71"/>
                <a:gd name="T37" fmla="*/ 71 h 71"/>
                <a:gd name="T38" fmla="*/ 0 w 71"/>
                <a:gd name="T39" fmla="*/ 69 h 71"/>
                <a:gd name="T40" fmla="*/ 2 w 71"/>
                <a:gd name="T41" fmla="*/ 47 h 71"/>
                <a:gd name="T42" fmla="*/ 11 w 71"/>
                <a:gd name="T43" fmla="*/ 37 h 71"/>
                <a:gd name="T44" fmla="*/ 12 w 71"/>
                <a:gd name="T45" fmla="*/ 37 h 71"/>
                <a:gd name="T46" fmla="*/ 13 w 71"/>
                <a:gd name="T47" fmla="*/ 38 h 71"/>
                <a:gd name="T48" fmla="*/ 19 w 71"/>
                <a:gd name="T49" fmla="*/ 31 h 71"/>
                <a:gd name="T50" fmla="*/ 19 w 71"/>
                <a:gd name="T51" fmla="*/ 23 h 71"/>
                <a:gd name="T52" fmla="*/ 15 w 71"/>
                <a:gd name="T53" fmla="*/ 19 h 71"/>
                <a:gd name="T54" fmla="*/ 13 w 71"/>
                <a:gd name="T55" fmla="*/ 19 h 71"/>
                <a:gd name="T56" fmla="*/ 15 w 71"/>
                <a:gd name="T57" fmla="*/ 6 h 71"/>
                <a:gd name="T58" fmla="*/ 49 w 71"/>
                <a:gd name="T59" fmla="*/ 3 h 71"/>
                <a:gd name="T60" fmla="*/ 55 w 71"/>
                <a:gd name="T6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1" h="71">
                  <a:moveTo>
                    <a:pt x="55" y="0"/>
                  </a:moveTo>
                  <a:lnTo>
                    <a:pt x="61" y="1"/>
                  </a:lnTo>
                  <a:lnTo>
                    <a:pt x="64" y="12"/>
                  </a:lnTo>
                  <a:lnTo>
                    <a:pt x="68" y="16"/>
                  </a:lnTo>
                  <a:lnTo>
                    <a:pt x="71" y="25"/>
                  </a:lnTo>
                  <a:lnTo>
                    <a:pt x="68" y="34"/>
                  </a:lnTo>
                  <a:lnTo>
                    <a:pt x="56" y="50"/>
                  </a:lnTo>
                  <a:lnTo>
                    <a:pt x="54" y="50"/>
                  </a:lnTo>
                  <a:lnTo>
                    <a:pt x="51" y="49"/>
                  </a:lnTo>
                  <a:lnTo>
                    <a:pt x="48" y="49"/>
                  </a:lnTo>
                  <a:lnTo>
                    <a:pt x="45" y="53"/>
                  </a:lnTo>
                  <a:lnTo>
                    <a:pt x="43" y="53"/>
                  </a:lnTo>
                  <a:lnTo>
                    <a:pt x="39" y="52"/>
                  </a:lnTo>
                  <a:lnTo>
                    <a:pt x="30" y="55"/>
                  </a:lnTo>
                  <a:lnTo>
                    <a:pt x="28" y="65"/>
                  </a:lnTo>
                  <a:lnTo>
                    <a:pt x="28" y="66"/>
                  </a:lnTo>
                  <a:lnTo>
                    <a:pt x="11" y="66"/>
                  </a:lnTo>
                  <a:lnTo>
                    <a:pt x="6" y="71"/>
                  </a:lnTo>
                  <a:lnTo>
                    <a:pt x="5" y="71"/>
                  </a:lnTo>
                  <a:lnTo>
                    <a:pt x="0" y="69"/>
                  </a:lnTo>
                  <a:lnTo>
                    <a:pt x="2" y="47"/>
                  </a:lnTo>
                  <a:lnTo>
                    <a:pt x="11" y="37"/>
                  </a:lnTo>
                  <a:lnTo>
                    <a:pt x="12" y="37"/>
                  </a:lnTo>
                  <a:lnTo>
                    <a:pt x="13" y="38"/>
                  </a:lnTo>
                  <a:lnTo>
                    <a:pt x="19" y="31"/>
                  </a:lnTo>
                  <a:lnTo>
                    <a:pt x="19" y="23"/>
                  </a:lnTo>
                  <a:lnTo>
                    <a:pt x="15" y="19"/>
                  </a:lnTo>
                  <a:lnTo>
                    <a:pt x="13" y="19"/>
                  </a:lnTo>
                  <a:lnTo>
                    <a:pt x="15" y="6"/>
                  </a:lnTo>
                  <a:lnTo>
                    <a:pt x="49" y="3"/>
                  </a:lnTo>
                  <a:lnTo>
                    <a:pt x="5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1" name="Tunisia">
              <a:extLst>
                <a:ext uri="{FF2B5EF4-FFF2-40B4-BE49-F238E27FC236}">
                  <a16:creationId xmlns:a16="http://schemas.microsoft.com/office/drawing/2014/main" id="{D1205580-BCB0-376F-B971-2B6EA2C08DBE}"/>
                </a:ext>
              </a:extLst>
            </p:cNvPr>
            <p:cNvSpPr>
              <a:spLocks/>
            </p:cNvSpPr>
            <p:nvPr/>
          </p:nvSpPr>
          <p:spPr bwMode="auto">
            <a:xfrm>
              <a:off x="6001130" y="3640507"/>
              <a:ext cx="93967" cy="200584"/>
            </a:xfrm>
            <a:custGeom>
              <a:avLst/>
              <a:gdLst>
                <a:gd name="T0" fmla="*/ 30 w 52"/>
                <a:gd name="T1" fmla="*/ 0 h 111"/>
                <a:gd name="T2" fmla="*/ 37 w 52"/>
                <a:gd name="T3" fmla="*/ 2 h 111"/>
                <a:gd name="T4" fmla="*/ 39 w 52"/>
                <a:gd name="T5" fmla="*/ 3 h 111"/>
                <a:gd name="T6" fmla="*/ 39 w 52"/>
                <a:gd name="T7" fmla="*/ 9 h 111"/>
                <a:gd name="T8" fmla="*/ 40 w 52"/>
                <a:gd name="T9" fmla="*/ 11 h 111"/>
                <a:gd name="T10" fmla="*/ 48 w 52"/>
                <a:gd name="T11" fmla="*/ 5 h 111"/>
                <a:gd name="T12" fmla="*/ 49 w 52"/>
                <a:gd name="T13" fmla="*/ 5 h 111"/>
                <a:gd name="T14" fmla="*/ 49 w 52"/>
                <a:gd name="T15" fmla="*/ 9 h 111"/>
                <a:gd name="T16" fmla="*/ 42 w 52"/>
                <a:gd name="T17" fmla="*/ 21 h 111"/>
                <a:gd name="T18" fmla="*/ 43 w 52"/>
                <a:gd name="T19" fmla="*/ 25 h 111"/>
                <a:gd name="T20" fmla="*/ 49 w 52"/>
                <a:gd name="T21" fmla="*/ 28 h 111"/>
                <a:gd name="T22" fmla="*/ 49 w 52"/>
                <a:gd name="T23" fmla="*/ 34 h 111"/>
                <a:gd name="T24" fmla="*/ 46 w 52"/>
                <a:gd name="T25" fmla="*/ 42 h 111"/>
                <a:gd name="T26" fmla="*/ 37 w 52"/>
                <a:gd name="T27" fmla="*/ 49 h 111"/>
                <a:gd name="T28" fmla="*/ 36 w 52"/>
                <a:gd name="T29" fmla="*/ 54 h 111"/>
                <a:gd name="T30" fmla="*/ 36 w 52"/>
                <a:gd name="T31" fmla="*/ 55 h 111"/>
                <a:gd name="T32" fmla="*/ 34 w 52"/>
                <a:gd name="T33" fmla="*/ 54 h 111"/>
                <a:gd name="T34" fmla="*/ 33 w 52"/>
                <a:gd name="T35" fmla="*/ 54 h 111"/>
                <a:gd name="T36" fmla="*/ 33 w 52"/>
                <a:gd name="T37" fmla="*/ 55 h 111"/>
                <a:gd name="T38" fmla="*/ 37 w 52"/>
                <a:gd name="T39" fmla="*/ 60 h 111"/>
                <a:gd name="T40" fmla="*/ 42 w 52"/>
                <a:gd name="T41" fmla="*/ 61 h 111"/>
                <a:gd name="T42" fmla="*/ 46 w 52"/>
                <a:gd name="T43" fmla="*/ 61 h 111"/>
                <a:gd name="T44" fmla="*/ 49 w 52"/>
                <a:gd name="T45" fmla="*/ 67 h 111"/>
                <a:gd name="T46" fmla="*/ 52 w 52"/>
                <a:gd name="T47" fmla="*/ 67 h 111"/>
                <a:gd name="T48" fmla="*/ 52 w 52"/>
                <a:gd name="T49" fmla="*/ 80 h 111"/>
                <a:gd name="T50" fmla="*/ 51 w 52"/>
                <a:gd name="T51" fmla="*/ 80 h 111"/>
                <a:gd name="T52" fmla="*/ 36 w 52"/>
                <a:gd name="T53" fmla="*/ 92 h 111"/>
                <a:gd name="T54" fmla="*/ 36 w 52"/>
                <a:gd name="T55" fmla="*/ 105 h 111"/>
                <a:gd name="T56" fmla="*/ 27 w 52"/>
                <a:gd name="T57" fmla="*/ 111 h 111"/>
                <a:gd name="T58" fmla="*/ 21 w 52"/>
                <a:gd name="T59" fmla="*/ 85 h 111"/>
                <a:gd name="T60" fmla="*/ 11 w 52"/>
                <a:gd name="T61" fmla="*/ 79 h 111"/>
                <a:gd name="T62" fmla="*/ 9 w 52"/>
                <a:gd name="T63" fmla="*/ 70 h 111"/>
                <a:gd name="T64" fmla="*/ 3 w 52"/>
                <a:gd name="T65" fmla="*/ 67 h 111"/>
                <a:gd name="T66" fmla="*/ 2 w 52"/>
                <a:gd name="T67" fmla="*/ 67 h 111"/>
                <a:gd name="T68" fmla="*/ 0 w 52"/>
                <a:gd name="T69" fmla="*/ 55 h 111"/>
                <a:gd name="T70" fmla="*/ 11 w 52"/>
                <a:gd name="T71" fmla="*/ 45 h 111"/>
                <a:gd name="T72" fmla="*/ 13 w 52"/>
                <a:gd name="T73" fmla="*/ 36 h 111"/>
                <a:gd name="T74" fmla="*/ 12 w 52"/>
                <a:gd name="T75" fmla="*/ 25 h 111"/>
                <a:gd name="T76" fmla="*/ 13 w 52"/>
                <a:gd name="T77" fmla="*/ 17 h 111"/>
                <a:gd name="T78" fmla="*/ 12 w 52"/>
                <a:gd name="T79" fmla="*/ 15 h 111"/>
                <a:gd name="T80" fmla="*/ 11 w 52"/>
                <a:gd name="T81" fmla="*/ 15 h 111"/>
                <a:gd name="T82" fmla="*/ 11 w 52"/>
                <a:gd name="T83" fmla="*/ 14 h 111"/>
                <a:gd name="T84" fmla="*/ 16 w 52"/>
                <a:gd name="T85" fmla="*/ 8 h 111"/>
                <a:gd name="T86" fmla="*/ 30 w 52"/>
                <a:gd name="T8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11">
                  <a:moveTo>
                    <a:pt x="30" y="0"/>
                  </a:moveTo>
                  <a:lnTo>
                    <a:pt x="37" y="2"/>
                  </a:lnTo>
                  <a:lnTo>
                    <a:pt x="39" y="3"/>
                  </a:lnTo>
                  <a:lnTo>
                    <a:pt x="39" y="9"/>
                  </a:lnTo>
                  <a:lnTo>
                    <a:pt x="40" y="11"/>
                  </a:lnTo>
                  <a:lnTo>
                    <a:pt x="48" y="5"/>
                  </a:lnTo>
                  <a:lnTo>
                    <a:pt x="49" y="5"/>
                  </a:lnTo>
                  <a:lnTo>
                    <a:pt x="49" y="9"/>
                  </a:lnTo>
                  <a:lnTo>
                    <a:pt x="42" y="21"/>
                  </a:lnTo>
                  <a:lnTo>
                    <a:pt x="43" y="25"/>
                  </a:lnTo>
                  <a:lnTo>
                    <a:pt x="49" y="28"/>
                  </a:lnTo>
                  <a:lnTo>
                    <a:pt x="49" y="34"/>
                  </a:lnTo>
                  <a:lnTo>
                    <a:pt x="46" y="42"/>
                  </a:lnTo>
                  <a:lnTo>
                    <a:pt x="37" y="49"/>
                  </a:lnTo>
                  <a:lnTo>
                    <a:pt x="36" y="54"/>
                  </a:lnTo>
                  <a:lnTo>
                    <a:pt x="36" y="55"/>
                  </a:lnTo>
                  <a:lnTo>
                    <a:pt x="34" y="54"/>
                  </a:lnTo>
                  <a:lnTo>
                    <a:pt x="33" y="54"/>
                  </a:lnTo>
                  <a:lnTo>
                    <a:pt x="33" y="55"/>
                  </a:lnTo>
                  <a:lnTo>
                    <a:pt x="37" y="60"/>
                  </a:lnTo>
                  <a:lnTo>
                    <a:pt x="42" y="61"/>
                  </a:lnTo>
                  <a:lnTo>
                    <a:pt x="46" y="61"/>
                  </a:lnTo>
                  <a:lnTo>
                    <a:pt x="49" y="67"/>
                  </a:lnTo>
                  <a:lnTo>
                    <a:pt x="52" y="67"/>
                  </a:lnTo>
                  <a:lnTo>
                    <a:pt x="52" y="80"/>
                  </a:lnTo>
                  <a:lnTo>
                    <a:pt x="51" y="80"/>
                  </a:lnTo>
                  <a:lnTo>
                    <a:pt x="36" y="92"/>
                  </a:lnTo>
                  <a:lnTo>
                    <a:pt x="36" y="105"/>
                  </a:lnTo>
                  <a:lnTo>
                    <a:pt x="27" y="111"/>
                  </a:lnTo>
                  <a:lnTo>
                    <a:pt x="21" y="85"/>
                  </a:lnTo>
                  <a:lnTo>
                    <a:pt x="11" y="79"/>
                  </a:lnTo>
                  <a:lnTo>
                    <a:pt x="9" y="70"/>
                  </a:lnTo>
                  <a:lnTo>
                    <a:pt x="3" y="67"/>
                  </a:lnTo>
                  <a:lnTo>
                    <a:pt x="2" y="67"/>
                  </a:lnTo>
                  <a:lnTo>
                    <a:pt x="0" y="55"/>
                  </a:lnTo>
                  <a:lnTo>
                    <a:pt x="11" y="45"/>
                  </a:lnTo>
                  <a:lnTo>
                    <a:pt x="13" y="36"/>
                  </a:lnTo>
                  <a:lnTo>
                    <a:pt x="12" y="25"/>
                  </a:lnTo>
                  <a:lnTo>
                    <a:pt x="13" y="17"/>
                  </a:lnTo>
                  <a:lnTo>
                    <a:pt x="12" y="15"/>
                  </a:lnTo>
                  <a:lnTo>
                    <a:pt x="11" y="15"/>
                  </a:lnTo>
                  <a:lnTo>
                    <a:pt x="11" y="14"/>
                  </a:lnTo>
                  <a:lnTo>
                    <a:pt x="16" y="8"/>
                  </a:lnTo>
                  <a:lnTo>
                    <a:pt x="3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2" name="Togo">
              <a:extLst>
                <a:ext uri="{FF2B5EF4-FFF2-40B4-BE49-F238E27FC236}">
                  <a16:creationId xmlns:a16="http://schemas.microsoft.com/office/drawing/2014/main" id="{6124FEAB-3D3A-0023-8900-1C79D98222C9}"/>
                </a:ext>
              </a:extLst>
            </p:cNvPr>
            <p:cNvSpPr>
              <a:spLocks/>
            </p:cNvSpPr>
            <p:nvPr/>
          </p:nvSpPr>
          <p:spPr bwMode="auto">
            <a:xfrm>
              <a:off x="5822230" y="4323577"/>
              <a:ext cx="52405" cy="122880"/>
            </a:xfrm>
            <a:custGeom>
              <a:avLst/>
              <a:gdLst>
                <a:gd name="T0" fmla="*/ 0 w 29"/>
                <a:gd name="T1" fmla="*/ 0 h 68"/>
                <a:gd name="T2" fmla="*/ 1 w 29"/>
                <a:gd name="T3" fmla="*/ 0 h 68"/>
                <a:gd name="T4" fmla="*/ 10 w 29"/>
                <a:gd name="T5" fmla="*/ 3 h 68"/>
                <a:gd name="T6" fmla="*/ 12 w 29"/>
                <a:gd name="T7" fmla="*/ 3 h 68"/>
                <a:gd name="T8" fmla="*/ 15 w 29"/>
                <a:gd name="T9" fmla="*/ 2 h 68"/>
                <a:gd name="T10" fmla="*/ 15 w 29"/>
                <a:gd name="T11" fmla="*/ 11 h 68"/>
                <a:gd name="T12" fmla="*/ 21 w 29"/>
                <a:gd name="T13" fmla="*/ 17 h 68"/>
                <a:gd name="T14" fmla="*/ 27 w 29"/>
                <a:gd name="T15" fmla="*/ 33 h 68"/>
                <a:gd name="T16" fmla="*/ 27 w 29"/>
                <a:gd name="T17" fmla="*/ 60 h 68"/>
                <a:gd name="T18" fmla="*/ 29 w 29"/>
                <a:gd name="T19" fmla="*/ 66 h 68"/>
                <a:gd name="T20" fmla="*/ 29 w 29"/>
                <a:gd name="T21" fmla="*/ 67 h 68"/>
                <a:gd name="T22" fmla="*/ 28 w 29"/>
                <a:gd name="T23" fmla="*/ 67 h 68"/>
                <a:gd name="T24" fmla="*/ 21 w 29"/>
                <a:gd name="T25" fmla="*/ 68 h 68"/>
                <a:gd name="T26" fmla="*/ 19 w 29"/>
                <a:gd name="T27" fmla="*/ 68 h 68"/>
                <a:gd name="T28" fmla="*/ 12 w 29"/>
                <a:gd name="T29" fmla="*/ 58 h 68"/>
                <a:gd name="T30" fmla="*/ 9 w 29"/>
                <a:gd name="T31" fmla="*/ 25 h 68"/>
                <a:gd name="T32" fmla="*/ 7 w 29"/>
                <a:gd name="T33" fmla="*/ 14 h 68"/>
                <a:gd name="T34" fmla="*/ 1 w 29"/>
                <a:gd name="T35" fmla="*/ 8 h 68"/>
                <a:gd name="T36" fmla="*/ 1 w 29"/>
                <a:gd name="T37" fmla="*/ 3 h 68"/>
                <a:gd name="T38" fmla="*/ 0 w 29"/>
                <a:gd name="T39" fmla="*/ 2 h 68"/>
                <a:gd name="T40" fmla="*/ 0 w 29"/>
                <a:gd name="T4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8">
                  <a:moveTo>
                    <a:pt x="0" y="0"/>
                  </a:moveTo>
                  <a:lnTo>
                    <a:pt x="1" y="0"/>
                  </a:lnTo>
                  <a:lnTo>
                    <a:pt x="10" y="3"/>
                  </a:lnTo>
                  <a:lnTo>
                    <a:pt x="12" y="3"/>
                  </a:lnTo>
                  <a:lnTo>
                    <a:pt x="15" y="2"/>
                  </a:lnTo>
                  <a:lnTo>
                    <a:pt x="15" y="11"/>
                  </a:lnTo>
                  <a:lnTo>
                    <a:pt x="21" y="17"/>
                  </a:lnTo>
                  <a:lnTo>
                    <a:pt x="27" y="33"/>
                  </a:lnTo>
                  <a:lnTo>
                    <a:pt x="27" y="60"/>
                  </a:lnTo>
                  <a:lnTo>
                    <a:pt x="29" y="66"/>
                  </a:lnTo>
                  <a:lnTo>
                    <a:pt x="29" y="67"/>
                  </a:lnTo>
                  <a:lnTo>
                    <a:pt x="28" y="67"/>
                  </a:lnTo>
                  <a:lnTo>
                    <a:pt x="21" y="68"/>
                  </a:lnTo>
                  <a:lnTo>
                    <a:pt x="19" y="68"/>
                  </a:lnTo>
                  <a:lnTo>
                    <a:pt x="12" y="58"/>
                  </a:lnTo>
                  <a:lnTo>
                    <a:pt x="9" y="25"/>
                  </a:lnTo>
                  <a:lnTo>
                    <a:pt x="7" y="14"/>
                  </a:lnTo>
                  <a:lnTo>
                    <a:pt x="1" y="8"/>
                  </a:lnTo>
                  <a:lnTo>
                    <a:pt x="1" y="3"/>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3" name="Tanzania">
              <a:extLst>
                <a:ext uri="{FF2B5EF4-FFF2-40B4-BE49-F238E27FC236}">
                  <a16:creationId xmlns:a16="http://schemas.microsoft.com/office/drawing/2014/main" id="{7F17E481-D73A-3479-8910-5A833346AD1B}"/>
                </a:ext>
              </a:extLst>
            </p:cNvPr>
            <p:cNvSpPr>
              <a:spLocks/>
            </p:cNvSpPr>
            <p:nvPr/>
          </p:nvSpPr>
          <p:spPr bwMode="auto">
            <a:xfrm>
              <a:off x="6526984" y="4610898"/>
              <a:ext cx="256602" cy="254796"/>
            </a:xfrm>
            <a:custGeom>
              <a:avLst/>
              <a:gdLst>
                <a:gd name="T0" fmla="*/ 10 w 142"/>
                <a:gd name="T1" fmla="*/ 0 h 141"/>
                <a:gd name="T2" fmla="*/ 29 w 142"/>
                <a:gd name="T3" fmla="*/ 0 h 141"/>
                <a:gd name="T4" fmla="*/ 28 w 142"/>
                <a:gd name="T5" fmla="*/ 15 h 141"/>
                <a:gd name="T6" fmla="*/ 29 w 142"/>
                <a:gd name="T7" fmla="*/ 22 h 141"/>
                <a:gd name="T8" fmla="*/ 34 w 142"/>
                <a:gd name="T9" fmla="*/ 21 h 141"/>
                <a:gd name="T10" fmla="*/ 34 w 142"/>
                <a:gd name="T11" fmla="*/ 16 h 141"/>
                <a:gd name="T12" fmla="*/ 35 w 142"/>
                <a:gd name="T13" fmla="*/ 16 h 141"/>
                <a:gd name="T14" fmla="*/ 40 w 142"/>
                <a:gd name="T15" fmla="*/ 21 h 141"/>
                <a:gd name="T16" fmla="*/ 43 w 142"/>
                <a:gd name="T17" fmla="*/ 21 h 141"/>
                <a:gd name="T18" fmla="*/ 43 w 142"/>
                <a:gd name="T19" fmla="*/ 22 h 141"/>
                <a:gd name="T20" fmla="*/ 44 w 142"/>
                <a:gd name="T21" fmla="*/ 19 h 141"/>
                <a:gd name="T22" fmla="*/ 53 w 142"/>
                <a:gd name="T23" fmla="*/ 16 h 141"/>
                <a:gd name="T24" fmla="*/ 49 w 142"/>
                <a:gd name="T25" fmla="*/ 15 h 141"/>
                <a:gd name="T26" fmla="*/ 47 w 142"/>
                <a:gd name="T27" fmla="*/ 15 h 141"/>
                <a:gd name="T28" fmla="*/ 47 w 142"/>
                <a:gd name="T29" fmla="*/ 13 h 141"/>
                <a:gd name="T30" fmla="*/ 59 w 142"/>
                <a:gd name="T31" fmla="*/ 0 h 141"/>
                <a:gd name="T32" fmla="*/ 60 w 142"/>
                <a:gd name="T33" fmla="*/ 0 h 141"/>
                <a:gd name="T34" fmla="*/ 105 w 142"/>
                <a:gd name="T35" fmla="*/ 27 h 141"/>
                <a:gd name="T36" fmla="*/ 106 w 142"/>
                <a:gd name="T37" fmla="*/ 27 h 141"/>
                <a:gd name="T38" fmla="*/ 109 w 142"/>
                <a:gd name="T39" fmla="*/ 37 h 141"/>
                <a:gd name="T40" fmla="*/ 127 w 142"/>
                <a:gd name="T41" fmla="*/ 47 h 141"/>
                <a:gd name="T42" fmla="*/ 127 w 142"/>
                <a:gd name="T43" fmla="*/ 49 h 141"/>
                <a:gd name="T44" fmla="*/ 123 w 142"/>
                <a:gd name="T45" fmla="*/ 70 h 141"/>
                <a:gd name="T46" fmla="*/ 132 w 142"/>
                <a:gd name="T47" fmla="*/ 80 h 141"/>
                <a:gd name="T48" fmla="*/ 127 w 142"/>
                <a:gd name="T49" fmla="*/ 96 h 141"/>
                <a:gd name="T50" fmla="*/ 129 w 142"/>
                <a:gd name="T51" fmla="*/ 104 h 141"/>
                <a:gd name="T52" fmla="*/ 135 w 142"/>
                <a:gd name="T53" fmla="*/ 119 h 141"/>
                <a:gd name="T54" fmla="*/ 142 w 142"/>
                <a:gd name="T55" fmla="*/ 123 h 141"/>
                <a:gd name="T56" fmla="*/ 142 w 142"/>
                <a:gd name="T57" fmla="*/ 126 h 141"/>
                <a:gd name="T58" fmla="*/ 136 w 142"/>
                <a:gd name="T59" fmla="*/ 132 h 141"/>
                <a:gd name="T60" fmla="*/ 121 w 142"/>
                <a:gd name="T61" fmla="*/ 136 h 141"/>
                <a:gd name="T62" fmla="*/ 114 w 142"/>
                <a:gd name="T63" fmla="*/ 135 h 141"/>
                <a:gd name="T64" fmla="*/ 105 w 142"/>
                <a:gd name="T65" fmla="*/ 139 h 141"/>
                <a:gd name="T66" fmla="*/ 99 w 142"/>
                <a:gd name="T67" fmla="*/ 139 h 141"/>
                <a:gd name="T68" fmla="*/ 95 w 142"/>
                <a:gd name="T69" fmla="*/ 141 h 141"/>
                <a:gd name="T70" fmla="*/ 89 w 142"/>
                <a:gd name="T71" fmla="*/ 141 h 141"/>
                <a:gd name="T72" fmla="*/ 83 w 142"/>
                <a:gd name="T73" fmla="*/ 138 h 141"/>
                <a:gd name="T74" fmla="*/ 80 w 142"/>
                <a:gd name="T75" fmla="*/ 138 h 141"/>
                <a:gd name="T76" fmla="*/ 77 w 142"/>
                <a:gd name="T77" fmla="*/ 139 h 141"/>
                <a:gd name="T78" fmla="*/ 69 w 142"/>
                <a:gd name="T79" fmla="*/ 139 h 141"/>
                <a:gd name="T80" fmla="*/ 65 w 142"/>
                <a:gd name="T81" fmla="*/ 133 h 141"/>
                <a:gd name="T82" fmla="*/ 62 w 142"/>
                <a:gd name="T83" fmla="*/ 119 h 141"/>
                <a:gd name="T84" fmla="*/ 56 w 142"/>
                <a:gd name="T85" fmla="*/ 114 h 141"/>
                <a:gd name="T86" fmla="*/ 52 w 142"/>
                <a:gd name="T87" fmla="*/ 114 h 141"/>
                <a:gd name="T88" fmla="*/ 44 w 142"/>
                <a:gd name="T89" fmla="*/ 111 h 141"/>
                <a:gd name="T90" fmla="*/ 19 w 142"/>
                <a:gd name="T91" fmla="*/ 101 h 141"/>
                <a:gd name="T92" fmla="*/ 19 w 142"/>
                <a:gd name="T93" fmla="*/ 99 h 141"/>
                <a:gd name="T94" fmla="*/ 12 w 142"/>
                <a:gd name="T95" fmla="*/ 84 h 141"/>
                <a:gd name="T96" fmla="*/ 12 w 142"/>
                <a:gd name="T97" fmla="*/ 78 h 141"/>
                <a:gd name="T98" fmla="*/ 3 w 142"/>
                <a:gd name="T99" fmla="*/ 71 h 141"/>
                <a:gd name="T100" fmla="*/ 3 w 142"/>
                <a:gd name="T101" fmla="*/ 70 h 141"/>
                <a:gd name="T102" fmla="*/ 4 w 142"/>
                <a:gd name="T103" fmla="*/ 64 h 141"/>
                <a:gd name="T104" fmla="*/ 0 w 142"/>
                <a:gd name="T105" fmla="*/ 44 h 141"/>
                <a:gd name="T106" fmla="*/ 1 w 142"/>
                <a:gd name="T107" fmla="*/ 44 h 141"/>
                <a:gd name="T108" fmla="*/ 7 w 142"/>
                <a:gd name="T109" fmla="*/ 41 h 141"/>
                <a:gd name="T110" fmla="*/ 14 w 142"/>
                <a:gd name="T111" fmla="*/ 30 h 141"/>
                <a:gd name="T112" fmla="*/ 12 w 142"/>
                <a:gd name="T113" fmla="*/ 24 h 141"/>
                <a:gd name="T114" fmla="*/ 12 w 142"/>
                <a:gd name="T115" fmla="*/ 22 h 141"/>
                <a:gd name="T116" fmla="*/ 13 w 142"/>
                <a:gd name="T117" fmla="*/ 18 h 141"/>
                <a:gd name="T118" fmla="*/ 16 w 142"/>
                <a:gd name="T119" fmla="*/ 13 h 141"/>
                <a:gd name="T120" fmla="*/ 10 w 142"/>
                <a:gd name="T121" fmla="*/ 1 h 141"/>
                <a:gd name="T122" fmla="*/ 10 w 142"/>
                <a:gd name="T123"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 h="141">
                  <a:moveTo>
                    <a:pt x="10" y="0"/>
                  </a:moveTo>
                  <a:lnTo>
                    <a:pt x="29" y="0"/>
                  </a:lnTo>
                  <a:lnTo>
                    <a:pt x="28" y="15"/>
                  </a:lnTo>
                  <a:lnTo>
                    <a:pt x="29" y="22"/>
                  </a:lnTo>
                  <a:lnTo>
                    <a:pt x="34" y="21"/>
                  </a:lnTo>
                  <a:lnTo>
                    <a:pt x="34" y="16"/>
                  </a:lnTo>
                  <a:lnTo>
                    <a:pt x="35" y="16"/>
                  </a:lnTo>
                  <a:lnTo>
                    <a:pt x="40" y="21"/>
                  </a:lnTo>
                  <a:lnTo>
                    <a:pt x="43" y="21"/>
                  </a:lnTo>
                  <a:lnTo>
                    <a:pt x="43" y="22"/>
                  </a:lnTo>
                  <a:lnTo>
                    <a:pt x="44" y="19"/>
                  </a:lnTo>
                  <a:lnTo>
                    <a:pt x="53" y="16"/>
                  </a:lnTo>
                  <a:lnTo>
                    <a:pt x="49" y="15"/>
                  </a:lnTo>
                  <a:lnTo>
                    <a:pt x="47" y="15"/>
                  </a:lnTo>
                  <a:lnTo>
                    <a:pt x="47" y="13"/>
                  </a:lnTo>
                  <a:lnTo>
                    <a:pt x="59" y="0"/>
                  </a:lnTo>
                  <a:lnTo>
                    <a:pt x="60" y="0"/>
                  </a:lnTo>
                  <a:lnTo>
                    <a:pt x="105" y="27"/>
                  </a:lnTo>
                  <a:lnTo>
                    <a:pt x="106" y="27"/>
                  </a:lnTo>
                  <a:lnTo>
                    <a:pt x="109" y="37"/>
                  </a:lnTo>
                  <a:lnTo>
                    <a:pt x="127" y="47"/>
                  </a:lnTo>
                  <a:lnTo>
                    <a:pt x="127" y="49"/>
                  </a:lnTo>
                  <a:lnTo>
                    <a:pt x="123" y="70"/>
                  </a:lnTo>
                  <a:lnTo>
                    <a:pt x="132" y="80"/>
                  </a:lnTo>
                  <a:lnTo>
                    <a:pt x="127" y="96"/>
                  </a:lnTo>
                  <a:lnTo>
                    <a:pt x="129" y="104"/>
                  </a:lnTo>
                  <a:lnTo>
                    <a:pt x="135" y="119"/>
                  </a:lnTo>
                  <a:lnTo>
                    <a:pt x="142" y="123"/>
                  </a:lnTo>
                  <a:lnTo>
                    <a:pt x="142" y="126"/>
                  </a:lnTo>
                  <a:lnTo>
                    <a:pt x="136" y="132"/>
                  </a:lnTo>
                  <a:lnTo>
                    <a:pt x="121" y="136"/>
                  </a:lnTo>
                  <a:lnTo>
                    <a:pt x="114" y="135"/>
                  </a:lnTo>
                  <a:lnTo>
                    <a:pt x="105" y="139"/>
                  </a:lnTo>
                  <a:lnTo>
                    <a:pt x="99" y="139"/>
                  </a:lnTo>
                  <a:lnTo>
                    <a:pt x="95" y="141"/>
                  </a:lnTo>
                  <a:lnTo>
                    <a:pt x="89" y="141"/>
                  </a:lnTo>
                  <a:lnTo>
                    <a:pt x="83" y="138"/>
                  </a:lnTo>
                  <a:lnTo>
                    <a:pt x="80" y="138"/>
                  </a:lnTo>
                  <a:lnTo>
                    <a:pt x="77" y="139"/>
                  </a:lnTo>
                  <a:lnTo>
                    <a:pt x="69" y="139"/>
                  </a:lnTo>
                  <a:lnTo>
                    <a:pt x="65" y="133"/>
                  </a:lnTo>
                  <a:lnTo>
                    <a:pt x="62" y="119"/>
                  </a:lnTo>
                  <a:lnTo>
                    <a:pt x="56" y="114"/>
                  </a:lnTo>
                  <a:lnTo>
                    <a:pt x="52" y="114"/>
                  </a:lnTo>
                  <a:lnTo>
                    <a:pt x="44" y="111"/>
                  </a:lnTo>
                  <a:lnTo>
                    <a:pt x="19" y="101"/>
                  </a:lnTo>
                  <a:lnTo>
                    <a:pt x="19" y="99"/>
                  </a:lnTo>
                  <a:lnTo>
                    <a:pt x="12" y="84"/>
                  </a:lnTo>
                  <a:lnTo>
                    <a:pt x="12" y="78"/>
                  </a:lnTo>
                  <a:lnTo>
                    <a:pt x="3" y="71"/>
                  </a:lnTo>
                  <a:lnTo>
                    <a:pt x="3" y="70"/>
                  </a:lnTo>
                  <a:lnTo>
                    <a:pt x="4" y="64"/>
                  </a:lnTo>
                  <a:lnTo>
                    <a:pt x="0" y="44"/>
                  </a:lnTo>
                  <a:lnTo>
                    <a:pt x="1" y="44"/>
                  </a:lnTo>
                  <a:lnTo>
                    <a:pt x="7" y="41"/>
                  </a:lnTo>
                  <a:lnTo>
                    <a:pt x="14" y="30"/>
                  </a:lnTo>
                  <a:lnTo>
                    <a:pt x="12" y="24"/>
                  </a:lnTo>
                  <a:lnTo>
                    <a:pt x="12" y="22"/>
                  </a:lnTo>
                  <a:lnTo>
                    <a:pt x="13" y="18"/>
                  </a:lnTo>
                  <a:lnTo>
                    <a:pt x="16" y="13"/>
                  </a:lnTo>
                  <a:lnTo>
                    <a:pt x="10" y="1"/>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4" name="Swaziland">
              <a:extLst>
                <a:ext uri="{FF2B5EF4-FFF2-40B4-BE49-F238E27FC236}">
                  <a16:creationId xmlns:a16="http://schemas.microsoft.com/office/drawing/2014/main" id="{F1652D2E-AB53-9D13-AD3E-C689537C42E8}"/>
                </a:ext>
              </a:extLst>
            </p:cNvPr>
            <p:cNvSpPr>
              <a:spLocks/>
            </p:cNvSpPr>
            <p:nvPr/>
          </p:nvSpPr>
          <p:spPr bwMode="auto">
            <a:xfrm>
              <a:off x="6552283" y="5210844"/>
              <a:ext cx="32527" cy="43369"/>
            </a:xfrm>
            <a:custGeom>
              <a:avLst/>
              <a:gdLst>
                <a:gd name="T0" fmla="*/ 9 w 18"/>
                <a:gd name="T1" fmla="*/ 0 h 24"/>
                <a:gd name="T2" fmla="*/ 14 w 18"/>
                <a:gd name="T3" fmla="*/ 3 h 24"/>
                <a:gd name="T4" fmla="*/ 15 w 18"/>
                <a:gd name="T5" fmla="*/ 3 h 24"/>
                <a:gd name="T6" fmla="*/ 15 w 18"/>
                <a:gd name="T7" fmla="*/ 1 h 24"/>
                <a:gd name="T8" fmla="*/ 17 w 18"/>
                <a:gd name="T9" fmla="*/ 1 h 24"/>
                <a:gd name="T10" fmla="*/ 17 w 18"/>
                <a:gd name="T11" fmla="*/ 3 h 24"/>
                <a:gd name="T12" fmla="*/ 18 w 18"/>
                <a:gd name="T13" fmla="*/ 16 h 24"/>
                <a:gd name="T14" fmla="*/ 14 w 18"/>
                <a:gd name="T15" fmla="*/ 24 h 24"/>
                <a:gd name="T16" fmla="*/ 9 w 18"/>
                <a:gd name="T17" fmla="*/ 24 h 24"/>
                <a:gd name="T18" fmla="*/ 3 w 18"/>
                <a:gd name="T19" fmla="*/ 22 h 24"/>
                <a:gd name="T20" fmla="*/ 0 w 18"/>
                <a:gd name="T21" fmla="*/ 15 h 24"/>
                <a:gd name="T22" fmla="*/ 0 w 18"/>
                <a:gd name="T23" fmla="*/ 13 h 24"/>
                <a:gd name="T24" fmla="*/ 6 w 18"/>
                <a:gd name="T25" fmla="*/ 3 h 24"/>
                <a:gd name="T26" fmla="*/ 9 w 18"/>
                <a:gd name="T2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4">
                  <a:moveTo>
                    <a:pt x="9" y="0"/>
                  </a:moveTo>
                  <a:lnTo>
                    <a:pt x="14" y="3"/>
                  </a:lnTo>
                  <a:lnTo>
                    <a:pt x="15" y="3"/>
                  </a:lnTo>
                  <a:lnTo>
                    <a:pt x="15" y="1"/>
                  </a:lnTo>
                  <a:lnTo>
                    <a:pt x="17" y="1"/>
                  </a:lnTo>
                  <a:lnTo>
                    <a:pt x="17" y="3"/>
                  </a:lnTo>
                  <a:lnTo>
                    <a:pt x="18" y="16"/>
                  </a:lnTo>
                  <a:lnTo>
                    <a:pt x="14" y="24"/>
                  </a:lnTo>
                  <a:lnTo>
                    <a:pt x="9" y="24"/>
                  </a:lnTo>
                  <a:lnTo>
                    <a:pt x="3" y="22"/>
                  </a:lnTo>
                  <a:lnTo>
                    <a:pt x="0" y="15"/>
                  </a:lnTo>
                  <a:lnTo>
                    <a:pt x="0" y="13"/>
                  </a:lnTo>
                  <a:lnTo>
                    <a:pt x="6" y="3"/>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5" name="Sudan">
              <a:extLst>
                <a:ext uri="{FF2B5EF4-FFF2-40B4-BE49-F238E27FC236}">
                  <a16:creationId xmlns:a16="http://schemas.microsoft.com/office/drawing/2014/main" id="{E4D046B7-C0FE-2B4F-A39D-411BAD6808EC}"/>
                </a:ext>
              </a:extLst>
            </p:cNvPr>
            <p:cNvSpPr>
              <a:spLocks/>
            </p:cNvSpPr>
            <p:nvPr/>
          </p:nvSpPr>
          <p:spPr bwMode="auto">
            <a:xfrm>
              <a:off x="6340857" y="4032639"/>
              <a:ext cx="393940" cy="338292"/>
            </a:xfrm>
            <a:custGeom>
              <a:avLst/>
              <a:gdLst>
                <a:gd name="connsiteX0" fmla="*/ 4413035 w 5344675"/>
                <a:gd name="connsiteY0" fmla="*/ 0 h 4589698"/>
                <a:gd name="connsiteX1" fmla="*/ 4437552 w 5344675"/>
                <a:gd name="connsiteY1" fmla="*/ 0 h 4589698"/>
                <a:gd name="connsiteX2" fmla="*/ 4854338 w 5344675"/>
                <a:gd name="connsiteY2" fmla="*/ 343236 h 4589698"/>
                <a:gd name="connsiteX3" fmla="*/ 4878855 w 5344675"/>
                <a:gd name="connsiteY3" fmla="*/ 539370 h 4589698"/>
                <a:gd name="connsiteX4" fmla="*/ 4952406 w 5344675"/>
                <a:gd name="connsiteY4" fmla="*/ 637438 h 4589698"/>
                <a:gd name="connsiteX5" fmla="*/ 5025956 w 5344675"/>
                <a:gd name="connsiteY5" fmla="*/ 1397459 h 4589698"/>
                <a:gd name="connsiteX6" fmla="*/ 5344675 w 5344675"/>
                <a:gd name="connsiteY6" fmla="*/ 1691661 h 4589698"/>
                <a:gd name="connsiteX7" fmla="*/ 5320158 w 5344675"/>
                <a:gd name="connsiteY7" fmla="*/ 1838762 h 4589698"/>
                <a:gd name="connsiteX8" fmla="*/ 4878855 w 5344675"/>
                <a:gd name="connsiteY8" fmla="*/ 2034897 h 4589698"/>
                <a:gd name="connsiteX9" fmla="*/ 4731754 w 5344675"/>
                <a:gd name="connsiteY9" fmla="*/ 2745885 h 4589698"/>
                <a:gd name="connsiteX10" fmla="*/ 4731754 w 5344675"/>
                <a:gd name="connsiteY10" fmla="*/ 3040087 h 4589698"/>
                <a:gd name="connsiteX11" fmla="*/ 4633686 w 5344675"/>
                <a:gd name="connsiteY11" fmla="*/ 3407839 h 4589698"/>
                <a:gd name="connsiteX12" fmla="*/ 4265934 w 5344675"/>
                <a:gd name="connsiteY12" fmla="*/ 3800109 h 4589698"/>
                <a:gd name="connsiteX13" fmla="*/ 4216900 w 5344675"/>
                <a:gd name="connsiteY13" fmla="*/ 4020760 h 4589698"/>
                <a:gd name="connsiteX14" fmla="*/ 4216900 w 5344675"/>
                <a:gd name="connsiteY14" fmla="*/ 4069794 h 4589698"/>
                <a:gd name="connsiteX15" fmla="*/ 3996248 w 5344675"/>
                <a:gd name="connsiteY15" fmla="*/ 4216895 h 4589698"/>
                <a:gd name="connsiteX16" fmla="*/ 3982381 w 5344675"/>
                <a:gd name="connsiteY16" fmla="*/ 4535837 h 4589698"/>
                <a:gd name="connsiteX17" fmla="*/ 3896876 w 5344675"/>
                <a:gd name="connsiteY17" fmla="*/ 4532548 h 4589698"/>
                <a:gd name="connsiteX18" fmla="*/ 3906401 w 5344675"/>
                <a:gd name="connsiteY18" fmla="*/ 4332523 h 4589698"/>
                <a:gd name="connsiteX19" fmla="*/ 3706376 w 5344675"/>
                <a:gd name="connsiteY19" fmla="*/ 4122973 h 4589698"/>
                <a:gd name="connsiteX20" fmla="*/ 3649226 w 5344675"/>
                <a:gd name="connsiteY20" fmla="*/ 3846748 h 4589698"/>
                <a:gd name="connsiteX21" fmla="*/ 3696851 w 5344675"/>
                <a:gd name="connsiteY21" fmla="*/ 3646723 h 4589698"/>
                <a:gd name="connsiteX22" fmla="*/ 3534926 w 5344675"/>
                <a:gd name="connsiteY22" fmla="*/ 3646723 h 4589698"/>
                <a:gd name="connsiteX23" fmla="*/ 3534926 w 5344675"/>
                <a:gd name="connsiteY23" fmla="*/ 3722923 h 4589698"/>
                <a:gd name="connsiteX24" fmla="*/ 3325376 w 5344675"/>
                <a:gd name="connsiteY24" fmla="*/ 3741973 h 4589698"/>
                <a:gd name="connsiteX25" fmla="*/ 3420626 w 5344675"/>
                <a:gd name="connsiteY25" fmla="*/ 3818173 h 4589698"/>
                <a:gd name="connsiteX26" fmla="*/ 3420626 w 5344675"/>
                <a:gd name="connsiteY26" fmla="*/ 4037248 h 4589698"/>
                <a:gd name="connsiteX27" fmla="*/ 3068201 w 5344675"/>
                <a:gd name="connsiteY27" fmla="*/ 4446823 h 4589698"/>
                <a:gd name="connsiteX28" fmla="*/ 2906276 w 5344675"/>
                <a:gd name="connsiteY28" fmla="*/ 4465873 h 4589698"/>
                <a:gd name="connsiteX29" fmla="*/ 2620526 w 5344675"/>
                <a:gd name="connsiteY29" fmla="*/ 4275373 h 4589698"/>
                <a:gd name="connsiteX30" fmla="*/ 2487176 w 5344675"/>
                <a:gd name="connsiteY30" fmla="*/ 4342048 h 4589698"/>
                <a:gd name="connsiteX31" fmla="*/ 2487176 w 5344675"/>
                <a:gd name="connsiteY31" fmla="*/ 4456348 h 4589698"/>
                <a:gd name="connsiteX32" fmla="*/ 2325251 w 5344675"/>
                <a:gd name="connsiteY32" fmla="*/ 4456348 h 4589698"/>
                <a:gd name="connsiteX33" fmla="*/ 2239526 w 5344675"/>
                <a:gd name="connsiteY33" fmla="*/ 4589698 h 4589698"/>
                <a:gd name="connsiteX34" fmla="*/ 2049026 w 5344675"/>
                <a:gd name="connsiteY34" fmla="*/ 4589698 h 4589698"/>
                <a:gd name="connsiteX35" fmla="*/ 1963301 w 5344675"/>
                <a:gd name="connsiteY35" fmla="*/ 4503973 h 4589698"/>
                <a:gd name="connsiteX36" fmla="*/ 1706126 w 5344675"/>
                <a:gd name="connsiteY36" fmla="*/ 4503973 h 4589698"/>
                <a:gd name="connsiteX37" fmla="*/ 1591826 w 5344675"/>
                <a:gd name="connsiteY37" fmla="*/ 4561123 h 4589698"/>
                <a:gd name="connsiteX38" fmla="*/ 1448951 w 5344675"/>
                <a:gd name="connsiteY38" fmla="*/ 4494448 h 4589698"/>
                <a:gd name="connsiteX39" fmla="*/ 1296551 w 5344675"/>
                <a:gd name="connsiteY39" fmla="*/ 4237273 h 4589698"/>
                <a:gd name="connsiteX40" fmla="*/ 1067951 w 5344675"/>
                <a:gd name="connsiteY40" fmla="*/ 4284898 h 4589698"/>
                <a:gd name="connsiteX41" fmla="*/ 1029851 w 5344675"/>
                <a:gd name="connsiteY41" fmla="*/ 4427773 h 4589698"/>
                <a:gd name="connsiteX42" fmla="*/ 563888 w 5344675"/>
                <a:gd name="connsiteY42" fmla="*/ 4494339 h 4589698"/>
                <a:gd name="connsiteX43" fmla="*/ 563888 w 5344675"/>
                <a:gd name="connsiteY43" fmla="*/ 4314962 h 4589698"/>
                <a:gd name="connsiteX44" fmla="*/ 294202 w 5344675"/>
                <a:gd name="connsiteY44" fmla="*/ 4020760 h 4589698"/>
                <a:gd name="connsiteX45" fmla="*/ 343236 w 5344675"/>
                <a:gd name="connsiteY45" fmla="*/ 3947209 h 4589698"/>
                <a:gd name="connsiteX46" fmla="*/ 196135 w 5344675"/>
                <a:gd name="connsiteY46" fmla="*/ 3628491 h 4589698"/>
                <a:gd name="connsiteX47" fmla="*/ 147101 w 5344675"/>
                <a:gd name="connsiteY47" fmla="*/ 3481390 h 4589698"/>
                <a:gd name="connsiteX48" fmla="*/ 0 w 5344675"/>
                <a:gd name="connsiteY48" fmla="*/ 3481390 h 4589698"/>
                <a:gd name="connsiteX49" fmla="*/ 0 w 5344675"/>
                <a:gd name="connsiteY49" fmla="*/ 3383323 h 4589698"/>
                <a:gd name="connsiteX50" fmla="*/ 122584 w 5344675"/>
                <a:gd name="connsiteY50" fmla="*/ 3089120 h 4589698"/>
                <a:gd name="connsiteX51" fmla="*/ 147101 w 5344675"/>
                <a:gd name="connsiteY51" fmla="*/ 3015570 h 4589698"/>
                <a:gd name="connsiteX52" fmla="*/ 147101 w 5344675"/>
                <a:gd name="connsiteY52" fmla="*/ 2892986 h 4589698"/>
                <a:gd name="connsiteX53" fmla="*/ 343236 w 5344675"/>
                <a:gd name="connsiteY53" fmla="*/ 2647818 h 4589698"/>
                <a:gd name="connsiteX54" fmla="*/ 367753 w 5344675"/>
                <a:gd name="connsiteY54" fmla="*/ 2500717 h 4589698"/>
                <a:gd name="connsiteX55" fmla="*/ 367753 w 5344675"/>
                <a:gd name="connsiteY55" fmla="*/ 2451683 h 4589698"/>
                <a:gd name="connsiteX56" fmla="*/ 710989 w 5344675"/>
                <a:gd name="connsiteY56" fmla="*/ 2427166 h 4589698"/>
                <a:gd name="connsiteX57" fmla="*/ 710989 w 5344675"/>
                <a:gd name="connsiteY57" fmla="*/ 1005190 h 4589698"/>
                <a:gd name="connsiteX58" fmla="*/ 1029708 w 5344675"/>
                <a:gd name="connsiteY58" fmla="*/ 1005190 h 4589698"/>
                <a:gd name="connsiteX59" fmla="*/ 1029708 w 5344675"/>
                <a:gd name="connsiteY59" fmla="*/ 343236 h 4589698"/>
                <a:gd name="connsiteX60" fmla="*/ 3015574 w 5344675"/>
                <a:gd name="connsiteY60" fmla="*/ 343236 h 4589698"/>
                <a:gd name="connsiteX61" fmla="*/ 3064607 w 5344675"/>
                <a:gd name="connsiteY61" fmla="*/ 294202 h 4589698"/>
                <a:gd name="connsiteX62" fmla="*/ 3138158 w 5344675"/>
                <a:gd name="connsiteY62" fmla="*/ 294202 h 4589698"/>
                <a:gd name="connsiteX63" fmla="*/ 3138158 w 5344675"/>
                <a:gd name="connsiteY63" fmla="*/ 343236 h 4589698"/>
                <a:gd name="connsiteX64" fmla="*/ 3653012 w 5344675"/>
                <a:gd name="connsiteY64" fmla="*/ 343236 h 4589698"/>
                <a:gd name="connsiteX65" fmla="*/ 3800113 w 5344675"/>
                <a:gd name="connsiteY65" fmla="*/ 416786 h 4589698"/>
                <a:gd name="connsiteX66" fmla="*/ 3898181 w 5344675"/>
                <a:gd name="connsiteY66" fmla="*/ 416786 h 4589698"/>
                <a:gd name="connsiteX67" fmla="*/ 3971731 w 5344675"/>
                <a:gd name="connsiteY67" fmla="*/ 294202 h 4589698"/>
                <a:gd name="connsiteX68" fmla="*/ 4118832 w 5344675"/>
                <a:gd name="connsiteY68" fmla="*/ 245168 h 4589698"/>
                <a:gd name="connsiteX69" fmla="*/ 4192383 w 5344675"/>
                <a:gd name="connsiteY69" fmla="*/ 73551 h 4589698"/>
                <a:gd name="connsiteX70" fmla="*/ 4290450 w 5344675"/>
                <a:gd name="connsiteY70" fmla="*/ 73551 h 458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344675" h="4589698">
                  <a:moveTo>
                    <a:pt x="4413035" y="0"/>
                  </a:moveTo>
                  <a:lnTo>
                    <a:pt x="4437552" y="0"/>
                  </a:lnTo>
                  <a:lnTo>
                    <a:pt x="4854338" y="343236"/>
                  </a:lnTo>
                  <a:lnTo>
                    <a:pt x="4878855" y="539370"/>
                  </a:lnTo>
                  <a:lnTo>
                    <a:pt x="4952406" y="637438"/>
                  </a:lnTo>
                  <a:lnTo>
                    <a:pt x="5025956" y="1397459"/>
                  </a:lnTo>
                  <a:lnTo>
                    <a:pt x="5344675" y="1691661"/>
                  </a:lnTo>
                  <a:lnTo>
                    <a:pt x="5320158" y="1838762"/>
                  </a:lnTo>
                  <a:lnTo>
                    <a:pt x="4878855" y="2034897"/>
                  </a:lnTo>
                  <a:lnTo>
                    <a:pt x="4731754" y="2745885"/>
                  </a:lnTo>
                  <a:lnTo>
                    <a:pt x="4731754" y="3040087"/>
                  </a:lnTo>
                  <a:lnTo>
                    <a:pt x="4633686" y="3407839"/>
                  </a:lnTo>
                  <a:lnTo>
                    <a:pt x="4265934" y="3800109"/>
                  </a:lnTo>
                  <a:lnTo>
                    <a:pt x="4216900" y="4020760"/>
                  </a:lnTo>
                  <a:lnTo>
                    <a:pt x="4216900" y="4069794"/>
                  </a:lnTo>
                  <a:lnTo>
                    <a:pt x="3996248" y="4216895"/>
                  </a:lnTo>
                  <a:lnTo>
                    <a:pt x="3982381" y="4535837"/>
                  </a:lnTo>
                  <a:lnTo>
                    <a:pt x="3896876" y="4532548"/>
                  </a:lnTo>
                  <a:lnTo>
                    <a:pt x="3906401" y="4332523"/>
                  </a:lnTo>
                  <a:lnTo>
                    <a:pt x="3706376" y="4122973"/>
                  </a:lnTo>
                  <a:lnTo>
                    <a:pt x="3649226" y="3846748"/>
                  </a:lnTo>
                  <a:lnTo>
                    <a:pt x="3696851" y="3646723"/>
                  </a:lnTo>
                  <a:lnTo>
                    <a:pt x="3534926" y="3646723"/>
                  </a:lnTo>
                  <a:lnTo>
                    <a:pt x="3534926" y="3722923"/>
                  </a:lnTo>
                  <a:lnTo>
                    <a:pt x="3325376" y="3741973"/>
                  </a:lnTo>
                  <a:lnTo>
                    <a:pt x="3420626" y="3818173"/>
                  </a:lnTo>
                  <a:lnTo>
                    <a:pt x="3420626" y="4037248"/>
                  </a:lnTo>
                  <a:lnTo>
                    <a:pt x="3068201" y="4446823"/>
                  </a:lnTo>
                  <a:lnTo>
                    <a:pt x="2906276" y="4465873"/>
                  </a:lnTo>
                  <a:lnTo>
                    <a:pt x="2620526" y="4275373"/>
                  </a:lnTo>
                  <a:lnTo>
                    <a:pt x="2487176" y="4342048"/>
                  </a:lnTo>
                  <a:lnTo>
                    <a:pt x="2487176" y="4456348"/>
                  </a:lnTo>
                  <a:lnTo>
                    <a:pt x="2325251" y="4456348"/>
                  </a:lnTo>
                  <a:lnTo>
                    <a:pt x="2239526" y="4589698"/>
                  </a:lnTo>
                  <a:lnTo>
                    <a:pt x="2049026" y="4589698"/>
                  </a:lnTo>
                  <a:lnTo>
                    <a:pt x="1963301" y="4503973"/>
                  </a:lnTo>
                  <a:lnTo>
                    <a:pt x="1706126" y="4503973"/>
                  </a:lnTo>
                  <a:lnTo>
                    <a:pt x="1591826" y="4561123"/>
                  </a:lnTo>
                  <a:lnTo>
                    <a:pt x="1448951" y="4494448"/>
                  </a:lnTo>
                  <a:lnTo>
                    <a:pt x="1296551" y="4237273"/>
                  </a:lnTo>
                  <a:lnTo>
                    <a:pt x="1067951" y="4284898"/>
                  </a:lnTo>
                  <a:lnTo>
                    <a:pt x="1029851" y="4427773"/>
                  </a:lnTo>
                  <a:lnTo>
                    <a:pt x="563888" y="4494339"/>
                  </a:lnTo>
                  <a:lnTo>
                    <a:pt x="563888" y="4314962"/>
                  </a:lnTo>
                  <a:lnTo>
                    <a:pt x="294202" y="4020760"/>
                  </a:lnTo>
                  <a:lnTo>
                    <a:pt x="343236" y="3947209"/>
                  </a:lnTo>
                  <a:lnTo>
                    <a:pt x="196135" y="3628491"/>
                  </a:lnTo>
                  <a:lnTo>
                    <a:pt x="147101" y="3481390"/>
                  </a:lnTo>
                  <a:lnTo>
                    <a:pt x="0" y="3481390"/>
                  </a:lnTo>
                  <a:lnTo>
                    <a:pt x="0" y="3383323"/>
                  </a:lnTo>
                  <a:lnTo>
                    <a:pt x="122584" y="3089120"/>
                  </a:lnTo>
                  <a:lnTo>
                    <a:pt x="147101" y="3015570"/>
                  </a:lnTo>
                  <a:lnTo>
                    <a:pt x="147101" y="2892986"/>
                  </a:lnTo>
                  <a:lnTo>
                    <a:pt x="343236" y="2647818"/>
                  </a:lnTo>
                  <a:lnTo>
                    <a:pt x="367753" y="2500717"/>
                  </a:lnTo>
                  <a:lnTo>
                    <a:pt x="367753" y="2451683"/>
                  </a:lnTo>
                  <a:lnTo>
                    <a:pt x="710989" y="2427166"/>
                  </a:lnTo>
                  <a:lnTo>
                    <a:pt x="710989" y="1005190"/>
                  </a:lnTo>
                  <a:lnTo>
                    <a:pt x="1029708" y="1005190"/>
                  </a:lnTo>
                  <a:lnTo>
                    <a:pt x="1029708" y="343236"/>
                  </a:lnTo>
                  <a:lnTo>
                    <a:pt x="3015574" y="343236"/>
                  </a:lnTo>
                  <a:lnTo>
                    <a:pt x="3064607" y="294202"/>
                  </a:lnTo>
                  <a:lnTo>
                    <a:pt x="3138158" y="294202"/>
                  </a:lnTo>
                  <a:lnTo>
                    <a:pt x="3138158" y="343236"/>
                  </a:lnTo>
                  <a:lnTo>
                    <a:pt x="3653012" y="343236"/>
                  </a:lnTo>
                  <a:lnTo>
                    <a:pt x="3800113" y="416786"/>
                  </a:lnTo>
                  <a:lnTo>
                    <a:pt x="3898181" y="416786"/>
                  </a:lnTo>
                  <a:lnTo>
                    <a:pt x="3971731" y="294202"/>
                  </a:lnTo>
                  <a:lnTo>
                    <a:pt x="4118832" y="245168"/>
                  </a:lnTo>
                  <a:lnTo>
                    <a:pt x="4192383" y="73551"/>
                  </a:lnTo>
                  <a:lnTo>
                    <a:pt x="4290450" y="7355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6" name="South Sudan">
              <a:extLst>
                <a:ext uri="{FF2B5EF4-FFF2-40B4-BE49-F238E27FC236}">
                  <a16:creationId xmlns:a16="http://schemas.microsoft.com/office/drawing/2014/main" id="{D741F6A5-655E-07BA-F288-74C3D972BFAA}"/>
                </a:ext>
              </a:extLst>
            </p:cNvPr>
            <p:cNvSpPr>
              <a:spLocks/>
            </p:cNvSpPr>
            <p:nvPr/>
          </p:nvSpPr>
          <p:spPr bwMode="auto">
            <a:xfrm>
              <a:off x="6382420" y="4301427"/>
              <a:ext cx="294551" cy="204662"/>
            </a:xfrm>
            <a:custGeom>
              <a:avLst/>
              <a:gdLst>
                <a:gd name="connsiteX0" fmla="*/ 2971038 w 3996248"/>
                <a:gd name="connsiteY0" fmla="*/ 0 h 2776686"/>
                <a:gd name="connsiteX1" fmla="*/ 3132963 w 3996248"/>
                <a:gd name="connsiteY1" fmla="*/ 0 h 2776686"/>
                <a:gd name="connsiteX2" fmla="*/ 3085338 w 3996248"/>
                <a:gd name="connsiteY2" fmla="*/ 200025 h 2776686"/>
                <a:gd name="connsiteX3" fmla="*/ 3142488 w 3996248"/>
                <a:gd name="connsiteY3" fmla="*/ 476250 h 2776686"/>
                <a:gd name="connsiteX4" fmla="*/ 3342513 w 3996248"/>
                <a:gd name="connsiteY4" fmla="*/ 685800 h 2776686"/>
                <a:gd name="connsiteX5" fmla="*/ 3332988 w 3996248"/>
                <a:gd name="connsiteY5" fmla="*/ 885825 h 2776686"/>
                <a:gd name="connsiteX6" fmla="*/ 3418493 w 3996248"/>
                <a:gd name="connsiteY6" fmla="*/ 889114 h 2776686"/>
                <a:gd name="connsiteX7" fmla="*/ 3407843 w 3996248"/>
                <a:gd name="connsiteY7" fmla="*/ 1134059 h 2776686"/>
                <a:gd name="connsiteX8" fmla="*/ 3309776 w 3996248"/>
                <a:gd name="connsiteY8" fmla="*/ 1207609 h 2776686"/>
                <a:gd name="connsiteX9" fmla="*/ 3113641 w 3996248"/>
                <a:gd name="connsiteY9" fmla="*/ 1256643 h 2776686"/>
                <a:gd name="connsiteX10" fmla="*/ 3089124 w 3996248"/>
                <a:gd name="connsiteY10" fmla="*/ 1354710 h 2776686"/>
                <a:gd name="connsiteX11" fmla="*/ 3309776 w 3996248"/>
                <a:gd name="connsiteY11" fmla="*/ 1477294 h 2776686"/>
                <a:gd name="connsiteX12" fmla="*/ 3407843 w 3996248"/>
                <a:gd name="connsiteY12" fmla="*/ 1624395 h 2776686"/>
                <a:gd name="connsiteX13" fmla="*/ 3628495 w 3996248"/>
                <a:gd name="connsiteY13" fmla="*/ 1771496 h 2776686"/>
                <a:gd name="connsiteX14" fmla="*/ 3726562 w 3996248"/>
                <a:gd name="connsiteY14" fmla="*/ 2090215 h 2776686"/>
                <a:gd name="connsiteX15" fmla="*/ 3947214 w 3996248"/>
                <a:gd name="connsiteY15" fmla="*/ 2163766 h 2776686"/>
                <a:gd name="connsiteX16" fmla="*/ 3996248 w 3996248"/>
                <a:gd name="connsiteY16" fmla="*/ 2188282 h 2776686"/>
                <a:gd name="connsiteX17" fmla="*/ 3996248 w 3996248"/>
                <a:gd name="connsiteY17" fmla="*/ 2457967 h 2776686"/>
                <a:gd name="connsiteX18" fmla="*/ 3505911 w 3996248"/>
                <a:gd name="connsiteY18" fmla="*/ 2457967 h 2776686"/>
                <a:gd name="connsiteX19" fmla="*/ 3358809 w 3996248"/>
                <a:gd name="connsiteY19" fmla="*/ 2605068 h 2776686"/>
                <a:gd name="connsiteX20" fmla="*/ 3187191 w 3996248"/>
                <a:gd name="connsiteY20" fmla="*/ 2703136 h 2776686"/>
                <a:gd name="connsiteX21" fmla="*/ 3113641 w 3996248"/>
                <a:gd name="connsiteY21" fmla="*/ 2703136 h 2776686"/>
                <a:gd name="connsiteX22" fmla="*/ 2892989 w 3996248"/>
                <a:gd name="connsiteY22" fmla="*/ 2752169 h 2776686"/>
                <a:gd name="connsiteX23" fmla="*/ 2647820 w 3996248"/>
                <a:gd name="connsiteY23" fmla="*/ 2752169 h 2776686"/>
                <a:gd name="connsiteX24" fmla="*/ 2427169 w 3996248"/>
                <a:gd name="connsiteY24" fmla="*/ 2776686 h 2776686"/>
                <a:gd name="connsiteX25" fmla="*/ 2353618 w 3996248"/>
                <a:gd name="connsiteY25" fmla="*/ 2776686 h 2776686"/>
                <a:gd name="connsiteX26" fmla="*/ 2353618 w 3996248"/>
                <a:gd name="connsiteY26" fmla="*/ 2752169 h 2776686"/>
                <a:gd name="connsiteX27" fmla="*/ 1985865 w 3996248"/>
                <a:gd name="connsiteY27" fmla="*/ 2457967 h 2776686"/>
                <a:gd name="connsiteX28" fmla="*/ 1887798 w 3996248"/>
                <a:gd name="connsiteY28" fmla="*/ 2482484 h 2776686"/>
                <a:gd name="connsiteX29" fmla="*/ 1691663 w 3996248"/>
                <a:gd name="connsiteY29" fmla="*/ 2482484 h 2776686"/>
                <a:gd name="connsiteX30" fmla="*/ 1618112 w 3996248"/>
                <a:gd name="connsiteY30" fmla="*/ 2531518 h 2776686"/>
                <a:gd name="connsiteX31" fmla="*/ 1593596 w 3996248"/>
                <a:gd name="connsiteY31" fmla="*/ 2531518 h 2776686"/>
                <a:gd name="connsiteX32" fmla="*/ 1446495 w 3996248"/>
                <a:gd name="connsiteY32" fmla="*/ 2457967 h 2776686"/>
                <a:gd name="connsiteX33" fmla="*/ 1299393 w 3996248"/>
                <a:gd name="connsiteY33" fmla="*/ 2261833 h 2776686"/>
                <a:gd name="connsiteX34" fmla="*/ 1201326 w 3996248"/>
                <a:gd name="connsiteY34" fmla="*/ 2090215 h 2776686"/>
                <a:gd name="connsiteX35" fmla="*/ 1005191 w 3996248"/>
                <a:gd name="connsiteY35" fmla="*/ 1967631 h 2776686"/>
                <a:gd name="connsiteX36" fmla="*/ 858090 w 3996248"/>
                <a:gd name="connsiteY36" fmla="*/ 1722463 h 2776686"/>
                <a:gd name="connsiteX37" fmla="*/ 563888 w 3996248"/>
                <a:gd name="connsiteY37" fmla="*/ 1501811 h 2776686"/>
                <a:gd name="connsiteX38" fmla="*/ 539371 w 3996248"/>
                <a:gd name="connsiteY38" fmla="*/ 1501811 h 2776686"/>
                <a:gd name="connsiteX39" fmla="*/ 539371 w 3996248"/>
                <a:gd name="connsiteY39" fmla="*/ 1477294 h 2776686"/>
                <a:gd name="connsiteX40" fmla="*/ 490337 w 3996248"/>
                <a:gd name="connsiteY40" fmla="*/ 1330193 h 2776686"/>
                <a:gd name="connsiteX41" fmla="*/ 220652 w 3996248"/>
                <a:gd name="connsiteY41" fmla="*/ 1256643 h 2776686"/>
                <a:gd name="connsiteX42" fmla="*/ 220652 w 3996248"/>
                <a:gd name="connsiteY42" fmla="*/ 1207609 h 2776686"/>
                <a:gd name="connsiteX43" fmla="*/ 171618 w 3996248"/>
                <a:gd name="connsiteY43" fmla="*/ 1134059 h 2776686"/>
                <a:gd name="connsiteX44" fmla="*/ 0 w 3996248"/>
                <a:gd name="connsiteY44" fmla="*/ 1060508 h 2776686"/>
                <a:gd name="connsiteX45" fmla="*/ 0 w 3996248"/>
                <a:gd name="connsiteY45" fmla="*/ 847616 h 2776686"/>
                <a:gd name="connsiteX46" fmla="*/ 465963 w 3996248"/>
                <a:gd name="connsiteY46" fmla="*/ 781050 h 2776686"/>
                <a:gd name="connsiteX47" fmla="*/ 504063 w 3996248"/>
                <a:gd name="connsiteY47" fmla="*/ 638175 h 2776686"/>
                <a:gd name="connsiteX48" fmla="*/ 732663 w 3996248"/>
                <a:gd name="connsiteY48" fmla="*/ 590550 h 2776686"/>
                <a:gd name="connsiteX49" fmla="*/ 885063 w 3996248"/>
                <a:gd name="connsiteY49" fmla="*/ 847725 h 2776686"/>
                <a:gd name="connsiteX50" fmla="*/ 1027938 w 3996248"/>
                <a:gd name="connsiteY50" fmla="*/ 914400 h 2776686"/>
                <a:gd name="connsiteX51" fmla="*/ 1142238 w 3996248"/>
                <a:gd name="connsiteY51" fmla="*/ 857250 h 2776686"/>
                <a:gd name="connsiteX52" fmla="*/ 1399413 w 3996248"/>
                <a:gd name="connsiteY52" fmla="*/ 857250 h 2776686"/>
                <a:gd name="connsiteX53" fmla="*/ 1485138 w 3996248"/>
                <a:gd name="connsiteY53" fmla="*/ 942975 h 2776686"/>
                <a:gd name="connsiteX54" fmla="*/ 1675638 w 3996248"/>
                <a:gd name="connsiteY54" fmla="*/ 942975 h 2776686"/>
                <a:gd name="connsiteX55" fmla="*/ 1761363 w 3996248"/>
                <a:gd name="connsiteY55" fmla="*/ 809625 h 2776686"/>
                <a:gd name="connsiteX56" fmla="*/ 1923288 w 3996248"/>
                <a:gd name="connsiteY56" fmla="*/ 809625 h 2776686"/>
                <a:gd name="connsiteX57" fmla="*/ 1923288 w 3996248"/>
                <a:gd name="connsiteY57" fmla="*/ 695325 h 2776686"/>
                <a:gd name="connsiteX58" fmla="*/ 2056638 w 3996248"/>
                <a:gd name="connsiteY58" fmla="*/ 628650 h 2776686"/>
                <a:gd name="connsiteX59" fmla="*/ 2342388 w 3996248"/>
                <a:gd name="connsiteY59" fmla="*/ 819150 h 2776686"/>
                <a:gd name="connsiteX60" fmla="*/ 2504313 w 3996248"/>
                <a:gd name="connsiteY60" fmla="*/ 800100 h 2776686"/>
                <a:gd name="connsiteX61" fmla="*/ 2856738 w 3996248"/>
                <a:gd name="connsiteY61" fmla="*/ 390525 h 2776686"/>
                <a:gd name="connsiteX62" fmla="*/ 2856738 w 3996248"/>
                <a:gd name="connsiteY62" fmla="*/ 171450 h 2776686"/>
                <a:gd name="connsiteX63" fmla="*/ 2761488 w 3996248"/>
                <a:gd name="connsiteY63" fmla="*/ 95250 h 2776686"/>
                <a:gd name="connsiteX64" fmla="*/ 2971038 w 3996248"/>
                <a:gd name="connsiteY64" fmla="*/ 76200 h 277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96248" h="2776686">
                  <a:moveTo>
                    <a:pt x="2971038" y="0"/>
                  </a:moveTo>
                  <a:lnTo>
                    <a:pt x="3132963" y="0"/>
                  </a:lnTo>
                  <a:lnTo>
                    <a:pt x="3085338" y="200025"/>
                  </a:lnTo>
                  <a:lnTo>
                    <a:pt x="3142488" y="476250"/>
                  </a:lnTo>
                  <a:lnTo>
                    <a:pt x="3342513" y="685800"/>
                  </a:lnTo>
                  <a:lnTo>
                    <a:pt x="3332988" y="885825"/>
                  </a:lnTo>
                  <a:lnTo>
                    <a:pt x="3418493" y="889114"/>
                  </a:lnTo>
                  <a:lnTo>
                    <a:pt x="3407843" y="1134059"/>
                  </a:lnTo>
                  <a:lnTo>
                    <a:pt x="3309776" y="1207609"/>
                  </a:lnTo>
                  <a:lnTo>
                    <a:pt x="3113641" y="1256643"/>
                  </a:lnTo>
                  <a:lnTo>
                    <a:pt x="3089124" y="1354710"/>
                  </a:lnTo>
                  <a:lnTo>
                    <a:pt x="3309776" y="1477294"/>
                  </a:lnTo>
                  <a:lnTo>
                    <a:pt x="3407843" y="1624395"/>
                  </a:lnTo>
                  <a:lnTo>
                    <a:pt x="3628495" y="1771496"/>
                  </a:lnTo>
                  <a:lnTo>
                    <a:pt x="3726562" y="2090215"/>
                  </a:lnTo>
                  <a:lnTo>
                    <a:pt x="3947214" y="2163766"/>
                  </a:lnTo>
                  <a:lnTo>
                    <a:pt x="3996248" y="2188282"/>
                  </a:lnTo>
                  <a:lnTo>
                    <a:pt x="3996248" y="2457967"/>
                  </a:lnTo>
                  <a:lnTo>
                    <a:pt x="3505911" y="2457967"/>
                  </a:lnTo>
                  <a:lnTo>
                    <a:pt x="3358809" y="2605068"/>
                  </a:lnTo>
                  <a:lnTo>
                    <a:pt x="3187191" y="2703136"/>
                  </a:lnTo>
                  <a:lnTo>
                    <a:pt x="3113641" y="2703136"/>
                  </a:lnTo>
                  <a:lnTo>
                    <a:pt x="2892989" y="2752169"/>
                  </a:lnTo>
                  <a:lnTo>
                    <a:pt x="2647820" y="2752169"/>
                  </a:lnTo>
                  <a:lnTo>
                    <a:pt x="2427169" y="2776686"/>
                  </a:lnTo>
                  <a:lnTo>
                    <a:pt x="2353618" y="2776686"/>
                  </a:lnTo>
                  <a:lnTo>
                    <a:pt x="2353618" y="2752169"/>
                  </a:lnTo>
                  <a:lnTo>
                    <a:pt x="1985865" y="2457967"/>
                  </a:lnTo>
                  <a:lnTo>
                    <a:pt x="1887798" y="2482484"/>
                  </a:lnTo>
                  <a:lnTo>
                    <a:pt x="1691663" y="2482484"/>
                  </a:lnTo>
                  <a:lnTo>
                    <a:pt x="1618112" y="2531518"/>
                  </a:lnTo>
                  <a:lnTo>
                    <a:pt x="1593596" y="2531518"/>
                  </a:lnTo>
                  <a:lnTo>
                    <a:pt x="1446495" y="2457967"/>
                  </a:lnTo>
                  <a:lnTo>
                    <a:pt x="1299393" y="2261833"/>
                  </a:lnTo>
                  <a:lnTo>
                    <a:pt x="1201326" y="2090215"/>
                  </a:lnTo>
                  <a:lnTo>
                    <a:pt x="1005191" y="1967631"/>
                  </a:lnTo>
                  <a:lnTo>
                    <a:pt x="858090" y="1722463"/>
                  </a:lnTo>
                  <a:lnTo>
                    <a:pt x="563888" y="1501811"/>
                  </a:lnTo>
                  <a:lnTo>
                    <a:pt x="539371" y="1501811"/>
                  </a:lnTo>
                  <a:lnTo>
                    <a:pt x="539371" y="1477294"/>
                  </a:lnTo>
                  <a:lnTo>
                    <a:pt x="490337" y="1330193"/>
                  </a:lnTo>
                  <a:lnTo>
                    <a:pt x="220652" y="1256643"/>
                  </a:lnTo>
                  <a:lnTo>
                    <a:pt x="220652" y="1207609"/>
                  </a:lnTo>
                  <a:lnTo>
                    <a:pt x="171618" y="1134059"/>
                  </a:lnTo>
                  <a:lnTo>
                    <a:pt x="0" y="1060508"/>
                  </a:lnTo>
                  <a:lnTo>
                    <a:pt x="0" y="847616"/>
                  </a:lnTo>
                  <a:lnTo>
                    <a:pt x="465963" y="781050"/>
                  </a:lnTo>
                  <a:lnTo>
                    <a:pt x="504063" y="638175"/>
                  </a:lnTo>
                  <a:lnTo>
                    <a:pt x="732663" y="590550"/>
                  </a:lnTo>
                  <a:lnTo>
                    <a:pt x="885063" y="847725"/>
                  </a:lnTo>
                  <a:lnTo>
                    <a:pt x="1027938" y="914400"/>
                  </a:lnTo>
                  <a:lnTo>
                    <a:pt x="1142238" y="857250"/>
                  </a:lnTo>
                  <a:lnTo>
                    <a:pt x="1399413" y="857250"/>
                  </a:lnTo>
                  <a:lnTo>
                    <a:pt x="1485138" y="942975"/>
                  </a:lnTo>
                  <a:lnTo>
                    <a:pt x="1675638" y="942975"/>
                  </a:lnTo>
                  <a:lnTo>
                    <a:pt x="1761363" y="809625"/>
                  </a:lnTo>
                  <a:lnTo>
                    <a:pt x="1923288" y="809625"/>
                  </a:lnTo>
                  <a:lnTo>
                    <a:pt x="1923288" y="695325"/>
                  </a:lnTo>
                  <a:lnTo>
                    <a:pt x="2056638" y="628650"/>
                  </a:lnTo>
                  <a:lnTo>
                    <a:pt x="2342388" y="819150"/>
                  </a:lnTo>
                  <a:lnTo>
                    <a:pt x="2504313" y="800100"/>
                  </a:lnTo>
                  <a:lnTo>
                    <a:pt x="2856738" y="390525"/>
                  </a:lnTo>
                  <a:lnTo>
                    <a:pt x="2856738" y="171450"/>
                  </a:lnTo>
                  <a:lnTo>
                    <a:pt x="2761488" y="95250"/>
                  </a:lnTo>
                  <a:lnTo>
                    <a:pt x="2971038" y="7620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7" name="South Africa">
              <a:extLst>
                <a:ext uri="{FF2B5EF4-FFF2-40B4-BE49-F238E27FC236}">
                  <a16:creationId xmlns:a16="http://schemas.microsoft.com/office/drawing/2014/main" id="{D491CA7B-FA75-F305-6DCB-AFD7DC02D1C4}"/>
                </a:ext>
              </a:extLst>
            </p:cNvPr>
            <p:cNvSpPr>
              <a:spLocks/>
            </p:cNvSpPr>
            <p:nvPr/>
          </p:nvSpPr>
          <p:spPr bwMode="auto">
            <a:xfrm>
              <a:off x="6212555" y="5120490"/>
              <a:ext cx="392133" cy="339728"/>
            </a:xfrm>
            <a:custGeom>
              <a:avLst/>
              <a:gdLst>
                <a:gd name="T0" fmla="*/ 188 w 217"/>
                <a:gd name="T1" fmla="*/ 1 h 188"/>
                <a:gd name="T2" fmla="*/ 203 w 217"/>
                <a:gd name="T3" fmla="*/ 31 h 188"/>
                <a:gd name="T4" fmla="*/ 203 w 217"/>
                <a:gd name="T5" fmla="*/ 54 h 188"/>
                <a:gd name="T6" fmla="*/ 197 w 217"/>
                <a:gd name="T7" fmla="*/ 51 h 188"/>
                <a:gd name="T8" fmla="*/ 190 w 217"/>
                <a:gd name="T9" fmla="*/ 63 h 188"/>
                <a:gd name="T10" fmla="*/ 197 w 217"/>
                <a:gd name="T11" fmla="*/ 72 h 188"/>
                <a:gd name="T12" fmla="*/ 205 w 217"/>
                <a:gd name="T13" fmla="*/ 66 h 188"/>
                <a:gd name="T14" fmla="*/ 217 w 217"/>
                <a:gd name="T15" fmla="*/ 65 h 188"/>
                <a:gd name="T16" fmla="*/ 211 w 217"/>
                <a:gd name="T17" fmla="*/ 92 h 188"/>
                <a:gd name="T18" fmla="*/ 180 w 217"/>
                <a:gd name="T19" fmla="*/ 133 h 188"/>
                <a:gd name="T20" fmla="*/ 143 w 217"/>
                <a:gd name="T21" fmla="*/ 170 h 188"/>
                <a:gd name="T22" fmla="*/ 123 w 217"/>
                <a:gd name="T23" fmla="*/ 178 h 188"/>
                <a:gd name="T24" fmla="*/ 116 w 217"/>
                <a:gd name="T25" fmla="*/ 176 h 188"/>
                <a:gd name="T26" fmla="*/ 111 w 217"/>
                <a:gd name="T27" fmla="*/ 179 h 188"/>
                <a:gd name="T28" fmla="*/ 107 w 217"/>
                <a:gd name="T29" fmla="*/ 180 h 188"/>
                <a:gd name="T30" fmla="*/ 91 w 217"/>
                <a:gd name="T31" fmla="*/ 179 h 188"/>
                <a:gd name="T32" fmla="*/ 80 w 217"/>
                <a:gd name="T33" fmla="*/ 178 h 188"/>
                <a:gd name="T34" fmla="*/ 54 w 217"/>
                <a:gd name="T35" fmla="*/ 183 h 188"/>
                <a:gd name="T36" fmla="*/ 31 w 217"/>
                <a:gd name="T37" fmla="*/ 182 h 188"/>
                <a:gd name="T38" fmla="*/ 27 w 217"/>
                <a:gd name="T39" fmla="*/ 178 h 188"/>
                <a:gd name="T40" fmla="*/ 20 w 217"/>
                <a:gd name="T41" fmla="*/ 160 h 188"/>
                <a:gd name="T42" fmla="*/ 22 w 217"/>
                <a:gd name="T43" fmla="*/ 155 h 188"/>
                <a:gd name="T44" fmla="*/ 24 w 217"/>
                <a:gd name="T45" fmla="*/ 143 h 188"/>
                <a:gd name="T46" fmla="*/ 0 w 217"/>
                <a:gd name="T47" fmla="*/ 94 h 188"/>
                <a:gd name="T48" fmla="*/ 9 w 217"/>
                <a:gd name="T49" fmla="*/ 89 h 188"/>
                <a:gd name="T50" fmla="*/ 18 w 217"/>
                <a:gd name="T51" fmla="*/ 99 h 188"/>
                <a:gd name="T52" fmla="*/ 46 w 217"/>
                <a:gd name="T53" fmla="*/ 92 h 188"/>
                <a:gd name="T54" fmla="*/ 58 w 217"/>
                <a:gd name="T55" fmla="*/ 50 h 188"/>
                <a:gd name="T56" fmla="*/ 67 w 217"/>
                <a:gd name="T57" fmla="*/ 66 h 188"/>
                <a:gd name="T58" fmla="*/ 91 w 217"/>
                <a:gd name="T59" fmla="*/ 47 h 188"/>
                <a:gd name="T60" fmla="*/ 97 w 217"/>
                <a:gd name="T61" fmla="*/ 46 h 188"/>
                <a:gd name="T62" fmla="*/ 119 w 217"/>
                <a:gd name="T63" fmla="*/ 49 h 188"/>
                <a:gd name="T64" fmla="*/ 146 w 217"/>
                <a:gd name="T65" fmla="*/ 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188">
                  <a:moveTo>
                    <a:pt x="169" y="0"/>
                  </a:moveTo>
                  <a:lnTo>
                    <a:pt x="188" y="1"/>
                  </a:lnTo>
                  <a:lnTo>
                    <a:pt x="199" y="7"/>
                  </a:lnTo>
                  <a:lnTo>
                    <a:pt x="203" y="31"/>
                  </a:lnTo>
                  <a:lnTo>
                    <a:pt x="205" y="53"/>
                  </a:lnTo>
                  <a:lnTo>
                    <a:pt x="203" y="54"/>
                  </a:lnTo>
                  <a:lnTo>
                    <a:pt x="202" y="54"/>
                  </a:lnTo>
                  <a:lnTo>
                    <a:pt x="197" y="51"/>
                  </a:lnTo>
                  <a:lnTo>
                    <a:pt x="194" y="53"/>
                  </a:lnTo>
                  <a:lnTo>
                    <a:pt x="190" y="63"/>
                  </a:lnTo>
                  <a:lnTo>
                    <a:pt x="193" y="71"/>
                  </a:lnTo>
                  <a:lnTo>
                    <a:pt x="197" y="72"/>
                  </a:lnTo>
                  <a:lnTo>
                    <a:pt x="200" y="72"/>
                  </a:lnTo>
                  <a:lnTo>
                    <a:pt x="205" y="66"/>
                  </a:lnTo>
                  <a:lnTo>
                    <a:pt x="205" y="65"/>
                  </a:lnTo>
                  <a:lnTo>
                    <a:pt x="217" y="65"/>
                  </a:lnTo>
                  <a:lnTo>
                    <a:pt x="217" y="66"/>
                  </a:lnTo>
                  <a:lnTo>
                    <a:pt x="211" y="92"/>
                  </a:lnTo>
                  <a:lnTo>
                    <a:pt x="197" y="103"/>
                  </a:lnTo>
                  <a:lnTo>
                    <a:pt x="180" y="133"/>
                  </a:lnTo>
                  <a:lnTo>
                    <a:pt x="160" y="155"/>
                  </a:lnTo>
                  <a:lnTo>
                    <a:pt x="143" y="170"/>
                  </a:lnTo>
                  <a:lnTo>
                    <a:pt x="123" y="173"/>
                  </a:lnTo>
                  <a:lnTo>
                    <a:pt x="123" y="178"/>
                  </a:lnTo>
                  <a:lnTo>
                    <a:pt x="119" y="178"/>
                  </a:lnTo>
                  <a:lnTo>
                    <a:pt x="116" y="176"/>
                  </a:lnTo>
                  <a:lnTo>
                    <a:pt x="113" y="176"/>
                  </a:lnTo>
                  <a:lnTo>
                    <a:pt x="111" y="179"/>
                  </a:lnTo>
                  <a:lnTo>
                    <a:pt x="111" y="180"/>
                  </a:lnTo>
                  <a:lnTo>
                    <a:pt x="107" y="180"/>
                  </a:lnTo>
                  <a:lnTo>
                    <a:pt x="100" y="179"/>
                  </a:lnTo>
                  <a:lnTo>
                    <a:pt x="91" y="179"/>
                  </a:lnTo>
                  <a:lnTo>
                    <a:pt x="83" y="178"/>
                  </a:lnTo>
                  <a:lnTo>
                    <a:pt x="80" y="178"/>
                  </a:lnTo>
                  <a:lnTo>
                    <a:pt x="71" y="182"/>
                  </a:lnTo>
                  <a:lnTo>
                    <a:pt x="54" y="183"/>
                  </a:lnTo>
                  <a:lnTo>
                    <a:pt x="48" y="188"/>
                  </a:lnTo>
                  <a:lnTo>
                    <a:pt x="31" y="182"/>
                  </a:lnTo>
                  <a:lnTo>
                    <a:pt x="31" y="178"/>
                  </a:lnTo>
                  <a:lnTo>
                    <a:pt x="27" y="178"/>
                  </a:lnTo>
                  <a:lnTo>
                    <a:pt x="27" y="172"/>
                  </a:lnTo>
                  <a:lnTo>
                    <a:pt x="20" y="160"/>
                  </a:lnTo>
                  <a:lnTo>
                    <a:pt x="20" y="155"/>
                  </a:lnTo>
                  <a:lnTo>
                    <a:pt x="22" y="155"/>
                  </a:lnTo>
                  <a:lnTo>
                    <a:pt x="24" y="152"/>
                  </a:lnTo>
                  <a:lnTo>
                    <a:pt x="24" y="143"/>
                  </a:lnTo>
                  <a:lnTo>
                    <a:pt x="14" y="124"/>
                  </a:lnTo>
                  <a:lnTo>
                    <a:pt x="0" y="94"/>
                  </a:lnTo>
                  <a:lnTo>
                    <a:pt x="0" y="93"/>
                  </a:lnTo>
                  <a:lnTo>
                    <a:pt x="9" y="89"/>
                  </a:lnTo>
                  <a:lnTo>
                    <a:pt x="17" y="93"/>
                  </a:lnTo>
                  <a:lnTo>
                    <a:pt x="18" y="99"/>
                  </a:lnTo>
                  <a:lnTo>
                    <a:pt x="36" y="99"/>
                  </a:lnTo>
                  <a:lnTo>
                    <a:pt x="46" y="92"/>
                  </a:lnTo>
                  <a:lnTo>
                    <a:pt x="46" y="37"/>
                  </a:lnTo>
                  <a:lnTo>
                    <a:pt x="58" y="50"/>
                  </a:lnTo>
                  <a:lnTo>
                    <a:pt x="58" y="65"/>
                  </a:lnTo>
                  <a:lnTo>
                    <a:pt x="67" y="66"/>
                  </a:lnTo>
                  <a:lnTo>
                    <a:pt x="76" y="63"/>
                  </a:lnTo>
                  <a:lnTo>
                    <a:pt x="91" y="47"/>
                  </a:lnTo>
                  <a:lnTo>
                    <a:pt x="91" y="46"/>
                  </a:lnTo>
                  <a:lnTo>
                    <a:pt x="97" y="46"/>
                  </a:lnTo>
                  <a:lnTo>
                    <a:pt x="110" y="50"/>
                  </a:lnTo>
                  <a:lnTo>
                    <a:pt x="119" y="49"/>
                  </a:lnTo>
                  <a:lnTo>
                    <a:pt x="123" y="38"/>
                  </a:lnTo>
                  <a:lnTo>
                    <a:pt x="146" y="14"/>
                  </a:lnTo>
                  <a:lnTo>
                    <a:pt x="16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8" name="Somalia">
              <a:extLst>
                <a:ext uri="{FF2B5EF4-FFF2-40B4-BE49-F238E27FC236}">
                  <a16:creationId xmlns:a16="http://schemas.microsoft.com/office/drawing/2014/main" id="{E0EB6E25-99F6-68F7-7BF7-57E4FFDA6358}"/>
                </a:ext>
              </a:extLst>
            </p:cNvPr>
            <p:cNvSpPr>
              <a:spLocks/>
            </p:cNvSpPr>
            <p:nvPr/>
          </p:nvSpPr>
          <p:spPr bwMode="auto">
            <a:xfrm>
              <a:off x="6794428" y="4305506"/>
              <a:ext cx="243954" cy="323464"/>
            </a:xfrm>
            <a:custGeom>
              <a:avLst/>
              <a:gdLst>
                <a:gd name="T0" fmla="*/ 126 w 135"/>
                <a:gd name="T1" fmla="*/ 0 h 179"/>
                <a:gd name="T2" fmla="*/ 133 w 135"/>
                <a:gd name="T3" fmla="*/ 3 h 179"/>
                <a:gd name="T4" fmla="*/ 133 w 135"/>
                <a:gd name="T5" fmla="*/ 4 h 179"/>
                <a:gd name="T6" fmla="*/ 132 w 135"/>
                <a:gd name="T7" fmla="*/ 10 h 179"/>
                <a:gd name="T8" fmla="*/ 133 w 135"/>
                <a:gd name="T9" fmla="*/ 19 h 179"/>
                <a:gd name="T10" fmla="*/ 132 w 135"/>
                <a:gd name="T11" fmla="*/ 21 h 179"/>
                <a:gd name="T12" fmla="*/ 135 w 135"/>
                <a:gd name="T13" fmla="*/ 22 h 179"/>
                <a:gd name="T14" fmla="*/ 135 w 135"/>
                <a:gd name="T15" fmla="*/ 24 h 179"/>
                <a:gd name="T16" fmla="*/ 129 w 135"/>
                <a:gd name="T17" fmla="*/ 24 h 179"/>
                <a:gd name="T18" fmla="*/ 127 w 135"/>
                <a:gd name="T19" fmla="*/ 38 h 179"/>
                <a:gd name="T20" fmla="*/ 120 w 135"/>
                <a:gd name="T21" fmla="*/ 50 h 179"/>
                <a:gd name="T22" fmla="*/ 116 w 135"/>
                <a:gd name="T23" fmla="*/ 53 h 179"/>
                <a:gd name="T24" fmla="*/ 104 w 135"/>
                <a:gd name="T25" fmla="*/ 83 h 179"/>
                <a:gd name="T26" fmla="*/ 96 w 135"/>
                <a:gd name="T27" fmla="*/ 92 h 179"/>
                <a:gd name="T28" fmla="*/ 87 w 135"/>
                <a:gd name="T29" fmla="*/ 105 h 179"/>
                <a:gd name="T30" fmla="*/ 64 w 135"/>
                <a:gd name="T31" fmla="*/ 127 h 179"/>
                <a:gd name="T32" fmla="*/ 52 w 135"/>
                <a:gd name="T33" fmla="*/ 135 h 179"/>
                <a:gd name="T34" fmla="*/ 27 w 135"/>
                <a:gd name="T35" fmla="*/ 159 h 179"/>
                <a:gd name="T36" fmla="*/ 22 w 135"/>
                <a:gd name="T37" fmla="*/ 160 h 179"/>
                <a:gd name="T38" fmla="*/ 21 w 135"/>
                <a:gd name="T39" fmla="*/ 164 h 179"/>
                <a:gd name="T40" fmla="*/ 9 w 135"/>
                <a:gd name="T41" fmla="*/ 179 h 179"/>
                <a:gd name="T42" fmla="*/ 7 w 135"/>
                <a:gd name="T43" fmla="*/ 179 h 179"/>
                <a:gd name="T44" fmla="*/ 0 w 135"/>
                <a:gd name="T45" fmla="*/ 169 h 179"/>
                <a:gd name="T46" fmla="*/ 0 w 135"/>
                <a:gd name="T47" fmla="*/ 120 h 179"/>
                <a:gd name="T48" fmla="*/ 12 w 135"/>
                <a:gd name="T49" fmla="*/ 105 h 179"/>
                <a:gd name="T50" fmla="*/ 38 w 135"/>
                <a:gd name="T51" fmla="*/ 92 h 179"/>
                <a:gd name="T52" fmla="*/ 53 w 135"/>
                <a:gd name="T53" fmla="*/ 90 h 179"/>
                <a:gd name="T54" fmla="*/ 89 w 135"/>
                <a:gd name="T55" fmla="*/ 56 h 179"/>
                <a:gd name="T56" fmla="*/ 90 w 135"/>
                <a:gd name="T57" fmla="*/ 52 h 179"/>
                <a:gd name="T58" fmla="*/ 80 w 135"/>
                <a:gd name="T59" fmla="*/ 53 h 179"/>
                <a:gd name="T60" fmla="*/ 40 w 135"/>
                <a:gd name="T61" fmla="*/ 38 h 179"/>
                <a:gd name="T62" fmla="*/ 25 w 135"/>
                <a:gd name="T63" fmla="*/ 24 h 179"/>
                <a:gd name="T64" fmla="*/ 25 w 135"/>
                <a:gd name="T65" fmla="*/ 15 h 179"/>
                <a:gd name="T66" fmla="*/ 28 w 135"/>
                <a:gd name="T67" fmla="*/ 7 h 179"/>
                <a:gd name="T68" fmla="*/ 30 w 135"/>
                <a:gd name="T69" fmla="*/ 6 h 179"/>
                <a:gd name="T70" fmla="*/ 46 w 135"/>
                <a:gd name="T71" fmla="*/ 21 h 179"/>
                <a:gd name="T72" fmla="*/ 52 w 135"/>
                <a:gd name="T73" fmla="*/ 21 h 179"/>
                <a:gd name="T74" fmla="*/ 62 w 135"/>
                <a:gd name="T75" fmla="*/ 15 h 179"/>
                <a:gd name="T76" fmla="*/ 73 w 135"/>
                <a:gd name="T77" fmla="*/ 16 h 179"/>
                <a:gd name="T78" fmla="*/ 81 w 135"/>
                <a:gd name="T79" fmla="*/ 12 h 179"/>
                <a:gd name="T80" fmla="*/ 107 w 135"/>
                <a:gd name="T81" fmla="*/ 7 h 179"/>
                <a:gd name="T82" fmla="*/ 118 w 135"/>
                <a:gd name="T83" fmla="*/ 6 h 179"/>
                <a:gd name="T84" fmla="*/ 126 w 135"/>
                <a:gd name="T85"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79">
                  <a:moveTo>
                    <a:pt x="126" y="0"/>
                  </a:moveTo>
                  <a:lnTo>
                    <a:pt x="133" y="3"/>
                  </a:lnTo>
                  <a:lnTo>
                    <a:pt x="133" y="4"/>
                  </a:lnTo>
                  <a:lnTo>
                    <a:pt x="132" y="10"/>
                  </a:lnTo>
                  <a:lnTo>
                    <a:pt x="133" y="19"/>
                  </a:lnTo>
                  <a:lnTo>
                    <a:pt x="132" y="21"/>
                  </a:lnTo>
                  <a:lnTo>
                    <a:pt x="135" y="22"/>
                  </a:lnTo>
                  <a:lnTo>
                    <a:pt x="135" y="24"/>
                  </a:lnTo>
                  <a:lnTo>
                    <a:pt x="129" y="24"/>
                  </a:lnTo>
                  <a:lnTo>
                    <a:pt x="127" y="38"/>
                  </a:lnTo>
                  <a:lnTo>
                    <a:pt x="120" y="50"/>
                  </a:lnTo>
                  <a:lnTo>
                    <a:pt x="116" y="53"/>
                  </a:lnTo>
                  <a:lnTo>
                    <a:pt x="104" y="83"/>
                  </a:lnTo>
                  <a:lnTo>
                    <a:pt x="96" y="92"/>
                  </a:lnTo>
                  <a:lnTo>
                    <a:pt x="87" y="105"/>
                  </a:lnTo>
                  <a:lnTo>
                    <a:pt x="64" y="127"/>
                  </a:lnTo>
                  <a:lnTo>
                    <a:pt x="52" y="135"/>
                  </a:lnTo>
                  <a:lnTo>
                    <a:pt x="27" y="159"/>
                  </a:lnTo>
                  <a:lnTo>
                    <a:pt x="22" y="160"/>
                  </a:lnTo>
                  <a:lnTo>
                    <a:pt x="21" y="164"/>
                  </a:lnTo>
                  <a:lnTo>
                    <a:pt x="9" y="179"/>
                  </a:lnTo>
                  <a:lnTo>
                    <a:pt x="7" y="179"/>
                  </a:lnTo>
                  <a:lnTo>
                    <a:pt x="0" y="169"/>
                  </a:lnTo>
                  <a:lnTo>
                    <a:pt x="0" y="120"/>
                  </a:lnTo>
                  <a:lnTo>
                    <a:pt x="12" y="105"/>
                  </a:lnTo>
                  <a:lnTo>
                    <a:pt x="38" y="92"/>
                  </a:lnTo>
                  <a:lnTo>
                    <a:pt x="53" y="90"/>
                  </a:lnTo>
                  <a:lnTo>
                    <a:pt x="89" y="56"/>
                  </a:lnTo>
                  <a:lnTo>
                    <a:pt x="90" y="52"/>
                  </a:lnTo>
                  <a:lnTo>
                    <a:pt x="80" y="53"/>
                  </a:lnTo>
                  <a:lnTo>
                    <a:pt x="40" y="38"/>
                  </a:lnTo>
                  <a:lnTo>
                    <a:pt x="25" y="24"/>
                  </a:lnTo>
                  <a:lnTo>
                    <a:pt x="25" y="15"/>
                  </a:lnTo>
                  <a:lnTo>
                    <a:pt x="28" y="7"/>
                  </a:lnTo>
                  <a:lnTo>
                    <a:pt x="30" y="6"/>
                  </a:lnTo>
                  <a:lnTo>
                    <a:pt x="46" y="21"/>
                  </a:lnTo>
                  <a:lnTo>
                    <a:pt x="52" y="21"/>
                  </a:lnTo>
                  <a:lnTo>
                    <a:pt x="62" y="15"/>
                  </a:lnTo>
                  <a:lnTo>
                    <a:pt x="73" y="16"/>
                  </a:lnTo>
                  <a:lnTo>
                    <a:pt x="81" y="12"/>
                  </a:lnTo>
                  <a:lnTo>
                    <a:pt x="107" y="7"/>
                  </a:lnTo>
                  <a:lnTo>
                    <a:pt x="118" y="6"/>
                  </a:lnTo>
                  <a:lnTo>
                    <a:pt x="12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9" name="Senegal">
              <a:extLst>
                <a:ext uri="{FF2B5EF4-FFF2-40B4-BE49-F238E27FC236}">
                  <a16:creationId xmlns:a16="http://schemas.microsoft.com/office/drawing/2014/main" id="{9186E719-CBE9-BEEE-164B-2A2B44A20E7B}"/>
                </a:ext>
              </a:extLst>
            </p:cNvPr>
            <p:cNvSpPr>
              <a:spLocks/>
            </p:cNvSpPr>
            <p:nvPr/>
          </p:nvSpPr>
          <p:spPr bwMode="auto">
            <a:xfrm>
              <a:off x="5412028" y="4189854"/>
              <a:ext cx="149986" cy="106617"/>
            </a:xfrm>
            <a:custGeom>
              <a:avLst/>
              <a:gdLst>
                <a:gd name="T0" fmla="*/ 39 w 83"/>
                <a:gd name="T1" fmla="*/ 0 h 59"/>
                <a:gd name="T2" fmla="*/ 43 w 83"/>
                <a:gd name="T3" fmla="*/ 0 h 59"/>
                <a:gd name="T4" fmla="*/ 50 w 83"/>
                <a:gd name="T5" fmla="*/ 8 h 59"/>
                <a:gd name="T6" fmla="*/ 55 w 83"/>
                <a:gd name="T7" fmla="*/ 8 h 59"/>
                <a:gd name="T8" fmla="*/ 62 w 83"/>
                <a:gd name="T9" fmla="*/ 19 h 59"/>
                <a:gd name="T10" fmla="*/ 73 w 83"/>
                <a:gd name="T11" fmla="*/ 25 h 59"/>
                <a:gd name="T12" fmla="*/ 76 w 83"/>
                <a:gd name="T13" fmla="*/ 37 h 59"/>
                <a:gd name="T14" fmla="*/ 74 w 83"/>
                <a:gd name="T15" fmla="*/ 42 h 59"/>
                <a:gd name="T16" fmla="*/ 83 w 83"/>
                <a:gd name="T17" fmla="*/ 51 h 59"/>
                <a:gd name="T18" fmla="*/ 83 w 83"/>
                <a:gd name="T19" fmla="*/ 58 h 59"/>
                <a:gd name="T20" fmla="*/ 80 w 83"/>
                <a:gd name="T21" fmla="*/ 58 h 59"/>
                <a:gd name="T22" fmla="*/ 76 w 83"/>
                <a:gd name="T23" fmla="*/ 59 h 59"/>
                <a:gd name="T24" fmla="*/ 70 w 83"/>
                <a:gd name="T25" fmla="*/ 59 h 59"/>
                <a:gd name="T26" fmla="*/ 50 w 83"/>
                <a:gd name="T27" fmla="*/ 55 h 59"/>
                <a:gd name="T28" fmla="*/ 33 w 83"/>
                <a:gd name="T29" fmla="*/ 55 h 59"/>
                <a:gd name="T30" fmla="*/ 25 w 83"/>
                <a:gd name="T31" fmla="*/ 58 h 59"/>
                <a:gd name="T32" fmla="*/ 10 w 83"/>
                <a:gd name="T33" fmla="*/ 58 h 59"/>
                <a:gd name="T34" fmla="*/ 10 w 83"/>
                <a:gd name="T35" fmla="*/ 49 h 59"/>
                <a:gd name="T36" fmla="*/ 22 w 83"/>
                <a:gd name="T37" fmla="*/ 46 h 59"/>
                <a:gd name="T38" fmla="*/ 33 w 83"/>
                <a:gd name="T39" fmla="*/ 42 h 59"/>
                <a:gd name="T40" fmla="*/ 46 w 83"/>
                <a:gd name="T41" fmla="*/ 46 h 59"/>
                <a:gd name="T42" fmla="*/ 49 w 83"/>
                <a:gd name="T43" fmla="*/ 45 h 59"/>
                <a:gd name="T44" fmla="*/ 49 w 83"/>
                <a:gd name="T45" fmla="*/ 43 h 59"/>
                <a:gd name="T46" fmla="*/ 43 w 83"/>
                <a:gd name="T47" fmla="*/ 45 h 59"/>
                <a:gd name="T48" fmla="*/ 34 w 83"/>
                <a:gd name="T49" fmla="*/ 40 h 59"/>
                <a:gd name="T50" fmla="*/ 27 w 83"/>
                <a:gd name="T51" fmla="*/ 43 h 59"/>
                <a:gd name="T52" fmla="*/ 13 w 83"/>
                <a:gd name="T53" fmla="*/ 43 h 59"/>
                <a:gd name="T54" fmla="*/ 13 w 83"/>
                <a:gd name="T55" fmla="*/ 42 h 59"/>
                <a:gd name="T56" fmla="*/ 3 w 83"/>
                <a:gd name="T57" fmla="*/ 28 h 59"/>
                <a:gd name="T58" fmla="*/ 0 w 83"/>
                <a:gd name="T59" fmla="*/ 27 h 59"/>
                <a:gd name="T60" fmla="*/ 0 w 83"/>
                <a:gd name="T61" fmla="*/ 25 h 59"/>
                <a:gd name="T62" fmla="*/ 9 w 83"/>
                <a:gd name="T63" fmla="*/ 21 h 59"/>
                <a:gd name="T64" fmla="*/ 13 w 83"/>
                <a:gd name="T65" fmla="*/ 13 h 59"/>
                <a:gd name="T66" fmla="*/ 13 w 83"/>
                <a:gd name="T67" fmla="*/ 8 h 59"/>
                <a:gd name="T68" fmla="*/ 16 w 83"/>
                <a:gd name="T69" fmla="*/ 3 h 59"/>
                <a:gd name="T70" fmla="*/ 16 w 83"/>
                <a:gd name="T71" fmla="*/ 2 h 59"/>
                <a:gd name="T72" fmla="*/ 30 w 83"/>
                <a:gd name="T73" fmla="*/ 2 h 59"/>
                <a:gd name="T74" fmla="*/ 39 w 83"/>
                <a:gd name="T7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59">
                  <a:moveTo>
                    <a:pt x="39" y="0"/>
                  </a:moveTo>
                  <a:lnTo>
                    <a:pt x="43" y="0"/>
                  </a:lnTo>
                  <a:lnTo>
                    <a:pt x="50" y="8"/>
                  </a:lnTo>
                  <a:lnTo>
                    <a:pt x="55" y="8"/>
                  </a:lnTo>
                  <a:lnTo>
                    <a:pt x="62" y="19"/>
                  </a:lnTo>
                  <a:lnTo>
                    <a:pt x="73" y="25"/>
                  </a:lnTo>
                  <a:lnTo>
                    <a:pt x="76" y="37"/>
                  </a:lnTo>
                  <a:lnTo>
                    <a:pt x="74" y="42"/>
                  </a:lnTo>
                  <a:lnTo>
                    <a:pt x="83" y="51"/>
                  </a:lnTo>
                  <a:lnTo>
                    <a:pt x="83" y="58"/>
                  </a:lnTo>
                  <a:lnTo>
                    <a:pt x="80" y="58"/>
                  </a:lnTo>
                  <a:lnTo>
                    <a:pt x="76" y="59"/>
                  </a:lnTo>
                  <a:lnTo>
                    <a:pt x="70" y="59"/>
                  </a:lnTo>
                  <a:lnTo>
                    <a:pt x="50" y="55"/>
                  </a:lnTo>
                  <a:lnTo>
                    <a:pt x="33" y="55"/>
                  </a:lnTo>
                  <a:lnTo>
                    <a:pt x="25" y="58"/>
                  </a:lnTo>
                  <a:lnTo>
                    <a:pt x="10" y="58"/>
                  </a:lnTo>
                  <a:lnTo>
                    <a:pt x="10" y="49"/>
                  </a:lnTo>
                  <a:lnTo>
                    <a:pt x="22" y="46"/>
                  </a:lnTo>
                  <a:lnTo>
                    <a:pt x="33" y="42"/>
                  </a:lnTo>
                  <a:lnTo>
                    <a:pt x="46" y="46"/>
                  </a:lnTo>
                  <a:lnTo>
                    <a:pt x="49" y="45"/>
                  </a:lnTo>
                  <a:lnTo>
                    <a:pt x="49" y="43"/>
                  </a:lnTo>
                  <a:lnTo>
                    <a:pt x="43" y="45"/>
                  </a:lnTo>
                  <a:lnTo>
                    <a:pt x="34" y="40"/>
                  </a:lnTo>
                  <a:lnTo>
                    <a:pt x="27" y="43"/>
                  </a:lnTo>
                  <a:lnTo>
                    <a:pt x="13" y="43"/>
                  </a:lnTo>
                  <a:lnTo>
                    <a:pt x="13" y="42"/>
                  </a:lnTo>
                  <a:lnTo>
                    <a:pt x="3" y="28"/>
                  </a:lnTo>
                  <a:lnTo>
                    <a:pt x="0" y="27"/>
                  </a:lnTo>
                  <a:lnTo>
                    <a:pt x="0" y="25"/>
                  </a:lnTo>
                  <a:lnTo>
                    <a:pt x="9" y="21"/>
                  </a:lnTo>
                  <a:lnTo>
                    <a:pt x="13" y="13"/>
                  </a:lnTo>
                  <a:lnTo>
                    <a:pt x="13" y="8"/>
                  </a:lnTo>
                  <a:lnTo>
                    <a:pt x="16" y="3"/>
                  </a:lnTo>
                  <a:lnTo>
                    <a:pt x="16" y="2"/>
                  </a:lnTo>
                  <a:lnTo>
                    <a:pt x="30" y="2"/>
                  </a:lnTo>
                  <a:lnTo>
                    <a:pt x="3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0" name="Sierra Leone">
              <a:extLst>
                <a:ext uri="{FF2B5EF4-FFF2-40B4-BE49-F238E27FC236}">
                  <a16:creationId xmlns:a16="http://schemas.microsoft.com/office/drawing/2014/main" id="{58FB2EBC-D1E4-E0A1-812F-1A3C7E49DC44}"/>
                </a:ext>
              </a:extLst>
            </p:cNvPr>
            <p:cNvSpPr>
              <a:spLocks/>
            </p:cNvSpPr>
            <p:nvPr/>
          </p:nvSpPr>
          <p:spPr bwMode="auto">
            <a:xfrm>
              <a:off x="5513223" y="4354296"/>
              <a:ext cx="72283" cy="72283"/>
            </a:xfrm>
            <a:custGeom>
              <a:avLst/>
              <a:gdLst>
                <a:gd name="T0" fmla="*/ 12 w 40"/>
                <a:gd name="T1" fmla="*/ 0 h 40"/>
                <a:gd name="T2" fmla="*/ 29 w 40"/>
                <a:gd name="T3" fmla="*/ 0 h 40"/>
                <a:gd name="T4" fmla="*/ 37 w 40"/>
                <a:gd name="T5" fmla="*/ 13 h 40"/>
                <a:gd name="T6" fmla="*/ 34 w 40"/>
                <a:gd name="T7" fmla="*/ 20 h 40"/>
                <a:gd name="T8" fmla="*/ 39 w 40"/>
                <a:gd name="T9" fmla="*/ 19 h 40"/>
                <a:gd name="T10" fmla="*/ 40 w 40"/>
                <a:gd name="T11" fmla="*/ 19 h 40"/>
                <a:gd name="T12" fmla="*/ 40 w 40"/>
                <a:gd name="T13" fmla="*/ 23 h 40"/>
                <a:gd name="T14" fmla="*/ 37 w 40"/>
                <a:gd name="T15" fmla="*/ 25 h 40"/>
                <a:gd name="T16" fmla="*/ 37 w 40"/>
                <a:gd name="T17" fmla="*/ 29 h 40"/>
                <a:gd name="T18" fmla="*/ 36 w 40"/>
                <a:gd name="T19" fmla="*/ 29 h 40"/>
                <a:gd name="T20" fmla="*/ 24 w 40"/>
                <a:gd name="T21" fmla="*/ 40 h 40"/>
                <a:gd name="T22" fmla="*/ 12 w 40"/>
                <a:gd name="T23" fmla="*/ 34 h 40"/>
                <a:gd name="T24" fmla="*/ 0 w 40"/>
                <a:gd name="T25" fmla="*/ 22 h 40"/>
                <a:gd name="T26" fmla="*/ 0 w 40"/>
                <a:gd name="T27" fmla="*/ 20 h 40"/>
                <a:gd name="T28" fmla="*/ 2 w 40"/>
                <a:gd name="T29" fmla="*/ 20 h 40"/>
                <a:gd name="T30" fmla="*/ 3 w 40"/>
                <a:gd name="T31" fmla="*/ 19 h 40"/>
                <a:gd name="T32" fmla="*/ 0 w 40"/>
                <a:gd name="T33" fmla="*/ 11 h 40"/>
                <a:gd name="T34" fmla="*/ 0 w 40"/>
                <a:gd name="T35" fmla="*/ 10 h 40"/>
                <a:gd name="T36" fmla="*/ 3 w 40"/>
                <a:gd name="T37" fmla="*/ 10 h 40"/>
                <a:gd name="T38" fmla="*/ 12 w 40"/>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12" y="0"/>
                  </a:moveTo>
                  <a:lnTo>
                    <a:pt x="29" y="0"/>
                  </a:lnTo>
                  <a:lnTo>
                    <a:pt x="37" y="13"/>
                  </a:lnTo>
                  <a:lnTo>
                    <a:pt x="34" y="20"/>
                  </a:lnTo>
                  <a:lnTo>
                    <a:pt x="39" y="19"/>
                  </a:lnTo>
                  <a:lnTo>
                    <a:pt x="40" y="19"/>
                  </a:lnTo>
                  <a:lnTo>
                    <a:pt x="40" y="23"/>
                  </a:lnTo>
                  <a:lnTo>
                    <a:pt x="37" y="25"/>
                  </a:lnTo>
                  <a:lnTo>
                    <a:pt x="37" y="29"/>
                  </a:lnTo>
                  <a:lnTo>
                    <a:pt x="36" y="29"/>
                  </a:lnTo>
                  <a:lnTo>
                    <a:pt x="24" y="40"/>
                  </a:lnTo>
                  <a:lnTo>
                    <a:pt x="12" y="34"/>
                  </a:lnTo>
                  <a:lnTo>
                    <a:pt x="0" y="22"/>
                  </a:lnTo>
                  <a:lnTo>
                    <a:pt x="0" y="20"/>
                  </a:lnTo>
                  <a:lnTo>
                    <a:pt x="2" y="20"/>
                  </a:lnTo>
                  <a:lnTo>
                    <a:pt x="3" y="19"/>
                  </a:lnTo>
                  <a:lnTo>
                    <a:pt x="0" y="11"/>
                  </a:lnTo>
                  <a:lnTo>
                    <a:pt x="0" y="10"/>
                  </a:lnTo>
                  <a:lnTo>
                    <a:pt x="3" y="10"/>
                  </a:lnTo>
                  <a:lnTo>
                    <a:pt x="1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1" name="Rwanda">
              <a:extLst>
                <a:ext uri="{FF2B5EF4-FFF2-40B4-BE49-F238E27FC236}">
                  <a16:creationId xmlns:a16="http://schemas.microsoft.com/office/drawing/2014/main" id="{A3D3DB4F-0EB8-08EE-F105-D87D2D414FBA}"/>
                </a:ext>
              </a:extLst>
            </p:cNvPr>
            <p:cNvSpPr>
              <a:spLocks/>
            </p:cNvSpPr>
            <p:nvPr/>
          </p:nvSpPr>
          <p:spPr bwMode="auto">
            <a:xfrm>
              <a:off x="6510721" y="4610898"/>
              <a:ext cx="46983" cy="43369"/>
            </a:xfrm>
            <a:custGeom>
              <a:avLst/>
              <a:gdLst>
                <a:gd name="T0" fmla="*/ 21 w 26"/>
                <a:gd name="T1" fmla="*/ 0 h 24"/>
                <a:gd name="T2" fmla="*/ 21 w 26"/>
                <a:gd name="T3" fmla="*/ 1 h 24"/>
                <a:gd name="T4" fmla="*/ 26 w 26"/>
                <a:gd name="T5" fmla="*/ 13 h 24"/>
                <a:gd name="T6" fmla="*/ 23 w 26"/>
                <a:gd name="T7" fmla="*/ 19 h 24"/>
                <a:gd name="T8" fmla="*/ 15 w 26"/>
                <a:gd name="T9" fmla="*/ 19 h 24"/>
                <a:gd name="T10" fmla="*/ 13 w 26"/>
                <a:gd name="T11" fmla="*/ 24 h 24"/>
                <a:gd name="T12" fmla="*/ 7 w 26"/>
                <a:gd name="T13" fmla="*/ 24 h 24"/>
                <a:gd name="T14" fmla="*/ 4 w 26"/>
                <a:gd name="T15" fmla="*/ 21 h 24"/>
                <a:gd name="T16" fmla="*/ 4 w 26"/>
                <a:gd name="T17" fmla="*/ 24 h 24"/>
                <a:gd name="T18" fmla="*/ 3 w 26"/>
                <a:gd name="T19" fmla="*/ 24 h 24"/>
                <a:gd name="T20" fmla="*/ 0 w 26"/>
                <a:gd name="T21" fmla="*/ 19 h 24"/>
                <a:gd name="T22" fmla="*/ 0 w 26"/>
                <a:gd name="T23" fmla="*/ 18 h 24"/>
                <a:gd name="T24" fmla="*/ 10 w 26"/>
                <a:gd name="T25" fmla="*/ 4 h 24"/>
                <a:gd name="T26" fmla="*/ 10 w 26"/>
                <a:gd name="T27" fmla="*/ 3 h 24"/>
                <a:gd name="T28" fmla="*/ 13 w 26"/>
                <a:gd name="T29" fmla="*/ 4 h 24"/>
                <a:gd name="T30" fmla="*/ 15 w 26"/>
                <a:gd name="T31" fmla="*/ 4 h 24"/>
                <a:gd name="T32" fmla="*/ 21 w 26"/>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4">
                  <a:moveTo>
                    <a:pt x="21" y="0"/>
                  </a:moveTo>
                  <a:lnTo>
                    <a:pt x="21" y="1"/>
                  </a:lnTo>
                  <a:lnTo>
                    <a:pt x="26" y="13"/>
                  </a:lnTo>
                  <a:lnTo>
                    <a:pt x="23" y="19"/>
                  </a:lnTo>
                  <a:lnTo>
                    <a:pt x="15" y="19"/>
                  </a:lnTo>
                  <a:lnTo>
                    <a:pt x="13" y="24"/>
                  </a:lnTo>
                  <a:lnTo>
                    <a:pt x="7" y="24"/>
                  </a:lnTo>
                  <a:lnTo>
                    <a:pt x="4" y="21"/>
                  </a:lnTo>
                  <a:lnTo>
                    <a:pt x="4" y="24"/>
                  </a:lnTo>
                  <a:lnTo>
                    <a:pt x="3" y="24"/>
                  </a:lnTo>
                  <a:lnTo>
                    <a:pt x="0" y="19"/>
                  </a:lnTo>
                  <a:lnTo>
                    <a:pt x="0" y="18"/>
                  </a:lnTo>
                  <a:lnTo>
                    <a:pt x="10" y="4"/>
                  </a:lnTo>
                  <a:lnTo>
                    <a:pt x="10" y="3"/>
                  </a:lnTo>
                  <a:lnTo>
                    <a:pt x="13" y="4"/>
                  </a:lnTo>
                  <a:lnTo>
                    <a:pt x="15" y="4"/>
                  </a:lnTo>
                  <a:lnTo>
                    <a:pt x="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2" name="Nigeria">
              <a:extLst>
                <a:ext uri="{FF2B5EF4-FFF2-40B4-BE49-F238E27FC236}">
                  <a16:creationId xmlns:a16="http://schemas.microsoft.com/office/drawing/2014/main" id="{A71E2290-3CB4-35BB-7585-F4EEA660B802}"/>
                </a:ext>
              </a:extLst>
            </p:cNvPr>
            <p:cNvSpPr>
              <a:spLocks/>
            </p:cNvSpPr>
            <p:nvPr/>
          </p:nvSpPr>
          <p:spPr bwMode="auto">
            <a:xfrm>
              <a:off x="5890898" y="4260329"/>
              <a:ext cx="276481" cy="233112"/>
            </a:xfrm>
            <a:custGeom>
              <a:avLst/>
              <a:gdLst>
                <a:gd name="T0" fmla="*/ 36 w 153"/>
                <a:gd name="T1" fmla="*/ 0 h 129"/>
                <a:gd name="T2" fmla="*/ 39 w 153"/>
                <a:gd name="T3" fmla="*/ 0 h 129"/>
                <a:gd name="T4" fmla="*/ 55 w 153"/>
                <a:gd name="T5" fmla="*/ 12 h 129"/>
                <a:gd name="T6" fmla="*/ 69 w 153"/>
                <a:gd name="T7" fmla="*/ 6 h 129"/>
                <a:gd name="T8" fmla="*/ 77 w 153"/>
                <a:gd name="T9" fmla="*/ 12 h 129"/>
                <a:gd name="T10" fmla="*/ 86 w 153"/>
                <a:gd name="T11" fmla="*/ 15 h 129"/>
                <a:gd name="T12" fmla="*/ 98 w 153"/>
                <a:gd name="T13" fmla="*/ 6 h 129"/>
                <a:gd name="T14" fmla="*/ 116 w 153"/>
                <a:gd name="T15" fmla="*/ 6 h 129"/>
                <a:gd name="T16" fmla="*/ 125 w 153"/>
                <a:gd name="T17" fmla="*/ 9 h 129"/>
                <a:gd name="T18" fmla="*/ 134 w 153"/>
                <a:gd name="T19" fmla="*/ 3 h 129"/>
                <a:gd name="T20" fmla="*/ 135 w 153"/>
                <a:gd name="T21" fmla="*/ 0 h 129"/>
                <a:gd name="T22" fmla="*/ 150 w 153"/>
                <a:gd name="T23" fmla="*/ 17 h 129"/>
                <a:gd name="T24" fmla="*/ 153 w 153"/>
                <a:gd name="T25" fmla="*/ 22 h 129"/>
                <a:gd name="T26" fmla="*/ 153 w 153"/>
                <a:gd name="T27" fmla="*/ 29 h 129"/>
                <a:gd name="T28" fmla="*/ 141 w 153"/>
                <a:gd name="T29" fmla="*/ 40 h 129"/>
                <a:gd name="T30" fmla="*/ 132 w 153"/>
                <a:gd name="T31" fmla="*/ 66 h 129"/>
                <a:gd name="T32" fmla="*/ 125 w 153"/>
                <a:gd name="T33" fmla="*/ 72 h 129"/>
                <a:gd name="T34" fmla="*/ 115 w 153"/>
                <a:gd name="T35" fmla="*/ 96 h 129"/>
                <a:gd name="T36" fmla="*/ 115 w 153"/>
                <a:gd name="T37" fmla="*/ 98 h 129"/>
                <a:gd name="T38" fmla="*/ 109 w 153"/>
                <a:gd name="T39" fmla="*/ 99 h 129"/>
                <a:gd name="T40" fmla="*/ 109 w 153"/>
                <a:gd name="T41" fmla="*/ 98 h 129"/>
                <a:gd name="T42" fmla="*/ 103 w 153"/>
                <a:gd name="T43" fmla="*/ 93 h 129"/>
                <a:gd name="T44" fmla="*/ 89 w 153"/>
                <a:gd name="T45" fmla="*/ 93 h 129"/>
                <a:gd name="T46" fmla="*/ 80 w 153"/>
                <a:gd name="T47" fmla="*/ 106 h 129"/>
                <a:gd name="T48" fmla="*/ 76 w 153"/>
                <a:gd name="T49" fmla="*/ 121 h 129"/>
                <a:gd name="T50" fmla="*/ 74 w 153"/>
                <a:gd name="T51" fmla="*/ 121 h 129"/>
                <a:gd name="T52" fmla="*/ 73 w 153"/>
                <a:gd name="T53" fmla="*/ 120 h 129"/>
                <a:gd name="T54" fmla="*/ 72 w 153"/>
                <a:gd name="T55" fmla="*/ 124 h 129"/>
                <a:gd name="T56" fmla="*/ 64 w 153"/>
                <a:gd name="T57" fmla="*/ 124 h 129"/>
                <a:gd name="T58" fmla="*/ 61 w 153"/>
                <a:gd name="T59" fmla="*/ 123 h 129"/>
                <a:gd name="T60" fmla="*/ 58 w 153"/>
                <a:gd name="T61" fmla="*/ 123 h 129"/>
                <a:gd name="T62" fmla="*/ 55 w 153"/>
                <a:gd name="T63" fmla="*/ 126 h 129"/>
                <a:gd name="T64" fmla="*/ 46 w 153"/>
                <a:gd name="T65" fmla="*/ 129 h 129"/>
                <a:gd name="T66" fmla="*/ 36 w 153"/>
                <a:gd name="T67" fmla="*/ 120 h 129"/>
                <a:gd name="T68" fmla="*/ 36 w 153"/>
                <a:gd name="T69" fmla="*/ 112 h 129"/>
                <a:gd name="T70" fmla="*/ 27 w 153"/>
                <a:gd name="T71" fmla="*/ 103 h 129"/>
                <a:gd name="T72" fmla="*/ 20 w 153"/>
                <a:gd name="T73" fmla="*/ 99 h 129"/>
                <a:gd name="T74" fmla="*/ 12 w 153"/>
                <a:gd name="T75" fmla="*/ 99 h 129"/>
                <a:gd name="T76" fmla="*/ 9 w 153"/>
                <a:gd name="T77" fmla="*/ 101 h 129"/>
                <a:gd name="T78" fmla="*/ 0 w 153"/>
                <a:gd name="T79" fmla="*/ 101 h 129"/>
                <a:gd name="T80" fmla="*/ 0 w 153"/>
                <a:gd name="T81" fmla="*/ 71 h 129"/>
                <a:gd name="T82" fmla="*/ 6 w 153"/>
                <a:gd name="T83" fmla="*/ 56 h 129"/>
                <a:gd name="T84" fmla="*/ 11 w 153"/>
                <a:gd name="T85" fmla="*/ 52 h 129"/>
                <a:gd name="T86" fmla="*/ 11 w 153"/>
                <a:gd name="T87" fmla="*/ 46 h 129"/>
                <a:gd name="T88" fmla="*/ 12 w 153"/>
                <a:gd name="T89" fmla="*/ 44 h 129"/>
                <a:gd name="T90" fmla="*/ 12 w 153"/>
                <a:gd name="T91" fmla="*/ 37 h 129"/>
                <a:gd name="T92" fmla="*/ 9 w 153"/>
                <a:gd name="T93" fmla="*/ 34 h 129"/>
                <a:gd name="T94" fmla="*/ 9 w 153"/>
                <a:gd name="T95" fmla="*/ 32 h 129"/>
                <a:gd name="T96" fmla="*/ 11 w 153"/>
                <a:gd name="T97" fmla="*/ 29 h 129"/>
                <a:gd name="T98" fmla="*/ 11 w 153"/>
                <a:gd name="T99" fmla="*/ 19 h 129"/>
                <a:gd name="T100" fmla="*/ 15 w 153"/>
                <a:gd name="T101" fmla="*/ 13 h 129"/>
                <a:gd name="T102" fmla="*/ 18 w 153"/>
                <a:gd name="T103" fmla="*/ 6 h 129"/>
                <a:gd name="T104" fmla="*/ 29 w 153"/>
                <a:gd name="T105" fmla="*/ 1 h 129"/>
                <a:gd name="T106" fmla="*/ 32 w 153"/>
                <a:gd name="T107" fmla="*/ 1 h 129"/>
                <a:gd name="T108" fmla="*/ 36 w 153"/>
                <a:gd name="T10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 h="129">
                  <a:moveTo>
                    <a:pt x="36" y="0"/>
                  </a:moveTo>
                  <a:lnTo>
                    <a:pt x="39" y="0"/>
                  </a:lnTo>
                  <a:lnTo>
                    <a:pt x="55" y="12"/>
                  </a:lnTo>
                  <a:lnTo>
                    <a:pt x="69" y="6"/>
                  </a:lnTo>
                  <a:lnTo>
                    <a:pt x="77" y="12"/>
                  </a:lnTo>
                  <a:lnTo>
                    <a:pt x="86" y="15"/>
                  </a:lnTo>
                  <a:lnTo>
                    <a:pt x="98" y="6"/>
                  </a:lnTo>
                  <a:lnTo>
                    <a:pt x="116" y="6"/>
                  </a:lnTo>
                  <a:lnTo>
                    <a:pt x="125" y="9"/>
                  </a:lnTo>
                  <a:lnTo>
                    <a:pt x="134" y="3"/>
                  </a:lnTo>
                  <a:lnTo>
                    <a:pt x="135" y="0"/>
                  </a:lnTo>
                  <a:lnTo>
                    <a:pt x="150" y="17"/>
                  </a:lnTo>
                  <a:lnTo>
                    <a:pt x="153" y="22"/>
                  </a:lnTo>
                  <a:lnTo>
                    <a:pt x="153" y="29"/>
                  </a:lnTo>
                  <a:lnTo>
                    <a:pt x="141" y="40"/>
                  </a:lnTo>
                  <a:lnTo>
                    <a:pt x="132" y="66"/>
                  </a:lnTo>
                  <a:lnTo>
                    <a:pt x="125" y="72"/>
                  </a:lnTo>
                  <a:lnTo>
                    <a:pt x="115" y="96"/>
                  </a:lnTo>
                  <a:lnTo>
                    <a:pt x="115" y="98"/>
                  </a:lnTo>
                  <a:lnTo>
                    <a:pt x="109" y="99"/>
                  </a:lnTo>
                  <a:lnTo>
                    <a:pt x="109" y="98"/>
                  </a:lnTo>
                  <a:lnTo>
                    <a:pt x="103" y="93"/>
                  </a:lnTo>
                  <a:lnTo>
                    <a:pt x="89" y="93"/>
                  </a:lnTo>
                  <a:lnTo>
                    <a:pt x="80" y="106"/>
                  </a:lnTo>
                  <a:lnTo>
                    <a:pt x="76" y="121"/>
                  </a:lnTo>
                  <a:lnTo>
                    <a:pt x="74" y="121"/>
                  </a:lnTo>
                  <a:lnTo>
                    <a:pt x="73" y="120"/>
                  </a:lnTo>
                  <a:lnTo>
                    <a:pt x="72" y="124"/>
                  </a:lnTo>
                  <a:lnTo>
                    <a:pt x="64" y="124"/>
                  </a:lnTo>
                  <a:lnTo>
                    <a:pt x="61" y="123"/>
                  </a:lnTo>
                  <a:lnTo>
                    <a:pt x="58" y="123"/>
                  </a:lnTo>
                  <a:lnTo>
                    <a:pt x="55" y="126"/>
                  </a:lnTo>
                  <a:lnTo>
                    <a:pt x="46" y="129"/>
                  </a:lnTo>
                  <a:lnTo>
                    <a:pt x="36" y="120"/>
                  </a:lnTo>
                  <a:lnTo>
                    <a:pt x="36" y="112"/>
                  </a:lnTo>
                  <a:lnTo>
                    <a:pt x="27" y="103"/>
                  </a:lnTo>
                  <a:lnTo>
                    <a:pt x="20" y="99"/>
                  </a:lnTo>
                  <a:lnTo>
                    <a:pt x="12" y="99"/>
                  </a:lnTo>
                  <a:lnTo>
                    <a:pt x="9" y="101"/>
                  </a:lnTo>
                  <a:lnTo>
                    <a:pt x="0" y="101"/>
                  </a:lnTo>
                  <a:lnTo>
                    <a:pt x="0" y="71"/>
                  </a:lnTo>
                  <a:lnTo>
                    <a:pt x="6" y="56"/>
                  </a:lnTo>
                  <a:lnTo>
                    <a:pt x="11" y="52"/>
                  </a:lnTo>
                  <a:lnTo>
                    <a:pt x="11" y="46"/>
                  </a:lnTo>
                  <a:lnTo>
                    <a:pt x="12" y="44"/>
                  </a:lnTo>
                  <a:lnTo>
                    <a:pt x="12" y="37"/>
                  </a:lnTo>
                  <a:lnTo>
                    <a:pt x="9" y="34"/>
                  </a:lnTo>
                  <a:lnTo>
                    <a:pt x="9" y="32"/>
                  </a:lnTo>
                  <a:lnTo>
                    <a:pt x="11" y="29"/>
                  </a:lnTo>
                  <a:lnTo>
                    <a:pt x="11" y="19"/>
                  </a:lnTo>
                  <a:lnTo>
                    <a:pt x="15" y="13"/>
                  </a:lnTo>
                  <a:lnTo>
                    <a:pt x="18" y="6"/>
                  </a:lnTo>
                  <a:lnTo>
                    <a:pt x="29" y="1"/>
                  </a:lnTo>
                  <a:lnTo>
                    <a:pt x="32" y="1"/>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3" name="Niger">
              <a:extLst>
                <a:ext uri="{FF2B5EF4-FFF2-40B4-BE49-F238E27FC236}">
                  <a16:creationId xmlns:a16="http://schemas.microsoft.com/office/drawing/2014/main" id="{919A3480-03FB-229F-151D-8E6A4B6E58AC}"/>
                </a:ext>
              </a:extLst>
            </p:cNvPr>
            <p:cNvSpPr>
              <a:spLocks/>
            </p:cNvSpPr>
            <p:nvPr/>
          </p:nvSpPr>
          <p:spPr bwMode="auto">
            <a:xfrm>
              <a:off x="5827652" y="4021797"/>
              <a:ext cx="379483" cy="290938"/>
            </a:xfrm>
            <a:custGeom>
              <a:avLst/>
              <a:gdLst>
                <a:gd name="T0" fmla="*/ 152 w 210"/>
                <a:gd name="T1" fmla="*/ 0 h 161"/>
                <a:gd name="T2" fmla="*/ 181 w 210"/>
                <a:gd name="T3" fmla="*/ 0 h 161"/>
                <a:gd name="T4" fmla="*/ 192 w 210"/>
                <a:gd name="T5" fmla="*/ 7 h 161"/>
                <a:gd name="T6" fmla="*/ 195 w 210"/>
                <a:gd name="T7" fmla="*/ 6 h 161"/>
                <a:gd name="T8" fmla="*/ 197 w 210"/>
                <a:gd name="T9" fmla="*/ 6 h 161"/>
                <a:gd name="T10" fmla="*/ 197 w 210"/>
                <a:gd name="T11" fmla="*/ 28 h 161"/>
                <a:gd name="T12" fmla="*/ 201 w 210"/>
                <a:gd name="T13" fmla="*/ 35 h 161"/>
                <a:gd name="T14" fmla="*/ 209 w 210"/>
                <a:gd name="T15" fmla="*/ 41 h 161"/>
                <a:gd name="T16" fmla="*/ 210 w 210"/>
                <a:gd name="T17" fmla="*/ 41 h 161"/>
                <a:gd name="T18" fmla="*/ 210 w 210"/>
                <a:gd name="T19" fmla="*/ 43 h 161"/>
                <a:gd name="T20" fmla="*/ 209 w 210"/>
                <a:gd name="T21" fmla="*/ 43 h 161"/>
                <a:gd name="T22" fmla="*/ 206 w 210"/>
                <a:gd name="T23" fmla="*/ 49 h 161"/>
                <a:gd name="T24" fmla="*/ 203 w 210"/>
                <a:gd name="T25" fmla="*/ 68 h 161"/>
                <a:gd name="T26" fmla="*/ 201 w 210"/>
                <a:gd name="T27" fmla="*/ 90 h 161"/>
                <a:gd name="T28" fmla="*/ 178 w 210"/>
                <a:gd name="T29" fmla="*/ 115 h 161"/>
                <a:gd name="T30" fmla="*/ 175 w 210"/>
                <a:gd name="T31" fmla="*/ 124 h 161"/>
                <a:gd name="T32" fmla="*/ 178 w 210"/>
                <a:gd name="T33" fmla="*/ 124 h 161"/>
                <a:gd name="T34" fmla="*/ 178 w 210"/>
                <a:gd name="T35" fmla="*/ 126 h 161"/>
                <a:gd name="T36" fmla="*/ 170 w 210"/>
                <a:gd name="T37" fmla="*/ 126 h 161"/>
                <a:gd name="T38" fmla="*/ 170 w 210"/>
                <a:gd name="T39" fmla="*/ 136 h 161"/>
                <a:gd name="T40" fmla="*/ 161 w 210"/>
                <a:gd name="T41" fmla="*/ 142 h 161"/>
                <a:gd name="T42" fmla="*/ 160 w 210"/>
                <a:gd name="T43" fmla="*/ 142 h 161"/>
                <a:gd name="T44" fmla="*/ 151 w 210"/>
                <a:gd name="T45" fmla="*/ 139 h 161"/>
                <a:gd name="T46" fmla="*/ 135 w 210"/>
                <a:gd name="T47" fmla="*/ 139 h 161"/>
                <a:gd name="T48" fmla="*/ 121 w 210"/>
                <a:gd name="T49" fmla="*/ 148 h 161"/>
                <a:gd name="T50" fmla="*/ 112 w 210"/>
                <a:gd name="T51" fmla="*/ 145 h 161"/>
                <a:gd name="T52" fmla="*/ 104 w 210"/>
                <a:gd name="T53" fmla="*/ 139 h 161"/>
                <a:gd name="T54" fmla="*/ 90 w 210"/>
                <a:gd name="T55" fmla="*/ 145 h 161"/>
                <a:gd name="T56" fmla="*/ 74 w 210"/>
                <a:gd name="T57" fmla="*/ 133 h 161"/>
                <a:gd name="T58" fmla="*/ 64 w 210"/>
                <a:gd name="T59" fmla="*/ 135 h 161"/>
                <a:gd name="T60" fmla="*/ 55 w 210"/>
                <a:gd name="T61" fmla="*/ 138 h 161"/>
                <a:gd name="T62" fmla="*/ 52 w 210"/>
                <a:gd name="T63" fmla="*/ 145 h 161"/>
                <a:gd name="T64" fmla="*/ 47 w 210"/>
                <a:gd name="T65" fmla="*/ 151 h 161"/>
                <a:gd name="T66" fmla="*/ 47 w 210"/>
                <a:gd name="T67" fmla="*/ 161 h 161"/>
                <a:gd name="T68" fmla="*/ 46 w 210"/>
                <a:gd name="T69" fmla="*/ 161 h 161"/>
                <a:gd name="T70" fmla="*/ 37 w 210"/>
                <a:gd name="T71" fmla="*/ 152 h 161"/>
                <a:gd name="T72" fmla="*/ 32 w 210"/>
                <a:gd name="T73" fmla="*/ 154 h 161"/>
                <a:gd name="T74" fmla="*/ 32 w 210"/>
                <a:gd name="T75" fmla="*/ 157 h 161"/>
                <a:gd name="T76" fmla="*/ 31 w 210"/>
                <a:gd name="T77" fmla="*/ 158 h 161"/>
                <a:gd name="T78" fmla="*/ 26 w 210"/>
                <a:gd name="T79" fmla="*/ 154 h 161"/>
                <a:gd name="T80" fmla="*/ 26 w 210"/>
                <a:gd name="T81" fmla="*/ 152 h 161"/>
                <a:gd name="T82" fmla="*/ 28 w 210"/>
                <a:gd name="T83" fmla="*/ 151 h 161"/>
                <a:gd name="T84" fmla="*/ 26 w 210"/>
                <a:gd name="T85" fmla="*/ 148 h 161"/>
                <a:gd name="T86" fmla="*/ 18 w 210"/>
                <a:gd name="T87" fmla="*/ 148 h 161"/>
                <a:gd name="T88" fmla="*/ 4 w 210"/>
                <a:gd name="T89" fmla="*/ 130 h 161"/>
                <a:gd name="T90" fmla="*/ 0 w 210"/>
                <a:gd name="T91" fmla="*/ 123 h 161"/>
                <a:gd name="T92" fmla="*/ 1 w 210"/>
                <a:gd name="T93" fmla="*/ 117 h 161"/>
                <a:gd name="T94" fmla="*/ 10 w 210"/>
                <a:gd name="T95" fmla="*/ 117 h 161"/>
                <a:gd name="T96" fmla="*/ 16 w 210"/>
                <a:gd name="T97" fmla="*/ 111 h 161"/>
                <a:gd name="T98" fmla="*/ 44 w 210"/>
                <a:gd name="T99" fmla="*/ 111 h 161"/>
                <a:gd name="T100" fmla="*/ 50 w 210"/>
                <a:gd name="T101" fmla="*/ 104 h 161"/>
                <a:gd name="T102" fmla="*/ 53 w 210"/>
                <a:gd name="T103" fmla="*/ 102 h 161"/>
                <a:gd name="T104" fmla="*/ 53 w 210"/>
                <a:gd name="T105" fmla="*/ 59 h 161"/>
                <a:gd name="T106" fmla="*/ 74 w 210"/>
                <a:gd name="T107" fmla="*/ 55 h 161"/>
                <a:gd name="T108" fmla="*/ 102 w 210"/>
                <a:gd name="T109" fmla="*/ 32 h 161"/>
                <a:gd name="T110" fmla="*/ 152 w 210"/>
                <a:gd name="T11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0" h="161">
                  <a:moveTo>
                    <a:pt x="152" y="0"/>
                  </a:moveTo>
                  <a:lnTo>
                    <a:pt x="181" y="0"/>
                  </a:lnTo>
                  <a:lnTo>
                    <a:pt x="192" y="7"/>
                  </a:lnTo>
                  <a:lnTo>
                    <a:pt x="195" y="6"/>
                  </a:lnTo>
                  <a:lnTo>
                    <a:pt x="197" y="6"/>
                  </a:lnTo>
                  <a:lnTo>
                    <a:pt x="197" y="28"/>
                  </a:lnTo>
                  <a:lnTo>
                    <a:pt x="201" y="35"/>
                  </a:lnTo>
                  <a:lnTo>
                    <a:pt x="209" y="41"/>
                  </a:lnTo>
                  <a:lnTo>
                    <a:pt x="210" y="41"/>
                  </a:lnTo>
                  <a:lnTo>
                    <a:pt x="210" y="43"/>
                  </a:lnTo>
                  <a:lnTo>
                    <a:pt x="209" y="43"/>
                  </a:lnTo>
                  <a:lnTo>
                    <a:pt x="206" y="49"/>
                  </a:lnTo>
                  <a:lnTo>
                    <a:pt x="203" y="68"/>
                  </a:lnTo>
                  <a:lnTo>
                    <a:pt x="201" y="90"/>
                  </a:lnTo>
                  <a:lnTo>
                    <a:pt x="178" y="115"/>
                  </a:lnTo>
                  <a:lnTo>
                    <a:pt x="175" y="124"/>
                  </a:lnTo>
                  <a:lnTo>
                    <a:pt x="178" y="124"/>
                  </a:lnTo>
                  <a:lnTo>
                    <a:pt x="178" y="126"/>
                  </a:lnTo>
                  <a:lnTo>
                    <a:pt x="170" y="126"/>
                  </a:lnTo>
                  <a:lnTo>
                    <a:pt x="170" y="136"/>
                  </a:lnTo>
                  <a:lnTo>
                    <a:pt x="161" y="142"/>
                  </a:lnTo>
                  <a:lnTo>
                    <a:pt x="160" y="142"/>
                  </a:lnTo>
                  <a:lnTo>
                    <a:pt x="151" y="139"/>
                  </a:lnTo>
                  <a:lnTo>
                    <a:pt x="135" y="139"/>
                  </a:lnTo>
                  <a:lnTo>
                    <a:pt x="121" y="148"/>
                  </a:lnTo>
                  <a:lnTo>
                    <a:pt x="112" y="145"/>
                  </a:lnTo>
                  <a:lnTo>
                    <a:pt x="104" y="139"/>
                  </a:lnTo>
                  <a:lnTo>
                    <a:pt x="90" y="145"/>
                  </a:lnTo>
                  <a:lnTo>
                    <a:pt x="74" y="133"/>
                  </a:lnTo>
                  <a:lnTo>
                    <a:pt x="64" y="135"/>
                  </a:lnTo>
                  <a:lnTo>
                    <a:pt x="55" y="138"/>
                  </a:lnTo>
                  <a:lnTo>
                    <a:pt x="52" y="145"/>
                  </a:lnTo>
                  <a:lnTo>
                    <a:pt x="47" y="151"/>
                  </a:lnTo>
                  <a:lnTo>
                    <a:pt x="47" y="161"/>
                  </a:lnTo>
                  <a:lnTo>
                    <a:pt x="46" y="161"/>
                  </a:lnTo>
                  <a:lnTo>
                    <a:pt x="37" y="152"/>
                  </a:lnTo>
                  <a:lnTo>
                    <a:pt x="32" y="154"/>
                  </a:lnTo>
                  <a:lnTo>
                    <a:pt x="32" y="157"/>
                  </a:lnTo>
                  <a:lnTo>
                    <a:pt x="31" y="158"/>
                  </a:lnTo>
                  <a:lnTo>
                    <a:pt x="26" y="154"/>
                  </a:lnTo>
                  <a:lnTo>
                    <a:pt x="26" y="152"/>
                  </a:lnTo>
                  <a:lnTo>
                    <a:pt x="28" y="151"/>
                  </a:lnTo>
                  <a:lnTo>
                    <a:pt x="26" y="148"/>
                  </a:lnTo>
                  <a:lnTo>
                    <a:pt x="18" y="148"/>
                  </a:lnTo>
                  <a:lnTo>
                    <a:pt x="4" y="130"/>
                  </a:lnTo>
                  <a:lnTo>
                    <a:pt x="0" y="123"/>
                  </a:lnTo>
                  <a:lnTo>
                    <a:pt x="1" y="117"/>
                  </a:lnTo>
                  <a:lnTo>
                    <a:pt x="10" y="117"/>
                  </a:lnTo>
                  <a:lnTo>
                    <a:pt x="16" y="111"/>
                  </a:lnTo>
                  <a:lnTo>
                    <a:pt x="44" y="111"/>
                  </a:lnTo>
                  <a:lnTo>
                    <a:pt x="50" y="104"/>
                  </a:lnTo>
                  <a:lnTo>
                    <a:pt x="53" y="102"/>
                  </a:lnTo>
                  <a:lnTo>
                    <a:pt x="53" y="59"/>
                  </a:lnTo>
                  <a:lnTo>
                    <a:pt x="74" y="55"/>
                  </a:lnTo>
                  <a:lnTo>
                    <a:pt x="102" y="32"/>
                  </a:lnTo>
                  <a:lnTo>
                    <a:pt x="15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4" name="Namibia">
              <a:extLst>
                <a:ext uri="{FF2B5EF4-FFF2-40B4-BE49-F238E27FC236}">
                  <a16:creationId xmlns:a16="http://schemas.microsoft.com/office/drawing/2014/main" id="{D0C011CD-3F5F-2759-07A1-AF7B167E0D56}"/>
                </a:ext>
              </a:extLst>
            </p:cNvPr>
            <p:cNvSpPr>
              <a:spLocks/>
            </p:cNvSpPr>
            <p:nvPr/>
          </p:nvSpPr>
          <p:spPr bwMode="auto">
            <a:xfrm>
              <a:off x="6100517" y="4988576"/>
              <a:ext cx="321657" cy="312622"/>
            </a:xfrm>
            <a:custGeom>
              <a:avLst/>
              <a:gdLst>
                <a:gd name="T0" fmla="*/ 13 w 178"/>
                <a:gd name="T1" fmla="*/ 0 h 173"/>
                <a:gd name="T2" fmla="*/ 19 w 178"/>
                <a:gd name="T3" fmla="*/ 0 h 173"/>
                <a:gd name="T4" fmla="*/ 30 w 178"/>
                <a:gd name="T5" fmla="*/ 6 h 173"/>
                <a:gd name="T6" fmla="*/ 87 w 178"/>
                <a:gd name="T7" fmla="*/ 6 h 173"/>
                <a:gd name="T8" fmla="*/ 98 w 178"/>
                <a:gd name="T9" fmla="*/ 12 h 173"/>
                <a:gd name="T10" fmla="*/ 111 w 178"/>
                <a:gd name="T11" fmla="*/ 12 h 173"/>
                <a:gd name="T12" fmla="*/ 129 w 178"/>
                <a:gd name="T13" fmla="*/ 16 h 173"/>
                <a:gd name="T14" fmla="*/ 151 w 178"/>
                <a:gd name="T15" fmla="*/ 10 h 173"/>
                <a:gd name="T16" fmla="*/ 163 w 178"/>
                <a:gd name="T17" fmla="*/ 7 h 173"/>
                <a:gd name="T18" fmla="*/ 172 w 178"/>
                <a:gd name="T19" fmla="*/ 9 h 173"/>
                <a:gd name="T20" fmla="*/ 178 w 178"/>
                <a:gd name="T21" fmla="*/ 13 h 173"/>
                <a:gd name="T22" fmla="*/ 172 w 178"/>
                <a:gd name="T23" fmla="*/ 13 h 173"/>
                <a:gd name="T24" fmla="*/ 165 w 178"/>
                <a:gd name="T25" fmla="*/ 18 h 173"/>
                <a:gd name="T26" fmla="*/ 157 w 178"/>
                <a:gd name="T27" fmla="*/ 25 h 173"/>
                <a:gd name="T28" fmla="*/ 156 w 178"/>
                <a:gd name="T29" fmla="*/ 25 h 173"/>
                <a:gd name="T30" fmla="*/ 153 w 178"/>
                <a:gd name="T31" fmla="*/ 19 h 173"/>
                <a:gd name="T32" fmla="*/ 147 w 178"/>
                <a:gd name="T33" fmla="*/ 18 h 173"/>
                <a:gd name="T34" fmla="*/ 122 w 178"/>
                <a:gd name="T35" fmla="*/ 24 h 173"/>
                <a:gd name="T36" fmla="*/ 122 w 178"/>
                <a:gd name="T37" fmla="*/ 71 h 173"/>
                <a:gd name="T38" fmla="*/ 110 w 178"/>
                <a:gd name="T39" fmla="*/ 71 h 173"/>
                <a:gd name="T40" fmla="*/ 110 w 178"/>
                <a:gd name="T41" fmla="*/ 166 h 173"/>
                <a:gd name="T42" fmla="*/ 108 w 178"/>
                <a:gd name="T43" fmla="*/ 166 h 173"/>
                <a:gd name="T44" fmla="*/ 98 w 178"/>
                <a:gd name="T45" fmla="*/ 173 h 173"/>
                <a:gd name="T46" fmla="*/ 80 w 178"/>
                <a:gd name="T47" fmla="*/ 173 h 173"/>
                <a:gd name="T48" fmla="*/ 79 w 178"/>
                <a:gd name="T49" fmla="*/ 172 h 173"/>
                <a:gd name="T50" fmla="*/ 77 w 178"/>
                <a:gd name="T51" fmla="*/ 166 h 173"/>
                <a:gd name="T52" fmla="*/ 71 w 178"/>
                <a:gd name="T53" fmla="*/ 163 h 173"/>
                <a:gd name="T54" fmla="*/ 64 w 178"/>
                <a:gd name="T55" fmla="*/ 167 h 173"/>
                <a:gd name="T56" fmla="*/ 62 w 178"/>
                <a:gd name="T57" fmla="*/ 167 h 173"/>
                <a:gd name="T58" fmla="*/ 53 w 178"/>
                <a:gd name="T59" fmla="*/ 160 h 173"/>
                <a:gd name="T60" fmla="*/ 46 w 178"/>
                <a:gd name="T61" fmla="*/ 150 h 173"/>
                <a:gd name="T62" fmla="*/ 41 w 178"/>
                <a:gd name="T63" fmla="*/ 124 h 173"/>
                <a:gd name="T64" fmla="*/ 40 w 178"/>
                <a:gd name="T65" fmla="*/ 114 h 173"/>
                <a:gd name="T66" fmla="*/ 36 w 178"/>
                <a:gd name="T67" fmla="*/ 102 h 173"/>
                <a:gd name="T68" fmla="*/ 36 w 178"/>
                <a:gd name="T69" fmla="*/ 80 h 173"/>
                <a:gd name="T70" fmla="*/ 13 w 178"/>
                <a:gd name="T71" fmla="*/ 37 h 173"/>
                <a:gd name="T72" fmla="*/ 0 w 178"/>
                <a:gd name="T73" fmla="*/ 18 h 173"/>
                <a:gd name="T74" fmla="*/ 0 w 178"/>
                <a:gd name="T75" fmla="*/ 6 h 173"/>
                <a:gd name="T76" fmla="*/ 6 w 178"/>
                <a:gd name="T77" fmla="*/ 3 h 173"/>
                <a:gd name="T78" fmla="*/ 7 w 178"/>
                <a:gd name="T79" fmla="*/ 3 h 173"/>
                <a:gd name="T80" fmla="*/ 13 w 178"/>
                <a:gd name="T8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173">
                  <a:moveTo>
                    <a:pt x="13" y="0"/>
                  </a:moveTo>
                  <a:lnTo>
                    <a:pt x="19" y="0"/>
                  </a:lnTo>
                  <a:lnTo>
                    <a:pt x="30" y="6"/>
                  </a:lnTo>
                  <a:lnTo>
                    <a:pt x="87" y="6"/>
                  </a:lnTo>
                  <a:lnTo>
                    <a:pt x="98" y="12"/>
                  </a:lnTo>
                  <a:lnTo>
                    <a:pt x="111" y="12"/>
                  </a:lnTo>
                  <a:lnTo>
                    <a:pt x="129" y="16"/>
                  </a:lnTo>
                  <a:lnTo>
                    <a:pt x="151" y="10"/>
                  </a:lnTo>
                  <a:lnTo>
                    <a:pt x="163" y="7"/>
                  </a:lnTo>
                  <a:lnTo>
                    <a:pt x="172" y="9"/>
                  </a:lnTo>
                  <a:lnTo>
                    <a:pt x="178" y="13"/>
                  </a:lnTo>
                  <a:lnTo>
                    <a:pt x="172" y="13"/>
                  </a:lnTo>
                  <a:lnTo>
                    <a:pt x="165" y="18"/>
                  </a:lnTo>
                  <a:lnTo>
                    <a:pt x="157" y="25"/>
                  </a:lnTo>
                  <a:lnTo>
                    <a:pt x="156" y="25"/>
                  </a:lnTo>
                  <a:lnTo>
                    <a:pt x="153" y="19"/>
                  </a:lnTo>
                  <a:lnTo>
                    <a:pt x="147" y="18"/>
                  </a:lnTo>
                  <a:lnTo>
                    <a:pt x="122" y="24"/>
                  </a:lnTo>
                  <a:lnTo>
                    <a:pt x="122" y="71"/>
                  </a:lnTo>
                  <a:lnTo>
                    <a:pt x="110" y="71"/>
                  </a:lnTo>
                  <a:lnTo>
                    <a:pt x="110" y="166"/>
                  </a:lnTo>
                  <a:lnTo>
                    <a:pt x="108" y="166"/>
                  </a:lnTo>
                  <a:lnTo>
                    <a:pt x="98" y="173"/>
                  </a:lnTo>
                  <a:lnTo>
                    <a:pt x="80" y="173"/>
                  </a:lnTo>
                  <a:lnTo>
                    <a:pt x="79" y="172"/>
                  </a:lnTo>
                  <a:lnTo>
                    <a:pt x="77" y="166"/>
                  </a:lnTo>
                  <a:lnTo>
                    <a:pt x="71" y="163"/>
                  </a:lnTo>
                  <a:lnTo>
                    <a:pt x="64" y="167"/>
                  </a:lnTo>
                  <a:lnTo>
                    <a:pt x="62" y="167"/>
                  </a:lnTo>
                  <a:lnTo>
                    <a:pt x="53" y="160"/>
                  </a:lnTo>
                  <a:lnTo>
                    <a:pt x="46" y="150"/>
                  </a:lnTo>
                  <a:lnTo>
                    <a:pt x="41" y="124"/>
                  </a:lnTo>
                  <a:lnTo>
                    <a:pt x="40" y="114"/>
                  </a:lnTo>
                  <a:lnTo>
                    <a:pt x="36" y="102"/>
                  </a:lnTo>
                  <a:lnTo>
                    <a:pt x="36" y="80"/>
                  </a:lnTo>
                  <a:lnTo>
                    <a:pt x="13" y="37"/>
                  </a:lnTo>
                  <a:lnTo>
                    <a:pt x="0" y="18"/>
                  </a:lnTo>
                  <a:lnTo>
                    <a:pt x="0" y="6"/>
                  </a:lnTo>
                  <a:lnTo>
                    <a:pt x="6" y="3"/>
                  </a:lnTo>
                  <a:lnTo>
                    <a:pt x="7" y="3"/>
                  </a:lnTo>
                  <a:lnTo>
                    <a:pt x="1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5" name="Mali">
              <a:extLst>
                <a:ext uri="{FF2B5EF4-FFF2-40B4-BE49-F238E27FC236}">
                  <a16:creationId xmlns:a16="http://schemas.microsoft.com/office/drawing/2014/main" id="{BC1F7792-5654-10C4-7F4F-C7E2D6F69E29}"/>
                </a:ext>
              </a:extLst>
            </p:cNvPr>
            <p:cNvSpPr>
              <a:spLocks/>
            </p:cNvSpPr>
            <p:nvPr/>
          </p:nvSpPr>
          <p:spPr bwMode="auto">
            <a:xfrm>
              <a:off x="5540328" y="3980235"/>
              <a:ext cx="386711" cy="370448"/>
            </a:xfrm>
            <a:custGeom>
              <a:avLst/>
              <a:gdLst>
                <a:gd name="T0" fmla="*/ 95 w 214"/>
                <a:gd name="T1" fmla="*/ 0 h 205"/>
                <a:gd name="T2" fmla="*/ 175 w 214"/>
                <a:gd name="T3" fmla="*/ 58 h 205"/>
                <a:gd name="T4" fmla="*/ 184 w 214"/>
                <a:gd name="T5" fmla="*/ 66 h 205"/>
                <a:gd name="T6" fmla="*/ 202 w 214"/>
                <a:gd name="T7" fmla="*/ 73 h 205"/>
                <a:gd name="T8" fmla="*/ 202 w 214"/>
                <a:gd name="T9" fmla="*/ 85 h 205"/>
                <a:gd name="T10" fmla="*/ 214 w 214"/>
                <a:gd name="T11" fmla="*/ 82 h 205"/>
                <a:gd name="T12" fmla="*/ 211 w 214"/>
                <a:gd name="T13" fmla="*/ 128 h 205"/>
                <a:gd name="T14" fmla="*/ 177 w 214"/>
                <a:gd name="T15" fmla="*/ 135 h 205"/>
                <a:gd name="T16" fmla="*/ 160 w 214"/>
                <a:gd name="T17" fmla="*/ 141 h 205"/>
                <a:gd name="T18" fmla="*/ 128 w 214"/>
                <a:gd name="T19" fmla="*/ 159 h 205"/>
                <a:gd name="T20" fmla="*/ 104 w 214"/>
                <a:gd name="T21" fmla="*/ 177 h 205"/>
                <a:gd name="T22" fmla="*/ 92 w 214"/>
                <a:gd name="T23" fmla="*/ 202 h 205"/>
                <a:gd name="T24" fmla="*/ 86 w 214"/>
                <a:gd name="T25" fmla="*/ 201 h 205"/>
                <a:gd name="T26" fmla="*/ 79 w 214"/>
                <a:gd name="T27" fmla="*/ 204 h 205"/>
                <a:gd name="T28" fmla="*/ 77 w 214"/>
                <a:gd name="T29" fmla="*/ 198 h 205"/>
                <a:gd name="T30" fmla="*/ 71 w 214"/>
                <a:gd name="T31" fmla="*/ 201 h 205"/>
                <a:gd name="T32" fmla="*/ 68 w 214"/>
                <a:gd name="T33" fmla="*/ 204 h 205"/>
                <a:gd name="T34" fmla="*/ 61 w 214"/>
                <a:gd name="T35" fmla="*/ 201 h 205"/>
                <a:gd name="T36" fmla="*/ 55 w 214"/>
                <a:gd name="T37" fmla="*/ 205 h 205"/>
                <a:gd name="T38" fmla="*/ 51 w 214"/>
                <a:gd name="T39" fmla="*/ 199 h 205"/>
                <a:gd name="T40" fmla="*/ 46 w 214"/>
                <a:gd name="T41" fmla="*/ 195 h 205"/>
                <a:gd name="T42" fmla="*/ 45 w 214"/>
                <a:gd name="T43" fmla="*/ 193 h 205"/>
                <a:gd name="T44" fmla="*/ 43 w 214"/>
                <a:gd name="T45" fmla="*/ 184 h 205"/>
                <a:gd name="T46" fmla="*/ 37 w 214"/>
                <a:gd name="T47" fmla="*/ 174 h 205"/>
                <a:gd name="T48" fmla="*/ 33 w 214"/>
                <a:gd name="T49" fmla="*/ 180 h 205"/>
                <a:gd name="T50" fmla="*/ 25 w 214"/>
                <a:gd name="T51" fmla="*/ 177 h 205"/>
                <a:gd name="T52" fmla="*/ 17 w 214"/>
                <a:gd name="T53" fmla="*/ 177 h 205"/>
                <a:gd name="T54" fmla="*/ 11 w 214"/>
                <a:gd name="T55" fmla="*/ 167 h 205"/>
                <a:gd name="T56" fmla="*/ 3 w 214"/>
                <a:gd name="T57" fmla="*/ 153 h 205"/>
                <a:gd name="T58" fmla="*/ 0 w 214"/>
                <a:gd name="T59" fmla="*/ 141 h 205"/>
                <a:gd name="T60" fmla="*/ 9 w 214"/>
                <a:gd name="T61" fmla="*/ 127 h 205"/>
                <a:gd name="T62" fmla="*/ 14 w 214"/>
                <a:gd name="T63" fmla="*/ 128 h 205"/>
                <a:gd name="T64" fmla="*/ 21 w 214"/>
                <a:gd name="T65" fmla="*/ 137 h 205"/>
                <a:gd name="T66" fmla="*/ 86 w 214"/>
                <a:gd name="T67" fmla="*/ 132 h 205"/>
                <a:gd name="T68" fmla="*/ 85 w 214"/>
                <a:gd name="T69" fmla="*/ 122 h 205"/>
                <a:gd name="T70" fmla="*/ 71 w 214"/>
                <a:gd name="T71" fmla="*/ 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05">
                  <a:moveTo>
                    <a:pt x="71" y="0"/>
                  </a:moveTo>
                  <a:lnTo>
                    <a:pt x="95" y="0"/>
                  </a:lnTo>
                  <a:lnTo>
                    <a:pt x="174" y="54"/>
                  </a:lnTo>
                  <a:lnTo>
                    <a:pt x="175" y="58"/>
                  </a:lnTo>
                  <a:lnTo>
                    <a:pt x="180" y="61"/>
                  </a:lnTo>
                  <a:lnTo>
                    <a:pt x="184" y="66"/>
                  </a:lnTo>
                  <a:lnTo>
                    <a:pt x="200" y="73"/>
                  </a:lnTo>
                  <a:lnTo>
                    <a:pt x="202" y="73"/>
                  </a:lnTo>
                  <a:lnTo>
                    <a:pt x="200" y="84"/>
                  </a:lnTo>
                  <a:lnTo>
                    <a:pt x="202" y="85"/>
                  </a:lnTo>
                  <a:lnTo>
                    <a:pt x="212" y="82"/>
                  </a:lnTo>
                  <a:lnTo>
                    <a:pt x="214" y="82"/>
                  </a:lnTo>
                  <a:lnTo>
                    <a:pt x="214" y="127"/>
                  </a:lnTo>
                  <a:lnTo>
                    <a:pt x="211" y="128"/>
                  </a:lnTo>
                  <a:lnTo>
                    <a:pt x="205" y="135"/>
                  </a:lnTo>
                  <a:lnTo>
                    <a:pt x="177" y="135"/>
                  </a:lnTo>
                  <a:lnTo>
                    <a:pt x="171" y="141"/>
                  </a:lnTo>
                  <a:lnTo>
                    <a:pt x="160" y="141"/>
                  </a:lnTo>
                  <a:lnTo>
                    <a:pt x="148" y="143"/>
                  </a:lnTo>
                  <a:lnTo>
                    <a:pt x="128" y="159"/>
                  </a:lnTo>
                  <a:lnTo>
                    <a:pt x="108" y="165"/>
                  </a:lnTo>
                  <a:lnTo>
                    <a:pt x="104" y="177"/>
                  </a:lnTo>
                  <a:lnTo>
                    <a:pt x="94" y="187"/>
                  </a:lnTo>
                  <a:lnTo>
                    <a:pt x="92" y="202"/>
                  </a:lnTo>
                  <a:lnTo>
                    <a:pt x="88" y="202"/>
                  </a:lnTo>
                  <a:lnTo>
                    <a:pt x="86" y="201"/>
                  </a:lnTo>
                  <a:lnTo>
                    <a:pt x="83" y="201"/>
                  </a:lnTo>
                  <a:lnTo>
                    <a:pt x="79" y="204"/>
                  </a:lnTo>
                  <a:lnTo>
                    <a:pt x="77" y="204"/>
                  </a:lnTo>
                  <a:lnTo>
                    <a:pt x="77" y="198"/>
                  </a:lnTo>
                  <a:lnTo>
                    <a:pt x="73" y="198"/>
                  </a:lnTo>
                  <a:lnTo>
                    <a:pt x="71" y="201"/>
                  </a:lnTo>
                  <a:lnTo>
                    <a:pt x="71" y="202"/>
                  </a:lnTo>
                  <a:lnTo>
                    <a:pt x="68" y="204"/>
                  </a:lnTo>
                  <a:lnTo>
                    <a:pt x="67" y="204"/>
                  </a:lnTo>
                  <a:lnTo>
                    <a:pt x="61" y="201"/>
                  </a:lnTo>
                  <a:lnTo>
                    <a:pt x="55" y="204"/>
                  </a:lnTo>
                  <a:lnTo>
                    <a:pt x="55" y="205"/>
                  </a:lnTo>
                  <a:lnTo>
                    <a:pt x="54" y="204"/>
                  </a:lnTo>
                  <a:lnTo>
                    <a:pt x="51" y="199"/>
                  </a:lnTo>
                  <a:lnTo>
                    <a:pt x="51" y="193"/>
                  </a:lnTo>
                  <a:lnTo>
                    <a:pt x="46" y="195"/>
                  </a:lnTo>
                  <a:lnTo>
                    <a:pt x="45" y="195"/>
                  </a:lnTo>
                  <a:lnTo>
                    <a:pt x="45" y="193"/>
                  </a:lnTo>
                  <a:lnTo>
                    <a:pt x="49" y="187"/>
                  </a:lnTo>
                  <a:lnTo>
                    <a:pt x="43" y="184"/>
                  </a:lnTo>
                  <a:lnTo>
                    <a:pt x="40" y="174"/>
                  </a:lnTo>
                  <a:lnTo>
                    <a:pt x="37" y="174"/>
                  </a:lnTo>
                  <a:lnTo>
                    <a:pt x="33" y="178"/>
                  </a:lnTo>
                  <a:lnTo>
                    <a:pt x="33" y="180"/>
                  </a:lnTo>
                  <a:lnTo>
                    <a:pt x="31" y="180"/>
                  </a:lnTo>
                  <a:lnTo>
                    <a:pt x="25" y="177"/>
                  </a:lnTo>
                  <a:lnTo>
                    <a:pt x="21" y="181"/>
                  </a:lnTo>
                  <a:lnTo>
                    <a:pt x="17" y="177"/>
                  </a:lnTo>
                  <a:lnTo>
                    <a:pt x="11" y="180"/>
                  </a:lnTo>
                  <a:lnTo>
                    <a:pt x="11" y="167"/>
                  </a:lnTo>
                  <a:lnTo>
                    <a:pt x="2" y="158"/>
                  </a:lnTo>
                  <a:lnTo>
                    <a:pt x="3" y="153"/>
                  </a:lnTo>
                  <a:lnTo>
                    <a:pt x="0" y="143"/>
                  </a:lnTo>
                  <a:lnTo>
                    <a:pt x="0" y="141"/>
                  </a:lnTo>
                  <a:lnTo>
                    <a:pt x="5" y="137"/>
                  </a:lnTo>
                  <a:lnTo>
                    <a:pt x="9" y="127"/>
                  </a:lnTo>
                  <a:lnTo>
                    <a:pt x="11" y="127"/>
                  </a:lnTo>
                  <a:lnTo>
                    <a:pt x="14" y="128"/>
                  </a:lnTo>
                  <a:lnTo>
                    <a:pt x="18" y="135"/>
                  </a:lnTo>
                  <a:lnTo>
                    <a:pt x="21" y="137"/>
                  </a:lnTo>
                  <a:lnTo>
                    <a:pt x="27" y="131"/>
                  </a:lnTo>
                  <a:lnTo>
                    <a:pt x="86" y="132"/>
                  </a:lnTo>
                  <a:lnTo>
                    <a:pt x="89" y="122"/>
                  </a:lnTo>
                  <a:lnTo>
                    <a:pt x="85" y="122"/>
                  </a:lnTo>
                  <a:lnTo>
                    <a:pt x="83" y="121"/>
                  </a:lnTo>
                  <a:lnTo>
                    <a:pt x="71" y="2"/>
                  </a:lnTo>
                  <a:lnTo>
                    <a:pt x="7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6" name="Madagascar">
              <a:extLst>
                <a:ext uri="{FF2B5EF4-FFF2-40B4-BE49-F238E27FC236}">
                  <a16:creationId xmlns:a16="http://schemas.microsoft.com/office/drawing/2014/main" id="{344819FE-E1F3-E2FA-9B04-C697D32D0094}"/>
                </a:ext>
              </a:extLst>
            </p:cNvPr>
            <p:cNvSpPr>
              <a:spLocks/>
            </p:cNvSpPr>
            <p:nvPr/>
          </p:nvSpPr>
          <p:spPr bwMode="auto">
            <a:xfrm>
              <a:off x="6843220" y="4876538"/>
              <a:ext cx="169864" cy="336114"/>
            </a:xfrm>
            <a:custGeom>
              <a:avLst/>
              <a:gdLst>
                <a:gd name="T0" fmla="*/ 78 w 94"/>
                <a:gd name="T1" fmla="*/ 0 h 186"/>
                <a:gd name="T2" fmla="*/ 87 w 94"/>
                <a:gd name="T3" fmla="*/ 12 h 186"/>
                <a:gd name="T4" fmla="*/ 94 w 94"/>
                <a:gd name="T5" fmla="*/ 43 h 186"/>
                <a:gd name="T6" fmla="*/ 93 w 94"/>
                <a:gd name="T7" fmla="*/ 50 h 186"/>
                <a:gd name="T8" fmla="*/ 90 w 94"/>
                <a:gd name="T9" fmla="*/ 50 h 186"/>
                <a:gd name="T10" fmla="*/ 89 w 94"/>
                <a:gd name="T11" fmla="*/ 44 h 186"/>
                <a:gd name="T12" fmla="*/ 87 w 94"/>
                <a:gd name="T13" fmla="*/ 44 h 186"/>
                <a:gd name="T14" fmla="*/ 87 w 94"/>
                <a:gd name="T15" fmla="*/ 59 h 186"/>
                <a:gd name="T16" fmla="*/ 83 w 94"/>
                <a:gd name="T17" fmla="*/ 66 h 186"/>
                <a:gd name="T18" fmla="*/ 80 w 94"/>
                <a:gd name="T19" fmla="*/ 87 h 186"/>
                <a:gd name="T20" fmla="*/ 54 w 94"/>
                <a:gd name="T21" fmla="*/ 170 h 186"/>
                <a:gd name="T22" fmla="*/ 47 w 94"/>
                <a:gd name="T23" fmla="*/ 179 h 186"/>
                <a:gd name="T24" fmla="*/ 38 w 94"/>
                <a:gd name="T25" fmla="*/ 181 h 186"/>
                <a:gd name="T26" fmla="*/ 26 w 94"/>
                <a:gd name="T27" fmla="*/ 186 h 186"/>
                <a:gd name="T28" fmla="*/ 26 w 94"/>
                <a:gd name="T29" fmla="*/ 185 h 186"/>
                <a:gd name="T30" fmla="*/ 11 w 94"/>
                <a:gd name="T31" fmla="*/ 176 h 186"/>
                <a:gd name="T32" fmla="*/ 8 w 94"/>
                <a:gd name="T33" fmla="*/ 172 h 186"/>
                <a:gd name="T34" fmla="*/ 7 w 94"/>
                <a:gd name="T35" fmla="*/ 155 h 186"/>
                <a:gd name="T36" fmla="*/ 1 w 94"/>
                <a:gd name="T37" fmla="*/ 143 h 186"/>
                <a:gd name="T38" fmla="*/ 0 w 94"/>
                <a:gd name="T39" fmla="*/ 132 h 186"/>
                <a:gd name="T40" fmla="*/ 17 w 94"/>
                <a:gd name="T41" fmla="*/ 103 h 186"/>
                <a:gd name="T42" fmla="*/ 8 w 94"/>
                <a:gd name="T43" fmla="*/ 72 h 186"/>
                <a:gd name="T44" fmla="*/ 8 w 94"/>
                <a:gd name="T45" fmla="*/ 71 h 186"/>
                <a:gd name="T46" fmla="*/ 16 w 94"/>
                <a:gd name="T47" fmla="*/ 59 h 186"/>
                <a:gd name="T48" fmla="*/ 16 w 94"/>
                <a:gd name="T49" fmla="*/ 55 h 186"/>
                <a:gd name="T50" fmla="*/ 26 w 94"/>
                <a:gd name="T51" fmla="*/ 50 h 186"/>
                <a:gd name="T52" fmla="*/ 28 w 94"/>
                <a:gd name="T53" fmla="*/ 52 h 186"/>
                <a:gd name="T54" fmla="*/ 37 w 94"/>
                <a:gd name="T55" fmla="*/ 47 h 186"/>
                <a:gd name="T56" fmla="*/ 38 w 94"/>
                <a:gd name="T57" fmla="*/ 47 h 186"/>
                <a:gd name="T58" fmla="*/ 41 w 94"/>
                <a:gd name="T59" fmla="*/ 52 h 186"/>
                <a:gd name="T60" fmla="*/ 44 w 94"/>
                <a:gd name="T61" fmla="*/ 52 h 186"/>
                <a:gd name="T62" fmla="*/ 41 w 94"/>
                <a:gd name="T63" fmla="*/ 46 h 186"/>
                <a:gd name="T64" fmla="*/ 41 w 94"/>
                <a:gd name="T65" fmla="*/ 44 h 186"/>
                <a:gd name="T66" fmla="*/ 47 w 94"/>
                <a:gd name="T67" fmla="*/ 41 h 186"/>
                <a:gd name="T68" fmla="*/ 48 w 94"/>
                <a:gd name="T69" fmla="*/ 41 h 186"/>
                <a:gd name="T70" fmla="*/ 50 w 94"/>
                <a:gd name="T71" fmla="*/ 44 h 186"/>
                <a:gd name="T72" fmla="*/ 51 w 94"/>
                <a:gd name="T73" fmla="*/ 44 h 186"/>
                <a:gd name="T74" fmla="*/ 50 w 94"/>
                <a:gd name="T75" fmla="*/ 40 h 186"/>
                <a:gd name="T76" fmla="*/ 53 w 94"/>
                <a:gd name="T77" fmla="*/ 35 h 186"/>
                <a:gd name="T78" fmla="*/ 54 w 94"/>
                <a:gd name="T79" fmla="*/ 32 h 186"/>
                <a:gd name="T80" fmla="*/ 56 w 94"/>
                <a:gd name="T81" fmla="*/ 32 h 186"/>
                <a:gd name="T82" fmla="*/ 56 w 94"/>
                <a:gd name="T83" fmla="*/ 37 h 186"/>
                <a:gd name="T84" fmla="*/ 59 w 94"/>
                <a:gd name="T85" fmla="*/ 32 h 186"/>
                <a:gd name="T86" fmla="*/ 62 w 94"/>
                <a:gd name="T87" fmla="*/ 32 h 186"/>
                <a:gd name="T88" fmla="*/ 59 w 94"/>
                <a:gd name="T89" fmla="*/ 29 h 186"/>
                <a:gd name="T90" fmla="*/ 57 w 94"/>
                <a:gd name="T91" fmla="*/ 29 h 186"/>
                <a:gd name="T92" fmla="*/ 60 w 94"/>
                <a:gd name="T93" fmla="*/ 25 h 186"/>
                <a:gd name="T94" fmla="*/ 62 w 94"/>
                <a:gd name="T95" fmla="*/ 25 h 186"/>
                <a:gd name="T96" fmla="*/ 60 w 94"/>
                <a:gd name="T97" fmla="*/ 19 h 186"/>
                <a:gd name="T98" fmla="*/ 65 w 94"/>
                <a:gd name="T99" fmla="*/ 19 h 186"/>
                <a:gd name="T100" fmla="*/ 65 w 94"/>
                <a:gd name="T101" fmla="*/ 20 h 186"/>
                <a:gd name="T102" fmla="*/ 68 w 94"/>
                <a:gd name="T103" fmla="*/ 15 h 186"/>
                <a:gd name="T104" fmla="*/ 72 w 94"/>
                <a:gd name="T105" fmla="*/ 15 h 186"/>
                <a:gd name="T106" fmla="*/ 72 w 94"/>
                <a:gd name="T107" fmla="*/ 3 h 186"/>
                <a:gd name="T108" fmla="*/ 78 w 94"/>
                <a:gd name="T10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 h="186">
                  <a:moveTo>
                    <a:pt x="78" y="0"/>
                  </a:moveTo>
                  <a:lnTo>
                    <a:pt x="87" y="12"/>
                  </a:lnTo>
                  <a:lnTo>
                    <a:pt x="94" y="43"/>
                  </a:lnTo>
                  <a:lnTo>
                    <a:pt x="93" y="50"/>
                  </a:lnTo>
                  <a:lnTo>
                    <a:pt x="90" y="50"/>
                  </a:lnTo>
                  <a:lnTo>
                    <a:pt x="89" y="44"/>
                  </a:lnTo>
                  <a:lnTo>
                    <a:pt x="87" y="44"/>
                  </a:lnTo>
                  <a:lnTo>
                    <a:pt x="87" y="59"/>
                  </a:lnTo>
                  <a:lnTo>
                    <a:pt x="83" y="66"/>
                  </a:lnTo>
                  <a:lnTo>
                    <a:pt x="80" y="87"/>
                  </a:lnTo>
                  <a:lnTo>
                    <a:pt x="54" y="170"/>
                  </a:lnTo>
                  <a:lnTo>
                    <a:pt x="47" y="179"/>
                  </a:lnTo>
                  <a:lnTo>
                    <a:pt x="38" y="181"/>
                  </a:lnTo>
                  <a:lnTo>
                    <a:pt x="26" y="186"/>
                  </a:lnTo>
                  <a:lnTo>
                    <a:pt x="26" y="185"/>
                  </a:lnTo>
                  <a:lnTo>
                    <a:pt x="11" y="176"/>
                  </a:lnTo>
                  <a:lnTo>
                    <a:pt x="8" y="172"/>
                  </a:lnTo>
                  <a:lnTo>
                    <a:pt x="7" y="155"/>
                  </a:lnTo>
                  <a:lnTo>
                    <a:pt x="1" y="143"/>
                  </a:lnTo>
                  <a:lnTo>
                    <a:pt x="0" y="132"/>
                  </a:lnTo>
                  <a:lnTo>
                    <a:pt x="17" y="103"/>
                  </a:lnTo>
                  <a:lnTo>
                    <a:pt x="8" y="72"/>
                  </a:lnTo>
                  <a:lnTo>
                    <a:pt x="8" y="71"/>
                  </a:lnTo>
                  <a:lnTo>
                    <a:pt x="16" y="59"/>
                  </a:lnTo>
                  <a:lnTo>
                    <a:pt x="16" y="55"/>
                  </a:lnTo>
                  <a:lnTo>
                    <a:pt x="26" y="50"/>
                  </a:lnTo>
                  <a:lnTo>
                    <a:pt x="28" y="52"/>
                  </a:lnTo>
                  <a:lnTo>
                    <a:pt x="37" y="47"/>
                  </a:lnTo>
                  <a:lnTo>
                    <a:pt x="38" y="47"/>
                  </a:lnTo>
                  <a:lnTo>
                    <a:pt x="41" y="52"/>
                  </a:lnTo>
                  <a:lnTo>
                    <a:pt x="44" y="52"/>
                  </a:lnTo>
                  <a:lnTo>
                    <a:pt x="41" y="46"/>
                  </a:lnTo>
                  <a:lnTo>
                    <a:pt x="41" y="44"/>
                  </a:lnTo>
                  <a:lnTo>
                    <a:pt x="47" y="41"/>
                  </a:lnTo>
                  <a:lnTo>
                    <a:pt x="48" y="41"/>
                  </a:lnTo>
                  <a:lnTo>
                    <a:pt x="50" y="44"/>
                  </a:lnTo>
                  <a:lnTo>
                    <a:pt x="51" y="44"/>
                  </a:lnTo>
                  <a:lnTo>
                    <a:pt x="50" y="40"/>
                  </a:lnTo>
                  <a:lnTo>
                    <a:pt x="53" y="35"/>
                  </a:lnTo>
                  <a:lnTo>
                    <a:pt x="54" y="32"/>
                  </a:lnTo>
                  <a:lnTo>
                    <a:pt x="56" y="32"/>
                  </a:lnTo>
                  <a:lnTo>
                    <a:pt x="56" y="37"/>
                  </a:lnTo>
                  <a:lnTo>
                    <a:pt x="59" y="32"/>
                  </a:lnTo>
                  <a:lnTo>
                    <a:pt x="62" y="32"/>
                  </a:lnTo>
                  <a:lnTo>
                    <a:pt x="59" y="29"/>
                  </a:lnTo>
                  <a:lnTo>
                    <a:pt x="57" y="29"/>
                  </a:lnTo>
                  <a:lnTo>
                    <a:pt x="60" y="25"/>
                  </a:lnTo>
                  <a:lnTo>
                    <a:pt x="62" y="25"/>
                  </a:lnTo>
                  <a:lnTo>
                    <a:pt x="60" y="19"/>
                  </a:lnTo>
                  <a:lnTo>
                    <a:pt x="65" y="19"/>
                  </a:lnTo>
                  <a:lnTo>
                    <a:pt x="65" y="20"/>
                  </a:lnTo>
                  <a:lnTo>
                    <a:pt x="68" y="15"/>
                  </a:lnTo>
                  <a:lnTo>
                    <a:pt x="72" y="15"/>
                  </a:lnTo>
                  <a:lnTo>
                    <a:pt x="72" y="3"/>
                  </a:lnTo>
                  <a:lnTo>
                    <a:pt x="7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7" name="Mauritania">
              <a:extLst>
                <a:ext uri="{FF2B5EF4-FFF2-40B4-BE49-F238E27FC236}">
                  <a16:creationId xmlns:a16="http://schemas.microsoft.com/office/drawing/2014/main" id="{4E0742A1-15A9-3AF3-C3E5-82AF90DF36D0}"/>
                </a:ext>
              </a:extLst>
            </p:cNvPr>
            <p:cNvSpPr>
              <a:spLocks/>
            </p:cNvSpPr>
            <p:nvPr/>
          </p:nvSpPr>
          <p:spPr bwMode="auto">
            <a:xfrm>
              <a:off x="5428290" y="3922409"/>
              <a:ext cx="287323" cy="316236"/>
            </a:xfrm>
            <a:custGeom>
              <a:avLst/>
              <a:gdLst>
                <a:gd name="T0" fmla="*/ 108 w 159"/>
                <a:gd name="T1" fmla="*/ 0 h 175"/>
                <a:gd name="T2" fmla="*/ 110 w 159"/>
                <a:gd name="T3" fmla="*/ 0 h 175"/>
                <a:gd name="T4" fmla="*/ 157 w 159"/>
                <a:gd name="T5" fmla="*/ 32 h 175"/>
                <a:gd name="T6" fmla="*/ 159 w 159"/>
                <a:gd name="T7" fmla="*/ 34 h 175"/>
                <a:gd name="T8" fmla="*/ 135 w 159"/>
                <a:gd name="T9" fmla="*/ 34 h 175"/>
                <a:gd name="T10" fmla="*/ 147 w 159"/>
                <a:gd name="T11" fmla="*/ 153 h 175"/>
                <a:gd name="T12" fmla="*/ 153 w 159"/>
                <a:gd name="T13" fmla="*/ 154 h 175"/>
                <a:gd name="T14" fmla="*/ 150 w 159"/>
                <a:gd name="T15" fmla="*/ 166 h 175"/>
                <a:gd name="T16" fmla="*/ 119 w 159"/>
                <a:gd name="T17" fmla="*/ 166 h 175"/>
                <a:gd name="T18" fmla="*/ 105 w 159"/>
                <a:gd name="T19" fmla="*/ 164 h 175"/>
                <a:gd name="T20" fmla="*/ 89 w 159"/>
                <a:gd name="T21" fmla="*/ 164 h 175"/>
                <a:gd name="T22" fmla="*/ 83 w 159"/>
                <a:gd name="T23" fmla="*/ 170 h 175"/>
                <a:gd name="T24" fmla="*/ 80 w 159"/>
                <a:gd name="T25" fmla="*/ 170 h 175"/>
                <a:gd name="T26" fmla="*/ 79 w 159"/>
                <a:gd name="T27" fmla="*/ 169 h 175"/>
                <a:gd name="T28" fmla="*/ 74 w 159"/>
                <a:gd name="T29" fmla="*/ 161 h 175"/>
                <a:gd name="T30" fmla="*/ 73 w 159"/>
                <a:gd name="T31" fmla="*/ 160 h 175"/>
                <a:gd name="T32" fmla="*/ 68 w 159"/>
                <a:gd name="T33" fmla="*/ 170 h 175"/>
                <a:gd name="T34" fmla="*/ 64 w 159"/>
                <a:gd name="T35" fmla="*/ 175 h 175"/>
                <a:gd name="T36" fmla="*/ 62 w 159"/>
                <a:gd name="T37" fmla="*/ 175 h 175"/>
                <a:gd name="T38" fmla="*/ 53 w 159"/>
                <a:gd name="T39" fmla="*/ 167 h 175"/>
                <a:gd name="T40" fmla="*/ 46 w 159"/>
                <a:gd name="T41" fmla="*/ 157 h 175"/>
                <a:gd name="T42" fmla="*/ 40 w 159"/>
                <a:gd name="T43" fmla="*/ 157 h 175"/>
                <a:gd name="T44" fmla="*/ 33 w 159"/>
                <a:gd name="T45" fmla="*/ 150 h 175"/>
                <a:gd name="T46" fmla="*/ 9 w 159"/>
                <a:gd name="T47" fmla="*/ 151 h 175"/>
                <a:gd name="T48" fmla="*/ 6 w 159"/>
                <a:gd name="T49" fmla="*/ 157 h 175"/>
                <a:gd name="T50" fmla="*/ 4 w 159"/>
                <a:gd name="T51" fmla="*/ 157 h 175"/>
                <a:gd name="T52" fmla="*/ 4 w 159"/>
                <a:gd name="T53" fmla="*/ 156 h 175"/>
                <a:gd name="T54" fmla="*/ 10 w 159"/>
                <a:gd name="T55" fmla="*/ 135 h 175"/>
                <a:gd name="T56" fmla="*/ 10 w 159"/>
                <a:gd name="T57" fmla="*/ 124 h 175"/>
                <a:gd name="T58" fmla="*/ 6 w 159"/>
                <a:gd name="T59" fmla="*/ 111 h 175"/>
                <a:gd name="T60" fmla="*/ 9 w 159"/>
                <a:gd name="T61" fmla="*/ 105 h 175"/>
                <a:gd name="T62" fmla="*/ 7 w 159"/>
                <a:gd name="T63" fmla="*/ 99 h 175"/>
                <a:gd name="T64" fmla="*/ 1 w 159"/>
                <a:gd name="T65" fmla="*/ 89 h 175"/>
                <a:gd name="T66" fmla="*/ 0 w 159"/>
                <a:gd name="T67" fmla="*/ 90 h 175"/>
                <a:gd name="T68" fmla="*/ 0 w 159"/>
                <a:gd name="T69" fmla="*/ 89 h 175"/>
                <a:gd name="T70" fmla="*/ 3 w 159"/>
                <a:gd name="T71" fmla="*/ 83 h 175"/>
                <a:gd name="T72" fmla="*/ 52 w 159"/>
                <a:gd name="T73" fmla="*/ 83 h 175"/>
                <a:gd name="T74" fmla="*/ 50 w 159"/>
                <a:gd name="T75" fmla="*/ 62 h 175"/>
                <a:gd name="T76" fmla="*/ 53 w 159"/>
                <a:gd name="T77" fmla="*/ 58 h 175"/>
                <a:gd name="T78" fmla="*/ 65 w 159"/>
                <a:gd name="T79" fmla="*/ 53 h 175"/>
                <a:gd name="T80" fmla="*/ 67 w 159"/>
                <a:gd name="T81" fmla="*/ 18 h 175"/>
                <a:gd name="T82" fmla="*/ 108 w 159"/>
                <a:gd name="T83" fmla="*/ 18 h 175"/>
                <a:gd name="T84" fmla="*/ 108 w 159"/>
                <a:gd name="T85"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9" h="175">
                  <a:moveTo>
                    <a:pt x="108" y="0"/>
                  </a:moveTo>
                  <a:lnTo>
                    <a:pt x="110" y="0"/>
                  </a:lnTo>
                  <a:lnTo>
                    <a:pt x="157" y="32"/>
                  </a:lnTo>
                  <a:lnTo>
                    <a:pt x="159" y="34"/>
                  </a:lnTo>
                  <a:lnTo>
                    <a:pt x="135" y="34"/>
                  </a:lnTo>
                  <a:lnTo>
                    <a:pt x="147" y="153"/>
                  </a:lnTo>
                  <a:lnTo>
                    <a:pt x="153" y="154"/>
                  </a:lnTo>
                  <a:lnTo>
                    <a:pt x="150" y="166"/>
                  </a:lnTo>
                  <a:lnTo>
                    <a:pt x="119" y="166"/>
                  </a:lnTo>
                  <a:lnTo>
                    <a:pt x="105" y="164"/>
                  </a:lnTo>
                  <a:lnTo>
                    <a:pt x="89" y="164"/>
                  </a:lnTo>
                  <a:lnTo>
                    <a:pt x="83" y="170"/>
                  </a:lnTo>
                  <a:lnTo>
                    <a:pt x="80" y="170"/>
                  </a:lnTo>
                  <a:lnTo>
                    <a:pt x="79" y="169"/>
                  </a:lnTo>
                  <a:lnTo>
                    <a:pt x="74" y="161"/>
                  </a:lnTo>
                  <a:lnTo>
                    <a:pt x="73" y="160"/>
                  </a:lnTo>
                  <a:lnTo>
                    <a:pt x="68" y="170"/>
                  </a:lnTo>
                  <a:lnTo>
                    <a:pt x="64" y="175"/>
                  </a:lnTo>
                  <a:lnTo>
                    <a:pt x="62" y="175"/>
                  </a:lnTo>
                  <a:lnTo>
                    <a:pt x="53" y="167"/>
                  </a:lnTo>
                  <a:lnTo>
                    <a:pt x="46" y="157"/>
                  </a:lnTo>
                  <a:lnTo>
                    <a:pt x="40" y="157"/>
                  </a:lnTo>
                  <a:lnTo>
                    <a:pt x="33" y="150"/>
                  </a:lnTo>
                  <a:lnTo>
                    <a:pt x="9" y="151"/>
                  </a:lnTo>
                  <a:lnTo>
                    <a:pt x="6" y="157"/>
                  </a:lnTo>
                  <a:lnTo>
                    <a:pt x="4" y="157"/>
                  </a:lnTo>
                  <a:lnTo>
                    <a:pt x="4" y="156"/>
                  </a:lnTo>
                  <a:lnTo>
                    <a:pt x="10" y="135"/>
                  </a:lnTo>
                  <a:lnTo>
                    <a:pt x="10" y="124"/>
                  </a:lnTo>
                  <a:lnTo>
                    <a:pt x="6" y="111"/>
                  </a:lnTo>
                  <a:lnTo>
                    <a:pt x="9" y="105"/>
                  </a:lnTo>
                  <a:lnTo>
                    <a:pt x="7" y="99"/>
                  </a:lnTo>
                  <a:lnTo>
                    <a:pt x="1" y="89"/>
                  </a:lnTo>
                  <a:lnTo>
                    <a:pt x="0" y="90"/>
                  </a:lnTo>
                  <a:lnTo>
                    <a:pt x="0" y="89"/>
                  </a:lnTo>
                  <a:lnTo>
                    <a:pt x="3" y="83"/>
                  </a:lnTo>
                  <a:lnTo>
                    <a:pt x="52" y="83"/>
                  </a:lnTo>
                  <a:lnTo>
                    <a:pt x="50" y="62"/>
                  </a:lnTo>
                  <a:lnTo>
                    <a:pt x="53" y="58"/>
                  </a:lnTo>
                  <a:lnTo>
                    <a:pt x="65" y="53"/>
                  </a:lnTo>
                  <a:lnTo>
                    <a:pt x="67" y="18"/>
                  </a:lnTo>
                  <a:lnTo>
                    <a:pt x="108" y="18"/>
                  </a:lnTo>
                  <a:lnTo>
                    <a:pt x="10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8" name="Mozambique">
              <a:extLst>
                <a:ext uri="{FF2B5EF4-FFF2-40B4-BE49-F238E27FC236}">
                  <a16:creationId xmlns:a16="http://schemas.microsoft.com/office/drawing/2014/main" id="{4683A3E2-330E-4DAA-34FE-6A90D5272A63}"/>
                </a:ext>
              </a:extLst>
            </p:cNvPr>
            <p:cNvSpPr>
              <a:spLocks/>
            </p:cNvSpPr>
            <p:nvPr/>
          </p:nvSpPr>
          <p:spPr bwMode="auto">
            <a:xfrm>
              <a:off x="6534212" y="4833168"/>
              <a:ext cx="254796" cy="406590"/>
            </a:xfrm>
            <a:custGeom>
              <a:avLst/>
              <a:gdLst>
                <a:gd name="T0" fmla="*/ 138 w 141"/>
                <a:gd name="T1" fmla="*/ 0 h 225"/>
                <a:gd name="T2" fmla="*/ 136 w 141"/>
                <a:gd name="T3" fmla="*/ 19 h 225"/>
                <a:gd name="T4" fmla="*/ 138 w 141"/>
                <a:gd name="T5" fmla="*/ 50 h 225"/>
                <a:gd name="T6" fmla="*/ 136 w 141"/>
                <a:gd name="T7" fmla="*/ 64 h 225"/>
                <a:gd name="T8" fmla="*/ 138 w 141"/>
                <a:gd name="T9" fmla="*/ 70 h 225"/>
                <a:gd name="T10" fmla="*/ 128 w 141"/>
                <a:gd name="T11" fmla="*/ 83 h 225"/>
                <a:gd name="T12" fmla="*/ 96 w 141"/>
                <a:gd name="T13" fmla="*/ 98 h 225"/>
                <a:gd name="T14" fmla="*/ 88 w 141"/>
                <a:gd name="T15" fmla="*/ 107 h 225"/>
                <a:gd name="T16" fmla="*/ 82 w 141"/>
                <a:gd name="T17" fmla="*/ 116 h 225"/>
                <a:gd name="T18" fmla="*/ 79 w 141"/>
                <a:gd name="T19" fmla="*/ 113 h 225"/>
                <a:gd name="T20" fmla="*/ 61 w 141"/>
                <a:gd name="T21" fmla="*/ 129 h 225"/>
                <a:gd name="T22" fmla="*/ 65 w 141"/>
                <a:gd name="T23" fmla="*/ 142 h 225"/>
                <a:gd name="T24" fmla="*/ 73 w 141"/>
                <a:gd name="T25" fmla="*/ 160 h 225"/>
                <a:gd name="T26" fmla="*/ 70 w 141"/>
                <a:gd name="T27" fmla="*/ 184 h 225"/>
                <a:gd name="T28" fmla="*/ 71 w 141"/>
                <a:gd name="T29" fmla="*/ 188 h 225"/>
                <a:gd name="T30" fmla="*/ 37 w 141"/>
                <a:gd name="T31" fmla="*/ 209 h 225"/>
                <a:gd name="T32" fmla="*/ 36 w 141"/>
                <a:gd name="T33" fmla="*/ 218 h 225"/>
                <a:gd name="T34" fmla="*/ 39 w 141"/>
                <a:gd name="T35" fmla="*/ 215 h 225"/>
                <a:gd name="T36" fmla="*/ 27 w 141"/>
                <a:gd name="T37" fmla="*/ 225 h 225"/>
                <a:gd name="T38" fmla="*/ 24 w 141"/>
                <a:gd name="T39" fmla="*/ 190 h 225"/>
                <a:gd name="T40" fmla="*/ 21 w 141"/>
                <a:gd name="T41" fmla="*/ 159 h 225"/>
                <a:gd name="T42" fmla="*/ 37 w 141"/>
                <a:gd name="T43" fmla="*/ 129 h 225"/>
                <a:gd name="T44" fmla="*/ 39 w 141"/>
                <a:gd name="T45" fmla="*/ 105 h 225"/>
                <a:gd name="T46" fmla="*/ 34 w 141"/>
                <a:gd name="T47" fmla="*/ 83 h 225"/>
                <a:gd name="T48" fmla="*/ 5 w 141"/>
                <a:gd name="T49" fmla="*/ 74 h 225"/>
                <a:gd name="T50" fmla="*/ 3 w 141"/>
                <a:gd name="T51" fmla="*/ 70 h 225"/>
                <a:gd name="T52" fmla="*/ 0 w 141"/>
                <a:gd name="T53" fmla="*/ 62 h 225"/>
                <a:gd name="T54" fmla="*/ 48 w 141"/>
                <a:gd name="T55" fmla="*/ 55 h 225"/>
                <a:gd name="T56" fmla="*/ 55 w 141"/>
                <a:gd name="T57" fmla="*/ 53 h 225"/>
                <a:gd name="T58" fmla="*/ 59 w 141"/>
                <a:gd name="T59" fmla="*/ 56 h 225"/>
                <a:gd name="T60" fmla="*/ 58 w 141"/>
                <a:gd name="T61" fmla="*/ 74 h 225"/>
                <a:gd name="T62" fmla="*/ 68 w 141"/>
                <a:gd name="T63" fmla="*/ 86 h 225"/>
                <a:gd name="T64" fmla="*/ 70 w 141"/>
                <a:gd name="T65" fmla="*/ 89 h 225"/>
                <a:gd name="T66" fmla="*/ 70 w 141"/>
                <a:gd name="T67" fmla="*/ 79 h 225"/>
                <a:gd name="T68" fmla="*/ 77 w 141"/>
                <a:gd name="T69" fmla="*/ 61 h 225"/>
                <a:gd name="T70" fmla="*/ 61 w 141"/>
                <a:gd name="T71" fmla="*/ 27 h 225"/>
                <a:gd name="T72" fmla="*/ 79 w 141"/>
                <a:gd name="T73" fmla="*/ 13 h 225"/>
                <a:gd name="T74" fmla="*/ 101 w 141"/>
                <a:gd name="T75" fmla="*/ 15 h 225"/>
                <a:gd name="T76" fmla="*/ 117 w 141"/>
                <a:gd name="T77" fmla="*/ 12 h 225"/>
                <a:gd name="T78" fmla="*/ 136 w 141"/>
                <a:gd name="T79"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1" h="225">
                  <a:moveTo>
                    <a:pt x="136" y="0"/>
                  </a:moveTo>
                  <a:lnTo>
                    <a:pt x="138" y="0"/>
                  </a:lnTo>
                  <a:lnTo>
                    <a:pt x="141" y="7"/>
                  </a:lnTo>
                  <a:lnTo>
                    <a:pt x="136" y="19"/>
                  </a:lnTo>
                  <a:lnTo>
                    <a:pt x="136" y="50"/>
                  </a:lnTo>
                  <a:lnTo>
                    <a:pt x="138" y="50"/>
                  </a:lnTo>
                  <a:lnTo>
                    <a:pt x="141" y="58"/>
                  </a:lnTo>
                  <a:lnTo>
                    <a:pt x="136" y="64"/>
                  </a:lnTo>
                  <a:lnTo>
                    <a:pt x="138" y="65"/>
                  </a:lnTo>
                  <a:lnTo>
                    <a:pt x="138" y="70"/>
                  </a:lnTo>
                  <a:lnTo>
                    <a:pt x="128" y="80"/>
                  </a:lnTo>
                  <a:lnTo>
                    <a:pt x="128" y="83"/>
                  </a:lnTo>
                  <a:lnTo>
                    <a:pt x="117" y="90"/>
                  </a:lnTo>
                  <a:lnTo>
                    <a:pt x="96" y="98"/>
                  </a:lnTo>
                  <a:lnTo>
                    <a:pt x="86" y="105"/>
                  </a:lnTo>
                  <a:lnTo>
                    <a:pt x="88" y="107"/>
                  </a:lnTo>
                  <a:lnTo>
                    <a:pt x="88" y="108"/>
                  </a:lnTo>
                  <a:lnTo>
                    <a:pt x="82" y="116"/>
                  </a:lnTo>
                  <a:lnTo>
                    <a:pt x="80" y="116"/>
                  </a:lnTo>
                  <a:lnTo>
                    <a:pt x="79" y="113"/>
                  </a:lnTo>
                  <a:lnTo>
                    <a:pt x="79" y="116"/>
                  </a:lnTo>
                  <a:lnTo>
                    <a:pt x="61" y="129"/>
                  </a:lnTo>
                  <a:lnTo>
                    <a:pt x="61" y="138"/>
                  </a:lnTo>
                  <a:lnTo>
                    <a:pt x="65" y="142"/>
                  </a:lnTo>
                  <a:lnTo>
                    <a:pt x="70" y="160"/>
                  </a:lnTo>
                  <a:lnTo>
                    <a:pt x="73" y="160"/>
                  </a:lnTo>
                  <a:lnTo>
                    <a:pt x="68" y="185"/>
                  </a:lnTo>
                  <a:lnTo>
                    <a:pt x="70" y="184"/>
                  </a:lnTo>
                  <a:lnTo>
                    <a:pt x="71" y="184"/>
                  </a:lnTo>
                  <a:lnTo>
                    <a:pt x="71" y="188"/>
                  </a:lnTo>
                  <a:lnTo>
                    <a:pt x="62" y="197"/>
                  </a:lnTo>
                  <a:lnTo>
                    <a:pt x="37" y="209"/>
                  </a:lnTo>
                  <a:lnTo>
                    <a:pt x="33" y="215"/>
                  </a:lnTo>
                  <a:lnTo>
                    <a:pt x="36" y="218"/>
                  </a:lnTo>
                  <a:lnTo>
                    <a:pt x="37" y="215"/>
                  </a:lnTo>
                  <a:lnTo>
                    <a:pt x="39" y="215"/>
                  </a:lnTo>
                  <a:lnTo>
                    <a:pt x="39" y="225"/>
                  </a:lnTo>
                  <a:lnTo>
                    <a:pt x="27" y="225"/>
                  </a:lnTo>
                  <a:lnTo>
                    <a:pt x="25" y="212"/>
                  </a:lnTo>
                  <a:lnTo>
                    <a:pt x="24" y="190"/>
                  </a:lnTo>
                  <a:lnTo>
                    <a:pt x="19" y="166"/>
                  </a:lnTo>
                  <a:lnTo>
                    <a:pt x="21" y="159"/>
                  </a:lnTo>
                  <a:lnTo>
                    <a:pt x="27" y="153"/>
                  </a:lnTo>
                  <a:lnTo>
                    <a:pt x="37" y="129"/>
                  </a:lnTo>
                  <a:lnTo>
                    <a:pt x="34" y="116"/>
                  </a:lnTo>
                  <a:lnTo>
                    <a:pt x="39" y="105"/>
                  </a:lnTo>
                  <a:lnTo>
                    <a:pt x="39" y="95"/>
                  </a:lnTo>
                  <a:lnTo>
                    <a:pt x="34" y="83"/>
                  </a:lnTo>
                  <a:lnTo>
                    <a:pt x="18" y="76"/>
                  </a:lnTo>
                  <a:lnTo>
                    <a:pt x="5" y="74"/>
                  </a:lnTo>
                  <a:lnTo>
                    <a:pt x="3" y="74"/>
                  </a:lnTo>
                  <a:lnTo>
                    <a:pt x="3" y="70"/>
                  </a:lnTo>
                  <a:lnTo>
                    <a:pt x="0" y="64"/>
                  </a:lnTo>
                  <a:lnTo>
                    <a:pt x="0" y="62"/>
                  </a:lnTo>
                  <a:lnTo>
                    <a:pt x="42" y="49"/>
                  </a:lnTo>
                  <a:lnTo>
                    <a:pt x="48" y="55"/>
                  </a:lnTo>
                  <a:lnTo>
                    <a:pt x="51" y="55"/>
                  </a:lnTo>
                  <a:lnTo>
                    <a:pt x="55" y="53"/>
                  </a:lnTo>
                  <a:lnTo>
                    <a:pt x="58" y="53"/>
                  </a:lnTo>
                  <a:lnTo>
                    <a:pt x="59" y="56"/>
                  </a:lnTo>
                  <a:lnTo>
                    <a:pt x="61" y="65"/>
                  </a:lnTo>
                  <a:lnTo>
                    <a:pt x="58" y="74"/>
                  </a:lnTo>
                  <a:lnTo>
                    <a:pt x="59" y="79"/>
                  </a:lnTo>
                  <a:lnTo>
                    <a:pt x="68" y="86"/>
                  </a:lnTo>
                  <a:lnTo>
                    <a:pt x="68" y="89"/>
                  </a:lnTo>
                  <a:lnTo>
                    <a:pt x="70" y="89"/>
                  </a:lnTo>
                  <a:lnTo>
                    <a:pt x="68" y="83"/>
                  </a:lnTo>
                  <a:lnTo>
                    <a:pt x="70" y="79"/>
                  </a:lnTo>
                  <a:lnTo>
                    <a:pt x="76" y="74"/>
                  </a:lnTo>
                  <a:lnTo>
                    <a:pt x="77" y="61"/>
                  </a:lnTo>
                  <a:lnTo>
                    <a:pt x="64" y="43"/>
                  </a:lnTo>
                  <a:lnTo>
                    <a:pt x="61" y="27"/>
                  </a:lnTo>
                  <a:lnTo>
                    <a:pt x="65" y="15"/>
                  </a:lnTo>
                  <a:lnTo>
                    <a:pt x="79" y="13"/>
                  </a:lnTo>
                  <a:lnTo>
                    <a:pt x="85" y="18"/>
                  </a:lnTo>
                  <a:lnTo>
                    <a:pt x="101" y="15"/>
                  </a:lnTo>
                  <a:lnTo>
                    <a:pt x="110" y="10"/>
                  </a:lnTo>
                  <a:lnTo>
                    <a:pt x="117" y="12"/>
                  </a:lnTo>
                  <a:lnTo>
                    <a:pt x="131" y="7"/>
                  </a:lnTo>
                  <a:lnTo>
                    <a:pt x="136" y="1"/>
                  </a:lnTo>
                  <a:lnTo>
                    <a:pt x="1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9" name="Morocco">
              <a:extLst>
                <a:ext uri="{FF2B5EF4-FFF2-40B4-BE49-F238E27FC236}">
                  <a16:creationId xmlns:a16="http://schemas.microsoft.com/office/drawing/2014/main" id="{C7923D3D-7B3E-B639-0872-78751134F3B5}"/>
                </a:ext>
              </a:extLst>
            </p:cNvPr>
            <p:cNvSpPr>
              <a:spLocks/>
            </p:cNvSpPr>
            <p:nvPr/>
          </p:nvSpPr>
          <p:spPr bwMode="auto">
            <a:xfrm>
              <a:off x="5522258" y="3683876"/>
              <a:ext cx="280095" cy="227690"/>
            </a:xfrm>
            <a:custGeom>
              <a:avLst/>
              <a:gdLst>
                <a:gd name="T0" fmla="*/ 99 w 155"/>
                <a:gd name="T1" fmla="*/ 0 h 126"/>
                <a:gd name="T2" fmla="*/ 101 w 155"/>
                <a:gd name="T3" fmla="*/ 0 h 126"/>
                <a:gd name="T4" fmla="*/ 105 w 155"/>
                <a:gd name="T5" fmla="*/ 7 h 126"/>
                <a:gd name="T6" fmla="*/ 114 w 155"/>
                <a:gd name="T7" fmla="*/ 12 h 126"/>
                <a:gd name="T8" fmla="*/ 130 w 155"/>
                <a:gd name="T9" fmla="*/ 9 h 126"/>
                <a:gd name="T10" fmla="*/ 144 w 155"/>
                <a:gd name="T11" fmla="*/ 13 h 126"/>
                <a:gd name="T12" fmla="*/ 144 w 155"/>
                <a:gd name="T13" fmla="*/ 15 h 126"/>
                <a:gd name="T14" fmla="*/ 142 w 155"/>
                <a:gd name="T15" fmla="*/ 15 h 126"/>
                <a:gd name="T16" fmla="*/ 147 w 155"/>
                <a:gd name="T17" fmla="*/ 18 h 126"/>
                <a:gd name="T18" fmla="*/ 148 w 155"/>
                <a:gd name="T19" fmla="*/ 18 h 126"/>
                <a:gd name="T20" fmla="*/ 150 w 155"/>
                <a:gd name="T21" fmla="*/ 44 h 126"/>
                <a:gd name="T22" fmla="*/ 155 w 155"/>
                <a:gd name="T23" fmla="*/ 53 h 126"/>
                <a:gd name="T24" fmla="*/ 154 w 155"/>
                <a:gd name="T25" fmla="*/ 56 h 126"/>
                <a:gd name="T26" fmla="*/ 155 w 155"/>
                <a:gd name="T27" fmla="*/ 58 h 126"/>
                <a:gd name="T28" fmla="*/ 155 w 155"/>
                <a:gd name="T29" fmla="*/ 59 h 126"/>
                <a:gd name="T30" fmla="*/ 154 w 155"/>
                <a:gd name="T31" fmla="*/ 59 h 126"/>
                <a:gd name="T32" fmla="*/ 132 w 155"/>
                <a:gd name="T33" fmla="*/ 61 h 126"/>
                <a:gd name="T34" fmla="*/ 130 w 155"/>
                <a:gd name="T35" fmla="*/ 64 h 126"/>
                <a:gd name="T36" fmla="*/ 120 w 155"/>
                <a:gd name="T37" fmla="*/ 67 h 126"/>
                <a:gd name="T38" fmla="*/ 120 w 155"/>
                <a:gd name="T39" fmla="*/ 74 h 126"/>
                <a:gd name="T40" fmla="*/ 123 w 155"/>
                <a:gd name="T41" fmla="*/ 77 h 126"/>
                <a:gd name="T42" fmla="*/ 121 w 155"/>
                <a:gd name="T43" fmla="*/ 77 h 126"/>
                <a:gd name="T44" fmla="*/ 107 w 155"/>
                <a:gd name="T45" fmla="*/ 84 h 126"/>
                <a:gd name="T46" fmla="*/ 96 w 155"/>
                <a:gd name="T47" fmla="*/ 93 h 126"/>
                <a:gd name="T48" fmla="*/ 84 w 155"/>
                <a:gd name="T49" fmla="*/ 95 h 126"/>
                <a:gd name="T50" fmla="*/ 83 w 155"/>
                <a:gd name="T51" fmla="*/ 98 h 126"/>
                <a:gd name="T52" fmla="*/ 77 w 155"/>
                <a:gd name="T53" fmla="*/ 98 h 126"/>
                <a:gd name="T54" fmla="*/ 64 w 155"/>
                <a:gd name="T55" fmla="*/ 105 h 126"/>
                <a:gd name="T56" fmla="*/ 58 w 155"/>
                <a:gd name="T57" fmla="*/ 110 h 126"/>
                <a:gd name="T58" fmla="*/ 58 w 155"/>
                <a:gd name="T59" fmla="*/ 126 h 126"/>
                <a:gd name="T60" fmla="*/ 0 w 155"/>
                <a:gd name="T61" fmla="*/ 126 h 126"/>
                <a:gd name="T62" fmla="*/ 0 w 155"/>
                <a:gd name="T63" fmla="*/ 123 h 126"/>
                <a:gd name="T64" fmla="*/ 1 w 155"/>
                <a:gd name="T65" fmla="*/ 123 h 126"/>
                <a:gd name="T66" fmla="*/ 18 w 155"/>
                <a:gd name="T67" fmla="*/ 117 h 126"/>
                <a:gd name="T68" fmla="*/ 34 w 155"/>
                <a:gd name="T69" fmla="*/ 104 h 126"/>
                <a:gd name="T70" fmla="*/ 38 w 155"/>
                <a:gd name="T71" fmla="*/ 98 h 126"/>
                <a:gd name="T72" fmla="*/ 43 w 155"/>
                <a:gd name="T73" fmla="*/ 90 h 126"/>
                <a:gd name="T74" fmla="*/ 40 w 155"/>
                <a:gd name="T75" fmla="*/ 83 h 126"/>
                <a:gd name="T76" fmla="*/ 41 w 155"/>
                <a:gd name="T77" fmla="*/ 71 h 126"/>
                <a:gd name="T78" fmla="*/ 49 w 155"/>
                <a:gd name="T79" fmla="*/ 61 h 126"/>
                <a:gd name="T80" fmla="*/ 50 w 155"/>
                <a:gd name="T81" fmla="*/ 53 h 126"/>
                <a:gd name="T82" fmla="*/ 61 w 155"/>
                <a:gd name="T83" fmla="*/ 41 h 126"/>
                <a:gd name="T84" fmla="*/ 83 w 155"/>
                <a:gd name="T85" fmla="*/ 28 h 126"/>
                <a:gd name="T86" fmla="*/ 93 w 155"/>
                <a:gd name="T87" fmla="*/ 3 h 126"/>
                <a:gd name="T88" fmla="*/ 99 w 155"/>
                <a:gd name="T8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126">
                  <a:moveTo>
                    <a:pt x="99" y="0"/>
                  </a:moveTo>
                  <a:lnTo>
                    <a:pt x="101" y="0"/>
                  </a:lnTo>
                  <a:lnTo>
                    <a:pt x="105" y="7"/>
                  </a:lnTo>
                  <a:lnTo>
                    <a:pt x="114" y="12"/>
                  </a:lnTo>
                  <a:lnTo>
                    <a:pt x="130" y="9"/>
                  </a:lnTo>
                  <a:lnTo>
                    <a:pt x="144" y="13"/>
                  </a:lnTo>
                  <a:lnTo>
                    <a:pt x="144" y="15"/>
                  </a:lnTo>
                  <a:lnTo>
                    <a:pt x="142" y="15"/>
                  </a:lnTo>
                  <a:lnTo>
                    <a:pt x="147" y="18"/>
                  </a:lnTo>
                  <a:lnTo>
                    <a:pt x="148" y="18"/>
                  </a:lnTo>
                  <a:lnTo>
                    <a:pt x="150" y="44"/>
                  </a:lnTo>
                  <a:lnTo>
                    <a:pt x="155" y="53"/>
                  </a:lnTo>
                  <a:lnTo>
                    <a:pt x="154" y="56"/>
                  </a:lnTo>
                  <a:lnTo>
                    <a:pt x="155" y="58"/>
                  </a:lnTo>
                  <a:lnTo>
                    <a:pt x="155" y="59"/>
                  </a:lnTo>
                  <a:lnTo>
                    <a:pt x="154" y="59"/>
                  </a:lnTo>
                  <a:lnTo>
                    <a:pt x="132" y="61"/>
                  </a:lnTo>
                  <a:lnTo>
                    <a:pt x="130" y="64"/>
                  </a:lnTo>
                  <a:lnTo>
                    <a:pt x="120" y="67"/>
                  </a:lnTo>
                  <a:lnTo>
                    <a:pt x="120" y="74"/>
                  </a:lnTo>
                  <a:lnTo>
                    <a:pt x="123" y="77"/>
                  </a:lnTo>
                  <a:lnTo>
                    <a:pt x="121" y="77"/>
                  </a:lnTo>
                  <a:lnTo>
                    <a:pt x="107" y="84"/>
                  </a:lnTo>
                  <a:lnTo>
                    <a:pt x="96" y="93"/>
                  </a:lnTo>
                  <a:lnTo>
                    <a:pt x="84" y="95"/>
                  </a:lnTo>
                  <a:lnTo>
                    <a:pt x="83" y="98"/>
                  </a:lnTo>
                  <a:lnTo>
                    <a:pt x="77" y="98"/>
                  </a:lnTo>
                  <a:lnTo>
                    <a:pt x="64" y="105"/>
                  </a:lnTo>
                  <a:lnTo>
                    <a:pt x="58" y="110"/>
                  </a:lnTo>
                  <a:lnTo>
                    <a:pt x="58" y="126"/>
                  </a:lnTo>
                  <a:lnTo>
                    <a:pt x="0" y="126"/>
                  </a:lnTo>
                  <a:lnTo>
                    <a:pt x="0" y="123"/>
                  </a:lnTo>
                  <a:lnTo>
                    <a:pt x="1" y="123"/>
                  </a:lnTo>
                  <a:lnTo>
                    <a:pt x="18" y="117"/>
                  </a:lnTo>
                  <a:lnTo>
                    <a:pt x="34" y="104"/>
                  </a:lnTo>
                  <a:lnTo>
                    <a:pt x="38" y="98"/>
                  </a:lnTo>
                  <a:lnTo>
                    <a:pt x="43" y="90"/>
                  </a:lnTo>
                  <a:lnTo>
                    <a:pt x="40" y="83"/>
                  </a:lnTo>
                  <a:lnTo>
                    <a:pt x="41" y="71"/>
                  </a:lnTo>
                  <a:lnTo>
                    <a:pt x="49" y="61"/>
                  </a:lnTo>
                  <a:lnTo>
                    <a:pt x="50" y="53"/>
                  </a:lnTo>
                  <a:lnTo>
                    <a:pt x="61" y="41"/>
                  </a:lnTo>
                  <a:lnTo>
                    <a:pt x="83" y="28"/>
                  </a:lnTo>
                  <a:lnTo>
                    <a:pt x="93" y="3"/>
                  </a:lnTo>
                  <a:lnTo>
                    <a:pt x="9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0" name="Malawi">
              <a:extLst>
                <a:ext uri="{FF2B5EF4-FFF2-40B4-BE49-F238E27FC236}">
                  <a16:creationId xmlns:a16="http://schemas.microsoft.com/office/drawing/2014/main" id="{B19DF61C-98FC-B58D-F17D-E3E57E8F4046}"/>
                </a:ext>
              </a:extLst>
            </p:cNvPr>
            <p:cNvSpPr>
              <a:spLocks/>
            </p:cNvSpPr>
            <p:nvPr/>
          </p:nvSpPr>
          <p:spPr bwMode="auto">
            <a:xfrm>
              <a:off x="6599266" y="4809676"/>
              <a:ext cx="77705" cy="186128"/>
            </a:xfrm>
            <a:custGeom>
              <a:avLst/>
              <a:gdLst>
                <a:gd name="T0" fmla="*/ 4 w 43"/>
                <a:gd name="T1" fmla="*/ 0 h 103"/>
                <a:gd name="T2" fmla="*/ 12 w 43"/>
                <a:gd name="T3" fmla="*/ 3 h 103"/>
                <a:gd name="T4" fmla="*/ 17 w 43"/>
                <a:gd name="T5" fmla="*/ 3 h 103"/>
                <a:gd name="T6" fmla="*/ 16 w 43"/>
                <a:gd name="T7" fmla="*/ 7 h 103"/>
                <a:gd name="T8" fmla="*/ 20 w 43"/>
                <a:gd name="T9" fmla="*/ 13 h 103"/>
                <a:gd name="T10" fmla="*/ 20 w 43"/>
                <a:gd name="T11" fmla="*/ 31 h 103"/>
                <a:gd name="T12" fmla="*/ 17 w 43"/>
                <a:gd name="T13" fmla="*/ 40 h 103"/>
                <a:gd name="T14" fmla="*/ 25 w 43"/>
                <a:gd name="T15" fmla="*/ 59 h 103"/>
                <a:gd name="T16" fmla="*/ 25 w 43"/>
                <a:gd name="T17" fmla="*/ 63 h 103"/>
                <a:gd name="T18" fmla="*/ 28 w 43"/>
                <a:gd name="T19" fmla="*/ 62 h 103"/>
                <a:gd name="T20" fmla="*/ 29 w 43"/>
                <a:gd name="T21" fmla="*/ 62 h 103"/>
                <a:gd name="T22" fmla="*/ 32 w 43"/>
                <a:gd name="T23" fmla="*/ 65 h 103"/>
                <a:gd name="T24" fmla="*/ 28 w 43"/>
                <a:gd name="T25" fmla="*/ 56 h 103"/>
                <a:gd name="T26" fmla="*/ 28 w 43"/>
                <a:gd name="T27" fmla="*/ 54 h 103"/>
                <a:gd name="T28" fmla="*/ 29 w 43"/>
                <a:gd name="T29" fmla="*/ 54 h 103"/>
                <a:gd name="T30" fmla="*/ 43 w 43"/>
                <a:gd name="T31" fmla="*/ 72 h 103"/>
                <a:gd name="T32" fmla="*/ 43 w 43"/>
                <a:gd name="T33" fmla="*/ 74 h 103"/>
                <a:gd name="T34" fmla="*/ 41 w 43"/>
                <a:gd name="T35" fmla="*/ 87 h 103"/>
                <a:gd name="T36" fmla="*/ 35 w 43"/>
                <a:gd name="T37" fmla="*/ 92 h 103"/>
                <a:gd name="T38" fmla="*/ 34 w 43"/>
                <a:gd name="T39" fmla="*/ 96 h 103"/>
                <a:gd name="T40" fmla="*/ 35 w 43"/>
                <a:gd name="T41" fmla="*/ 103 h 103"/>
                <a:gd name="T42" fmla="*/ 31 w 43"/>
                <a:gd name="T43" fmla="*/ 103 h 103"/>
                <a:gd name="T44" fmla="*/ 31 w 43"/>
                <a:gd name="T45" fmla="*/ 100 h 103"/>
                <a:gd name="T46" fmla="*/ 22 w 43"/>
                <a:gd name="T47" fmla="*/ 92 h 103"/>
                <a:gd name="T48" fmla="*/ 20 w 43"/>
                <a:gd name="T49" fmla="*/ 87 h 103"/>
                <a:gd name="T50" fmla="*/ 25 w 43"/>
                <a:gd name="T51" fmla="*/ 78 h 103"/>
                <a:gd name="T52" fmla="*/ 22 w 43"/>
                <a:gd name="T53" fmla="*/ 69 h 103"/>
                <a:gd name="T54" fmla="*/ 22 w 43"/>
                <a:gd name="T55" fmla="*/ 68 h 103"/>
                <a:gd name="T56" fmla="*/ 19 w 43"/>
                <a:gd name="T57" fmla="*/ 68 h 103"/>
                <a:gd name="T58" fmla="*/ 15 w 43"/>
                <a:gd name="T59" fmla="*/ 69 h 103"/>
                <a:gd name="T60" fmla="*/ 12 w 43"/>
                <a:gd name="T61" fmla="*/ 69 h 103"/>
                <a:gd name="T62" fmla="*/ 6 w 43"/>
                <a:gd name="T63" fmla="*/ 62 h 103"/>
                <a:gd name="T64" fmla="*/ 1 w 43"/>
                <a:gd name="T65" fmla="*/ 57 h 103"/>
                <a:gd name="T66" fmla="*/ 0 w 43"/>
                <a:gd name="T67" fmla="*/ 57 h 103"/>
                <a:gd name="T68" fmla="*/ 0 w 43"/>
                <a:gd name="T69" fmla="*/ 56 h 103"/>
                <a:gd name="T70" fmla="*/ 4 w 43"/>
                <a:gd name="T71" fmla="*/ 44 h 103"/>
                <a:gd name="T72" fmla="*/ 9 w 43"/>
                <a:gd name="T73" fmla="*/ 41 h 103"/>
                <a:gd name="T74" fmla="*/ 7 w 43"/>
                <a:gd name="T75" fmla="*/ 38 h 103"/>
                <a:gd name="T76" fmla="*/ 7 w 43"/>
                <a:gd name="T77" fmla="*/ 29 h 103"/>
                <a:gd name="T78" fmla="*/ 9 w 43"/>
                <a:gd name="T79" fmla="*/ 20 h 103"/>
                <a:gd name="T80" fmla="*/ 12 w 43"/>
                <a:gd name="T81" fmla="*/ 17 h 103"/>
                <a:gd name="T82" fmla="*/ 4 w 43"/>
                <a:gd name="T83" fmla="*/ 1 h 103"/>
                <a:gd name="T84" fmla="*/ 4 w 43"/>
                <a:gd name="T8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103">
                  <a:moveTo>
                    <a:pt x="4" y="0"/>
                  </a:moveTo>
                  <a:lnTo>
                    <a:pt x="12" y="3"/>
                  </a:lnTo>
                  <a:lnTo>
                    <a:pt x="17" y="3"/>
                  </a:lnTo>
                  <a:lnTo>
                    <a:pt x="16" y="7"/>
                  </a:lnTo>
                  <a:lnTo>
                    <a:pt x="20" y="13"/>
                  </a:lnTo>
                  <a:lnTo>
                    <a:pt x="20" y="31"/>
                  </a:lnTo>
                  <a:lnTo>
                    <a:pt x="17" y="40"/>
                  </a:lnTo>
                  <a:lnTo>
                    <a:pt x="25" y="59"/>
                  </a:lnTo>
                  <a:lnTo>
                    <a:pt x="25" y="63"/>
                  </a:lnTo>
                  <a:lnTo>
                    <a:pt x="28" y="62"/>
                  </a:lnTo>
                  <a:lnTo>
                    <a:pt x="29" y="62"/>
                  </a:lnTo>
                  <a:lnTo>
                    <a:pt x="32" y="65"/>
                  </a:lnTo>
                  <a:lnTo>
                    <a:pt x="28" y="56"/>
                  </a:lnTo>
                  <a:lnTo>
                    <a:pt x="28" y="54"/>
                  </a:lnTo>
                  <a:lnTo>
                    <a:pt x="29" y="54"/>
                  </a:lnTo>
                  <a:lnTo>
                    <a:pt x="43" y="72"/>
                  </a:lnTo>
                  <a:lnTo>
                    <a:pt x="43" y="74"/>
                  </a:lnTo>
                  <a:lnTo>
                    <a:pt x="41" y="87"/>
                  </a:lnTo>
                  <a:lnTo>
                    <a:pt x="35" y="92"/>
                  </a:lnTo>
                  <a:lnTo>
                    <a:pt x="34" y="96"/>
                  </a:lnTo>
                  <a:lnTo>
                    <a:pt x="35" y="103"/>
                  </a:lnTo>
                  <a:lnTo>
                    <a:pt x="31" y="103"/>
                  </a:lnTo>
                  <a:lnTo>
                    <a:pt x="31" y="100"/>
                  </a:lnTo>
                  <a:lnTo>
                    <a:pt x="22" y="92"/>
                  </a:lnTo>
                  <a:lnTo>
                    <a:pt x="20" y="87"/>
                  </a:lnTo>
                  <a:lnTo>
                    <a:pt x="25" y="78"/>
                  </a:lnTo>
                  <a:lnTo>
                    <a:pt x="22" y="69"/>
                  </a:lnTo>
                  <a:lnTo>
                    <a:pt x="22" y="68"/>
                  </a:lnTo>
                  <a:lnTo>
                    <a:pt x="19" y="68"/>
                  </a:lnTo>
                  <a:lnTo>
                    <a:pt x="15" y="69"/>
                  </a:lnTo>
                  <a:lnTo>
                    <a:pt x="12" y="69"/>
                  </a:lnTo>
                  <a:lnTo>
                    <a:pt x="6" y="62"/>
                  </a:lnTo>
                  <a:lnTo>
                    <a:pt x="1" y="57"/>
                  </a:lnTo>
                  <a:lnTo>
                    <a:pt x="0" y="57"/>
                  </a:lnTo>
                  <a:lnTo>
                    <a:pt x="0" y="56"/>
                  </a:lnTo>
                  <a:lnTo>
                    <a:pt x="4" y="44"/>
                  </a:lnTo>
                  <a:lnTo>
                    <a:pt x="9" y="41"/>
                  </a:lnTo>
                  <a:lnTo>
                    <a:pt x="7" y="38"/>
                  </a:lnTo>
                  <a:lnTo>
                    <a:pt x="7" y="29"/>
                  </a:lnTo>
                  <a:lnTo>
                    <a:pt x="9" y="20"/>
                  </a:lnTo>
                  <a:lnTo>
                    <a:pt x="12" y="17"/>
                  </a:lnTo>
                  <a:lnTo>
                    <a:pt x="4" y="1"/>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1" name="Libya">
              <a:extLst>
                <a:ext uri="{FF2B5EF4-FFF2-40B4-BE49-F238E27FC236}">
                  <a16:creationId xmlns:a16="http://schemas.microsoft.com/office/drawing/2014/main" id="{6D35465E-CD8D-C1D6-E297-450CC3D93282}"/>
                </a:ext>
              </a:extLst>
            </p:cNvPr>
            <p:cNvSpPr>
              <a:spLocks/>
            </p:cNvSpPr>
            <p:nvPr/>
          </p:nvSpPr>
          <p:spPr bwMode="auto">
            <a:xfrm>
              <a:off x="6040885" y="3761580"/>
              <a:ext cx="377676" cy="361412"/>
            </a:xfrm>
            <a:custGeom>
              <a:avLst/>
              <a:gdLst>
                <a:gd name="T0" fmla="*/ 29 w 209"/>
                <a:gd name="T1" fmla="*/ 0 h 200"/>
                <a:gd name="T2" fmla="*/ 30 w 209"/>
                <a:gd name="T3" fmla="*/ 0 h 200"/>
                <a:gd name="T4" fmla="*/ 42 w 209"/>
                <a:gd name="T5" fmla="*/ 6 h 200"/>
                <a:gd name="T6" fmla="*/ 61 w 209"/>
                <a:gd name="T7" fmla="*/ 6 h 200"/>
                <a:gd name="T8" fmla="*/ 79 w 209"/>
                <a:gd name="T9" fmla="*/ 13 h 200"/>
                <a:gd name="T10" fmla="*/ 86 w 209"/>
                <a:gd name="T11" fmla="*/ 28 h 200"/>
                <a:gd name="T12" fmla="*/ 112 w 209"/>
                <a:gd name="T13" fmla="*/ 34 h 200"/>
                <a:gd name="T14" fmla="*/ 126 w 209"/>
                <a:gd name="T15" fmla="*/ 44 h 200"/>
                <a:gd name="T16" fmla="*/ 138 w 209"/>
                <a:gd name="T17" fmla="*/ 38 h 200"/>
                <a:gd name="T18" fmla="*/ 141 w 209"/>
                <a:gd name="T19" fmla="*/ 33 h 200"/>
                <a:gd name="T20" fmla="*/ 140 w 209"/>
                <a:gd name="T21" fmla="*/ 25 h 200"/>
                <a:gd name="T22" fmla="*/ 141 w 209"/>
                <a:gd name="T23" fmla="*/ 18 h 200"/>
                <a:gd name="T24" fmla="*/ 155 w 209"/>
                <a:gd name="T25" fmla="*/ 6 h 200"/>
                <a:gd name="T26" fmla="*/ 168 w 209"/>
                <a:gd name="T27" fmla="*/ 4 h 200"/>
                <a:gd name="T28" fmla="*/ 180 w 209"/>
                <a:gd name="T29" fmla="*/ 7 h 200"/>
                <a:gd name="T30" fmla="*/ 184 w 209"/>
                <a:gd name="T31" fmla="*/ 15 h 200"/>
                <a:gd name="T32" fmla="*/ 205 w 209"/>
                <a:gd name="T33" fmla="*/ 19 h 200"/>
                <a:gd name="T34" fmla="*/ 206 w 209"/>
                <a:gd name="T35" fmla="*/ 19 h 200"/>
                <a:gd name="T36" fmla="*/ 209 w 209"/>
                <a:gd name="T37" fmla="*/ 24 h 200"/>
                <a:gd name="T38" fmla="*/ 209 w 209"/>
                <a:gd name="T39" fmla="*/ 25 h 200"/>
                <a:gd name="T40" fmla="*/ 205 w 209"/>
                <a:gd name="T41" fmla="*/ 30 h 200"/>
                <a:gd name="T42" fmla="*/ 206 w 209"/>
                <a:gd name="T43" fmla="*/ 44 h 200"/>
                <a:gd name="T44" fmla="*/ 203 w 209"/>
                <a:gd name="T45" fmla="*/ 47 h 200"/>
                <a:gd name="T46" fmla="*/ 205 w 209"/>
                <a:gd name="T47" fmla="*/ 59 h 200"/>
                <a:gd name="T48" fmla="*/ 208 w 209"/>
                <a:gd name="T49" fmla="*/ 62 h 200"/>
                <a:gd name="T50" fmla="*/ 209 w 209"/>
                <a:gd name="T51" fmla="*/ 62 h 200"/>
                <a:gd name="T52" fmla="*/ 209 w 209"/>
                <a:gd name="T53" fmla="*/ 193 h 200"/>
                <a:gd name="T54" fmla="*/ 196 w 209"/>
                <a:gd name="T55" fmla="*/ 193 h 200"/>
                <a:gd name="T56" fmla="*/ 196 w 209"/>
                <a:gd name="T57" fmla="*/ 200 h 200"/>
                <a:gd name="T58" fmla="*/ 195 w 209"/>
                <a:gd name="T59" fmla="*/ 200 h 200"/>
                <a:gd name="T60" fmla="*/ 91 w 209"/>
                <a:gd name="T61" fmla="*/ 147 h 200"/>
                <a:gd name="T62" fmla="*/ 79 w 209"/>
                <a:gd name="T63" fmla="*/ 151 h 200"/>
                <a:gd name="T64" fmla="*/ 74 w 209"/>
                <a:gd name="T65" fmla="*/ 153 h 200"/>
                <a:gd name="T66" fmla="*/ 73 w 209"/>
                <a:gd name="T67" fmla="*/ 153 h 200"/>
                <a:gd name="T68" fmla="*/ 63 w 209"/>
                <a:gd name="T69" fmla="*/ 144 h 200"/>
                <a:gd name="T70" fmla="*/ 36 w 209"/>
                <a:gd name="T71" fmla="*/ 145 h 200"/>
                <a:gd name="T72" fmla="*/ 34 w 209"/>
                <a:gd name="T73" fmla="*/ 145 h 200"/>
                <a:gd name="T74" fmla="*/ 34 w 209"/>
                <a:gd name="T75" fmla="*/ 144 h 200"/>
                <a:gd name="T76" fmla="*/ 29 w 209"/>
                <a:gd name="T77" fmla="*/ 132 h 200"/>
                <a:gd name="T78" fmla="*/ 15 w 209"/>
                <a:gd name="T79" fmla="*/ 129 h 200"/>
                <a:gd name="T80" fmla="*/ 12 w 209"/>
                <a:gd name="T81" fmla="*/ 126 h 200"/>
                <a:gd name="T82" fmla="*/ 9 w 209"/>
                <a:gd name="T83" fmla="*/ 117 h 200"/>
                <a:gd name="T84" fmla="*/ 2 w 209"/>
                <a:gd name="T85" fmla="*/ 105 h 200"/>
                <a:gd name="T86" fmla="*/ 6 w 209"/>
                <a:gd name="T87" fmla="*/ 101 h 200"/>
                <a:gd name="T88" fmla="*/ 8 w 209"/>
                <a:gd name="T89" fmla="*/ 81 h 200"/>
                <a:gd name="T90" fmla="*/ 6 w 209"/>
                <a:gd name="T91" fmla="*/ 59 h 200"/>
                <a:gd name="T92" fmla="*/ 0 w 209"/>
                <a:gd name="T93" fmla="*/ 50 h 200"/>
                <a:gd name="T94" fmla="*/ 5 w 209"/>
                <a:gd name="T95" fmla="*/ 44 h 200"/>
                <a:gd name="T96" fmla="*/ 12 w 209"/>
                <a:gd name="T97" fmla="*/ 37 h 200"/>
                <a:gd name="T98" fmla="*/ 12 w 209"/>
                <a:gd name="T99" fmla="*/ 24 h 200"/>
                <a:gd name="T100" fmla="*/ 14 w 209"/>
                <a:gd name="T101" fmla="*/ 24 h 200"/>
                <a:gd name="T102" fmla="*/ 29 w 209"/>
                <a:gd name="T103" fmla="*/ 13 h 200"/>
                <a:gd name="T104" fmla="*/ 29 w 209"/>
                <a:gd name="T10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00">
                  <a:moveTo>
                    <a:pt x="29" y="0"/>
                  </a:moveTo>
                  <a:lnTo>
                    <a:pt x="30" y="0"/>
                  </a:lnTo>
                  <a:lnTo>
                    <a:pt x="42" y="6"/>
                  </a:lnTo>
                  <a:lnTo>
                    <a:pt x="61" y="6"/>
                  </a:lnTo>
                  <a:lnTo>
                    <a:pt x="79" y="13"/>
                  </a:lnTo>
                  <a:lnTo>
                    <a:pt x="86" y="28"/>
                  </a:lnTo>
                  <a:lnTo>
                    <a:pt x="112" y="34"/>
                  </a:lnTo>
                  <a:lnTo>
                    <a:pt x="126" y="44"/>
                  </a:lnTo>
                  <a:lnTo>
                    <a:pt x="138" y="38"/>
                  </a:lnTo>
                  <a:lnTo>
                    <a:pt x="141" y="33"/>
                  </a:lnTo>
                  <a:lnTo>
                    <a:pt x="140" y="25"/>
                  </a:lnTo>
                  <a:lnTo>
                    <a:pt x="141" y="18"/>
                  </a:lnTo>
                  <a:lnTo>
                    <a:pt x="155" y="6"/>
                  </a:lnTo>
                  <a:lnTo>
                    <a:pt x="168" y="4"/>
                  </a:lnTo>
                  <a:lnTo>
                    <a:pt x="180" y="7"/>
                  </a:lnTo>
                  <a:lnTo>
                    <a:pt x="184" y="15"/>
                  </a:lnTo>
                  <a:lnTo>
                    <a:pt x="205" y="19"/>
                  </a:lnTo>
                  <a:lnTo>
                    <a:pt x="206" y="19"/>
                  </a:lnTo>
                  <a:lnTo>
                    <a:pt x="209" y="24"/>
                  </a:lnTo>
                  <a:lnTo>
                    <a:pt x="209" y="25"/>
                  </a:lnTo>
                  <a:lnTo>
                    <a:pt x="205" y="30"/>
                  </a:lnTo>
                  <a:lnTo>
                    <a:pt x="206" y="44"/>
                  </a:lnTo>
                  <a:lnTo>
                    <a:pt x="203" y="47"/>
                  </a:lnTo>
                  <a:lnTo>
                    <a:pt x="205" y="59"/>
                  </a:lnTo>
                  <a:lnTo>
                    <a:pt x="208" y="62"/>
                  </a:lnTo>
                  <a:lnTo>
                    <a:pt x="209" y="62"/>
                  </a:lnTo>
                  <a:lnTo>
                    <a:pt x="209" y="193"/>
                  </a:lnTo>
                  <a:lnTo>
                    <a:pt x="196" y="193"/>
                  </a:lnTo>
                  <a:lnTo>
                    <a:pt x="196" y="200"/>
                  </a:lnTo>
                  <a:lnTo>
                    <a:pt x="195" y="200"/>
                  </a:lnTo>
                  <a:lnTo>
                    <a:pt x="91" y="147"/>
                  </a:lnTo>
                  <a:lnTo>
                    <a:pt x="79" y="151"/>
                  </a:lnTo>
                  <a:lnTo>
                    <a:pt x="74" y="153"/>
                  </a:lnTo>
                  <a:lnTo>
                    <a:pt x="73" y="153"/>
                  </a:lnTo>
                  <a:lnTo>
                    <a:pt x="63" y="144"/>
                  </a:lnTo>
                  <a:lnTo>
                    <a:pt x="36" y="145"/>
                  </a:lnTo>
                  <a:lnTo>
                    <a:pt x="34" y="145"/>
                  </a:lnTo>
                  <a:lnTo>
                    <a:pt x="34" y="144"/>
                  </a:lnTo>
                  <a:lnTo>
                    <a:pt x="29" y="132"/>
                  </a:lnTo>
                  <a:lnTo>
                    <a:pt x="15" y="129"/>
                  </a:lnTo>
                  <a:lnTo>
                    <a:pt x="12" y="126"/>
                  </a:lnTo>
                  <a:lnTo>
                    <a:pt x="9" y="117"/>
                  </a:lnTo>
                  <a:lnTo>
                    <a:pt x="2" y="105"/>
                  </a:lnTo>
                  <a:lnTo>
                    <a:pt x="6" y="101"/>
                  </a:lnTo>
                  <a:lnTo>
                    <a:pt x="8" y="81"/>
                  </a:lnTo>
                  <a:lnTo>
                    <a:pt x="6" y="59"/>
                  </a:lnTo>
                  <a:lnTo>
                    <a:pt x="0" y="50"/>
                  </a:lnTo>
                  <a:lnTo>
                    <a:pt x="5" y="44"/>
                  </a:lnTo>
                  <a:lnTo>
                    <a:pt x="12" y="37"/>
                  </a:lnTo>
                  <a:lnTo>
                    <a:pt x="12" y="24"/>
                  </a:lnTo>
                  <a:lnTo>
                    <a:pt x="14" y="24"/>
                  </a:lnTo>
                  <a:lnTo>
                    <a:pt x="29" y="13"/>
                  </a:lnTo>
                  <a:lnTo>
                    <a:pt x="2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2" name="Liberia">
              <a:extLst>
                <a:ext uri="{FF2B5EF4-FFF2-40B4-BE49-F238E27FC236}">
                  <a16:creationId xmlns:a16="http://schemas.microsoft.com/office/drawing/2014/main" id="{3A7F6B65-53CC-ED5E-61B4-59E219B5A927}"/>
                </a:ext>
              </a:extLst>
            </p:cNvPr>
            <p:cNvSpPr>
              <a:spLocks/>
            </p:cNvSpPr>
            <p:nvPr/>
          </p:nvSpPr>
          <p:spPr bwMode="auto">
            <a:xfrm>
              <a:off x="5554785" y="4385017"/>
              <a:ext cx="97581" cy="103003"/>
            </a:xfrm>
            <a:custGeom>
              <a:avLst/>
              <a:gdLst>
                <a:gd name="T0" fmla="*/ 23 w 54"/>
                <a:gd name="T1" fmla="*/ 0 h 57"/>
                <a:gd name="T2" fmla="*/ 25 w 54"/>
                <a:gd name="T3" fmla="*/ 0 h 57"/>
                <a:gd name="T4" fmla="*/ 28 w 54"/>
                <a:gd name="T5" fmla="*/ 3 h 57"/>
                <a:gd name="T6" fmla="*/ 29 w 54"/>
                <a:gd name="T7" fmla="*/ 11 h 57"/>
                <a:gd name="T8" fmla="*/ 28 w 54"/>
                <a:gd name="T9" fmla="*/ 17 h 57"/>
                <a:gd name="T10" fmla="*/ 34 w 54"/>
                <a:gd name="T11" fmla="*/ 18 h 57"/>
                <a:gd name="T12" fmla="*/ 37 w 54"/>
                <a:gd name="T13" fmla="*/ 12 h 57"/>
                <a:gd name="T14" fmla="*/ 38 w 54"/>
                <a:gd name="T15" fmla="*/ 12 h 57"/>
                <a:gd name="T16" fmla="*/ 41 w 54"/>
                <a:gd name="T17" fmla="*/ 14 h 57"/>
                <a:gd name="T18" fmla="*/ 44 w 54"/>
                <a:gd name="T19" fmla="*/ 20 h 57"/>
                <a:gd name="T20" fmla="*/ 41 w 54"/>
                <a:gd name="T21" fmla="*/ 29 h 57"/>
                <a:gd name="T22" fmla="*/ 47 w 54"/>
                <a:gd name="T23" fmla="*/ 30 h 57"/>
                <a:gd name="T24" fmla="*/ 49 w 54"/>
                <a:gd name="T25" fmla="*/ 30 h 57"/>
                <a:gd name="T26" fmla="*/ 50 w 54"/>
                <a:gd name="T27" fmla="*/ 36 h 57"/>
                <a:gd name="T28" fmla="*/ 54 w 54"/>
                <a:gd name="T29" fmla="*/ 36 h 57"/>
                <a:gd name="T30" fmla="*/ 53 w 54"/>
                <a:gd name="T31" fmla="*/ 55 h 57"/>
                <a:gd name="T32" fmla="*/ 53 w 54"/>
                <a:gd name="T33" fmla="*/ 57 h 57"/>
                <a:gd name="T34" fmla="*/ 29 w 54"/>
                <a:gd name="T35" fmla="*/ 46 h 57"/>
                <a:gd name="T36" fmla="*/ 1 w 54"/>
                <a:gd name="T37" fmla="*/ 23 h 57"/>
                <a:gd name="T38" fmla="*/ 0 w 54"/>
                <a:gd name="T39" fmla="*/ 23 h 57"/>
                <a:gd name="T40" fmla="*/ 0 w 54"/>
                <a:gd name="T41" fmla="*/ 21 h 57"/>
                <a:gd name="T42" fmla="*/ 1 w 54"/>
                <a:gd name="T43" fmla="*/ 21 h 57"/>
                <a:gd name="T44" fmla="*/ 13 w 54"/>
                <a:gd name="T45" fmla="*/ 12 h 57"/>
                <a:gd name="T46" fmla="*/ 13 w 54"/>
                <a:gd name="T47" fmla="*/ 6 h 57"/>
                <a:gd name="T48" fmla="*/ 16 w 54"/>
                <a:gd name="T49" fmla="*/ 6 h 57"/>
                <a:gd name="T50" fmla="*/ 16 w 54"/>
                <a:gd name="T51" fmla="*/ 3 h 57"/>
                <a:gd name="T52" fmla="*/ 23 w 54"/>
                <a:gd name="T5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7">
                  <a:moveTo>
                    <a:pt x="23" y="0"/>
                  </a:moveTo>
                  <a:lnTo>
                    <a:pt x="25" y="0"/>
                  </a:lnTo>
                  <a:lnTo>
                    <a:pt x="28" y="3"/>
                  </a:lnTo>
                  <a:lnTo>
                    <a:pt x="29" y="11"/>
                  </a:lnTo>
                  <a:lnTo>
                    <a:pt x="28" y="17"/>
                  </a:lnTo>
                  <a:lnTo>
                    <a:pt x="34" y="18"/>
                  </a:lnTo>
                  <a:lnTo>
                    <a:pt x="37" y="12"/>
                  </a:lnTo>
                  <a:lnTo>
                    <a:pt x="38" y="12"/>
                  </a:lnTo>
                  <a:lnTo>
                    <a:pt x="41" y="14"/>
                  </a:lnTo>
                  <a:lnTo>
                    <a:pt x="44" y="20"/>
                  </a:lnTo>
                  <a:lnTo>
                    <a:pt x="41" y="29"/>
                  </a:lnTo>
                  <a:lnTo>
                    <a:pt x="47" y="30"/>
                  </a:lnTo>
                  <a:lnTo>
                    <a:pt x="49" y="30"/>
                  </a:lnTo>
                  <a:lnTo>
                    <a:pt x="50" y="36"/>
                  </a:lnTo>
                  <a:lnTo>
                    <a:pt x="54" y="36"/>
                  </a:lnTo>
                  <a:lnTo>
                    <a:pt x="53" y="55"/>
                  </a:lnTo>
                  <a:lnTo>
                    <a:pt x="53" y="57"/>
                  </a:lnTo>
                  <a:lnTo>
                    <a:pt x="29" y="46"/>
                  </a:lnTo>
                  <a:lnTo>
                    <a:pt x="1" y="23"/>
                  </a:lnTo>
                  <a:lnTo>
                    <a:pt x="0" y="23"/>
                  </a:lnTo>
                  <a:lnTo>
                    <a:pt x="0" y="21"/>
                  </a:lnTo>
                  <a:lnTo>
                    <a:pt x="1" y="21"/>
                  </a:lnTo>
                  <a:lnTo>
                    <a:pt x="13" y="12"/>
                  </a:lnTo>
                  <a:lnTo>
                    <a:pt x="13" y="6"/>
                  </a:lnTo>
                  <a:lnTo>
                    <a:pt x="16" y="6"/>
                  </a:lnTo>
                  <a:lnTo>
                    <a:pt x="16" y="3"/>
                  </a:lnTo>
                  <a:lnTo>
                    <a:pt x="2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3" name="Lesotho">
              <a:extLst>
                <a:ext uri="{FF2B5EF4-FFF2-40B4-BE49-F238E27FC236}">
                  <a16:creationId xmlns:a16="http://schemas.microsoft.com/office/drawing/2014/main" id="{164ADEC8-AAB5-4ED4-2305-677E491A6F0F}"/>
                </a:ext>
              </a:extLst>
            </p:cNvPr>
            <p:cNvSpPr>
              <a:spLocks/>
            </p:cNvSpPr>
            <p:nvPr/>
          </p:nvSpPr>
          <p:spPr bwMode="auto">
            <a:xfrm>
              <a:off x="6465543" y="5286740"/>
              <a:ext cx="56019" cy="56019"/>
            </a:xfrm>
            <a:custGeom>
              <a:avLst/>
              <a:gdLst>
                <a:gd name="T0" fmla="*/ 16 w 31"/>
                <a:gd name="T1" fmla="*/ 0 h 31"/>
                <a:gd name="T2" fmla="*/ 23 w 31"/>
                <a:gd name="T3" fmla="*/ 1 h 31"/>
                <a:gd name="T4" fmla="*/ 31 w 31"/>
                <a:gd name="T5" fmla="*/ 11 h 31"/>
                <a:gd name="T6" fmla="*/ 26 w 31"/>
                <a:gd name="T7" fmla="*/ 23 h 31"/>
                <a:gd name="T8" fmla="*/ 14 w 31"/>
                <a:gd name="T9" fmla="*/ 31 h 31"/>
                <a:gd name="T10" fmla="*/ 13 w 31"/>
                <a:gd name="T11" fmla="*/ 31 h 31"/>
                <a:gd name="T12" fmla="*/ 6 w 31"/>
                <a:gd name="T13" fmla="*/ 28 h 31"/>
                <a:gd name="T14" fmla="*/ 0 w 31"/>
                <a:gd name="T15" fmla="*/ 17 h 31"/>
                <a:gd name="T16" fmla="*/ 6 w 31"/>
                <a:gd name="T17" fmla="*/ 5 h 31"/>
                <a:gd name="T18" fmla="*/ 16 w 31"/>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0"/>
                  </a:moveTo>
                  <a:lnTo>
                    <a:pt x="23" y="1"/>
                  </a:lnTo>
                  <a:lnTo>
                    <a:pt x="31" y="11"/>
                  </a:lnTo>
                  <a:lnTo>
                    <a:pt x="26" y="23"/>
                  </a:lnTo>
                  <a:lnTo>
                    <a:pt x="14" y="31"/>
                  </a:lnTo>
                  <a:lnTo>
                    <a:pt x="13" y="31"/>
                  </a:lnTo>
                  <a:lnTo>
                    <a:pt x="6" y="28"/>
                  </a:lnTo>
                  <a:lnTo>
                    <a:pt x="0" y="17"/>
                  </a:lnTo>
                  <a:lnTo>
                    <a:pt x="6" y="5"/>
                  </a:lnTo>
                  <a:lnTo>
                    <a:pt x="1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4" name="Kenya">
              <a:extLst>
                <a:ext uri="{FF2B5EF4-FFF2-40B4-BE49-F238E27FC236}">
                  <a16:creationId xmlns:a16="http://schemas.microsoft.com/office/drawing/2014/main" id="{C05BA621-B047-34CA-101B-D3ECA763570D}"/>
                </a:ext>
              </a:extLst>
            </p:cNvPr>
            <p:cNvSpPr>
              <a:spLocks/>
            </p:cNvSpPr>
            <p:nvPr/>
          </p:nvSpPr>
          <p:spPr bwMode="auto">
            <a:xfrm>
              <a:off x="6628179" y="4478984"/>
              <a:ext cx="189742" cy="220462"/>
            </a:xfrm>
            <a:custGeom>
              <a:avLst/>
              <a:gdLst>
                <a:gd name="T0" fmla="*/ 6 w 105"/>
                <a:gd name="T1" fmla="*/ 0 h 122"/>
                <a:gd name="T2" fmla="*/ 25 w 105"/>
                <a:gd name="T3" fmla="*/ 0 h 122"/>
                <a:gd name="T4" fmla="*/ 36 w 105"/>
                <a:gd name="T5" fmla="*/ 2 h 122"/>
                <a:gd name="T6" fmla="*/ 52 w 105"/>
                <a:gd name="T7" fmla="*/ 11 h 122"/>
                <a:gd name="T8" fmla="*/ 65 w 105"/>
                <a:gd name="T9" fmla="*/ 14 h 122"/>
                <a:gd name="T10" fmla="*/ 71 w 105"/>
                <a:gd name="T11" fmla="*/ 14 h 122"/>
                <a:gd name="T12" fmla="*/ 80 w 105"/>
                <a:gd name="T13" fmla="*/ 8 h 122"/>
                <a:gd name="T14" fmla="*/ 90 w 105"/>
                <a:gd name="T15" fmla="*/ 6 h 122"/>
                <a:gd name="T16" fmla="*/ 98 w 105"/>
                <a:gd name="T17" fmla="*/ 9 h 122"/>
                <a:gd name="T18" fmla="*/ 105 w 105"/>
                <a:gd name="T19" fmla="*/ 9 h 122"/>
                <a:gd name="T20" fmla="*/ 105 w 105"/>
                <a:gd name="T21" fmla="*/ 11 h 122"/>
                <a:gd name="T22" fmla="*/ 93 w 105"/>
                <a:gd name="T23" fmla="*/ 25 h 122"/>
                <a:gd name="T24" fmla="*/ 93 w 105"/>
                <a:gd name="T25" fmla="*/ 73 h 122"/>
                <a:gd name="T26" fmla="*/ 101 w 105"/>
                <a:gd name="T27" fmla="*/ 82 h 122"/>
                <a:gd name="T28" fmla="*/ 101 w 105"/>
                <a:gd name="T29" fmla="*/ 83 h 122"/>
                <a:gd name="T30" fmla="*/ 84 w 105"/>
                <a:gd name="T31" fmla="*/ 97 h 122"/>
                <a:gd name="T32" fmla="*/ 76 w 105"/>
                <a:gd name="T33" fmla="*/ 117 h 122"/>
                <a:gd name="T34" fmla="*/ 71 w 105"/>
                <a:gd name="T35" fmla="*/ 122 h 122"/>
                <a:gd name="T36" fmla="*/ 52 w 105"/>
                <a:gd name="T37" fmla="*/ 110 h 122"/>
                <a:gd name="T38" fmla="*/ 49 w 105"/>
                <a:gd name="T39" fmla="*/ 100 h 122"/>
                <a:gd name="T40" fmla="*/ 4 w 105"/>
                <a:gd name="T41" fmla="*/ 74 h 122"/>
                <a:gd name="T42" fmla="*/ 1 w 105"/>
                <a:gd name="T43" fmla="*/ 71 h 122"/>
                <a:gd name="T44" fmla="*/ 1 w 105"/>
                <a:gd name="T45" fmla="*/ 70 h 122"/>
                <a:gd name="T46" fmla="*/ 3 w 105"/>
                <a:gd name="T47" fmla="*/ 67 h 122"/>
                <a:gd name="T48" fmla="*/ 7 w 105"/>
                <a:gd name="T49" fmla="*/ 65 h 122"/>
                <a:gd name="T50" fmla="*/ 1 w 105"/>
                <a:gd name="T51" fmla="*/ 65 h 122"/>
                <a:gd name="T52" fmla="*/ 1 w 105"/>
                <a:gd name="T53" fmla="*/ 57 h 122"/>
                <a:gd name="T54" fmla="*/ 12 w 105"/>
                <a:gd name="T55" fmla="*/ 40 h 122"/>
                <a:gd name="T56" fmla="*/ 15 w 105"/>
                <a:gd name="T57" fmla="*/ 33 h 122"/>
                <a:gd name="T58" fmla="*/ 12 w 105"/>
                <a:gd name="T59" fmla="*/ 24 h 122"/>
                <a:gd name="T60" fmla="*/ 7 w 105"/>
                <a:gd name="T61" fmla="*/ 21 h 122"/>
                <a:gd name="T62" fmla="*/ 4 w 105"/>
                <a:gd name="T63" fmla="*/ 11 h 122"/>
                <a:gd name="T64" fmla="*/ 0 w 105"/>
                <a:gd name="T65" fmla="*/ 9 h 122"/>
                <a:gd name="T66" fmla="*/ 0 w 105"/>
                <a:gd name="T67" fmla="*/ 8 h 122"/>
                <a:gd name="T68" fmla="*/ 6 w 105"/>
                <a:gd name="T6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2">
                  <a:moveTo>
                    <a:pt x="6" y="0"/>
                  </a:moveTo>
                  <a:lnTo>
                    <a:pt x="25" y="0"/>
                  </a:lnTo>
                  <a:lnTo>
                    <a:pt x="36" y="2"/>
                  </a:lnTo>
                  <a:lnTo>
                    <a:pt x="52" y="11"/>
                  </a:lnTo>
                  <a:lnTo>
                    <a:pt x="65" y="14"/>
                  </a:lnTo>
                  <a:lnTo>
                    <a:pt x="71" y="14"/>
                  </a:lnTo>
                  <a:lnTo>
                    <a:pt x="80" y="8"/>
                  </a:lnTo>
                  <a:lnTo>
                    <a:pt x="90" y="6"/>
                  </a:lnTo>
                  <a:lnTo>
                    <a:pt x="98" y="9"/>
                  </a:lnTo>
                  <a:lnTo>
                    <a:pt x="105" y="9"/>
                  </a:lnTo>
                  <a:lnTo>
                    <a:pt x="105" y="11"/>
                  </a:lnTo>
                  <a:lnTo>
                    <a:pt x="93" y="25"/>
                  </a:lnTo>
                  <a:lnTo>
                    <a:pt x="93" y="73"/>
                  </a:lnTo>
                  <a:lnTo>
                    <a:pt x="101" y="82"/>
                  </a:lnTo>
                  <a:lnTo>
                    <a:pt x="101" y="83"/>
                  </a:lnTo>
                  <a:lnTo>
                    <a:pt x="84" y="97"/>
                  </a:lnTo>
                  <a:lnTo>
                    <a:pt x="76" y="117"/>
                  </a:lnTo>
                  <a:lnTo>
                    <a:pt x="71" y="122"/>
                  </a:lnTo>
                  <a:lnTo>
                    <a:pt x="52" y="110"/>
                  </a:lnTo>
                  <a:lnTo>
                    <a:pt x="49" y="100"/>
                  </a:lnTo>
                  <a:lnTo>
                    <a:pt x="4" y="74"/>
                  </a:lnTo>
                  <a:lnTo>
                    <a:pt x="1" y="71"/>
                  </a:lnTo>
                  <a:lnTo>
                    <a:pt x="1" y="70"/>
                  </a:lnTo>
                  <a:lnTo>
                    <a:pt x="3" y="67"/>
                  </a:lnTo>
                  <a:lnTo>
                    <a:pt x="7" y="65"/>
                  </a:lnTo>
                  <a:lnTo>
                    <a:pt x="1" y="65"/>
                  </a:lnTo>
                  <a:lnTo>
                    <a:pt x="1" y="57"/>
                  </a:lnTo>
                  <a:lnTo>
                    <a:pt x="12" y="40"/>
                  </a:lnTo>
                  <a:lnTo>
                    <a:pt x="15" y="33"/>
                  </a:lnTo>
                  <a:lnTo>
                    <a:pt x="12" y="24"/>
                  </a:lnTo>
                  <a:lnTo>
                    <a:pt x="7" y="21"/>
                  </a:lnTo>
                  <a:lnTo>
                    <a:pt x="4" y="11"/>
                  </a:lnTo>
                  <a:lnTo>
                    <a:pt x="0" y="9"/>
                  </a:lnTo>
                  <a:lnTo>
                    <a:pt x="0" y="8"/>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5" name="Guinea">
              <a:extLst>
                <a:ext uri="{FF2B5EF4-FFF2-40B4-BE49-F238E27FC236}">
                  <a16:creationId xmlns:a16="http://schemas.microsoft.com/office/drawing/2014/main" id="{17587A57-1084-D440-DCD3-874998BFB1CF}"/>
                </a:ext>
              </a:extLst>
            </p:cNvPr>
            <p:cNvSpPr>
              <a:spLocks/>
            </p:cNvSpPr>
            <p:nvPr/>
          </p:nvSpPr>
          <p:spPr bwMode="auto">
            <a:xfrm>
              <a:off x="5471661" y="4287435"/>
              <a:ext cx="175286" cy="133723"/>
            </a:xfrm>
            <a:custGeom>
              <a:avLst/>
              <a:gdLst>
                <a:gd name="T0" fmla="*/ 37 w 97"/>
                <a:gd name="T1" fmla="*/ 4 h 74"/>
                <a:gd name="T2" fmla="*/ 47 w 97"/>
                <a:gd name="T3" fmla="*/ 2 h 74"/>
                <a:gd name="T4" fmla="*/ 50 w 97"/>
                <a:gd name="T5" fmla="*/ 7 h 74"/>
                <a:gd name="T6" fmla="*/ 56 w 97"/>
                <a:gd name="T7" fmla="*/ 5 h 74"/>
                <a:gd name="T8" fmla="*/ 62 w 97"/>
                <a:gd name="T9" fmla="*/ 5 h 74"/>
                <a:gd name="T10" fmla="*/ 69 w 97"/>
                <a:gd name="T11" fmla="*/ 7 h 74"/>
                <a:gd name="T12" fmla="*/ 80 w 97"/>
                <a:gd name="T13" fmla="*/ 2 h 74"/>
                <a:gd name="T14" fmla="*/ 89 w 97"/>
                <a:gd name="T15" fmla="*/ 17 h 74"/>
                <a:gd name="T16" fmla="*/ 86 w 97"/>
                <a:gd name="T17" fmla="*/ 22 h 74"/>
                <a:gd name="T18" fmla="*/ 90 w 97"/>
                <a:gd name="T19" fmla="*/ 28 h 74"/>
                <a:gd name="T20" fmla="*/ 92 w 97"/>
                <a:gd name="T21" fmla="*/ 37 h 74"/>
                <a:gd name="T22" fmla="*/ 95 w 97"/>
                <a:gd name="T23" fmla="*/ 44 h 74"/>
                <a:gd name="T24" fmla="*/ 97 w 97"/>
                <a:gd name="T25" fmla="*/ 50 h 74"/>
                <a:gd name="T26" fmla="*/ 95 w 97"/>
                <a:gd name="T27" fmla="*/ 51 h 74"/>
                <a:gd name="T28" fmla="*/ 96 w 97"/>
                <a:gd name="T29" fmla="*/ 53 h 74"/>
                <a:gd name="T30" fmla="*/ 97 w 97"/>
                <a:gd name="T31" fmla="*/ 59 h 74"/>
                <a:gd name="T32" fmla="*/ 92 w 97"/>
                <a:gd name="T33" fmla="*/ 57 h 74"/>
                <a:gd name="T34" fmla="*/ 90 w 97"/>
                <a:gd name="T35" fmla="*/ 59 h 74"/>
                <a:gd name="T36" fmla="*/ 93 w 97"/>
                <a:gd name="T37" fmla="*/ 62 h 74"/>
                <a:gd name="T38" fmla="*/ 90 w 97"/>
                <a:gd name="T39" fmla="*/ 69 h 74"/>
                <a:gd name="T40" fmla="*/ 84 w 97"/>
                <a:gd name="T41" fmla="*/ 68 h 74"/>
                <a:gd name="T42" fmla="*/ 72 w 97"/>
                <a:gd name="T43" fmla="*/ 72 h 74"/>
                <a:gd name="T44" fmla="*/ 74 w 97"/>
                <a:gd name="T45" fmla="*/ 65 h 74"/>
                <a:gd name="T46" fmla="*/ 69 w 97"/>
                <a:gd name="T47" fmla="*/ 56 h 74"/>
                <a:gd name="T48" fmla="*/ 62 w 97"/>
                <a:gd name="T49" fmla="*/ 57 h 74"/>
                <a:gd name="T50" fmla="*/ 56 w 97"/>
                <a:gd name="T51" fmla="*/ 59 h 74"/>
                <a:gd name="T52" fmla="*/ 59 w 97"/>
                <a:gd name="T53" fmla="*/ 50 h 74"/>
                <a:gd name="T54" fmla="*/ 35 w 97"/>
                <a:gd name="T55" fmla="*/ 38 h 74"/>
                <a:gd name="T56" fmla="*/ 23 w 97"/>
                <a:gd name="T57" fmla="*/ 48 h 74"/>
                <a:gd name="T58" fmla="*/ 10 w 97"/>
                <a:gd name="T59" fmla="*/ 35 h 74"/>
                <a:gd name="T60" fmla="*/ 3 w 97"/>
                <a:gd name="T61" fmla="*/ 26 h 74"/>
                <a:gd name="T62" fmla="*/ 1 w 97"/>
                <a:gd name="T63" fmla="*/ 28 h 74"/>
                <a:gd name="T64" fmla="*/ 0 w 97"/>
                <a:gd name="T65" fmla="*/ 25 h 74"/>
                <a:gd name="T66" fmla="*/ 6 w 97"/>
                <a:gd name="T67" fmla="*/ 16 h 74"/>
                <a:gd name="T68" fmla="*/ 14 w 97"/>
                <a:gd name="T69" fmla="*/ 7 h 74"/>
                <a:gd name="T70" fmla="*/ 19 w 97"/>
                <a:gd name="T71"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74">
                  <a:moveTo>
                    <a:pt x="17" y="0"/>
                  </a:moveTo>
                  <a:lnTo>
                    <a:pt x="37" y="4"/>
                  </a:lnTo>
                  <a:lnTo>
                    <a:pt x="43" y="4"/>
                  </a:lnTo>
                  <a:lnTo>
                    <a:pt x="47" y="2"/>
                  </a:lnTo>
                  <a:lnTo>
                    <a:pt x="50" y="2"/>
                  </a:lnTo>
                  <a:lnTo>
                    <a:pt x="50" y="7"/>
                  </a:lnTo>
                  <a:lnTo>
                    <a:pt x="55" y="5"/>
                  </a:lnTo>
                  <a:lnTo>
                    <a:pt x="56" y="5"/>
                  </a:lnTo>
                  <a:lnTo>
                    <a:pt x="59" y="10"/>
                  </a:lnTo>
                  <a:lnTo>
                    <a:pt x="62" y="5"/>
                  </a:lnTo>
                  <a:lnTo>
                    <a:pt x="63" y="5"/>
                  </a:lnTo>
                  <a:lnTo>
                    <a:pt x="69" y="7"/>
                  </a:lnTo>
                  <a:lnTo>
                    <a:pt x="75" y="2"/>
                  </a:lnTo>
                  <a:lnTo>
                    <a:pt x="80" y="2"/>
                  </a:lnTo>
                  <a:lnTo>
                    <a:pt x="83" y="13"/>
                  </a:lnTo>
                  <a:lnTo>
                    <a:pt x="89" y="17"/>
                  </a:lnTo>
                  <a:lnTo>
                    <a:pt x="89" y="19"/>
                  </a:lnTo>
                  <a:lnTo>
                    <a:pt x="86" y="22"/>
                  </a:lnTo>
                  <a:lnTo>
                    <a:pt x="90" y="22"/>
                  </a:lnTo>
                  <a:lnTo>
                    <a:pt x="90" y="28"/>
                  </a:lnTo>
                  <a:lnTo>
                    <a:pt x="93" y="34"/>
                  </a:lnTo>
                  <a:lnTo>
                    <a:pt x="92" y="37"/>
                  </a:lnTo>
                  <a:lnTo>
                    <a:pt x="92" y="43"/>
                  </a:lnTo>
                  <a:lnTo>
                    <a:pt x="95" y="44"/>
                  </a:lnTo>
                  <a:lnTo>
                    <a:pt x="96" y="44"/>
                  </a:lnTo>
                  <a:lnTo>
                    <a:pt x="97" y="50"/>
                  </a:lnTo>
                  <a:lnTo>
                    <a:pt x="96" y="50"/>
                  </a:lnTo>
                  <a:lnTo>
                    <a:pt x="95" y="51"/>
                  </a:lnTo>
                  <a:lnTo>
                    <a:pt x="96" y="51"/>
                  </a:lnTo>
                  <a:lnTo>
                    <a:pt x="96" y="53"/>
                  </a:lnTo>
                  <a:lnTo>
                    <a:pt x="97" y="57"/>
                  </a:lnTo>
                  <a:lnTo>
                    <a:pt x="97" y="59"/>
                  </a:lnTo>
                  <a:lnTo>
                    <a:pt x="93" y="59"/>
                  </a:lnTo>
                  <a:lnTo>
                    <a:pt x="92" y="57"/>
                  </a:lnTo>
                  <a:lnTo>
                    <a:pt x="90" y="57"/>
                  </a:lnTo>
                  <a:lnTo>
                    <a:pt x="90" y="59"/>
                  </a:lnTo>
                  <a:lnTo>
                    <a:pt x="93" y="60"/>
                  </a:lnTo>
                  <a:lnTo>
                    <a:pt x="93" y="62"/>
                  </a:lnTo>
                  <a:lnTo>
                    <a:pt x="90" y="68"/>
                  </a:lnTo>
                  <a:lnTo>
                    <a:pt x="90" y="69"/>
                  </a:lnTo>
                  <a:lnTo>
                    <a:pt x="86" y="69"/>
                  </a:lnTo>
                  <a:lnTo>
                    <a:pt x="84" y="68"/>
                  </a:lnTo>
                  <a:lnTo>
                    <a:pt x="80" y="74"/>
                  </a:lnTo>
                  <a:lnTo>
                    <a:pt x="72" y="72"/>
                  </a:lnTo>
                  <a:lnTo>
                    <a:pt x="72" y="71"/>
                  </a:lnTo>
                  <a:lnTo>
                    <a:pt x="74" y="65"/>
                  </a:lnTo>
                  <a:lnTo>
                    <a:pt x="72" y="59"/>
                  </a:lnTo>
                  <a:lnTo>
                    <a:pt x="69" y="56"/>
                  </a:lnTo>
                  <a:lnTo>
                    <a:pt x="62" y="59"/>
                  </a:lnTo>
                  <a:lnTo>
                    <a:pt x="62" y="57"/>
                  </a:lnTo>
                  <a:lnTo>
                    <a:pt x="57" y="59"/>
                  </a:lnTo>
                  <a:lnTo>
                    <a:pt x="56" y="59"/>
                  </a:lnTo>
                  <a:lnTo>
                    <a:pt x="56" y="57"/>
                  </a:lnTo>
                  <a:lnTo>
                    <a:pt x="59" y="50"/>
                  </a:lnTo>
                  <a:lnTo>
                    <a:pt x="50" y="38"/>
                  </a:lnTo>
                  <a:lnTo>
                    <a:pt x="35" y="38"/>
                  </a:lnTo>
                  <a:lnTo>
                    <a:pt x="28" y="48"/>
                  </a:lnTo>
                  <a:lnTo>
                    <a:pt x="23" y="48"/>
                  </a:lnTo>
                  <a:lnTo>
                    <a:pt x="16" y="38"/>
                  </a:lnTo>
                  <a:lnTo>
                    <a:pt x="10" y="35"/>
                  </a:lnTo>
                  <a:lnTo>
                    <a:pt x="4" y="25"/>
                  </a:lnTo>
                  <a:lnTo>
                    <a:pt x="3" y="26"/>
                  </a:lnTo>
                  <a:lnTo>
                    <a:pt x="3" y="28"/>
                  </a:lnTo>
                  <a:lnTo>
                    <a:pt x="1" y="28"/>
                  </a:lnTo>
                  <a:lnTo>
                    <a:pt x="1" y="26"/>
                  </a:lnTo>
                  <a:lnTo>
                    <a:pt x="0" y="25"/>
                  </a:lnTo>
                  <a:lnTo>
                    <a:pt x="0" y="23"/>
                  </a:lnTo>
                  <a:lnTo>
                    <a:pt x="6" y="16"/>
                  </a:lnTo>
                  <a:lnTo>
                    <a:pt x="17" y="13"/>
                  </a:lnTo>
                  <a:lnTo>
                    <a:pt x="14" y="7"/>
                  </a:lnTo>
                  <a:lnTo>
                    <a:pt x="16" y="7"/>
                  </a:lnTo>
                  <a:lnTo>
                    <a:pt x="19" y="4"/>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6" name="Guinea-Bissau">
              <a:extLst>
                <a:ext uri="{FF2B5EF4-FFF2-40B4-BE49-F238E27FC236}">
                  <a16:creationId xmlns:a16="http://schemas.microsoft.com/office/drawing/2014/main" id="{B71C407A-EFF8-32CC-8F53-5D0E6139830F}"/>
                </a:ext>
              </a:extLst>
            </p:cNvPr>
            <p:cNvSpPr>
              <a:spLocks/>
            </p:cNvSpPr>
            <p:nvPr/>
          </p:nvSpPr>
          <p:spPr bwMode="auto">
            <a:xfrm>
              <a:off x="5430098" y="4287435"/>
              <a:ext cx="77705" cy="45177"/>
            </a:xfrm>
            <a:custGeom>
              <a:avLst/>
              <a:gdLst>
                <a:gd name="T0" fmla="*/ 23 w 43"/>
                <a:gd name="T1" fmla="*/ 0 h 25"/>
                <a:gd name="T2" fmla="*/ 42 w 43"/>
                <a:gd name="T3" fmla="*/ 0 h 25"/>
                <a:gd name="T4" fmla="*/ 43 w 43"/>
                <a:gd name="T5" fmla="*/ 4 h 25"/>
                <a:gd name="T6" fmla="*/ 43 w 43"/>
                <a:gd name="T7" fmla="*/ 5 h 25"/>
                <a:gd name="T8" fmla="*/ 40 w 43"/>
                <a:gd name="T9" fmla="*/ 7 h 25"/>
                <a:gd name="T10" fmla="*/ 42 w 43"/>
                <a:gd name="T11" fmla="*/ 13 h 25"/>
                <a:gd name="T12" fmla="*/ 42 w 43"/>
                <a:gd name="T13" fmla="*/ 14 h 25"/>
                <a:gd name="T14" fmla="*/ 40 w 43"/>
                <a:gd name="T15" fmla="*/ 14 h 25"/>
                <a:gd name="T16" fmla="*/ 30 w 43"/>
                <a:gd name="T17" fmla="*/ 17 h 25"/>
                <a:gd name="T18" fmla="*/ 24 w 43"/>
                <a:gd name="T19" fmla="*/ 25 h 25"/>
                <a:gd name="T20" fmla="*/ 23 w 43"/>
                <a:gd name="T21" fmla="*/ 25 h 25"/>
                <a:gd name="T22" fmla="*/ 20 w 43"/>
                <a:gd name="T23" fmla="*/ 20 h 25"/>
                <a:gd name="T24" fmla="*/ 18 w 43"/>
                <a:gd name="T25" fmla="*/ 14 h 25"/>
                <a:gd name="T26" fmla="*/ 18 w 43"/>
                <a:gd name="T27" fmla="*/ 13 h 25"/>
                <a:gd name="T28" fmla="*/ 14 w 43"/>
                <a:gd name="T29" fmla="*/ 14 h 25"/>
                <a:gd name="T30" fmla="*/ 12 w 43"/>
                <a:gd name="T31" fmla="*/ 14 h 25"/>
                <a:gd name="T32" fmla="*/ 0 w 43"/>
                <a:gd name="T33" fmla="*/ 4 h 25"/>
                <a:gd name="T34" fmla="*/ 0 w 43"/>
                <a:gd name="T35" fmla="*/ 2 h 25"/>
                <a:gd name="T36" fmla="*/ 14 w 43"/>
                <a:gd name="T37" fmla="*/ 2 h 25"/>
                <a:gd name="T38" fmla="*/ 23 w 43"/>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25">
                  <a:moveTo>
                    <a:pt x="23" y="0"/>
                  </a:moveTo>
                  <a:lnTo>
                    <a:pt x="42" y="0"/>
                  </a:lnTo>
                  <a:lnTo>
                    <a:pt x="43" y="4"/>
                  </a:lnTo>
                  <a:lnTo>
                    <a:pt x="43" y="5"/>
                  </a:lnTo>
                  <a:lnTo>
                    <a:pt x="40" y="7"/>
                  </a:lnTo>
                  <a:lnTo>
                    <a:pt x="42" y="13"/>
                  </a:lnTo>
                  <a:lnTo>
                    <a:pt x="42" y="14"/>
                  </a:lnTo>
                  <a:lnTo>
                    <a:pt x="40" y="14"/>
                  </a:lnTo>
                  <a:lnTo>
                    <a:pt x="30" y="17"/>
                  </a:lnTo>
                  <a:lnTo>
                    <a:pt x="24" y="25"/>
                  </a:lnTo>
                  <a:lnTo>
                    <a:pt x="23" y="25"/>
                  </a:lnTo>
                  <a:lnTo>
                    <a:pt x="20" y="20"/>
                  </a:lnTo>
                  <a:lnTo>
                    <a:pt x="18" y="14"/>
                  </a:lnTo>
                  <a:lnTo>
                    <a:pt x="18" y="13"/>
                  </a:lnTo>
                  <a:lnTo>
                    <a:pt x="14" y="14"/>
                  </a:lnTo>
                  <a:lnTo>
                    <a:pt x="12" y="14"/>
                  </a:lnTo>
                  <a:lnTo>
                    <a:pt x="0" y="4"/>
                  </a:lnTo>
                  <a:lnTo>
                    <a:pt x="0" y="2"/>
                  </a:lnTo>
                  <a:lnTo>
                    <a:pt x="14" y="2"/>
                  </a:lnTo>
                  <a:lnTo>
                    <a:pt x="2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7" name="Ghana">
              <a:extLst>
                <a:ext uri="{FF2B5EF4-FFF2-40B4-BE49-F238E27FC236}">
                  <a16:creationId xmlns:a16="http://schemas.microsoft.com/office/drawing/2014/main" id="{1D3A2BF6-39C0-21DB-A518-92E37042A6CA}"/>
                </a:ext>
              </a:extLst>
            </p:cNvPr>
            <p:cNvSpPr>
              <a:spLocks/>
            </p:cNvSpPr>
            <p:nvPr/>
          </p:nvSpPr>
          <p:spPr bwMode="auto">
            <a:xfrm>
              <a:off x="5751755" y="4323577"/>
              <a:ext cx="108424" cy="159021"/>
            </a:xfrm>
            <a:custGeom>
              <a:avLst/>
              <a:gdLst>
                <a:gd name="T0" fmla="*/ 39 w 60"/>
                <a:gd name="T1" fmla="*/ 0 h 88"/>
                <a:gd name="T2" fmla="*/ 40 w 60"/>
                <a:gd name="T3" fmla="*/ 0 h 88"/>
                <a:gd name="T4" fmla="*/ 42 w 60"/>
                <a:gd name="T5" fmla="*/ 3 h 88"/>
                <a:gd name="T6" fmla="*/ 42 w 60"/>
                <a:gd name="T7" fmla="*/ 8 h 88"/>
                <a:gd name="T8" fmla="*/ 46 w 60"/>
                <a:gd name="T9" fmla="*/ 14 h 88"/>
                <a:gd name="T10" fmla="*/ 49 w 60"/>
                <a:gd name="T11" fmla="*/ 25 h 88"/>
                <a:gd name="T12" fmla="*/ 52 w 60"/>
                <a:gd name="T13" fmla="*/ 58 h 88"/>
                <a:gd name="T14" fmla="*/ 60 w 60"/>
                <a:gd name="T15" fmla="*/ 67 h 88"/>
                <a:gd name="T16" fmla="*/ 60 w 60"/>
                <a:gd name="T17" fmla="*/ 68 h 88"/>
                <a:gd name="T18" fmla="*/ 55 w 60"/>
                <a:gd name="T19" fmla="*/ 73 h 88"/>
                <a:gd name="T20" fmla="*/ 45 w 60"/>
                <a:gd name="T21" fmla="*/ 74 h 88"/>
                <a:gd name="T22" fmla="*/ 17 w 60"/>
                <a:gd name="T23" fmla="*/ 88 h 88"/>
                <a:gd name="T24" fmla="*/ 0 w 60"/>
                <a:gd name="T25" fmla="*/ 82 h 88"/>
                <a:gd name="T26" fmla="*/ 0 w 60"/>
                <a:gd name="T27" fmla="*/ 80 h 88"/>
                <a:gd name="T28" fmla="*/ 2 w 60"/>
                <a:gd name="T29" fmla="*/ 80 h 88"/>
                <a:gd name="T30" fmla="*/ 6 w 60"/>
                <a:gd name="T31" fmla="*/ 79 h 88"/>
                <a:gd name="T32" fmla="*/ 6 w 60"/>
                <a:gd name="T33" fmla="*/ 74 h 88"/>
                <a:gd name="T34" fmla="*/ 3 w 60"/>
                <a:gd name="T35" fmla="*/ 71 h 88"/>
                <a:gd name="T36" fmla="*/ 0 w 60"/>
                <a:gd name="T37" fmla="*/ 61 h 88"/>
                <a:gd name="T38" fmla="*/ 6 w 60"/>
                <a:gd name="T39" fmla="*/ 43 h 88"/>
                <a:gd name="T40" fmla="*/ 9 w 60"/>
                <a:gd name="T41" fmla="*/ 39 h 88"/>
                <a:gd name="T42" fmla="*/ 6 w 60"/>
                <a:gd name="T43" fmla="*/ 28 h 88"/>
                <a:gd name="T44" fmla="*/ 6 w 60"/>
                <a:gd name="T45" fmla="*/ 23 h 88"/>
                <a:gd name="T46" fmla="*/ 3 w 60"/>
                <a:gd name="T47" fmla="*/ 8 h 88"/>
                <a:gd name="T48" fmla="*/ 3 w 60"/>
                <a:gd name="T49" fmla="*/ 3 h 88"/>
                <a:gd name="T50" fmla="*/ 5 w 60"/>
                <a:gd name="T51" fmla="*/ 2 h 88"/>
                <a:gd name="T52" fmla="*/ 9 w 60"/>
                <a:gd name="T53" fmla="*/ 2 h 88"/>
                <a:gd name="T54" fmla="*/ 18 w 60"/>
                <a:gd name="T55" fmla="*/ 3 h 88"/>
                <a:gd name="T56" fmla="*/ 31 w 60"/>
                <a:gd name="T57" fmla="*/ 3 h 88"/>
                <a:gd name="T58" fmla="*/ 39 w 60"/>
                <a:gd name="T5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88">
                  <a:moveTo>
                    <a:pt x="39" y="0"/>
                  </a:moveTo>
                  <a:lnTo>
                    <a:pt x="40" y="0"/>
                  </a:lnTo>
                  <a:lnTo>
                    <a:pt x="42" y="3"/>
                  </a:lnTo>
                  <a:lnTo>
                    <a:pt x="42" y="8"/>
                  </a:lnTo>
                  <a:lnTo>
                    <a:pt x="46" y="14"/>
                  </a:lnTo>
                  <a:lnTo>
                    <a:pt x="49" y="25"/>
                  </a:lnTo>
                  <a:lnTo>
                    <a:pt x="52" y="58"/>
                  </a:lnTo>
                  <a:lnTo>
                    <a:pt x="60" y="67"/>
                  </a:lnTo>
                  <a:lnTo>
                    <a:pt x="60" y="68"/>
                  </a:lnTo>
                  <a:lnTo>
                    <a:pt x="55" y="73"/>
                  </a:lnTo>
                  <a:lnTo>
                    <a:pt x="45" y="74"/>
                  </a:lnTo>
                  <a:lnTo>
                    <a:pt x="17" y="88"/>
                  </a:lnTo>
                  <a:lnTo>
                    <a:pt x="0" y="82"/>
                  </a:lnTo>
                  <a:lnTo>
                    <a:pt x="0" y="80"/>
                  </a:lnTo>
                  <a:lnTo>
                    <a:pt x="2" y="80"/>
                  </a:lnTo>
                  <a:lnTo>
                    <a:pt x="6" y="79"/>
                  </a:lnTo>
                  <a:lnTo>
                    <a:pt x="6" y="74"/>
                  </a:lnTo>
                  <a:lnTo>
                    <a:pt x="3" y="71"/>
                  </a:lnTo>
                  <a:lnTo>
                    <a:pt x="0" y="61"/>
                  </a:lnTo>
                  <a:lnTo>
                    <a:pt x="6" y="43"/>
                  </a:lnTo>
                  <a:lnTo>
                    <a:pt x="9" y="39"/>
                  </a:lnTo>
                  <a:lnTo>
                    <a:pt x="6" y="28"/>
                  </a:lnTo>
                  <a:lnTo>
                    <a:pt x="6" y="23"/>
                  </a:lnTo>
                  <a:lnTo>
                    <a:pt x="3" y="8"/>
                  </a:lnTo>
                  <a:lnTo>
                    <a:pt x="3" y="3"/>
                  </a:lnTo>
                  <a:lnTo>
                    <a:pt x="5" y="2"/>
                  </a:lnTo>
                  <a:lnTo>
                    <a:pt x="9" y="2"/>
                  </a:lnTo>
                  <a:lnTo>
                    <a:pt x="18" y="3"/>
                  </a:lnTo>
                  <a:lnTo>
                    <a:pt x="31" y="3"/>
                  </a:lnTo>
                  <a:lnTo>
                    <a:pt x="3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8" name="The Gambia">
              <a:extLst>
                <a:ext uri="{FF2B5EF4-FFF2-40B4-BE49-F238E27FC236}">
                  <a16:creationId xmlns:a16="http://schemas.microsoft.com/office/drawing/2014/main" id="{B5193509-2633-F9DD-6CB4-05A66F7BBA8F}"/>
                </a:ext>
              </a:extLst>
            </p:cNvPr>
            <p:cNvSpPr>
              <a:spLocks/>
            </p:cNvSpPr>
            <p:nvPr/>
          </p:nvSpPr>
          <p:spPr bwMode="auto">
            <a:xfrm>
              <a:off x="5430098" y="4256715"/>
              <a:ext cx="72283" cy="25299"/>
            </a:xfrm>
            <a:custGeom>
              <a:avLst/>
              <a:gdLst>
                <a:gd name="T0" fmla="*/ 24 w 40"/>
                <a:gd name="T1" fmla="*/ 0 h 14"/>
                <a:gd name="T2" fmla="*/ 24 w 40"/>
                <a:gd name="T3" fmla="*/ 2 h 14"/>
                <a:gd name="T4" fmla="*/ 33 w 40"/>
                <a:gd name="T5" fmla="*/ 6 h 14"/>
                <a:gd name="T6" fmla="*/ 40 w 40"/>
                <a:gd name="T7" fmla="*/ 5 h 14"/>
                <a:gd name="T8" fmla="*/ 40 w 40"/>
                <a:gd name="T9" fmla="*/ 8 h 14"/>
                <a:gd name="T10" fmla="*/ 36 w 40"/>
                <a:gd name="T11" fmla="*/ 11 h 14"/>
                <a:gd name="T12" fmla="*/ 23 w 40"/>
                <a:gd name="T13" fmla="*/ 6 h 14"/>
                <a:gd name="T14" fmla="*/ 14 w 40"/>
                <a:gd name="T15" fmla="*/ 11 h 14"/>
                <a:gd name="T16" fmla="*/ 12 w 40"/>
                <a:gd name="T17" fmla="*/ 11 h 14"/>
                <a:gd name="T18" fmla="*/ 11 w 40"/>
                <a:gd name="T19" fmla="*/ 12 h 14"/>
                <a:gd name="T20" fmla="*/ 5 w 40"/>
                <a:gd name="T21" fmla="*/ 12 h 14"/>
                <a:gd name="T22" fmla="*/ 3 w 40"/>
                <a:gd name="T23" fmla="*/ 14 h 14"/>
                <a:gd name="T24" fmla="*/ 0 w 40"/>
                <a:gd name="T25" fmla="*/ 14 h 14"/>
                <a:gd name="T26" fmla="*/ 0 w 40"/>
                <a:gd name="T27" fmla="*/ 8 h 14"/>
                <a:gd name="T28" fmla="*/ 3 w 40"/>
                <a:gd name="T29" fmla="*/ 5 h 14"/>
                <a:gd name="T30" fmla="*/ 17 w 40"/>
                <a:gd name="T31" fmla="*/ 5 h 14"/>
                <a:gd name="T32" fmla="*/ 23 w 40"/>
                <a:gd name="T33" fmla="*/ 2 h 14"/>
                <a:gd name="T34" fmla="*/ 24 w 4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14">
                  <a:moveTo>
                    <a:pt x="24" y="0"/>
                  </a:moveTo>
                  <a:lnTo>
                    <a:pt x="24" y="2"/>
                  </a:lnTo>
                  <a:lnTo>
                    <a:pt x="33" y="6"/>
                  </a:lnTo>
                  <a:lnTo>
                    <a:pt x="40" y="5"/>
                  </a:lnTo>
                  <a:lnTo>
                    <a:pt x="40" y="8"/>
                  </a:lnTo>
                  <a:lnTo>
                    <a:pt x="36" y="11"/>
                  </a:lnTo>
                  <a:lnTo>
                    <a:pt x="23" y="6"/>
                  </a:lnTo>
                  <a:lnTo>
                    <a:pt x="14" y="11"/>
                  </a:lnTo>
                  <a:lnTo>
                    <a:pt x="12" y="11"/>
                  </a:lnTo>
                  <a:lnTo>
                    <a:pt x="11" y="12"/>
                  </a:lnTo>
                  <a:lnTo>
                    <a:pt x="5" y="12"/>
                  </a:lnTo>
                  <a:lnTo>
                    <a:pt x="3" y="14"/>
                  </a:lnTo>
                  <a:lnTo>
                    <a:pt x="0" y="14"/>
                  </a:lnTo>
                  <a:lnTo>
                    <a:pt x="0" y="8"/>
                  </a:lnTo>
                  <a:lnTo>
                    <a:pt x="3" y="5"/>
                  </a:lnTo>
                  <a:lnTo>
                    <a:pt x="17" y="5"/>
                  </a:lnTo>
                  <a:lnTo>
                    <a:pt x="23" y="2"/>
                  </a:lnTo>
                  <a:lnTo>
                    <a:pt x="2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9" name="Gabon">
              <a:extLst>
                <a:ext uri="{FF2B5EF4-FFF2-40B4-BE49-F238E27FC236}">
                  <a16:creationId xmlns:a16="http://schemas.microsoft.com/office/drawing/2014/main" id="{CDDCD0D4-FF71-BE74-C28A-505B7D12FE0B}"/>
                </a:ext>
              </a:extLst>
            </p:cNvPr>
            <p:cNvSpPr>
              <a:spLocks/>
            </p:cNvSpPr>
            <p:nvPr/>
          </p:nvSpPr>
          <p:spPr bwMode="auto">
            <a:xfrm>
              <a:off x="6033656" y="4535002"/>
              <a:ext cx="131916" cy="148179"/>
            </a:xfrm>
            <a:custGeom>
              <a:avLst/>
              <a:gdLst>
                <a:gd name="T0" fmla="*/ 33 w 73"/>
                <a:gd name="T1" fmla="*/ 0 h 82"/>
                <a:gd name="T2" fmla="*/ 37 w 73"/>
                <a:gd name="T3" fmla="*/ 0 h 82"/>
                <a:gd name="T4" fmla="*/ 46 w 73"/>
                <a:gd name="T5" fmla="*/ 2 h 82"/>
                <a:gd name="T6" fmla="*/ 59 w 73"/>
                <a:gd name="T7" fmla="*/ 2 h 82"/>
                <a:gd name="T8" fmla="*/ 56 w 73"/>
                <a:gd name="T9" fmla="*/ 14 h 82"/>
                <a:gd name="T10" fmla="*/ 59 w 73"/>
                <a:gd name="T11" fmla="*/ 14 h 82"/>
                <a:gd name="T12" fmla="*/ 62 w 73"/>
                <a:gd name="T13" fmla="*/ 9 h 82"/>
                <a:gd name="T14" fmla="*/ 62 w 73"/>
                <a:gd name="T15" fmla="*/ 8 h 82"/>
                <a:gd name="T16" fmla="*/ 65 w 73"/>
                <a:gd name="T17" fmla="*/ 8 h 82"/>
                <a:gd name="T18" fmla="*/ 67 w 73"/>
                <a:gd name="T19" fmla="*/ 9 h 82"/>
                <a:gd name="T20" fmla="*/ 70 w 73"/>
                <a:gd name="T21" fmla="*/ 9 h 82"/>
                <a:gd name="T22" fmla="*/ 73 w 73"/>
                <a:gd name="T23" fmla="*/ 14 h 82"/>
                <a:gd name="T24" fmla="*/ 73 w 73"/>
                <a:gd name="T25" fmla="*/ 20 h 82"/>
                <a:gd name="T26" fmla="*/ 70 w 73"/>
                <a:gd name="T27" fmla="*/ 27 h 82"/>
                <a:gd name="T28" fmla="*/ 71 w 73"/>
                <a:gd name="T29" fmla="*/ 40 h 82"/>
                <a:gd name="T30" fmla="*/ 70 w 73"/>
                <a:gd name="T31" fmla="*/ 60 h 82"/>
                <a:gd name="T32" fmla="*/ 65 w 73"/>
                <a:gd name="T33" fmla="*/ 63 h 82"/>
                <a:gd name="T34" fmla="*/ 64 w 73"/>
                <a:gd name="T35" fmla="*/ 63 h 82"/>
                <a:gd name="T36" fmla="*/ 50 w 73"/>
                <a:gd name="T37" fmla="*/ 54 h 82"/>
                <a:gd name="T38" fmla="*/ 38 w 73"/>
                <a:gd name="T39" fmla="*/ 63 h 82"/>
                <a:gd name="T40" fmla="*/ 38 w 73"/>
                <a:gd name="T41" fmla="*/ 76 h 82"/>
                <a:gd name="T42" fmla="*/ 33 w 73"/>
                <a:gd name="T43" fmla="*/ 76 h 82"/>
                <a:gd name="T44" fmla="*/ 31 w 73"/>
                <a:gd name="T45" fmla="*/ 82 h 82"/>
                <a:gd name="T46" fmla="*/ 30 w 73"/>
                <a:gd name="T47" fmla="*/ 82 h 82"/>
                <a:gd name="T48" fmla="*/ 6 w 73"/>
                <a:gd name="T49" fmla="*/ 55 h 82"/>
                <a:gd name="T50" fmla="*/ 0 w 73"/>
                <a:gd name="T51" fmla="*/ 40 h 82"/>
                <a:gd name="T52" fmla="*/ 0 w 73"/>
                <a:gd name="T53" fmla="*/ 39 h 82"/>
                <a:gd name="T54" fmla="*/ 6 w 73"/>
                <a:gd name="T55" fmla="*/ 36 h 82"/>
                <a:gd name="T56" fmla="*/ 6 w 73"/>
                <a:gd name="T57" fmla="*/ 26 h 82"/>
                <a:gd name="T58" fmla="*/ 7 w 73"/>
                <a:gd name="T59" fmla="*/ 26 h 82"/>
                <a:gd name="T60" fmla="*/ 10 w 73"/>
                <a:gd name="T61" fmla="*/ 27 h 82"/>
                <a:gd name="T62" fmla="*/ 7 w 73"/>
                <a:gd name="T63" fmla="*/ 24 h 82"/>
                <a:gd name="T64" fmla="*/ 7 w 73"/>
                <a:gd name="T65" fmla="*/ 23 h 82"/>
                <a:gd name="T66" fmla="*/ 9 w 73"/>
                <a:gd name="T67" fmla="*/ 20 h 82"/>
                <a:gd name="T68" fmla="*/ 9 w 73"/>
                <a:gd name="T69" fmla="*/ 17 h 82"/>
                <a:gd name="T70" fmla="*/ 10 w 73"/>
                <a:gd name="T71" fmla="*/ 17 h 82"/>
                <a:gd name="T72" fmla="*/ 33 w 73"/>
                <a:gd name="T73" fmla="*/ 15 h 82"/>
                <a:gd name="T74" fmla="*/ 33 w 73"/>
                <a:gd name="T7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82">
                  <a:moveTo>
                    <a:pt x="33" y="0"/>
                  </a:moveTo>
                  <a:lnTo>
                    <a:pt x="37" y="0"/>
                  </a:lnTo>
                  <a:lnTo>
                    <a:pt x="46" y="2"/>
                  </a:lnTo>
                  <a:lnTo>
                    <a:pt x="59" y="2"/>
                  </a:lnTo>
                  <a:lnTo>
                    <a:pt x="56" y="14"/>
                  </a:lnTo>
                  <a:lnTo>
                    <a:pt x="59" y="14"/>
                  </a:lnTo>
                  <a:lnTo>
                    <a:pt x="62" y="9"/>
                  </a:lnTo>
                  <a:lnTo>
                    <a:pt x="62" y="8"/>
                  </a:lnTo>
                  <a:lnTo>
                    <a:pt x="65" y="8"/>
                  </a:lnTo>
                  <a:lnTo>
                    <a:pt x="67" y="9"/>
                  </a:lnTo>
                  <a:lnTo>
                    <a:pt x="70" y="9"/>
                  </a:lnTo>
                  <a:lnTo>
                    <a:pt x="73" y="14"/>
                  </a:lnTo>
                  <a:lnTo>
                    <a:pt x="73" y="20"/>
                  </a:lnTo>
                  <a:lnTo>
                    <a:pt x="70" y="27"/>
                  </a:lnTo>
                  <a:lnTo>
                    <a:pt x="71" y="40"/>
                  </a:lnTo>
                  <a:lnTo>
                    <a:pt x="70" y="60"/>
                  </a:lnTo>
                  <a:lnTo>
                    <a:pt x="65" y="63"/>
                  </a:lnTo>
                  <a:lnTo>
                    <a:pt x="64" y="63"/>
                  </a:lnTo>
                  <a:lnTo>
                    <a:pt x="50" y="54"/>
                  </a:lnTo>
                  <a:lnTo>
                    <a:pt x="38" y="63"/>
                  </a:lnTo>
                  <a:lnTo>
                    <a:pt x="38" y="76"/>
                  </a:lnTo>
                  <a:lnTo>
                    <a:pt x="33" y="76"/>
                  </a:lnTo>
                  <a:lnTo>
                    <a:pt x="31" y="82"/>
                  </a:lnTo>
                  <a:lnTo>
                    <a:pt x="30" y="82"/>
                  </a:lnTo>
                  <a:lnTo>
                    <a:pt x="6" y="55"/>
                  </a:lnTo>
                  <a:lnTo>
                    <a:pt x="0" y="40"/>
                  </a:lnTo>
                  <a:lnTo>
                    <a:pt x="0" y="39"/>
                  </a:lnTo>
                  <a:lnTo>
                    <a:pt x="6" y="36"/>
                  </a:lnTo>
                  <a:lnTo>
                    <a:pt x="6" y="26"/>
                  </a:lnTo>
                  <a:lnTo>
                    <a:pt x="7" y="26"/>
                  </a:lnTo>
                  <a:lnTo>
                    <a:pt x="10" y="27"/>
                  </a:lnTo>
                  <a:lnTo>
                    <a:pt x="7" y="24"/>
                  </a:lnTo>
                  <a:lnTo>
                    <a:pt x="7" y="23"/>
                  </a:lnTo>
                  <a:lnTo>
                    <a:pt x="9" y="20"/>
                  </a:lnTo>
                  <a:lnTo>
                    <a:pt x="9" y="17"/>
                  </a:lnTo>
                  <a:lnTo>
                    <a:pt x="10" y="17"/>
                  </a:lnTo>
                  <a:lnTo>
                    <a:pt x="33" y="15"/>
                  </a:lnTo>
                  <a:lnTo>
                    <a:pt x="3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0" name="Eritrea">
              <a:extLst>
                <a:ext uri="{FF2B5EF4-FFF2-40B4-BE49-F238E27FC236}">
                  <a16:creationId xmlns:a16="http://schemas.microsoft.com/office/drawing/2014/main" id="{7116937A-6AC5-D6AF-3132-38375565600D}"/>
                </a:ext>
              </a:extLst>
            </p:cNvPr>
            <p:cNvSpPr>
              <a:spLocks/>
            </p:cNvSpPr>
            <p:nvPr/>
          </p:nvSpPr>
          <p:spPr bwMode="auto">
            <a:xfrm>
              <a:off x="6687811" y="4157326"/>
              <a:ext cx="155407" cy="142758"/>
            </a:xfrm>
            <a:custGeom>
              <a:avLst/>
              <a:gdLst>
                <a:gd name="T0" fmla="*/ 25 w 86"/>
                <a:gd name="T1" fmla="*/ 0 h 79"/>
                <a:gd name="T2" fmla="*/ 31 w 86"/>
                <a:gd name="T3" fmla="*/ 8 h 79"/>
                <a:gd name="T4" fmla="*/ 35 w 86"/>
                <a:gd name="T5" fmla="*/ 29 h 79"/>
                <a:gd name="T6" fmla="*/ 43 w 86"/>
                <a:gd name="T7" fmla="*/ 39 h 79"/>
                <a:gd name="T8" fmla="*/ 44 w 86"/>
                <a:gd name="T9" fmla="*/ 40 h 79"/>
                <a:gd name="T10" fmla="*/ 44 w 86"/>
                <a:gd name="T11" fmla="*/ 36 h 79"/>
                <a:gd name="T12" fmla="*/ 49 w 86"/>
                <a:gd name="T13" fmla="*/ 43 h 79"/>
                <a:gd name="T14" fmla="*/ 53 w 86"/>
                <a:gd name="T15" fmla="*/ 43 h 79"/>
                <a:gd name="T16" fmla="*/ 63 w 86"/>
                <a:gd name="T17" fmla="*/ 48 h 79"/>
                <a:gd name="T18" fmla="*/ 78 w 86"/>
                <a:gd name="T19" fmla="*/ 66 h 79"/>
                <a:gd name="T20" fmla="*/ 86 w 86"/>
                <a:gd name="T21" fmla="*/ 72 h 79"/>
                <a:gd name="T22" fmla="*/ 75 w 86"/>
                <a:gd name="T23" fmla="*/ 79 h 79"/>
                <a:gd name="T24" fmla="*/ 59 w 86"/>
                <a:gd name="T25" fmla="*/ 57 h 79"/>
                <a:gd name="T26" fmla="*/ 47 w 86"/>
                <a:gd name="T27" fmla="*/ 51 h 79"/>
                <a:gd name="T28" fmla="*/ 34 w 86"/>
                <a:gd name="T29" fmla="*/ 51 h 79"/>
                <a:gd name="T30" fmla="*/ 23 w 86"/>
                <a:gd name="T31" fmla="*/ 49 h 79"/>
                <a:gd name="T32" fmla="*/ 17 w 86"/>
                <a:gd name="T33" fmla="*/ 58 h 79"/>
                <a:gd name="T34" fmla="*/ 14 w 86"/>
                <a:gd name="T35" fmla="*/ 54 h 79"/>
                <a:gd name="T36" fmla="*/ 1 w 86"/>
                <a:gd name="T37" fmla="*/ 55 h 79"/>
                <a:gd name="T38" fmla="*/ 0 w 86"/>
                <a:gd name="T39" fmla="*/ 43 h 79"/>
                <a:gd name="T40" fmla="*/ 7 w 86"/>
                <a:gd name="T41" fmla="*/ 14 h 79"/>
                <a:gd name="T42" fmla="*/ 25 w 86"/>
                <a:gd name="T43" fmla="*/ 6 h 79"/>
                <a:gd name="T44" fmla="*/ 25 w 86"/>
                <a:gd name="T4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9">
                  <a:moveTo>
                    <a:pt x="25" y="0"/>
                  </a:moveTo>
                  <a:lnTo>
                    <a:pt x="31" y="8"/>
                  </a:lnTo>
                  <a:lnTo>
                    <a:pt x="35" y="29"/>
                  </a:lnTo>
                  <a:lnTo>
                    <a:pt x="43" y="39"/>
                  </a:lnTo>
                  <a:lnTo>
                    <a:pt x="44" y="40"/>
                  </a:lnTo>
                  <a:lnTo>
                    <a:pt x="44" y="36"/>
                  </a:lnTo>
                  <a:lnTo>
                    <a:pt x="49" y="43"/>
                  </a:lnTo>
                  <a:lnTo>
                    <a:pt x="53" y="43"/>
                  </a:lnTo>
                  <a:lnTo>
                    <a:pt x="63" y="48"/>
                  </a:lnTo>
                  <a:lnTo>
                    <a:pt x="78" y="66"/>
                  </a:lnTo>
                  <a:lnTo>
                    <a:pt x="86" y="72"/>
                  </a:lnTo>
                  <a:lnTo>
                    <a:pt x="75" y="79"/>
                  </a:lnTo>
                  <a:lnTo>
                    <a:pt x="59" y="57"/>
                  </a:lnTo>
                  <a:lnTo>
                    <a:pt x="47" y="51"/>
                  </a:lnTo>
                  <a:lnTo>
                    <a:pt x="34" y="51"/>
                  </a:lnTo>
                  <a:lnTo>
                    <a:pt x="23" y="49"/>
                  </a:lnTo>
                  <a:lnTo>
                    <a:pt x="17" y="58"/>
                  </a:lnTo>
                  <a:lnTo>
                    <a:pt x="14" y="54"/>
                  </a:lnTo>
                  <a:lnTo>
                    <a:pt x="1" y="55"/>
                  </a:lnTo>
                  <a:lnTo>
                    <a:pt x="0" y="43"/>
                  </a:lnTo>
                  <a:lnTo>
                    <a:pt x="7" y="14"/>
                  </a:lnTo>
                  <a:lnTo>
                    <a:pt x="25" y="6"/>
                  </a:lnTo>
                  <a:lnTo>
                    <a:pt x="2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1" name="Equatorial Guinea">
              <a:extLst>
                <a:ext uri="{FF2B5EF4-FFF2-40B4-BE49-F238E27FC236}">
                  <a16:creationId xmlns:a16="http://schemas.microsoft.com/office/drawing/2014/main" id="{874E0E43-62B8-CC97-1463-3E59C35E70E2}"/>
                </a:ext>
              </a:extLst>
            </p:cNvPr>
            <p:cNvSpPr>
              <a:spLocks/>
            </p:cNvSpPr>
            <p:nvPr/>
          </p:nvSpPr>
          <p:spPr bwMode="auto">
            <a:xfrm>
              <a:off x="6046306" y="4535002"/>
              <a:ext cx="48791" cy="32527"/>
            </a:xfrm>
            <a:custGeom>
              <a:avLst/>
              <a:gdLst>
                <a:gd name="T0" fmla="*/ 17 w 27"/>
                <a:gd name="T1" fmla="*/ 0 h 18"/>
                <a:gd name="T2" fmla="*/ 27 w 27"/>
                <a:gd name="T3" fmla="*/ 0 h 18"/>
                <a:gd name="T4" fmla="*/ 27 w 27"/>
                <a:gd name="T5" fmla="*/ 17 h 18"/>
                <a:gd name="T6" fmla="*/ 17 w 27"/>
                <a:gd name="T7" fmla="*/ 17 h 18"/>
                <a:gd name="T8" fmla="*/ 12 w 27"/>
                <a:gd name="T9" fmla="*/ 18 h 18"/>
                <a:gd name="T10" fmla="*/ 3 w 27"/>
                <a:gd name="T11" fmla="*/ 18 h 18"/>
                <a:gd name="T12" fmla="*/ 0 w 27"/>
                <a:gd name="T13" fmla="*/ 14 h 18"/>
                <a:gd name="T14" fmla="*/ 3 w 27"/>
                <a:gd name="T15" fmla="*/ 2 h 18"/>
                <a:gd name="T16" fmla="*/ 14 w 27"/>
                <a:gd name="T17" fmla="*/ 2 h 18"/>
                <a:gd name="T18" fmla="*/ 17 w 27"/>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8">
                  <a:moveTo>
                    <a:pt x="17" y="0"/>
                  </a:moveTo>
                  <a:lnTo>
                    <a:pt x="27" y="0"/>
                  </a:lnTo>
                  <a:lnTo>
                    <a:pt x="27" y="17"/>
                  </a:lnTo>
                  <a:lnTo>
                    <a:pt x="17" y="17"/>
                  </a:lnTo>
                  <a:lnTo>
                    <a:pt x="12" y="18"/>
                  </a:lnTo>
                  <a:lnTo>
                    <a:pt x="3" y="18"/>
                  </a:lnTo>
                  <a:lnTo>
                    <a:pt x="0" y="14"/>
                  </a:lnTo>
                  <a:lnTo>
                    <a:pt x="3" y="2"/>
                  </a:lnTo>
                  <a:lnTo>
                    <a:pt x="14" y="2"/>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2" name="Ethiopia">
              <a:extLst>
                <a:ext uri="{FF2B5EF4-FFF2-40B4-BE49-F238E27FC236}">
                  <a16:creationId xmlns:a16="http://schemas.microsoft.com/office/drawing/2014/main" id="{A457D726-6D88-78BF-FE56-F5AA119BE4CC}"/>
                </a:ext>
              </a:extLst>
            </p:cNvPr>
            <p:cNvSpPr>
              <a:spLocks/>
            </p:cNvSpPr>
            <p:nvPr/>
          </p:nvSpPr>
          <p:spPr bwMode="auto">
            <a:xfrm>
              <a:off x="6606495" y="4245872"/>
              <a:ext cx="354183" cy="260217"/>
            </a:xfrm>
            <a:custGeom>
              <a:avLst/>
              <a:gdLst>
                <a:gd name="T0" fmla="*/ 68 w 196"/>
                <a:gd name="T1" fmla="*/ 0 h 144"/>
                <a:gd name="T2" fmla="*/ 79 w 196"/>
                <a:gd name="T3" fmla="*/ 2 h 144"/>
                <a:gd name="T4" fmla="*/ 92 w 196"/>
                <a:gd name="T5" fmla="*/ 2 h 144"/>
                <a:gd name="T6" fmla="*/ 104 w 196"/>
                <a:gd name="T7" fmla="*/ 8 h 144"/>
                <a:gd name="T8" fmla="*/ 120 w 196"/>
                <a:gd name="T9" fmla="*/ 30 h 144"/>
                <a:gd name="T10" fmla="*/ 116 w 196"/>
                <a:gd name="T11" fmla="*/ 43 h 144"/>
                <a:gd name="T12" fmla="*/ 117 w 196"/>
                <a:gd name="T13" fmla="*/ 48 h 144"/>
                <a:gd name="T14" fmla="*/ 126 w 196"/>
                <a:gd name="T15" fmla="*/ 45 h 144"/>
                <a:gd name="T16" fmla="*/ 129 w 196"/>
                <a:gd name="T17" fmla="*/ 48 h 144"/>
                <a:gd name="T18" fmla="*/ 129 w 196"/>
                <a:gd name="T19" fmla="*/ 57 h 144"/>
                <a:gd name="T20" fmla="*/ 144 w 196"/>
                <a:gd name="T21" fmla="*/ 71 h 144"/>
                <a:gd name="T22" fmla="*/ 184 w 196"/>
                <a:gd name="T23" fmla="*/ 86 h 144"/>
                <a:gd name="T24" fmla="*/ 196 w 196"/>
                <a:gd name="T25" fmla="*/ 85 h 144"/>
                <a:gd name="T26" fmla="*/ 194 w 196"/>
                <a:gd name="T27" fmla="*/ 89 h 144"/>
                <a:gd name="T28" fmla="*/ 157 w 196"/>
                <a:gd name="T29" fmla="*/ 125 h 144"/>
                <a:gd name="T30" fmla="*/ 142 w 196"/>
                <a:gd name="T31" fmla="*/ 125 h 144"/>
                <a:gd name="T32" fmla="*/ 116 w 196"/>
                <a:gd name="T33" fmla="*/ 138 h 144"/>
                <a:gd name="T34" fmla="*/ 110 w 196"/>
                <a:gd name="T35" fmla="*/ 140 h 144"/>
                <a:gd name="T36" fmla="*/ 102 w 196"/>
                <a:gd name="T37" fmla="*/ 135 h 144"/>
                <a:gd name="T38" fmla="*/ 94 w 196"/>
                <a:gd name="T39" fmla="*/ 138 h 144"/>
                <a:gd name="T40" fmla="*/ 83 w 196"/>
                <a:gd name="T41" fmla="*/ 144 h 144"/>
                <a:gd name="T42" fmla="*/ 77 w 196"/>
                <a:gd name="T43" fmla="*/ 144 h 144"/>
                <a:gd name="T44" fmla="*/ 64 w 196"/>
                <a:gd name="T45" fmla="*/ 141 h 144"/>
                <a:gd name="T46" fmla="*/ 48 w 196"/>
                <a:gd name="T47" fmla="*/ 131 h 144"/>
                <a:gd name="T48" fmla="*/ 37 w 196"/>
                <a:gd name="T49" fmla="*/ 131 h 144"/>
                <a:gd name="T50" fmla="*/ 37 w 196"/>
                <a:gd name="T51" fmla="*/ 120 h 144"/>
                <a:gd name="T52" fmla="*/ 28 w 196"/>
                <a:gd name="T53" fmla="*/ 117 h 144"/>
                <a:gd name="T54" fmla="*/ 22 w 196"/>
                <a:gd name="T55" fmla="*/ 103 h 144"/>
                <a:gd name="T56" fmla="*/ 15 w 196"/>
                <a:gd name="T57" fmla="*/ 98 h 144"/>
                <a:gd name="T58" fmla="*/ 11 w 196"/>
                <a:gd name="T59" fmla="*/ 91 h 144"/>
                <a:gd name="T60" fmla="*/ 0 w 196"/>
                <a:gd name="T61" fmla="*/ 88 h 144"/>
                <a:gd name="T62" fmla="*/ 3 w 196"/>
                <a:gd name="T63" fmla="*/ 80 h 144"/>
                <a:gd name="T64" fmla="*/ 11 w 196"/>
                <a:gd name="T65" fmla="*/ 80 h 144"/>
                <a:gd name="T66" fmla="*/ 15 w 196"/>
                <a:gd name="T67" fmla="*/ 77 h 144"/>
                <a:gd name="T68" fmla="*/ 16 w 196"/>
                <a:gd name="T69" fmla="*/ 52 h 144"/>
                <a:gd name="T70" fmla="*/ 25 w 196"/>
                <a:gd name="T71" fmla="*/ 46 h 144"/>
                <a:gd name="T72" fmla="*/ 27 w 196"/>
                <a:gd name="T73" fmla="*/ 37 h 144"/>
                <a:gd name="T74" fmla="*/ 42 w 196"/>
                <a:gd name="T75" fmla="*/ 20 h 144"/>
                <a:gd name="T76" fmla="*/ 46 w 196"/>
                <a:gd name="T77" fmla="*/ 6 h 144"/>
                <a:gd name="T78" fmla="*/ 59 w 196"/>
                <a:gd name="T79" fmla="*/ 5 h 144"/>
                <a:gd name="T80" fmla="*/ 62 w 196"/>
                <a:gd name="T81" fmla="*/ 9 h 144"/>
                <a:gd name="T82" fmla="*/ 68 w 196"/>
                <a:gd name="T8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6" h="144">
                  <a:moveTo>
                    <a:pt x="68" y="0"/>
                  </a:moveTo>
                  <a:lnTo>
                    <a:pt x="79" y="2"/>
                  </a:lnTo>
                  <a:lnTo>
                    <a:pt x="92" y="2"/>
                  </a:lnTo>
                  <a:lnTo>
                    <a:pt x="104" y="8"/>
                  </a:lnTo>
                  <a:lnTo>
                    <a:pt x="120" y="30"/>
                  </a:lnTo>
                  <a:lnTo>
                    <a:pt x="116" y="43"/>
                  </a:lnTo>
                  <a:lnTo>
                    <a:pt x="117" y="48"/>
                  </a:lnTo>
                  <a:lnTo>
                    <a:pt x="126" y="45"/>
                  </a:lnTo>
                  <a:lnTo>
                    <a:pt x="129" y="48"/>
                  </a:lnTo>
                  <a:lnTo>
                    <a:pt x="129" y="57"/>
                  </a:lnTo>
                  <a:lnTo>
                    <a:pt x="144" y="71"/>
                  </a:lnTo>
                  <a:lnTo>
                    <a:pt x="184" y="86"/>
                  </a:lnTo>
                  <a:lnTo>
                    <a:pt x="196" y="85"/>
                  </a:lnTo>
                  <a:lnTo>
                    <a:pt x="194" y="89"/>
                  </a:lnTo>
                  <a:lnTo>
                    <a:pt x="157" y="125"/>
                  </a:lnTo>
                  <a:lnTo>
                    <a:pt x="142" y="125"/>
                  </a:lnTo>
                  <a:lnTo>
                    <a:pt x="116" y="138"/>
                  </a:lnTo>
                  <a:lnTo>
                    <a:pt x="110" y="140"/>
                  </a:lnTo>
                  <a:lnTo>
                    <a:pt x="102" y="135"/>
                  </a:lnTo>
                  <a:lnTo>
                    <a:pt x="94" y="138"/>
                  </a:lnTo>
                  <a:lnTo>
                    <a:pt x="83" y="144"/>
                  </a:lnTo>
                  <a:lnTo>
                    <a:pt x="77" y="144"/>
                  </a:lnTo>
                  <a:lnTo>
                    <a:pt x="64" y="141"/>
                  </a:lnTo>
                  <a:lnTo>
                    <a:pt x="48" y="131"/>
                  </a:lnTo>
                  <a:lnTo>
                    <a:pt x="37" y="131"/>
                  </a:lnTo>
                  <a:lnTo>
                    <a:pt x="37" y="120"/>
                  </a:lnTo>
                  <a:lnTo>
                    <a:pt x="28" y="117"/>
                  </a:lnTo>
                  <a:lnTo>
                    <a:pt x="22" y="103"/>
                  </a:lnTo>
                  <a:lnTo>
                    <a:pt x="15" y="98"/>
                  </a:lnTo>
                  <a:lnTo>
                    <a:pt x="11" y="91"/>
                  </a:lnTo>
                  <a:lnTo>
                    <a:pt x="0" y="88"/>
                  </a:lnTo>
                  <a:lnTo>
                    <a:pt x="3" y="80"/>
                  </a:lnTo>
                  <a:lnTo>
                    <a:pt x="11" y="80"/>
                  </a:lnTo>
                  <a:lnTo>
                    <a:pt x="15" y="77"/>
                  </a:lnTo>
                  <a:lnTo>
                    <a:pt x="16" y="52"/>
                  </a:lnTo>
                  <a:lnTo>
                    <a:pt x="25" y="46"/>
                  </a:lnTo>
                  <a:lnTo>
                    <a:pt x="27" y="37"/>
                  </a:lnTo>
                  <a:lnTo>
                    <a:pt x="42" y="20"/>
                  </a:lnTo>
                  <a:lnTo>
                    <a:pt x="46" y="6"/>
                  </a:lnTo>
                  <a:lnTo>
                    <a:pt x="59" y="5"/>
                  </a:lnTo>
                  <a:lnTo>
                    <a:pt x="62" y="9"/>
                  </a:lnTo>
                  <a:lnTo>
                    <a:pt x="6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3" name="Egypt">
              <a:extLst>
                <a:ext uri="{FF2B5EF4-FFF2-40B4-BE49-F238E27FC236}">
                  <a16:creationId xmlns:a16="http://schemas.microsoft.com/office/drawing/2014/main" id="{E8F8FF38-12AC-8291-D5A6-9FE537B304C1}"/>
                </a:ext>
              </a:extLst>
            </p:cNvPr>
            <p:cNvSpPr>
              <a:spLocks/>
            </p:cNvSpPr>
            <p:nvPr/>
          </p:nvSpPr>
          <p:spPr bwMode="auto">
            <a:xfrm>
              <a:off x="6405911" y="3804949"/>
              <a:ext cx="267445" cy="262024"/>
            </a:xfrm>
            <a:custGeom>
              <a:avLst/>
              <a:gdLst>
                <a:gd name="T0" fmla="*/ 6 w 148"/>
                <a:gd name="T1" fmla="*/ 0 h 145"/>
                <a:gd name="T2" fmla="*/ 10 w 148"/>
                <a:gd name="T3" fmla="*/ 0 h 145"/>
                <a:gd name="T4" fmla="*/ 15 w 148"/>
                <a:gd name="T5" fmla="*/ 1 h 145"/>
                <a:gd name="T6" fmla="*/ 22 w 148"/>
                <a:gd name="T7" fmla="*/ 1 h 145"/>
                <a:gd name="T8" fmla="*/ 27 w 148"/>
                <a:gd name="T9" fmla="*/ 3 h 145"/>
                <a:gd name="T10" fmla="*/ 30 w 148"/>
                <a:gd name="T11" fmla="*/ 3 h 145"/>
                <a:gd name="T12" fmla="*/ 58 w 148"/>
                <a:gd name="T13" fmla="*/ 12 h 145"/>
                <a:gd name="T14" fmla="*/ 80 w 148"/>
                <a:gd name="T15" fmla="*/ 3 h 145"/>
                <a:gd name="T16" fmla="*/ 87 w 148"/>
                <a:gd name="T17" fmla="*/ 3 h 145"/>
                <a:gd name="T18" fmla="*/ 92 w 148"/>
                <a:gd name="T19" fmla="*/ 1 h 145"/>
                <a:gd name="T20" fmla="*/ 96 w 148"/>
                <a:gd name="T21" fmla="*/ 1 h 145"/>
                <a:gd name="T22" fmla="*/ 99 w 148"/>
                <a:gd name="T23" fmla="*/ 6 h 145"/>
                <a:gd name="T24" fmla="*/ 105 w 148"/>
                <a:gd name="T25" fmla="*/ 10 h 145"/>
                <a:gd name="T26" fmla="*/ 113 w 148"/>
                <a:gd name="T27" fmla="*/ 9 h 145"/>
                <a:gd name="T28" fmla="*/ 124 w 148"/>
                <a:gd name="T29" fmla="*/ 6 h 145"/>
                <a:gd name="T30" fmla="*/ 126 w 148"/>
                <a:gd name="T31" fmla="*/ 6 h 145"/>
                <a:gd name="T32" fmla="*/ 135 w 148"/>
                <a:gd name="T33" fmla="*/ 35 h 145"/>
                <a:gd name="T34" fmla="*/ 129 w 148"/>
                <a:gd name="T35" fmla="*/ 56 h 145"/>
                <a:gd name="T36" fmla="*/ 129 w 148"/>
                <a:gd name="T37" fmla="*/ 57 h 145"/>
                <a:gd name="T38" fmla="*/ 124 w 148"/>
                <a:gd name="T39" fmla="*/ 59 h 145"/>
                <a:gd name="T40" fmla="*/ 124 w 148"/>
                <a:gd name="T41" fmla="*/ 57 h 145"/>
                <a:gd name="T42" fmla="*/ 114 w 148"/>
                <a:gd name="T43" fmla="*/ 47 h 145"/>
                <a:gd name="T44" fmla="*/ 105 w 148"/>
                <a:gd name="T45" fmla="*/ 26 h 145"/>
                <a:gd name="T46" fmla="*/ 102 w 148"/>
                <a:gd name="T47" fmla="*/ 31 h 145"/>
                <a:gd name="T48" fmla="*/ 107 w 148"/>
                <a:gd name="T49" fmla="*/ 43 h 145"/>
                <a:gd name="T50" fmla="*/ 117 w 148"/>
                <a:gd name="T51" fmla="*/ 55 h 145"/>
                <a:gd name="T52" fmla="*/ 124 w 148"/>
                <a:gd name="T53" fmla="*/ 77 h 145"/>
                <a:gd name="T54" fmla="*/ 139 w 148"/>
                <a:gd name="T55" fmla="*/ 105 h 145"/>
                <a:gd name="T56" fmla="*/ 148 w 148"/>
                <a:gd name="T57" fmla="*/ 112 h 145"/>
                <a:gd name="T58" fmla="*/ 148 w 148"/>
                <a:gd name="T59" fmla="*/ 114 h 145"/>
                <a:gd name="T60" fmla="*/ 147 w 148"/>
                <a:gd name="T61" fmla="*/ 114 h 145"/>
                <a:gd name="T62" fmla="*/ 144 w 148"/>
                <a:gd name="T63" fmla="*/ 115 h 145"/>
                <a:gd name="T64" fmla="*/ 145 w 148"/>
                <a:gd name="T65" fmla="*/ 126 h 145"/>
                <a:gd name="T66" fmla="*/ 139 w 148"/>
                <a:gd name="T67" fmla="*/ 130 h 145"/>
                <a:gd name="T68" fmla="*/ 136 w 148"/>
                <a:gd name="T69" fmla="*/ 130 h 145"/>
                <a:gd name="T70" fmla="*/ 133 w 148"/>
                <a:gd name="T71" fmla="*/ 136 h 145"/>
                <a:gd name="T72" fmla="*/ 133 w 148"/>
                <a:gd name="T73" fmla="*/ 138 h 145"/>
                <a:gd name="T74" fmla="*/ 126 w 148"/>
                <a:gd name="T75" fmla="*/ 139 h 145"/>
                <a:gd name="T76" fmla="*/ 124 w 148"/>
                <a:gd name="T77" fmla="*/ 143 h 145"/>
                <a:gd name="T78" fmla="*/ 124 w 148"/>
                <a:gd name="T79" fmla="*/ 145 h 145"/>
                <a:gd name="T80" fmla="*/ 119 w 148"/>
                <a:gd name="T81" fmla="*/ 145 h 145"/>
                <a:gd name="T82" fmla="*/ 113 w 148"/>
                <a:gd name="T83" fmla="*/ 142 h 145"/>
                <a:gd name="T84" fmla="*/ 6 w 148"/>
                <a:gd name="T85" fmla="*/ 142 h 145"/>
                <a:gd name="T86" fmla="*/ 6 w 148"/>
                <a:gd name="T87" fmla="*/ 40 h 145"/>
                <a:gd name="T88" fmla="*/ 3 w 148"/>
                <a:gd name="T89" fmla="*/ 37 h 145"/>
                <a:gd name="T90" fmla="*/ 0 w 148"/>
                <a:gd name="T91" fmla="*/ 23 h 145"/>
                <a:gd name="T92" fmla="*/ 3 w 148"/>
                <a:gd name="T93" fmla="*/ 20 h 145"/>
                <a:gd name="T94" fmla="*/ 1 w 148"/>
                <a:gd name="T95" fmla="*/ 4 h 145"/>
                <a:gd name="T96" fmla="*/ 3 w 148"/>
                <a:gd name="T97" fmla="*/ 4 h 145"/>
                <a:gd name="T98" fmla="*/ 6 w 148"/>
                <a:gd name="T99"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8" h="145">
                  <a:moveTo>
                    <a:pt x="6" y="0"/>
                  </a:moveTo>
                  <a:lnTo>
                    <a:pt x="10" y="0"/>
                  </a:lnTo>
                  <a:lnTo>
                    <a:pt x="15" y="1"/>
                  </a:lnTo>
                  <a:lnTo>
                    <a:pt x="22" y="1"/>
                  </a:lnTo>
                  <a:lnTo>
                    <a:pt x="27" y="3"/>
                  </a:lnTo>
                  <a:lnTo>
                    <a:pt x="30" y="3"/>
                  </a:lnTo>
                  <a:lnTo>
                    <a:pt x="58" y="12"/>
                  </a:lnTo>
                  <a:lnTo>
                    <a:pt x="80" y="3"/>
                  </a:lnTo>
                  <a:lnTo>
                    <a:pt x="87" y="3"/>
                  </a:lnTo>
                  <a:lnTo>
                    <a:pt x="92" y="1"/>
                  </a:lnTo>
                  <a:lnTo>
                    <a:pt x="96" y="1"/>
                  </a:lnTo>
                  <a:lnTo>
                    <a:pt x="99" y="6"/>
                  </a:lnTo>
                  <a:lnTo>
                    <a:pt x="105" y="10"/>
                  </a:lnTo>
                  <a:lnTo>
                    <a:pt x="113" y="9"/>
                  </a:lnTo>
                  <a:lnTo>
                    <a:pt x="124" y="6"/>
                  </a:lnTo>
                  <a:lnTo>
                    <a:pt x="126" y="6"/>
                  </a:lnTo>
                  <a:lnTo>
                    <a:pt x="135" y="35"/>
                  </a:lnTo>
                  <a:lnTo>
                    <a:pt x="129" y="56"/>
                  </a:lnTo>
                  <a:lnTo>
                    <a:pt x="129" y="57"/>
                  </a:lnTo>
                  <a:lnTo>
                    <a:pt x="124" y="59"/>
                  </a:lnTo>
                  <a:lnTo>
                    <a:pt x="124" y="57"/>
                  </a:lnTo>
                  <a:lnTo>
                    <a:pt x="114" y="47"/>
                  </a:lnTo>
                  <a:lnTo>
                    <a:pt x="105" y="26"/>
                  </a:lnTo>
                  <a:lnTo>
                    <a:pt x="102" y="31"/>
                  </a:lnTo>
                  <a:lnTo>
                    <a:pt x="107" y="43"/>
                  </a:lnTo>
                  <a:lnTo>
                    <a:pt x="117" y="55"/>
                  </a:lnTo>
                  <a:lnTo>
                    <a:pt x="124" y="77"/>
                  </a:lnTo>
                  <a:lnTo>
                    <a:pt x="139" y="105"/>
                  </a:lnTo>
                  <a:lnTo>
                    <a:pt x="148" y="112"/>
                  </a:lnTo>
                  <a:lnTo>
                    <a:pt x="148" y="114"/>
                  </a:lnTo>
                  <a:lnTo>
                    <a:pt x="147" y="114"/>
                  </a:lnTo>
                  <a:lnTo>
                    <a:pt x="144" y="115"/>
                  </a:lnTo>
                  <a:lnTo>
                    <a:pt x="145" y="126"/>
                  </a:lnTo>
                  <a:lnTo>
                    <a:pt x="139" y="130"/>
                  </a:lnTo>
                  <a:lnTo>
                    <a:pt x="136" y="130"/>
                  </a:lnTo>
                  <a:lnTo>
                    <a:pt x="133" y="136"/>
                  </a:lnTo>
                  <a:lnTo>
                    <a:pt x="133" y="138"/>
                  </a:lnTo>
                  <a:lnTo>
                    <a:pt x="126" y="139"/>
                  </a:lnTo>
                  <a:lnTo>
                    <a:pt x="124" y="143"/>
                  </a:lnTo>
                  <a:lnTo>
                    <a:pt x="124" y="145"/>
                  </a:lnTo>
                  <a:lnTo>
                    <a:pt x="119" y="145"/>
                  </a:lnTo>
                  <a:lnTo>
                    <a:pt x="113" y="142"/>
                  </a:lnTo>
                  <a:lnTo>
                    <a:pt x="6" y="142"/>
                  </a:lnTo>
                  <a:lnTo>
                    <a:pt x="6" y="40"/>
                  </a:lnTo>
                  <a:lnTo>
                    <a:pt x="3" y="37"/>
                  </a:lnTo>
                  <a:lnTo>
                    <a:pt x="0" y="23"/>
                  </a:lnTo>
                  <a:lnTo>
                    <a:pt x="3" y="20"/>
                  </a:lnTo>
                  <a:lnTo>
                    <a:pt x="1" y="4"/>
                  </a:lnTo>
                  <a:lnTo>
                    <a:pt x="3" y="4"/>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4" name="Djibouti">
              <a:extLst>
                <a:ext uri="{FF2B5EF4-FFF2-40B4-BE49-F238E27FC236}">
                  <a16:creationId xmlns:a16="http://schemas.microsoft.com/office/drawing/2014/main" id="{BE5580E7-1227-0409-D661-31E61DE641FD}"/>
                </a:ext>
              </a:extLst>
            </p:cNvPr>
            <p:cNvSpPr>
              <a:spLocks/>
            </p:cNvSpPr>
            <p:nvPr/>
          </p:nvSpPr>
          <p:spPr bwMode="auto">
            <a:xfrm>
              <a:off x="6812499" y="4287435"/>
              <a:ext cx="41563" cy="45177"/>
            </a:xfrm>
            <a:custGeom>
              <a:avLst/>
              <a:gdLst>
                <a:gd name="T0" fmla="*/ 17 w 23"/>
                <a:gd name="T1" fmla="*/ 0 h 25"/>
                <a:gd name="T2" fmla="*/ 18 w 23"/>
                <a:gd name="T3" fmla="*/ 0 h 25"/>
                <a:gd name="T4" fmla="*/ 21 w 23"/>
                <a:gd name="T5" fmla="*/ 4 h 25"/>
                <a:gd name="T6" fmla="*/ 23 w 23"/>
                <a:gd name="T7" fmla="*/ 10 h 25"/>
                <a:gd name="T8" fmla="*/ 23 w 23"/>
                <a:gd name="T9" fmla="*/ 11 h 25"/>
                <a:gd name="T10" fmla="*/ 12 w 23"/>
                <a:gd name="T11" fmla="*/ 16 h 25"/>
                <a:gd name="T12" fmla="*/ 20 w 23"/>
                <a:gd name="T13" fmla="*/ 16 h 25"/>
                <a:gd name="T14" fmla="*/ 20 w 23"/>
                <a:gd name="T15" fmla="*/ 17 h 25"/>
                <a:gd name="T16" fmla="*/ 17 w 23"/>
                <a:gd name="T17" fmla="*/ 25 h 25"/>
                <a:gd name="T18" fmla="*/ 15 w 23"/>
                <a:gd name="T19" fmla="*/ 25 h 25"/>
                <a:gd name="T20" fmla="*/ 12 w 23"/>
                <a:gd name="T21" fmla="*/ 23 h 25"/>
                <a:gd name="T22" fmla="*/ 3 w 23"/>
                <a:gd name="T23" fmla="*/ 25 h 25"/>
                <a:gd name="T24" fmla="*/ 2 w 23"/>
                <a:gd name="T25" fmla="*/ 25 h 25"/>
                <a:gd name="T26" fmla="*/ 0 w 23"/>
                <a:gd name="T27" fmla="*/ 20 h 25"/>
                <a:gd name="T28" fmla="*/ 6 w 23"/>
                <a:gd name="T29" fmla="*/ 7 h 25"/>
                <a:gd name="T30" fmla="*/ 17 w 23"/>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5">
                  <a:moveTo>
                    <a:pt x="17" y="0"/>
                  </a:moveTo>
                  <a:lnTo>
                    <a:pt x="18" y="0"/>
                  </a:lnTo>
                  <a:lnTo>
                    <a:pt x="21" y="4"/>
                  </a:lnTo>
                  <a:lnTo>
                    <a:pt x="23" y="10"/>
                  </a:lnTo>
                  <a:lnTo>
                    <a:pt x="23" y="11"/>
                  </a:lnTo>
                  <a:lnTo>
                    <a:pt x="12" y="16"/>
                  </a:lnTo>
                  <a:lnTo>
                    <a:pt x="20" y="16"/>
                  </a:lnTo>
                  <a:lnTo>
                    <a:pt x="20" y="17"/>
                  </a:lnTo>
                  <a:lnTo>
                    <a:pt x="17" y="25"/>
                  </a:lnTo>
                  <a:lnTo>
                    <a:pt x="15" y="25"/>
                  </a:lnTo>
                  <a:lnTo>
                    <a:pt x="12" y="23"/>
                  </a:lnTo>
                  <a:lnTo>
                    <a:pt x="3" y="25"/>
                  </a:lnTo>
                  <a:lnTo>
                    <a:pt x="2" y="25"/>
                  </a:lnTo>
                  <a:lnTo>
                    <a:pt x="0" y="20"/>
                  </a:lnTo>
                  <a:lnTo>
                    <a:pt x="6" y="7"/>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5" name="Democratic Republic of the Congo">
              <a:extLst>
                <a:ext uri="{FF2B5EF4-FFF2-40B4-BE49-F238E27FC236}">
                  <a16:creationId xmlns:a16="http://schemas.microsoft.com/office/drawing/2014/main" id="{EC929CE6-5E2B-7B61-E68D-B402A6E7654D}"/>
                </a:ext>
              </a:extLst>
            </p:cNvPr>
            <p:cNvSpPr>
              <a:spLocks/>
            </p:cNvSpPr>
            <p:nvPr/>
          </p:nvSpPr>
          <p:spPr bwMode="auto">
            <a:xfrm>
              <a:off x="6116782" y="4462720"/>
              <a:ext cx="449959" cy="442731"/>
            </a:xfrm>
            <a:custGeom>
              <a:avLst/>
              <a:gdLst>
                <a:gd name="T0" fmla="*/ 184 w 249"/>
                <a:gd name="T1" fmla="*/ 0 h 245"/>
                <a:gd name="T2" fmla="*/ 188 w 249"/>
                <a:gd name="T3" fmla="*/ 2 h 245"/>
                <a:gd name="T4" fmla="*/ 191 w 249"/>
                <a:gd name="T5" fmla="*/ 3 h 245"/>
                <a:gd name="T6" fmla="*/ 200 w 249"/>
                <a:gd name="T7" fmla="*/ 2 h 245"/>
                <a:gd name="T8" fmla="*/ 212 w 249"/>
                <a:gd name="T9" fmla="*/ 12 h 245"/>
                <a:gd name="T10" fmla="*/ 224 w 249"/>
                <a:gd name="T11" fmla="*/ 11 h 245"/>
                <a:gd name="T12" fmla="*/ 228 w 249"/>
                <a:gd name="T13" fmla="*/ 9 h 245"/>
                <a:gd name="T14" fmla="*/ 243 w 249"/>
                <a:gd name="T15" fmla="*/ 34 h 245"/>
                <a:gd name="T16" fmla="*/ 249 w 249"/>
                <a:gd name="T17" fmla="*/ 42 h 245"/>
                <a:gd name="T18" fmla="*/ 240 w 249"/>
                <a:gd name="T19" fmla="*/ 54 h 245"/>
                <a:gd name="T20" fmla="*/ 230 w 249"/>
                <a:gd name="T21" fmla="*/ 86 h 245"/>
                <a:gd name="T22" fmla="*/ 222 w 249"/>
                <a:gd name="T23" fmla="*/ 104 h 245"/>
                <a:gd name="T24" fmla="*/ 222 w 249"/>
                <a:gd name="T25" fmla="*/ 137 h 245"/>
                <a:gd name="T26" fmla="*/ 224 w 249"/>
                <a:gd name="T27" fmla="*/ 153 h 245"/>
                <a:gd name="T28" fmla="*/ 237 w 249"/>
                <a:gd name="T29" fmla="*/ 168 h 245"/>
                <a:gd name="T30" fmla="*/ 240 w 249"/>
                <a:gd name="T31" fmla="*/ 177 h 245"/>
                <a:gd name="T32" fmla="*/ 222 w 249"/>
                <a:gd name="T33" fmla="*/ 180 h 245"/>
                <a:gd name="T34" fmla="*/ 218 w 249"/>
                <a:gd name="T35" fmla="*/ 205 h 245"/>
                <a:gd name="T36" fmla="*/ 219 w 249"/>
                <a:gd name="T37" fmla="*/ 229 h 245"/>
                <a:gd name="T38" fmla="*/ 230 w 249"/>
                <a:gd name="T39" fmla="*/ 244 h 245"/>
                <a:gd name="T40" fmla="*/ 228 w 249"/>
                <a:gd name="T41" fmla="*/ 245 h 245"/>
                <a:gd name="T42" fmla="*/ 206 w 249"/>
                <a:gd name="T43" fmla="*/ 230 h 245"/>
                <a:gd name="T44" fmla="*/ 193 w 249"/>
                <a:gd name="T45" fmla="*/ 224 h 245"/>
                <a:gd name="T46" fmla="*/ 172 w 249"/>
                <a:gd name="T47" fmla="*/ 220 h 245"/>
                <a:gd name="T48" fmla="*/ 160 w 249"/>
                <a:gd name="T49" fmla="*/ 218 h 245"/>
                <a:gd name="T50" fmla="*/ 154 w 249"/>
                <a:gd name="T51" fmla="*/ 212 h 245"/>
                <a:gd name="T52" fmla="*/ 130 w 249"/>
                <a:gd name="T53" fmla="*/ 218 h 245"/>
                <a:gd name="T54" fmla="*/ 126 w 249"/>
                <a:gd name="T55" fmla="*/ 214 h 245"/>
                <a:gd name="T56" fmla="*/ 124 w 249"/>
                <a:gd name="T57" fmla="*/ 193 h 245"/>
                <a:gd name="T58" fmla="*/ 121 w 249"/>
                <a:gd name="T59" fmla="*/ 165 h 245"/>
                <a:gd name="T60" fmla="*/ 110 w 249"/>
                <a:gd name="T61" fmla="*/ 160 h 245"/>
                <a:gd name="T62" fmla="*/ 92 w 249"/>
                <a:gd name="T63" fmla="*/ 174 h 245"/>
                <a:gd name="T64" fmla="*/ 83 w 249"/>
                <a:gd name="T65" fmla="*/ 175 h 245"/>
                <a:gd name="T66" fmla="*/ 75 w 249"/>
                <a:gd name="T67" fmla="*/ 177 h 245"/>
                <a:gd name="T68" fmla="*/ 61 w 249"/>
                <a:gd name="T69" fmla="*/ 165 h 245"/>
                <a:gd name="T70" fmla="*/ 52 w 249"/>
                <a:gd name="T71" fmla="*/ 146 h 245"/>
                <a:gd name="T72" fmla="*/ 1 w 249"/>
                <a:gd name="T73" fmla="*/ 152 h 245"/>
                <a:gd name="T74" fmla="*/ 0 w 249"/>
                <a:gd name="T75" fmla="*/ 146 h 245"/>
                <a:gd name="T76" fmla="*/ 3 w 249"/>
                <a:gd name="T77" fmla="*/ 135 h 245"/>
                <a:gd name="T78" fmla="*/ 9 w 249"/>
                <a:gd name="T79" fmla="*/ 129 h 245"/>
                <a:gd name="T80" fmla="*/ 19 w 249"/>
                <a:gd name="T81" fmla="*/ 128 h 245"/>
                <a:gd name="T82" fmla="*/ 27 w 249"/>
                <a:gd name="T83" fmla="*/ 126 h 245"/>
                <a:gd name="T84" fmla="*/ 30 w 249"/>
                <a:gd name="T85" fmla="*/ 132 h 245"/>
                <a:gd name="T86" fmla="*/ 50 w 249"/>
                <a:gd name="T87" fmla="*/ 112 h 245"/>
                <a:gd name="T88" fmla="*/ 58 w 249"/>
                <a:gd name="T89" fmla="*/ 88 h 245"/>
                <a:gd name="T90" fmla="*/ 74 w 249"/>
                <a:gd name="T91" fmla="*/ 43 h 245"/>
                <a:gd name="T92" fmla="*/ 83 w 249"/>
                <a:gd name="T93" fmla="*/ 23 h 245"/>
                <a:gd name="T94" fmla="*/ 86 w 249"/>
                <a:gd name="T95" fmla="*/ 20 h 245"/>
                <a:gd name="T96" fmla="*/ 93 w 249"/>
                <a:gd name="T97" fmla="*/ 2 h 245"/>
                <a:gd name="T98" fmla="*/ 110 w 249"/>
                <a:gd name="T99" fmla="*/ 9 h 245"/>
                <a:gd name="T100" fmla="*/ 121 w 249"/>
                <a:gd name="T101" fmla="*/ 12 h 245"/>
                <a:gd name="T102" fmla="*/ 138 w 249"/>
                <a:gd name="T103" fmla="*/ 6 h 245"/>
                <a:gd name="T104" fmla="*/ 145 w 249"/>
                <a:gd name="T105" fmla="*/ 8 h 245"/>
                <a:gd name="T106" fmla="*/ 164 w 249"/>
                <a:gd name="T107" fmla="*/ 5 h 245"/>
                <a:gd name="T108" fmla="*/ 169 w 249"/>
                <a:gd name="T109" fmla="*/ 2 h 245"/>
                <a:gd name="T110" fmla="*/ 179 w 249"/>
                <a:gd name="T11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9" h="245">
                  <a:moveTo>
                    <a:pt x="179" y="0"/>
                  </a:moveTo>
                  <a:lnTo>
                    <a:pt x="184" y="0"/>
                  </a:lnTo>
                  <a:lnTo>
                    <a:pt x="187" y="3"/>
                  </a:lnTo>
                  <a:lnTo>
                    <a:pt x="188" y="2"/>
                  </a:lnTo>
                  <a:lnTo>
                    <a:pt x="190" y="2"/>
                  </a:lnTo>
                  <a:lnTo>
                    <a:pt x="191" y="3"/>
                  </a:lnTo>
                  <a:lnTo>
                    <a:pt x="193" y="2"/>
                  </a:lnTo>
                  <a:lnTo>
                    <a:pt x="200" y="2"/>
                  </a:lnTo>
                  <a:lnTo>
                    <a:pt x="207" y="11"/>
                  </a:lnTo>
                  <a:lnTo>
                    <a:pt x="212" y="12"/>
                  </a:lnTo>
                  <a:lnTo>
                    <a:pt x="215" y="11"/>
                  </a:lnTo>
                  <a:lnTo>
                    <a:pt x="224" y="11"/>
                  </a:lnTo>
                  <a:lnTo>
                    <a:pt x="227" y="9"/>
                  </a:lnTo>
                  <a:lnTo>
                    <a:pt x="228" y="9"/>
                  </a:lnTo>
                  <a:lnTo>
                    <a:pt x="244" y="23"/>
                  </a:lnTo>
                  <a:lnTo>
                    <a:pt x="243" y="34"/>
                  </a:lnTo>
                  <a:lnTo>
                    <a:pt x="249" y="40"/>
                  </a:lnTo>
                  <a:lnTo>
                    <a:pt x="249" y="42"/>
                  </a:lnTo>
                  <a:lnTo>
                    <a:pt x="240" y="51"/>
                  </a:lnTo>
                  <a:lnTo>
                    <a:pt x="240" y="54"/>
                  </a:lnTo>
                  <a:lnTo>
                    <a:pt x="231" y="64"/>
                  </a:lnTo>
                  <a:lnTo>
                    <a:pt x="230" y="86"/>
                  </a:lnTo>
                  <a:lnTo>
                    <a:pt x="219" y="100"/>
                  </a:lnTo>
                  <a:lnTo>
                    <a:pt x="222" y="104"/>
                  </a:lnTo>
                  <a:lnTo>
                    <a:pt x="224" y="113"/>
                  </a:lnTo>
                  <a:lnTo>
                    <a:pt x="222" y="137"/>
                  </a:lnTo>
                  <a:lnTo>
                    <a:pt x="224" y="143"/>
                  </a:lnTo>
                  <a:lnTo>
                    <a:pt x="224" y="153"/>
                  </a:lnTo>
                  <a:lnTo>
                    <a:pt x="230" y="160"/>
                  </a:lnTo>
                  <a:lnTo>
                    <a:pt x="237" y="168"/>
                  </a:lnTo>
                  <a:lnTo>
                    <a:pt x="240" y="175"/>
                  </a:lnTo>
                  <a:lnTo>
                    <a:pt x="240" y="177"/>
                  </a:lnTo>
                  <a:lnTo>
                    <a:pt x="239" y="177"/>
                  </a:lnTo>
                  <a:lnTo>
                    <a:pt x="222" y="180"/>
                  </a:lnTo>
                  <a:lnTo>
                    <a:pt x="216" y="189"/>
                  </a:lnTo>
                  <a:lnTo>
                    <a:pt x="218" y="205"/>
                  </a:lnTo>
                  <a:lnTo>
                    <a:pt x="213" y="223"/>
                  </a:lnTo>
                  <a:lnTo>
                    <a:pt x="219" y="229"/>
                  </a:lnTo>
                  <a:lnTo>
                    <a:pt x="228" y="229"/>
                  </a:lnTo>
                  <a:lnTo>
                    <a:pt x="230" y="244"/>
                  </a:lnTo>
                  <a:lnTo>
                    <a:pt x="230" y="245"/>
                  </a:lnTo>
                  <a:lnTo>
                    <a:pt x="228" y="245"/>
                  </a:lnTo>
                  <a:lnTo>
                    <a:pt x="216" y="242"/>
                  </a:lnTo>
                  <a:lnTo>
                    <a:pt x="206" y="230"/>
                  </a:lnTo>
                  <a:lnTo>
                    <a:pt x="199" y="229"/>
                  </a:lnTo>
                  <a:lnTo>
                    <a:pt x="193" y="224"/>
                  </a:lnTo>
                  <a:lnTo>
                    <a:pt x="182" y="226"/>
                  </a:lnTo>
                  <a:lnTo>
                    <a:pt x="172" y="220"/>
                  </a:lnTo>
                  <a:lnTo>
                    <a:pt x="169" y="215"/>
                  </a:lnTo>
                  <a:lnTo>
                    <a:pt x="160" y="218"/>
                  </a:lnTo>
                  <a:lnTo>
                    <a:pt x="157" y="211"/>
                  </a:lnTo>
                  <a:lnTo>
                    <a:pt x="154" y="212"/>
                  </a:lnTo>
                  <a:lnTo>
                    <a:pt x="135" y="214"/>
                  </a:lnTo>
                  <a:lnTo>
                    <a:pt x="130" y="218"/>
                  </a:lnTo>
                  <a:lnTo>
                    <a:pt x="126" y="215"/>
                  </a:lnTo>
                  <a:lnTo>
                    <a:pt x="126" y="214"/>
                  </a:lnTo>
                  <a:lnTo>
                    <a:pt x="129" y="208"/>
                  </a:lnTo>
                  <a:lnTo>
                    <a:pt x="124" y="193"/>
                  </a:lnTo>
                  <a:lnTo>
                    <a:pt x="123" y="168"/>
                  </a:lnTo>
                  <a:lnTo>
                    <a:pt x="121" y="165"/>
                  </a:lnTo>
                  <a:lnTo>
                    <a:pt x="110" y="165"/>
                  </a:lnTo>
                  <a:lnTo>
                    <a:pt x="110" y="160"/>
                  </a:lnTo>
                  <a:lnTo>
                    <a:pt x="96" y="162"/>
                  </a:lnTo>
                  <a:lnTo>
                    <a:pt x="92" y="174"/>
                  </a:lnTo>
                  <a:lnTo>
                    <a:pt x="87" y="174"/>
                  </a:lnTo>
                  <a:lnTo>
                    <a:pt x="83" y="175"/>
                  </a:lnTo>
                  <a:lnTo>
                    <a:pt x="80" y="175"/>
                  </a:lnTo>
                  <a:lnTo>
                    <a:pt x="75" y="177"/>
                  </a:lnTo>
                  <a:lnTo>
                    <a:pt x="71" y="177"/>
                  </a:lnTo>
                  <a:lnTo>
                    <a:pt x="61" y="165"/>
                  </a:lnTo>
                  <a:lnTo>
                    <a:pt x="56" y="150"/>
                  </a:lnTo>
                  <a:lnTo>
                    <a:pt x="52" y="146"/>
                  </a:lnTo>
                  <a:lnTo>
                    <a:pt x="13" y="147"/>
                  </a:lnTo>
                  <a:lnTo>
                    <a:pt x="1" y="152"/>
                  </a:lnTo>
                  <a:lnTo>
                    <a:pt x="0" y="152"/>
                  </a:lnTo>
                  <a:lnTo>
                    <a:pt x="0" y="146"/>
                  </a:lnTo>
                  <a:lnTo>
                    <a:pt x="1" y="144"/>
                  </a:lnTo>
                  <a:lnTo>
                    <a:pt x="3" y="135"/>
                  </a:lnTo>
                  <a:lnTo>
                    <a:pt x="3" y="134"/>
                  </a:lnTo>
                  <a:lnTo>
                    <a:pt x="9" y="129"/>
                  </a:lnTo>
                  <a:lnTo>
                    <a:pt x="16" y="131"/>
                  </a:lnTo>
                  <a:lnTo>
                    <a:pt x="19" y="128"/>
                  </a:lnTo>
                  <a:lnTo>
                    <a:pt x="27" y="125"/>
                  </a:lnTo>
                  <a:lnTo>
                    <a:pt x="27" y="126"/>
                  </a:lnTo>
                  <a:lnTo>
                    <a:pt x="28" y="131"/>
                  </a:lnTo>
                  <a:lnTo>
                    <a:pt x="30" y="132"/>
                  </a:lnTo>
                  <a:lnTo>
                    <a:pt x="46" y="119"/>
                  </a:lnTo>
                  <a:lnTo>
                    <a:pt x="50" y="112"/>
                  </a:lnTo>
                  <a:lnTo>
                    <a:pt x="53" y="97"/>
                  </a:lnTo>
                  <a:lnTo>
                    <a:pt x="58" y="88"/>
                  </a:lnTo>
                  <a:lnTo>
                    <a:pt x="70" y="79"/>
                  </a:lnTo>
                  <a:lnTo>
                    <a:pt x="74" y="43"/>
                  </a:lnTo>
                  <a:lnTo>
                    <a:pt x="81" y="30"/>
                  </a:lnTo>
                  <a:lnTo>
                    <a:pt x="83" y="23"/>
                  </a:lnTo>
                  <a:lnTo>
                    <a:pt x="83" y="21"/>
                  </a:lnTo>
                  <a:lnTo>
                    <a:pt x="86" y="20"/>
                  </a:lnTo>
                  <a:lnTo>
                    <a:pt x="86" y="11"/>
                  </a:lnTo>
                  <a:lnTo>
                    <a:pt x="93" y="2"/>
                  </a:lnTo>
                  <a:lnTo>
                    <a:pt x="102" y="2"/>
                  </a:lnTo>
                  <a:lnTo>
                    <a:pt x="110" y="9"/>
                  </a:lnTo>
                  <a:lnTo>
                    <a:pt x="113" y="9"/>
                  </a:lnTo>
                  <a:lnTo>
                    <a:pt x="121" y="12"/>
                  </a:lnTo>
                  <a:lnTo>
                    <a:pt x="133" y="12"/>
                  </a:lnTo>
                  <a:lnTo>
                    <a:pt x="138" y="6"/>
                  </a:lnTo>
                  <a:lnTo>
                    <a:pt x="139" y="6"/>
                  </a:lnTo>
                  <a:lnTo>
                    <a:pt x="145" y="8"/>
                  </a:lnTo>
                  <a:lnTo>
                    <a:pt x="161" y="3"/>
                  </a:lnTo>
                  <a:lnTo>
                    <a:pt x="164" y="5"/>
                  </a:lnTo>
                  <a:lnTo>
                    <a:pt x="169" y="3"/>
                  </a:lnTo>
                  <a:lnTo>
                    <a:pt x="169" y="2"/>
                  </a:lnTo>
                  <a:lnTo>
                    <a:pt x="176" y="2"/>
                  </a:lnTo>
                  <a:lnTo>
                    <a:pt x="17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6" name="Cote d'Ivoire">
              <a:extLst>
                <a:ext uri="{FF2B5EF4-FFF2-40B4-BE49-F238E27FC236}">
                  <a16:creationId xmlns:a16="http://schemas.microsoft.com/office/drawing/2014/main" id="{E5C1375B-50CD-8FCE-AE92-917585B9A057}"/>
                </a:ext>
              </a:extLst>
            </p:cNvPr>
            <p:cNvSpPr>
              <a:spLocks/>
            </p:cNvSpPr>
            <p:nvPr/>
          </p:nvSpPr>
          <p:spPr bwMode="auto">
            <a:xfrm>
              <a:off x="5623454" y="4334418"/>
              <a:ext cx="148179" cy="153601"/>
            </a:xfrm>
            <a:custGeom>
              <a:avLst/>
              <a:gdLst>
                <a:gd name="T0" fmla="*/ 31 w 82"/>
                <a:gd name="T1" fmla="*/ 0 h 85"/>
                <a:gd name="T2" fmla="*/ 33 w 82"/>
                <a:gd name="T3" fmla="*/ 6 h 85"/>
                <a:gd name="T4" fmla="*/ 37 w 82"/>
                <a:gd name="T5" fmla="*/ 3 h 85"/>
                <a:gd name="T6" fmla="*/ 45 w 82"/>
                <a:gd name="T7" fmla="*/ 5 h 85"/>
                <a:gd name="T8" fmla="*/ 46 w 82"/>
                <a:gd name="T9" fmla="*/ 5 h 85"/>
                <a:gd name="T10" fmla="*/ 52 w 82"/>
                <a:gd name="T11" fmla="*/ 14 h 85"/>
                <a:gd name="T12" fmla="*/ 56 w 82"/>
                <a:gd name="T13" fmla="*/ 14 h 85"/>
                <a:gd name="T14" fmla="*/ 65 w 82"/>
                <a:gd name="T15" fmla="*/ 9 h 85"/>
                <a:gd name="T16" fmla="*/ 71 w 82"/>
                <a:gd name="T17" fmla="*/ 11 h 85"/>
                <a:gd name="T18" fmla="*/ 73 w 82"/>
                <a:gd name="T19" fmla="*/ 11 h 85"/>
                <a:gd name="T20" fmla="*/ 76 w 82"/>
                <a:gd name="T21" fmla="*/ 17 h 85"/>
                <a:gd name="T22" fmla="*/ 79 w 82"/>
                <a:gd name="T23" fmla="*/ 17 h 85"/>
                <a:gd name="T24" fmla="*/ 79 w 82"/>
                <a:gd name="T25" fmla="*/ 21 h 85"/>
                <a:gd name="T26" fmla="*/ 82 w 82"/>
                <a:gd name="T27" fmla="*/ 33 h 85"/>
                <a:gd name="T28" fmla="*/ 82 w 82"/>
                <a:gd name="T29" fmla="*/ 34 h 85"/>
                <a:gd name="T30" fmla="*/ 79 w 82"/>
                <a:gd name="T31" fmla="*/ 37 h 85"/>
                <a:gd name="T32" fmla="*/ 73 w 82"/>
                <a:gd name="T33" fmla="*/ 55 h 85"/>
                <a:gd name="T34" fmla="*/ 74 w 82"/>
                <a:gd name="T35" fmla="*/ 65 h 85"/>
                <a:gd name="T36" fmla="*/ 79 w 82"/>
                <a:gd name="T37" fmla="*/ 67 h 85"/>
                <a:gd name="T38" fmla="*/ 79 w 82"/>
                <a:gd name="T39" fmla="*/ 74 h 85"/>
                <a:gd name="T40" fmla="*/ 73 w 82"/>
                <a:gd name="T41" fmla="*/ 76 h 85"/>
                <a:gd name="T42" fmla="*/ 51 w 82"/>
                <a:gd name="T43" fmla="*/ 74 h 85"/>
                <a:gd name="T44" fmla="*/ 33 w 82"/>
                <a:gd name="T45" fmla="*/ 79 h 85"/>
                <a:gd name="T46" fmla="*/ 19 w 82"/>
                <a:gd name="T47" fmla="*/ 85 h 85"/>
                <a:gd name="T48" fmla="*/ 13 w 82"/>
                <a:gd name="T49" fmla="*/ 85 h 85"/>
                <a:gd name="T50" fmla="*/ 13 w 82"/>
                <a:gd name="T51" fmla="*/ 83 h 85"/>
                <a:gd name="T52" fmla="*/ 15 w 82"/>
                <a:gd name="T53" fmla="*/ 65 h 85"/>
                <a:gd name="T54" fmla="*/ 12 w 82"/>
                <a:gd name="T55" fmla="*/ 64 h 85"/>
                <a:gd name="T56" fmla="*/ 9 w 82"/>
                <a:gd name="T57" fmla="*/ 60 h 85"/>
                <a:gd name="T58" fmla="*/ 2 w 82"/>
                <a:gd name="T59" fmla="*/ 58 h 85"/>
                <a:gd name="T60" fmla="*/ 0 w 82"/>
                <a:gd name="T61" fmla="*/ 57 h 85"/>
                <a:gd name="T62" fmla="*/ 5 w 82"/>
                <a:gd name="T63" fmla="*/ 48 h 85"/>
                <a:gd name="T64" fmla="*/ 2 w 82"/>
                <a:gd name="T65" fmla="*/ 42 h 85"/>
                <a:gd name="T66" fmla="*/ 6 w 82"/>
                <a:gd name="T67" fmla="*/ 42 h 85"/>
                <a:gd name="T68" fmla="*/ 8 w 82"/>
                <a:gd name="T69" fmla="*/ 36 h 85"/>
                <a:gd name="T70" fmla="*/ 5 w 82"/>
                <a:gd name="T71" fmla="*/ 34 h 85"/>
                <a:gd name="T72" fmla="*/ 5 w 82"/>
                <a:gd name="T73" fmla="*/ 30 h 85"/>
                <a:gd name="T74" fmla="*/ 8 w 82"/>
                <a:gd name="T75" fmla="*/ 30 h 85"/>
                <a:gd name="T76" fmla="*/ 9 w 82"/>
                <a:gd name="T77" fmla="*/ 31 h 85"/>
                <a:gd name="T78" fmla="*/ 12 w 82"/>
                <a:gd name="T79" fmla="*/ 31 h 85"/>
                <a:gd name="T80" fmla="*/ 11 w 82"/>
                <a:gd name="T81" fmla="*/ 27 h 85"/>
                <a:gd name="T82" fmla="*/ 9 w 82"/>
                <a:gd name="T83" fmla="*/ 27 h 85"/>
                <a:gd name="T84" fmla="*/ 11 w 82"/>
                <a:gd name="T85" fmla="*/ 24 h 85"/>
                <a:gd name="T86" fmla="*/ 11 w 82"/>
                <a:gd name="T87" fmla="*/ 19 h 85"/>
                <a:gd name="T88" fmla="*/ 6 w 82"/>
                <a:gd name="T89" fmla="*/ 18 h 85"/>
                <a:gd name="T90" fmla="*/ 6 w 82"/>
                <a:gd name="T91" fmla="*/ 11 h 85"/>
                <a:gd name="T92" fmla="*/ 8 w 82"/>
                <a:gd name="T93" fmla="*/ 8 h 85"/>
                <a:gd name="T94" fmla="*/ 15 w 82"/>
                <a:gd name="T95" fmla="*/ 3 h 85"/>
                <a:gd name="T96" fmla="*/ 21 w 82"/>
                <a:gd name="T97" fmla="*/ 6 h 85"/>
                <a:gd name="T98" fmla="*/ 25 w 82"/>
                <a:gd name="T99" fmla="*/ 5 h 85"/>
                <a:gd name="T100" fmla="*/ 25 w 82"/>
                <a:gd name="T101" fmla="*/ 2 h 85"/>
                <a:gd name="T102" fmla="*/ 31 w 82"/>
                <a:gd name="T10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85">
                  <a:moveTo>
                    <a:pt x="31" y="0"/>
                  </a:moveTo>
                  <a:lnTo>
                    <a:pt x="33" y="6"/>
                  </a:lnTo>
                  <a:lnTo>
                    <a:pt x="37" y="3"/>
                  </a:lnTo>
                  <a:lnTo>
                    <a:pt x="45" y="5"/>
                  </a:lnTo>
                  <a:lnTo>
                    <a:pt x="46" y="5"/>
                  </a:lnTo>
                  <a:lnTo>
                    <a:pt x="52" y="14"/>
                  </a:lnTo>
                  <a:lnTo>
                    <a:pt x="56" y="14"/>
                  </a:lnTo>
                  <a:lnTo>
                    <a:pt x="65" y="9"/>
                  </a:lnTo>
                  <a:lnTo>
                    <a:pt x="71" y="11"/>
                  </a:lnTo>
                  <a:lnTo>
                    <a:pt x="73" y="11"/>
                  </a:lnTo>
                  <a:lnTo>
                    <a:pt x="76" y="17"/>
                  </a:lnTo>
                  <a:lnTo>
                    <a:pt x="79" y="17"/>
                  </a:lnTo>
                  <a:lnTo>
                    <a:pt x="79" y="21"/>
                  </a:lnTo>
                  <a:lnTo>
                    <a:pt x="82" y="33"/>
                  </a:lnTo>
                  <a:lnTo>
                    <a:pt x="82" y="34"/>
                  </a:lnTo>
                  <a:lnTo>
                    <a:pt x="79" y="37"/>
                  </a:lnTo>
                  <a:lnTo>
                    <a:pt x="73" y="55"/>
                  </a:lnTo>
                  <a:lnTo>
                    <a:pt x="74" y="65"/>
                  </a:lnTo>
                  <a:lnTo>
                    <a:pt x="79" y="67"/>
                  </a:lnTo>
                  <a:lnTo>
                    <a:pt x="79" y="74"/>
                  </a:lnTo>
                  <a:lnTo>
                    <a:pt x="73" y="76"/>
                  </a:lnTo>
                  <a:lnTo>
                    <a:pt x="51" y="74"/>
                  </a:lnTo>
                  <a:lnTo>
                    <a:pt x="33" y="79"/>
                  </a:lnTo>
                  <a:lnTo>
                    <a:pt x="19" y="85"/>
                  </a:lnTo>
                  <a:lnTo>
                    <a:pt x="13" y="85"/>
                  </a:lnTo>
                  <a:lnTo>
                    <a:pt x="13" y="83"/>
                  </a:lnTo>
                  <a:lnTo>
                    <a:pt x="15" y="65"/>
                  </a:lnTo>
                  <a:lnTo>
                    <a:pt x="12" y="64"/>
                  </a:lnTo>
                  <a:lnTo>
                    <a:pt x="9" y="60"/>
                  </a:lnTo>
                  <a:lnTo>
                    <a:pt x="2" y="58"/>
                  </a:lnTo>
                  <a:lnTo>
                    <a:pt x="0" y="57"/>
                  </a:lnTo>
                  <a:lnTo>
                    <a:pt x="5" y="48"/>
                  </a:lnTo>
                  <a:lnTo>
                    <a:pt x="2" y="42"/>
                  </a:lnTo>
                  <a:lnTo>
                    <a:pt x="6" y="42"/>
                  </a:lnTo>
                  <a:lnTo>
                    <a:pt x="8" y="36"/>
                  </a:lnTo>
                  <a:lnTo>
                    <a:pt x="5" y="34"/>
                  </a:lnTo>
                  <a:lnTo>
                    <a:pt x="5" y="30"/>
                  </a:lnTo>
                  <a:lnTo>
                    <a:pt x="8" y="30"/>
                  </a:lnTo>
                  <a:lnTo>
                    <a:pt x="9" y="31"/>
                  </a:lnTo>
                  <a:lnTo>
                    <a:pt x="12" y="31"/>
                  </a:lnTo>
                  <a:lnTo>
                    <a:pt x="11" y="27"/>
                  </a:lnTo>
                  <a:lnTo>
                    <a:pt x="9" y="27"/>
                  </a:lnTo>
                  <a:lnTo>
                    <a:pt x="11" y="24"/>
                  </a:lnTo>
                  <a:lnTo>
                    <a:pt x="11" y="19"/>
                  </a:lnTo>
                  <a:lnTo>
                    <a:pt x="6" y="18"/>
                  </a:lnTo>
                  <a:lnTo>
                    <a:pt x="6" y="11"/>
                  </a:lnTo>
                  <a:lnTo>
                    <a:pt x="8" y="8"/>
                  </a:lnTo>
                  <a:lnTo>
                    <a:pt x="15" y="3"/>
                  </a:lnTo>
                  <a:lnTo>
                    <a:pt x="21" y="6"/>
                  </a:lnTo>
                  <a:lnTo>
                    <a:pt x="25" y="5"/>
                  </a:lnTo>
                  <a:lnTo>
                    <a:pt x="25" y="2"/>
                  </a:lnTo>
                  <a:lnTo>
                    <a:pt x="3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7" name="Congo">
              <a:extLst>
                <a:ext uri="{FF2B5EF4-FFF2-40B4-BE49-F238E27FC236}">
                  <a16:creationId xmlns:a16="http://schemas.microsoft.com/office/drawing/2014/main" id="{F61BC3D7-2F1F-3D14-5745-7E5BEF500633}"/>
                </a:ext>
              </a:extLst>
            </p:cNvPr>
            <p:cNvSpPr>
              <a:spLocks/>
            </p:cNvSpPr>
            <p:nvPr/>
          </p:nvSpPr>
          <p:spPr bwMode="auto">
            <a:xfrm>
              <a:off x="6087868" y="4500668"/>
              <a:ext cx="180706" cy="209619"/>
            </a:xfrm>
            <a:custGeom>
              <a:avLst/>
              <a:gdLst>
                <a:gd name="T0" fmla="*/ 83 w 100"/>
                <a:gd name="T1" fmla="*/ 0 h 116"/>
                <a:gd name="T2" fmla="*/ 90 w 100"/>
                <a:gd name="T3" fmla="*/ 3 h 116"/>
                <a:gd name="T4" fmla="*/ 99 w 100"/>
                <a:gd name="T5" fmla="*/ 0 h 116"/>
                <a:gd name="T6" fmla="*/ 100 w 100"/>
                <a:gd name="T7" fmla="*/ 0 h 116"/>
                <a:gd name="T8" fmla="*/ 100 w 100"/>
                <a:gd name="T9" fmla="*/ 2 h 116"/>
                <a:gd name="T10" fmla="*/ 99 w 100"/>
                <a:gd name="T11" fmla="*/ 9 h 116"/>
                <a:gd name="T12" fmla="*/ 91 w 100"/>
                <a:gd name="T13" fmla="*/ 24 h 116"/>
                <a:gd name="T14" fmla="*/ 87 w 100"/>
                <a:gd name="T15" fmla="*/ 58 h 116"/>
                <a:gd name="T16" fmla="*/ 75 w 100"/>
                <a:gd name="T17" fmla="*/ 68 h 116"/>
                <a:gd name="T18" fmla="*/ 71 w 100"/>
                <a:gd name="T19" fmla="*/ 76 h 116"/>
                <a:gd name="T20" fmla="*/ 68 w 100"/>
                <a:gd name="T21" fmla="*/ 91 h 116"/>
                <a:gd name="T22" fmla="*/ 63 w 100"/>
                <a:gd name="T23" fmla="*/ 99 h 116"/>
                <a:gd name="T24" fmla="*/ 46 w 100"/>
                <a:gd name="T25" fmla="*/ 113 h 116"/>
                <a:gd name="T26" fmla="*/ 43 w 100"/>
                <a:gd name="T27" fmla="*/ 111 h 116"/>
                <a:gd name="T28" fmla="*/ 41 w 100"/>
                <a:gd name="T29" fmla="*/ 105 h 116"/>
                <a:gd name="T30" fmla="*/ 37 w 100"/>
                <a:gd name="T31" fmla="*/ 108 h 116"/>
                <a:gd name="T32" fmla="*/ 34 w 100"/>
                <a:gd name="T33" fmla="*/ 111 h 116"/>
                <a:gd name="T34" fmla="*/ 32 w 100"/>
                <a:gd name="T35" fmla="*/ 111 h 116"/>
                <a:gd name="T36" fmla="*/ 25 w 100"/>
                <a:gd name="T37" fmla="*/ 110 h 116"/>
                <a:gd name="T38" fmla="*/ 22 w 100"/>
                <a:gd name="T39" fmla="*/ 107 h 116"/>
                <a:gd name="T40" fmla="*/ 13 w 100"/>
                <a:gd name="T41" fmla="*/ 114 h 116"/>
                <a:gd name="T42" fmla="*/ 13 w 100"/>
                <a:gd name="T43" fmla="*/ 116 h 116"/>
                <a:gd name="T44" fmla="*/ 11 w 100"/>
                <a:gd name="T45" fmla="*/ 114 h 116"/>
                <a:gd name="T46" fmla="*/ 7 w 100"/>
                <a:gd name="T47" fmla="*/ 108 h 116"/>
                <a:gd name="T48" fmla="*/ 0 w 100"/>
                <a:gd name="T49" fmla="*/ 101 h 116"/>
                <a:gd name="T50" fmla="*/ 0 w 100"/>
                <a:gd name="T51" fmla="*/ 99 h 116"/>
                <a:gd name="T52" fmla="*/ 3 w 100"/>
                <a:gd name="T53" fmla="*/ 95 h 116"/>
                <a:gd name="T54" fmla="*/ 7 w 100"/>
                <a:gd name="T55" fmla="*/ 94 h 116"/>
                <a:gd name="T56" fmla="*/ 7 w 100"/>
                <a:gd name="T57" fmla="*/ 82 h 116"/>
                <a:gd name="T58" fmla="*/ 20 w 100"/>
                <a:gd name="T59" fmla="*/ 71 h 116"/>
                <a:gd name="T60" fmla="*/ 35 w 100"/>
                <a:gd name="T61" fmla="*/ 80 h 116"/>
                <a:gd name="T62" fmla="*/ 38 w 100"/>
                <a:gd name="T63" fmla="*/ 79 h 116"/>
                <a:gd name="T64" fmla="*/ 40 w 100"/>
                <a:gd name="T65" fmla="*/ 59 h 116"/>
                <a:gd name="T66" fmla="*/ 38 w 100"/>
                <a:gd name="T67" fmla="*/ 46 h 116"/>
                <a:gd name="T68" fmla="*/ 41 w 100"/>
                <a:gd name="T69" fmla="*/ 37 h 116"/>
                <a:gd name="T70" fmla="*/ 41 w 100"/>
                <a:gd name="T71" fmla="*/ 33 h 116"/>
                <a:gd name="T72" fmla="*/ 40 w 100"/>
                <a:gd name="T73" fmla="*/ 30 h 116"/>
                <a:gd name="T74" fmla="*/ 34 w 100"/>
                <a:gd name="T75" fmla="*/ 28 h 116"/>
                <a:gd name="T76" fmla="*/ 29 w 100"/>
                <a:gd name="T77" fmla="*/ 34 h 116"/>
                <a:gd name="T78" fmla="*/ 26 w 100"/>
                <a:gd name="T79" fmla="*/ 33 h 116"/>
                <a:gd name="T80" fmla="*/ 26 w 100"/>
                <a:gd name="T81" fmla="*/ 21 h 116"/>
                <a:gd name="T82" fmla="*/ 47 w 100"/>
                <a:gd name="T83" fmla="*/ 21 h 116"/>
                <a:gd name="T84" fmla="*/ 59 w 100"/>
                <a:gd name="T85" fmla="*/ 22 h 116"/>
                <a:gd name="T86" fmla="*/ 63 w 100"/>
                <a:gd name="T87" fmla="*/ 27 h 116"/>
                <a:gd name="T88" fmla="*/ 65 w 100"/>
                <a:gd name="T89" fmla="*/ 12 h 116"/>
                <a:gd name="T90" fmla="*/ 65 w 100"/>
                <a:gd name="T91" fmla="*/ 10 h 116"/>
                <a:gd name="T92" fmla="*/ 78 w 100"/>
                <a:gd name="T93" fmla="*/ 2 h 116"/>
                <a:gd name="T94" fmla="*/ 83 w 100"/>
                <a:gd name="T9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116">
                  <a:moveTo>
                    <a:pt x="83" y="0"/>
                  </a:moveTo>
                  <a:lnTo>
                    <a:pt x="90" y="3"/>
                  </a:lnTo>
                  <a:lnTo>
                    <a:pt x="99" y="0"/>
                  </a:lnTo>
                  <a:lnTo>
                    <a:pt x="100" y="0"/>
                  </a:lnTo>
                  <a:lnTo>
                    <a:pt x="100" y="2"/>
                  </a:lnTo>
                  <a:lnTo>
                    <a:pt x="99" y="9"/>
                  </a:lnTo>
                  <a:lnTo>
                    <a:pt x="91" y="24"/>
                  </a:lnTo>
                  <a:lnTo>
                    <a:pt x="87" y="58"/>
                  </a:lnTo>
                  <a:lnTo>
                    <a:pt x="75" y="68"/>
                  </a:lnTo>
                  <a:lnTo>
                    <a:pt x="71" y="76"/>
                  </a:lnTo>
                  <a:lnTo>
                    <a:pt x="68" y="91"/>
                  </a:lnTo>
                  <a:lnTo>
                    <a:pt x="63" y="99"/>
                  </a:lnTo>
                  <a:lnTo>
                    <a:pt x="46" y="113"/>
                  </a:lnTo>
                  <a:lnTo>
                    <a:pt x="43" y="111"/>
                  </a:lnTo>
                  <a:lnTo>
                    <a:pt x="41" y="105"/>
                  </a:lnTo>
                  <a:lnTo>
                    <a:pt x="37" y="108"/>
                  </a:lnTo>
                  <a:lnTo>
                    <a:pt x="34" y="111"/>
                  </a:lnTo>
                  <a:lnTo>
                    <a:pt x="32" y="111"/>
                  </a:lnTo>
                  <a:lnTo>
                    <a:pt x="25" y="110"/>
                  </a:lnTo>
                  <a:lnTo>
                    <a:pt x="22" y="107"/>
                  </a:lnTo>
                  <a:lnTo>
                    <a:pt x="13" y="114"/>
                  </a:lnTo>
                  <a:lnTo>
                    <a:pt x="13" y="116"/>
                  </a:lnTo>
                  <a:lnTo>
                    <a:pt x="11" y="114"/>
                  </a:lnTo>
                  <a:lnTo>
                    <a:pt x="7" y="108"/>
                  </a:lnTo>
                  <a:lnTo>
                    <a:pt x="0" y="101"/>
                  </a:lnTo>
                  <a:lnTo>
                    <a:pt x="0" y="99"/>
                  </a:lnTo>
                  <a:lnTo>
                    <a:pt x="3" y="95"/>
                  </a:lnTo>
                  <a:lnTo>
                    <a:pt x="7" y="94"/>
                  </a:lnTo>
                  <a:lnTo>
                    <a:pt x="7" y="82"/>
                  </a:lnTo>
                  <a:lnTo>
                    <a:pt x="20" y="71"/>
                  </a:lnTo>
                  <a:lnTo>
                    <a:pt x="35" y="80"/>
                  </a:lnTo>
                  <a:lnTo>
                    <a:pt x="38" y="79"/>
                  </a:lnTo>
                  <a:lnTo>
                    <a:pt x="40" y="59"/>
                  </a:lnTo>
                  <a:lnTo>
                    <a:pt x="38" y="46"/>
                  </a:lnTo>
                  <a:lnTo>
                    <a:pt x="41" y="37"/>
                  </a:lnTo>
                  <a:lnTo>
                    <a:pt x="41" y="33"/>
                  </a:lnTo>
                  <a:lnTo>
                    <a:pt x="40" y="30"/>
                  </a:lnTo>
                  <a:lnTo>
                    <a:pt x="34" y="28"/>
                  </a:lnTo>
                  <a:lnTo>
                    <a:pt x="29" y="34"/>
                  </a:lnTo>
                  <a:lnTo>
                    <a:pt x="26" y="33"/>
                  </a:lnTo>
                  <a:lnTo>
                    <a:pt x="26" y="21"/>
                  </a:lnTo>
                  <a:lnTo>
                    <a:pt x="47" y="21"/>
                  </a:lnTo>
                  <a:lnTo>
                    <a:pt x="59" y="22"/>
                  </a:lnTo>
                  <a:lnTo>
                    <a:pt x="63" y="27"/>
                  </a:lnTo>
                  <a:lnTo>
                    <a:pt x="65" y="12"/>
                  </a:lnTo>
                  <a:lnTo>
                    <a:pt x="65" y="10"/>
                  </a:lnTo>
                  <a:lnTo>
                    <a:pt x="78" y="2"/>
                  </a:lnTo>
                  <a:lnTo>
                    <a:pt x="8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8" name="Chad">
              <a:extLst>
                <a:ext uri="{FF2B5EF4-FFF2-40B4-BE49-F238E27FC236}">
                  <a16:creationId xmlns:a16="http://schemas.microsoft.com/office/drawing/2014/main" id="{91102530-ADC6-5599-4DCF-72233F3A85DA}"/>
                </a:ext>
              </a:extLst>
            </p:cNvPr>
            <p:cNvSpPr>
              <a:spLocks/>
            </p:cNvSpPr>
            <p:nvPr/>
          </p:nvSpPr>
          <p:spPr bwMode="auto">
            <a:xfrm>
              <a:off x="6140272" y="4023604"/>
              <a:ext cx="254796" cy="392133"/>
            </a:xfrm>
            <a:custGeom>
              <a:avLst/>
              <a:gdLst>
                <a:gd name="T0" fmla="*/ 36 w 141"/>
                <a:gd name="T1" fmla="*/ 0 h 217"/>
                <a:gd name="T2" fmla="*/ 37 w 141"/>
                <a:gd name="T3" fmla="*/ 0 h 217"/>
                <a:gd name="T4" fmla="*/ 141 w 141"/>
                <a:gd name="T5" fmla="*/ 54 h 217"/>
                <a:gd name="T6" fmla="*/ 141 w 141"/>
                <a:gd name="T7" fmla="*/ 105 h 217"/>
                <a:gd name="T8" fmla="*/ 128 w 141"/>
                <a:gd name="T9" fmla="*/ 107 h 217"/>
                <a:gd name="T10" fmla="*/ 125 w 141"/>
                <a:gd name="T11" fmla="*/ 114 h 217"/>
                <a:gd name="T12" fmla="*/ 119 w 141"/>
                <a:gd name="T13" fmla="*/ 123 h 217"/>
                <a:gd name="T14" fmla="*/ 119 w 141"/>
                <a:gd name="T15" fmla="*/ 128 h 217"/>
                <a:gd name="T16" fmla="*/ 117 w 141"/>
                <a:gd name="T17" fmla="*/ 131 h 217"/>
                <a:gd name="T18" fmla="*/ 113 w 141"/>
                <a:gd name="T19" fmla="*/ 143 h 217"/>
                <a:gd name="T20" fmla="*/ 113 w 141"/>
                <a:gd name="T21" fmla="*/ 146 h 217"/>
                <a:gd name="T22" fmla="*/ 119 w 141"/>
                <a:gd name="T23" fmla="*/ 146 h 217"/>
                <a:gd name="T24" fmla="*/ 120 w 141"/>
                <a:gd name="T25" fmla="*/ 153 h 217"/>
                <a:gd name="T26" fmla="*/ 126 w 141"/>
                <a:gd name="T27" fmla="*/ 165 h 217"/>
                <a:gd name="T28" fmla="*/ 126 w 141"/>
                <a:gd name="T29" fmla="*/ 166 h 217"/>
                <a:gd name="T30" fmla="*/ 123 w 141"/>
                <a:gd name="T31" fmla="*/ 169 h 217"/>
                <a:gd name="T32" fmla="*/ 114 w 141"/>
                <a:gd name="T33" fmla="*/ 171 h 217"/>
                <a:gd name="T34" fmla="*/ 111 w 141"/>
                <a:gd name="T35" fmla="*/ 180 h 217"/>
                <a:gd name="T36" fmla="*/ 95 w 141"/>
                <a:gd name="T37" fmla="*/ 194 h 217"/>
                <a:gd name="T38" fmla="*/ 76 w 141"/>
                <a:gd name="T39" fmla="*/ 197 h 217"/>
                <a:gd name="T40" fmla="*/ 77 w 141"/>
                <a:gd name="T41" fmla="*/ 200 h 217"/>
                <a:gd name="T42" fmla="*/ 77 w 141"/>
                <a:gd name="T43" fmla="*/ 202 h 217"/>
                <a:gd name="T44" fmla="*/ 71 w 141"/>
                <a:gd name="T45" fmla="*/ 208 h 217"/>
                <a:gd name="T46" fmla="*/ 70 w 141"/>
                <a:gd name="T47" fmla="*/ 208 h 217"/>
                <a:gd name="T48" fmla="*/ 58 w 141"/>
                <a:gd name="T49" fmla="*/ 209 h 217"/>
                <a:gd name="T50" fmla="*/ 48 w 141"/>
                <a:gd name="T51" fmla="*/ 215 h 217"/>
                <a:gd name="T52" fmla="*/ 46 w 141"/>
                <a:gd name="T53" fmla="*/ 215 h 217"/>
                <a:gd name="T54" fmla="*/ 43 w 141"/>
                <a:gd name="T55" fmla="*/ 211 h 217"/>
                <a:gd name="T56" fmla="*/ 36 w 141"/>
                <a:gd name="T57" fmla="*/ 217 h 217"/>
                <a:gd name="T58" fmla="*/ 27 w 141"/>
                <a:gd name="T59" fmla="*/ 217 h 217"/>
                <a:gd name="T60" fmla="*/ 22 w 141"/>
                <a:gd name="T61" fmla="*/ 200 h 217"/>
                <a:gd name="T62" fmla="*/ 14 w 141"/>
                <a:gd name="T63" fmla="*/ 194 h 217"/>
                <a:gd name="T64" fmla="*/ 9 w 141"/>
                <a:gd name="T65" fmla="*/ 189 h 217"/>
                <a:gd name="T66" fmla="*/ 9 w 141"/>
                <a:gd name="T67" fmla="*/ 187 h 217"/>
                <a:gd name="T68" fmla="*/ 12 w 141"/>
                <a:gd name="T69" fmla="*/ 183 h 217"/>
                <a:gd name="T70" fmla="*/ 25 w 141"/>
                <a:gd name="T71" fmla="*/ 181 h 217"/>
                <a:gd name="T72" fmla="*/ 19 w 141"/>
                <a:gd name="T73" fmla="*/ 169 h 217"/>
                <a:gd name="T74" fmla="*/ 21 w 141"/>
                <a:gd name="T75" fmla="*/ 156 h 217"/>
                <a:gd name="T76" fmla="*/ 17 w 141"/>
                <a:gd name="T77" fmla="*/ 144 h 217"/>
                <a:gd name="T78" fmla="*/ 22 w 141"/>
                <a:gd name="T79" fmla="*/ 143 h 217"/>
                <a:gd name="T80" fmla="*/ 22 w 141"/>
                <a:gd name="T81" fmla="*/ 137 h 217"/>
                <a:gd name="T82" fmla="*/ 11 w 141"/>
                <a:gd name="T83" fmla="*/ 135 h 217"/>
                <a:gd name="T84" fmla="*/ 8 w 141"/>
                <a:gd name="T85" fmla="*/ 128 h 217"/>
                <a:gd name="T86" fmla="*/ 2 w 141"/>
                <a:gd name="T87" fmla="*/ 125 h 217"/>
                <a:gd name="T88" fmla="*/ 0 w 141"/>
                <a:gd name="T89" fmla="*/ 125 h 217"/>
                <a:gd name="T90" fmla="*/ 0 w 141"/>
                <a:gd name="T91" fmla="*/ 123 h 217"/>
                <a:gd name="T92" fmla="*/ 5 w 141"/>
                <a:gd name="T93" fmla="*/ 114 h 217"/>
                <a:gd name="T94" fmla="*/ 27 w 141"/>
                <a:gd name="T95" fmla="*/ 88 h 217"/>
                <a:gd name="T96" fmla="*/ 28 w 141"/>
                <a:gd name="T97" fmla="*/ 67 h 217"/>
                <a:gd name="T98" fmla="*/ 31 w 141"/>
                <a:gd name="T99" fmla="*/ 48 h 217"/>
                <a:gd name="T100" fmla="*/ 34 w 141"/>
                <a:gd name="T101" fmla="*/ 42 h 217"/>
                <a:gd name="T102" fmla="*/ 27 w 141"/>
                <a:gd name="T103" fmla="*/ 36 h 217"/>
                <a:gd name="T104" fmla="*/ 22 w 141"/>
                <a:gd name="T105" fmla="*/ 28 h 217"/>
                <a:gd name="T106" fmla="*/ 22 w 141"/>
                <a:gd name="T107" fmla="*/ 5 h 217"/>
                <a:gd name="T108" fmla="*/ 36 w 141"/>
                <a:gd name="T10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 h="217">
                  <a:moveTo>
                    <a:pt x="36" y="0"/>
                  </a:moveTo>
                  <a:lnTo>
                    <a:pt x="37" y="0"/>
                  </a:lnTo>
                  <a:lnTo>
                    <a:pt x="141" y="54"/>
                  </a:lnTo>
                  <a:lnTo>
                    <a:pt x="141" y="105"/>
                  </a:lnTo>
                  <a:lnTo>
                    <a:pt x="128" y="107"/>
                  </a:lnTo>
                  <a:lnTo>
                    <a:pt x="125" y="114"/>
                  </a:lnTo>
                  <a:lnTo>
                    <a:pt x="119" y="123"/>
                  </a:lnTo>
                  <a:lnTo>
                    <a:pt x="119" y="128"/>
                  </a:lnTo>
                  <a:lnTo>
                    <a:pt x="117" y="131"/>
                  </a:lnTo>
                  <a:lnTo>
                    <a:pt x="113" y="143"/>
                  </a:lnTo>
                  <a:lnTo>
                    <a:pt x="113" y="146"/>
                  </a:lnTo>
                  <a:lnTo>
                    <a:pt x="119" y="146"/>
                  </a:lnTo>
                  <a:lnTo>
                    <a:pt x="120" y="153"/>
                  </a:lnTo>
                  <a:lnTo>
                    <a:pt x="126" y="165"/>
                  </a:lnTo>
                  <a:lnTo>
                    <a:pt x="126" y="166"/>
                  </a:lnTo>
                  <a:lnTo>
                    <a:pt x="123" y="169"/>
                  </a:lnTo>
                  <a:lnTo>
                    <a:pt x="114" y="171"/>
                  </a:lnTo>
                  <a:lnTo>
                    <a:pt x="111" y="180"/>
                  </a:lnTo>
                  <a:lnTo>
                    <a:pt x="95" y="194"/>
                  </a:lnTo>
                  <a:lnTo>
                    <a:pt x="76" y="197"/>
                  </a:lnTo>
                  <a:lnTo>
                    <a:pt x="77" y="200"/>
                  </a:lnTo>
                  <a:lnTo>
                    <a:pt x="77" y="202"/>
                  </a:lnTo>
                  <a:lnTo>
                    <a:pt x="71" y="208"/>
                  </a:lnTo>
                  <a:lnTo>
                    <a:pt x="70" y="208"/>
                  </a:lnTo>
                  <a:lnTo>
                    <a:pt x="58" y="209"/>
                  </a:lnTo>
                  <a:lnTo>
                    <a:pt x="48" y="215"/>
                  </a:lnTo>
                  <a:lnTo>
                    <a:pt x="46" y="215"/>
                  </a:lnTo>
                  <a:lnTo>
                    <a:pt x="43" y="211"/>
                  </a:lnTo>
                  <a:lnTo>
                    <a:pt x="36" y="217"/>
                  </a:lnTo>
                  <a:lnTo>
                    <a:pt x="27" y="217"/>
                  </a:lnTo>
                  <a:lnTo>
                    <a:pt x="22" y="200"/>
                  </a:lnTo>
                  <a:lnTo>
                    <a:pt x="14" y="194"/>
                  </a:lnTo>
                  <a:lnTo>
                    <a:pt x="9" y="189"/>
                  </a:lnTo>
                  <a:lnTo>
                    <a:pt x="9" y="187"/>
                  </a:lnTo>
                  <a:lnTo>
                    <a:pt x="12" y="183"/>
                  </a:lnTo>
                  <a:lnTo>
                    <a:pt x="25" y="181"/>
                  </a:lnTo>
                  <a:lnTo>
                    <a:pt x="19" y="169"/>
                  </a:lnTo>
                  <a:lnTo>
                    <a:pt x="21" y="156"/>
                  </a:lnTo>
                  <a:lnTo>
                    <a:pt x="17" y="144"/>
                  </a:lnTo>
                  <a:lnTo>
                    <a:pt x="22" y="143"/>
                  </a:lnTo>
                  <a:lnTo>
                    <a:pt x="22" y="137"/>
                  </a:lnTo>
                  <a:lnTo>
                    <a:pt x="11" y="135"/>
                  </a:lnTo>
                  <a:lnTo>
                    <a:pt x="8" y="128"/>
                  </a:lnTo>
                  <a:lnTo>
                    <a:pt x="2" y="125"/>
                  </a:lnTo>
                  <a:lnTo>
                    <a:pt x="0" y="125"/>
                  </a:lnTo>
                  <a:lnTo>
                    <a:pt x="0" y="123"/>
                  </a:lnTo>
                  <a:lnTo>
                    <a:pt x="5" y="114"/>
                  </a:lnTo>
                  <a:lnTo>
                    <a:pt x="27" y="88"/>
                  </a:lnTo>
                  <a:lnTo>
                    <a:pt x="28" y="67"/>
                  </a:lnTo>
                  <a:lnTo>
                    <a:pt x="31" y="48"/>
                  </a:lnTo>
                  <a:lnTo>
                    <a:pt x="34" y="42"/>
                  </a:lnTo>
                  <a:lnTo>
                    <a:pt x="27" y="36"/>
                  </a:lnTo>
                  <a:lnTo>
                    <a:pt x="22" y="28"/>
                  </a:lnTo>
                  <a:lnTo>
                    <a:pt x="22" y="5"/>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9" name="Central African Republic">
              <a:extLst>
                <a:ext uri="{FF2B5EF4-FFF2-40B4-BE49-F238E27FC236}">
                  <a16:creationId xmlns:a16="http://schemas.microsoft.com/office/drawing/2014/main" id="{46432183-476C-02E5-3088-D98571E290B4}"/>
                </a:ext>
              </a:extLst>
            </p:cNvPr>
            <p:cNvSpPr>
              <a:spLocks/>
            </p:cNvSpPr>
            <p:nvPr/>
          </p:nvSpPr>
          <p:spPr bwMode="auto">
            <a:xfrm>
              <a:off x="6167379" y="4327191"/>
              <a:ext cx="310814" cy="195162"/>
            </a:xfrm>
            <a:custGeom>
              <a:avLst/>
              <a:gdLst>
                <a:gd name="T0" fmla="*/ 105 w 172"/>
                <a:gd name="T1" fmla="*/ 0 h 108"/>
                <a:gd name="T2" fmla="*/ 108 w 172"/>
                <a:gd name="T3" fmla="*/ 0 h 108"/>
                <a:gd name="T4" fmla="*/ 108 w 172"/>
                <a:gd name="T5" fmla="*/ 1 h 108"/>
                <a:gd name="T6" fmla="*/ 120 w 172"/>
                <a:gd name="T7" fmla="*/ 13 h 108"/>
                <a:gd name="T8" fmla="*/ 120 w 172"/>
                <a:gd name="T9" fmla="*/ 28 h 108"/>
                <a:gd name="T10" fmla="*/ 128 w 172"/>
                <a:gd name="T11" fmla="*/ 31 h 108"/>
                <a:gd name="T12" fmla="*/ 128 w 172"/>
                <a:gd name="T13" fmla="*/ 32 h 108"/>
                <a:gd name="T14" fmla="*/ 129 w 172"/>
                <a:gd name="T15" fmla="*/ 35 h 108"/>
                <a:gd name="T16" fmla="*/ 141 w 172"/>
                <a:gd name="T17" fmla="*/ 38 h 108"/>
                <a:gd name="T18" fmla="*/ 141 w 172"/>
                <a:gd name="T19" fmla="*/ 40 h 108"/>
                <a:gd name="T20" fmla="*/ 142 w 172"/>
                <a:gd name="T21" fmla="*/ 46 h 108"/>
                <a:gd name="T22" fmla="*/ 156 w 172"/>
                <a:gd name="T23" fmla="*/ 55 h 108"/>
                <a:gd name="T24" fmla="*/ 160 w 172"/>
                <a:gd name="T25" fmla="*/ 65 h 108"/>
                <a:gd name="T26" fmla="*/ 169 w 172"/>
                <a:gd name="T27" fmla="*/ 71 h 108"/>
                <a:gd name="T28" fmla="*/ 172 w 172"/>
                <a:gd name="T29" fmla="*/ 77 h 108"/>
                <a:gd name="T30" fmla="*/ 172 w 172"/>
                <a:gd name="T31" fmla="*/ 78 h 108"/>
                <a:gd name="T32" fmla="*/ 166 w 172"/>
                <a:gd name="T33" fmla="*/ 78 h 108"/>
                <a:gd name="T34" fmla="*/ 163 w 172"/>
                <a:gd name="T35" fmla="*/ 80 h 108"/>
                <a:gd name="T36" fmla="*/ 162 w 172"/>
                <a:gd name="T37" fmla="*/ 80 h 108"/>
                <a:gd name="T38" fmla="*/ 160 w 172"/>
                <a:gd name="T39" fmla="*/ 78 h 108"/>
                <a:gd name="T40" fmla="*/ 159 w 172"/>
                <a:gd name="T41" fmla="*/ 80 h 108"/>
                <a:gd name="T42" fmla="*/ 156 w 172"/>
                <a:gd name="T43" fmla="*/ 77 h 108"/>
                <a:gd name="T44" fmla="*/ 142 w 172"/>
                <a:gd name="T45" fmla="*/ 78 h 108"/>
                <a:gd name="T46" fmla="*/ 141 w 172"/>
                <a:gd name="T47" fmla="*/ 80 h 108"/>
                <a:gd name="T48" fmla="*/ 136 w 172"/>
                <a:gd name="T49" fmla="*/ 81 h 108"/>
                <a:gd name="T50" fmla="*/ 135 w 172"/>
                <a:gd name="T51" fmla="*/ 81 h 108"/>
                <a:gd name="T52" fmla="*/ 133 w 172"/>
                <a:gd name="T53" fmla="*/ 80 h 108"/>
                <a:gd name="T54" fmla="*/ 117 w 172"/>
                <a:gd name="T55" fmla="*/ 84 h 108"/>
                <a:gd name="T56" fmla="*/ 111 w 172"/>
                <a:gd name="T57" fmla="*/ 83 h 108"/>
                <a:gd name="T58" fmla="*/ 105 w 172"/>
                <a:gd name="T59" fmla="*/ 89 h 108"/>
                <a:gd name="T60" fmla="*/ 93 w 172"/>
                <a:gd name="T61" fmla="*/ 89 h 108"/>
                <a:gd name="T62" fmla="*/ 85 w 172"/>
                <a:gd name="T63" fmla="*/ 86 h 108"/>
                <a:gd name="T64" fmla="*/ 82 w 172"/>
                <a:gd name="T65" fmla="*/ 87 h 108"/>
                <a:gd name="T66" fmla="*/ 80 w 172"/>
                <a:gd name="T67" fmla="*/ 86 h 108"/>
                <a:gd name="T68" fmla="*/ 74 w 172"/>
                <a:gd name="T69" fmla="*/ 78 h 108"/>
                <a:gd name="T70" fmla="*/ 67 w 172"/>
                <a:gd name="T71" fmla="*/ 78 h 108"/>
                <a:gd name="T72" fmla="*/ 59 w 172"/>
                <a:gd name="T73" fmla="*/ 86 h 108"/>
                <a:gd name="T74" fmla="*/ 59 w 172"/>
                <a:gd name="T75" fmla="*/ 96 h 108"/>
                <a:gd name="T76" fmla="*/ 58 w 172"/>
                <a:gd name="T77" fmla="*/ 96 h 108"/>
                <a:gd name="T78" fmla="*/ 56 w 172"/>
                <a:gd name="T79" fmla="*/ 98 h 108"/>
                <a:gd name="T80" fmla="*/ 46 w 172"/>
                <a:gd name="T81" fmla="*/ 101 h 108"/>
                <a:gd name="T82" fmla="*/ 37 w 172"/>
                <a:gd name="T83" fmla="*/ 98 h 108"/>
                <a:gd name="T84" fmla="*/ 34 w 172"/>
                <a:gd name="T85" fmla="*/ 99 h 108"/>
                <a:gd name="T86" fmla="*/ 22 w 172"/>
                <a:gd name="T87" fmla="*/ 108 h 108"/>
                <a:gd name="T88" fmla="*/ 21 w 172"/>
                <a:gd name="T89" fmla="*/ 108 h 108"/>
                <a:gd name="T90" fmla="*/ 12 w 172"/>
                <a:gd name="T91" fmla="*/ 101 h 108"/>
                <a:gd name="T92" fmla="*/ 2 w 172"/>
                <a:gd name="T93" fmla="*/ 83 h 108"/>
                <a:gd name="T94" fmla="*/ 0 w 172"/>
                <a:gd name="T95" fmla="*/ 68 h 108"/>
                <a:gd name="T96" fmla="*/ 12 w 172"/>
                <a:gd name="T97" fmla="*/ 47 h 108"/>
                <a:gd name="T98" fmla="*/ 21 w 172"/>
                <a:gd name="T99" fmla="*/ 47 h 108"/>
                <a:gd name="T100" fmla="*/ 28 w 172"/>
                <a:gd name="T101" fmla="*/ 41 h 108"/>
                <a:gd name="T102" fmla="*/ 33 w 172"/>
                <a:gd name="T103" fmla="*/ 46 h 108"/>
                <a:gd name="T104" fmla="*/ 43 w 172"/>
                <a:gd name="T105" fmla="*/ 40 h 108"/>
                <a:gd name="T106" fmla="*/ 55 w 172"/>
                <a:gd name="T107" fmla="*/ 38 h 108"/>
                <a:gd name="T108" fmla="*/ 61 w 172"/>
                <a:gd name="T109" fmla="*/ 32 h 108"/>
                <a:gd name="T110" fmla="*/ 59 w 172"/>
                <a:gd name="T111" fmla="*/ 28 h 108"/>
                <a:gd name="T112" fmla="*/ 61 w 172"/>
                <a:gd name="T113" fmla="*/ 28 h 108"/>
                <a:gd name="T114" fmla="*/ 79 w 172"/>
                <a:gd name="T115" fmla="*/ 25 h 108"/>
                <a:gd name="T116" fmla="*/ 95 w 172"/>
                <a:gd name="T117" fmla="*/ 10 h 108"/>
                <a:gd name="T118" fmla="*/ 98 w 172"/>
                <a:gd name="T119" fmla="*/ 3 h 108"/>
                <a:gd name="T120" fmla="*/ 98 w 172"/>
                <a:gd name="T121" fmla="*/ 1 h 108"/>
                <a:gd name="T122" fmla="*/ 101 w 172"/>
                <a:gd name="T123" fmla="*/ 1 h 108"/>
                <a:gd name="T124" fmla="*/ 105 w 172"/>
                <a:gd name="T12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08">
                  <a:moveTo>
                    <a:pt x="105" y="0"/>
                  </a:moveTo>
                  <a:lnTo>
                    <a:pt x="108" y="0"/>
                  </a:lnTo>
                  <a:lnTo>
                    <a:pt x="108" y="1"/>
                  </a:lnTo>
                  <a:lnTo>
                    <a:pt x="120" y="13"/>
                  </a:lnTo>
                  <a:lnTo>
                    <a:pt x="120" y="28"/>
                  </a:lnTo>
                  <a:lnTo>
                    <a:pt x="128" y="31"/>
                  </a:lnTo>
                  <a:lnTo>
                    <a:pt x="128" y="32"/>
                  </a:lnTo>
                  <a:lnTo>
                    <a:pt x="129" y="35"/>
                  </a:lnTo>
                  <a:lnTo>
                    <a:pt x="141" y="38"/>
                  </a:lnTo>
                  <a:lnTo>
                    <a:pt x="141" y="40"/>
                  </a:lnTo>
                  <a:lnTo>
                    <a:pt x="142" y="46"/>
                  </a:lnTo>
                  <a:lnTo>
                    <a:pt x="156" y="55"/>
                  </a:lnTo>
                  <a:lnTo>
                    <a:pt x="160" y="65"/>
                  </a:lnTo>
                  <a:lnTo>
                    <a:pt x="169" y="71"/>
                  </a:lnTo>
                  <a:lnTo>
                    <a:pt x="172" y="77"/>
                  </a:lnTo>
                  <a:lnTo>
                    <a:pt x="172" y="78"/>
                  </a:lnTo>
                  <a:lnTo>
                    <a:pt x="166" y="78"/>
                  </a:lnTo>
                  <a:lnTo>
                    <a:pt x="163" y="80"/>
                  </a:lnTo>
                  <a:lnTo>
                    <a:pt x="162" y="80"/>
                  </a:lnTo>
                  <a:lnTo>
                    <a:pt x="160" y="78"/>
                  </a:lnTo>
                  <a:lnTo>
                    <a:pt x="159" y="80"/>
                  </a:lnTo>
                  <a:lnTo>
                    <a:pt x="156" y="77"/>
                  </a:lnTo>
                  <a:lnTo>
                    <a:pt x="142" y="78"/>
                  </a:lnTo>
                  <a:lnTo>
                    <a:pt x="141" y="80"/>
                  </a:lnTo>
                  <a:lnTo>
                    <a:pt x="136" y="81"/>
                  </a:lnTo>
                  <a:lnTo>
                    <a:pt x="135" y="81"/>
                  </a:lnTo>
                  <a:lnTo>
                    <a:pt x="133" y="80"/>
                  </a:lnTo>
                  <a:lnTo>
                    <a:pt x="117" y="84"/>
                  </a:lnTo>
                  <a:lnTo>
                    <a:pt x="111" y="83"/>
                  </a:lnTo>
                  <a:lnTo>
                    <a:pt x="105" y="89"/>
                  </a:lnTo>
                  <a:lnTo>
                    <a:pt x="93" y="89"/>
                  </a:lnTo>
                  <a:lnTo>
                    <a:pt x="85" y="86"/>
                  </a:lnTo>
                  <a:lnTo>
                    <a:pt x="82" y="87"/>
                  </a:lnTo>
                  <a:lnTo>
                    <a:pt x="80" y="86"/>
                  </a:lnTo>
                  <a:lnTo>
                    <a:pt x="74" y="78"/>
                  </a:lnTo>
                  <a:lnTo>
                    <a:pt x="67" y="78"/>
                  </a:lnTo>
                  <a:lnTo>
                    <a:pt x="59" y="86"/>
                  </a:lnTo>
                  <a:lnTo>
                    <a:pt x="59" y="96"/>
                  </a:lnTo>
                  <a:lnTo>
                    <a:pt x="58" y="96"/>
                  </a:lnTo>
                  <a:lnTo>
                    <a:pt x="56" y="98"/>
                  </a:lnTo>
                  <a:lnTo>
                    <a:pt x="46" y="101"/>
                  </a:lnTo>
                  <a:lnTo>
                    <a:pt x="37" y="98"/>
                  </a:lnTo>
                  <a:lnTo>
                    <a:pt x="34" y="99"/>
                  </a:lnTo>
                  <a:lnTo>
                    <a:pt x="22" y="108"/>
                  </a:lnTo>
                  <a:lnTo>
                    <a:pt x="21" y="108"/>
                  </a:lnTo>
                  <a:lnTo>
                    <a:pt x="12" y="101"/>
                  </a:lnTo>
                  <a:lnTo>
                    <a:pt x="2" y="83"/>
                  </a:lnTo>
                  <a:lnTo>
                    <a:pt x="0" y="68"/>
                  </a:lnTo>
                  <a:lnTo>
                    <a:pt x="12" y="47"/>
                  </a:lnTo>
                  <a:lnTo>
                    <a:pt x="21" y="47"/>
                  </a:lnTo>
                  <a:lnTo>
                    <a:pt x="28" y="41"/>
                  </a:lnTo>
                  <a:lnTo>
                    <a:pt x="33" y="46"/>
                  </a:lnTo>
                  <a:lnTo>
                    <a:pt x="43" y="40"/>
                  </a:lnTo>
                  <a:lnTo>
                    <a:pt x="55" y="38"/>
                  </a:lnTo>
                  <a:lnTo>
                    <a:pt x="61" y="32"/>
                  </a:lnTo>
                  <a:lnTo>
                    <a:pt x="59" y="28"/>
                  </a:lnTo>
                  <a:lnTo>
                    <a:pt x="61" y="28"/>
                  </a:lnTo>
                  <a:lnTo>
                    <a:pt x="79" y="25"/>
                  </a:lnTo>
                  <a:lnTo>
                    <a:pt x="95" y="10"/>
                  </a:lnTo>
                  <a:lnTo>
                    <a:pt x="98" y="3"/>
                  </a:lnTo>
                  <a:lnTo>
                    <a:pt x="98" y="1"/>
                  </a:lnTo>
                  <a:lnTo>
                    <a:pt x="101" y="1"/>
                  </a:lnTo>
                  <a:lnTo>
                    <a:pt x="10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0" name="Cameroon">
              <a:extLst>
                <a:ext uri="{FF2B5EF4-FFF2-40B4-BE49-F238E27FC236}">
                  <a16:creationId xmlns:a16="http://schemas.microsoft.com/office/drawing/2014/main" id="{4B665320-D4CC-0B9A-E6C4-82D4A0744177}"/>
                </a:ext>
              </a:extLst>
            </p:cNvPr>
            <p:cNvSpPr>
              <a:spLocks/>
            </p:cNvSpPr>
            <p:nvPr/>
          </p:nvSpPr>
          <p:spPr bwMode="auto">
            <a:xfrm>
              <a:off x="6024620" y="4283821"/>
              <a:ext cx="182514" cy="267445"/>
            </a:xfrm>
            <a:custGeom>
              <a:avLst/>
              <a:gdLst>
                <a:gd name="T0" fmla="*/ 81 w 101"/>
                <a:gd name="T1" fmla="*/ 0 h 148"/>
                <a:gd name="T2" fmla="*/ 82 w 101"/>
                <a:gd name="T3" fmla="*/ 0 h 148"/>
                <a:gd name="T4" fmla="*/ 86 w 101"/>
                <a:gd name="T5" fmla="*/ 12 h 148"/>
                <a:gd name="T6" fmla="*/ 85 w 101"/>
                <a:gd name="T7" fmla="*/ 25 h 148"/>
                <a:gd name="T8" fmla="*/ 91 w 101"/>
                <a:gd name="T9" fmla="*/ 39 h 148"/>
                <a:gd name="T10" fmla="*/ 76 w 101"/>
                <a:gd name="T11" fmla="*/ 40 h 148"/>
                <a:gd name="T12" fmla="*/ 75 w 101"/>
                <a:gd name="T13" fmla="*/ 43 h 148"/>
                <a:gd name="T14" fmla="*/ 78 w 101"/>
                <a:gd name="T15" fmla="*/ 50 h 148"/>
                <a:gd name="T16" fmla="*/ 86 w 101"/>
                <a:gd name="T17" fmla="*/ 55 h 148"/>
                <a:gd name="T18" fmla="*/ 88 w 101"/>
                <a:gd name="T19" fmla="*/ 55 h 148"/>
                <a:gd name="T20" fmla="*/ 92 w 101"/>
                <a:gd name="T21" fmla="*/ 71 h 148"/>
                <a:gd name="T22" fmla="*/ 92 w 101"/>
                <a:gd name="T23" fmla="*/ 73 h 148"/>
                <a:gd name="T24" fmla="*/ 81 w 101"/>
                <a:gd name="T25" fmla="*/ 92 h 148"/>
                <a:gd name="T26" fmla="*/ 82 w 101"/>
                <a:gd name="T27" fmla="*/ 105 h 148"/>
                <a:gd name="T28" fmla="*/ 92 w 101"/>
                <a:gd name="T29" fmla="*/ 125 h 148"/>
                <a:gd name="T30" fmla="*/ 101 w 101"/>
                <a:gd name="T31" fmla="*/ 130 h 148"/>
                <a:gd name="T32" fmla="*/ 101 w 101"/>
                <a:gd name="T33" fmla="*/ 132 h 148"/>
                <a:gd name="T34" fmla="*/ 100 w 101"/>
                <a:gd name="T35" fmla="*/ 148 h 148"/>
                <a:gd name="T36" fmla="*/ 98 w 101"/>
                <a:gd name="T37" fmla="*/ 148 h 148"/>
                <a:gd name="T38" fmla="*/ 94 w 101"/>
                <a:gd name="T39" fmla="*/ 144 h 148"/>
                <a:gd name="T40" fmla="*/ 81 w 101"/>
                <a:gd name="T41" fmla="*/ 142 h 148"/>
                <a:gd name="T42" fmla="*/ 64 w 101"/>
                <a:gd name="T43" fmla="*/ 142 h 148"/>
                <a:gd name="T44" fmla="*/ 38 w 101"/>
                <a:gd name="T45" fmla="*/ 141 h 148"/>
                <a:gd name="T46" fmla="*/ 29 w 101"/>
                <a:gd name="T47" fmla="*/ 141 h 148"/>
                <a:gd name="T48" fmla="*/ 26 w 101"/>
                <a:gd name="T49" fmla="*/ 142 h 148"/>
                <a:gd name="T50" fmla="*/ 17 w 101"/>
                <a:gd name="T51" fmla="*/ 142 h 148"/>
                <a:gd name="T52" fmla="*/ 15 w 101"/>
                <a:gd name="T53" fmla="*/ 141 h 148"/>
                <a:gd name="T54" fmla="*/ 20 w 101"/>
                <a:gd name="T55" fmla="*/ 126 h 148"/>
                <a:gd name="T56" fmla="*/ 15 w 101"/>
                <a:gd name="T57" fmla="*/ 122 h 148"/>
                <a:gd name="T58" fmla="*/ 14 w 101"/>
                <a:gd name="T59" fmla="*/ 122 h 148"/>
                <a:gd name="T60" fmla="*/ 14 w 101"/>
                <a:gd name="T61" fmla="*/ 120 h 148"/>
                <a:gd name="T62" fmla="*/ 15 w 101"/>
                <a:gd name="T63" fmla="*/ 117 h 148"/>
                <a:gd name="T64" fmla="*/ 8 w 101"/>
                <a:gd name="T65" fmla="*/ 117 h 148"/>
                <a:gd name="T66" fmla="*/ 8 w 101"/>
                <a:gd name="T67" fmla="*/ 116 h 148"/>
                <a:gd name="T68" fmla="*/ 5 w 101"/>
                <a:gd name="T69" fmla="*/ 111 h 148"/>
                <a:gd name="T70" fmla="*/ 2 w 101"/>
                <a:gd name="T71" fmla="*/ 111 h 148"/>
                <a:gd name="T72" fmla="*/ 2 w 101"/>
                <a:gd name="T73" fmla="*/ 110 h 148"/>
                <a:gd name="T74" fmla="*/ 0 w 101"/>
                <a:gd name="T75" fmla="*/ 108 h 148"/>
                <a:gd name="T76" fmla="*/ 5 w 101"/>
                <a:gd name="T77" fmla="*/ 92 h 148"/>
                <a:gd name="T78" fmla="*/ 14 w 101"/>
                <a:gd name="T79" fmla="*/ 79 h 148"/>
                <a:gd name="T80" fmla="*/ 29 w 101"/>
                <a:gd name="T81" fmla="*/ 79 h 148"/>
                <a:gd name="T82" fmla="*/ 35 w 101"/>
                <a:gd name="T83" fmla="*/ 85 h 148"/>
                <a:gd name="T84" fmla="*/ 41 w 101"/>
                <a:gd name="T85" fmla="*/ 83 h 148"/>
                <a:gd name="T86" fmla="*/ 51 w 101"/>
                <a:gd name="T87" fmla="*/ 58 h 148"/>
                <a:gd name="T88" fmla="*/ 57 w 101"/>
                <a:gd name="T89" fmla="*/ 52 h 148"/>
                <a:gd name="T90" fmla="*/ 66 w 101"/>
                <a:gd name="T91" fmla="*/ 25 h 148"/>
                <a:gd name="T92" fmla="*/ 78 w 101"/>
                <a:gd name="T93" fmla="*/ 15 h 148"/>
                <a:gd name="T94" fmla="*/ 78 w 101"/>
                <a:gd name="T95" fmla="*/ 9 h 148"/>
                <a:gd name="T96" fmla="*/ 75 w 101"/>
                <a:gd name="T97" fmla="*/ 6 h 148"/>
                <a:gd name="T98" fmla="*/ 75 w 101"/>
                <a:gd name="T99" fmla="*/ 4 h 148"/>
                <a:gd name="T100" fmla="*/ 81 w 101"/>
                <a:gd name="T10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1" h="148">
                  <a:moveTo>
                    <a:pt x="81" y="0"/>
                  </a:moveTo>
                  <a:lnTo>
                    <a:pt x="82" y="0"/>
                  </a:lnTo>
                  <a:lnTo>
                    <a:pt x="86" y="12"/>
                  </a:lnTo>
                  <a:lnTo>
                    <a:pt x="85" y="25"/>
                  </a:lnTo>
                  <a:lnTo>
                    <a:pt x="91" y="39"/>
                  </a:lnTo>
                  <a:lnTo>
                    <a:pt x="76" y="40"/>
                  </a:lnTo>
                  <a:lnTo>
                    <a:pt x="75" y="43"/>
                  </a:lnTo>
                  <a:lnTo>
                    <a:pt x="78" y="50"/>
                  </a:lnTo>
                  <a:lnTo>
                    <a:pt x="86" y="55"/>
                  </a:lnTo>
                  <a:lnTo>
                    <a:pt x="88" y="55"/>
                  </a:lnTo>
                  <a:lnTo>
                    <a:pt x="92" y="71"/>
                  </a:lnTo>
                  <a:lnTo>
                    <a:pt x="92" y="73"/>
                  </a:lnTo>
                  <a:lnTo>
                    <a:pt x="81" y="92"/>
                  </a:lnTo>
                  <a:lnTo>
                    <a:pt x="82" y="105"/>
                  </a:lnTo>
                  <a:lnTo>
                    <a:pt x="92" y="125"/>
                  </a:lnTo>
                  <a:lnTo>
                    <a:pt x="101" y="130"/>
                  </a:lnTo>
                  <a:lnTo>
                    <a:pt x="101" y="132"/>
                  </a:lnTo>
                  <a:lnTo>
                    <a:pt x="100" y="148"/>
                  </a:lnTo>
                  <a:lnTo>
                    <a:pt x="98" y="148"/>
                  </a:lnTo>
                  <a:lnTo>
                    <a:pt x="94" y="144"/>
                  </a:lnTo>
                  <a:lnTo>
                    <a:pt x="81" y="142"/>
                  </a:lnTo>
                  <a:lnTo>
                    <a:pt x="64" y="142"/>
                  </a:lnTo>
                  <a:lnTo>
                    <a:pt x="38" y="141"/>
                  </a:lnTo>
                  <a:lnTo>
                    <a:pt x="29" y="141"/>
                  </a:lnTo>
                  <a:lnTo>
                    <a:pt x="26" y="142"/>
                  </a:lnTo>
                  <a:lnTo>
                    <a:pt x="17" y="142"/>
                  </a:lnTo>
                  <a:lnTo>
                    <a:pt x="15" y="141"/>
                  </a:lnTo>
                  <a:lnTo>
                    <a:pt x="20" y="126"/>
                  </a:lnTo>
                  <a:lnTo>
                    <a:pt x="15" y="122"/>
                  </a:lnTo>
                  <a:lnTo>
                    <a:pt x="14" y="122"/>
                  </a:lnTo>
                  <a:lnTo>
                    <a:pt x="14" y="120"/>
                  </a:lnTo>
                  <a:lnTo>
                    <a:pt x="15" y="117"/>
                  </a:lnTo>
                  <a:lnTo>
                    <a:pt x="8" y="117"/>
                  </a:lnTo>
                  <a:lnTo>
                    <a:pt x="8" y="116"/>
                  </a:lnTo>
                  <a:lnTo>
                    <a:pt x="5" y="111"/>
                  </a:lnTo>
                  <a:lnTo>
                    <a:pt x="2" y="111"/>
                  </a:lnTo>
                  <a:lnTo>
                    <a:pt x="2" y="110"/>
                  </a:lnTo>
                  <a:lnTo>
                    <a:pt x="0" y="108"/>
                  </a:lnTo>
                  <a:lnTo>
                    <a:pt x="5" y="92"/>
                  </a:lnTo>
                  <a:lnTo>
                    <a:pt x="14" y="79"/>
                  </a:lnTo>
                  <a:lnTo>
                    <a:pt x="29" y="79"/>
                  </a:lnTo>
                  <a:lnTo>
                    <a:pt x="35" y="85"/>
                  </a:lnTo>
                  <a:lnTo>
                    <a:pt x="41" y="83"/>
                  </a:lnTo>
                  <a:lnTo>
                    <a:pt x="51" y="58"/>
                  </a:lnTo>
                  <a:lnTo>
                    <a:pt x="57" y="52"/>
                  </a:lnTo>
                  <a:lnTo>
                    <a:pt x="66" y="25"/>
                  </a:lnTo>
                  <a:lnTo>
                    <a:pt x="78" y="15"/>
                  </a:lnTo>
                  <a:lnTo>
                    <a:pt x="78" y="9"/>
                  </a:lnTo>
                  <a:lnTo>
                    <a:pt x="75" y="6"/>
                  </a:lnTo>
                  <a:lnTo>
                    <a:pt x="75" y="4"/>
                  </a:lnTo>
                  <a:lnTo>
                    <a:pt x="8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1" name="Cabinda (Province)">
              <a:extLst>
                <a:ext uri="{FF2B5EF4-FFF2-40B4-BE49-F238E27FC236}">
                  <a16:creationId xmlns:a16="http://schemas.microsoft.com/office/drawing/2014/main" id="{DB636C2F-27EF-0E38-A63C-B1C5647216ED}"/>
                </a:ext>
              </a:extLst>
            </p:cNvPr>
            <p:cNvSpPr>
              <a:spLocks/>
            </p:cNvSpPr>
            <p:nvPr/>
          </p:nvSpPr>
          <p:spPr bwMode="auto">
            <a:xfrm>
              <a:off x="6107746" y="4690410"/>
              <a:ext cx="27107" cy="37948"/>
            </a:xfrm>
            <a:custGeom>
              <a:avLst/>
              <a:gdLst>
                <a:gd name="T0" fmla="*/ 9 w 15"/>
                <a:gd name="T1" fmla="*/ 0 h 21"/>
                <a:gd name="T2" fmla="*/ 11 w 15"/>
                <a:gd name="T3" fmla="*/ 0 h 21"/>
                <a:gd name="T4" fmla="*/ 15 w 15"/>
                <a:gd name="T5" fmla="*/ 3 h 21"/>
                <a:gd name="T6" fmla="*/ 15 w 15"/>
                <a:gd name="T7" fmla="*/ 5 h 21"/>
                <a:gd name="T8" fmla="*/ 9 w 15"/>
                <a:gd name="T9" fmla="*/ 9 h 21"/>
                <a:gd name="T10" fmla="*/ 8 w 15"/>
                <a:gd name="T11" fmla="*/ 20 h 21"/>
                <a:gd name="T12" fmla="*/ 6 w 15"/>
                <a:gd name="T13" fmla="*/ 21 h 21"/>
                <a:gd name="T14" fmla="*/ 5 w 15"/>
                <a:gd name="T15" fmla="*/ 21 h 21"/>
                <a:gd name="T16" fmla="*/ 5 w 15"/>
                <a:gd name="T17" fmla="*/ 20 h 21"/>
                <a:gd name="T18" fmla="*/ 0 w 15"/>
                <a:gd name="T19" fmla="*/ 9 h 21"/>
                <a:gd name="T20" fmla="*/ 9 w 15"/>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1">
                  <a:moveTo>
                    <a:pt x="9" y="0"/>
                  </a:moveTo>
                  <a:lnTo>
                    <a:pt x="11" y="0"/>
                  </a:lnTo>
                  <a:lnTo>
                    <a:pt x="15" y="3"/>
                  </a:lnTo>
                  <a:lnTo>
                    <a:pt x="15" y="5"/>
                  </a:lnTo>
                  <a:lnTo>
                    <a:pt x="9" y="9"/>
                  </a:lnTo>
                  <a:lnTo>
                    <a:pt x="8" y="20"/>
                  </a:lnTo>
                  <a:lnTo>
                    <a:pt x="6" y="21"/>
                  </a:lnTo>
                  <a:lnTo>
                    <a:pt x="5" y="21"/>
                  </a:lnTo>
                  <a:lnTo>
                    <a:pt x="5" y="20"/>
                  </a:lnTo>
                  <a:lnTo>
                    <a:pt x="0" y="9"/>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2" name="Botswana">
              <a:extLst>
                <a:ext uri="{FF2B5EF4-FFF2-40B4-BE49-F238E27FC236}">
                  <a16:creationId xmlns:a16="http://schemas.microsoft.com/office/drawing/2014/main" id="{52CDE96D-1DFB-FBD2-D656-2D883D532CEF}"/>
                </a:ext>
              </a:extLst>
            </p:cNvPr>
            <p:cNvSpPr>
              <a:spLocks/>
            </p:cNvSpPr>
            <p:nvPr/>
          </p:nvSpPr>
          <p:spPr bwMode="auto">
            <a:xfrm>
              <a:off x="6295680" y="5010260"/>
              <a:ext cx="225883" cy="233112"/>
            </a:xfrm>
            <a:custGeom>
              <a:avLst/>
              <a:gdLst>
                <a:gd name="T0" fmla="*/ 64 w 125"/>
                <a:gd name="T1" fmla="*/ 0 h 129"/>
                <a:gd name="T2" fmla="*/ 70 w 125"/>
                <a:gd name="T3" fmla="*/ 0 h 129"/>
                <a:gd name="T4" fmla="*/ 70 w 125"/>
                <a:gd name="T5" fmla="*/ 1 h 129"/>
                <a:gd name="T6" fmla="*/ 82 w 125"/>
                <a:gd name="T7" fmla="*/ 22 h 129"/>
                <a:gd name="T8" fmla="*/ 104 w 125"/>
                <a:gd name="T9" fmla="*/ 40 h 129"/>
                <a:gd name="T10" fmla="*/ 105 w 125"/>
                <a:gd name="T11" fmla="*/ 52 h 129"/>
                <a:gd name="T12" fmla="*/ 123 w 125"/>
                <a:gd name="T13" fmla="*/ 61 h 129"/>
                <a:gd name="T14" fmla="*/ 125 w 125"/>
                <a:gd name="T15" fmla="*/ 61 h 129"/>
                <a:gd name="T16" fmla="*/ 123 w 125"/>
                <a:gd name="T17" fmla="*/ 62 h 129"/>
                <a:gd name="T18" fmla="*/ 100 w 125"/>
                <a:gd name="T19" fmla="*/ 77 h 129"/>
                <a:gd name="T20" fmla="*/ 79 w 125"/>
                <a:gd name="T21" fmla="*/ 99 h 129"/>
                <a:gd name="T22" fmla="*/ 74 w 125"/>
                <a:gd name="T23" fmla="*/ 110 h 129"/>
                <a:gd name="T24" fmla="*/ 74 w 125"/>
                <a:gd name="T25" fmla="*/ 111 h 129"/>
                <a:gd name="T26" fmla="*/ 64 w 125"/>
                <a:gd name="T27" fmla="*/ 112 h 129"/>
                <a:gd name="T28" fmla="*/ 51 w 125"/>
                <a:gd name="T29" fmla="*/ 108 h 129"/>
                <a:gd name="T30" fmla="*/ 45 w 125"/>
                <a:gd name="T31" fmla="*/ 108 h 129"/>
                <a:gd name="T32" fmla="*/ 31 w 125"/>
                <a:gd name="T33" fmla="*/ 126 h 129"/>
                <a:gd name="T34" fmla="*/ 21 w 125"/>
                <a:gd name="T35" fmla="*/ 129 h 129"/>
                <a:gd name="T36" fmla="*/ 11 w 125"/>
                <a:gd name="T37" fmla="*/ 127 h 129"/>
                <a:gd name="T38" fmla="*/ 11 w 125"/>
                <a:gd name="T39" fmla="*/ 111 h 129"/>
                <a:gd name="T40" fmla="*/ 0 w 125"/>
                <a:gd name="T41" fmla="*/ 98 h 129"/>
                <a:gd name="T42" fmla="*/ 0 w 125"/>
                <a:gd name="T43" fmla="*/ 58 h 129"/>
                <a:gd name="T44" fmla="*/ 12 w 125"/>
                <a:gd name="T45" fmla="*/ 58 h 129"/>
                <a:gd name="T46" fmla="*/ 12 w 125"/>
                <a:gd name="T47" fmla="*/ 10 h 129"/>
                <a:gd name="T48" fmla="*/ 14 w 125"/>
                <a:gd name="T49" fmla="*/ 10 h 129"/>
                <a:gd name="T50" fmla="*/ 39 w 125"/>
                <a:gd name="T51" fmla="*/ 4 h 129"/>
                <a:gd name="T52" fmla="*/ 45 w 125"/>
                <a:gd name="T53" fmla="*/ 6 h 129"/>
                <a:gd name="T54" fmla="*/ 46 w 125"/>
                <a:gd name="T55" fmla="*/ 6 h 129"/>
                <a:gd name="T56" fmla="*/ 48 w 125"/>
                <a:gd name="T57" fmla="*/ 12 h 129"/>
                <a:gd name="T58" fmla="*/ 55 w 125"/>
                <a:gd name="T59" fmla="*/ 4 h 129"/>
                <a:gd name="T60" fmla="*/ 64 w 125"/>
                <a:gd name="T6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 h="129">
                  <a:moveTo>
                    <a:pt x="64" y="0"/>
                  </a:moveTo>
                  <a:lnTo>
                    <a:pt x="70" y="0"/>
                  </a:lnTo>
                  <a:lnTo>
                    <a:pt x="70" y="1"/>
                  </a:lnTo>
                  <a:lnTo>
                    <a:pt x="82" y="22"/>
                  </a:lnTo>
                  <a:lnTo>
                    <a:pt x="104" y="40"/>
                  </a:lnTo>
                  <a:lnTo>
                    <a:pt x="105" y="52"/>
                  </a:lnTo>
                  <a:lnTo>
                    <a:pt x="123" y="61"/>
                  </a:lnTo>
                  <a:lnTo>
                    <a:pt x="125" y="61"/>
                  </a:lnTo>
                  <a:lnTo>
                    <a:pt x="123" y="62"/>
                  </a:lnTo>
                  <a:lnTo>
                    <a:pt x="100" y="77"/>
                  </a:lnTo>
                  <a:lnTo>
                    <a:pt x="79" y="99"/>
                  </a:lnTo>
                  <a:lnTo>
                    <a:pt x="74" y="110"/>
                  </a:lnTo>
                  <a:lnTo>
                    <a:pt x="74" y="111"/>
                  </a:lnTo>
                  <a:lnTo>
                    <a:pt x="64" y="112"/>
                  </a:lnTo>
                  <a:lnTo>
                    <a:pt x="51" y="108"/>
                  </a:lnTo>
                  <a:lnTo>
                    <a:pt x="45" y="108"/>
                  </a:lnTo>
                  <a:lnTo>
                    <a:pt x="31" y="126"/>
                  </a:lnTo>
                  <a:lnTo>
                    <a:pt x="21" y="129"/>
                  </a:lnTo>
                  <a:lnTo>
                    <a:pt x="11" y="127"/>
                  </a:lnTo>
                  <a:lnTo>
                    <a:pt x="11" y="111"/>
                  </a:lnTo>
                  <a:lnTo>
                    <a:pt x="0" y="98"/>
                  </a:lnTo>
                  <a:lnTo>
                    <a:pt x="0" y="58"/>
                  </a:lnTo>
                  <a:lnTo>
                    <a:pt x="12" y="58"/>
                  </a:lnTo>
                  <a:lnTo>
                    <a:pt x="12" y="10"/>
                  </a:lnTo>
                  <a:lnTo>
                    <a:pt x="14" y="10"/>
                  </a:lnTo>
                  <a:lnTo>
                    <a:pt x="39" y="4"/>
                  </a:lnTo>
                  <a:lnTo>
                    <a:pt x="45" y="6"/>
                  </a:lnTo>
                  <a:lnTo>
                    <a:pt x="46" y="6"/>
                  </a:lnTo>
                  <a:lnTo>
                    <a:pt x="48" y="12"/>
                  </a:lnTo>
                  <a:lnTo>
                    <a:pt x="55" y="4"/>
                  </a:lnTo>
                  <a:lnTo>
                    <a:pt x="6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3" name="Burundi">
              <a:extLst>
                <a:ext uri="{FF2B5EF4-FFF2-40B4-BE49-F238E27FC236}">
                  <a16:creationId xmlns:a16="http://schemas.microsoft.com/office/drawing/2014/main" id="{15FC249F-7FB6-C9D4-2D1E-961792BB85FC}"/>
                </a:ext>
              </a:extLst>
            </p:cNvPr>
            <p:cNvSpPr>
              <a:spLocks/>
            </p:cNvSpPr>
            <p:nvPr/>
          </p:nvSpPr>
          <p:spPr bwMode="auto">
            <a:xfrm>
              <a:off x="6516141" y="4643426"/>
              <a:ext cx="39755" cy="50598"/>
            </a:xfrm>
            <a:custGeom>
              <a:avLst/>
              <a:gdLst>
                <a:gd name="T0" fmla="*/ 10 w 22"/>
                <a:gd name="T1" fmla="*/ 0 h 28"/>
                <a:gd name="T2" fmla="*/ 20 w 22"/>
                <a:gd name="T3" fmla="*/ 0 h 28"/>
                <a:gd name="T4" fmla="*/ 20 w 22"/>
                <a:gd name="T5" fmla="*/ 1 h 28"/>
                <a:gd name="T6" fmla="*/ 19 w 22"/>
                <a:gd name="T7" fmla="*/ 4 h 28"/>
                <a:gd name="T8" fmla="*/ 22 w 22"/>
                <a:gd name="T9" fmla="*/ 12 h 28"/>
                <a:gd name="T10" fmla="*/ 15 w 22"/>
                <a:gd name="T11" fmla="*/ 25 h 28"/>
                <a:gd name="T12" fmla="*/ 13 w 22"/>
                <a:gd name="T13" fmla="*/ 25 h 28"/>
                <a:gd name="T14" fmla="*/ 7 w 22"/>
                <a:gd name="T15" fmla="*/ 28 h 28"/>
                <a:gd name="T16" fmla="*/ 6 w 22"/>
                <a:gd name="T17" fmla="*/ 28 h 28"/>
                <a:gd name="T18" fmla="*/ 6 w 22"/>
                <a:gd name="T19" fmla="*/ 26 h 28"/>
                <a:gd name="T20" fmla="*/ 1 w 22"/>
                <a:gd name="T21" fmla="*/ 13 h 28"/>
                <a:gd name="T22" fmla="*/ 0 w 22"/>
                <a:gd name="T23" fmla="*/ 6 h 28"/>
                <a:gd name="T24" fmla="*/ 1 w 22"/>
                <a:gd name="T25" fmla="*/ 1 h 28"/>
                <a:gd name="T26" fmla="*/ 6 w 22"/>
                <a:gd name="T27" fmla="*/ 4 h 28"/>
                <a:gd name="T28" fmla="*/ 9 w 22"/>
                <a:gd name="T29" fmla="*/ 4 h 28"/>
                <a:gd name="T30" fmla="*/ 10 w 22"/>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8">
                  <a:moveTo>
                    <a:pt x="10" y="0"/>
                  </a:moveTo>
                  <a:lnTo>
                    <a:pt x="20" y="0"/>
                  </a:lnTo>
                  <a:lnTo>
                    <a:pt x="20" y="1"/>
                  </a:lnTo>
                  <a:lnTo>
                    <a:pt x="19" y="4"/>
                  </a:lnTo>
                  <a:lnTo>
                    <a:pt x="22" y="12"/>
                  </a:lnTo>
                  <a:lnTo>
                    <a:pt x="15" y="25"/>
                  </a:lnTo>
                  <a:lnTo>
                    <a:pt x="13" y="25"/>
                  </a:lnTo>
                  <a:lnTo>
                    <a:pt x="7" y="28"/>
                  </a:lnTo>
                  <a:lnTo>
                    <a:pt x="6" y="28"/>
                  </a:lnTo>
                  <a:lnTo>
                    <a:pt x="6" y="26"/>
                  </a:lnTo>
                  <a:lnTo>
                    <a:pt x="1" y="13"/>
                  </a:lnTo>
                  <a:lnTo>
                    <a:pt x="0" y="6"/>
                  </a:lnTo>
                  <a:lnTo>
                    <a:pt x="1" y="1"/>
                  </a:lnTo>
                  <a:lnTo>
                    <a:pt x="6" y="4"/>
                  </a:lnTo>
                  <a:lnTo>
                    <a:pt x="9" y="4"/>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4" name="Burkina Faso">
              <a:extLst>
                <a:ext uri="{FF2B5EF4-FFF2-40B4-BE49-F238E27FC236}">
                  <a16:creationId xmlns:a16="http://schemas.microsoft.com/office/drawing/2014/main" id="{C31969AD-794B-0DE5-E45E-DBA66DB7F735}"/>
                </a:ext>
              </a:extLst>
            </p:cNvPr>
            <p:cNvSpPr>
              <a:spLocks/>
            </p:cNvSpPr>
            <p:nvPr/>
          </p:nvSpPr>
          <p:spPr bwMode="auto">
            <a:xfrm>
              <a:off x="5704771" y="4233223"/>
              <a:ext cx="178900" cy="133723"/>
            </a:xfrm>
            <a:custGeom>
              <a:avLst/>
              <a:gdLst>
                <a:gd name="T0" fmla="*/ 66 w 99"/>
                <a:gd name="T1" fmla="*/ 0 h 74"/>
                <a:gd name="T2" fmla="*/ 71 w 99"/>
                <a:gd name="T3" fmla="*/ 0 h 74"/>
                <a:gd name="T4" fmla="*/ 69 w 99"/>
                <a:gd name="T5" fmla="*/ 6 h 74"/>
                <a:gd name="T6" fmla="*/ 74 w 99"/>
                <a:gd name="T7" fmla="*/ 13 h 74"/>
                <a:gd name="T8" fmla="*/ 86 w 99"/>
                <a:gd name="T9" fmla="*/ 30 h 74"/>
                <a:gd name="T10" fmla="*/ 96 w 99"/>
                <a:gd name="T11" fmla="*/ 30 h 74"/>
                <a:gd name="T12" fmla="*/ 97 w 99"/>
                <a:gd name="T13" fmla="*/ 34 h 74"/>
                <a:gd name="T14" fmla="*/ 96 w 99"/>
                <a:gd name="T15" fmla="*/ 37 h 74"/>
                <a:gd name="T16" fmla="*/ 99 w 99"/>
                <a:gd name="T17" fmla="*/ 40 h 74"/>
                <a:gd name="T18" fmla="*/ 99 w 99"/>
                <a:gd name="T19" fmla="*/ 41 h 74"/>
                <a:gd name="T20" fmla="*/ 94 w 99"/>
                <a:gd name="T21" fmla="*/ 47 h 74"/>
                <a:gd name="T22" fmla="*/ 87 w 99"/>
                <a:gd name="T23" fmla="*/ 47 h 74"/>
                <a:gd name="T24" fmla="*/ 80 w 99"/>
                <a:gd name="T25" fmla="*/ 53 h 74"/>
                <a:gd name="T26" fmla="*/ 74 w 99"/>
                <a:gd name="T27" fmla="*/ 55 h 74"/>
                <a:gd name="T28" fmla="*/ 65 w 99"/>
                <a:gd name="T29" fmla="*/ 52 h 74"/>
                <a:gd name="T30" fmla="*/ 57 w 99"/>
                <a:gd name="T31" fmla="*/ 55 h 74"/>
                <a:gd name="T32" fmla="*/ 31 w 99"/>
                <a:gd name="T33" fmla="*/ 53 h 74"/>
                <a:gd name="T34" fmla="*/ 31 w 99"/>
                <a:gd name="T35" fmla="*/ 58 h 74"/>
                <a:gd name="T36" fmla="*/ 34 w 99"/>
                <a:gd name="T37" fmla="*/ 73 h 74"/>
                <a:gd name="T38" fmla="*/ 34 w 99"/>
                <a:gd name="T39" fmla="*/ 74 h 74"/>
                <a:gd name="T40" fmla="*/ 29 w 99"/>
                <a:gd name="T41" fmla="*/ 74 h 74"/>
                <a:gd name="T42" fmla="*/ 26 w 99"/>
                <a:gd name="T43" fmla="*/ 68 h 74"/>
                <a:gd name="T44" fmla="*/ 20 w 99"/>
                <a:gd name="T45" fmla="*/ 67 h 74"/>
                <a:gd name="T46" fmla="*/ 11 w 99"/>
                <a:gd name="T47" fmla="*/ 71 h 74"/>
                <a:gd name="T48" fmla="*/ 6 w 99"/>
                <a:gd name="T49" fmla="*/ 71 h 74"/>
                <a:gd name="T50" fmla="*/ 0 w 99"/>
                <a:gd name="T51" fmla="*/ 62 h 74"/>
                <a:gd name="T52" fmla="*/ 3 w 99"/>
                <a:gd name="T53" fmla="*/ 46 h 74"/>
                <a:gd name="T54" fmla="*/ 11 w 99"/>
                <a:gd name="T55" fmla="*/ 35 h 74"/>
                <a:gd name="T56" fmla="*/ 17 w 99"/>
                <a:gd name="T57" fmla="*/ 24 h 74"/>
                <a:gd name="T58" fmla="*/ 35 w 99"/>
                <a:gd name="T59" fmla="*/ 18 h 74"/>
                <a:gd name="T60" fmla="*/ 56 w 99"/>
                <a:gd name="T61" fmla="*/ 1 h 74"/>
                <a:gd name="T62" fmla="*/ 62 w 99"/>
                <a:gd name="T63" fmla="*/ 1 h 74"/>
                <a:gd name="T64" fmla="*/ 66 w 99"/>
                <a:gd name="T6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74">
                  <a:moveTo>
                    <a:pt x="66" y="0"/>
                  </a:moveTo>
                  <a:lnTo>
                    <a:pt x="71" y="0"/>
                  </a:lnTo>
                  <a:lnTo>
                    <a:pt x="69" y="6"/>
                  </a:lnTo>
                  <a:lnTo>
                    <a:pt x="74" y="13"/>
                  </a:lnTo>
                  <a:lnTo>
                    <a:pt x="86" y="30"/>
                  </a:lnTo>
                  <a:lnTo>
                    <a:pt x="96" y="30"/>
                  </a:lnTo>
                  <a:lnTo>
                    <a:pt x="97" y="34"/>
                  </a:lnTo>
                  <a:lnTo>
                    <a:pt x="96" y="37"/>
                  </a:lnTo>
                  <a:lnTo>
                    <a:pt x="99" y="40"/>
                  </a:lnTo>
                  <a:lnTo>
                    <a:pt x="99" y="41"/>
                  </a:lnTo>
                  <a:lnTo>
                    <a:pt x="94" y="47"/>
                  </a:lnTo>
                  <a:lnTo>
                    <a:pt x="87" y="47"/>
                  </a:lnTo>
                  <a:lnTo>
                    <a:pt x="80" y="53"/>
                  </a:lnTo>
                  <a:lnTo>
                    <a:pt x="74" y="55"/>
                  </a:lnTo>
                  <a:lnTo>
                    <a:pt x="65" y="52"/>
                  </a:lnTo>
                  <a:lnTo>
                    <a:pt x="57" y="55"/>
                  </a:lnTo>
                  <a:lnTo>
                    <a:pt x="31" y="53"/>
                  </a:lnTo>
                  <a:lnTo>
                    <a:pt x="31" y="58"/>
                  </a:lnTo>
                  <a:lnTo>
                    <a:pt x="34" y="73"/>
                  </a:lnTo>
                  <a:lnTo>
                    <a:pt x="34" y="74"/>
                  </a:lnTo>
                  <a:lnTo>
                    <a:pt x="29" y="74"/>
                  </a:lnTo>
                  <a:lnTo>
                    <a:pt x="26" y="68"/>
                  </a:lnTo>
                  <a:lnTo>
                    <a:pt x="20" y="67"/>
                  </a:lnTo>
                  <a:lnTo>
                    <a:pt x="11" y="71"/>
                  </a:lnTo>
                  <a:lnTo>
                    <a:pt x="6" y="71"/>
                  </a:lnTo>
                  <a:lnTo>
                    <a:pt x="0" y="62"/>
                  </a:lnTo>
                  <a:lnTo>
                    <a:pt x="3" y="46"/>
                  </a:lnTo>
                  <a:lnTo>
                    <a:pt x="11" y="35"/>
                  </a:lnTo>
                  <a:lnTo>
                    <a:pt x="17" y="24"/>
                  </a:lnTo>
                  <a:lnTo>
                    <a:pt x="35" y="18"/>
                  </a:lnTo>
                  <a:lnTo>
                    <a:pt x="56" y="1"/>
                  </a:lnTo>
                  <a:lnTo>
                    <a:pt x="62" y="1"/>
                  </a:lnTo>
                  <a:lnTo>
                    <a:pt x="6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5" name="Benin">
              <a:extLst>
                <a:ext uri="{FF2B5EF4-FFF2-40B4-BE49-F238E27FC236}">
                  <a16:creationId xmlns:a16="http://schemas.microsoft.com/office/drawing/2014/main" id="{0B23B221-8AF2-5204-92CA-346144A04F78}"/>
                </a:ext>
              </a:extLst>
            </p:cNvPr>
            <p:cNvSpPr>
              <a:spLocks/>
            </p:cNvSpPr>
            <p:nvPr/>
          </p:nvSpPr>
          <p:spPr bwMode="auto">
            <a:xfrm>
              <a:off x="5845723" y="4294663"/>
              <a:ext cx="70476" cy="149986"/>
            </a:xfrm>
            <a:custGeom>
              <a:avLst/>
              <a:gdLst>
                <a:gd name="T0" fmla="*/ 27 w 39"/>
                <a:gd name="T1" fmla="*/ 0 h 83"/>
                <a:gd name="T2" fmla="*/ 37 w 39"/>
                <a:gd name="T3" fmla="*/ 9 h 83"/>
                <a:gd name="T4" fmla="*/ 37 w 39"/>
                <a:gd name="T5" fmla="*/ 10 h 83"/>
                <a:gd name="T6" fmla="*/ 36 w 39"/>
                <a:gd name="T7" fmla="*/ 13 h 83"/>
                <a:gd name="T8" fmla="*/ 39 w 39"/>
                <a:gd name="T9" fmla="*/ 18 h 83"/>
                <a:gd name="T10" fmla="*/ 39 w 39"/>
                <a:gd name="T11" fmla="*/ 27 h 83"/>
                <a:gd name="T12" fmla="*/ 37 w 39"/>
                <a:gd name="T13" fmla="*/ 28 h 83"/>
                <a:gd name="T14" fmla="*/ 37 w 39"/>
                <a:gd name="T15" fmla="*/ 34 h 83"/>
                <a:gd name="T16" fmla="*/ 31 w 39"/>
                <a:gd name="T17" fmla="*/ 39 h 83"/>
                <a:gd name="T18" fmla="*/ 27 w 39"/>
                <a:gd name="T19" fmla="*/ 52 h 83"/>
                <a:gd name="T20" fmla="*/ 27 w 39"/>
                <a:gd name="T21" fmla="*/ 82 h 83"/>
                <a:gd name="T22" fmla="*/ 24 w 39"/>
                <a:gd name="T23" fmla="*/ 82 h 83"/>
                <a:gd name="T24" fmla="*/ 21 w 39"/>
                <a:gd name="T25" fmla="*/ 83 h 83"/>
                <a:gd name="T26" fmla="*/ 15 w 39"/>
                <a:gd name="T27" fmla="*/ 83 h 83"/>
                <a:gd name="T28" fmla="*/ 12 w 39"/>
                <a:gd name="T29" fmla="*/ 77 h 83"/>
                <a:gd name="T30" fmla="*/ 12 w 39"/>
                <a:gd name="T31" fmla="*/ 49 h 83"/>
                <a:gd name="T32" fmla="*/ 8 w 39"/>
                <a:gd name="T33" fmla="*/ 34 h 83"/>
                <a:gd name="T34" fmla="*/ 0 w 39"/>
                <a:gd name="T35" fmla="*/ 28 h 83"/>
                <a:gd name="T36" fmla="*/ 0 w 39"/>
                <a:gd name="T37" fmla="*/ 19 h 83"/>
                <a:gd name="T38" fmla="*/ 8 w 39"/>
                <a:gd name="T39" fmla="*/ 12 h 83"/>
                <a:gd name="T40" fmla="*/ 16 w 39"/>
                <a:gd name="T41" fmla="*/ 12 h 83"/>
                <a:gd name="T42" fmla="*/ 21 w 39"/>
                <a:gd name="T43" fmla="*/ 6 h 83"/>
                <a:gd name="T44" fmla="*/ 19 w 39"/>
                <a:gd name="T45" fmla="*/ 3 h 83"/>
                <a:gd name="T46" fmla="*/ 19 w 39"/>
                <a:gd name="T47" fmla="*/ 1 h 83"/>
                <a:gd name="T48" fmla="*/ 21 w 39"/>
                <a:gd name="T49" fmla="*/ 1 h 83"/>
                <a:gd name="T50" fmla="*/ 27 w 39"/>
                <a:gd name="T5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83">
                  <a:moveTo>
                    <a:pt x="27" y="0"/>
                  </a:moveTo>
                  <a:lnTo>
                    <a:pt x="37" y="9"/>
                  </a:lnTo>
                  <a:lnTo>
                    <a:pt x="37" y="10"/>
                  </a:lnTo>
                  <a:lnTo>
                    <a:pt x="36" y="13"/>
                  </a:lnTo>
                  <a:lnTo>
                    <a:pt x="39" y="18"/>
                  </a:lnTo>
                  <a:lnTo>
                    <a:pt x="39" y="27"/>
                  </a:lnTo>
                  <a:lnTo>
                    <a:pt x="37" y="28"/>
                  </a:lnTo>
                  <a:lnTo>
                    <a:pt x="37" y="34"/>
                  </a:lnTo>
                  <a:lnTo>
                    <a:pt x="31" y="39"/>
                  </a:lnTo>
                  <a:lnTo>
                    <a:pt x="27" y="52"/>
                  </a:lnTo>
                  <a:lnTo>
                    <a:pt x="27" y="82"/>
                  </a:lnTo>
                  <a:lnTo>
                    <a:pt x="24" y="82"/>
                  </a:lnTo>
                  <a:lnTo>
                    <a:pt x="21" y="83"/>
                  </a:lnTo>
                  <a:lnTo>
                    <a:pt x="15" y="83"/>
                  </a:lnTo>
                  <a:lnTo>
                    <a:pt x="12" y="77"/>
                  </a:lnTo>
                  <a:lnTo>
                    <a:pt x="12" y="49"/>
                  </a:lnTo>
                  <a:lnTo>
                    <a:pt x="8" y="34"/>
                  </a:lnTo>
                  <a:lnTo>
                    <a:pt x="0" y="28"/>
                  </a:lnTo>
                  <a:lnTo>
                    <a:pt x="0" y="19"/>
                  </a:lnTo>
                  <a:lnTo>
                    <a:pt x="8" y="12"/>
                  </a:lnTo>
                  <a:lnTo>
                    <a:pt x="16" y="12"/>
                  </a:lnTo>
                  <a:lnTo>
                    <a:pt x="21" y="6"/>
                  </a:lnTo>
                  <a:lnTo>
                    <a:pt x="19" y="3"/>
                  </a:lnTo>
                  <a:lnTo>
                    <a:pt x="19" y="1"/>
                  </a:lnTo>
                  <a:lnTo>
                    <a:pt x="21" y="1"/>
                  </a:lnTo>
                  <a:lnTo>
                    <a:pt x="2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6" name="Angola">
              <a:extLst>
                <a:ext uri="{FF2B5EF4-FFF2-40B4-BE49-F238E27FC236}">
                  <a16:creationId xmlns:a16="http://schemas.microsoft.com/office/drawing/2014/main" id="{2857D686-B204-2B77-F782-14E17D0C4A85}"/>
                </a:ext>
              </a:extLst>
            </p:cNvPr>
            <p:cNvSpPr>
              <a:spLocks/>
            </p:cNvSpPr>
            <p:nvPr/>
          </p:nvSpPr>
          <p:spPr bwMode="auto">
            <a:xfrm>
              <a:off x="6100517" y="4722936"/>
              <a:ext cx="298166" cy="298166"/>
            </a:xfrm>
            <a:custGeom>
              <a:avLst/>
              <a:gdLst>
                <a:gd name="T0" fmla="*/ 61 w 165"/>
                <a:gd name="T1" fmla="*/ 0 h 165"/>
                <a:gd name="T2" fmla="*/ 67 w 165"/>
                <a:gd name="T3" fmla="*/ 5 h 165"/>
                <a:gd name="T4" fmla="*/ 71 w 165"/>
                <a:gd name="T5" fmla="*/ 21 h 165"/>
                <a:gd name="T6" fmla="*/ 80 w 165"/>
                <a:gd name="T7" fmla="*/ 31 h 165"/>
                <a:gd name="T8" fmla="*/ 99 w 165"/>
                <a:gd name="T9" fmla="*/ 28 h 165"/>
                <a:gd name="T10" fmla="*/ 104 w 165"/>
                <a:gd name="T11" fmla="*/ 16 h 165"/>
                <a:gd name="T12" fmla="*/ 110 w 165"/>
                <a:gd name="T13" fmla="*/ 16 h 165"/>
                <a:gd name="T14" fmla="*/ 114 w 165"/>
                <a:gd name="T15" fmla="*/ 15 h 165"/>
                <a:gd name="T16" fmla="*/ 122 w 165"/>
                <a:gd name="T17" fmla="*/ 15 h 165"/>
                <a:gd name="T18" fmla="*/ 120 w 165"/>
                <a:gd name="T19" fmla="*/ 19 h 165"/>
                <a:gd name="T20" fmla="*/ 132 w 165"/>
                <a:gd name="T21" fmla="*/ 19 h 165"/>
                <a:gd name="T22" fmla="*/ 133 w 165"/>
                <a:gd name="T23" fmla="*/ 24 h 165"/>
                <a:gd name="T24" fmla="*/ 133 w 165"/>
                <a:gd name="T25" fmla="*/ 49 h 165"/>
                <a:gd name="T26" fmla="*/ 139 w 165"/>
                <a:gd name="T27" fmla="*/ 64 h 165"/>
                <a:gd name="T28" fmla="*/ 136 w 165"/>
                <a:gd name="T29" fmla="*/ 70 h 165"/>
                <a:gd name="T30" fmla="*/ 139 w 165"/>
                <a:gd name="T31" fmla="*/ 73 h 165"/>
                <a:gd name="T32" fmla="*/ 142 w 165"/>
                <a:gd name="T33" fmla="*/ 68 h 165"/>
                <a:gd name="T34" fmla="*/ 151 w 165"/>
                <a:gd name="T35" fmla="*/ 68 h 165"/>
                <a:gd name="T36" fmla="*/ 154 w 165"/>
                <a:gd name="T37" fmla="*/ 67 h 165"/>
                <a:gd name="T38" fmla="*/ 163 w 165"/>
                <a:gd name="T39" fmla="*/ 67 h 165"/>
                <a:gd name="T40" fmla="*/ 162 w 165"/>
                <a:gd name="T41" fmla="*/ 94 h 165"/>
                <a:gd name="T42" fmla="*/ 165 w 165"/>
                <a:gd name="T43" fmla="*/ 95 h 165"/>
                <a:gd name="T44" fmla="*/ 165 w 165"/>
                <a:gd name="T45" fmla="*/ 97 h 165"/>
                <a:gd name="T46" fmla="*/ 136 w 165"/>
                <a:gd name="T47" fmla="*/ 97 h 165"/>
                <a:gd name="T48" fmla="*/ 136 w 165"/>
                <a:gd name="T49" fmla="*/ 144 h 165"/>
                <a:gd name="T50" fmla="*/ 153 w 165"/>
                <a:gd name="T51" fmla="*/ 157 h 165"/>
                <a:gd name="T52" fmla="*/ 153 w 165"/>
                <a:gd name="T53" fmla="*/ 159 h 165"/>
                <a:gd name="T54" fmla="*/ 129 w 165"/>
                <a:gd name="T55" fmla="*/ 165 h 165"/>
                <a:gd name="T56" fmla="*/ 111 w 165"/>
                <a:gd name="T57" fmla="*/ 160 h 165"/>
                <a:gd name="T58" fmla="*/ 98 w 165"/>
                <a:gd name="T59" fmla="*/ 160 h 165"/>
                <a:gd name="T60" fmla="*/ 86 w 165"/>
                <a:gd name="T61" fmla="*/ 154 h 165"/>
                <a:gd name="T62" fmla="*/ 30 w 165"/>
                <a:gd name="T63" fmla="*/ 154 h 165"/>
                <a:gd name="T64" fmla="*/ 19 w 165"/>
                <a:gd name="T65" fmla="*/ 148 h 165"/>
                <a:gd name="T66" fmla="*/ 15 w 165"/>
                <a:gd name="T67" fmla="*/ 148 h 165"/>
                <a:gd name="T68" fmla="*/ 7 w 165"/>
                <a:gd name="T69" fmla="*/ 153 h 165"/>
                <a:gd name="T70" fmla="*/ 7 w 165"/>
                <a:gd name="T71" fmla="*/ 151 h 165"/>
                <a:gd name="T72" fmla="*/ 6 w 165"/>
                <a:gd name="T73" fmla="*/ 151 h 165"/>
                <a:gd name="T74" fmla="*/ 0 w 165"/>
                <a:gd name="T75" fmla="*/ 154 h 165"/>
                <a:gd name="T76" fmla="*/ 0 w 165"/>
                <a:gd name="T77" fmla="*/ 135 h 165"/>
                <a:gd name="T78" fmla="*/ 9 w 165"/>
                <a:gd name="T79" fmla="*/ 107 h 165"/>
                <a:gd name="T80" fmla="*/ 16 w 165"/>
                <a:gd name="T81" fmla="*/ 94 h 165"/>
                <a:gd name="T82" fmla="*/ 25 w 165"/>
                <a:gd name="T83" fmla="*/ 85 h 165"/>
                <a:gd name="T84" fmla="*/ 27 w 165"/>
                <a:gd name="T85" fmla="*/ 70 h 165"/>
                <a:gd name="T86" fmla="*/ 27 w 165"/>
                <a:gd name="T87" fmla="*/ 64 h 165"/>
                <a:gd name="T88" fmla="*/ 22 w 165"/>
                <a:gd name="T89" fmla="*/ 58 h 165"/>
                <a:gd name="T90" fmla="*/ 19 w 165"/>
                <a:gd name="T91" fmla="*/ 46 h 165"/>
                <a:gd name="T92" fmla="*/ 19 w 165"/>
                <a:gd name="T93" fmla="*/ 45 h 165"/>
                <a:gd name="T94" fmla="*/ 22 w 165"/>
                <a:gd name="T95" fmla="*/ 40 h 165"/>
                <a:gd name="T96" fmla="*/ 19 w 165"/>
                <a:gd name="T97" fmla="*/ 34 h 165"/>
                <a:gd name="T98" fmla="*/ 9 w 165"/>
                <a:gd name="T99" fmla="*/ 8 h 165"/>
                <a:gd name="T100" fmla="*/ 9 w 165"/>
                <a:gd name="T101" fmla="*/ 6 h 165"/>
                <a:gd name="T102" fmla="*/ 22 w 165"/>
                <a:gd name="T103" fmla="*/ 2 h 165"/>
                <a:gd name="T104" fmla="*/ 61 w 165"/>
                <a:gd name="T10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 h="165">
                  <a:moveTo>
                    <a:pt x="61" y="0"/>
                  </a:moveTo>
                  <a:lnTo>
                    <a:pt x="67" y="5"/>
                  </a:lnTo>
                  <a:lnTo>
                    <a:pt x="71" y="21"/>
                  </a:lnTo>
                  <a:lnTo>
                    <a:pt x="80" y="31"/>
                  </a:lnTo>
                  <a:lnTo>
                    <a:pt x="99" y="28"/>
                  </a:lnTo>
                  <a:lnTo>
                    <a:pt x="104" y="16"/>
                  </a:lnTo>
                  <a:lnTo>
                    <a:pt x="110" y="16"/>
                  </a:lnTo>
                  <a:lnTo>
                    <a:pt x="114" y="15"/>
                  </a:lnTo>
                  <a:lnTo>
                    <a:pt x="122" y="15"/>
                  </a:lnTo>
                  <a:lnTo>
                    <a:pt x="120" y="19"/>
                  </a:lnTo>
                  <a:lnTo>
                    <a:pt x="132" y="19"/>
                  </a:lnTo>
                  <a:lnTo>
                    <a:pt x="133" y="24"/>
                  </a:lnTo>
                  <a:lnTo>
                    <a:pt x="133" y="49"/>
                  </a:lnTo>
                  <a:lnTo>
                    <a:pt x="139" y="64"/>
                  </a:lnTo>
                  <a:lnTo>
                    <a:pt x="136" y="70"/>
                  </a:lnTo>
                  <a:lnTo>
                    <a:pt x="139" y="73"/>
                  </a:lnTo>
                  <a:lnTo>
                    <a:pt x="142" y="68"/>
                  </a:lnTo>
                  <a:lnTo>
                    <a:pt x="151" y="68"/>
                  </a:lnTo>
                  <a:lnTo>
                    <a:pt x="154" y="67"/>
                  </a:lnTo>
                  <a:lnTo>
                    <a:pt x="163" y="67"/>
                  </a:lnTo>
                  <a:lnTo>
                    <a:pt x="162" y="94"/>
                  </a:lnTo>
                  <a:lnTo>
                    <a:pt x="165" y="95"/>
                  </a:lnTo>
                  <a:lnTo>
                    <a:pt x="165" y="97"/>
                  </a:lnTo>
                  <a:lnTo>
                    <a:pt x="136" y="97"/>
                  </a:lnTo>
                  <a:lnTo>
                    <a:pt x="136" y="144"/>
                  </a:lnTo>
                  <a:lnTo>
                    <a:pt x="153" y="157"/>
                  </a:lnTo>
                  <a:lnTo>
                    <a:pt x="153" y="159"/>
                  </a:lnTo>
                  <a:lnTo>
                    <a:pt x="129" y="165"/>
                  </a:lnTo>
                  <a:lnTo>
                    <a:pt x="111" y="160"/>
                  </a:lnTo>
                  <a:lnTo>
                    <a:pt x="98" y="160"/>
                  </a:lnTo>
                  <a:lnTo>
                    <a:pt x="86" y="154"/>
                  </a:lnTo>
                  <a:lnTo>
                    <a:pt x="30" y="154"/>
                  </a:lnTo>
                  <a:lnTo>
                    <a:pt x="19" y="148"/>
                  </a:lnTo>
                  <a:lnTo>
                    <a:pt x="15" y="148"/>
                  </a:lnTo>
                  <a:lnTo>
                    <a:pt x="7" y="153"/>
                  </a:lnTo>
                  <a:lnTo>
                    <a:pt x="7" y="151"/>
                  </a:lnTo>
                  <a:lnTo>
                    <a:pt x="6" y="151"/>
                  </a:lnTo>
                  <a:lnTo>
                    <a:pt x="0" y="154"/>
                  </a:lnTo>
                  <a:lnTo>
                    <a:pt x="0" y="135"/>
                  </a:lnTo>
                  <a:lnTo>
                    <a:pt x="9" y="107"/>
                  </a:lnTo>
                  <a:lnTo>
                    <a:pt x="16" y="94"/>
                  </a:lnTo>
                  <a:lnTo>
                    <a:pt x="25" y="85"/>
                  </a:lnTo>
                  <a:lnTo>
                    <a:pt x="27" y="70"/>
                  </a:lnTo>
                  <a:lnTo>
                    <a:pt x="27" y="64"/>
                  </a:lnTo>
                  <a:lnTo>
                    <a:pt x="22" y="58"/>
                  </a:lnTo>
                  <a:lnTo>
                    <a:pt x="19" y="46"/>
                  </a:lnTo>
                  <a:lnTo>
                    <a:pt x="19" y="45"/>
                  </a:lnTo>
                  <a:lnTo>
                    <a:pt x="22" y="40"/>
                  </a:lnTo>
                  <a:lnTo>
                    <a:pt x="19" y="34"/>
                  </a:lnTo>
                  <a:lnTo>
                    <a:pt x="9" y="8"/>
                  </a:lnTo>
                  <a:lnTo>
                    <a:pt x="9" y="6"/>
                  </a:lnTo>
                  <a:lnTo>
                    <a:pt x="22" y="2"/>
                  </a:lnTo>
                  <a:lnTo>
                    <a:pt x="6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7" name="Algeria">
              <a:extLst>
                <a:ext uri="{FF2B5EF4-FFF2-40B4-BE49-F238E27FC236}">
                  <a16:creationId xmlns:a16="http://schemas.microsoft.com/office/drawing/2014/main" id="{428A7418-7651-0674-CED9-91A04BC5F7B7}"/>
                </a:ext>
              </a:extLst>
            </p:cNvPr>
            <p:cNvSpPr>
              <a:spLocks/>
            </p:cNvSpPr>
            <p:nvPr/>
          </p:nvSpPr>
          <p:spPr bwMode="auto">
            <a:xfrm>
              <a:off x="5623454" y="3653663"/>
              <a:ext cx="482486" cy="486100"/>
            </a:xfrm>
            <a:custGeom>
              <a:avLst/>
              <a:gdLst>
                <a:gd name="T0" fmla="*/ 203 w 267"/>
                <a:gd name="T1" fmla="*/ 3 h 269"/>
                <a:gd name="T2" fmla="*/ 217 w 267"/>
                <a:gd name="T3" fmla="*/ 3 h 269"/>
                <a:gd name="T4" fmla="*/ 224 w 267"/>
                <a:gd name="T5" fmla="*/ 1 h 269"/>
                <a:gd name="T6" fmla="*/ 227 w 267"/>
                <a:gd name="T7" fmla="*/ 3 h 269"/>
                <a:gd name="T8" fmla="*/ 224 w 267"/>
                <a:gd name="T9" fmla="*/ 10 h 269"/>
                <a:gd name="T10" fmla="*/ 224 w 267"/>
                <a:gd name="T11" fmla="*/ 31 h 269"/>
                <a:gd name="T12" fmla="*/ 211 w 267"/>
                <a:gd name="T13" fmla="*/ 50 h 269"/>
                <a:gd name="T14" fmla="*/ 218 w 267"/>
                <a:gd name="T15" fmla="*/ 63 h 269"/>
                <a:gd name="T16" fmla="*/ 231 w 267"/>
                <a:gd name="T17" fmla="*/ 78 h 269"/>
                <a:gd name="T18" fmla="*/ 236 w 267"/>
                <a:gd name="T19" fmla="*/ 106 h 269"/>
                <a:gd name="T20" fmla="*/ 239 w 267"/>
                <a:gd name="T21" fmla="*/ 121 h 269"/>
                <a:gd name="T22" fmla="*/ 239 w 267"/>
                <a:gd name="T23" fmla="*/ 163 h 269"/>
                <a:gd name="T24" fmla="*/ 242 w 267"/>
                <a:gd name="T25" fmla="*/ 179 h 269"/>
                <a:gd name="T26" fmla="*/ 246 w 267"/>
                <a:gd name="T27" fmla="*/ 189 h 269"/>
                <a:gd name="T28" fmla="*/ 267 w 267"/>
                <a:gd name="T29" fmla="*/ 206 h 269"/>
                <a:gd name="T30" fmla="*/ 187 w 267"/>
                <a:gd name="T31" fmla="*/ 262 h 269"/>
                <a:gd name="T32" fmla="*/ 157 w 267"/>
                <a:gd name="T33" fmla="*/ 269 h 269"/>
                <a:gd name="T34" fmla="*/ 153 w 267"/>
                <a:gd name="T35" fmla="*/ 268 h 269"/>
                <a:gd name="T36" fmla="*/ 154 w 267"/>
                <a:gd name="T37" fmla="*/ 256 h 269"/>
                <a:gd name="T38" fmla="*/ 134 w 267"/>
                <a:gd name="T39" fmla="*/ 246 h 269"/>
                <a:gd name="T40" fmla="*/ 126 w 267"/>
                <a:gd name="T41" fmla="*/ 238 h 269"/>
                <a:gd name="T42" fmla="*/ 2 w 267"/>
                <a:gd name="T43" fmla="*/ 152 h 269"/>
                <a:gd name="T44" fmla="*/ 0 w 267"/>
                <a:gd name="T45" fmla="*/ 129 h 269"/>
                <a:gd name="T46" fmla="*/ 21 w 267"/>
                <a:gd name="T47" fmla="*/ 115 h 269"/>
                <a:gd name="T48" fmla="*/ 28 w 267"/>
                <a:gd name="T49" fmla="*/ 112 h 269"/>
                <a:gd name="T50" fmla="*/ 51 w 267"/>
                <a:gd name="T51" fmla="*/ 102 h 269"/>
                <a:gd name="T52" fmla="*/ 62 w 267"/>
                <a:gd name="T53" fmla="*/ 93 h 269"/>
                <a:gd name="T54" fmla="*/ 64 w 267"/>
                <a:gd name="T55" fmla="*/ 84 h 269"/>
                <a:gd name="T56" fmla="*/ 74 w 267"/>
                <a:gd name="T57" fmla="*/ 78 h 269"/>
                <a:gd name="T58" fmla="*/ 96 w 267"/>
                <a:gd name="T59" fmla="*/ 77 h 269"/>
                <a:gd name="T60" fmla="*/ 98 w 267"/>
                <a:gd name="T61" fmla="*/ 72 h 269"/>
                <a:gd name="T62" fmla="*/ 91 w 267"/>
                <a:gd name="T63" fmla="*/ 37 h 269"/>
                <a:gd name="T64" fmla="*/ 88 w 267"/>
                <a:gd name="T65" fmla="*/ 32 h 269"/>
                <a:gd name="T66" fmla="*/ 102 w 267"/>
                <a:gd name="T67" fmla="*/ 22 h 269"/>
                <a:gd name="T68" fmla="*/ 117 w 267"/>
                <a:gd name="T69" fmla="*/ 16 h 269"/>
                <a:gd name="T70" fmla="*/ 165 w 267"/>
                <a:gd name="T71" fmla="*/ 3 h 269"/>
                <a:gd name="T72" fmla="*/ 182 w 267"/>
                <a:gd name="T73" fmla="*/ 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7" h="269">
                  <a:moveTo>
                    <a:pt x="196" y="0"/>
                  </a:moveTo>
                  <a:lnTo>
                    <a:pt x="203" y="3"/>
                  </a:lnTo>
                  <a:lnTo>
                    <a:pt x="208" y="0"/>
                  </a:lnTo>
                  <a:lnTo>
                    <a:pt x="217" y="3"/>
                  </a:lnTo>
                  <a:lnTo>
                    <a:pt x="220" y="3"/>
                  </a:lnTo>
                  <a:lnTo>
                    <a:pt x="224" y="1"/>
                  </a:lnTo>
                  <a:lnTo>
                    <a:pt x="227" y="1"/>
                  </a:lnTo>
                  <a:lnTo>
                    <a:pt x="227" y="3"/>
                  </a:lnTo>
                  <a:lnTo>
                    <a:pt x="222" y="9"/>
                  </a:lnTo>
                  <a:lnTo>
                    <a:pt x="224" y="10"/>
                  </a:lnTo>
                  <a:lnTo>
                    <a:pt x="222" y="20"/>
                  </a:lnTo>
                  <a:lnTo>
                    <a:pt x="224" y="31"/>
                  </a:lnTo>
                  <a:lnTo>
                    <a:pt x="221" y="41"/>
                  </a:lnTo>
                  <a:lnTo>
                    <a:pt x="211" y="50"/>
                  </a:lnTo>
                  <a:lnTo>
                    <a:pt x="212" y="60"/>
                  </a:lnTo>
                  <a:lnTo>
                    <a:pt x="218" y="63"/>
                  </a:lnTo>
                  <a:lnTo>
                    <a:pt x="221" y="72"/>
                  </a:lnTo>
                  <a:lnTo>
                    <a:pt x="231" y="78"/>
                  </a:lnTo>
                  <a:lnTo>
                    <a:pt x="231" y="80"/>
                  </a:lnTo>
                  <a:lnTo>
                    <a:pt x="236" y="106"/>
                  </a:lnTo>
                  <a:lnTo>
                    <a:pt x="233" y="112"/>
                  </a:lnTo>
                  <a:lnTo>
                    <a:pt x="239" y="121"/>
                  </a:lnTo>
                  <a:lnTo>
                    <a:pt x="240" y="143"/>
                  </a:lnTo>
                  <a:lnTo>
                    <a:pt x="239" y="163"/>
                  </a:lnTo>
                  <a:lnTo>
                    <a:pt x="234" y="167"/>
                  </a:lnTo>
                  <a:lnTo>
                    <a:pt x="242" y="179"/>
                  </a:lnTo>
                  <a:lnTo>
                    <a:pt x="243" y="186"/>
                  </a:lnTo>
                  <a:lnTo>
                    <a:pt x="246" y="189"/>
                  </a:lnTo>
                  <a:lnTo>
                    <a:pt x="261" y="194"/>
                  </a:lnTo>
                  <a:lnTo>
                    <a:pt x="267" y="206"/>
                  </a:lnTo>
                  <a:lnTo>
                    <a:pt x="217" y="240"/>
                  </a:lnTo>
                  <a:lnTo>
                    <a:pt x="187" y="262"/>
                  </a:lnTo>
                  <a:lnTo>
                    <a:pt x="168" y="267"/>
                  </a:lnTo>
                  <a:lnTo>
                    <a:pt x="157" y="269"/>
                  </a:lnTo>
                  <a:lnTo>
                    <a:pt x="156" y="269"/>
                  </a:lnTo>
                  <a:lnTo>
                    <a:pt x="153" y="268"/>
                  </a:lnTo>
                  <a:lnTo>
                    <a:pt x="153" y="267"/>
                  </a:lnTo>
                  <a:lnTo>
                    <a:pt x="154" y="256"/>
                  </a:lnTo>
                  <a:lnTo>
                    <a:pt x="137" y="250"/>
                  </a:lnTo>
                  <a:lnTo>
                    <a:pt x="134" y="246"/>
                  </a:lnTo>
                  <a:lnTo>
                    <a:pt x="128" y="243"/>
                  </a:lnTo>
                  <a:lnTo>
                    <a:pt x="126" y="238"/>
                  </a:lnTo>
                  <a:lnTo>
                    <a:pt x="49" y="185"/>
                  </a:lnTo>
                  <a:lnTo>
                    <a:pt x="2" y="152"/>
                  </a:lnTo>
                  <a:lnTo>
                    <a:pt x="0" y="152"/>
                  </a:lnTo>
                  <a:lnTo>
                    <a:pt x="0" y="129"/>
                  </a:lnTo>
                  <a:lnTo>
                    <a:pt x="6" y="123"/>
                  </a:lnTo>
                  <a:lnTo>
                    <a:pt x="21" y="115"/>
                  </a:lnTo>
                  <a:lnTo>
                    <a:pt x="27" y="115"/>
                  </a:lnTo>
                  <a:lnTo>
                    <a:pt x="28" y="112"/>
                  </a:lnTo>
                  <a:lnTo>
                    <a:pt x="40" y="111"/>
                  </a:lnTo>
                  <a:lnTo>
                    <a:pt x="51" y="102"/>
                  </a:lnTo>
                  <a:lnTo>
                    <a:pt x="64" y="96"/>
                  </a:lnTo>
                  <a:lnTo>
                    <a:pt x="62" y="93"/>
                  </a:lnTo>
                  <a:lnTo>
                    <a:pt x="62" y="86"/>
                  </a:lnTo>
                  <a:lnTo>
                    <a:pt x="64" y="84"/>
                  </a:lnTo>
                  <a:lnTo>
                    <a:pt x="74" y="83"/>
                  </a:lnTo>
                  <a:lnTo>
                    <a:pt x="74" y="78"/>
                  </a:lnTo>
                  <a:lnTo>
                    <a:pt x="76" y="78"/>
                  </a:lnTo>
                  <a:lnTo>
                    <a:pt x="96" y="77"/>
                  </a:lnTo>
                  <a:lnTo>
                    <a:pt x="96" y="74"/>
                  </a:lnTo>
                  <a:lnTo>
                    <a:pt x="98" y="72"/>
                  </a:lnTo>
                  <a:lnTo>
                    <a:pt x="92" y="65"/>
                  </a:lnTo>
                  <a:lnTo>
                    <a:pt x="91" y="37"/>
                  </a:lnTo>
                  <a:lnTo>
                    <a:pt x="83" y="32"/>
                  </a:lnTo>
                  <a:lnTo>
                    <a:pt x="88" y="32"/>
                  </a:lnTo>
                  <a:lnTo>
                    <a:pt x="96" y="28"/>
                  </a:lnTo>
                  <a:lnTo>
                    <a:pt x="102" y="22"/>
                  </a:lnTo>
                  <a:lnTo>
                    <a:pt x="114" y="19"/>
                  </a:lnTo>
                  <a:lnTo>
                    <a:pt x="117" y="16"/>
                  </a:lnTo>
                  <a:lnTo>
                    <a:pt x="131" y="9"/>
                  </a:lnTo>
                  <a:lnTo>
                    <a:pt x="165" y="3"/>
                  </a:lnTo>
                  <a:lnTo>
                    <a:pt x="178" y="3"/>
                  </a:lnTo>
                  <a:lnTo>
                    <a:pt x="182" y="6"/>
                  </a:lnTo>
                  <a:lnTo>
                    <a:pt x="19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spTree>
    <p:extLst>
      <p:ext uri="{BB962C8B-B14F-4D97-AF65-F5344CB8AC3E}">
        <p14:creationId xmlns:p14="http://schemas.microsoft.com/office/powerpoint/2010/main" val="38845479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Map Only (Fixe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FB9E072-72A1-65B9-4589-FAEFF2F27070}"/>
              </a:ext>
            </a:extLst>
          </p:cNvPr>
          <p:cNvGrpSpPr/>
          <p:nvPr userDrawn="1"/>
        </p:nvGrpSpPr>
        <p:grpSpPr>
          <a:xfrm>
            <a:off x="1146008" y="225287"/>
            <a:ext cx="9899984" cy="6407426"/>
            <a:chOff x="1857537" y="685800"/>
            <a:chExt cx="8476926" cy="5486400"/>
          </a:xfrm>
          <a:solidFill>
            <a:srgbClr val="2A2B2D"/>
          </a:solidFill>
        </p:grpSpPr>
        <p:sp>
          <p:nvSpPr>
            <p:cNvPr id="7" name="Fiji">
              <a:extLst>
                <a:ext uri="{FF2B5EF4-FFF2-40B4-BE49-F238E27FC236}">
                  <a16:creationId xmlns:a16="http://schemas.microsoft.com/office/drawing/2014/main" id="{0F215382-11BE-C3F4-BA47-7D41D421D1C1}"/>
                </a:ext>
              </a:extLst>
            </p:cNvPr>
            <p:cNvSpPr>
              <a:spLocks/>
            </p:cNvSpPr>
            <p:nvPr/>
          </p:nvSpPr>
          <p:spPr bwMode="auto">
            <a:xfrm>
              <a:off x="10005578" y="4972310"/>
              <a:ext cx="66861" cy="54214"/>
            </a:xfrm>
            <a:custGeom>
              <a:avLst/>
              <a:gdLst/>
              <a:ahLst/>
              <a:cxnLst/>
              <a:rect l="l" t="t" r="r" b="b"/>
              <a:pathLst>
                <a:path w="67394" h="54646">
                  <a:moveTo>
                    <a:pt x="21857" y="27323"/>
                  </a:moveTo>
                  <a:lnTo>
                    <a:pt x="21857" y="29145"/>
                  </a:lnTo>
                  <a:lnTo>
                    <a:pt x="27322" y="32788"/>
                  </a:lnTo>
                  <a:lnTo>
                    <a:pt x="32786" y="49182"/>
                  </a:lnTo>
                  <a:lnTo>
                    <a:pt x="29143" y="51003"/>
                  </a:lnTo>
                  <a:lnTo>
                    <a:pt x="20036" y="54646"/>
                  </a:lnTo>
                  <a:lnTo>
                    <a:pt x="0" y="49182"/>
                  </a:lnTo>
                  <a:lnTo>
                    <a:pt x="0" y="34609"/>
                  </a:lnTo>
                  <a:lnTo>
                    <a:pt x="14572" y="29145"/>
                  </a:lnTo>
                  <a:lnTo>
                    <a:pt x="20036" y="29145"/>
                  </a:lnTo>
                  <a:close/>
                  <a:moveTo>
                    <a:pt x="65573" y="0"/>
                  </a:moveTo>
                  <a:lnTo>
                    <a:pt x="67394" y="0"/>
                  </a:lnTo>
                  <a:lnTo>
                    <a:pt x="67394" y="3643"/>
                  </a:lnTo>
                  <a:lnTo>
                    <a:pt x="61930" y="9107"/>
                  </a:lnTo>
                  <a:lnTo>
                    <a:pt x="61930" y="16393"/>
                  </a:lnTo>
                  <a:lnTo>
                    <a:pt x="49179" y="12750"/>
                  </a:lnTo>
                  <a:lnTo>
                    <a:pt x="38251" y="21858"/>
                  </a:lnTo>
                  <a:lnTo>
                    <a:pt x="34608" y="21858"/>
                  </a:lnTo>
                  <a:lnTo>
                    <a:pt x="27322" y="12750"/>
                  </a:lnTo>
                  <a:lnTo>
                    <a:pt x="27322" y="10929"/>
                  </a:lnTo>
                  <a:lnTo>
                    <a:pt x="29143" y="10929"/>
                  </a:lnTo>
                  <a:lnTo>
                    <a:pt x="38251" y="9107"/>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 name="New Zealand (North Island)">
              <a:extLst>
                <a:ext uri="{FF2B5EF4-FFF2-40B4-BE49-F238E27FC236}">
                  <a16:creationId xmlns:a16="http://schemas.microsoft.com/office/drawing/2014/main" id="{CE67551D-6B8C-E6B2-73C8-710A5927BEBE}"/>
                </a:ext>
              </a:extLst>
            </p:cNvPr>
            <p:cNvSpPr>
              <a:spLocks/>
            </p:cNvSpPr>
            <p:nvPr/>
          </p:nvSpPr>
          <p:spPr bwMode="auto">
            <a:xfrm>
              <a:off x="9898962" y="5449375"/>
              <a:ext cx="139145" cy="215041"/>
            </a:xfrm>
            <a:custGeom>
              <a:avLst/>
              <a:gdLst>
                <a:gd name="T0" fmla="*/ 0 w 77"/>
                <a:gd name="T1" fmla="*/ 0 h 119"/>
                <a:gd name="T2" fmla="*/ 4 w 77"/>
                <a:gd name="T3" fmla="*/ 0 h 119"/>
                <a:gd name="T4" fmla="*/ 7 w 77"/>
                <a:gd name="T5" fmla="*/ 7 h 119"/>
                <a:gd name="T6" fmla="*/ 9 w 77"/>
                <a:gd name="T7" fmla="*/ 6 h 119"/>
                <a:gd name="T8" fmla="*/ 21 w 77"/>
                <a:gd name="T9" fmla="*/ 13 h 119"/>
                <a:gd name="T10" fmla="*/ 25 w 77"/>
                <a:gd name="T11" fmla="*/ 24 h 119"/>
                <a:gd name="T12" fmla="*/ 25 w 77"/>
                <a:gd name="T13" fmla="*/ 25 h 119"/>
                <a:gd name="T14" fmla="*/ 22 w 77"/>
                <a:gd name="T15" fmla="*/ 25 h 119"/>
                <a:gd name="T16" fmla="*/ 29 w 77"/>
                <a:gd name="T17" fmla="*/ 33 h 119"/>
                <a:gd name="T18" fmla="*/ 28 w 77"/>
                <a:gd name="T19" fmla="*/ 40 h 119"/>
                <a:gd name="T20" fmla="*/ 34 w 77"/>
                <a:gd name="T21" fmla="*/ 40 h 119"/>
                <a:gd name="T22" fmla="*/ 35 w 77"/>
                <a:gd name="T23" fmla="*/ 43 h 119"/>
                <a:gd name="T24" fmla="*/ 35 w 77"/>
                <a:gd name="T25" fmla="*/ 34 h 119"/>
                <a:gd name="T26" fmla="*/ 37 w 77"/>
                <a:gd name="T27" fmla="*/ 34 h 119"/>
                <a:gd name="T28" fmla="*/ 40 w 77"/>
                <a:gd name="T29" fmla="*/ 37 h 119"/>
                <a:gd name="T30" fmla="*/ 41 w 77"/>
                <a:gd name="T31" fmla="*/ 37 h 119"/>
                <a:gd name="T32" fmla="*/ 44 w 77"/>
                <a:gd name="T33" fmla="*/ 52 h 119"/>
                <a:gd name="T34" fmla="*/ 58 w 77"/>
                <a:gd name="T35" fmla="*/ 56 h 119"/>
                <a:gd name="T36" fmla="*/ 70 w 77"/>
                <a:gd name="T37" fmla="*/ 49 h 119"/>
                <a:gd name="T38" fmla="*/ 77 w 77"/>
                <a:gd name="T39" fmla="*/ 52 h 119"/>
                <a:gd name="T40" fmla="*/ 77 w 77"/>
                <a:gd name="T41" fmla="*/ 53 h 119"/>
                <a:gd name="T42" fmla="*/ 74 w 77"/>
                <a:gd name="T43" fmla="*/ 68 h 119"/>
                <a:gd name="T44" fmla="*/ 70 w 77"/>
                <a:gd name="T45" fmla="*/ 70 h 119"/>
                <a:gd name="T46" fmla="*/ 70 w 77"/>
                <a:gd name="T47" fmla="*/ 77 h 119"/>
                <a:gd name="T48" fmla="*/ 59 w 77"/>
                <a:gd name="T49" fmla="*/ 79 h 119"/>
                <a:gd name="T50" fmla="*/ 55 w 77"/>
                <a:gd name="T51" fmla="*/ 83 h 119"/>
                <a:gd name="T52" fmla="*/ 58 w 77"/>
                <a:gd name="T53" fmla="*/ 87 h 119"/>
                <a:gd name="T54" fmla="*/ 58 w 77"/>
                <a:gd name="T55" fmla="*/ 89 h 119"/>
                <a:gd name="T56" fmla="*/ 53 w 77"/>
                <a:gd name="T57" fmla="*/ 99 h 119"/>
                <a:gd name="T58" fmla="*/ 37 w 77"/>
                <a:gd name="T59" fmla="*/ 119 h 119"/>
                <a:gd name="T60" fmla="*/ 27 w 77"/>
                <a:gd name="T61" fmla="*/ 114 h 119"/>
                <a:gd name="T62" fmla="*/ 27 w 77"/>
                <a:gd name="T63" fmla="*/ 113 h 119"/>
                <a:gd name="T64" fmla="*/ 32 w 77"/>
                <a:gd name="T65" fmla="*/ 102 h 119"/>
                <a:gd name="T66" fmla="*/ 32 w 77"/>
                <a:gd name="T67" fmla="*/ 95 h 119"/>
                <a:gd name="T68" fmla="*/ 13 w 77"/>
                <a:gd name="T69" fmla="*/ 81 h 119"/>
                <a:gd name="T70" fmla="*/ 13 w 77"/>
                <a:gd name="T71" fmla="*/ 80 h 119"/>
                <a:gd name="T72" fmla="*/ 16 w 77"/>
                <a:gd name="T73" fmla="*/ 76 h 119"/>
                <a:gd name="T74" fmla="*/ 24 w 77"/>
                <a:gd name="T75" fmla="*/ 71 h 119"/>
                <a:gd name="T76" fmla="*/ 27 w 77"/>
                <a:gd name="T77" fmla="*/ 59 h 119"/>
                <a:gd name="T78" fmla="*/ 28 w 77"/>
                <a:gd name="T79" fmla="*/ 59 h 119"/>
                <a:gd name="T80" fmla="*/ 28 w 77"/>
                <a:gd name="T81" fmla="*/ 47 h 119"/>
                <a:gd name="T82" fmla="*/ 25 w 77"/>
                <a:gd name="T83" fmla="*/ 44 h 119"/>
                <a:gd name="T84" fmla="*/ 27 w 77"/>
                <a:gd name="T85" fmla="*/ 41 h 119"/>
                <a:gd name="T86" fmla="*/ 25 w 77"/>
                <a:gd name="T87" fmla="*/ 43 h 119"/>
                <a:gd name="T88" fmla="*/ 24 w 77"/>
                <a:gd name="T89" fmla="*/ 43 h 119"/>
                <a:gd name="T90" fmla="*/ 24 w 77"/>
                <a:gd name="T91" fmla="*/ 41 h 119"/>
                <a:gd name="T92" fmla="*/ 21 w 77"/>
                <a:gd name="T93" fmla="*/ 37 h 119"/>
                <a:gd name="T94" fmla="*/ 21 w 77"/>
                <a:gd name="T95" fmla="*/ 30 h 119"/>
                <a:gd name="T96" fmla="*/ 19 w 77"/>
                <a:gd name="T97" fmla="*/ 30 h 119"/>
                <a:gd name="T98" fmla="*/ 19 w 77"/>
                <a:gd name="T99" fmla="*/ 31 h 119"/>
                <a:gd name="T100" fmla="*/ 10 w 77"/>
                <a:gd name="T101" fmla="*/ 22 h 119"/>
                <a:gd name="T102" fmla="*/ 9 w 77"/>
                <a:gd name="T103" fmla="*/ 18 h 119"/>
                <a:gd name="T104" fmla="*/ 6 w 77"/>
                <a:gd name="T105" fmla="*/ 15 h 119"/>
                <a:gd name="T106" fmla="*/ 0 w 77"/>
                <a:gd name="T107" fmla="*/ 1 h 119"/>
                <a:gd name="T108" fmla="*/ 0 w 7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 h="119">
                  <a:moveTo>
                    <a:pt x="0" y="0"/>
                  </a:moveTo>
                  <a:lnTo>
                    <a:pt x="4" y="0"/>
                  </a:lnTo>
                  <a:lnTo>
                    <a:pt x="7" y="7"/>
                  </a:lnTo>
                  <a:lnTo>
                    <a:pt x="9" y="6"/>
                  </a:lnTo>
                  <a:lnTo>
                    <a:pt x="21" y="13"/>
                  </a:lnTo>
                  <a:lnTo>
                    <a:pt x="25" y="24"/>
                  </a:lnTo>
                  <a:lnTo>
                    <a:pt x="25" y="25"/>
                  </a:lnTo>
                  <a:lnTo>
                    <a:pt x="22" y="25"/>
                  </a:lnTo>
                  <a:lnTo>
                    <a:pt x="29" y="33"/>
                  </a:lnTo>
                  <a:lnTo>
                    <a:pt x="28" y="40"/>
                  </a:lnTo>
                  <a:lnTo>
                    <a:pt x="34" y="40"/>
                  </a:lnTo>
                  <a:lnTo>
                    <a:pt x="35" y="43"/>
                  </a:lnTo>
                  <a:lnTo>
                    <a:pt x="35" y="34"/>
                  </a:lnTo>
                  <a:lnTo>
                    <a:pt x="37" y="34"/>
                  </a:lnTo>
                  <a:lnTo>
                    <a:pt x="40" y="37"/>
                  </a:lnTo>
                  <a:lnTo>
                    <a:pt x="41" y="37"/>
                  </a:lnTo>
                  <a:lnTo>
                    <a:pt x="44" y="52"/>
                  </a:lnTo>
                  <a:lnTo>
                    <a:pt x="58" y="56"/>
                  </a:lnTo>
                  <a:lnTo>
                    <a:pt x="70" y="49"/>
                  </a:lnTo>
                  <a:lnTo>
                    <a:pt x="77" y="52"/>
                  </a:lnTo>
                  <a:lnTo>
                    <a:pt x="77" y="53"/>
                  </a:lnTo>
                  <a:lnTo>
                    <a:pt x="74" y="68"/>
                  </a:lnTo>
                  <a:lnTo>
                    <a:pt x="70" y="70"/>
                  </a:lnTo>
                  <a:lnTo>
                    <a:pt x="70" y="77"/>
                  </a:lnTo>
                  <a:lnTo>
                    <a:pt x="59" y="79"/>
                  </a:lnTo>
                  <a:lnTo>
                    <a:pt x="55" y="83"/>
                  </a:lnTo>
                  <a:lnTo>
                    <a:pt x="58" y="87"/>
                  </a:lnTo>
                  <a:lnTo>
                    <a:pt x="58" y="89"/>
                  </a:lnTo>
                  <a:lnTo>
                    <a:pt x="53" y="99"/>
                  </a:lnTo>
                  <a:lnTo>
                    <a:pt x="37" y="119"/>
                  </a:lnTo>
                  <a:lnTo>
                    <a:pt x="27" y="114"/>
                  </a:lnTo>
                  <a:lnTo>
                    <a:pt x="27" y="113"/>
                  </a:lnTo>
                  <a:lnTo>
                    <a:pt x="32" y="102"/>
                  </a:lnTo>
                  <a:lnTo>
                    <a:pt x="32" y="95"/>
                  </a:lnTo>
                  <a:lnTo>
                    <a:pt x="13" y="81"/>
                  </a:lnTo>
                  <a:lnTo>
                    <a:pt x="13" y="80"/>
                  </a:lnTo>
                  <a:lnTo>
                    <a:pt x="16" y="76"/>
                  </a:lnTo>
                  <a:lnTo>
                    <a:pt x="24" y="71"/>
                  </a:lnTo>
                  <a:lnTo>
                    <a:pt x="27" y="59"/>
                  </a:lnTo>
                  <a:lnTo>
                    <a:pt x="28" y="59"/>
                  </a:lnTo>
                  <a:lnTo>
                    <a:pt x="28" y="47"/>
                  </a:lnTo>
                  <a:lnTo>
                    <a:pt x="25" y="44"/>
                  </a:lnTo>
                  <a:lnTo>
                    <a:pt x="27" y="41"/>
                  </a:lnTo>
                  <a:lnTo>
                    <a:pt x="25" y="43"/>
                  </a:lnTo>
                  <a:lnTo>
                    <a:pt x="24" y="43"/>
                  </a:lnTo>
                  <a:lnTo>
                    <a:pt x="24" y="41"/>
                  </a:lnTo>
                  <a:lnTo>
                    <a:pt x="21" y="37"/>
                  </a:lnTo>
                  <a:lnTo>
                    <a:pt x="21" y="30"/>
                  </a:lnTo>
                  <a:lnTo>
                    <a:pt x="19" y="30"/>
                  </a:lnTo>
                  <a:lnTo>
                    <a:pt x="19" y="31"/>
                  </a:lnTo>
                  <a:lnTo>
                    <a:pt x="10" y="22"/>
                  </a:lnTo>
                  <a:lnTo>
                    <a:pt x="9" y="18"/>
                  </a:lnTo>
                  <a:lnTo>
                    <a:pt x="6" y="15"/>
                  </a:lnTo>
                  <a:lnTo>
                    <a:pt x="0" y="1"/>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 name="New Zealand (South Island)">
              <a:extLst>
                <a:ext uri="{FF2B5EF4-FFF2-40B4-BE49-F238E27FC236}">
                  <a16:creationId xmlns:a16="http://schemas.microsoft.com/office/drawing/2014/main" id="{7D14F55E-F9CC-B751-CEB2-3A2DA5C84E3C}"/>
                </a:ext>
              </a:extLst>
            </p:cNvPr>
            <p:cNvSpPr>
              <a:spLocks/>
            </p:cNvSpPr>
            <p:nvPr/>
          </p:nvSpPr>
          <p:spPr bwMode="auto">
            <a:xfrm>
              <a:off x="9754396" y="5631889"/>
              <a:ext cx="182514" cy="200585"/>
            </a:xfrm>
            <a:custGeom>
              <a:avLst/>
              <a:gdLst>
                <a:gd name="T0" fmla="*/ 80 w 101"/>
                <a:gd name="T1" fmla="*/ 0 h 111"/>
                <a:gd name="T2" fmla="*/ 87 w 101"/>
                <a:gd name="T3" fmla="*/ 12 h 111"/>
                <a:gd name="T4" fmla="*/ 95 w 101"/>
                <a:gd name="T5" fmla="*/ 6 h 111"/>
                <a:gd name="T6" fmla="*/ 96 w 101"/>
                <a:gd name="T7" fmla="*/ 6 h 111"/>
                <a:gd name="T8" fmla="*/ 98 w 101"/>
                <a:gd name="T9" fmla="*/ 7 h 111"/>
                <a:gd name="T10" fmla="*/ 101 w 101"/>
                <a:gd name="T11" fmla="*/ 9 h 111"/>
                <a:gd name="T12" fmla="*/ 101 w 101"/>
                <a:gd name="T13" fmla="*/ 10 h 111"/>
                <a:gd name="T14" fmla="*/ 99 w 101"/>
                <a:gd name="T15" fmla="*/ 13 h 111"/>
                <a:gd name="T16" fmla="*/ 101 w 101"/>
                <a:gd name="T17" fmla="*/ 22 h 111"/>
                <a:gd name="T18" fmla="*/ 90 w 101"/>
                <a:gd name="T19" fmla="*/ 40 h 111"/>
                <a:gd name="T20" fmla="*/ 83 w 101"/>
                <a:gd name="T21" fmla="*/ 46 h 111"/>
                <a:gd name="T22" fmla="*/ 81 w 101"/>
                <a:gd name="T23" fmla="*/ 55 h 111"/>
                <a:gd name="T24" fmla="*/ 86 w 101"/>
                <a:gd name="T25" fmla="*/ 59 h 111"/>
                <a:gd name="T26" fmla="*/ 86 w 101"/>
                <a:gd name="T27" fmla="*/ 61 h 111"/>
                <a:gd name="T28" fmla="*/ 77 w 101"/>
                <a:gd name="T29" fmla="*/ 56 h 111"/>
                <a:gd name="T30" fmla="*/ 68 w 101"/>
                <a:gd name="T31" fmla="*/ 64 h 111"/>
                <a:gd name="T32" fmla="*/ 65 w 101"/>
                <a:gd name="T33" fmla="*/ 62 h 111"/>
                <a:gd name="T34" fmla="*/ 55 w 101"/>
                <a:gd name="T35" fmla="*/ 98 h 111"/>
                <a:gd name="T36" fmla="*/ 41 w 101"/>
                <a:gd name="T37" fmla="*/ 108 h 111"/>
                <a:gd name="T38" fmla="*/ 32 w 101"/>
                <a:gd name="T39" fmla="*/ 111 h 111"/>
                <a:gd name="T40" fmla="*/ 16 w 101"/>
                <a:gd name="T41" fmla="*/ 105 h 111"/>
                <a:gd name="T42" fmla="*/ 15 w 101"/>
                <a:gd name="T43" fmla="*/ 102 h 111"/>
                <a:gd name="T44" fmla="*/ 3 w 101"/>
                <a:gd name="T45" fmla="*/ 102 h 111"/>
                <a:gd name="T46" fmla="*/ 3 w 101"/>
                <a:gd name="T47" fmla="*/ 99 h 111"/>
                <a:gd name="T48" fmla="*/ 1 w 101"/>
                <a:gd name="T49" fmla="*/ 99 h 111"/>
                <a:gd name="T50" fmla="*/ 1 w 101"/>
                <a:gd name="T51" fmla="*/ 96 h 111"/>
                <a:gd name="T52" fmla="*/ 0 w 101"/>
                <a:gd name="T53" fmla="*/ 96 h 111"/>
                <a:gd name="T54" fmla="*/ 0 w 101"/>
                <a:gd name="T55" fmla="*/ 95 h 111"/>
                <a:gd name="T56" fmla="*/ 4 w 101"/>
                <a:gd name="T57" fmla="*/ 92 h 111"/>
                <a:gd name="T58" fmla="*/ 6 w 101"/>
                <a:gd name="T59" fmla="*/ 89 h 111"/>
                <a:gd name="T60" fmla="*/ 3 w 101"/>
                <a:gd name="T61" fmla="*/ 89 h 111"/>
                <a:gd name="T62" fmla="*/ 3 w 101"/>
                <a:gd name="T63" fmla="*/ 87 h 111"/>
                <a:gd name="T64" fmla="*/ 4 w 101"/>
                <a:gd name="T65" fmla="*/ 84 h 111"/>
                <a:gd name="T66" fmla="*/ 7 w 101"/>
                <a:gd name="T67" fmla="*/ 84 h 111"/>
                <a:gd name="T68" fmla="*/ 7 w 101"/>
                <a:gd name="T69" fmla="*/ 83 h 111"/>
                <a:gd name="T70" fmla="*/ 6 w 101"/>
                <a:gd name="T71" fmla="*/ 83 h 111"/>
                <a:gd name="T72" fmla="*/ 7 w 101"/>
                <a:gd name="T73" fmla="*/ 78 h 111"/>
                <a:gd name="T74" fmla="*/ 10 w 101"/>
                <a:gd name="T75" fmla="*/ 77 h 111"/>
                <a:gd name="T76" fmla="*/ 12 w 101"/>
                <a:gd name="T77" fmla="*/ 77 h 111"/>
                <a:gd name="T78" fmla="*/ 12 w 101"/>
                <a:gd name="T79" fmla="*/ 75 h 111"/>
                <a:gd name="T80" fmla="*/ 21 w 101"/>
                <a:gd name="T81" fmla="*/ 62 h 111"/>
                <a:gd name="T82" fmla="*/ 21 w 101"/>
                <a:gd name="T83" fmla="*/ 61 h 111"/>
                <a:gd name="T84" fmla="*/ 22 w 101"/>
                <a:gd name="T85" fmla="*/ 61 h 111"/>
                <a:gd name="T86" fmla="*/ 34 w 101"/>
                <a:gd name="T87" fmla="*/ 58 h 111"/>
                <a:gd name="T88" fmla="*/ 56 w 101"/>
                <a:gd name="T89" fmla="*/ 38 h 111"/>
                <a:gd name="T90" fmla="*/ 64 w 101"/>
                <a:gd name="T91" fmla="*/ 22 h 111"/>
                <a:gd name="T92" fmla="*/ 69 w 101"/>
                <a:gd name="T93" fmla="*/ 18 h 111"/>
                <a:gd name="T94" fmla="*/ 72 w 101"/>
                <a:gd name="T95" fmla="*/ 9 h 111"/>
                <a:gd name="T96" fmla="*/ 80 w 101"/>
                <a:gd name="T9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 h="111">
                  <a:moveTo>
                    <a:pt x="80" y="0"/>
                  </a:moveTo>
                  <a:lnTo>
                    <a:pt x="87" y="12"/>
                  </a:lnTo>
                  <a:lnTo>
                    <a:pt x="95" y="6"/>
                  </a:lnTo>
                  <a:lnTo>
                    <a:pt x="96" y="6"/>
                  </a:lnTo>
                  <a:lnTo>
                    <a:pt x="98" y="7"/>
                  </a:lnTo>
                  <a:lnTo>
                    <a:pt x="101" y="9"/>
                  </a:lnTo>
                  <a:lnTo>
                    <a:pt x="101" y="10"/>
                  </a:lnTo>
                  <a:lnTo>
                    <a:pt x="99" y="13"/>
                  </a:lnTo>
                  <a:lnTo>
                    <a:pt x="101" y="22"/>
                  </a:lnTo>
                  <a:lnTo>
                    <a:pt x="90" y="40"/>
                  </a:lnTo>
                  <a:lnTo>
                    <a:pt x="83" y="46"/>
                  </a:lnTo>
                  <a:lnTo>
                    <a:pt x="81" y="55"/>
                  </a:lnTo>
                  <a:lnTo>
                    <a:pt x="86" y="59"/>
                  </a:lnTo>
                  <a:lnTo>
                    <a:pt x="86" y="61"/>
                  </a:lnTo>
                  <a:lnTo>
                    <a:pt x="77" y="56"/>
                  </a:lnTo>
                  <a:lnTo>
                    <a:pt x="68" y="64"/>
                  </a:lnTo>
                  <a:lnTo>
                    <a:pt x="65" y="62"/>
                  </a:lnTo>
                  <a:lnTo>
                    <a:pt x="55" y="98"/>
                  </a:lnTo>
                  <a:lnTo>
                    <a:pt x="41" y="108"/>
                  </a:lnTo>
                  <a:lnTo>
                    <a:pt x="32" y="111"/>
                  </a:lnTo>
                  <a:lnTo>
                    <a:pt x="16" y="105"/>
                  </a:lnTo>
                  <a:lnTo>
                    <a:pt x="15" y="102"/>
                  </a:lnTo>
                  <a:lnTo>
                    <a:pt x="3" y="102"/>
                  </a:lnTo>
                  <a:lnTo>
                    <a:pt x="3" y="99"/>
                  </a:lnTo>
                  <a:lnTo>
                    <a:pt x="1" y="99"/>
                  </a:lnTo>
                  <a:lnTo>
                    <a:pt x="1" y="96"/>
                  </a:lnTo>
                  <a:lnTo>
                    <a:pt x="0" y="96"/>
                  </a:lnTo>
                  <a:lnTo>
                    <a:pt x="0" y="95"/>
                  </a:lnTo>
                  <a:lnTo>
                    <a:pt x="4" y="92"/>
                  </a:lnTo>
                  <a:lnTo>
                    <a:pt x="6" y="89"/>
                  </a:lnTo>
                  <a:lnTo>
                    <a:pt x="3" y="89"/>
                  </a:lnTo>
                  <a:lnTo>
                    <a:pt x="3" y="87"/>
                  </a:lnTo>
                  <a:lnTo>
                    <a:pt x="4" y="84"/>
                  </a:lnTo>
                  <a:lnTo>
                    <a:pt x="7" y="84"/>
                  </a:lnTo>
                  <a:lnTo>
                    <a:pt x="7" y="83"/>
                  </a:lnTo>
                  <a:lnTo>
                    <a:pt x="6" y="83"/>
                  </a:lnTo>
                  <a:lnTo>
                    <a:pt x="7" y="78"/>
                  </a:lnTo>
                  <a:lnTo>
                    <a:pt x="10" y="77"/>
                  </a:lnTo>
                  <a:lnTo>
                    <a:pt x="12" y="77"/>
                  </a:lnTo>
                  <a:lnTo>
                    <a:pt x="12" y="75"/>
                  </a:lnTo>
                  <a:lnTo>
                    <a:pt x="21" y="62"/>
                  </a:lnTo>
                  <a:lnTo>
                    <a:pt x="21" y="61"/>
                  </a:lnTo>
                  <a:lnTo>
                    <a:pt x="22" y="61"/>
                  </a:lnTo>
                  <a:lnTo>
                    <a:pt x="34" y="58"/>
                  </a:lnTo>
                  <a:lnTo>
                    <a:pt x="56" y="38"/>
                  </a:lnTo>
                  <a:lnTo>
                    <a:pt x="64" y="22"/>
                  </a:lnTo>
                  <a:lnTo>
                    <a:pt x="69" y="18"/>
                  </a:lnTo>
                  <a:lnTo>
                    <a:pt x="72" y="9"/>
                  </a:lnTo>
                  <a:lnTo>
                    <a:pt x="8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 name="Stewart Island">
              <a:extLst>
                <a:ext uri="{FF2B5EF4-FFF2-40B4-BE49-F238E27FC236}">
                  <a16:creationId xmlns:a16="http://schemas.microsoft.com/office/drawing/2014/main" id="{C2DE1118-6E5F-BA4D-0780-0324870DEB93}"/>
                </a:ext>
              </a:extLst>
            </p:cNvPr>
            <p:cNvSpPr>
              <a:spLocks/>
            </p:cNvSpPr>
            <p:nvPr/>
          </p:nvSpPr>
          <p:spPr bwMode="auto">
            <a:xfrm>
              <a:off x="9777888" y="5828859"/>
              <a:ext cx="16264" cy="21685"/>
            </a:xfrm>
            <a:custGeom>
              <a:avLst/>
              <a:gdLst>
                <a:gd name="T0" fmla="*/ 3 w 9"/>
                <a:gd name="T1" fmla="*/ 0 h 12"/>
                <a:gd name="T2" fmla="*/ 6 w 9"/>
                <a:gd name="T3" fmla="*/ 2 h 12"/>
                <a:gd name="T4" fmla="*/ 9 w 9"/>
                <a:gd name="T5" fmla="*/ 9 h 12"/>
                <a:gd name="T6" fmla="*/ 8 w 9"/>
                <a:gd name="T7" fmla="*/ 9 h 12"/>
                <a:gd name="T8" fmla="*/ 0 w 9"/>
                <a:gd name="T9" fmla="*/ 12 h 12"/>
                <a:gd name="T10" fmla="*/ 3 w 9"/>
                <a:gd name="T11" fmla="*/ 2 h 12"/>
                <a:gd name="T12" fmla="*/ 3 w 9"/>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9" h="12">
                  <a:moveTo>
                    <a:pt x="3" y="0"/>
                  </a:moveTo>
                  <a:lnTo>
                    <a:pt x="6" y="2"/>
                  </a:lnTo>
                  <a:lnTo>
                    <a:pt x="9" y="9"/>
                  </a:lnTo>
                  <a:lnTo>
                    <a:pt x="8" y="9"/>
                  </a:lnTo>
                  <a:lnTo>
                    <a:pt x="0" y="12"/>
                  </a:lnTo>
                  <a:lnTo>
                    <a:pt x="3" y="2"/>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 name="Auckland Island">
              <a:extLst>
                <a:ext uri="{FF2B5EF4-FFF2-40B4-BE49-F238E27FC236}">
                  <a16:creationId xmlns:a16="http://schemas.microsoft.com/office/drawing/2014/main" id="{C7835D9C-558D-A182-E588-81D4762E6D33}"/>
                </a:ext>
              </a:extLst>
            </p:cNvPr>
            <p:cNvSpPr>
              <a:spLocks/>
            </p:cNvSpPr>
            <p:nvPr/>
          </p:nvSpPr>
          <p:spPr bwMode="auto">
            <a:xfrm>
              <a:off x="9739941" y="5969810"/>
              <a:ext cx="10843" cy="12650"/>
            </a:xfrm>
            <a:custGeom>
              <a:avLst/>
              <a:gdLst>
                <a:gd name="T0" fmla="*/ 3 w 6"/>
                <a:gd name="T1" fmla="*/ 0 h 7"/>
                <a:gd name="T2" fmla="*/ 5 w 6"/>
                <a:gd name="T3" fmla="*/ 0 h 7"/>
                <a:gd name="T4" fmla="*/ 5 w 6"/>
                <a:gd name="T5" fmla="*/ 1 h 7"/>
                <a:gd name="T6" fmla="*/ 6 w 6"/>
                <a:gd name="T7" fmla="*/ 6 h 7"/>
                <a:gd name="T8" fmla="*/ 5 w 6"/>
                <a:gd name="T9" fmla="*/ 6 h 7"/>
                <a:gd name="T10" fmla="*/ 2 w 6"/>
                <a:gd name="T11" fmla="*/ 7 h 7"/>
                <a:gd name="T12" fmla="*/ 0 w 6"/>
                <a:gd name="T13" fmla="*/ 7 h 7"/>
                <a:gd name="T14" fmla="*/ 0 w 6"/>
                <a:gd name="T15" fmla="*/ 6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lnTo>
                    <a:pt x="5" y="0"/>
                  </a:lnTo>
                  <a:lnTo>
                    <a:pt x="5" y="1"/>
                  </a:lnTo>
                  <a:lnTo>
                    <a:pt x="6" y="6"/>
                  </a:lnTo>
                  <a:lnTo>
                    <a:pt x="5" y="6"/>
                  </a:lnTo>
                  <a:lnTo>
                    <a:pt x="2" y="7"/>
                  </a:lnTo>
                  <a:lnTo>
                    <a:pt x="0" y="7"/>
                  </a:lnTo>
                  <a:lnTo>
                    <a:pt x="0" y="6"/>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 name="New Caledonia">
              <a:extLst>
                <a:ext uri="{FF2B5EF4-FFF2-40B4-BE49-F238E27FC236}">
                  <a16:creationId xmlns:a16="http://schemas.microsoft.com/office/drawing/2014/main" id="{E8B93270-043F-B730-CD51-874A8CFAD9B1}"/>
                </a:ext>
              </a:extLst>
            </p:cNvPr>
            <p:cNvSpPr>
              <a:spLocks/>
            </p:cNvSpPr>
            <p:nvPr/>
          </p:nvSpPr>
          <p:spPr bwMode="auto">
            <a:xfrm>
              <a:off x="9694765" y="5071700"/>
              <a:ext cx="97581" cy="61440"/>
            </a:xfrm>
            <a:custGeom>
              <a:avLst/>
              <a:gdLst/>
              <a:ahLst/>
              <a:cxnLst/>
              <a:rect l="l" t="t" r="r" b="b"/>
              <a:pathLst>
                <a:path w="98359" h="61930">
                  <a:moveTo>
                    <a:pt x="89251" y="29144"/>
                  </a:moveTo>
                  <a:lnTo>
                    <a:pt x="98359" y="29144"/>
                  </a:lnTo>
                  <a:lnTo>
                    <a:pt x="98359" y="38252"/>
                  </a:lnTo>
                  <a:lnTo>
                    <a:pt x="94716" y="40073"/>
                  </a:lnTo>
                  <a:lnTo>
                    <a:pt x="94716" y="38252"/>
                  </a:lnTo>
                  <a:lnTo>
                    <a:pt x="89251" y="32787"/>
                  </a:lnTo>
                  <a:close/>
                  <a:moveTo>
                    <a:pt x="71036" y="12750"/>
                  </a:moveTo>
                  <a:lnTo>
                    <a:pt x="72858" y="12750"/>
                  </a:lnTo>
                  <a:lnTo>
                    <a:pt x="78322" y="16393"/>
                  </a:lnTo>
                  <a:lnTo>
                    <a:pt x="81965" y="27322"/>
                  </a:lnTo>
                  <a:lnTo>
                    <a:pt x="78322" y="27322"/>
                  </a:lnTo>
                  <a:lnTo>
                    <a:pt x="72858" y="23679"/>
                  </a:lnTo>
                  <a:lnTo>
                    <a:pt x="71036" y="23679"/>
                  </a:lnTo>
                  <a:close/>
                  <a:moveTo>
                    <a:pt x="0" y="0"/>
                  </a:moveTo>
                  <a:lnTo>
                    <a:pt x="5465" y="1822"/>
                  </a:lnTo>
                  <a:lnTo>
                    <a:pt x="9108" y="1822"/>
                  </a:lnTo>
                  <a:lnTo>
                    <a:pt x="71038" y="54644"/>
                  </a:lnTo>
                  <a:lnTo>
                    <a:pt x="71038" y="56466"/>
                  </a:lnTo>
                  <a:lnTo>
                    <a:pt x="65574" y="61930"/>
                  </a:lnTo>
                  <a:lnTo>
                    <a:pt x="49180" y="51001"/>
                  </a:lnTo>
                  <a:lnTo>
                    <a:pt x="25501" y="32787"/>
                  </a:lnTo>
                  <a:lnTo>
                    <a:pt x="16394" y="29144"/>
                  </a:lnTo>
                  <a:lnTo>
                    <a:pt x="0"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 name="Australia - Mainland">
              <a:extLst>
                <a:ext uri="{FF2B5EF4-FFF2-40B4-BE49-F238E27FC236}">
                  <a16:creationId xmlns:a16="http://schemas.microsoft.com/office/drawing/2014/main" id="{EC41903A-0DB2-7618-6D1C-050CF94E94ED}"/>
                </a:ext>
              </a:extLst>
            </p:cNvPr>
            <p:cNvSpPr>
              <a:spLocks/>
            </p:cNvSpPr>
            <p:nvPr/>
          </p:nvSpPr>
          <p:spPr bwMode="auto">
            <a:xfrm>
              <a:off x="8498488" y="4838588"/>
              <a:ext cx="955937" cy="749932"/>
            </a:xfrm>
            <a:custGeom>
              <a:avLst/>
              <a:gdLst>
                <a:gd name="T0" fmla="*/ 391 w 529"/>
                <a:gd name="T1" fmla="*/ 16 h 415"/>
                <a:gd name="T2" fmla="*/ 410 w 529"/>
                <a:gd name="T3" fmla="*/ 49 h 415"/>
                <a:gd name="T4" fmla="*/ 432 w 529"/>
                <a:gd name="T5" fmla="*/ 105 h 415"/>
                <a:gd name="T6" fmla="*/ 449 w 529"/>
                <a:gd name="T7" fmla="*/ 117 h 415"/>
                <a:gd name="T8" fmla="*/ 467 w 529"/>
                <a:gd name="T9" fmla="*/ 136 h 415"/>
                <a:gd name="T10" fmla="*/ 483 w 529"/>
                <a:gd name="T11" fmla="*/ 156 h 415"/>
                <a:gd name="T12" fmla="*/ 492 w 529"/>
                <a:gd name="T13" fmla="*/ 160 h 415"/>
                <a:gd name="T14" fmla="*/ 529 w 529"/>
                <a:gd name="T15" fmla="*/ 252 h 415"/>
                <a:gd name="T16" fmla="*/ 492 w 529"/>
                <a:gd name="T17" fmla="*/ 351 h 415"/>
                <a:gd name="T18" fmla="*/ 474 w 529"/>
                <a:gd name="T19" fmla="*/ 393 h 415"/>
                <a:gd name="T20" fmla="*/ 438 w 529"/>
                <a:gd name="T21" fmla="*/ 409 h 415"/>
                <a:gd name="T22" fmla="*/ 422 w 529"/>
                <a:gd name="T23" fmla="*/ 400 h 415"/>
                <a:gd name="T24" fmla="*/ 412 w 529"/>
                <a:gd name="T25" fmla="*/ 399 h 415"/>
                <a:gd name="T26" fmla="*/ 370 w 529"/>
                <a:gd name="T27" fmla="*/ 402 h 415"/>
                <a:gd name="T28" fmla="*/ 346 w 529"/>
                <a:gd name="T29" fmla="*/ 366 h 415"/>
                <a:gd name="T30" fmla="*/ 330 w 529"/>
                <a:gd name="T31" fmla="*/ 344 h 415"/>
                <a:gd name="T32" fmla="*/ 309 w 529"/>
                <a:gd name="T33" fmla="*/ 351 h 415"/>
                <a:gd name="T34" fmla="*/ 323 w 529"/>
                <a:gd name="T35" fmla="*/ 323 h 415"/>
                <a:gd name="T36" fmla="*/ 305 w 529"/>
                <a:gd name="T37" fmla="*/ 334 h 415"/>
                <a:gd name="T38" fmla="*/ 287 w 529"/>
                <a:gd name="T39" fmla="*/ 338 h 415"/>
                <a:gd name="T40" fmla="*/ 274 w 529"/>
                <a:gd name="T41" fmla="*/ 314 h 415"/>
                <a:gd name="T42" fmla="*/ 252 w 529"/>
                <a:gd name="T43" fmla="*/ 302 h 415"/>
                <a:gd name="T44" fmla="*/ 195 w 529"/>
                <a:gd name="T45" fmla="*/ 302 h 415"/>
                <a:gd name="T46" fmla="*/ 90 w 529"/>
                <a:gd name="T47" fmla="*/ 331 h 415"/>
                <a:gd name="T48" fmla="*/ 63 w 529"/>
                <a:gd name="T49" fmla="*/ 350 h 415"/>
                <a:gd name="T50" fmla="*/ 40 w 529"/>
                <a:gd name="T51" fmla="*/ 345 h 415"/>
                <a:gd name="T52" fmla="*/ 31 w 529"/>
                <a:gd name="T53" fmla="*/ 325 h 415"/>
                <a:gd name="T54" fmla="*/ 13 w 529"/>
                <a:gd name="T55" fmla="*/ 240 h 415"/>
                <a:gd name="T56" fmla="*/ 4 w 529"/>
                <a:gd name="T57" fmla="*/ 215 h 415"/>
                <a:gd name="T58" fmla="*/ 10 w 529"/>
                <a:gd name="T59" fmla="*/ 215 h 415"/>
                <a:gd name="T60" fmla="*/ 6 w 529"/>
                <a:gd name="T61" fmla="*/ 159 h 415"/>
                <a:gd name="T62" fmla="*/ 17 w 529"/>
                <a:gd name="T63" fmla="*/ 153 h 415"/>
                <a:gd name="T64" fmla="*/ 49 w 529"/>
                <a:gd name="T65" fmla="*/ 133 h 415"/>
                <a:gd name="T66" fmla="*/ 83 w 529"/>
                <a:gd name="T67" fmla="*/ 126 h 415"/>
                <a:gd name="T68" fmla="*/ 115 w 529"/>
                <a:gd name="T69" fmla="*/ 92 h 415"/>
                <a:gd name="T70" fmla="*/ 127 w 529"/>
                <a:gd name="T71" fmla="*/ 77 h 415"/>
                <a:gd name="T72" fmla="*/ 135 w 529"/>
                <a:gd name="T73" fmla="*/ 76 h 415"/>
                <a:gd name="T74" fmla="*/ 145 w 529"/>
                <a:gd name="T75" fmla="*/ 76 h 415"/>
                <a:gd name="T76" fmla="*/ 154 w 529"/>
                <a:gd name="T77" fmla="*/ 59 h 415"/>
                <a:gd name="T78" fmla="*/ 161 w 529"/>
                <a:gd name="T79" fmla="*/ 52 h 415"/>
                <a:gd name="T80" fmla="*/ 167 w 529"/>
                <a:gd name="T81" fmla="*/ 44 h 415"/>
                <a:gd name="T82" fmla="*/ 194 w 529"/>
                <a:gd name="T83" fmla="*/ 61 h 415"/>
                <a:gd name="T84" fmla="*/ 215 w 529"/>
                <a:gd name="T85" fmla="*/ 56 h 415"/>
                <a:gd name="T86" fmla="*/ 220 w 529"/>
                <a:gd name="T87" fmla="*/ 34 h 415"/>
                <a:gd name="T88" fmla="*/ 231 w 529"/>
                <a:gd name="T89" fmla="*/ 24 h 415"/>
                <a:gd name="T90" fmla="*/ 244 w 529"/>
                <a:gd name="T91" fmla="*/ 10 h 415"/>
                <a:gd name="T92" fmla="*/ 247 w 529"/>
                <a:gd name="T93" fmla="*/ 9 h 415"/>
                <a:gd name="T94" fmla="*/ 258 w 529"/>
                <a:gd name="T95" fmla="*/ 10 h 415"/>
                <a:gd name="T96" fmla="*/ 287 w 529"/>
                <a:gd name="T97" fmla="*/ 22 h 415"/>
                <a:gd name="T98" fmla="*/ 303 w 529"/>
                <a:gd name="T99" fmla="*/ 18 h 415"/>
                <a:gd name="T100" fmla="*/ 305 w 529"/>
                <a:gd name="T101" fmla="*/ 30 h 415"/>
                <a:gd name="T102" fmla="*/ 301 w 529"/>
                <a:gd name="T103" fmla="*/ 38 h 415"/>
                <a:gd name="T104" fmla="*/ 293 w 529"/>
                <a:gd name="T105" fmla="*/ 59 h 415"/>
                <a:gd name="T106" fmla="*/ 315 w 529"/>
                <a:gd name="T107" fmla="*/ 70 h 415"/>
                <a:gd name="T108" fmla="*/ 352 w 529"/>
                <a:gd name="T109" fmla="*/ 95 h 415"/>
                <a:gd name="T110" fmla="*/ 373 w 529"/>
                <a:gd name="T111" fmla="*/ 2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15">
                  <a:moveTo>
                    <a:pt x="385" y="0"/>
                  </a:moveTo>
                  <a:lnTo>
                    <a:pt x="386" y="0"/>
                  </a:lnTo>
                  <a:lnTo>
                    <a:pt x="388" y="4"/>
                  </a:lnTo>
                  <a:lnTo>
                    <a:pt x="388" y="15"/>
                  </a:lnTo>
                  <a:lnTo>
                    <a:pt x="391" y="16"/>
                  </a:lnTo>
                  <a:lnTo>
                    <a:pt x="391" y="22"/>
                  </a:lnTo>
                  <a:lnTo>
                    <a:pt x="395" y="27"/>
                  </a:lnTo>
                  <a:lnTo>
                    <a:pt x="401" y="49"/>
                  </a:lnTo>
                  <a:lnTo>
                    <a:pt x="403" y="50"/>
                  </a:lnTo>
                  <a:lnTo>
                    <a:pt x="410" y="49"/>
                  </a:lnTo>
                  <a:lnTo>
                    <a:pt x="412" y="49"/>
                  </a:lnTo>
                  <a:lnTo>
                    <a:pt x="421" y="59"/>
                  </a:lnTo>
                  <a:lnTo>
                    <a:pt x="424" y="80"/>
                  </a:lnTo>
                  <a:lnTo>
                    <a:pt x="428" y="84"/>
                  </a:lnTo>
                  <a:lnTo>
                    <a:pt x="432" y="105"/>
                  </a:lnTo>
                  <a:lnTo>
                    <a:pt x="434" y="107"/>
                  </a:lnTo>
                  <a:lnTo>
                    <a:pt x="435" y="113"/>
                  </a:lnTo>
                  <a:lnTo>
                    <a:pt x="441" y="116"/>
                  </a:lnTo>
                  <a:lnTo>
                    <a:pt x="449" y="116"/>
                  </a:lnTo>
                  <a:lnTo>
                    <a:pt x="449" y="117"/>
                  </a:lnTo>
                  <a:lnTo>
                    <a:pt x="452" y="123"/>
                  </a:lnTo>
                  <a:lnTo>
                    <a:pt x="458" y="124"/>
                  </a:lnTo>
                  <a:lnTo>
                    <a:pt x="467" y="130"/>
                  </a:lnTo>
                  <a:lnTo>
                    <a:pt x="468" y="130"/>
                  </a:lnTo>
                  <a:lnTo>
                    <a:pt x="467" y="136"/>
                  </a:lnTo>
                  <a:lnTo>
                    <a:pt x="469" y="138"/>
                  </a:lnTo>
                  <a:lnTo>
                    <a:pt x="475" y="147"/>
                  </a:lnTo>
                  <a:lnTo>
                    <a:pt x="478" y="160"/>
                  </a:lnTo>
                  <a:lnTo>
                    <a:pt x="480" y="160"/>
                  </a:lnTo>
                  <a:lnTo>
                    <a:pt x="483" y="156"/>
                  </a:lnTo>
                  <a:lnTo>
                    <a:pt x="489" y="162"/>
                  </a:lnTo>
                  <a:lnTo>
                    <a:pt x="490" y="160"/>
                  </a:lnTo>
                  <a:lnTo>
                    <a:pt x="490" y="159"/>
                  </a:lnTo>
                  <a:lnTo>
                    <a:pt x="492" y="159"/>
                  </a:lnTo>
                  <a:lnTo>
                    <a:pt x="492" y="160"/>
                  </a:lnTo>
                  <a:lnTo>
                    <a:pt x="495" y="175"/>
                  </a:lnTo>
                  <a:lnTo>
                    <a:pt x="512" y="191"/>
                  </a:lnTo>
                  <a:lnTo>
                    <a:pt x="523" y="209"/>
                  </a:lnTo>
                  <a:lnTo>
                    <a:pt x="523" y="228"/>
                  </a:lnTo>
                  <a:lnTo>
                    <a:pt x="529" y="252"/>
                  </a:lnTo>
                  <a:lnTo>
                    <a:pt x="521" y="291"/>
                  </a:lnTo>
                  <a:lnTo>
                    <a:pt x="514" y="307"/>
                  </a:lnTo>
                  <a:lnTo>
                    <a:pt x="499" y="326"/>
                  </a:lnTo>
                  <a:lnTo>
                    <a:pt x="501" y="329"/>
                  </a:lnTo>
                  <a:lnTo>
                    <a:pt x="492" y="351"/>
                  </a:lnTo>
                  <a:lnTo>
                    <a:pt x="490" y="351"/>
                  </a:lnTo>
                  <a:lnTo>
                    <a:pt x="486" y="360"/>
                  </a:lnTo>
                  <a:lnTo>
                    <a:pt x="483" y="388"/>
                  </a:lnTo>
                  <a:lnTo>
                    <a:pt x="481" y="388"/>
                  </a:lnTo>
                  <a:lnTo>
                    <a:pt x="474" y="393"/>
                  </a:lnTo>
                  <a:lnTo>
                    <a:pt x="458" y="394"/>
                  </a:lnTo>
                  <a:lnTo>
                    <a:pt x="441" y="408"/>
                  </a:lnTo>
                  <a:lnTo>
                    <a:pt x="434" y="408"/>
                  </a:lnTo>
                  <a:lnTo>
                    <a:pt x="434" y="409"/>
                  </a:lnTo>
                  <a:lnTo>
                    <a:pt x="438" y="409"/>
                  </a:lnTo>
                  <a:lnTo>
                    <a:pt x="438" y="411"/>
                  </a:lnTo>
                  <a:lnTo>
                    <a:pt x="435" y="415"/>
                  </a:lnTo>
                  <a:lnTo>
                    <a:pt x="434" y="415"/>
                  </a:lnTo>
                  <a:lnTo>
                    <a:pt x="424" y="405"/>
                  </a:lnTo>
                  <a:lnTo>
                    <a:pt x="422" y="400"/>
                  </a:lnTo>
                  <a:lnTo>
                    <a:pt x="415" y="402"/>
                  </a:lnTo>
                  <a:lnTo>
                    <a:pt x="416" y="397"/>
                  </a:lnTo>
                  <a:lnTo>
                    <a:pt x="415" y="394"/>
                  </a:lnTo>
                  <a:lnTo>
                    <a:pt x="410" y="397"/>
                  </a:lnTo>
                  <a:lnTo>
                    <a:pt x="412" y="399"/>
                  </a:lnTo>
                  <a:lnTo>
                    <a:pt x="395" y="409"/>
                  </a:lnTo>
                  <a:lnTo>
                    <a:pt x="384" y="403"/>
                  </a:lnTo>
                  <a:lnTo>
                    <a:pt x="375" y="400"/>
                  </a:lnTo>
                  <a:lnTo>
                    <a:pt x="372" y="402"/>
                  </a:lnTo>
                  <a:lnTo>
                    <a:pt x="370" y="402"/>
                  </a:lnTo>
                  <a:lnTo>
                    <a:pt x="357" y="394"/>
                  </a:lnTo>
                  <a:lnTo>
                    <a:pt x="351" y="387"/>
                  </a:lnTo>
                  <a:lnTo>
                    <a:pt x="346" y="379"/>
                  </a:lnTo>
                  <a:lnTo>
                    <a:pt x="348" y="372"/>
                  </a:lnTo>
                  <a:lnTo>
                    <a:pt x="346" y="366"/>
                  </a:lnTo>
                  <a:lnTo>
                    <a:pt x="341" y="359"/>
                  </a:lnTo>
                  <a:lnTo>
                    <a:pt x="342" y="354"/>
                  </a:lnTo>
                  <a:lnTo>
                    <a:pt x="327" y="357"/>
                  </a:lnTo>
                  <a:lnTo>
                    <a:pt x="330" y="351"/>
                  </a:lnTo>
                  <a:lnTo>
                    <a:pt x="330" y="344"/>
                  </a:lnTo>
                  <a:lnTo>
                    <a:pt x="326" y="336"/>
                  </a:lnTo>
                  <a:lnTo>
                    <a:pt x="321" y="350"/>
                  </a:lnTo>
                  <a:lnTo>
                    <a:pt x="318" y="350"/>
                  </a:lnTo>
                  <a:lnTo>
                    <a:pt x="314" y="351"/>
                  </a:lnTo>
                  <a:lnTo>
                    <a:pt x="309" y="351"/>
                  </a:lnTo>
                  <a:lnTo>
                    <a:pt x="309" y="350"/>
                  </a:lnTo>
                  <a:lnTo>
                    <a:pt x="311" y="345"/>
                  </a:lnTo>
                  <a:lnTo>
                    <a:pt x="317" y="344"/>
                  </a:lnTo>
                  <a:lnTo>
                    <a:pt x="317" y="334"/>
                  </a:lnTo>
                  <a:lnTo>
                    <a:pt x="323" y="323"/>
                  </a:lnTo>
                  <a:lnTo>
                    <a:pt x="324" y="317"/>
                  </a:lnTo>
                  <a:lnTo>
                    <a:pt x="323" y="311"/>
                  </a:lnTo>
                  <a:lnTo>
                    <a:pt x="321" y="314"/>
                  </a:lnTo>
                  <a:lnTo>
                    <a:pt x="315" y="328"/>
                  </a:lnTo>
                  <a:lnTo>
                    <a:pt x="305" y="334"/>
                  </a:lnTo>
                  <a:lnTo>
                    <a:pt x="299" y="341"/>
                  </a:lnTo>
                  <a:lnTo>
                    <a:pt x="299" y="348"/>
                  </a:lnTo>
                  <a:lnTo>
                    <a:pt x="298" y="348"/>
                  </a:lnTo>
                  <a:lnTo>
                    <a:pt x="287" y="342"/>
                  </a:lnTo>
                  <a:lnTo>
                    <a:pt x="287" y="338"/>
                  </a:lnTo>
                  <a:lnTo>
                    <a:pt x="290" y="339"/>
                  </a:lnTo>
                  <a:lnTo>
                    <a:pt x="290" y="336"/>
                  </a:lnTo>
                  <a:lnTo>
                    <a:pt x="281" y="319"/>
                  </a:lnTo>
                  <a:lnTo>
                    <a:pt x="274" y="316"/>
                  </a:lnTo>
                  <a:lnTo>
                    <a:pt x="274" y="314"/>
                  </a:lnTo>
                  <a:lnTo>
                    <a:pt x="275" y="310"/>
                  </a:lnTo>
                  <a:lnTo>
                    <a:pt x="265" y="304"/>
                  </a:lnTo>
                  <a:lnTo>
                    <a:pt x="265" y="305"/>
                  </a:lnTo>
                  <a:lnTo>
                    <a:pt x="255" y="301"/>
                  </a:lnTo>
                  <a:lnTo>
                    <a:pt x="252" y="302"/>
                  </a:lnTo>
                  <a:lnTo>
                    <a:pt x="250" y="302"/>
                  </a:lnTo>
                  <a:lnTo>
                    <a:pt x="243" y="295"/>
                  </a:lnTo>
                  <a:lnTo>
                    <a:pt x="232" y="293"/>
                  </a:lnTo>
                  <a:lnTo>
                    <a:pt x="210" y="295"/>
                  </a:lnTo>
                  <a:lnTo>
                    <a:pt x="195" y="302"/>
                  </a:lnTo>
                  <a:lnTo>
                    <a:pt x="170" y="305"/>
                  </a:lnTo>
                  <a:lnTo>
                    <a:pt x="143" y="317"/>
                  </a:lnTo>
                  <a:lnTo>
                    <a:pt x="137" y="328"/>
                  </a:lnTo>
                  <a:lnTo>
                    <a:pt x="137" y="329"/>
                  </a:lnTo>
                  <a:lnTo>
                    <a:pt x="90" y="331"/>
                  </a:lnTo>
                  <a:lnTo>
                    <a:pt x="83" y="338"/>
                  </a:lnTo>
                  <a:lnTo>
                    <a:pt x="75" y="339"/>
                  </a:lnTo>
                  <a:lnTo>
                    <a:pt x="68" y="347"/>
                  </a:lnTo>
                  <a:lnTo>
                    <a:pt x="63" y="347"/>
                  </a:lnTo>
                  <a:lnTo>
                    <a:pt x="63" y="350"/>
                  </a:lnTo>
                  <a:lnTo>
                    <a:pt x="59" y="350"/>
                  </a:lnTo>
                  <a:lnTo>
                    <a:pt x="54" y="348"/>
                  </a:lnTo>
                  <a:lnTo>
                    <a:pt x="51" y="348"/>
                  </a:lnTo>
                  <a:lnTo>
                    <a:pt x="43" y="345"/>
                  </a:lnTo>
                  <a:lnTo>
                    <a:pt x="40" y="345"/>
                  </a:lnTo>
                  <a:lnTo>
                    <a:pt x="31" y="336"/>
                  </a:lnTo>
                  <a:lnTo>
                    <a:pt x="26" y="335"/>
                  </a:lnTo>
                  <a:lnTo>
                    <a:pt x="25" y="335"/>
                  </a:lnTo>
                  <a:lnTo>
                    <a:pt x="25" y="325"/>
                  </a:lnTo>
                  <a:lnTo>
                    <a:pt x="31" y="325"/>
                  </a:lnTo>
                  <a:lnTo>
                    <a:pt x="34" y="317"/>
                  </a:lnTo>
                  <a:lnTo>
                    <a:pt x="34" y="295"/>
                  </a:lnTo>
                  <a:lnTo>
                    <a:pt x="23" y="276"/>
                  </a:lnTo>
                  <a:lnTo>
                    <a:pt x="22" y="258"/>
                  </a:lnTo>
                  <a:lnTo>
                    <a:pt x="13" y="240"/>
                  </a:lnTo>
                  <a:lnTo>
                    <a:pt x="10" y="227"/>
                  </a:lnTo>
                  <a:lnTo>
                    <a:pt x="0" y="215"/>
                  </a:lnTo>
                  <a:lnTo>
                    <a:pt x="0" y="213"/>
                  </a:lnTo>
                  <a:lnTo>
                    <a:pt x="1" y="213"/>
                  </a:lnTo>
                  <a:lnTo>
                    <a:pt x="4" y="215"/>
                  </a:lnTo>
                  <a:lnTo>
                    <a:pt x="7" y="219"/>
                  </a:lnTo>
                  <a:lnTo>
                    <a:pt x="9" y="218"/>
                  </a:lnTo>
                  <a:lnTo>
                    <a:pt x="7" y="212"/>
                  </a:lnTo>
                  <a:lnTo>
                    <a:pt x="9" y="212"/>
                  </a:lnTo>
                  <a:lnTo>
                    <a:pt x="10" y="215"/>
                  </a:lnTo>
                  <a:lnTo>
                    <a:pt x="13" y="212"/>
                  </a:lnTo>
                  <a:lnTo>
                    <a:pt x="3" y="190"/>
                  </a:lnTo>
                  <a:lnTo>
                    <a:pt x="3" y="182"/>
                  </a:lnTo>
                  <a:lnTo>
                    <a:pt x="7" y="173"/>
                  </a:lnTo>
                  <a:lnTo>
                    <a:pt x="6" y="159"/>
                  </a:lnTo>
                  <a:lnTo>
                    <a:pt x="10" y="153"/>
                  </a:lnTo>
                  <a:lnTo>
                    <a:pt x="10" y="150"/>
                  </a:lnTo>
                  <a:lnTo>
                    <a:pt x="11" y="150"/>
                  </a:lnTo>
                  <a:lnTo>
                    <a:pt x="13" y="159"/>
                  </a:lnTo>
                  <a:lnTo>
                    <a:pt x="17" y="153"/>
                  </a:lnTo>
                  <a:lnTo>
                    <a:pt x="17" y="151"/>
                  </a:lnTo>
                  <a:lnTo>
                    <a:pt x="29" y="148"/>
                  </a:lnTo>
                  <a:lnTo>
                    <a:pt x="35" y="141"/>
                  </a:lnTo>
                  <a:lnTo>
                    <a:pt x="46" y="133"/>
                  </a:lnTo>
                  <a:lnTo>
                    <a:pt x="49" y="133"/>
                  </a:lnTo>
                  <a:lnTo>
                    <a:pt x="51" y="135"/>
                  </a:lnTo>
                  <a:lnTo>
                    <a:pt x="57" y="135"/>
                  </a:lnTo>
                  <a:lnTo>
                    <a:pt x="72" y="129"/>
                  </a:lnTo>
                  <a:lnTo>
                    <a:pt x="77" y="126"/>
                  </a:lnTo>
                  <a:lnTo>
                    <a:pt x="83" y="126"/>
                  </a:lnTo>
                  <a:lnTo>
                    <a:pt x="100" y="120"/>
                  </a:lnTo>
                  <a:lnTo>
                    <a:pt x="108" y="114"/>
                  </a:lnTo>
                  <a:lnTo>
                    <a:pt x="112" y="105"/>
                  </a:lnTo>
                  <a:lnTo>
                    <a:pt x="118" y="99"/>
                  </a:lnTo>
                  <a:lnTo>
                    <a:pt x="115" y="92"/>
                  </a:lnTo>
                  <a:lnTo>
                    <a:pt x="117" y="92"/>
                  </a:lnTo>
                  <a:lnTo>
                    <a:pt x="118" y="86"/>
                  </a:lnTo>
                  <a:lnTo>
                    <a:pt x="124" y="81"/>
                  </a:lnTo>
                  <a:lnTo>
                    <a:pt x="126" y="77"/>
                  </a:lnTo>
                  <a:lnTo>
                    <a:pt x="127" y="77"/>
                  </a:lnTo>
                  <a:lnTo>
                    <a:pt x="135" y="90"/>
                  </a:lnTo>
                  <a:lnTo>
                    <a:pt x="135" y="86"/>
                  </a:lnTo>
                  <a:lnTo>
                    <a:pt x="137" y="86"/>
                  </a:lnTo>
                  <a:lnTo>
                    <a:pt x="135" y="80"/>
                  </a:lnTo>
                  <a:lnTo>
                    <a:pt x="135" y="76"/>
                  </a:lnTo>
                  <a:lnTo>
                    <a:pt x="140" y="74"/>
                  </a:lnTo>
                  <a:lnTo>
                    <a:pt x="143" y="79"/>
                  </a:lnTo>
                  <a:lnTo>
                    <a:pt x="146" y="79"/>
                  </a:lnTo>
                  <a:lnTo>
                    <a:pt x="145" y="77"/>
                  </a:lnTo>
                  <a:lnTo>
                    <a:pt x="145" y="76"/>
                  </a:lnTo>
                  <a:lnTo>
                    <a:pt x="148" y="70"/>
                  </a:lnTo>
                  <a:lnTo>
                    <a:pt x="148" y="65"/>
                  </a:lnTo>
                  <a:lnTo>
                    <a:pt x="154" y="64"/>
                  </a:lnTo>
                  <a:lnTo>
                    <a:pt x="152" y="59"/>
                  </a:lnTo>
                  <a:lnTo>
                    <a:pt x="154" y="59"/>
                  </a:lnTo>
                  <a:lnTo>
                    <a:pt x="154" y="58"/>
                  </a:lnTo>
                  <a:lnTo>
                    <a:pt x="157" y="59"/>
                  </a:lnTo>
                  <a:lnTo>
                    <a:pt x="155" y="53"/>
                  </a:lnTo>
                  <a:lnTo>
                    <a:pt x="160" y="53"/>
                  </a:lnTo>
                  <a:lnTo>
                    <a:pt x="161" y="52"/>
                  </a:lnTo>
                  <a:lnTo>
                    <a:pt x="164" y="52"/>
                  </a:lnTo>
                  <a:lnTo>
                    <a:pt x="164" y="53"/>
                  </a:lnTo>
                  <a:lnTo>
                    <a:pt x="166" y="52"/>
                  </a:lnTo>
                  <a:lnTo>
                    <a:pt x="166" y="44"/>
                  </a:lnTo>
                  <a:lnTo>
                    <a:pt x="167" y="44"/>
                  </a:lnTo>
                  <a:lnTo>
                    <a:pt x="169" y="47"/>
                  </a:lnTo>
                  <a:lnTo>
                    <a:pt x="179" y="43"/>
                  </a:lnTo>
                  <a:lnTo>
                    <a:pt x="188" y="46"/>
                  </a:lnTo>
                  <a:lnTo>
                    <a:pt x="197" y="55"/>
                  </a:lnTo>
                  <a:lnTo>
                    <a:pt x="194" y="61"/>
                  </a:lnTo>
                  <a:lnTo>
                    <a:pt x="195" y="59"/>
                  </a:lnTo>
                  <a:lnTo>
                    <a:pt x="200" y="56"/>
                  </a:lnTo>
                  <a:lnTo>
                    <a:pt x="209" y="56"/>
                  </a:lnTo>
                  <a:lnTo>
                    <a:pt x="215" y="59"/>
                  </a:lnTo>
                  <a:lnTo>
                    <a:pt x="215" y="56"/>
                  </a:lnTo>
                  <a:lnTo>
                    <a:pt x="210" y="50"/>
                  </a:lnTo>
                  <a:lnTo>
                    <a:pt x="218" y="38"/>
                  </a:lnTo>
                  <a:lnTo>
                    <a:pt x="222" y="37"/>
                  </a:lnTo>
                  <a:lnTo>
                    <a:pt x="222" y="36"/>
                  </a:lnTo>
                  <a:lnTo>
                    <a:pt x="220" y="34"/>
                  </a:lnTo>
                  <a:lnTo>
                    <a:pt x="222" y="30"/>
                  </a:lnTo>
                  <a:lnTo>
                    <a:pt x="222" y="28"/>
                  </a:lnTo>
                  <a:lnTo>
                    <a:pt x="228" y="25"/>
                  </a:lnTo>
                  <a:lnTo>
                    <a:pt x="231" y="28"/>
                  </a:lnTo>
                  <a:lnTo>
                    <a:pt x="231" y="24"/>
                  </a:lnTo>
                  <a:lnTo>
                    <a:pt x="232" y="22"/>
                  </a:lnTo>
                  <a:lnTo>
                    <a:pt x="247" y="22"/>
                  </a:lnTo>
                  <a:lnTo>
                    <a:pt x="252" y="19"/>
                  </a:lnTo>
                  <a:lnTo>
                    <a:pt x="252" y="15"/>
                  </a:lnTo>
                  <a:lnTo>
                    <a:pt x="244" y="10"/>
                  </a:lnTo>
                  <a:lnTo>
                    <a:pt x="241" y="10"/>
                  </a:lnTo>
                  <a:lnTo>
                    <a:pt x="241" y="9"/>
                  </a:lnTo>
                  <a:lnTo>
                    <a:pt x="243" y="9"/>
                  </a:lnTo>
                  <a:lnTo>
                    <a:pt x="246" y="7"/>
                  </a:lnTo>
                  <a:lnTo>
                    <a:pt x="247" y="9"/>
                  </a:lnTo>
                  <a:lnTo>
                    <a:pt x="249" y="7"/>
                  </a:lnTo>
                  <a:lnTo>
                    <a:pt x="250" y="7"/>
                  </a:lnTo>
                  <a:lnTo>
                    <a:pt x="255" y="12"/>
                  </a:lnTo>
                  <a:lnTo>
                    <a:pt x="256" y="10"/>
                  </a:lnTo>
                  <a:lnTo>
                    <a:pt x="258" y="10"/>
                  </a:lnTo>
                  <a:lnTo>
                    <a:pt x="260" y="15"/>
                  </a:lnTo>
                  <a:lnTo>
                    <a:pt x="268" y="15"/>
                  </a:lnTo>
                  <a:lnTo>
                    <a:pt x="275" y="19"/>
                  </a:lnTo>
                  <a:lnTo>
                    <a:pt x="281" y="19"/>
                  </a:lnTo>
                  <a:lnTo>
                    <a:pt x="287" y="22"/>
                  </a:lnTo>
                  <a:lnTo>
                    <a:pt x="298" y="18"/>
                  </a:lnTo>
                  <a:lnTo>
                    <a:pt x="298" y="19"/>
                  </a:lnTo>
                  <a:lnTo>
                    <a:pt x="299" y="19"/>
                  </a:lnTo>
                  <a:lnTo>
                    <a:pt x="299" y="24"/>
                  </a:lnTo>
                  <a:lnTo>
                    <a:pt x="303" y="18"/>
                  </a:lnTo>
                  <a:lnTo>
                    <a:pt x="305" y="18"/>
                  </a:lnTo>
                  <a:lnTo>
                    <a:pt x="306" y="22"/>
                  </a:lnTo>
                  <a:lnTo>
                    <a:pt x="309" y="22"/>
                  </a:lnTo>
                  <a:lnTo>
                    <a:pt x="309" y="24"/>
                  </a:lnTo>
                  <a:lnTo>
                    <a:pt x="305" y="30"/>
                  </a:lnTo>
                  <a:lnTo>
                    <a:pt x="306" y="33"/>
                  </a:lnTo>
                  <a:lnTo>
                    <a:pt x="305" y="36"/>
                  </a:lnTo>
                  <a:lnTo>
                    <a:pt x="302" y="36"/>
                  </a:lnTo>
                  <a:lnTo>
                    <a:pt x="302" y="38"/>
                  </a:lnTo>
                  <a:lnTo>
                    <a:pt x="301" y="38"/>
                  </a:lnTo>
                  <a:lnTo>
                    <a:pt x="299" y="37"/>
                  </a:lnTo>
                  <a:lnTo>
                    <a:pt x="298" y="41"/>
                  </a:lnTo>
                  <a:lnTo>
                    <a:pt x="299" y="40"/>
                  </a:lnTo>
                  <a:lnTo>
                    <a:pt x="299" y="41"/>
                  </a:lnTo>
                  <a:lnTo>
                    <a:pt x="293" y="59"/>
                  </a:lnTo>
                  <a:lnTo>
                    <a:pt x="303" y="64"/>
                  </a:lnTo>
                  <a:lnTo>
                    <a:pt x="305" y="71"/>
                  </a:lnTo>
                  <a:lnTo>
                    <a:pt x="308" y="71"/>
                  </a:lnTo>
                  <a:lnTo>
                    <a:pt x="311" y="70"/>
                  </a:lnTo>
                  <a:lnTo>
                    <a:pt x="315" y="70"/>
                  </a:lnTo>
                  <a:lnTo>
                    <a:pt x="315" y="71"/>
                  </a:lnTo>
                  <a:lnTo>
                    <a:pt x="326" y="80"/>
                  </a:lnTo>
                  <a:lnTo>
                    <a:pt x="338" y="83"/>
                  </a:lnTo>
                  <a:lnTo>
                    <a:pt x="342" y="89"/>
                  </a:lnTo>
                  <a:lnTo>
                    <a:pt x="352" y="95"/>
                  </a:lnTo>
                  <a:lnTo>
                    <a:pt x="361" y="92"/>
                  </a:lnTo>
                  <a:lnTo>
                    <a:pt x="366" y="80"/>
                  </a:lnTo>
                  <a:lnTo>
                    <a:pt x="370" y="59"/>
                  </a:lnTo>
                  <a:lnTo>
                    <a:pt x="370" y="40"/>
                  </a:lnTo>
                  <a:lnTo>
                    <a:pt x="373" y="27"/>
                  </a:lnTo>
                  <a:lnTo>
                    <a:pt x="370" y="24"/>
                  </a:lnTo>
                  <a:lnTo>
                    <a:pt x="379" y="4"/>
                  </a:lnTo>
                  <a:lnTo>
                    <a:pt x="38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 name="Australia - Offshore">
              <a:extLst>
                <a:ext uri="{FF2B5EF4-FFF2-40B4-BE49-F238E27FC236}">
                  <a16:creationId xmlns:a16="http://schemas.microsoft.com/office/drawing/2014/main" id="{AE476159-0EDF-060D-1FEC-68792A33F0E7}"/>
                </a:ext>
              </a:extLst>
            </p:cNvPr>
            <p:cNvSpPr>
              <a:spLocks/>
            </p:cNvSpPr>
            <p:nvPr/>
          </p:nvSpPr>
          <p:spPr bwMode="auto">
            <a:xfrm>
              <a:off x="8894235" y="4851238"/>
              <a:ext cx="554769" cy="646929"/>
            </a:xfrm>
            <a:custGeom>
              <a:avLst/>
              <a:gdLst/>
              <a:ahLst/>
              <a:cxnLst/>
              <a:rect l="l" t="t" r="r" b="b"/>
              <a:pathLst>
                <a:path w="559191" h="652086">
                  <a:moveTo>
                    <a:pt x="174861" y="635692"/>
                  </a:moveTo>
                  <a:lnTo>
                    <a:pt x="194897" y="646622"/>
                  </a:lnTo>
                  <a:lnTo>
                    <a:pt x="194897" y="648443"/>
                  </a:lnTo>
                  <a:lnTo>
                    <a:pt x="185790" y="648443"/>
                  </a:lnTo>
                  <a:lnTo>
                    <a:pt x="180325" y="652086"/>
                  </a:lnTo>
                  <a:lnTo>
                    <a:pt x="158468" y="652086"/>
                  </a:lnTo>
                  <a:lnTo>
                    <a:pt x="156646" y="642978"/>
                  </a:lnTo>
                  <a:lnTo>
                    <a:pt x="156646" y="641157"/>
                  </a:lnTo>
                  <a:lnTo>
                    <a:pt x="158468" y="641157"/>
                  </a:lnTo>
                  <a:close/>
                  <a:moveTo>
                    <a:pt x="553726" y="338793"/>
                  </a:moveTo>
                  <a:lnTo>
                    <a:pt x="555548" y="338793"/>
                  </a:lnTo>
                  <a:lnTo>
                    <a:pt x="559191" y="349722"/>
                  </a:lnTo>
                  <a:lnTo>
                    <a:pt x="553726" y="362473"/>
                  </a:lnTo>
                  <a:lnTo>
                    <a:pt x="550083" y="362473"/>
                  </a:lnTo>
                  <a:close/>
                  <a:moveTo>
                    <a:pt x="229505" y="127503"/>
                  </a:moveTo>
                  <a:lnTo>
                    <a:pt x="231327" y="127503"/>
                  </a:lnTo>
                  <a:lnTo>
                    <a:pt x="236791" y="131146"/>
                  </a:lnTo>
                  <a:lnTo>
                    <a:pt x="236791" y="132967"/>
                  </a:lnTo>
                  <a:lnTo>
                    <a:pt x="234970" y="132967"/>
                  </a:lnTo>
                  <a:lnTo>
                    <a:pt x="224041" y="138432"/>
                  </a:lnTo>
                  <a:lnTo>
                    <a:pt x="222219" y="138432"/>
                  </a:lnTo>
                  <a:lnTo>
                    <a:pt x="222219" y="132967"/>
                  </a:lnTo>
                  <a:close/>
                  <a:moveTo>
                    <a:pt x="153003" y="61930"/>
                  </a:moveTo>
                  <a:lnTo>
                    <a:pt x="163932" y="61930"/>
                  </a:lnTo>
                  <a:lnTo>
                    <a:pt x="163932" y="65573"/>
                  </a:lnTo>
                  <a:lnTo>
                    <a:pt x="167575" y="72859"/>
                  </a:lnTo>
                  <a:lnTo>
                    <a:pt x="167575" y="76502"/>
                  </a:lnTo>
                  <a:lnTo>
                    <a:pt x="156646" y="78324"/>
                  </a:lnTo>
                  <a:lnTo>
                    <a:pt x="156646" y="76502"/>
                  </a:lnTo>
                  <a:lnTo>
                    <a:pt x="153003" y="65573"/>
                  </a:lnTo>
                  <a:close/>
                  <a:moveTo>
                    <a:pt x="7286" y="0"/>
                  </a:moveTo>
                  <a:lnTo>
                    <a:pt x="10929" y="0"/>
                  </a:lnTo>
                  <a:lnTo>
                    <a:pt x="18215" y="5464"/>
                  </a:lnTo>
                  <a:lnTo>
                    <a:pt x="29144" y="0"/>
                  </a:lnTo>
                  <a:lnTo>
                    <a:pt x="32787" y="0"/>
                  </a:lnTo>
                  <a:lnTo>
                    <a:pt x="38252" y="9107"/>
                  </a:lnTo>
                  <a:lnTo>
                    <a:pt x="38252" y="10929"/>
                  </a:lnTo>
                  <a:lnTo>
                    <a:pt x="34609" y="10929"/>
                  </a:lnTo>
                  <a:lnTo>
                    <a:pt x="23680" y="20037"/>
                  </a:lnTo>
                  <a:lnTo>
                    <a:pt x="21858" y="20037"/>
                  </a:lnTo>
                  <a:lnTo>
                    <a:pt x="14570" y="16393"/>
                  </a:lnTo>
                  <a:lnTo>
                    <a:pt x="12751" y="16393"/>
                  </a:lnTo>
                  <a:lnTo>
                    <a:pt x="10929" y="20036"/>
                  </a:lnTo>
                  <a:lnTo>
                    <a:pt x="1821" y="20036"/>
                  </a:lnTo>
                  <a:lnTo>
                    <a:pt x="0" y="14571"/>
                  </a:lnTo>
                  <a:lnTo>
                    <a:pt x="0" y="10928"/>
                  </a:lnTo>
                  <a:lnTo>
                    <a:pt x="5464" y="5464"/>
                  </a:lnTo>
                  <a:lnTo>
                    <a:pt x="7286" y="5464"/>
                  </a:lnTo>
                  <a:lnTo>
                    <a:pt x="9561" y="8194"/>
                  </a:lnTo>
                  <a:lnTo>
                    <a:pt x="7286"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 name="Tasmania">
              <a:extLst>
                <a:ext uri="{FF2B5EF4-FFF2-40B4-BE49-F238E27FC236}">
                  <a16:creationId xmlns:a16="http://schemas.microsoft.com/office/drawing/2014/main" id="{68828943-FCB3-6423-01A5-8254B4709A91}"/>
                </a:ext>
              </a:extLst>
            </p:cNvPr>
            <p:cNvSpPr>
              <a:spLocks/>
            </p:cNvSpPr>
            <p:nvPr/>
          </p:nvSpPr>
          <p:spPr bwMode="auto">
            <a:xfrm>
              <a:off x="9244806" y="5604783"/>
              <a:ext cx="88545" cy="122880"/>
            </a:xfrm>
            <a:custGeom>
              <a:avLst/>
              <a:gdLst/>
              <a:ahLst/>
              <a:cxnLst/>
              <a:rect l="l" t="t" r="r" b="b"/>
              <a:pathLst>
                <a:path w="89251" h="123859">
                  <a:moveTo>
                    <a:pt x="0" y="29143"/>
                  </a:moveTo>
                  <a:lnTo>
                    <a:pt x="3643" y="29143"/>
                  </a:lnTo>
                  <a:lnTo>
                    <a:pt x="43715" y="43715"/>
                  </a:lnTo>
                  <a:lnTo>
                    <a:pt x="78323" y="32786"/>
                  </a:lnTo>
                  <a:lnTo>
                    <a:pt x="81966" y="32786"/>
                  </a:lnTo>
                  <a:lnTo>
                    <a:pt x="81966" y="34608"/>
                  </a:lnTo>
                  <a:lnTo>
                    <a:pt x="87430" y="49179"/>
                  </a:lnTo>
                  <a:lnTo>
                    <a:pt x="87430" y="72858"/>
                  </a:lnTo>
                  <a:lnTo>
                    <a:pt x="78323" y="96537"/>
                  </a:lnTo>
                  <a:lnTo>
                    <a:pt x="76501" y="96537"/>
                  </a:lnTo>
                  <a:lnTo>
                    <a:pt x="67394" y="100180"/>
                  </a:lnTo>
                  <a:lnTo>
                    <a:pt x="61930" y="112930"/>
                  </a:lnTo>
                  <a:lnTo>
                    <a:pt x="56465" y="112930"/>
                  </a:lnTo>
                  <a:lnTo>
                    <a:pt x="51001" y="123859"/>
                  </a:lnTo>
                  <a:lnTo>
                    <a:pt x="32786" y="122038"/>
                  </a:lnTo>
                  <a:lnTo>
                    <a:pt x="29144" y="122038"/>
                  </a:lnTo>
                  <a:lnTo>
                    <a:pt x="29144" y="118395"/>
                  </a:lnTo>
                  <a:lnTo>
                    <a:pt x="34608" y="116573"/>
                  </a:lnTo>
                  <a:lnTo>
                    <a:pt x="27322" y="112930"/>
                  </a:lnTo>
                  <a:lnTo>
                    <a:pt x="14572" y="96537"/>
                  </a:lnTo>
                  <a:lnTo>
                    <a:pt x="10929" y="74680"/>
                  </a:lnTo>
                  <a:lnTo>
                    <a:pt x="14572" y="74680"/>
                  </a:lnTo>
                  <a:lnTo>
                    <a:pt x="16393" y="83787"/>
                  </a:lnTo>
                  <a:lnTo>
                    <a:pt x="20036" y="80144"/>
                  </a:lnTo>
                  <a:lnTo>
                    <a:pt x="0" y="49179"/>
                  </a:lnTo>
                  <a:close/>
                  <a:moveTo>
                    <a:pt x="83787" y="18214"/>
                  </a:moveTo>
                  <a:lnTo>
                    <a:pt x="87430" y="18214"/>
                  </a:lnTo>
                  <a:lnTo>
                    <a:pt x="89251" y="23679"/>
                  </a:lnTo>
                  <a:lnTo>
                    <a:pt x="81965" y="23679"/>
                  </a:lnTo>
                  <a:lnTo>
                    <a:pt x="81965" y="21857"/>
                  </a:lnTo>
                  <a:close/>
                  <a:moveTo>
                    <a:pt x="76501" y="0"/>
                  </a:moveTo>
                  <a:lnTo>
                    <a:pt x="76501" y="1821"/>
                  </a:lnTo>
                  <a:lnTo>
                    <a:pt x="87430" y="7286"/>
                  </a:lnTo>
                  <a:lnTo>
                    <a:pt x="87430" y="16393"/>
                  </a:lnTo>
                  <a:lnTo>
                    <a:pt x="81966" y="18215"/>
                  </a:lnTo>
                  <a:lnTo>
                    <a:pt x="72858"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 name="Solomon Islands">
              <a:extLst>
                <a:ext uri="{FF2B5EF4-FFF2-40B4-BE49-F238E27FC236}">
                  <a16:creationId xmlns:a16="http://schemas.microsoft.com/office/drawing/2014/main" id="{15683020-BF8A-D34F-BBDD-8673D1B18350}"/>
                </a:ext>
              </a:extLst>
            </p:cNvPr>
            <p:cNvSpPr>
              <a:spLocks/>
            </p:cNvSpPr>
            <p:nvPr/>
          </p:nvSpPr>
          <p:spPr bwMode="auto">
            <a:xfrm>
              <a:off x="9477915" y="4715708"/>
              <a:ext cx="182514" cy="155409"/>
            </a:xfrm>
            <a:custGeom>
              <a:avLst/>
              <a:gdLst/>
              <a:ahLst/>
              <a:cxnLst/>
              <a:rect l="l" t="t" r="r" b="b"/>
              <a:pathLst>
                <a:path w="183969" h="156648">
                  <a:moveTo>
                    <a:pt x="127503" y="151183"/>
                  </a:moveTo>
                  <a:lnTo>
                    <a:pt x="134790" y="153005"/>
                  </a:lnTo>
                  <a:lnTo>
                    <a:pt x="134790" y="156648"/>
                  </a:lnTo>
                  <a:lnTo>
                    <a:pt x="122039" y="156648"/>
                  </a:lnTo>
                  <a:lnTo>
                    <a:pt x="122039" y="153005"/>
                  </a:lnTo>
                  <a:close/>
                  <a:moveTo>
                    <a:pt x="160289" y="112931"/>
                  </a:moveTo>
                  <a:lnTo>
                    <a:pt x="178505" y="118396"/>
                  </a:lnTo>
                  <a:lnTo>
                    <a:pt x="183969" y="129325"/>
                  </a:lnTo>
                  <a:lnTo>
                    <a:pt x="171218" y="129325"/>
                  </a:lnTo>
                  <a:close/>
                  <a:moveTo>
                    <a:pt x="116574" y="91074"/>
                  </a:moveTo>
                  <a:lnTo>
                    <a:pt x="134788" y="91074"/>
                  </a:lnTo>
                  <a:lnTo>
                    <a:pt x="149360" y="105646"/>
                  </a:lnTo>
                  <a:lnTo>
                    <a:pt x="149360" y="107468"/>
                  </a:lnTo>
                  <a:lnTo>
                    <a:pt x="127502" y="107468"/>
                  </a:lnTo>
                  <a:lnTo>
                    <a:pt x="116574" y="100182"/>
                  </a:lnTo>
                  <a:close/>
                  <a:moveTo>
                    <a:pt x="140254" y="69216"/>
                  </a:moveTo>
                  <a:lnTo>
                    <a:pt x="143897" y="69216"/>
                  </a:lnTo>
                  <a:lnTo>
                    <a:pt x="165755" y="100180"/>
                  </a:lnTo>
                  <a:lnTo>
                    <a:pt x="165755" y="102002"/>
                  </a:lnTo>
                  <a:lnTo>
                    <a:pt x="151183" y="91073"/>
                  </a:lnTo>
                  <a:lnTo>
                    <a:pt x="140254" y="72859"/>
                  </a:lnTo>
                  <a:close/>
                  <a:moveTo>
                    <a:pt x="54644" y="56467"/>
                  </a:moveTo>
                  <a:lnTo>
                    <a:pt x="60109" y="56467"/>
                  </a:lnTo>
                  <a:lnTo>
                    <a:pt x="60109" y="61930"/>
                  </a:lnTo>
                  <a:lnTo>
                    <a:pt x="61930" y="61930"/>
                  </a:lnTo>
                  <a:lnTo>
                    <a:pt x="67395" y="58287"/>
                  </a:lnTo>
                  <a:lnTo>
                    <a:pt x="71038" y="58287"/>
                  </a:lnTo>
                  <a:lnTo>
                    <a:pt x="76503" y="72859"/>
                  </a:lnTo>
                  <a:lnTo>
                    <a:pt x="61930" y="67394"/>
                  </a:lnTo>
                  <a:lnTo>
                    <a:pt x="60109" y="67394"/>
                  </a:lnTo>
                  <a:lnTo>
                    <a:pt x="60109" y="63753"/>
                  </a:lnTo>
                  <a:lnTo>
                    <a:pt x="56465" y="63753"/>
                  </a:lnTo>
                  <a:close/>
                  <a:moveTo>
                    <a:pt x="92896" y="47359"/>
                  </a:moveTo>
                  <a:lnTo>
                    <a:pt x="118397" y="63752"/>
                  </a:lnTo>
                  <a:lnTo>
                    <a:pt x="123862" y="72860"/>
                  </a:lnTo>
                  <a:lnTo>
                    <a:pt x="122040" y="72860"/>
                  </a:lnTo>
                  <a:lnTo>
                    <a:pt x="96539" y="58288"/>
                  </a:lnTo>
                  <a:lnTo>
                    <a:pt x="92896" y="51002"/>
                  </a:lnTo>
                  <a:close/>
                  <a:moveTo>
                    <a:pt x="43716" y="27323"/>
                  </a:moveTo>
                  <a:lnTo>
                    <a:pt x="45537" y="27323"/>
                  </a:lnTo>
                  <a:lnTo>
                    <a:pt x="67396" y="41895"/>
                  </a:lnTo>
                  <a:lnTo>
                    <a:pt x="71039" y="41895"/>
                  </a:lnTo>
                  <a:lnTo>
                    <a:pt x="71039" y="45538"/>
                  </a:lnTo>
                  <a:lnTo>
                    <a:pt x="67396" y="45538"/>
                  </a:lnTo>
                  <a:lnTo>
                    <a:pt x="54645" y="41895"/>
                  </a:lnTo>
                  <a:lnTo>
                    <a:pt x="43716" y="29144"/>
                  </a:lnTo>
                  <a:close/>
                  <a:moveTo>
                    <a:pt x="0" y="0"/>
                  </a:moveTo>
                  <a:lnTo>
                    <a:pt x="3643" y="0"/>
                  </a:lnTo>
                  <a:lnTo>
                    <a:pt x="9107" y="1821"/>
                  </a:lnTo>
                  <a:lnTo>
                    <a:pt x="32786" y="23679"/>
                  </a:lnTo>
                  <a:lnTo>
                    <a:pt x="32786" y="34608"/>
                  </a:lnTo>
                  <a:lnTo>
                    <a:pt x="21857" y="34608"/>
                  </a:lnTo>
                  <a:lnTo>
                    <a:pt x="14571" y="29143"/>
                  </a:lnTo>
                  <a:lnTo>
                    <a:pt x="14571" y="21857"/>
                  </a:lnTo>
                  <a:lnTo>
                    <a:pt x="3643"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 name="Papua New Guinea">
              <a:extLst>
                <a:ext uri="{FF2B5EF4-FFF2-40B4-BE49-F238E27FC236}">
                  <a16:creationId xmlns:a16="http://schemas.microsoft.com/office/drawing/2014/main" id="{3372EEBC-790E-E33B-D762-369D03973D11}"/>
                </a:ext>
              </a:extLst>
            </p:cNvPr>
            <p:cNvSpPr>
              <a:spLocks/>
            </p:cNvSpPr>
            <p:nvPr/>
          </p:nvSpPr>
          <p:spPr bwMode="auto">
            <a:xfrm>
              <a:off x="9154451" y="4634391"/>
              <a:ext cx="290937" cy="206006"/>
            </a:xfrm>
            <a:custGeom>
              <a:avLst/>
              <a:gdLst/>
              <a:ahLst/>
              <a:cxnLst/>
              <a:rect l="l" t="t" r="r" b="b"/>
              <a:pathLst>
                <a:path w="293256" h="207648">
                  <a:moveTo>
                    <a:pt x="225862" y="173039"/>
                  </a:moveTo>
                  <a:lnTo>
                    <a:pt x="229505" y="173039"/>
                  </a:lnTo>
                  <a:lnTo>
                    <a:pt x="236791" y="176682"/>
                  </a:lnTo>
                  <a:lnTo>
                    <a:pt x="240434" y="178504"/>
                  </a:lnTo>
                  <a:lnTo>
                    <a:pt x="240434" y="187611"/>
                  </a:lnTo>
                  <a:lnTo>
                    <a:pt x="229505" y="183968"/>
                  </a:lnTo>
                  <a:lnTo>
                    <a:pt x="225862" y="176682"/>
                  </a:lnTo>
                  <a:close/>
                  <a:moveTo>
                    <a:pt x="162110" y="83788"/>
                  </a:moveTo>
                  <a:lnTo>
                    <a:pt x="169396" y="83788"/>
                  </a:lnTo>
                  <a:lnTo>
                    <a:pt x="173039" y="87431"/>
                  </a:lnTo>
                  <a:lnTo>
                    <a:pt x="173039" y="92896"/>
                  </a:lnTo>
                  <a:lnTo>
                    <a:pt x="169396" y="92896"/>
                  </a:lnTo>
                  <a:lnTo>
                    <a:pt x="163932" y="87431"/>
                  </a:lnTo>
                  <a:lnTo>
                    <a:pt x="162110" y="87431"/>
                  </a:lnTo>
                  <a:close/>
                  <a:moveTo>
                    <a:pt x="262292" y="51001"/>
                  </a:moveTo>
                  <a:lnTo>
                    <a:pt x="269578" y="51001"/>
                  </a:lnTo>
                  <a:lnTo>
                    <a:pt x="269578" y="54644"/>
                  </a:lnTo>
                  <a:lnTo>
                    <a:pt x="271399" y="60109"/>
                  </a:lnTo>
                  <a:lnTo>
                    <a:pt x="275042" y="60109"/>
                  </a:lnTo>
                  <a:lnTo>
                    <a:pt x="264113" y="87431"/>
                  </a:lnTo>
                  <a:lnTo>
                    <a:pt x="256828" y="87431"/>
                  </a:lnTo>
                  <a:lnTo>
                    <a:pt x="251363" y="98359"/>
                  </a:lnTo>
                  <a:lnTo>
                    <a:pt x="234970" y="103824"/>
                  </a:lnTo>
                  <a:lnTo>
                    <a:pt x="229505" y="103824"/>
                  </a:lnTo>
                  <a:lnTo>
                    <a:pt x="224041" y="105645"/>
                  </a:lnTo>
                  <a:lnTo>
                    <a:pt x="209469" y="105645"/>
                  </a:lnTo>
                  <a:lnTo>
                    <a:pt x="202183" y="100181"/>
                  </a:lnTo>
                  <a:lnTo>
                    <a:pt x="196719" y="100181"/>
                  </a:lnTo>
                  <a:lnTo>
                    <a:pt x="180326" y="94716"/>
                  </a:lnTo>
                  <a:lnTo>
                    <a:pt x="174861" y="87431"/>
                  </a:lnTo>
                  <a:lnTo>
                    <a:pt x="174861" y="83788"/>
                  </a:lnTo>
                  <a:lnTo>
                    <a:pt x="209469" y="83788"/>
                  </a:lnTo>
                  <a:lnTo>
                    <a:pt x="218577" y="72859"/>
                  </a:lnTo>
                  <a:lnTo>
                    <a:pt x="220398" y="72859"/>
                  </a:lnTo>
                  <a:lnTo>
                    <a:pt x="220398" y="81966"/>
                  </a:lnTo>
                  <a:lnTo>
                    <a:pt x="234970" y="83788"/>
                  </a:lnTo>
                  <a:lnTo>
                    <a:pt x="253185" y="67394"/>
                  </a:lnTo>
                  <a:lnTo>
                    <a:pt x="253185" y="54644"/>
                  </a:lnTo>
                  <a:lnTo>
                    <a:pt x="258649" y="54644"/>
                  </a:lnTo>
                  <a:close/>
                  <a:moveTo>
                    <a:pt x="271398" y="38250"/>
                  </a:moveTo>
                  <a:lnTo>
                    <a:pt x="275041" y="38250"/>
                  </a:lnTo>
                  <a:lnTo>
                    <a:pt x="287792" y="45536"/>
                  </a:lnTo>
                  <a:lnTo>
                    <a:pt x="293256" y="56465"/>
                  </a:lnTo>
                  <a:lnTo>
                    <a:pt x="287792" y="67393"/>
                  </a:lnTo>
                  <a:lnTo>
                    <a:pt x="282327" y="67393"/>
                  </a:lnTo>
                  <a:close/>
                  <a:moveTo>
                    <a:pt x="1822" y="14572"/>
                  </a:moveTo>
                  <a:lnTo>
                    <a:pt x="83788" y="40073"/>
                  </a:lnTo>
                  <a:lnTo>
                    <a:pt x="111110" y="61931"/>
                  </a:lnTo>
                  <a:lnTo>
                    <a:pt x="118396" y="83788"/>
                  </a:lnTo>
                  <a:lnTo>
                    <a:pt x="162111" y="98360"/>
                  </a:lnTo>
                  <a:lnTo>
                    <a:pt x="167575" y="114753"/>
                  </a:lnTo>
                  <a:lnTo>
                    <a:pt x="167575" y="116575"/>
                  </a:lnTo>
                  <a:lnTo>
                    <a:pt x="163932" y="116575"/>
                  </a:lnTo>
                  <a:lnTo>
                    <a:pt x="147539" y="118396"/>
                  </a:lnTo>
                  <a:lnTo>
                    <a:pt x="153004" y="129325"/>
                  </a:lnTo>
                  <a:lnTo>
                    <a:pt x="169397" y="143897"/>
                  </a:lnTo>
                  <a:lnTo>
                    <a:pt x="183969" y="165754"/>
                  </a:lnTo>
                  <a:lnTo>
                    <a:pt x="196719" y="167576"/>
                  </a:lnTo>
                  <a:lnTo>
                    <a:pt x="198540" y="178505"/>
                  </a:lnTo>
                  <a:lnTo>
                    <a:pt x="214934" y="183969"/>
                  </a:lnTo>
                  <a:lnTo>
                    <a:pt x="214934" y="189434"/>
                  </a:lnTo>
                  <a:lnTo>
                    <a:pt x="236791" y="194898"/>
                  </a:lnTo>
                  <a:lnTo>
                    <a:pt x="236791" y="196719"/>
                  </a:lnTo>
                  <a:lnTo>
                    <a:pt x="229505" y="200362"/>
                  </a:lnTo>
                  <a:lnTo>
                    <a:pt x="231327" y="200362"/>
                  </a:lnTo>
                  <a:lnTo>
                    <a:pt x="231327" y="202184"/>
                  </a:lnTo>
                  <a:lnTo>
                    <a:pt x="224041" y="207648"/>
                  </a:lnTo>
                  <a:lnTo>
                    <a:pt x="213112" y="202184"/>
                  </a:lnTo>
                  <a:lnTo>
                    <a:pt x="163932" y="194898"/>
                  </a:lnTo>
                  <a:lnTo>
                    <a:pt x="142075" y="176683"/>
                  </a:lnTo>
                  <a:lnTo>
                    <a:pt x="142075" y="171219"/>
                  </a:lnTo>
                  <a:lnTo>
                    <a:pt x="134789" y="171219"/>
                  </a:lnTo>
                  <a:lnTo>
                    <a:pt x="123860" y="151183"/>
                  </a:lnTo>
                  <a:lnTo>
                    <a:pt x="83788" y="132968"/>
                  </a:lnTo>
                  <a:lnTo>
                    <a:pt x="74680" y="138432"/>
                  </a:lnTo>
                  <a:lnTo>
                    <a:pt x="69216" y="134789"/>
                  </a:lnTo>
                  <a:lnTo>
                    <a:pt x="72859" y="140254"/>
                  </a:lnTo>
                  <a:lnTo>
                    <a:pt x="72859" y="143897"/>
                  </a:lnTo>
                  <a:lnTo>
                    <a:pt x="69216" y="143897"/>
                  </a:lnTo>
                  <a:lnTo>
                    <a:pt x="63752" y="145718"/>
                  </a:lnTo>
                  <a:lnTo>
                    <a:pt x="61930" y="149361"/>
                  </a:lnTo>
                  <a:lnTo>
                    <a:pt x="51001" y="154826"/>
                  </a:lnTo>
                  <a:lnTo>
                    <a:pt x="58287" y="165754"/>
                  </a:lnTo>
                  <a:lnTo>
                    <a:pt x="45537" y="176683"/>
                  </a:lnTo>
                  <a:lnTo>
                    <a:pt x="29144" y="176683"/>
                  </a:lnTo>
                  <a:lnTo>
                    <a:pt x="23679" y="173040"/>
                  </a:lnTo>
                  <a:lnTo>
                    <a:pt x="7286" y="173040"/>
                  </a:lnTo>
                  <a:lnTo>
                    <a:pt x="5465" y="171219"/>
                  </a:lnTo>
                  <a:lnTo>
                    <a:pt x="0" y="116575"/>
                  </a:lnTo>
                  <a:lnTo>
                    <a:pt x="1822" y="72859"/>
                  </a:lnTo>
                  <a:close/>
                  <a:moveTo>
                    <a:pt x="214933" y="10929"/>
                  </a:moveTo>
                  <a:lnTo>
                    <a:pt x="225862" y="10929"/>
                  </a:lnTo>
                  <a:lnTo>
                    <a:pt x="229505" y="14572"/>
                  </a:lnTo>
                  <a:lnTo>
                    <a:pt x="229505" y="16394"/>
                  </a:lnTo>
                  <a:lnTo>
                    <a:pt x="225862" y="16394"/>
                  </a:lnTo>
                  <a:lnTo>
                    <a:pt x="220398" y="20037"/>
                  </a:lnTo>
                  <a:lnTo>
                    <a:pt x="214933" y="14572"/>
                  </a:lnTo>
                  <a:close/>
                  <a:moveTo>
                    <a:pt x="134789" y="0"/>
                  </a:moveTo>
                  <a:lnTo>
                    <a:pt x="147540" y="0"/>
                  </a:lnTo>
                  <a:lnTo>
                    <a:pt x="145719" y="9108"/>
                  </a:lnTo>
                  <a:lnTo>
                    <a:pt x="134789" y="9108"/>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 name="Tonga">
              <a:extLst>
                <a:ext uri="{FF2B5EF4-FFF2-40B4-BE49-F238E27FC236}">
                  <a16:creationId xmlns:a16="http://schemas.microsoft.com/office/drawing/2014/main" id="{00D4F47A-D0DE-2E0E-0C71-7AC6AF8CD7E9}"/>
                </a:ext>
              </a:extLst>
            </p:cNvPr>
            <p:cNvSpPr>
              <a:spLocks/>
            </p:cNvSpPr>
            <p:nvPr/>
          </p:nvSpPr>
          <p:spPr bwMode="auto">
            <a:xfrm>
              <a:off x="10177249" y="5093385"/>
              <a:ext cx="10843" cy="7228"/>
            </a:xfrm>
            <a:custGeom>
              <a:avLst/>
              <a:gdLst>
                <a:gd name="T0" fmla="*/ 1 w 6"/>
                <a:gd name="T1" fmla="*/ 0 h 4"/>
                <a:gd name="T2" fmla="*/ 4 w 6"/>
                <a:gd name="T3" fmla="*/ 1 h 4"/>
                <a:gd name="T4" fmla="*/ 6 w 6"/>
                <a:gd name="T5" fmla="*/ 1 h 4"/>
                <a:gd name="T6" fmla="*/ 6 w 6"/>
                <a:gd name="T7" fmla="*/ 4 h 4"/>
                <a:gd name="T8" fmla="*/ 4 w 6"/>
                <a:gd name="T9" fmla="*/ 4 h 4"/>
                <a:gd name="T10" fmla="*/ 1 w 6"/>
                <a:gd name="T11" fmla="*/ 1 h 4"/>
                <a:gd name="T12" fmla="*/ 0 w 6"/>
                <a:gd name="T13" fmla="*/ 1 h 4"/>
                <a:gd name="T14" fmla="*/ 1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1" y="0"/>
                  </a:moveTo>
                  <a:lnTo>
                    <a:pt x="4" y="1"/>
                  </a:lnTo>
                  <a:lnTo>
                    <a:pt x="6" y="1"/>
                  </a:lnTo>
                  <a:lnTo>
                    <a:pt x="6" y="4"/>
                  </a:lnTo>
                  <a:lnTo>
                    <a:pt x="4" y="4"/>
                  </a:lnTo>
                  <a:lnTo>
                    <a:pt x="1" y="1"/>
                  </a:lnTo>
                  <a:lnTo>
                    <a:pt x="0" y="1"/>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 name="Vanuatu">
              <a:extLst>
                <a:ext uri="{FF2B5EF4-FFF2-40B4-BE49-F238E27FC236}">
                  <a16:creationId xmlns:a16="http://schemas.microsoft.com/office/drawing/2014/main" id="{F109745B-3B62-A26A-B91F-EA3C0F0FB6B0}"/>
                </a:ext>
              </a:extLst>
            </p:cNvPr>
            <p:cNvSpPr>
              <a:spLocks/>
            </p:cNvSpPr>
            <p:nvPr/>
          </p:nvSpPr>
          <p:spPr bwMode="auto">
            <a:xfrm>
              <a:off x="9750781" y="4934363"/>
              <a:ext cx="48791" cy="77703"/>
            </a:xfrm>
            <a:custGeom>
              <a:avLst/>
              <a:gdLst/>
              <a:ahLst/>
              <a:cxnLst/>
              <a:rect l="l" t="t" r="r" b="b"/>
              <a:pathLst>
                <a:path w="49180" h="78322">
                  <a:moveTo>
                    <a:pt x="47359" y="71036"/>
                  </a:moveTo>
                  <a:lnTo>
                    <a:pt x="49180" y="71036"/>
                  </a:lnTo>
                  <a:lnTo>
                    <a:pt x="49180" y="78322"/>
                  </a:lnTo>
                  <a:lnTo>
                    <a:pt x="41894" y="78322"/>
                  </a:lnTo>
                  <a:close/>
                  <a:moveTo>
                    <a:pt x="38252" y="36429"/>
                  </a:moveTo>
                  <a:lnTo>
                    <a:pt x="41895" y="36429"/>
                  </a:lnTo>
                  <a:lnTo>
                    <a:pt x="43716" y="41894"/>
                  </a:lnTo>
                  <a:lnTo>
                    <a:pt x="43716" y="43715"/>
                  </a:lnTo>
                  <a:lnTo>
                    <a:pt x="36430" y="43715"/>
                  </a:lnTo>
                  <a:lnTo>
                    <a:pt x="36430" y="41894"/>
                  </a:lnTo>
                  <a:close/>
                  <a:moveTo>
                    <a:pt x="16393" y="30964"/>
                  </a:moveTo>
                  <a:lnTo>
                    <a:pt x="20036" y="30964"/>
                  </a:lnTo>
                  <a:lnTo>
                    <a:pt x="32787" y="47358"/>
                  </a:lnTo>
                  <a:lnTo>
                    <a:pt x="32787" y="49179"/>
                  </a:lnTo>
                  <a:lnTo>
                    <a:pt x="21858" y="49179"/>
                  </a:lnTo>
                  <a:lnTo>
                    <a:pt x="21858" y="47358"/>
                  </a:lnTo>
                  <a:lnTo>
                    <a:pt x="16393" y="32786"/>
                  </a:lnTo>
                  <a:close/>
                  <a:moveTo>
                    <a:pt x="3643" y="0"/>
                  </a:moveTo>
                  <a:lnTo>
                    <a:pt x="3643" y="3643"/>
                  </a:lnTo>
                  <a:lnTo>
                    <a:pt x="9108" y="14573"/>
                  </a:lnTo>
                  <a:lnTo>
                    <a:pt x="14573" y="9108"/>
                  </a:lnTo>
                  <a:lnTo>
                    <a:pt x="16394" y="9108"/>
                  </a:lnTo>
                  <a:lnTo>
                    <a:pt x="16394" y="10929"/>
                  </a:lnTo>
                  <a:lnTo>
                    <a:pt x="20037" y="21859"/>
                  </a:lnTo>
                  <a:lnTo>
                    <a:pt x="20037" y="25502"/>
                  </a:lnTo>
                  <a:lnTo>
                    <a:pt x="16394" y="25502"/>
                  </a:lnTo>
                  <a:lnTo>
                    <a:pt x="9108" y="27323"/>
                  </a:lnTo>
                  <a:lnTo>
                    <a:pt x="9108" y="25502"/>
                  </a:lnTo>
                  <a:lnTo>
                    <a:pt x="0"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 name="Chatham Island">
              <a:extLst>
                <a:ext uri="{FF2B5EF4-FFF2-40B4-BE49-F238E27FC236}">
                  <a16:creationId xmlns:a16="http://schemas.microsoft.com/office/drawing/2014/main" id="{25F96EF9-457E-C0CE-B986-1A5C89FE0563}"/>
                </a:ext>
              </a:extLst>
            </p:cNvPr>
            <p:cNvSpPr>
              <a:spLocks/>
            </p:cNvSpPr>
            <p:nvPr/>
          </p:nvSpPr>
          <p:spPr bwMode="auto">
            <a:xfrm>
              <a:off x="10148336" y="5733084"/>
              <a:ext cx="12650" cy="14457"/>
            </a:xfrm>
            <a:custGeom>
              <a:avLst/>
              <a:gdLst>
                <a:gd name="T0" fmla="*/ 4 w 7"/>
                <a:gd name="T1" fmla="*/ 0 h 8"/>
                <a:gd name="T2" fmla="*/ 7 w 7"/>
                <a:gd name="T3" fmla="*/ 0 h 8"/>
                <a:gd name="T4" fmla="*/ 7 w 7"/>
                <a:gd name="T5" fmla="*/ 2 h 8"/>
                <a:gd name="T6" fmla="*/ 4 w 7"/>
                <a:gd name="T7" fmla="*/ 8 h 8"/>
                <a:gd name="T8" fmla="*/ 3 w 7"/>
                <a:gd name="T9" fmla="*/ 8 h 8"/>
                <a:gd name="T10" fmla="*/ 3 w 7"/>
                <a:gd name="T11" fmla="*/ 6 h 8"/>
                <a:gd name="T12" fmla="*/ 1 w 7"/>
                <a:gd name="T13" fmla="*/ 3 h 8"/>
                <a:gd name="T14" fmla="*/ 0 w 7"/>
                <a:gd name="T15" fmla="*/ 3 h 8"/>
                <a:gd name="T16" fmla="*/ 0 w 7"/>
                <a:gd name="T17" fmla="*/ 2 h 8"/>
                <a:gd name="T18" fmla="*/ 3 w 7"/>
                <a:gd name="T19" fmla="*/ 2 h 8"/>
                <a:gd name="T20" fmla="*/ 4 w 7"/>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4" y="0"/>
                  </a:moveTo>
                  <a:lnTo>
                    <a:pt x="7" y="0"/>
                  </a:lnTo>
                  <a:lnTo>
                    <a:pt x="7" y="2"/>
                  </a:lnTo>
                  <a:lnTo>
                    <a:pt x="4" y="8"/>
                  </a:lnTo>
                  <a:lnTo>
                    <a:pt x="3" y="8"/>
                  </a:lnTo>
                  <a:lnTo>
                    <a:pt x="3" y="6"/>
                  </a:lnTo>
                  <a:lnTo>
                    <a:pt x="1" y="3"/>
                  </a:lnTo>
                  <a:lnTo>
                    <a:pt x="0" y="3"/>
                  </a:lnTo>
                  <a:lnTo>
                    <a:pt x="0" y="2"/>
                  </a:lnTo>
                  <a:lnTo>
                    <a:pt x="3" y="2"/>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 name="American Samoa">
              <a:extLst>
                <a:ext uri="{FF2B5EF4-FFF2-40B4-BE49-F238E27FC236}">
                  <a16:creationId xmlns:a16="http://schemas.microsoft.com/office/drawing/2014/main" id="{43569659-F029-ADD0-F42B-330049F18B5D}"/>
                </a:ext>
              </a:extLst>
            </p:cNvPr>
            <p:cNvSpPr>
              <a:spLocks/>
            </p:cNvSpPr>
            <p:nvPr/>
          </p:nvSpPr>
          <p:spPr bwMode="auto">
            <a:xfrm>
              <a:off x="10233268" y="4905449"/>
              <a:ext cx="39755" cy="16264"/>
            </a:xfrm>
            <a:custGeom>
              <a:avLst/>
              <a:gdLst/>
              <a:ahLst/>
              <a:cxnLst/>
              <a:rect l="l" t="t" r="r" b="b"/>
              <a:pathLst>
                <a:path w="40072" h="16394">
                  <a:moveTo>
                    <a:pt x="0" y="0"/>
                  </a:moveTo>
                  <a:lnTo>
                    <a:pt x="9107" y="0"/>
                  </a:lnTo>
                  <a:lnTo>
                    <a:pt x="16393" y="1822"/>
                  </a:lnTo>
                  <a:lnTo>
                    <a:pt x="20037" y="1822"/>
                  </a:lnTo>
                  <a:lnTo>
                    <a:pt x="21858" y="10929"/>
                  </a:lnTo>
                  <a:lnTo>
                    <a:pt x="29143" y="10929"/>
                  </a:lnTo>
                  <a:lnTo>
                    <a:pt x="40072" y="16394"/>
                  </a:lnTo>
                  <a:lnTo>
                    <a:pt x="23679" y="16394"/>
                  </a:lnTo>
                  <a:lnTo>
                    <a:pt x="21857" y="12751"/>
                  </a:lnTo>
                  <a:lnTo>
                    <a:pt x="20037" y="12751"/>
                  </a:lnTo>
                  <a:lnTo>
                    <a:pt x="9107" y="7287"/>
                  </a:lnTo>
                  <a:lnTo>
                    <a:pt x="3643" y="1822"/>
                  </a:lnTo>
                  <a:lnTo>
                    <a:pt x="0" y="18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 name="Galapagos">
              <a:extLst>
                <a:ext uri="{FF2B5EF4-FFF2-40B4-BE49-F238E27FC236}">
                  <a16:creationId xmlns:a16="http://schemas.microsoft.com/office/drawing/2014/main" id="{2D36A2CA-B9A7-B54B-00F3-2511102F9D9B}"/>
                </a:ext>
              </a:extLst>
            </p:cNvPr>
            <p:cNvSpPr>
              <a:spLocks/>
            </p:cNvSpPr>
            <p:nvPr/>
          </p:nvSpPr>
          <p:spPr bwMode="auto">
            <a:xfrm>
              <a:off x="3662792" y="4587407"/>
              <a:ext cx="37948" cy="30721"/>
            </a:xfrm>
            <a:custGeom>
              <a:avLst/>
              <a:gdLst/>
              <a:ahLst/>
              <a:cxnLst/>
              <a:rect l="l" t="t" r="r" b="b"/>
              <a:pathLst>
                <a:path w="38251" h="30966">
                  <a:moveTo>
                    <a:pt x="34608" y="12749"/>
                  </a:moveTo>
                  <a:lnTo>
                    <a:pt x="38251" y="12749"/>
                  </a:lnTo>
                  <a:lnTo>
                    <a:pt x="38251" y="14571"/>
                  </a:lnTo>
                  <a:lnTo>
                    <a:pt x="34608" y="20035"/>
                  </a:lnTo>
                  <a:lnTo>
                    <a:pt x="29143" y="20035"/>
                  </a:lnTo>
                  <a:lnTo>
                    <a:pt x="29143" y="18214"/>
                  </a:lnTo>
                  <a:close/>
                  <a:moveTo>
                    <a:pt x="21858" y="5464"/>
                  </a:moveTo>
                  <a:lnTo>
                    <a:pt x="23679" y="5464"/>
                  </a:lnTo>
                  <a:lnTo>
                    <a:pt x="27322" y="12750"/>
                  </a:lnTo>
                  <a:lnTo>
                    <a:pt x="20036" y="12750"/>
                  </a:lnTo>
                  <a:lnTo>
                    <a:pt x="20036" y="9107"/>
                  </a:lnTo>
                  <a:close/>
                  <a:moveTo>
                    <a:pt x="9108" y="0"/>
                  </a:moveTo>
                  <a:lnTo>
                    <a:pt x="20037" y="20037"/>
                  </a:lnTo>
                  <a:lnTo>
                    <a:pt x="10929" y="29145"/>
                  </a:lnTo>
                  <a:lnTo>
                    <a:pt x="10929" y="30966"/>
                  </a:lnTo>
                  <a:lnTo>
                    <a:pt x="9108" y="30966"/>
                  </a:lnTo>
                  <a:lnTo>
                    <a:pt x="9108" y="29145"/>
                  </a:lnTo>
                  <a:lnTo>
                    <a:pt x="5465" y="20037"/>
                  </a:lnTo>
                  <a:lnTo>
                    <a:pt x="8197" y="14572"/>
                  </a:lnTo>
                  <a:lnTo>
                    <a:pt x="0" y="14572"/>
                  </a:lnTo>
                  <a:lnTo>
                    <a:pt x="0" y="12751"/>
                  </a:lnTo>
                  <a:lnTo>
                    <a:pt x="5205" y="7547"/>
                  </a:lnTo>
                  <a:lnTo>
                    <a:pt x="3643" y="5464"/>
                  </a:lnTo>
                  <a:lnTo>
                    <a:pt x="3643"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 name="Venezuela">
              <a:extLst>
                <a:ext uri="{FF2B5EF4-FFF2-40B4-BE49-F238E27FC236}">
                  <a16:creationId xmlns:a16="http://schemas.microsoft.com/office/drawing/2014/main" id="{EEDF8D30-0685-9FB1-09C9-D859C9C1C654}"/>
                </a:ext>
              </a:extLst>
            </p:cNvPr>
            <p:cNvSpPr>
              <a:spLocks noEditPoints="1"/>
            </p:cNvSpPr>
            <p:nvPr/>
          </p:nvSpPr>
          <p:spPr bwMode="auto">
            <a:xfrm>
              <a:off x="4094679" y="4300084"/>
              <a:ext cx="323464" cy="272867"/>
            </a:xfrm>
            <a:custGeom>
              <a:avLst/>
              <a:gdLst>
                <a:gd name="T0" fmla="*/ 21 w 179"/>
                <a:gd name="T1" fmla="*/ 30 h 151"/>
                <a:gd name="T2" fmla="*/ 23 w 179"/>
                <a:gd name="T3" fmla="*/ 41 h 151"/>
                <a:gd name="T4" fmla="*/ 29 w 179"/>
                <a:gd name="T5" fmla="*/ 33 h 151"/>
                <a:gd name="T6" fmla="*/ 25 w 179"/>
                <a:gd name="T7" fmla="*/ 21 h 151"/>
                <a:gd name="T8" fmla="*/ 50 w 179"/>
                <a:gd name="T9" fmla="*/ 9 h 151"/>
                <a:gd name="T10" fmla="*/ 71 w 179"/>
                <a:gd name="T11" fmla="*/ 22 h 151"/>
                <a:gd name="T12" fmla="*/ 90 w 179"/>
                <a:gd name="T13" fmla="*/ 21 h 151"/>
                <a:gd name="T14" fmla="*/ 102 w 179"/>
                <a:gd name="T15" fmla="*/ 27 h 151"/>
                <a:gd name="T16" fmla="*/ 123 w 179"/>
                <a:gd name="T17" fmla="*/ 24 h 151"/>
                <a:gd name="T18" fmla="*/ 118 w 179"/>
                <a:gd name="T19" fmla="*/ 22 h 151"/>
                <a:gd name="T20" fmla="*/ 149 w 179"/>
                <a:gd name="T21" fmla="*/ 21 h 151"/>
                <a:gd name="T22" fmla="*/ 142 w 179"/>
                <a:gd name="T23" fmla="*/ 27 h 151"/>
                <a:gd name="T24" fmla="*/ 152 w 179"/>
                <a:gd name="T25" fmla="*/ 33 h 151"/>
                <a:gd name="T26" fmla="*/ 166 w 179"/>
                <a:gd name="T27" fmla="*/ 46 h 151"/>
                <a:gd name="T28" fmla="*/ 164 w 179"/>
                <a:gd name="T29" fmla="*/ 49 h 151"/>
                <a:gd name="T30" fmla="*/ 172 w 179"/>
                <a:gd name="T31" fmla="*/ 47 h 151"/>
                <a:gd name="T32" fmla="*/ 179 w 179"/>
                <a:gd name="T33" fmla="*/ 52 h 151"/>
                <a:gd name="T34" fmla="*/ 178 w 179"/>
                <a:gd name="T35" fmla="*/ 55 h 151"/>
                <a:gd name="T36" fmla="*/ 166 w 179"/>
                <a:gd name="T37" fmla="*/ 67 h 151"/>
                <a:gd name="T38" fmla="*/ 170 w 179"/>
                <a:gd name="T39" fmla="*/ 68 h 151"/>
                <a:gd name="T40" fmla="*/ 160 w 179"/>
                <a:gd name="T41" fmla="*/ 80 h 151"/>
                <a:gd name="T42" fmla="*/ 167 w 179"/>
                <a:gd name="T43" fmla="*/ 93 h 151"/>
                <a:gd name="T44" fmla="*/ 136 w 179"/>
                <a:gd name="T45" fmla="*/ 111 h 151"/>
                <a:gd name="T46" fmla="*/ 114 w 179"/>
                <a:gd name="T47" fmla="*/ 108 h 151"/>
                <a:gd name="T48" fmla="*/ 120 w 179"/>
                <a:gd name="T49" fmla="*/ 120 h 151"/>
                <a:gd name="T50" fmla="*/ 132 w 179"/>
                <a:gd name="T51" fmla="*/ 129 h 151"/>
                <a:gd name="T52" fmla="*/ 133 w 179"/>
                <a:gd name="T53" fmla="*/ 132 h 151"/>
                <a:gd name="T54" fmla="*/ 132 w 179"/>
                <a:gd name="T55" fmla="*/ 133 h 151"/>
                <a:gd name="T56" fmla="*/ 120 w 179"/>
                <a:gd name="T57" fmla="*/ 141 h 151"/>
                <a:gd name="T58" fmla="*/ 92 w 179"/>
                <a:gd name="T59" fmla="*/ 151 h 151"/>
                <a:gd name="T60" fmla="*/ 84 w 179"/>
                <a:gd name="T61" fmla="*/ 144 h 151"/>
                <a:gd name="T62" fmla="*/ 72 w 179"/>
                <a:gd name="T63" fmla="*/ 124 h 151"/>
                <a:gd name="T64" fmla="*/ 80 w 179"/>
                <a:gd name="T65" fmla="*/ 117 h 151"/>
                <a:gd name="T66" fmla="*/ 71 w 179"/>
                <a:gd name="T67" fmla="*/ 101 h 151"/>
                <a:gd name="T68" fmla="*/ 72 w 179"/>
                <a:gd name="T69" fmla="*/ 80 h 151"/>
                <a:gd name="T70" fmla="*/ 52 w 179"/>
                <a:gd name="T71" fmla="*/ 81 h 151"/>
                <a:gd name="T72" fmla="*/ 37 w 179"/>
                <a:gd name="T73" fmla="*/ 68 h 151"/>
                <a:gd name="T74" fmla="*/ 19 w 179"/>
                <a:gd name="T75" fmla="*/ 68 h 151"/>
                <a:gd name="T76" fmla="*/ 13 w 179"/>
                <a:gd name="T77" fmla="*/ 53 h 151"/>
                <a:gd name="T78" fmla="*/ 0 w 179"/>
                <a:gd name="T79" fmla="*/ 41 h 151"/>
                <a:gd name="T80" fmla="*/ 10 w 179"/>
                <a:gd name="T81" fmla="*/ 18 h 151"/>
                <a:gd name="T82" fmla="*/ 26 w 179"/>
                <a:gd name="T83" fmla="*/ 4 h 151"/>
                <a:gd name="T84" fmla="*/ 28 w 179"/>
                <a:gd name="T85" fmla="*/ 6 h 151"/>
                <a:gd name="T86" fmla="*/ 25 w 179"/>
                <a:gd name="T87" fmla="*/ 19 h 151"/>
                <a:gd name="T88" fmla="*/ 47 w 179"/>
                <a:gd name="T89" fmla="*/ 9 h 151"/>
                <a:gd name="T90" fmla="*/ 41 w 179"/>
                <a:gd name="T91" fmla="*/ 7 h 151"/>
                <a:gd name="T92" fmla="*/ 40 w 179"/>
                <a:gd name="T93" fmla="*/ 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9" h="151">
                  <a:moveTo>
                    <a:pt x="25" y="21"/>
                  </a:moveTo>
                  <a:lnTo>
                    <a:pt x="21" y="30"/>
                  </a:lnTo>
                  <a:lnTo>
                    <a:pt x="21" y="34"/>
                  </a:lnTo>
                  <a:lnTo>
                    <a:pt x="23" y="41"/>
                  </a:lnTo>
                  <a:lnTo>
                    <a:pt x="31" y="37"/>
                  </a:lnTo>
                  <a:lnTo>
                    <a:pt x="29" y="33"/>
                  </a:lnTo>
                  <a:lnTo>
                    <a:pt x="25" y="25"/>
                  </a:lnTo>
                  <a:lnTo>
                    <a:pt x="25" y="21"/>
                  </a:lnTo>
                  <a:close/>
                  <a:moveTo>
                    <a:pt x="46" y="0"/>
                  </a:moveTo>
                  <a:lnTo>
                    <a:pt x="50" y="9"/>
                  </a:lnTo>
                  <a:lnTo>
                    <a:pt x="66" y="13"/>
                  </a:lnTo>
                  <a:lnTo>
                    <a:pt x="71" y="22"/>
                  </a:lnTo>
                  <a:lnTo>
                    <a:pt x="83" y="22"/>
                  </a:lnTo>
                  <a:lnTo>
                    <a:pt x="90" y="21"/>
                  </a:lnTo>
                  <a:lnTo>
                    <a:pt x="96" y="21"/>
                  </a:lnTo>
                  <a:lnTo>
                    <a:pt x="102" y="27"/>
                  </a:lnTo>
                  <a:lnTo>
                    <a:pt x="108" y="27"/>
                  </a:lnTo>
                  <a:lnTo>
                    <a:pt x="123" y="24"/>
                  </a:lnTo>
                  <a:lnTo>
                    <a:pt x="120" y="22"/>
                  </a:lnTo>
                  <a:lnTo>
                    <a:pt x="118" y="22"/>
                  </a:lnTo>
                  <a:lnTo>
                    <a:pt x="118" y="21"/>
                  </a:lnTo>
                  <a:lnTo>
                    <a:pt x="149" y="21"/>
                  </a:lnTo>
                  <a:lnTo>
                    <a:pt x="139" y="25"/>
                  </a:lnTo>
                  <a:lnTo>
                    <a:pt x="142" y="27"/>
                  </a:lnTo>
                  <a:lnTo>
                    <a:pt x="145" y="33"/>
                  </a:lnTo>
                  <a:lnTo>
                    <a:pt x="152" y="33"/>
                  </a:lnTo>
                  <a:lnTo>
                    <a:pt x="163" y="37"/>
                  </a:lnTo>
                  <a:lnTo>
                    <a:pt x="166" y="46"/>
                  </a:lnTo>
                  <a:lnTo>
                    <a:pt x="166" y="47"/>
                  </a:lnTo>
                  <a:lnTo>
                    <a:pt x="164" y="49"/>
                  </a:lnTo>
                  <a:lnTo>
                    <a:pt x="169" y="50"/>
                  </a:lnTo>
                  <a:lnTo>
                    <a:pt x="172" y="47"/>
                  </a:lnTo>
                  <a:lnTo>
                    <a:pt x="173" y="47"/>
                  </a:lnTo>
                  <a:lnTo>
                    <a:pt x="179" y="52"/>
                  </a:lnTo>
                  <a:lnTo>
                    <a:pt x="179" y="53"/>
                  </a:lnTo>
                  <a:lnTo>
                    <a:pt x="178" y="55"/>
                  </a:lnTo>
                  <a:lnTo>
                    <a:pt x="166" y="61"/>
                  </a:lnTo>
                  <a:lnTo>
                    <a:pt x="166" y="67"/>
                  </a:lnTo>
                  <a:lnTo>
                    <a:pt x="170" y="67"/>
                  </a:lnTo>
                  <a:lnTo>
                    <a:pt x="170" y="68"/>
                  </a:lnTo>
                  <a:lnTo>
                    <a:pt x="161" y="74"/>
                  </a:lnTo>
                  <a:lnTo>
                    <a:pt x="160" y="80"/>
                  </a:lnTo>
                  <a:lnTo>
                    <a:pt x="167" y="92"/>
                  </a:lnTo>
                  <a:lnTo>
                    <a:pt x="167" y="93"/>
                  </a:lnTo>
                  <a:lnTo>
                    <a:pt x="163" y="101"/>
                  </a:lnTo>
                  <a:lnTo>
                    <a:pt x="136" y="111"/>
                  </a:lnTo>
                  <a:lnTo>
                    <a:pt x="114" y="105"/>
                  </a:lnTo>
                  <a:lnTo>
                    <a:pt x="114" y="108"/>
                  </a:lnTo>
                  <a:lnTo>
                    <a:pt x="120" y="113"/>
                  </a:lnTo>
                  <a:lnTo>
                    <a:pt x="120" y="120"/>
                  </a:lnTo>
                  <a:lnTo>
                    <a:pt x="121" y="127"/>
                  </a:lnTo>
                  <a:lnTo>
                    <a:pt x="132" y="129"/>
                  </a:lnTo>
                  <a:lnTo>
                    <a:pt x="133" y="129"/>
                  </a:lnTo>
                  <a:lnTo>
                    <a:pt x="133" y="132"/>
                  </a:lnTo>
                  <a:lnTo>
                    <a:pt x="132" y="132"/>
                  </a:lnTo>
                  <a:lnTo>
                    <a:pt x="132" y="133"/>
                  </a:lnTo>
                  <a:lnTo>
                    <a:pt x="123" y="136"/>
                  </a:lnTo>
                  <a:lnTo>
                    <a:pt x="120" y="141"/>
                  </a:lnTo>
                  <a:lnTo>
                    <a:pt x="102" y="151"/>
                  </a:lnTo>
                  <a:lnTo>
                    <a:pt x="92" y="151"/>
                  </a:lnTo>
                  <a:lnTo>
                    <a:pt x="92" y="150"/>
                  </a:lnTo>
                  <a:lnTo>
                    <a:pt x="84" y="144"/>
                  </a:lnTo>
                  <a:lnTo>
                    <a:pt x="78" y="130"/>
                  </a:lnTo>
                  <a:lnTo>
                    <a:pt x="72" y="124"/>
                  </a:lnTo>
                  <a:lnTo>
                    <a:pt x="72" y="123"/>
                  </a:lnTo>
                  <a:lnTo>
                    <a:pt x="80" y="117"/>
                  </a:lnTo>
                  <a:lnTo>
                    <a:pt x="74" y="108"/>
                  </a:lnTo>
                  <a:lnTo>
                    <a:pt x="71" y="101"/>
                  </a:lnTo>
                  <a:lnTo>
                    <a:pt x="77" y="80"/>
                  </a:lnTo>
                  <a:lnTo>
                    <a:pt x="72" y="80"/>
                  </a:lnTo>
                  <a:lnTo>
                    <a:pt x="65" y="81"/>
                  </a:lnTo>
                  <a:lnTo>
                    <a:pt x="52" y="81"/>
                  </a:lnTo>
                  <a:lnTo>
                    <a:pt x="43" y="70"/>
                  </a:lnTo>
                  <a:lnTo>
                    <a:pt x="37" y="68"/>
                  </a:lnTo>
                  <a:lnTo>
                    <a:pt x="26" y="70"/>
                  </a:lnTo>
                  <a:lnTo>
                    <a:pt x="19" y="68"/>
                  </a:lnTo>
                  <a:lnTo>
                    <a:pt x="13" y="64"/>
                  </a:lnTo>
                  <a:lnTo>
                    <a:pt x="13" y="53"/>
                  </a:lnTo>
                  <a:lnTo>
                    <a:pt x="7" y="41"/>
                  </a:lnTo>
                  <a:lnTo>
                    <a:pt x="0" y="41"/>
                  </a:lnTo>
                  <a:lnTo>
                    <a:pt x="0" y="40"/>
                  </a:lnTo>
                  <a:lnTo>
                    <a:pt x="10" y="18"/>
                  </a:lnTo>
                  <a:lnTo>
                    <a:pt x="19" y="7"/>
                  </a:lnTo>
                  <a:lnTo>
                    <a:pt x="26" y="4"/>
                  </a:lnTo>
                  <a:lnTo>
                    <a:pt x="28" y="4"/>
                  </a:lnTo>
                  <a:lnTo>
                    <a:pt x="28" y="6"/>
                  </a:lnTo>
                  <a:lnTo>
                    <a:pt x="22" y="9"/>
                  </a:lnTo>
                  <a:lnTo>
                    <a:pt x="25" y="19"/>
                  </a:lnTo>
                  <a:lnTo>
                    <a:pt x="34" y="13"/>
                  </a:lnTo>
                  <a:lnTo>
                    <a:pt x="47" y="9"/>
                  </a:lnTo>
                  <a:lnTo>
                    <a:pt x="46" y="9"/>
                  </a:lnTo>
                  <a:lnTo>
                    <a:pt x="41" y="7"/>
                  </a:lnTo>
                  <a:lnTo>
                    <a:pt x="40" y="7"/>
                  </a:lnTo>
                  <a:lnTo>
                    <a:pt x="40" y="6"/>
                  </a:lnTo>
                  <a:lnTo>
                    <a:pt x="4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 name="Uruguay">
              <a:extLst>
                <a:ext uri="{FF2B5EF4-FFF2-40B4-BE49-F238E27FC236}">
                  <a16:creationId xmlns:a16="http://schemas.microsoft.com/office/drawing/2014/main" id="{4C54AB7C-5C07-F1A9-A1DF-7A0A9048129A}"/>
                </a:ext>
              </a:extLst>
            </p:cNvPr>
            <p:cNvSpPr>
              <a:spLocks/>
            </p:cNvSpPr>
            <p:nvPr/>
          </p:nvSpPr>
          <p:spPr bwMode="auto">
            <a:xfrm>
              <a:off x="4445249" y="5328302"/>
              <a:ext cx="128302" cy="137337"/>
            </a:xfrm>
            <a:custGeom>
              <a:avLst/>
              <a:gdLst>
                <a:gd name="T0" fmla="*/ 19 w 71"/>
                <a:gd name="T1" fmla="*/ 0 h 76"/>
                <a:gd name="T2" fmla="*/ 24 w 71"/>
                <a:gd name="T3" fmla="*/ 0 h 76"/>
                <a:gd name="T4" fmla="*/ 31 w 71"/>
                <a:gd name="T5" fmla="*/ 8 h 76"/>
                <a:gd name="T6" fmla="*/ 33 w 71"/>
                <a:gd name="T7" fmla="*/ 14 h 76"/>
                <a:gd name="T8" fmla="*/ 38 w 71"/>
                <a:gd name="T9" fmla="*/ 11 h 76"/>
                <a:gd name="T10" fmla="*/ 38 w 71"/>
                <a:gd name="T11" fmla="*/ 12 h 76"/>
                <a:gd name="T12" fmla="*/ 44 w 71"/>
                <a:gd name="T13" fmla="*/ 18 h 76"/>
                <a:gd name="T14" fmla="*/ 62 w 71"/>
                <a:gd name="T15" fmla="*/ 28 h 76"/>
                <a:gd name="T16" fmla="*/ 65 w 71"/>
                <a:gd name="T17" fmla="*/ 36 h 76"/>
                <a:gd name="T18" fmla="*/ 71 w 71"/>
                <a:gd name="T19" fmla="*/ 40 h 76"/>
                <a:gd name="T20" fmla="*/ 71 w 71"/>
                <a:gd name="T21" fmla="*/ 42 h 76"/>
                <a:gd name="T22" fmla="*/ 67 w 71"/>
                <a:gd name="T23" fmla="*/ 48 h 76"/>
                <a:gd name="T24" fmla="*/ 68 w 71"/>
                <a:gd name="T25" fmla="*/ 57 h 76"/>
                <a:gd name="T26" fmla="*/ 68 w 71"/>
                <a:gd name="T27" fmla="*/ 58 h 76"/>
                <a:gd name="T28" fmla="*/ 58 w 71"/>
                <a:gd name="T29" fmla="*/ 71 h 76"/>
                <a:gd name="T30" fmla="*/ 47 w 71"/>
                <a:gd name="T31" fmla="*/ 76 h 76"/>
                <a:gd name="T32" fmla="*/ 31 w 71"/>
                <a:gd name="T33" fmla="*/ 74 h 76"/>
                <a:gd name="T34" fmla="*/ 16 w 71"/>
                <a:gd name="T35" fmla="*/ 68 h 76"/>
                <a:gd name="T36" fmla="*/ 7 w 71"/>
                <a:gd name="T37" fmla="*/ 68 h 76"/>
                <a:gd name="T38" fmla="*/ 1 w 71"/>
                <a:gd name="T39" fmla="*/ 61 h 76"/>
                <a:gd name="T40" fmla="*/ 0 w 71"/>
                <a:gd name="T41" fmla="*/ 61 h 76"/>
                <a:gd name="T42" fmla="*/ 4 w 71"/>
                <a:gd name="T43" fmla="*/ 43 h 76"/>
                <a:gd name="T44" fmla="*/ 7 w 71"/>
                <a:gd name="T45" fmla="*/ 8 h 76"/>
                <a:gd name="T46" fmla="*/ 12 w 71"/>
                <a:gd name="T47" fmla="*/ 2 h 76"/>
                <a:gd name="T48" fmla="*/ 15 w 71"/>
                <a:gd name="T49" fmla="*/ 2 h 76"/>
                <a:gd name="T50" fmla="*/ 19 w 71"/>
                <a:gd name="T5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 h="76">
                  <a:moveTo>
                    <a:pt x="19" y="0"/>
                  </a:moveTo>
                  <a:lnTo>
                    <a:pt x="24" y="0"/>
                  </a:lnTo>
                  <a:lnTo>
                    <a:pt x="31" y="8"/>
                  </a:lnTo>
                  <a:lnTo>
                    <a:pt x="33" y="14"/>
                  </a:lnTo>
                  <a:lnTo>
                    <a:pt x="38" y="11"/>
                  </a:lnTo>
                  <a:lnTo>
                    <a:pt x="38" y="12"/>
                  </a:lnTo>
                  <a:lnTo>
                    <a:pt x="44" y="18"/>
                  </a:lnTo>
                  <a:lnTo>
                    <a:pt x="62" y="28"/>
                  </a:lnTo>
                  <a:lnTo>
                    <a:pt x="65" y="36"/>
                  </a:lnTo>
                  <a:lnTo>
                    <a:pt x="71" y="40"/>
                  </a:lnTo>
                  <a:lnTo>
                    <a:pt x="71" y="42"/>
                  </a:lnTo>
                  <a:lnTo>
                    <a:pt x="67" y="48"/>
                  </a:lnTo>
                  <a:lnTo>
                    <a:pt x="68" y="57"/>
                  </a:lnTo>
                  <a:lnTo>
                    <a:pt x="68" y="58"/>
                  </a:lnTo>
                  <a:lnTo>
                    <a:pt x="58" y="71"/>
                  </a:lnTo>
                  <a:lnTo>
                    <a:pt x="47" y="76"/>
                  </a:lnTo>
                  <a:lnTo>
                    <a:pt x="31" y="74"/>
                  </a:lnTo>
                  <a:lnTo>
                    <a:pt x="16" y="68"/>
                  </a:lnTo>
                  <a:lnTo>
                    <a:pt x="7" y="68"/>
                  </a:lnTo>
                  <a:lnTo>
                    <a:pt x="1" y="61"/>
                  </a:lnTo>
                  <a:lnTo>
                    <a:pt x="0" y="61"/>
                  </a:lnTo>
                  <a:lnTo>
                    <a:pt x="4" y="43"/>
                  </a:lnTo>
                  <a:lnTo>
                    <a:pt x="7" y="8"/>
                  </a:lnTo>
                  <a:lnTo>
                    <a:pt x="12" y="2"/>
                  </a:lnTo>
                  <a:lnTo>
                    <a:pt x="15" y="2"/>
                  </a:lnTo>
                  <a:lnTo>
                    <a:pt x="1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 name="Trinidad &amp; Tobago">
              <a:extLst>
                <a:ext uri="{FF2B5EF4-FFF2-40B4-BE49-F238E27FC236}">
                  <a16:creationId xmlns:a16="http://schemas.microsoft.com/office/drawing/2014/main" id="{06E2BDDF-A4C7-868B-B546-43F7A1E136F9}"/>
                </a:ext>
              </a:extLst>
            </p:cNvPr>
            <p:cNvSpPr>
              <a:spLocks/>
            </p:cNvSpPr>
            <p:nvPr/>
          </p:nvSpPr>
          <p:spPr bwMode="auto">
            <a:xfrm>
              <a:off x="4363932" y="4334418"/>
              <a:ext cx="27107" cy="19879"/>
            </a:xfrm>
            <a:custGeom>
              <a:avLst/>
              <a:gdLst>
                <a:gd name="T0" fmla="*/ 3 w 15"/>
                <a:gd name="T1" fmla="*/ 0 h 11"/>
                <a:gd name="T2" fmla="*/ 15 w 15"/>
                <a:gd name="T3" fmla="*/ 0 h 11"/>
                <a:gd name="T4" fmla="*/ 15 w 15"/>
                <a:gd name="T5" fmla="*/ 2 h 11"/>
                <a:gd name="T6" fmla="*/ 14 w 15"/>
                <a:gd name="T7" fmla="*/ 2 h 11"/>
                <a:gd name="T8" fmla="*/ 12 w 15"/>
                <a:gd name="T9" fmla="*/ 9 h 11"/>
                <a:gd name="T10" fmla="*/ 8 w 15"/>
                <a:gd name="T11" fmla="*/ 9 h 11"/>
                <a:gd name="T12" fmla="*/ 5 w 15"/>
                <a:gd name="T13" fmla="*/ 11 h 11"/>
                <a:gd name="T14" fmla="*/ 0 w 15"/>
                <a:gd name="T15" fmla="*/ 11 h 11"/>
                <a:gd name="T16" fmla="*/ 0 w 15"/>
                <a:gd name="T17" fmla="*/ 9 h 11"/>
                <a:gd name="T18" fmla="*/ 6 w 15"/>
                <a:gd name="T19" fmla="*/ 6 h 11"/>
                <a:gd name="T20" fmla="*/ 3 w 15"/>
                <a:gd name="T21" fmla="*/ 2 h 11"/>
                <a:gd name="T22" fmla="*/ 3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3" y="0"/>
                  </a:moveTo>
                  <a:lnTo>
                    <a:pt x="15" y="0"/>
                  </a:lnTo>
                  <a:lnTo>
                    <a:pt x="15" y="2"/>
                  </a:lnTo>
                  <a:lnTo>
                    <a:pt x="14" y="2"/>
                  </a:lnTo>
                  <a:lnTo>
                    <a:pt x="12" y="9"/>
                  </a:lnTo>
                  <a:lnTo>
                    <a:pt x="8" y="9"/>
                  </a:lnTo>
                  <a:lnTo>
                    <a:pt x="5" y="11"/>
                  </a:lnTo>
                  <a:lnTo>
                    <a:pt x="0" y="11"/>
                  </a:lnTo>
                  <a:lnTo>
                    <a:pt x="0" y="9"/>
                  </a:lnTo>
                  <a:lnTo>
                    <a:pt x="6" y="6"/>
                  </a:lnTo>
                  <a:lnTo>
                    <a:pt x="3" y="2"/>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 name="Suriname">
              <a:extLst>
                <a:ext uri="{FF2B5EF4-FFF2-40B4-BE49-F238E27FC236}">
                  <a16:creationId xmlns:a16="http://schemas.microsoft.com/office/drawing/2014/main" id="{57EB3118-F021-7015-8238-D0DD805CD623}"/>
                </a:ext>
              </a:extLst>
            </p:cNvPr>
            <p:cNvSpPr>
              <a:spLocks/>
            </p:cNvSpPr>
            <p:nvPr/>
          </p:nvSpPr>
          <p:spPr bwMode="auto">
            <a:xfrm>
              <a:off x="4456091" y="4446456"/>
              <a:ext cx="99389" cy="99389"/>
            </a:xfrm>
            <a:custGeom>
              <a:avLst/>
              <a:gdLst>
                <a:gd name="T0" fmla="*/ 41 w 55"/>
                <a:gd name="T1" fmla="*/ 0 h 55"/>
                <a:gd name="T2" fmla="*/ 55 w 55"/>
                <a:gd name="T3" fmla="*/ 3 h 55"/>
                <a:gd name="T4" fmla="*/ 55 w 55"/>
                <a:gd name="T5" fmla="*/ 8 h 55"/>
                <a:gd name="T6" fmla="*/ 50 w 55"/>
                <a:gd name="T7" fmla="*/ 15 h 55"/>
                <a:gd name="T8" fmla="*/ 50 w 55"/>
                <a:gd name="T9" fmla="*/ 23 h 55"/>
                <a:gd name="T10" fmla="*/ 55 w 55"/>
                <a:gd name="T11" fmla="*/ 32 h 55"/>
                <a:gd name="T12" fmla="*/ 53 w 55"/>
                <a:gd name="T13" fmla="*/ 45 h 55"/>
                <a:gd name="T14" fmla="*/ 49 w 55"/>
                <a:gd name="T15" fmla="*/ 49 h 55"/>
                <a:gd name="T16" fmla="*/ 47 w 55"/>
                <a:gd name="T17" fmla="*/ 49 h 55"/>
                <a:gd name="T18" fmla="*/ 41 w 55"/>
                <a:gd name="T19" fmla="*/ 46 h 55"/>
                <a:gd name="T20" fmla="*/ 31 w 55"/>
                <a:gd name="T21" fmla="*/ 48 h 55"/>
                <a:gd name="T22" fmla="*/ 30 w 55"/>
                <a:gd name="T23" fmla="*/ 55 h 55"/>
                <a:gd name="T24" fmla="*/ 21 w 55"/>
                <a:gd name="T25" fmla="*/ 55 h 55"/>
                <a:gd name="T26" fmla="*/ 15 w 55"/>
                <a:gd name="T27" fmla="*/ 48 h 55"/>
                <a:gd name="T28" fmla="*/ 10 w 55"/>
                <a:gd name="T29" fmla="*/ 38 h 55"/>
                <a:gd name="T30" fmla="*/ 6 w 55"/>
                <a:gd name="T31" fmla="*/ 36 h 55"/>
                <a:gd name="T32" fmla="*/ 0 w 55"/>
                <a:gd name="T33" fmla="*/ 26 h 55"/>
                <a:gd name="T34" fmla="*/ 1 w 55"/>
                <a:gd name="T35" fmla="*/ 15 h 55"/>
                <a:gd name="T36" fmla="*/ 3 w 55"/>
                <a:gd name="T37" fmla="*/ 15 h 55"/>
                <a:gd name="T38" fmla="*/ 9 w 55"/>
                <a:gd name="T39" fmla="*/ 14 h 55"/>
                <a:gd name="T40" fmla="*/ 13 w 55"/>
                <a:gd name="T41" fmla="*/ 3 h 55"/>
                <a:gd name="T42" fmla="*/ 13 w 55"/>
                <a:gd name="T43" fmla="*/ 2 h 55"/>
                <a:gd name="T44" fmla="*/ 15 w 55"/>
                <a:gd name="T45" fmla="*/ 2 h 55"/>
                <a:gd name="T46" fmla="*/ 41 w 55"/>
                <a:gd name="T4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55">
                  <a:moveTo>
                    <a:pt x="41" y="0"/>
                  </a:moveTo>
                  <a:lnTo>
                    <a:pt x="55" y="3"/>
                  </a:lnTo>
                  <a:lnTo>
                    <a:pt x="55" y="8"/>
                  </a:lnTo>
                  <a:lnTo>
                    <a:pt x="50" y="15"/>
                  </a:lnTo>
                  <a:lnTo>
                    <a:pt x="50" y="23"/>
                  </a:lnTo>
                  <a:lnTo>
                    <a:pt x="55" y="32"/>
                  </a:lnTo>
                  <a:lnTo>
                    <a:pt x="53" y="45"/>
                  </a:lnTo>
                  <a:lnTo>
                    <a:pt x="49" y="49"/>
                  </a:lnTo>
                  <a:lnTo>
                    <a:pt x="47" y="49"/>
                  </a:lnTo>
                  <a:lnTo>
                    <a:pt x="41" y="46"/>
                  </a:lnTo>
                  <a:lnTo>
                    <a:pt x="31" y="48"/>
                  </a:lnTo>
                  <a:lnTo>
                    <a:pt x="30" y="55"/>
                  </a:lnTo>
                  <a:lnTo>
                    <a:pt x="21" y="55"/>
                  </a:lnTo>
                  <a:lnTo>
                    <a:pt x="15" y="48"/>
                  </a:lnTo>
                  <a:lnTo>
                    <a:pt x="10" y="38"/>
                  </a:lnTo>
                  <a:lnTo>
                    <a:pt x="6" y="36"/>
                  </a:lnTo>
                  <a:lnTo>
                    <a:pt x="0" y="26"/>
                  </a:lnTo>
                  <a:lnTo>
                    <a:pt x="1" y="15"/>
                  </a:lnTo>
                  <a:lnTo>
                    <a:pt x="3" y="15"/>
                  </a:lnTo>
                  <a:lnTo>
                    <a:pt x="9" y="14"/>
                  </a:lnTo>
                  <a:lnTo>
                    <a:pt x="13" y="3"/>
                  </a:lnTo>
                  <a:lnTo>
                    <a:pt x="13" y="2"/>
                  </a:lnTo>
                  <a:lnTo>
                    <a:pt x="15" y="2"/>
                  </a:lnTo>
                  <a:lnTo>
                    <a:pt x="4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 name="Peru">
              <a:extLst>
                <a:ext uri="{FF2B5EF4-FFF2-40B4-BE49-F238E27FC236}">
                  <a16:creationId xmlns:a16="http://schemas.microsoft.com/office/drawing/2014/main" id="{7ED21D61-F37A-D618-9708-0C2414377177}"/>
                </a:ext>
              </a:extLst>
            </p:cNvPr>
            <p:cNvSpPr>
              <a:spLocks/>
            </p:cNvSpPr>
            <p:nvPr/>
          </p:nvSpPr>
          <p:spPr bwMode="auto">
            <a:xfrm>
              <a:off x="3906744" y="4592828"/>
              <a:ext cx="298166" cy="430081"/>
            </a:xfrm>
            <a:custGeom>
              <a:avLst/>
              <a:gdLst>
                <a:gd name="T0" fmla="*/ 82 w 165"/>
                <a:gd name="T1" fmla="*/ 0 h 238"/>
                <a:gd name="T2" fmla="*/ 86 w 165"/>
                <a:gd name="T3" fmla="*/ 1 h 238"/>
                <a:gd name="T4" fmla="*/ 101 w 165"/>
                <a:gd name="T5" fmla="*/ 13 h 238"/>
                <a:gd name="T6" fmla="*/ 107 w 165"/>
                <a:gd name="T7" fmla="*/ 20 h 238"/>
                <a:gd name="T8" fmla="*/ 110 w 165"/>
                <a:gd name="T9" fmla="*/ 29 h 238"/>
                <a:gd name="T10" fmla="*/ 123 w 165"/>
                <a:gd name="T11" fmla="*/ 26 h 238"/>
                <a:gd name="T12" fmla="*/ 130 w 165"/>
                <a:gd name="T13" fmla="*/ 29 h 238"/>
                <a:gd name="T14" fmla="*/ 145 w 165"/>
                <a:gd name="T15" fmla="*/ 31 h 238"/>
                <a:gd name="T16" fmla="*/ 148 w 165"/>
                <a:gd name="T17" fmla="*/ 37 h 238"/>
                <a:gd name="T18" fmla="*/ 148 w 165"/>
                <a:gd name="T19" fmla="*/ 51 h 238"/>
                <a:gd name="T20" fmla="*/ 117 w 165"/>
                <a:gd name="T21" fmla="*/ 65 h 238"/>
                <a:gd name="T22" fmla="*/ 108 w 165"/>
                <a:gd name="T23" fmla="*/ 83 h 238"/>
                <a:gd name="T24" fmla="*/ 104 w 165"/>
                <a:gd name="T25" fmla="*/ 87 h 238"/>
                <a:gd name="T26" fmla="*/ 102 w 165"/>
                <a:gd name="T27" fmla="*/ 105 h 238"/>
                <a:gd name="T28" fmla="*/ 111 w 165"/>
                <a:gd name="T29" fmla="*/ 120 h 238"/>
                <a:gd name="T30" fmla="*/ 117 w 165"/>
                <a:gd name="T31" fmla="*/ 121 h 238"/>
                <a:gd name="T32" fmla="*/ 127 w 165"/>
                <a:gd name="T33" fmla="*/ 127 h 238"/>
                <a:gd name="T34" fmla="*/ 142 w 165"/>
                <a:gd name="T35" fmla="*/ 118 h 238"/>
                <a:gd name="T36" fmla="*/ 144 w 165"/>
                <a:gd name="T37" fmla="*/ 142 h 238"/>
                <a:gd name="T38" fmla="*/ 154 w 165"/>
                <a:gd name="T39" fmla="*/ 139 h 238"/>
                <a:gd name="T40" fmla="*/ 165 w 165"/>
                <a:gd name="T41" fmla="*/ 160 h 238"/>
                <a:gd name="T42" fmla="*/ 162 w 165"/>
                <a:gd name="T43" fmla="*/ 188 h 238"/>
                <a:gd name="T44" fmla="*/ 160 w 165"/>
                <a:gd name="T45" fmla="*/ 197 h 238"/>
                <a:gd name="T46" fmla="*/ 157 w 165"/>
                <a:gd name="T47" fmla="*/ 203 h 238"/>
                <a:gd name="T48" fmla="*/ 162 w 165"/>
                <a:gd name="T49" fmla="*/ 215 h 238"/>
                <a:gd name="T50" fmla="*/ 154 w 165"/>
                <a:gd name="T51" fmla="*/ 226 h 238"/>
                <a:gd name="T52" fmla="*/ 151 w 165"/>
                <a:gd name="T53" fmla="*/ 235 h 238"/>
                <a:gd name="T54" fmla="*/ 141 w 165"/>
                <a:gd name="T55" fmla="*/ 238 h 238"/>
                <a:gd name="T56" fmla="*/ 98 w 165"/>
                <a:gd name="T57" fmla="*/ 213 h 238"/>
                <a:gd name="T58" fmla="*/ 65 w 165"/>
                <a:gd name="T59" fmla="*/ 186 h 238"/>
                <a:gd name="T60" fmla="*/ 64 w 165"/>
                <a:gd name="T61" fmla="*/ 172 h 238"/>
                <a:gd name="T62" fmla="*/ 31 w 165"/>
                <a:gd name="T63" fmla="*/ 106 h 238"/>
                <a:gd name="T64" fmla="*/ 18 w 165"/>
                <a:gd name="T65" fmla="*/ 87 h 238"/>
                <a:gd name="T66" fmla="*/ 3 w 165"/>
                <a:gd name="T67" fmla="*/ 74 h 238"/>
                <a:gd name="T68" fmla="*/ 3 w 165"/>
                <a:gd name="T69" fmla="*/ 68 h 238"/>
                <a:gd name="T70" fmla="*/ 1 w 165"/>
                <a:gd name="T71" fmla="*/ 54 h 238"/>
                <a:gd name="T72" fmla="*/ 13 w 165"/>
                <a:gd name="T73" fmla="*/ 43 h 238"/>
                <a:gd name="T74" fmla="*/ 10 w 165"/>
                <a:gd name="T75" fmla="*/ 51 h 238"/>
                <a:gd name="T76" fmla="*/ 16 w 165"/>
                <a:gd name="T77" fmla="*/ 56 h 238"/>
                <a:gd name="T78" fmla="*/ 24 w 165"/>
                <a:gd name="T79" fmla="*/ 57 h 238"/>
                <a:gd name="T80" fmla="*/ 30 w 165"/>
                <a:gd name="T81" fmla="*/ 62 h 238"/>
                <a:gd name="T82" fmla="*/ 34 w 165"/>
                <a:gd name="T83" fmla="*/ 50 h 238"/>
                <a:gd name="T84" fmla="*/ 42 w 165"/>
                <a:gd name="T85" fmla="*/ 44 h 238"/>
                <a:gd name="T86" fmla="*/ 43 w 165"/>
                <a:gd name="T87" fmla="*/ 38 h 238"/>
                <a:gd name="T88" fmla="*/ 73 w 165"/>
                <a:gd name="T89" fmla="*/ 20 h 238"/>
                <a:gd name="T90" fmla="*/ 80 w 165"/>
                <a:gd name="T91" fmla="*/ 10 h 238"/>
                <a:gd name="T92" fmla="*/ 74 w 165"/>
                <a:gd name="T93" fmla="*/ 1 h 238"/>
                <a:gd name="T94" fmla="*/ 79 w 165"/>
                <a:gd name="T9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5" h="238">
                  <a:moveTo>
                    <a:pt x="79" y="0"/>
                  </a:moveTo>
                  <a:lnTo>
                    <a:pt x="82" y="0"/>
                  </a:lnTo>
                  <a:lnTo>
                    <a:pt x="83" y="1"/>
                  </a:lnTo>
                  <a:lnTo>
                    <a:pt x="86" y="1"/>
                  </a:lnTo>
                  <a:lnTo>
                    <a:pt x="95" y="11"/>
                  </a:lnTo>
                  <a:lnTo>
                    <a:pt x="101" y="13"/>
                  </a:lnTo>
                  <a:lnTo>
                    <a:pt x="102" y="20"/>
                  </a:lnTo>
                  <a:lnTo>
                    <a:pt x="107" y="20"/>
                  </a:lnTo>
                  <a:lnTo>
                    <a:pt x="107" y="22"/>
                  </a:lnTo>
                  <a:lnTo>
                    <a:pt x="110" y="29"/>
                  </a:lnTo>
                  <a:lnTo>
                    <a:pt x="119" y="31"/>
                  </a:lnTo>
                  <a:lnTo>
                    <a:pt x="123" y="26"/>
                  </a:lnTo>
                  <a:lnTo>
                    <a:pt x="125" y="26"/>
                  </a:lnTo>
                  <a:lnTo>
                    <a:pt x="130" y="29"/>
                  </a:lnTo>
                  <a:lnTo>
                    <a:pt x="135" y="26"/>
                  </a:lnTo>
                  <a:lnTo>
                    <a:pt x="145" y="31"/>
                  </a:lnTo>
                  <a:lnTo>
                    <a:pt x="148" y="35"/>
                  </a:lnTo>
                  <a:lnTo>
                    <a:pt x="148" y="37"/>
                  </a:lnTo>
                  <a:lnTo>
                    <a:pt x="141" y="47"/>
                  </a:lnTo>
                  <a:lnTo>
                    <a:pt x="148" y="51"/>
                  </a:lnTo>
                  <a:lnTo>
                    <a:pt x="127" y="57"/>
                  </a:lnTo>
                  <a:lnTo>
                    <a:pt x="117" y="65"/>
                  </a:lnTo>
                  <a:lnTo>
                    <a:pt x="110" y="75"/>
                  </a:lnTo>
                  <a:lnTo>
                    <a:pt x="108" y="83"/>
                  </a:lnTo>
                  <a:lnTo>
                    <a:pt x="108" y="84"/>
                  </a:lnTo>
                  <a:lnTo>
                    <a:pt x="104" y="87"/>
                  </a:lnTo>
                  <a:lnTo>
                    <a:pt x="99" y="96"/>
                  </a:lnTo>
                  <a:lnTo>
                    <a:pt x="102" y="105"/>
                  </a:lnTo>
                  <a:lnTo>
                    <a:pt x="111" y="114"/>
                  </a:lnTo>
                  <a:lnTo>
                    <a:pt x="111" y="120"/>
                  </a:lnTo>
                  <a:lnTo>
                    <a:pt x="117" y="120"/>
                  </a:lnTo>
                  <a:lnTo>
                    <a:pt x="117" y="121"/>
                  </a:lnTo>
                  <a:lnTo>
                    <a:pt x="122" y="126"/>
                  </a:lnTo>
                  <a:lnTo>
                    <a:pt x="127" y="127"/>
                  </a:lnTo>
                  <a:lnTo>
                    <a:pt x="141" y="118"/>
                  </a:lnTo>
                  <a:lnTo>
                    <a:pt x="142" y="118"/>
                  </a:lnTo>
                  <a:lnTo>
                    <a:pt x="142" y="140"/>
                  </a:lnTo>
                  <a:lnTo>
                    <a:pt x="144" y="142"/>
                  </a:lnTo>
                  <a:lnTo>
                    <a:pt x="153" y="139"/>
                  </a:lnTo>
                  <a:lnTo>
                    <a:pt x="154" y="139"/>
                  </a:lnTo>
                  <a:lnTo>
                    <a:pt x="154" y="140"/>
                  </a:lnTo>
                  <a:lnTo>
                    <a:pt x="165" y="160"/>
                  </a:lnTo>
                  <a:lnTo>
                    <a:pt x="162" y="166"/>
                  </a:lnTo>
                  <a:lnTo>
                    <a:pt x="162" y="188"/>
                  </a:lnTo>
                  <a:lnTo>
                    <a:pt x="157" y="191"/>
                  </a:lnTo>
                  <a:lnTo>
                    <a:pt x="160" y="197"/>
                  </a:lnTo>
                  <a:lnTo>
                    <a:pt x="160" y="198"/>
                  </a:lnTo>
                  <a:lnTo>
                    <a:pt x="157" y="203"/>
                  </a:lnTo>
                  <a:lnTo>
                    <a:pt x="157" y="207"/>
                  </a:lnTo>
                  <a:lnTo>
                    <a:pt x="162" y="215"/>
                  </a:lnTo>
                  <a:lnTo>
                    <a:pt x="162" y="216"/>
                  </a:lnTo>
                  <a:lnTo>
                    <a:pt x="154" y="226"/>
                  </a:lnTo>
                  <a:lnTo>
                    <a:pt x="154" y="229"/>
                  </a:lnTo>
                  <a:lnTo>
                    <a:pt x="151" y="235"/>
                  </a:lnTo>
                  <a:lnTo>
                    <a:pt x="151" y="237"/>
                  </a:lnTo>
                  <a:lnTo>
                    <a:pt x="141" y="238"/>
                  </a:lnTo>
                  <a:lnTo>
                    <a:pt x="117" y="219"/>
                  </a:lnTo>
                  <a:lnTo>
                    <a:pt x="98" y="213"/>
                  </a:lnTo>
                  <a:lnTo>
                    <a:pt x="80" y="200"/>
                  </a:lnTo>
                  <a:lnTo>
                    <a:pt x="65" y="186"/>
                  </a:lnTo>
                  <a:lnTo>
                    <a:pt x="65" y="185"/>
                  </a:lnTo>
                  <a:lnTo>
                    <a:pt x="64" y="172"/>
                  </a:lnTo>
                  <a:lnTo>
                    <a:pt x="47" y="148"/>
                  </a:lnTo>
                  <a:lnTo>
                    <a:pt x="31" y="106"/>
                  </a:lnTo>
                  <a:lnTo>
                    <a:pt x="25" y="100"/>
                  </a:lnTo>
                  <a:lnTo>
                    <a:pt x="18" y="87"/>
                  </a:lnTo>
                  <a:lnTo>
                    <a:pt x="3" y="75"/>
                  </a:lnTo>
                  <a:lnTo>
                    <a:pt x="3" y="74"/>
                  </a:lnTo>
                  <a:lnTo>
                    <a:pt x="4" y="71"/>
                  </a:lnTo>
                  <a:lnTo>
                    <a:pt x="3" y="68"/>
                  </a:lnTo>
                  <a:lnTo>
                    <a:pt x="0" y="54"/>
                  </a:lnTo>
                  <a:lnTo>
                    <a:pt x="1" y="54"/>
                  </a:lnTo>
                  <a:lnTo>
                    <a:pt x="12" y="43"/>
                  </a:lnTo>
                  <a:lnTo>
                    <a:pt x="13" y="43"/>
                  </a:lnTo>
                  <a:lnTo>
                    <a:pt x="15" y="48"/>
                  </a:lnTo>
                  <a:lnTo>
                    <a:pt x="10" y="51"/>
                  </a:lnTo>
                  <a:lnTo>
                    <a:pt x="12" y="56"/>
                  </a:lnTo>
                  <a:lnTo>
                    <a:pt x="16" y="56"/>
                  </a:lnTo>
                  <a:lnTo>
                    <a:pt x="22" y="57"/>
                  </a:lnTo>
                  <a:lnTo>
                    <a:pt x="24" y="57"/>
                  </a:lnTo>
                  <a:lnTo>
                    <a:pt x="25" y="62"/>
                  </a:lnTo>
                  <a:lnTo>
                    <a:pt x="30" y="62"/>
                  </a:lnTo>
                  <a:lnTo>
                    <a:pt x="34" y="59"/>
                  </a:lnTo>
                  <a:lnTo>
                    <a:pt x="34" y="50"/>
                  </a:lnTo>
                  <a:lnTo>
                    <a:pt x="37" y="44"/>
                  </a:lnTo>
                  <a:lnTo>
                    <a:pt x="42" y="44"/>
                  </a:lnTo>
                  <a:lnTo>
                    <a:pt x="43" y="40"/>
                  </a:lnTo>
                  <a:lnTo>
                    <a:pt x="43" y="38"/>
                  </a:lnTo>
                  <a:lnTo>
                    <a:pt x="61" y="31"/>
                  </a:lnTo>
                  <a:lnTo>
                    <a:pt x="73" y="20"/>
                  </a:lnTo>
                  <a:lnTo>
                    <a:pt x="79" y="10"/>
                  </a:lnTo>
                  <a:lnTo>
                    <a:pt x="80" y="10"/>
                  </a:lnTo>
                  <a:lnTo>
                    <a:pt x="74" y="2"/>
                  </a:lnTo>
                  <a:lnTo>
                    <a:pt x="74" y="1"/>
                  </a:lnTo>
                  <a:lnTo>
                    <a:pt x="76" y="1"/>
                  </a:lnTo>
                  <a:lnTo>
                    <a:pt x="7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 name="Paraguay">
              <a:extLst>
                <a:ext uri="{FF2B5EF4-FFF2-40B4-BE49-F238E27FC236}">
                  <a16:creationId xmlns:a16="http://schemas.microsoft.com/office/drawing/2014/main" id="{05362956-BD84-1AA8-4340-144453CAA178}"/>
                </a:ext>
              </a:extLst>
            </p:cNvPr>
            <p:cNvSpPr>
              <a:spLocks/>
            </p:cNvSpPr>
            <p:nvPr/>
          </p:nvSpPr>
          <p:spPr bwMode="auto">
            <a:xfrm>
              <a:off x="4345861" y="5048207"/>
              <a:ext cx="200584" cy="213233"/>
            </a:xfrm>
            <a:custGeom>
              <a:avLst/>
              <a:gdLst>
                <a:gd name="T0" fmla="*/ 37 w 111"/>
                <a:gd name="T1" fmla="*/ 0 h 118"/>
                <a:gd name="T2" fmla="*/ 48 w 111"/>
                <a:gd name="T3" fmla="*/ 0 h 118"/>
                <a:gd name="T4" fmla="*/ 53 w 111"/>
                <a:gd name="T5" fmla="*/ 3 h 118"/>
                <a:gd name="T6" fmla="*/ 61 w 111"/>
                <a:gd name="T7" fmla="*/ 11 h 118"/>
                <a:gd name="T8" fmla="*/ 64 w 111"/>
                <a:gd name="T9" fmla="*/ 38 h 118"/>
                <a:gd name="T10" fmla="*/ 74 w 111"/>
                <a:gd name="T11" fmla="*/ 41 h 118"/>
                <a:gd name="T12" fmla="*/ 83 w 111"/>
                <a:gd name="T13" fmla="*/ 40 h 118"/>
                <a:gd name="T14" fmla="*/ 91 w 111"/>
                <a:gd name="T15" fmla="*/ 43 h 118"/>
                <a:gd name="T16" fmla="*/ 92 w 111"/>
                <a:gd name="T17" fmla="*/ 43 h 118"/>
                <a:gd name="T18" fmla="*/ 96 w 111"/>
                <a:gd name="T19" fmla="*/ 63 h 118"/>
                <a:gd name="T20" fmla="*/ 110 w 111"/>
                <a:gd name="T21" fmla="*/ 65 h 118"/>
                <a:gd name="T22" fmla="*/ 111 w 111"/>
                <a:gd name="T23" fmla="*/ 74 h 118"/>
                <a:gd name="T24" fmla="*/ 108 w 111"/>
                <a:gd name="T25" fmla="*/ 90 h 118"/>
                <a:gd name="T26" fmla="*/ 105 w 111"/>
                <a:gd name="T27" fmla="*/ 103 h 118"/>
                <a:gd name="T28" fmla="*/ 93 w 111"/>
                <a:gd name="T29" fmla="*/ 115 h 118"/>
                <a:gd name="T30" fmla="*/ 91 w 111"/>
                <a:gd name="T31" fmla="*/ 115 h 118"/>
                <a:gd name="T32" fmla="*/ 88 w 111"/>
                <a:gd name="T33" fmla="*/ 117 h 118"/>
                <a:gd name="T34" fmla="*/ 83 w 111"/>
                <a:gd name="T35" fmla="*/ 117 h 118"/>
                <a:gd name="T36" fmla="*/ 80 w 111"/>
                <a:gd name="T37" fmla="*/ 118 h 118"/>
                <a:gd name="T38" fmla="*/ 77 w 111"/>
                <a:gd name="T39" fmla="*/ 118 h 118"/>
                <a:gd name="T40" fmla="*/ 70 w 111"/>
                <a:gd name="T41" fmla="*/ 114 h 118"/>
                <a:gd name="T42" fmla="*/ 56 w 111"/>
                <a:gd name="T43" fmla="*/ 112 h 118"/>
                <a:gd name="T44" fmla="*/ 56 w 111"/>
                <a:gd name="T45" fmla="*/ 106 h 118"/>
                <a:gd name="T46" fmla="*/ 65 w 111"/>
                <a:gd name="T47" fmla="*/ 90 h 118"/>
                <a:gd name="T48" fmla="*/ 64 w 111"/>
                <a:gd name="T49" fmla="*/ 87 h 118"/>
                <a:gd name="T50" fmla="*/ 40 w 111"/>
                <a:gd name="T51" fmla="*/ 71 h 118"/>
                <a:gd name="T52" fmla="*/ 24 w 111"/>
                <a:gd name="T53" fmla="*/ 66 h 118"/>
                <a:gd name="T54" fmla="*/ 5 w 111"/>
                <a:gd name="T55" fmla="*/ 44 h 118"/>
                <a:gd name="T56" fmla="*/ 0 w 111"/>
                <a:gd name="T57" fmla="*/ 44 h 118"/>
                <a:gd name="T58" fmla="*/ 0 w 111"/>
                <a:gd name="T59" fmla="*/ 43 h 118"/>
                <a:gd name="T60" fmla="*/ 5 w 111"/>
                <a:gd name="T61" fmla="*/ 29 h 118"/>
                <a:gd name="T62" fmla="*/ 5 w 111"/>
                <a:gd name="T63" fmla="*/ 20 h 118"/>
                <a:gd name="T64" fmla="*/ 10 w 111"/>
                <a:gd name="T65" fmla="*/ 7 h 118"/>
                <a:gd name="T66" fmla="*/ 37 w 111"/>
                <a:gd name="T6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 h="118">
                  <a:moveTo>
                    <a:pt x="37" y="0"/>
                  </a:moveTo>
                  <a:lnTo>
                    <a:pt x="48" y="0"/>
                  </a:lnTo>
                  <a:lnTo>
                    <a:pt x="53" y="3"/>
                  </a:lnTo>
                  <a:lnTo>
                    <a:pt x="61" y="11"/>
                  </a:lnTo>
                  <a:lnTo>
                    <a:pt x="64" y="38"/>
                  </a:lnTo>
                  <a:lnTo>
                    <a:pt x="74" y="41"/>
                  </a:lnTo>
                  <a:lnTo>
                    <a:pt x="83" y="40"/>
                  </a:lnTo>
                  <a:lnTo>
                    <a:pt x="91" y="43"/>
                  </a:lnTo>
                  <a:lnTo>
                    <a:pt x="92" y="43"/>
                  </a:lnTo>
                  <a:lnTo>
                    <a:pt x="96" y="63"/>
                  </a:lnTo>
                  <a:lnTo>
                    <a:pt x="110" y="65"/>
                  </a:lnTo>
                  <a:lnTo>
                    <a:pt x="111" y="74"/>
                  </a:lnTo>
                  <a:lnTo>
                    <a:pt x="108" y="90"/>
                  </a:lnTo>
                  <a:lnTo>
                    <a:pt x="105" y="103"/>
                  </a:lnTo>
                  <a:lnTo>
                    <a:pt x="93" y="115"/>
                  </a:lnTo>
                  <a:lnTo>
                    <a:pt x="91" y="115"/>
                  </a:lnTo>
                  <a:lnTo>
                    <a:pt x="88" y="117"/>
                  </a:lnTo>
                  <a:lnTo>
                    <a:pt x="83" y="117"/>
                  </a:lnTo>
                  <a:lnTo>
                    <a:pt x="80" y="118"/>
                  </a:lnTo>
                  <a:lnTo>
                    <a:pt x="77" y="118"/>
                  </a:lnTo>
                  <a:lnTo>
                    <a:pt x="70" y="114"/>
                  </a:lnTo>
                  <a:lnTo>
                    <a:pt x="56" y="112"/>
                  </a:lnTo>
                  <a:lnTo>
                    <a:pt x="56" y="106"/>
                  </a:lnTo>
                  <a:lnTo>
                    <a:pt x="65" y="90"/>
                  </a:lnTo>
                  <a:lnTo>
                    <a:pt x="64" y="87"/>
                  </a:lnTo>
                  <a:lnTo>
                    <a:pt x="40" y="71"/>
                  </a:lnTo>
                  <a:lnTo>
                    <a:pt x="24" y="66"/>
                  </a:lnTo>
                  <a:lnTo>
                    <a:pt x="5" y="44"/>
                  </a:lnTo>
                  <a:lnTo>
                    <a:pt x="0" y="44"/>
                  </a:lnTo>
                  <a:lnTo>
                    <a:pt x="0" y="43"/>
                  </a:lnTo>
                  <a:lnTo>
                    <a:pt x="5" y="29"/>
                  </a:lnTo>
                  <a:lnTo>
                    <a:pt x="5" y="20"/>
                  </a:lnTo>
                  <a:lnTo>
                    <a:pt x="10" y="7"/>
                  </a:lnTo>
                  <a:lnTo>
                    <a:pt x="3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 name="Isla de Margarita">
              <a:extLst>
                <a:ext uri="{FF2B5EF4-FFF2-40B4-BE49-F238E27FC236}">
                  <a16:creationId xmlns:a16="http://schemas.microsoft.com/office/drawing/2014/main" id="{08074771-764A-15C4-6C30-99806ABCD59A}"/>
                </a:ext>
              </a:extLst>
            </p:cNvPr>
            <p:cNvSpPr>
              <a:spLocks/>
            </p:cNvSpPr>
            <p:nvPr/>
          </p:nvSpPr>
          <p:spPr bwMode="auto">
            <a:xfrm>
              <a:off x="4307912" y="4323576"/>
              <a:ext cx="14457" cy="10843"/>
            </a:xfrm>
            <a:custGeom>
              <a:avLst/>
              <a:gdLst>
                <a:gd name="T0" fmla="*/ 5 w 8"/>
                <a:gd name="T1" fmla="*/ 0 h 6"/>
                <a:gd name="T2" fmla="*/ 6 w 8"/>
                <a:gd name="T3" fmla="*/ 0 h 6"/>
                <a:gd name="T4" fmla="*/ 8 w 8"/>
                <a:gd name="T5" fmla="*/ 3 h 6"/>
                <a:gd name="T6" fmla="*/ 8 w 8"/>
                <a:gd name="T7" fmla="*/ 5 h 6"/>
                <a:gd name="T8" fmla="*/ 5 w 8"/>
                <a:gd name="T9" fmla="*/ 6 h 6"/>
                <a:gd name="T10" fmla="*/ 0 w 8"/>
                <a:gd name="T11" fmla="*/ 3 h 6"/>
                <a:gd name="T12" fmla="*/ 0 w 8"/>
                <a:gd name="T13" fmla="*/ 2 h 6"/>
                <a:gd name="T14" fmla="*/ 5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5" y="0"/>
                  </a:moveTo>
                  <a:lnTo>
                    <a:pt x="6" y="0"/>
                  </a:lnTo>
                  <a:lnTo>
                    <a:pt x="8" y="3"/>
                  </a:lnTo>
                  <a:lnTo>
                    <a:pt x="8" y="5"/>
                  </a:lnTo>
                  <a:lnTo>
                    <a:pt x="5" y="6"/>
                  </a:lnTo>
                  <a:lnTo>
                    <a:pt x="0" y="3"/>
                  </a:lnTo>
                  <a:lnTo>
                    <a:pt x="0" y="2"/>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 name="French Guiana">
              <a:extLst>
                <a:ext uri="{FF2B5EF4-FFF2-40B4-BE49-F238E27FC236}">
                  <a16:creationId xmlns:a16="http://schemas.microsoft.com/office/drawing/2014/main" id="{D992FF32-04DF-8982-2860-00A813710C4E}"/>
                </a:ext>
              </a:extLst>
            </p:cNvPr>
            <p:cNvSpPr>
              <a:spLocks/>
            </p:cNvSpPr>
            <p:nvPr/>
          </p:nvSpPr>
          <p:spPr bwMode="auto">
            <a:xfrm>
              <a:off x="4541024" y="4455491"/>
              <a:ext cx="72283" cy="88546"/>
            </a:xfrm>
            <a:custGeom>
              <a:avLst/>
              <a:gdLst>
                <a:gd name="T0" fmla="*/ 9 w 40"/>
                <a:gd name="T1" fmla="*/ 0 h 49"/>
                <a:gd name="T2" fmla="*/ 26 w 40"/>
                <a:gd name="T3" fmla="*/ 7 h 49"/>
                <a:gd name="T4" fmla="*/ 36 w 40"/>
                <a:gd name="T5" fmla="*/ 16 h 49"/>
                <a:gd name="T6" fmla="*/ 40 w 40"/>
                <a:gd name="T7" fmla="*/ 21 h 49"/>
                <a:gd name="T8" fmla="*/ 40 w 40"/>
                <a:gd name="T9" fmla="*/ 22 h 49"/>
                <a:gd name="T10" fmla="*/ 27 w 40"/>
                <a:gd name="T11" fmla="*/ 41 h 49"/>
                <a:gd name="T12" fmla="*/ 20 w 40"/>
                <a:gd name="T13" fmla="*/ 47 h 49"/>
                <a:gd name="T14" fmla="*/ 17 w 40"/>
                <a:gd name="T15" fmla="*/ 47 h 49"/>
                <a:gd name="T16" fmla="*/ 14 w 40"/>
                <a:gd name="T17" fmla="*/ 49 h 49"/>
                <a:gd name="T18" fmla="*/ 6 w 40"/>
                <a:gd name="T19" fmla="*/ 49 h 49"/>
                <a:gd name="T20" fmla="*/ 0 w 40"/>
                <a:gd name="T21" fmla="*/ 44 h 49"/>
                <a:gd name="T22" fmla="*/ 0 w 40"/>
                <a:gd name="T23" fmla="*/ 43 h 49"/>
                <a:gd name="T24" fmla="*/ 5 w 40"/>
                <a:gd name="T25" fmla="*/ 40 h 49"/>
                <a:gd name="T26" fmla="*/ 6 w 40"/>
                <a:gd name="T27" fmla="*/ 27 h 49"/>
                <a:gd name="T28" fmla="*/ 2 w 40"/>
                <a:gd name="T29" fmla="*/ 19 h 49"/>
                <a:gd name="T30" fmla="*/ 2 w 40"/>
                <a:gd name="T31" fmla="*/ 9 h 49"/>
                <a:gd name="T32" fmla="*/ 6 w 40"/>
                <a:gd name="T33" fmla="*/ 3 h 49"/>
                <a:gd name="T34" fmla="*/ 9 w 40"/>
                <a:gd name="T3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9">
                  <a:moveTo>
                    <a:pt x="9" y="0"/>
                  </a:moveTo>
                  <a:lnTo>
                    <a:pt x="26" y="7"/>
                  </a:lnTo>
                  <a:lnTo>
                    <a:pt x="36" y="16"/>
                  </a:lnTo>
                  <a:lnTo>
                    <a:pt x="40" y="21"/>
                  </a:lnTo>
                  <a:lnTo>
                    <a:pt x="40" y="22"/>
                  </a:lnTo>
                  <a:lnTo>
                    <a:pt x="27" y="41"/>
                  </a:lnTo>
                  <a:lnTo>
                    <a:pt x="20" y="47"/>
                  </a:lnTo>
                  <a:lnTo>
                    <a:pt x="17" y="47"/>
                  </a:lnTo>
                  <a:lnTo>
                    <a:pt x="14" y="49"/>
                  </a:lnTo>
                  <a:lnTo>
                    <a:pt x="6" y="49"/>
                  </a:lnTo>
                  <a:lnTo>
                    <a:pt x="0" y="44"/>
                  </a:lnTo>
                  <a:lnTo>
                    <a:pt x="0" y="43"/>
                  </a:lnTo>
                  <a:lnTo>
                    <a:pt x="5" y="40"/>
                  </a:lnTo>
                  <a:lnTo>
                    <a:pt x="6" y="27"/>
                  </a:lnTo>
                  <a:lnTo>
                    <a:pt x="2" y="19"/>
                  </a:lnTo>
                  <a:lnTo>
                    <a:pt x="2" y="9"/>
                  </a:lnTo>
                  <a:lnTo>
                    <a:pt x="6" y="3"/>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 name="Guyana">
              <a:extLst>
                <a:ext uri="{FF2B5EF4-FFF2-40B4-BE49-F238E27FC236}">
                  <a16:creationId xmlns:a16="http://schemas.microsoft.com/office/drawing/2014/main" id="{CD2E475E-818A-4686-318C-726919986861}"/>
                </a:ext>
              </a:extLst>
            </p:cNvPr>
            <p:cNvSpPr>
              <a:spLocks/>
            </p:cNvSpPr>
            <p:nvPr/>
          </p:nvSpPr>
          <p:spPr bwMode="auto">
            <a:xfrm>
              <a:off x="4380195" y="4394051"/>
              <a:ext cx="115652" cy="166250"/>
            </a:xfrm>
            <a:custGeom>
              <a:avLst/>
              <a:gdLst>
                <a:gd name="T0" fmla="*/ 20 w 64"/>
                <a:gd name="T1" fmla="*/ 0 h 92"/>
                <a:gd name="T2" fmla="*/ 24 w 64"/>
                <a:gd name="T3" fmla="*/ 0 h 92"/>
                <a:gd name="T4" fmla="*/ 34 w 64"/>
                <a:gd name="T5" fmla="*/ 9 h 92"/>
                <a:gd name="T6" fmla="*/ 37 w 64"/>
                <a:gd name="T7" fmla="*/ 19 h 92"/>
                <a:gd name="T8" fmla="*/ 48 w 64"/>
                <a:gd name="T9" fmla="*/ 21 h 92"/>
                <a:gd name="T10" fmla="*/ 57 w 64"/>
                <a:gd name="T11" fmla="*/ 32 h 92"/>
                <a:gd name="T12" fmla="*/ 52 w 64"/>
                <a:gd name="T13" fmla="*/ 44 h 92"/>
                <a:gd name="T14" fmla="*/ 51 w 64"/>
                <a:gd name="T15" fmla="*/ 44 h 92"/>
                <a:gd name="T16" fmla="*/ 45 w 64"/>
                <a:gd name="T17" fmla="*/ 46 h 92"/>
                <a:gd name="T18" fmla="*/ 43 w 64"/>
                <a:gd name="T19" fmla="*/ 55 h 92"/>
                <a:gd name="T20" fmla="*/ 49 w 64"/>
                <a:gd name="T21" fmla="*/ 64 h 92"/>
                <a:gd name="T22" fmla="*/ 54 w 64"/>
                <a:gd name="T23" fmla="*/ 65 h 92"/>
                <a:gd name="T24" fmla="*/ 58 w 64"/>
                <a:gd name="T25" fmla="*/ 77 h 92"/>
                <a:gd name="T26" fmla="*/ 64 w 64"/>
                <a:gd name="T27" fmla="*/ 83 h 92"/>
                <a:gd name="T28" fmla="*/ 64 w 64"/>
                <a:gd name="T29" fmla="*/ 84 h 92"/>
                <a:gd name="T30" fmla="*/ 61 w 64"/>
                <a:gd name="T31" fmla="*/ 84 h 92"/>
                <a:gd name="T32" fmla="*/ 57 w 64"/>
                <a:gd name="T33" fmla="*/ 83 h 92"/>
                <a:gd name="T34" fmla="*/ 54 w 64"/>
                <a:gd name="T35" fmla="*/ 83 h 92"/>
                <a:gd name="T36" fmla="*/ 36 w 64"/>
                <a:gd name="T37" fmla="*/ 92 h 92"/>
                <a:gd name="T38" fmla="*/ 34 w 64"/>
                <a:gd name="T39" fmla="*/ 92 h 92"/>
                <a:gd name="T40" fmla="*/ 27 w 64"/>
                <a:gd name="T41" fmla="*/ 89 h 92"/>
                <a:gd name="T42" fmla="*/ 21 w 64"/>
                <a:gd name="T43" fmla="*/ 86 h 92"/>
                <a:gd name="T44" fmla="*/ 21 w 64"/>
                <a:gd name="T45" fmla="*/ 78 h 92"/>
                <a:gd name="T46" fmla="*/ 18 w 64"/>
                <a:gd name="T47" fmla="*/ 75 h 92"/>
                <a:gd name="T48" fmla="*/ 20 w 64"/>
                <a:gd name="T49" fmla="*/ 61 h 92"/>
                <a:gd name="T50" fmla="*/ 23 w 64"/>
                <a:gd name="T51" fmla="*/ 58 h 92"/>
                <a:gd name="T52" fmla="*/ 21 w 64"/>
                <a:gd name="T53" fmla="*/ 50 h 92"/>
                <a:gd name="T54" fmla="*/ 17 w 64"/>
                <a:gd name="T55" fmla="*/ 50 h 92"/>
                <a:gd name="T56" fmla="*/ 17 w 64"/>
                <a:gd name="T57" fmla="*/ 41 h 92"/>
                <a:gd name="T58" fmla="*/ 8 w 64"/>
                <a:gd name="T59" fmla="*/ 41 h 92"/>
                <a:gd name="T60" fmla="*/ 0 w 64"/>
                <a:gd name="T61" fmla="*/ 28 h 92"/>
                <a:gd name="T62" fmla="*/ 3 w 64"/>
                <a:gd name="T63" fmla="*/ 21 h 92"/>
                <a:gd name="T64" fmla="*/ 9 w 64"/>
                <a:gd name="T65" fmla="*/ 16 h 92"/>
                <a:gd name="T66" fmla="*/ 6 w 64"/>
                <a:gd name="T67" fmla="*/ 16 h 92"/>
                <a:gd name="T68" fmla="*/ 6 w 64"/>
                <a:gd name="T69" fmla="*/ 7 h 92"/>
                <a:gd name="T70" fmla="*/ 8 w 64"/>
                <a:gd name="T71" fmla="*/ 7 h 92"/>
                <a:gd name="T72" fmla="*/ 18 w 64"/>
                <a:gd name="T73" fmla="*/ 1 h 92"/>
                <a:gd name="T74" fmla="*/ 20 w 64"/>
                <a:gd name="T7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92">
                  <a:moveTo>
                    <a:pt x="20" y="0"/>
                  </a:moveTo>
                  <a:lnTo>
                    <a:pt x="24" y="0"/>
                  </a:lnTo>
                  <a:lnTo>
                    <a:pt x="34" y="9"/>
                  </a:lnTo>
                  <a:lnTo>
                    <a:pt x="37" y="19"/>
                  </a:lnTo>
                  <a:lnTo>
                    <a:pt x="48" y="21"/>
                  </a:lnTo>
                  <a:lnTo>
                    <a:pt x="57" y="32"/>
                  </a:lnTo>
                  <a:lnTo>
                    <a:pt x="52" y="44"/>
                  </a:lnTo>
                  <a:lnTo>
                    <a:pt x="51" y="44"/>
                  </a:lnTo>
                  <a:lnTo>
                    <a:pt x="45" y="46"/>
                  </a:lnTo>
                  <a:lnTo>
                    <a:pt x="43" y="55"/>
                  </a:lnTo>
                  <a:lnTo>
                    <a:pt x="49" y="64"/>
                  </a:lnTo>
                  <a:lnTo>
                    <a:pt x="54" y="65"/>
                  </a:lnTo>
                  <a:lnTo>
                    <a:pt x="58" y="77"/>
                  </a:lnTo>
                  <a:lnTo>
                    <a:pt x="64" y="83"/>
                  </a:lnTo>
                  <a:lnTo>
                    <a:pt x="64" y="84"/>
                  </a:lnTo>
                  <a:lnTo>
                    <a:pt x="61" y="84"/>
                  </a:lnTo>
                  <a:lnTo>
                    <a:pt x="57" y="83"/>
                  </a:lnTo>
                  <a:lnTo>
                    <a:pt x="54" y="83"/>
                  </a:lnTo>
                  <a:lnTo>
                    <a:pt x="36" y="92"/>
                  </a:lnTo>
                  <a:lnTo>
                    <a:pt x="34" y="92"/>
                  </a:lnTo>
                  <a:lnTo>
                    <a:pt x="27" y="89"/>
                  </a:lnTo>
                  <a:lnTo>
                    <a:pt x="21" y="86"/>
                  </a:lnTo>
                  <a:lnTo>
                    <a:pt x="21" y="78"/>
                  </a:lnTo>
                  <a:lnTo>
                    <a:pt x="18" y="75"/>
                  </a:lnTo>
                  <a:lnTo>
                    <a:pt x="20" y="61"/>
                  </a:lnTo>
                  <a:lnTo>
                    <a:pt x="23" y="58"/>
                  </a:lnTo>
                  <a:lnTo>
                    <a:pt x="21" y="50"/>
                  </a:lnTo>
                  <a:lnTo>
                    <a:pt x="17" y="50"/>
                  </a:lnTo>
                  <a:lnTo>
                    <a:pt x="17" y="41"/>
                  </a:lnTo>
                  <a:lnTo>
                    <a:pt x="8" y="41"/>
                  </a:lnTo>
                  <a:lnTo>
                    <a:pt x="0" y="28"/>
                  </a:lnTo>
                  <a:lnTo>
                    <a:pt x="3" y="21"/>
                  </a:lnTo>
                  <a:lnTo>
                    <a:pt x="9" y="16"/>
                  </a:lnTo>
                  <a:lnTo>
                    <a:pt x="6" y="16"/>
                  </a:lnTo>
                  <a:lnTo>
                    <a:pt x="6" y="7"/>
                  </a:lnTo>
                  <a:lnTo>
                    <a:pt x="8" y="7"/>
                  </a:lnTo>
                  <a:lnTo>
                    <a:pt x="18" y="1"/>
                  </a:lnTo>
                  <a:lnTo>
                    <a:pt x="2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 name="Ecuador">
              <a:extLst>
                <a:ext uri="{FF2B5EF4-FFF2-40B4-BE49-F238E27FC236}">
                  <a16:creationId xmlns:a16="http://schemas.microsoft.com/office/drawing/2014/main" id="{C93CFFCD-7AE7-85A9-84D2-231DBBB4DD73}"/>
                </a:ext>
              </a:extLst>
            </p:cNvPr>
            <p:cNvSpPr>
              <a:spLocks/>
            </p:cNvSpPr>
            <p:nvPr/>
          </p:nvSpPr>
          <p:spPr bwMode="auto">
            <a:xfrm>
              <a:off x="3917587" y="4556686"/>
              <a:ext cx="137336" cy="153601"/>
            </a:xfrm>
            <a:custGeom>
              <a:avLst/>
              <a:gdLst>
                <a:gd name="T0" fmla="*/ 27 w 76"/>
                <a:gd name="T1" fmla="*/ 0 h 85"/>
                <a:gd name="T2" fmla="*/ 43 w 76"/>
                <a:gd name="T3" fmla="*/ 8 h 85"/>
                <a:gd name="T4" fmla="*/ 47 w 76"/>
                <a:gd name="T5" fmla="*/ 15 h 85"/>
                <a:gd name="T6" fmla="*/ 61 w 76"/>
                <a:gd name="T7" fmla="*/ 15 h 85"/>
                <a:gd name="T8" fmla="*/ 62 w 76"/>
                <a:gd name="T9" fmla="*/ 14 h 85"/>
                <a:gd name="T10" fmla="*/ 64 w 76"/>
                <a:gd name="T11" fmla="*/ 14 h 85"/>
                <a:gd name="T12" fmla="*/ 73 w 76"/>
                <a:gd name="T13" fmla="*/ 20 h 85"/>
                <a:gd name="T14" fmla="*/ 74 w 76"/>
                <a:gd name="T15" fmla="*/ 20 h 85"/>
                <a:gd name="T16" fmla="*/ 71 w 76"/>
                <a:gd name="T17" fmla="*/ 22 h 85"/>
                <a:gd name="T18" fmla="*/ 76 w 76"/>
                <a:gd name="T19" fmla="*/ 30 h 85"/>
                <a:gd name="T20" fmla="*/ 76 w 76"/>
                <a:gd name="T21" fmla="*/ 31 h 85"/>
                <a:gd name="T22" fmla="*/ 73 w 76"/>
                <a:gd name="T23" fmla="*/ 31 h 85"/>
                <a:gd name="T24" fmla="*/ 68 w 76"/>
                <a:gd name="T25" fmla="*/ 40 h 85"/>
                <a:gd name="T26" fmla="*/ 56 w 76"/>
                <a:gd name="T27" fmla="*/ 52 h 85"/>
                <a:gd name="T28" fmla="*/ 37 w 76"/>
                <a:gd name="T29" fmla="*/ 60 h 85"/>
                <a:gd name="T30" fmla="*/ 37 w 76"/>
                <a:gd name="T31" fmla="*/ 64 h 85"/>
                <a:gd name="T32" fmla="*/ 36 w 76"/>
                <a:gd name="T33" fmla="*/ 65 h 85"/>
                <a:gd name="T34" fmla="*/ 33 w 76"/>
                <a:gd name="T35" fmla="*/ 65 h 85"/>
                <a:gd name="T36" fmla="*/ 30 w 76"/>
                <a:gd name="T37" fmla="*/ 70 h 85"/>
                <a:gd name="T38" fmla="*/ 30 w 76"/>
                <a:gd name="T39" fmla="*/ 80 h 85"/>
                <a:gd name="T40" fmla="*/ 21 w 76"/>
                <a:gd name="T41" fmla="*/ 85 h 85"/>
                <a:gd name="T42" fmla="*/ 19 w 76"/>
                <a:gd name="T43" fmla="*/ 85 h 85"/>
                <a:gd name="T44" fmla="*/ 19 w 76"/>
                <a:gd name="T45" fmla="*/ 83 h 85"/>
                <a:gd name="T46" fmla="*/ 16 w 76"/>
                <a:gd name="T47" fmla="*/ 77 h 85"/>
                <a:gd name="T48" fmla="*/ 4 w 76"/>
                <a:gd name="T49" fmla="*/ 77 h 85"/>
                <a:gd name="T50" fmla="*/ 3 w 76"/>
                <a:gd name="T51" fmla="*/ 71 h 85"/>
                <a:gd name="T52" fmla="*/ 7 w 76"/>
                <a:gd name="T53" fmla="*/ 68 h 85"/>
                <a:gd name="T54" fmla="*/ 6 w 76"/>
                <a:gd name="T55" fmla="*/ 64 h 85"/>
                <a:gd name="T56" fmla="*/ 6 w 76"/>
                <a:gd name="T57" fmla="*/ 63 h 85"/>
                <a:gd name="T58" fmla="*/ 13 w 76"/>
                <a:gd name="T59" fmla="*/ 58 h 85"/>
                <a:gd name="T60" fmla="*/ 13 w 76"/>
                <a:gd name="T61" fmla="*/ 51 h 85"/>
                <a:gd name="T62" fmla="*/ 12 w 76"/>
                <a:gd name="T63" fmla="*/ 48 h 85"/>
                <a:gd name="T64" fmla="*/ 9 w 76"/>
                <a:gd name="T65" fmla="*/ 54 h 85"/>
                <a:gd name="T66" fmla="*/ 7 w 76"/>
                <a:gd name="T67" fmla="*/ 54 h 85"/>
                <a:gd name="T68" fmla="*/ 1 w 76"/>
                <a:gd name="T69" fmla="*/ 49 h 85"/>
                <a:gd name="T70" fmla="*/ 0 w 76"/>
                <a:gd name="T71" fmla="*/ 49 h 85"/>
                <a:gd name="T72" fmla="*/ 0 w 76"/>
                <a:gd name="T73" fmla="*/ 31 h 85"/>
                <a:gd name="T74" fmla="*/ 1 w 76"/>
                <a:gd name="T75" fmla="*/ 31 h 85"/>
                <a:gd name="T76" fmla="*/ 6 w 76"/>
                <a:gd name="T77" fmla="*/ 27 h 85"/>
                <a:gd name="T78" fmla="*/ 10 w 76"/>
                <a:gd name="T79" fmla="*/ 17 h 85"/>
                <a:gd name="T80" fmla="*/ 10 w 76"/>
                <a:gd name="T81" fmla="*/ 8 h 85"/>
                <a:gd name="T82" fmla="*/ 27 w 76"/>
                <a:gd name="T8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 h="85">
                  <a:moveTo>
                    <a:pt x="27" y="0"/>
                  </a:moveTo>
                  <a:lnTo>
                    <a:pt x="43" y="8"/>
                  </a:lnTo>
                  <a:lnTo>
                    <a:pt x="47" y="15"/>
                  </a:lnTo>
                  <a:lnTo>
                    <a:pt x="61" y="15"/>
                  </a:lnTo>
                  <a:lnTo>
                    <a:pt x="62" y="14"/>
                  </a:lnTo>
                  <a:lnTo>
                    <a:pt x="64" y="14"/>
                  </a:lnTo>
                  <a:lnTo>
                    <a:pt x="73" y="20"/>
                  </a:lnTo>
                  <a:lnTo>
                    <a:pt x="74" y="20"/>
                  </a:lnTo>
                  <a:lnTo>
                    <a:pt x="71" y="22"/>
                  </a:lnTo>
                  <a:lnTo>
                    <a:pt x="76" y="30"/>
                  </a:lnTo>
                  <a:lnTo>
                    <a:pt x="76" y="31"/>
                  </a:lnTo>
                  <a:lnTo>
                    <a:pt x="73" y="31"/>
                  </a:lnTo>
                  <a:lnTo>
                    <a:pt x="68" y="40"/>
                  </a:lnTo>
                  <a:lnTo>
                    <a:pt x="56" y="52"/>
                  </a:lnTo>
                  <a:lnTo>
                    <a:pt x="37" y="60"/>
                  </a:lnTo>
                  <a:lnTo>
                    <a:pt x="37" y="64"/>
                  </a:lnTo>
                  <a:lnTo>
                    <a:pt x="36" y="65"/>
                  </a:lnTo>
                  <a:lnTo>
                    <a:pt x="33" y="65"/>
                  </a:lnTo>
                  <a:lnTo>
                    <a:pt x="30" y="70"/>
                  </a:lnTo>
                  <a:lnTo>
                    <a:pt x="30" y="80"/>
                  </a:lnTo>
                  <a:lnTo>
                    <a:pt x="21" y="85"/>
                  </a:lnTo>
                  <a:lnTo>
                    <a:pt x="19" y="85"/>
                  </a:lnTo>
                  <a:lnTo>
                    <a:pt x="19" y="83"/>
                  </a:lnTo>
                  <a:lnTo>
                    <a:pt x="16" y="77"/>
                  </a:lnTo>
                  <a:lnTo>
                    <a:pt x="4" y="77"/>
                  </a:lnTo>
                  <a:lnTo>
                    <a:pt x="3" y="71"/>
                  </a:lnTo>
                  <a:lnTo>
                    <a:pt x="7" y="68"/>
                  </a:lnTo>
                  <a:lnTo>
                    <a:pt x="6" y="64"/>
                  </a:lnTo>
                  <a:lnTo>
                    <a:pt x="6" y="63"/>
                  </a:lnTo>
                  <a:lnTo>
                    <a:pt x="13" y="58"/>
                  </a:lnTo>
                  <a:lnTo>
                    <a:pt x="13" y="51"/>
                  </a:lnTo>
                  <a:lnTo>
                    <a:pt x="12" y="48"/>
                  </a:lnTo>
                  <a:lnTo>
                    <a:pt x="9" y="54"/>
                  </a:lnTo>
                  <a:lnTo>
                    <a:pt x="7" y="54"/>
                  </a:lnTo>
                  <a:lnTo>
                    <a:pt x="1" y="49"/>
                  </a:lnTo>
                  <a:lnTo>
                    <a:pt x="0" y="49"/>
                  </a:lnTo>
                  <a:lnTo>
                    <a:pt x="0" y="31"/>
                  </a:lnTo>
                  <a:lnTo>
                    <a:pt x="1" y="31"/>
                  </a:lnTo>
                  <a:lnTo>
                    <a:pt x="6" y="27"/>
                  </a:lnTo>
                  <a:lnTo>
                    <a:pt x="10" y="17"/>
                  </a:lnTo>
                  <a:lnTo>
                    <a:pt x="10" y="8"/>
                  </a:lnTo>
                  <a:lnTo>
                    <a:pt x="2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 name="Bolivia">
              <a:extLst>
                <a:ext uri="{FF2B5EF4-FFF2-40B4-BE49-F238E27FC236}">
                  <a16:creationId xmlns:a16="http://schemas.microsoft.com/office/drawing/2014/main" id="{A84CB7ED-894F-72AE-8A43-FECC41DEED59}"/>
                </a:ext>
              </a:extLst>
            </p:cNvPr>
            <p:cNvSpPr>
              <a:spLocks/>
            </p:cNvSpPr>
            <p:nvPr/>
          </p:nvSpPr>
          <p:spPr bwMode="auto">
            <a:xfrm>
              <a:off x="4183224" y="4815095"/>
              <a:ext cx="283709" cy="325271"/>
            </a:xfrm>
            <a:custGeom>
              <a:avLst/>
              <a:gdLst>
                <a:gd name="T0" fmla="*/ 55 w 157"/>
                <a:gd name="T1" fmla="*/ 0 h 180"/>
                <a:gd name="T2" fmla="*/ 56 w 157"/>
                <a:gd name="T3" fmla="*/ 22 h 180"/>
                <a:gd name="T4" fmla="*/ 68 w 157"/>
                <a:gd name="T5" fmla="*/ 35 h 180"/>
                <a:gd name="T6" fmla="*/ 87 w 157"/>
                <a:gd name="T7" fmla="*/ 43 h 180"/>
                <a:gd name="T8" fmla="*/ 103 w 157"/>
                <a:gd name="T9" fmla="*/ 50 h 180"/>
                <a:gd name="T10" fmla="*/ 117 w 157"/>
                <a:gd name="T11" fmla="*/ 53 h 180"/>
                <a:gd name="T12" fmla="*/ 121 w 157"/>
                <a:gd name="T13" fmla="*/ 75 h 180"/>
                <a:gd name="T14" fmla="*/ 148 w 157"/>
                <a:gd name="T15" fmla="*/ 89 h 180"/>
                <a:gd name="T16" fmla="*/ 152 w 157"/>
                <a:gd name="T17" fmla="*/ 103 h 180"/>
                <a:gd name="T18" fmla="*/ 154 w 157"/>
                <a:gd name="T19" fmla="*/ 140 h 180"/>
                <a:gd name="T20" fmla="*/ 143 w 157"/>
                <a:gd name="T21" fmla="*/ 133 h 180"/>
                <a:gd name="T22" fmla="*/ 127 w 157"/>
                <a:gd name="T23" fmla="*/ 130 h 180"/>
                <a:gd name="T24" fmla="*/ 96 w 157"/>
                <a:gd name="T25" fmla="*/ 149 h 180"/>
                <a:gd name="T26" fmla="*/ 92 w 157"/>
                <a:gd name="T27" fmla="*/ 173 h 180"/>
                <a:gd name="T28" fmla="*/ 84 w 157"/>
                <a:gd name="T29" fmla="*/ 170 h 180"/>
                <a:gd name="T30" fmla="*/ 71 w 157"/>
                <a:gd name="T31" fmla="*/ 177 h 180"/>
                <a:gd name="T32" fmla="*/ 63 w 157"/>
                <a:gd name="T33" fmla="*/ 172 h 180"/>
                <a:gd name="T34" fmla="*/ 46 w 157"/>
                <a:gd name="T35" fmla="*/ 166 h 180"/>
                <a:gd name="T36" fmla="*/ 22 w 157"/>
                <a:gd name="T37" fmla="*/ 179 h 180"/>
                <a:gd name="T38" fmla="*/ 16 w 157"/>
                <a:gd name="T39" fmla="*/ 152 h 180"/>
                <a:gd name="T40" fmla="*/ 10 w 157"/>
                <a:gd name="T41" fmla="*/ 139 h 180"/>
                <a:gd name="T42" fmla="*/ 13 w 157"/>
                <a:gd name="T43" fmla="*/ 130 h 180"/>
                <a:gd name="T44" fmla="*/ 6 w 157"/>
                <a:gd name="T45" fmla="*/ 112 h 180"/>
                <a:gd name="T46" fmla="*/ 0 w 157"/>
                <a:gd name="T47" fmla="*/ 103 h 180"/>
                <a:gd name="T48" fmla="*/ 3 w 157"/>
                <a:gd name="T49" fmla="*/ 84 h 180"/>
                <a:gd name="T50" fmla="*/ 6 w 157"/>
                <a:gd name="T51" fmla="*/ 74 h 180"/>
                <a:gd name="T52" fmla="*/ 7 w 157"/>
                <a:gd name="T53" fmla="*/ 63 h 180"/>
                <a:gd name="T54" fmla="*/ 10 w 157"/>
                <a:gd name="T55" fmla="*/ 37 h 180"/>
                <a:gd name="T56" fmla="*/ 0 w 157"/>
                <a:gd name="T57" fmla="*/ 16 h 180"/>
                <a:gd name="T58" fmla="*/ 6 w 157"/>
                <a:gd name="T59" fmla="*/ 17 h 180"/>
                <a:gd name="T60" fmla="*/ 13 w 157"/>
                <a:gd name="T61" fmla="*/ 19 h 180"/>
                <a:gd name="T62" fmla="*/ 26 w 157"/>
                <a:gd name="T63" fmla="*/ 13 h 180"/>
                <a:gd name="T64" fmla="*/ 41 w 157"/>
                <a:gd name="T65" fmla="*/ 3 h 180"/>
                <a:gd name="T66" fmla="*/ 49 w 157"/>
                <a:gd name="T67" fmla="*/ 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7" h="180">
                  <a:moveTo>
                    <a:pt x="52" y="0"/>
                  </a:moveTo>
                  <a:lnTo>
                    <a:pt x="55" y="0"/>
                  </a:lnTo>
                  <a:lnTo>
                    <a:pt x="57" y="7"/>
                  </a:lnTo>
                  <a:lnTo>
                    <a:pt x="56" y="22"/>
                  </a:lnTo>
                  <a:lnTo>
                    <a:pt x="59" y="31"/>
                  </a:lnTo>
                  <a:lnTo>
                    <a:pt x="68" y="35"/>
                  </a:lnTo>
                  <a:lnTo>
                    <a:pt x="83" y="38"/>
                  </a:lnTo>
                  <a:lnTo>
                    <a:pt x="87" y="43"/>
                  </a:lnTo>
                  <a:lnTo>
                    <a:pt x="98" y="46"/>
                  </a:lnTo>
                  <a:lnTo>
                    <a:pt x="103" y="50"/>
                  </a:lnTo>
                  <a:lnTo>
                    <a:pt x="111" y="50"/>
                  </a:lnTo>
                  <a:lnTo>
                    <a:pt x="117" y="53"/>
                  </a:lnTo>
                  <a:lnTo>
                    <a:pt x="123" y="68"/>
                  </a:lnTo>
                  <a:lnTo>
                    <a:pt x="121" y="75"/>
                  </a:lnTo>
                  <a:lnTo>
                    <a:pt x="126" y="89"/>
                  </a:lnTo>
                  <a:lnTo>
                    <a:pt x="148" y="89"/>
                  </a:lnTo>
                  <a:lnTo>
                    <a:pt x="148" y="102"/>
                  </a:lnTo>
                  <a:lnTo>
                    <a:pt x="152" y="103"/>
                  </a:lnTo>
                  <a:lnTo>
                    <a:pt x="157" y="114"/>
                  </a:lnTo>
                  <a:lnTo>
                    <a:pt x="154" y="140"/>
                  </a:lnTo>
                  <a:lnTo>
                    <a:pt x="151" y="142"/>
                  </a:lnTo>
                  <a:lnTo>
                    <a:pt x="143" y="133"/>
                  </a:lnTo>
                  <a:lnTo>
                    <a:pt x="138" y="130"/>
                  </a:lnTo>
                  <a:lnTo>
                    <a:pt x="127" y="130"/>
                  </a:lnTo>
                  <a:lnTo>
                    <a:pt x="102" y="137"/>
                  </a:lnTo>
                  <a:lnTo>
                    <a:pt x="96" y="149"/>
                  </a:lnTo>
                  <a:lnTo>
                    <a:pt x="96" y="158"/>
                  </a:lnTo>
                  <a:lnTo>
                    <a:pt x="92" y="173"/>
                  </a:lnTo>
                  <a:lnTo>
                    <a:pt x="90" y="173"/>
                  </a:lnTo>
                  <a:lnTo>
                    <a:pt x="84" y="170"/>
                  </a:lnTo>
                  <a:lnTo>
                    <a:pt x="74" y="169"/>
                  </a:lnTo>
                  <a:lnTo>
                    <a:pt x="71" y="177"/>
                  </a:lnTo>
                  <a:lnTo>
                    <a:pt x="69" y="177"/>
                  </a:lnTo>
                  <a:lnTo>
                    <a:pt x="63" y="172"/>
                  </a:lnTo>
                  <a:lnTo>
                    <a:pt x="50" y="170"/>
                  </a:lnTo>
                  <a:lnTo>
                    <a:pt x="46" y="166"/>
                  </a:lnTo>
                  <a:lnTo>
                    <a:pt x="32" y="180"/>
                  </a:lnTo>
                  <a:lnTo>
                    <a:pt x="22" y="179"/>
                  </a:lnTo>
                  <a:lnTo>
                    <a:pt x="20" y="179"/>
                  </a:lnTo>
                  <a:lnTo>
                    <a:pt x="16" y="152"/>
                  </a:lnTo>
                  <a:lnTo>
                    <a:pt x="10" y="143"/>
                  </a:lnTo>
                  <a:lnTo>
                    <a:pt x="10" y="139"/>
                  </a:lnTo>
                  <a:lnTo>
                    <a:pt x="13" y="136"/>
                  </a:lnTo>
                  <a:lnTo>
                    <a:pt x="13" y="130"/>
                  </a:lnTo>
                  <a:lnTo>
                    <a:pt x="7" y="126"/>
                  </a:lnTo>
                  <a:lnTo>
                    <a:pt x="6" y="112"/>
                  </a:lnTo>
                  <a:lnTo>
                    <a:pt x="0" y="106"/>
                  </a:lnTo>
                  <a:lnTo>
                    <a:pt x="0" y="103"/>
                  </a:lnTo>
                  <a:lnTo>
                    <a:pt x="7" y="92"/>
                  </a:lnTo>
                  <a:lnTo>
                    <a:pt x="3" y="84"/>
                  </a:lnTo>
                  <a:lnTo>
                    <a:pt x="3" y="78"/>
                  </a:lnTo>
                  <a:lnTo>
                    <a:pt x="6" y="74"/>
                  </a:lnTo>
                  <a:lnTo>
                    <a:pt x="3" y="68"/>
                  </a:lnTo>
                  <a:lnTo>
                    <a:pt x="7" y="63"/>
                  </a:lnTo>
                  <a:lnTo>
                    <a:pt x="7" y="43"/>
                  </a:lnTo>
                  <a:lnTo>
                    <a:pt x="10" y="37"/>
                  </a:lnTo>
                  <a:lnTo>
                    <a:pt x="0" y="17"/>
                  </a:lnTo>
                  <a:lnTo>
                    <a:pt x="0" y="16"/>
                  </a:lnTo>
                  <a:lnTo>
                    <a:pt x="3" y="16"/>
                  </a:lnTo>
                  <a:lnTo>
                    <a:pt x="6" y="17"/>
                  </a:lnTo>
                  <a:lnTo>
                    <a:pt x="10" y="17"/>
                  </a:lnTo>
                  <a:lnTo>
                    <a:pt x="13" y="19"/>
                  </a:lnTo>
                  <a:lnTo>
                    <a:pt x="16" y="19"/>
                  </a:lnTo>
                  <a:lnTo>
                    <a:pt x="26" y="13"/>
                  </a:lnTo>
                  <a:lnTo>
                    <a:pt x="38" y="3"/>
                  </a:lnTo>
                  <a:lnTo>
                    <a:pt x="41" y="3"/>
                  </a:lnTo>
                  <a:lnTo>
                    <a:pt x="44" y="1"/>
                  </a:lnTo>
                  <a:lnTo>
                    <a:pt x="49" y="1"/>
                  </a:lnTo>
                  <a:lnTo>
                    <a:pt x="5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 name="Columbia">
              <a:extLst>
                <a:ext uri="{FF2B5EF4-FFF2-40B4-BE49-F238E27FC236}">
                  <a16:creationId xmlns:a16="http://schemas.microsoft.com/office/drawing/2014/main" id="{54B5E957-BED2-706E-6CCE-F3F7C4FE2CD7}"/>
                </a:ext>
              </a:extLst>
            </p:cNvPr>
            <p:cNvSpPr>
              <a:spLocks/>
            </p:cNvSpPr>
            <p:nvPr/>
          </p:nvSpPr>
          <p:spPr bwMode="auto">
            <a:xfrm>
              <a:off x="3962764" y="4294663"/>
              <a:ext cx="287324" cy="390325"/>
            </a:xfrm>
            <a:custGeom>
              <a:avLst/>
              <a:gdLst>
                <a:gd name="T0" fmla="*/ 102 w 159"/>
                <a:gd name="T1" fmla="*/ 3 h 216"/>
                <a:gd name="T2" fmla="*/ 101 w 159"/>
                <a:gd name="T3" fmla="*/ 7 h 216"/>
                <a:gd name="T4" fmla="*/ 94 w 159"/>
                <a:gd name="T5" fmla="*/ 12 h 216"/>
                <a:gd name="T6" fmla="*/ 74 w 159"/>
                <a:gd name="T7" fmla="*/ 43 h 216"/>
                <a:gd name="T8" fmla="*/ 88 w 159"/>
                <a:gd name="T9" fmla="*/ 56 h 216"/>
                <a:gd name="T10" fmla="*/ 92 w 159"/>
                <a:gd name="T11" fmla="*/ 70 h 216"/>
                <a:gd name="T12" fmla="*/ 110 w 159"/>
                <a:gd name="T13" fmla="*/ 70 h 216"/>
                <a:gd name="T14" fmla="*/ 126 w 159"/>
                <a:gd name="T15" fmla="*/ 83 h 216"/>
                <a:gd name="T16" fmla="*/ 145 w 159"/>
                <a:gd name="T17" fmla="*/ 82 h 216"/>
                <a:gd name="T18" fmla="*/ 151 w 159"/>
                <a:gd name="T19" fmla="*/ 83 h 216"/>
                <a:gd name="T20" fmla="*/ 148 w 159"/>
                <a:gd name="T21" fmla="*/ 110 h 216"/>
                <a:gd name="T22" fmla="*/ 154 w 159"/>
                <a:gd name="T23" fmla="*/ 120 h 216"/>
                <a:gd name="T24" fmla="*/ 153 w 159"/>
                <a:gd name="T25" fmla="*/ 132 h 216"/>
                <a:gd name="T26" fmla="*/ 159 w 159"/>
                <a:gd name="T27" fmla="*/ 147 h 216"/>
                <a:gd name="T28" fmla="*/ 150 w 159"/>
                <a:gd name="T29" fmla="*/ 138 h 216"/>
                <a:gd name="T30" fmla="*/ 141 w 159"/>
                <a:gd name="T31" fmla="*/ 138 h 216"/>
                <a:gd name="T32" fmla="*/ 120 w 159"/>
                <a:gd name="T33" fmla="*/ 141 h 216"/>
                <a:gd name="T34" fmla="*/ 126 w 159"/>
                <a:gd name="T35" fmla="*/ 148 h 216"/>
                <a:gd name="T36" fmla="*/ 129 w 159"/>
                <a:gd name="T37" fmla="*/ 156 h 216"/>
                <a:gd name="T38" fmla="*/ 117 w 159"/>
                <a:gd name="T39" fmla="*/ 165 h 216"/>
                <a:gd name="T40" fmla="*/ 126 w 159"/>
                <a:gd name="T41" fmla="*/ 179 h 216"/>
                <a:gd name="T42" fmla="*/ 117 w 159"/>
                <a:gd name="T43" fmla="*/ 216 h 216"/>
                <a:gd name="T44" fmla="*/ 108 w 159"/>
                <a:gd name="T45" fmla="*/ 212 h 216"/>
                <a:gd name="T46" fmla="*/ 113 w 159"/>
                <a:gd name="T47" fmla="*/ 197 h 216"/>
                <a:gd name="T48" fmla="*/ 101 w 159"/>
                <a:gd name="T49" fmla="*/ 196 h 216"/>
                <a:gd name="T50" fmla="*/ 94 w 159"/>
                <a:gd name="T51" fmla="*/ 193 h 216"/>
                <a:gd name="T52" fmla="*/ 77 w 159"/>
                <a:gd name="T53" fmla="*/ 196 h 216"/>
                <a:gd name="T54" fmla="*/ 70 w 159"/>
                <a:gd name="T55" fmla="*/ 187 h 216"/>
                <a:gd name="T56" fmla="*/ 64 w 159"/>
                <a:gd name="T57" fmla="*/ 178 h 216"/>
                <a:gd name="T58" fmla="*/ 48 w 159"/>
                <a:gd name="T59" fmla="*/ 166 h 216"/>
                <a:gd name="T60" fmla="*/ 36 w 159"/>
                <a:gd name="T61" fmla="*/ 160 h 216"/>
                <a:gd name="T62" fmla="*/ 22 w 159"/>
                <a:gd name="T63" fmla="*/ 160 h 216"/>
                <a:gd name="T64" fmla="*/ 2 w 159"/>
                <a:gd name="T65" fmla="*/ 147 h 216"/>
                <a:gd name="T66" fmla="*/ 0 w 159"/>
                <a:gd name="T67" fmla="*/ 142 h 216"/>
                <a:gd name="T68" fmla="*/ 5 w 159"/>
                <a:gd name="T69" fmla="*/ 129 h 216"/>
                <a:gd name="T70" fmla="*/ 18 w 159"/>
                <a:gd name="T71" fmla="*/ 122 h 216"/>
                <a:gd name="T72" fmla="*/ 19 w 159"/>
                <a:gd name="T73" fmla="*/ 113 h 216"/>
                <a:gd name="T74" fmla="*/ 13 w 159"/>
                <a:gd name="T75" fmla="*/ 68 h 216"/>
                <a:gd name="T76" fmla="*/ 16 w 159"/>
                <a:gd name="T77" fmla="*/ 62 h 216"/>
                <a:gd name="T78" fmla="*/ 22 w 159"/>
                <a:gd name="T79" fmla="*/ 59 h 216"/>
                <a:gd name="T80" fmla="*/ 19 w 159"/>
                <a:gd name="T81" fmla="*/ 50 h 216"/>
                <a:gd name="T82" fmla="*/ 21 w 159"/>
                <a:gd name="T83" fmla="*/ 50 h 216"/>
                <a:gd name="T84" fmla="*/ 27 w 159"/>
                <a:gd name="T85" fmla="*/ 49 h 216"/>
                <a:gd name="T86" fmla="*/ 43 w 159"/>
                <a:gd name="T87" fmla="*/ 25 h 216"/>
                <a:gd name="T88" fmla="*/ 58 w 159"/>
                <a:gd name="T89" fmla="*/ 19 h 216"/>
                <a:gd name="T90" fmla="*/ 62 w 159"/>
                <a:gd name="T91" fmla="*/ 15 h 216"/>
                <a:gd name="T92" fmla="*/ 88 w 159"/>
                <a:gd name="T93" fmla="*/ 9 h 216"/>
                <a:gd name="T94" fmla="*/ 96 w 159"/>
                <a:gd name="T9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 h="216">
                  <a:moveTo>
                    <a:pt x="96" y="0"/>
                  </a:moveTo>
                  <a:lnTo>
                    <a:pt x="102" y="3"/>
                  </a:lnTo>
                  <a:lnTo>
                    <a:pt x="102" y="4"/>
                  </a:lnTo>
                  <a:lnTo>
                    <a:pt x="101" y="7"/>
                  </a:lnTo>
                  <a:lnTo>
                    <a:pt x="101" y="9"/>
                  </a:lnTo>
                  <a:lnTo>
                    <a:pt x="94" y="12"/>
                  </a:lnTo>
                  <a:lnTo>
                    <a:pt x="85" y="21"/>
                  </a:lnTo>
                  <a:lnTo>
                    <a:pt x="74" y="43"/>
                  </a:lnTo>
                  <a:lnTo>
                    <a:pt x="80" y="43"/>
                  </a:lnTo>
                  <a:lnTo>
                    <a:pt x="88" y="56"/>
                  </a:lnTo>
                  <a:lnTo>
                    <a:pt x="88" y="65"/>
                  </a:lnTo>
                  <a:lnTo>
                    <a:pt x="92" y="70"/>
                  </a:lnTo>
                  <a:lnTo>
                    <a:pt x="99" y="71"/>
                  </a:lnTo>
                  <a:lnTo>
                    <a:pt x="110" y="70"/>
                  </a:lnTo>
                  <a:lnTo>
                    <a:pt x="117" y="73"/>
                  </a:lnTo>
                  <a:lnTo>
                    <a:pt x="126" y="83"/>
                  </a:lnTo>
                  <a:lnTo>
                    <a:pt x="138" y="83"/>
                  </a:lnTo>
                  <a:lnTo>
                    <a:pt x="145" y="82"/>
                  </a:lnTo>
                  <a:lnTo>
                    <a:pt x="151" y="82"/>
                  </a:lnTo>
                  <a:lnTo>
                    <a:pt x="151" y="83"/>
                  </a:lnTo>
                  <a:lnTo>
                    <a:pt x="145" y="104"/>
                  </a:lnTo>
                  <a:lnTo>
                    <a:pt x="148" y="110"/>
                  </a:lnTo>
                  <a:lnTo>
                    <a:pt x="154" y="119"/>
                  </a:lnTo>
                  <a:lnTo>
                    <a:pt x="154" y="120"/>
                  </a:lnTo>
                  <a:lnTo>
                    <a:pt x="147" y="127"/>
                  </a:lnTo>
                  <a:lnTo>
                    <a:pt x="153" y="132"/>
                  </a:lnTo>
                  <a:lnTo>
                    <a:pt x="159" y="145"/>
                  </a:lnTo>
                  <a:lnTo>
                    <a:pt x="159" y="147"/>
                  </a:lnTo>
                  <a:lnTo>
                    <a:pt x="156" y="148"/>
                  </a:lnTo>
                  <a:lnTo>
                    <a:pt x="150" y="138"/>
                  </a:lnTo>
                  <a:lnTo>
                    <a:pt x="144" y="141"/>
                  </a:lnTo>
                  <a:lnTo>
                    <a:pt x="141" y="138"/>
                  </a:lnTo>
                  <a:lnTo>
                    <a:pt x="139" y="141"/>
                  </a:lnTo>
                  <a:lnTo>
                    <a:pt x="120" y="141"/>
                  </a:lnTo>
                  <a:lnTo>
                    <a:pt x="120" y="148"/>
                  </a:lnTo>
                  <a:lnTo>
                    <a:pt x="126" y="148"/>
                  </a:lnTo>
                  <a:lnTo>
                    <a:pt x="126" y="150"/>
                  </a:lnTo>
                  <a:lnTo>
                    <a:pt x="129" y="156"/>
                  </a:lnTo>
                  <a:lnTo>
                    <a:pt x="117" y="157"/>
                  </a:lnTo>
                  <a:lnTo>
                    <a:pt x="117" y="165"/>
                  </a:lnTo>
                  <a:lnTo>
                    <a:pt x="123" y="169"/>
                  </a:lnTo>
                  <a:lnTo>
                    <a:pt x="126" y="179"/>
                  </a:lnTo>
                  <a:lnTo>
                    <a:pt x="119" y="216"/>
                  </a:lnTo>
                  <a:lnTo>
                    <a:pt x="117" y="216"/>
                  </a:lnTo>
                  <a:lnTo>
                    <a:pt x="108" y="213"/>
                  </a:lnTo>
                  <a:lnTo>
                    <a:pt x="108" y="212"/>
                  </a:lnTo>
                  <a:lnTo>
                    <a:pt x="116" y="202"/>
                  </a:lnTo>
                  <a:lnTo>
                    <a:pt x="113" y="197"/>
                  </a:lnTo>
                  <a:lnTo>
                    <a:pt x="104" y="193"/>
                  </a:lnTo>
                  <a:lnTo>
                    <a:pt x="101" y="196"/>
                  </a:lnTo>
                  <a:lnTo>
                    <a:pt x="99" y="196"/>
                  </a:lnTo>
                  <a:lnTo>
                    <a:pt x="94" y="193"/>
                  </a:lnTo>
                  <a:lnTo>
                    <a:pt x="88" y="197"/>
                  </a:lnTo>
                  <a:lnTo>
                    <a:pt x="77" y="196"/>
                  </a:lnTo>
                  <a:lnTo>
                    <a:pt x="76" y="187"/>
                  </a:lnTo>
                  <a:lnTo>
                    <a:pt x="70" y="187"/>
                  </a:lnTo>
                  <a:lnTo>
                    <a:pt x="68" y="179"/>
                  </a:lnTo>
                  <a:lnTo>
                    <a:pt x="64" y="178"/>
                  </a:lnTo>
                  <a:lnTo>
                    <a:pt x="54" y="166"/>
                  </a:lnTo>
                  <a:lnTo>
                    <a:pt x="48" y="166"/>
                  </a:lnTo>
                  <a:lnTo>
                    <a:pt x="37" y="160"/>
                  </a:lnTo>
                  <a:lnTo>
                    <a:pt x="36" y="160"/>
                  </a:lnTo>
                  <a:lnTo>
                    <a:pt x="22" y="162"/>
                  </a:lnTo>
                  <a:lnTo>
                    <a:pt x="22" y="160"/>
                  </a:lnTo>
                  <a:lnTo>
                    <a:pt x="16" y="154"/>
                  </a:lnTo>
                  <a:lnTo>
                    <a:pt x="2" y="147"/>
                  </a:lnTo>
                  <a:lnTo>
                    <a:pt x="0" y="145"/>
                  </a:lnTo>
                  <a:lnTo>
                    <a:pt x="0" y="142"/>
                  </a:lnTo>
                  <a:lnTo>
                    <a:pt x="5" y="139"/>
                  </a:lnTo>
                  <a:lnTo>
                    <a:pt x="5" y="129"/>
                  </a:lnTo>
                  <a:lnTo>
                    <a:pt x="16" y="126"/>
                  </a:lnTo>
                  <a:lnTo>
                    <a:pt x="18" y="122"/>
                  </a:lnTo>
                  <a:lnTo>
                    <a:pt x="25" y="114"/>
                  </a:lnTo>
                  <a:lnTo>
                    <a:pt x="19" y="113"/>
                  </a:lnTo>
                  <a:lnTo>
                    <a:pt x="19" y="79"/>
                  </a:lnTo>
                  <a:lnTo>
                    <a:pt x="13" y="68"/>
                  </a:lnTo>
                  <a:lnTo>
                    <a:pt x="13" y="67"/>
                  </a:lnTo>
                  <a:lnTo>
                    <a:pt x="16" y="62"/>
                  </a:lnTo>
                  <a:lnTo>
                    <a:pt x="18" y="62"/>
                  </a:lnTo>
                  <a:lnTo>
                    <a:pt x="22" y="59"/>
                  </a:lnTo>
                  <a:lnTo>
                    <a:pt x="19" y="53"/>
                  </a:lnTo>
                  <a:lnTo>
                    <a:pt x="19" y="50"/>
                  </a:lnTo>
                  <a:lnTo>
                    <a:pt x="21" y="49"/>
                  </a:lnTo>
                  <a:lnTo>
                    <a:pt x="21" y="50"/>
                  </a:lnTo>
                  <a:lnTo>
                    <a:pt x="27" y="56"/>
                  </a:lnTo>
                  <a:lnTo>
                    <a:pt x="27" y="49"/>
                  </a:lnTo>
                  <a:lnTo>
                    <a:pt x="43" y="39"/>
                  </a:lnTo>
                  <a:lnTo>
                    <a:pt x="43" y="25"/>
                  </a:lnTo>
                  <a:lnTo>
                    <a:pt x="52" y="19"/>
                  </a:lnTo>
                  <a:lnTo>
                    <a:pt x="58" y="19"/>
                  </a:lnTo>
                  <a:lnTo>
                    <a:pt x="59" y="21"/>
                  </a:lnTo>
                  <a:lnTo>
                    <a:pt x="62" y="15"/>
                  </a:lnTo>
                  <a:lnTo>
                    <a:pt x="76" y="13"/>
                  </a:lnTo>
                  <a:lnTo>
                    <a:pt x="88" y="9"/>
                  </a:lnTo>
                  <a:lnTo>
                    <a:pt x="91" y="3"/>
                  </a:lnTo>
                  <a:lnTo>
                    <a:pt x="9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 name="Chile - Mainland">
              <a:extLst>
                <a:ext uri="{FF2B5EF4-FFF2-40B4-BE49-F238E27FC236}">
                  <a16:creationId xmlns:a16="http://schemas.microsoft.com/office/drawing/2014/main" id="{3CFB4255-4FAD-B40E-09E7-A47A88EC08DD}"/>
                </a:ext>
              </a:extLst>
            </p:cNvPr>
            <p:cNvSpPr>
              <a:spLocks noEditPoints="1"/>
            </p:cNvSpPr>
            <p:nvPr/>
          </p:nvSpPr>
          <p:spPr bwMode="auto">
            <a:xfrm>
              <a:off x="4040467" y="5006644"/>
              <a:ext cx="204198" cy="1087851"/>
            </a:xfrm>
            <a:custGeom>
              <a:avLst/>
              <a:gdLst>
                <a:gd name="T0" fmla="*/ 25 w 113"/>
                <a:gd name="T1" fmla="*/ 493 h 602"/>
                <a:gd name="T2" fmla="*/ 80 w 113"/>
                <a:gd name="T3" fmla="*/ 0 h 602"/>
                <a:gd name="T4" fmla="*/ 94 w 113"/>
                <a:gd name="T5" fmla="*/ 31 h 602"/>
                <a:gd name="T6" fmla="*/ 101 w 113"/>
                <a:gd name="T7" fmla="*/ 71 h 602"/>
                <a:gd name="T8" fmla="*/ 110 w 113"/>
                <a:gd name="T9" fmla="*/ 91 h 602"/>
                <a:gd name="T10" fmla="*/ 96 w 113"/>
                <a:gd name="T11" fmla="*/ 132 h 602"/>
                <a:gd name="T12" fmla="*/ 76 w 113"/>
                <a:gd name="T13" fmla="*/ 168 h 602"/>
                <a:gd name="T14" fmla="*/ 76 w 113"/>
                <a:gd name="T15" fmla="*/ 229 h 602"/>
                <a:gd name="T16" fmla="*/ 61 w 113"/>
                <a:gd name="T17" fmla="*/ 282 h 602"/>
                <a:gd name="T18" fmla="*/ 52 w 113"/>
                <a:gd name="T19" fmla="*/ 338 h 602"/>
                <a:gd name="T20" fmla="*/ 48 w 113"/>
                <a:gd name="T21" fmla="*/ 381 h 602"/>
                <a:gd name="T22" fmla="*/ 56 w 113"/>
                <a:gd name="T23" fmla="*/ 415 h 602"/>
                <a:gd name="T24" fmla="*/ 53 w 113"/>
                <a:gd name="T25" fmla="*/ 435 h 602"/>
                <a:gd name="T26" fmla="*/ 42 w 113"/>
                <a:gd name="T27" fmla="*/ 498 h 602"/>
                <a:gd name="T28" fmla="*/ 37 w 113"/>
                <a:gd name="T29" fmla="*/ 537 h 602"/>
                <a:gd name="T30" fmla="*/ 48 w 113"/>
                <a:gd name="T31" fmla="*/ 562 h 602"/>
                <a:gd name="T32" fmla="*/ 91 w 113"/>
                <a:gd name="T33" fmla="*/ 570 h 602"/>
                <a:gd name="T34" fmla="*/ 61 w 113"/>
                <a:gd name="T35" fmla="*/ 601 h 602"/>
                <a:gd name="T36" fmla="*/ 45 w 113"/>
                <a:gd name="T37" fmla="*/ 596 h 602"/>
                <a:gd name="T38" fmla="*/ 48 w 113"/>
                <a:gd name="T39" fmla="*/ 593 h 602"/>
                <a:gd name="T40" fmla="*/ 39 w 113"/>
                <a:gd name="T41" fmla="*/ 576 h 602"/>
                <a:gd name="T42" fmla="*/ 42 w 113"/>
                <a:gd name="T43" fmla="*/ 558 h 602"/>
                <a:gd name="T44" fmla="*/ 37 w 113"/>
                <a:gd name="T45" fmla="*/ 561 h 602"/>
                <a:gd name="T46" fmla="*/ 30 w 113"/>
                <a:gd name="T47" fmla="*/ 564 h 602"/>
                <a:gd name="T48" fmla="*/ 21 w 113"/>
                <a:gd name="T49" fmla="*/ 539 h 602"/>
                <a:gd name="T50" fmla="*/ 19 w 113"/>
                <a:gd name="T51" fmla="*/ 533 h 602"/>
                <a:gd name="T52" fmla="*/ 13 w 113"/>
                <a:gd name="T53" fmla="*/ 525 h 602"/>
                <a:gd name="T54" fmla="*/ 22 w 113"/>
                <a:gd name="T55" fmla="*/ 510 h 602"/>
                <a:gd name="T56" fmla="*/ 18 w 113"/>
                <a:gd name="T57" fmla="*/ 491 h 602"/>
                <a:gd name="T58" fmla="*/ 16 w 113"/>
                <a:gd name="T59" fmla="*/ 481 h 602"/>
                <a:gd name="T60" fmla="*/ 28 w 113"/>
                <a:gd name="T61" fmla="*/ 484 h 602"/>
                <a:gd name="T62" fmla="*/ 22 w 113"/>
                <a:gd name="T63" fmla="*/ 473 h 602"/>
                <a:gd name="T64" fmla="*/ 21 w 113"/>
                <a:gd name="T65" fmla="*/ 466 h 602"/>
                <a:gd name="T66" fmla="*/ 22 w 113"/>
                <a:gd name="T67" fmla="*/ 463 h 602"/>
                <a:gd name="T68" fmla="*/ 5 w 113"/>
                <a:gd name="T69" fmla="*/ 457 h 602"/>
                <a:gd name="T70" fmla="*/ 0 w 113"/>
                <a:gd name="T71" fmla="*/ 458 h 602"/>
                <a:gd name="T72" fmla="*/ 9 w 113"/>
                <a:gd name="T73" fmla="*/ 442 h 602"/>
                <a:gd name="T74" fmla="*/ 21 w 113"/>
                <a:gd name="T75" fmla="*/ 450 h 602"/>
                <a:gd name="T76" fmla="*/ 25 w 113"/>
                <a:gd name="T77" fmla="*/ 451 h 602"/>
                <a:gd name="T78" fmla="*/ 27 w 113"/>
                <a:gd name="T79" fmla="*/ 448 h 602"/>
                <a:gd name="T80" fmla="*/ 30 w 113"/>
                <a:gd name="T81" fmla="*/ 439 h 602"/>
                <a:gd name="T82" fmla="*/ 27 w 113"/>
                <a:gd name="T83" fmla="*/ 436 h 602"/>
                <a:gd name="T84" fmla="*/ 30 w 113"/>
                <a:gd name="T85" fmla="*/ 424 h 602"/>
                <a:gd name="T86" fmla="*/ 31 w 113"/>
                <a:gd name="T87" fmla="*/ 410 h 602"/>
                <a:gd name="T88" fmla="*/ 34 w 113"/>
                <a:gd name="T89" fmla="*/ 396 h 602"/>
                <a:gd name="T90" fmla="*/ 40 w 113"/>
                <a:gd name="T91" fmla="*/ 381 h 602"/>
                <a:gd name="T92" fmla="*/ 42 w 113"/>
                <a:gd name="T93" fmla="*/ 375 h 602"/>
                <a:gd name="T94" fmla="*/ 43 w 113"/>
                <a:gd name="T95" fmla="*/ 365 h 602"/>
                <a:gd name="T96" fmla="*/ 25 w 113"/>
                <a:gd name="T97" fmla="*/ 335 h 602"/>
                <a:gd name="T98" fmla="*/ 33 w 113"/>
                <a:gd name="T99" fmla="*/ 289 h 602"/>
                <a:gd name="T100" fmla="*/ 52 w 113"/>
                <a:gd name="T101" fmla="*/ 235 h 602"/>
                <a:gd name="T102" fmla="*/ 55 w 113"/>
                <a:gd name="T103" fmla="*/ 175 h 602"/>
                <a:gd name="T104" fmla="*/ 67 w 113"/>
                <a:gd name="T105" fmla="*/ 107 h 602"/>
                <a:gd name="T106" fmla="*/ 70 w 113"/>
                <a:gd name="T107" fmla="*/ 33 h 602"/>
                <a:gd name="T108" fmla="*/ 79 w 113"/>
                <a:gd name="T109"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3" h="602">
                  <a:moveTo>
                    <a:pt x="22" y="490"/>
                  </a:moveTo>
                  <a:lnTo>
                    <a:pt x="21" y="491"/>
                  </a:lnTo>
                  <a:lnTo>
                    <a:pt x="19" y="491"/>
                  </a:lnTo>
                  <a:lnTo>
                    <a:pt x="25" y="493"/>
                  </a:lnTo>
                  <a:lnTo>
                    <a:pt x="24" y="490"/>
                  </a:lnTo>
                  <a:lnTo>
                    <a:pt x="22" y="490"/>
                  </a:lnTo>
                  <a:close/>
                  <a:moveTo>
                    <a:pt x="79" y="0"/>
                  </a:moveTo>
                  <a:lnTo>
                    <a:pt x="80" y="0"/>
                  </a:lnTo>
                  <a:lnTo>
                    <a:pt x="86" y="6"/>
                  </a:lnTo>
                  <a:lnTo>
                    <a:pt x="88" y="18"/>
                  </a:lnTo>
                  <a:lnTo>
                    <a:pt x="94" y="23"/>
                  </a:lnTo>
                  <a:lnTo>
                    <a:pt x="94" y="31"/>
                  </a:lnTo>
                  <a:lnTo>
                    <a:pt x="91" y="33"/>
                  </a:lnTo>
                  <a:lnTo>
                    <a:pt x="91" y="37"/>
                  </a:lnTo>
                  <a:lnTo>
                    <a:pt x="96" y="46"/>
                  </a:lnTo>
                  <a:lnTo>
                    <a:pt x="101" y="71"/>
                  </a:lnTo>
                  <a:lnTo>
                    <a:pt x="111" y="73"/>
                  </a:lnTo>
                  <a:lnTo>
                    <a:pt x="113" y="79"/>
                  </a:lnTo>
                  <a:lnTo>
                    <a:pt x="111" y="91"/>
                  </a:lnTo>
                  <a:lnTo>
                    <a:pt x="110" y="91"/>
                  </a:lnTo>
                  <a:lnTo>
                    <a:pt x="95" y="98"/>
                  </a:lnTo>
                  <a:lnTo>
                    <a:pt x="94" y="112"/>
                  </a:lnTo>
                  <a:lnTo>
                    <a:pt x="96" y="131"/>
                  </a:lnTo>
                  <a:lnTo>
                    <a:pt x="96" y="132"/>
                  </a:lnTo>
                  <a:lnTo>
                    <a:pt x="89" y="137"/>
                  </a:lnTo>
                  <a:lnTo>
                    <a:pt x="88" y="143"/>
                  </a:lnTo>
                  <a:lnTo>
                    <a:pt x="80" y="150"/>
                  </a:lnTo>
                  <a:lnTo>
                    <a:pt x="76" y="168"/>
                  </a:lnTo>
                  <a:lnTo>
                    <a:pt x="76" y="183"/>
                  </a:lnTo>
                  <a:lnTo>
                    <a:pt x="68" y="198"/>
                  </a:lnTo>
                  <a:lnTo>
                    <a:pt x="68" y="203"/>
                  </a:lnTo>
                  <a:lnTo>
                    <a:pt x="76" y="229"/>
                  </a:lnTo>
                  <a:lnTo>
                    <a:pt x="77" y="242"/>
                  </a:lnTo>
                  <a:lnTo>
                    <a:pt x="68" y="260"/>
                  </a:lnTo>
                  <a:lnTo>
                    <a:pt x="68" y="273"/>
                  </a:lnTo>
                  <a:lnTo>
                    <a:pt x="61" y="282"/>
                  </a:lnTo>
                  <a:lnTo>
                    <a:pt x="59" y="300"/>
                  </a:lnTo>
                  <a:lnTo>
                    <a:pt x="61" y="312"/>
                  </a:lnTo>
                  <a:lnTo>
                    <a:pt x="56" y="321"/>
                  </a:lnTo>
                  <a:lnTo>
                    <a:pt x="52" y="338"/>
                  </a:lnTo>
                  <a:lnTo>
                    <a:pt x="51" y="359"/>
                  </a:lnTo>
                  <a:lnTo>
                    <a:pt x="53" y="368"/>
                  </a:lnTo>
                  <a:lnTo>
                    <a:pt x="53" y="369"/>
                  </a:lnTo>
                  <a:lnTo>
                    <a:pt x="48" y="381"/>
                  </a:lnTo>
                  <a:lnTo>
                    <a:pt x="51" y="405"/>
                  </a:lnTo>
                  <a:lnTo>
                    <a:pt x="51" y="412"/>
                  </a:lnTo>
                  <a:lnTo>
                    <a:pt x="56" y="414"/>
                  </a:lnTo>
                  <a:lnTo>
                    <a:pt x="56" y="415"/>
                  </a:lnTo>
                  <a:lnTo>
                    <a:pt x="58" y="418"/>
                  </a:lnTo>
                  <a:lnTo>
                    <a:pt x="51" y="421"/>
                  </a:lnTo>
                  <a:lnTo>
                    <a:pt x="56" y="427"/>
                  </a:lnTo>
                  <a:lnTo>
                    <a:pt x="53" y="435"/>
                  </a:lnTo>
                  <a:lnTo>
                    <a:pt x="53" y="455"/>
                  </a:lnTo>
                  <a:lnTo>
                    <a:pt x="45" y="476"/>
                  </a:lnTo>
                  <a:lnTo>
                    <a:pt x="45" y="490"/>
                  </a:lnTo>
                  <a:lnTo>
                    <a:pt x="42" y="498"/>
                  </a:lnTo>
                  <a:lnTo>
                    <a:pt x="33" y="513"/>
                  </a:lnTo>
                  <a:lnTo>
                    <a:pt x="31" y="525"/>
                  </a:lnTo>
                  <a:lnTo>
                    <a:pt x="31" y="537"/>
                  </a:lnTo>
                  <a:lnTo>
                    <a:pt x="37" y="537"/>
                  </a:lnTo>
                  <a:lnTo>
                    <a:pt x="40" y="536"/>
                  </a:lnTo>
                  <a:lnTo>
                    <a:pt x="45" y="536"/>
                  </a:lnTo>
                  <a:lnTo>
                    <a:pt x="45" y="558"/>
                  </a:lnTo>
                  <a:lnTo>
                    <a:pt x="48" y="562"/>
                  </a:lnTo>
                  <a:lnTo>
                    <a:pt x="77" y="564"/>
                  </a:lnTo>
                  <a:lnTo>
                    <a:pt x="96" y="568"/>
                  </a:lnTo>
                  <a:lnTo>
                    <a:pt x="96" y="570"/>
                  </a:lnTo>
                  <a:lnTo>
                    <a:pt x="91" y="570"/>
                  </a:lnTo>
                  <a:lnTo>
                    <a:pt x="88" y="568"/>
                  </a:lnTo>
                  <a:lnTo>
                    <a:pt x="85" y="568"/>
                  </a:lnTo>
                  <a:lnTo>
                    <a:pt x="64" y="580"/>
                  </a:lnTo>
                  <a:lnTo>
                    <a:pt x="61" y="601"/>
                  </a:lnTo>
                  <a:lnTo>
                    <a:pt x="61" y="602"/>
                  </a:lnTo>
                  <a:lnTo>
                    <a:pt x="53" y="602"/>
                  </a:lnTo>
                  <a:lnTo>
                    <a:pt x="46" y="598"/>
                  </a:lnTo>
                  <a:lnTo>
                    <a:pt x="45" y="596"/>
                  </a:lnTo>
                  <a:lnTo>
                    <a:pt x="43" y="592"/>
                  </a:lnTo>
                  <a:lnTo>
                    <a:pt x="43" y="590"/>
                  </a:lnTo>
                  <a:lnTo>
                    <a:pt x="48" y="590"/>
                  </a:lnTo>
                  <a:lnTo>
                    <a:pt x="48" y="593"/>
                  </a:lnTo>
                  <a:lnTo>
                    <a:pt x="56" y="586"/>
                  </a:lnTo>
                  <a:lnTo>
                    <a:pt x="59" y="582"/>
                  </a:lnTo>
                  <a:lnTo>
                    <a:pt x="53" y="576"/>
                  </a:lnTo>
                  <a:lnTo>
                    <a:pt x="39" y="576"/>
                  </a:lnTo>
                  <a:lnTo>
                    <a:pt x="42" y="568"/>
                  </a:lnTo>
                  <a:lnTo>
                    <a:pt x="39" y="564"/>
                  </a:lnTo>
                  <a:lnTo>
                    <a:pt x="39" y="562"/>
                  </a:lnTo>
                  <a:lnTo>
                    <a:pt x="42" y="558"/>
                  </a:lnTo>
                  <a:lnTo>
                    <a:pt x="40" y="558"/>
                  </a:lnTo>
                  <a:lnTo>
                    <a:pt x="40" y="559"/>
                  </a:lnTo>
                  <a:lnTo>
                    <a:pt x="37" y="559"/>
                  </a:lnTo>
                  <a:lnTo>
                    <a:pt x="37" y="561"/>
                  </a:lnTo>
                  <a:lnTo>
                    <a:pt x="34" y="564"/>
                  </a:lnTo>
                  <a:lnTo>
                    <a:pt x="33" y="564"/>
                  </a:lnTo>
                  <a:lnTo>
                    <a:pt x="31" y="565"/>
                  </a:lnTo>
                  <a:lnTo>
                    <a:pt x="30" y="564"/>
                  </a:lnTo>
                  <a:lnTo>
                    <a:pt x="28" y="564"/>
                  </a:lnTo>
                  <a:lnTo>
                    <a:pt x="27" y="550"/>
                  </a:lnTo>
                  <a:lnTo>
                    <a:pt x="21" y="544"/>
                  </a:lnTo>
                  <a:lnTo>
                    <a:pt x="21" y="539"/>
                  </a:lnTo>
                  <a:lnTo>
                    <a:pt x="25" y="537"/>
                  </a:lnTo>
                  <a:lnTo>
                    <a:pt x="21" y="537"/>
                  </a:lnTo>
                  <a:lnTo>
                    <a:pt x="19" y="534"/>
                  </a:lnTo>
                  <a:lnTo>
                    <a:pt x="19" y="533"/>
                  </a:lnTo>
                  <a:lnTo>
                    <a:pt x="21" y="533"/>
                  </a:lnTo>
                  <a:lnTo>
                    <a:pt x="22" y="531"/>
                  </a:lnTo>
                  <a:lnTo>
                    <a:pt x="15" y="525"/>
                  </a:lnTo>
                  <a:lnTo>
                    <a:pt x="13" y="525"/>
                  </a:lnTo>
                  <a:lnTo>
                    <a:pt x="13" y="524"/>
                  </a:lnTo>
                  <a:lnTo>
                    <a:pt x="19" y="515"/>
                  </a:lnTo>
                  <a:lnTo>
                    <a:pt x="24" y="513"/>
                  </a:lnTo>
                  <a:lnTo>
                    <a:pt x="22" y="510"/>
                  </a:lnTo>
                  <a:lnTo>
                    <a:pt x="24" y="506"/>
                  </a:lnTo>
                  <a:lnTo>
                    <a:pt x="19" y="510"/>
                  </a:lnTo>
                  <a:lnTo>
                    <a:pt x="18" y="510"/>
                  </a:lnTo>
                  <a:lnTo>
                    <a:pt x="18" y="491"/>
                  </a:lnTo>
                  <a:lnTo>
                    <a:pt x="16" y="491"/>
                  </a:lnTo>
                  <a:lnTo>
                    <a:pt x="16" y="490"/>
                  </a:lnTo>
                  <a:lnTo>
                    <a:pt x="15" y="481"/>
                  </a:lnTo>
                  <a:lnTo>
                    <a:pt x="16" y="481"/>
                  </a:lnTo>
                  <a:lnTo>
                    <a:pt x="19" y="485"/>
                  </a:lnTo>
                  <a:lnTo>
                    <a:pt x="19" y="482"/>
                  </a:lnTo>
                  <a:lnTo>
                    <a:pt x="21" y="482"/>
                  </a:lnTo>
                  <a:lnTo>
                    <a:pt x="28" y="484"/>
                  </a:lnTo>
                  <a:lnTo>
                    <a:pt x="24" y="476"/>
                  </a:lnTo>
                  <a:lnTo>
                    <a:pt x="22" y="478"/>
                  </a:lnTo>
                  <a:lnTo>
                    <a:pt x="21" y="478"/>
                  </a:lnTo>
                  <a:lnTo>
                    <a:pt x="22" y="473"/>
                  </a:lnTo>
                  <a:lnTo>
                    <a:pt x="16" y="472"/>
                  </a:lnTo>
                  <a:lnTo>
                    <a:pt x="16" y="470"/>
                  </a:lnTo>
                  <a:lnTo>
                    <a:pt x="21" y="467"/>
                  </a:lnTo>
                  <a:lnTo>
                    <a:pt x="21" y="466"/>
                  </a:lnTo>
                  <a:lnTo>
                    <a:pt x="19" y="466"/>
                  </a:lnTo>
                  <a:lnTo>
                    <a:pt x="19" y="464"/>
                  </a:lnTo>
                  <a:lnTo>
                    <a:pt x="21" y="464"/>
                  </a:lnTo>
                  <a:lnTo>
                    <a:pt x="22" y="463"/>
                  </a:lnTo>
                  <a:lnTo>
                    <a:pt x="19" y="458"/>
                  </a:lnTo>
                  <a:lnTo>
                    <a:pt x="13" y="460"/>
                  </a:lnTo>
                  <a:lnTo>
                    <a:pt x="8" y="455"/>
                  </a:lnTo>
                  <a:lnTo>
                    <a:pt x="5" y="457"/>
                  </a:lnTo>
                  <a:lnTo>
                    <a:pt x="6" y="461"/>
                  </a:lnTo>
                  <a:lnTo>
                    <a:pt x="5" y="461"/>
                  </a:lnTo>
                  <a:lnTo>
                    <a:pt x="2" y="460"/>
                  </a:lnTo>
                  <a:lnTo>
                    <a:pt x="0" y="458"/>
                  </a:lnTo>
                  <a:lnTo>
                    <a:pt x="2" y="454"/>
                  </a:lnTo>
                  <a:lnTo>
                    <a:pt x="3" y="454"/>
                  </a:lnTo>
                  <a:lnTo>
                    <a:pt x="12" y="447"/>
                  </a:lnTo>
                  <a:lnTo>
                    <a:pt x="9" y="442"/>
                  </a:lnTo>
                  <a:lnTo>
                    <a:pt x="9" y="441"/>
                  </a:lnTo>
                  <a:lnTo>
                    <a:pt x="19" y="441"/>
                  </a:lnTo>
                  <a:lnTo>
                    <a:pt x="22" y="447"/>
                  </a:lnTo>
                  <a:lnTo>
                    <a:pt x="21" y="450"/>
                  </a:lnTo>
                  <a:lnTo>
                    <a:pt x="22" y="451"/>
                  </a:lnTo>
                  <a:lnTo>
                    <a:pt x="24" y="448"/>
                  </a:lnTo>
                  <a:lnTo>
                    <a:pt x="25" y="448"/>
                  </a:lnTo>
                  <a:lnTo>
                    <a:pt x="25" y="451"/>
                  </a:lnTo>
                  <a:lnTo>
                    <a:pt x="30" y="448"/>
                  </a:lnTo>
                  <a:lnTo>
                    <a:pt x="30" y="447"/>
                  </a:lnTo>
                  <a:lnTo>
                    <a:pt x="28" y="448"/>
                  </a:lnTo>
                  <a:lnTo>
                    <a:pt x="27" y="448"/>
                  </a:lnTo>
                  <a:lnTo>
                    <a:pt x="27" y="441"/>
                  </a:lnTo>
                  <a:lnTo>
                    <a:pt x="28" y="441"/>
                  </a:lnTo>
                  <a:lnTo>
                    <a:pt x="31" y="439"/>
                  </a:lnTo>
                  <a:lnTo>
                    <a:pt x="30" y="439"/>
                  </a:lnTo>
                  <a:lnTo>
                    <a:pt x="30" y="436"/>
                  </a:lnTo>
                  <a:lnTo>
                    <a:pt x="28" y="438"/>
                  </a:lnTo>
                  <a:lnTo>
                    <a:pt x="27" y="438"/>
                  </a:lnTo>
                  <a:lnTo>
                    <a:pt x="27" y="436"/>
                  </a:lnTo>
                  <a:lnTo>
                    <a:pt x="28" y="433"/>
                  </a:lnTo>
                  <a:lnTo>
                    <a:pt x="33" y="432"/>
                  </a:lnTo>
                  <a:lnTo>
                    <a:pt x="30" y="430"/>
                  </a:lnTo>
                  <a:lnTo>
                    <a:pt x="30" y="424"/>
                  </a:lnTo>
                  <a:lnTo>
                    <a:pt x="39" y="420"/>
                  </a:lnTo>
                  <a:lnTo>
                    <a:pt x="39" y="415"/>
                  </a:lnTo>
                  <a:lnTo>
                    <a:pt x="33" y="411"/>
                  </a:lnTo>
                  <a:lnTo>
                    <a:pt x="31" y="410"/>
                  </a:lnTo>
                  <a:lnTo>
                    <a:pt x="33" y="410"/>
                  </a:lnTo>
                  <a:lnTo>
                    <a:pt x="36" y="404"/>
                  </a:lnTo>
                  <a:lnTo>
                    <a:pt x="34" y="398"/>
                  </a:lnTo>
                  <a:lnTo>
                    <a:pt x="34" y="396"/>
                  </a:lnTo>
                  <a:lnTo>
                    <a:pt x="39" y="389"/>
                  </a:lnTo>
                  <a:lnTo>
                    <a:pt x="37" y="384"/>
                  </a:lnTo>
                  <a:lnTo>
                    <a:pt x="37" y="383"/>
                  </a:lnTo>
                  <a:lnTo>
                    <a:pt x="40" y="381"/>
                  </a:lnTo>
                  <a:lnTo>
                    <a:pt x="39" y="378"/>
                  </a:lnTo>
                  <a:lnTo>
                    <a:pt x="39" y="377"/>
                  </a:lnTo>
                  <a:lnTo>
                    <a:pt x="40" y="375"/>
                  </a:lnTo>
                  <a:lnTo>
                    <a:pt x="42" y="375"/>
                  </a:lnTo>
                  <a:lnTo>
                    <a:pt x="42" y="372"/>
                  </a:lnTo>
                  <a:lnTo>
                    <a:pt x="37" y="371"/>
                  </a:lnTo>
                  <a:lnTo>
                    <a:pt x="37" y="369"/>
                  </a:lnTo>
                  <a:lnTo>
                    <a:pt x="43" y="365"/>
                  </a:lnTo>
                  <a:lnTo>
                    <a:pt x="36" y="364"/>
                  </a:lnTo>
                  <a:lnTo>
                    <a:pt x="30" y="368"/>
                  </a:lnTo>
                  <a:lnTo>
                    <a:pt x="24" y="361"/>
                  </a:lnTo>
                  <a:lnTo>
                    <a:pt x="25" y="335"/>
                  </a:lnTo>
                  <a:lnTo>
                    <a:pt x="30" y="328"/>
                  </a:lnTo>
                  <a:lnTo>
                    <a:pt x="27" y="313"/>
                  </a:lnTo>
                  <a:lnTo>
                    <a:pt x="27" y="291"/>
                  </a:lnTo>
                  <a:lnTo>
                    <a:pt x="33" y="289"/>
                  </a:lnTo>
                  <a:lnTo>
                    <a:pt x="31" y="282"/>
                  </a:lnTo>
                  <a:lnTo>
                    <a:pt x="31" y="281"/>
                  </a:lnTo>
                  <a:lnTo>
                    <a:pt x="36" y="281"/>
                  </a:lnTo>
                  <a:lnTo>
                    <a:pt x="52" y="235"/>
                  </a:lnTo>
                  <a:lnTo>
                    <a:pt x="53" y="215"/>
                  </a:lnTo>
                  <a:lnTo>
                    <a:pt x="51" y="187"/>
                  </a:lnTo>
                  <a:lnTo>
                    <a:pt x="52" y="181"/>
                  </a:lnTo>
                  <a:lnTo>
                    <a:pt x="55" y="175"/>
                  </a:lnTo>
                  <a:lnTo>
                    <a:pt x="53" y="160"/>
                  </a:lnTo>
                  <a:lnTo>
                    <a:pt x="64" y="131"/>
                  </a:lnTo>
                  <a:lnTo>
                    <a:pt x="64" y="116"/>
                  </a:lnTo>
                  <a:lnTo>
                    <a:pt x="67" y="107"/>
                  </a:lnTo>
                  <a:lnTo>
                    <a:pt x="65" y="80"/>
                  </a:lnTo>
                  <a:lnTo>
                    <a:pt x="70" y="73"/>
                  </a:lnTo>
                  <a:lnTo>
                    <a:pt x="71" y="55"/>
                  </a:lnTo>
                  <a:lnTo>
                    <a:pt x="70" y="33"/>
                  </a:lnTo>
                  <a:lnTo>
                    <a:pt x="67" y="9"/>
                  </a:lnTo>
                  <a:lnTo>
                    <a:pt x="67" y="8"/>
                  </a:lnTo>
                  <a:lnTo>
                    <a:pt x="76" y="6"/>
                  </a:lnTo>
                  <a:lnTo>
                    <a:pt x="7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 name="Chile - Offshore">
              <a:extLst>
                <a:ext uri="{FF2B5EF4-FFF2-40B4-BE49-F238E27FC236}">
                  <a16:creationId xmlns:a16="http://schemas.microsoft.com/office/drawing/2014/main" id="{EAC16C03-F920-B474-2887-7B44E73DC831}"/>
                </a:ext>
              </a:extLst>
            </p:cNvPr>
            <p:cNvSpPr>
              <a:spLocks/>
            </p:cNvSpPr>
            <p:nvPr/>
          </p:nvSpPr>
          <p:spPr bwMode="auto">
            <a:xfrm>
              <a:off x="4044081" y="5666222"/>
              <a:ext cx="180705" cy="505978"/>
            </a:xfrm>
            <a:custGeom>
              <a:avLst/>
              <a:gdLst/>
              <a:ahLst/>
              <a:cxnLst/>
              <a:rect l="l" t="t" r="r" b="b"/>
              <a:pathLst>
                <a:path w="182146" h="510011">
                  <a:moveTo>
                    <a:pt x="114752" y="482688"/>
                  </a:moveTo>
                  <a:lnTo>
                    <a:pt x="123860" y="482688"/>
                  </a:lnTo>
                  <a:lnTo>
                    <a:pt x="123860" y="491796"/>
                  </a:lnTo>
                  <a:lnTo>
                    <a:pt x="114752" y="486331"/>
                  </a:lnTo>
                  <a:close/>
                  <a:moveTo>
                    <a:pt x="85608" y="431688"/>
                  </a:moveTo>
                  <a:lnTo>
                    <a:pt x="89251" y="431688"/>
                  </a:lnTo>
                  <a:lnTo>
                    <a:pt x="107466" y="448082"/>
                  </a:lnTo>
                  <a:lnTo>
                    <a:pt x="109287" y="451725"/>
                  </a:lnTo>
                  <a:lnTo>
                    <a:pt x="107466" y="451725"/>
                  </a:lnTo>
                  <a:lnTo>
                    <a:pt x="83787" y="448082"/>
                  </a:lnTo>
                  <a:lnTo>
                    <a:pt x="80144" y="448082"/>
                  </a:lnTo>
                  <a:lnTo>
                    <a:pt x="80144" y="435331"/>
                  </a:lnTo>
                  <a:close/>
                  <a:moveTo>
                    <a:pt x="45537" y="413474"/>
                  </a:moveTo>
                  <a:lnTo>
                    <a:pt x="51001" y="413474"/>
                  </a:lnTo>
                  <a:lnTo>
                    <a:pt x="58287" y="415296"/>
                  </a:lnTo>
                  <a:lnTo>
                    <a:pt x="63752" y="415296"/>
                  </a:lnTo>
                  <a:lnTo>
                    <a:pt x="80145" y="431689"/>
                  </a:lnTo>
                  <a:lnTo>
                    <a:pt x="78323" y="442617"/>
                  </a:lnTo>
                  <a:lnTo>
                    <a:pt x="72859" y="442617"/>
                  </a:lnTo>
                  <a:lnTo>
                    <a:pt x="69216" y="446260"/>
                  </a:lnTo>
                  <a:lnTo>
                    <a:pt x="61930" y="446260"/>
                  </a:lnTo>
                  <a:lnTo>
                    <a:pt x="52823" y="440796"/>
                  </a:lnTo>
                  <a:lnTo>
                    <a:pt x="45537" y="415296"/>
                  </a:lnTo>
                  <a:close/>
                  <a:moveTo>
                    <a:pt x="18215" y="389794"/>
                  </a:moveTo>
                  <a:lnTo>
                    <a:pt x="20036" y="389794"/>
                  </a:lnTo>
                  <a:lnTo>
                    <a:pt x="58287" y="413474"/>
                  </a:lnTo>
                  <a:lnTo>
                    <a:pt x="58287" y="415295"/>
                  </a:lnTo>
                  <a:lnTo>
                    <a:pt x="25501" y="398902"/>
                  </a:lnTo>
                  <a:lnTo>
                    <a:pt x="20036" y="391616"/>
                  </a:lnTo>
                  <a:lnTo>
                    <a:pt x="18215" y="391616"/>
                  </a:lnTo>
                  <a:close/>
                  <a:moveTo>
                    <a:pt x="145717" y="378865"/>
                  </a:moveTo>
                  <a:lnTo>
                    <a:pt x="147539" y="378865"/>
                  </a:lnTo>
                  <a:lnTo>
                    <a:pt x="151182" y="384330"/>
                  </a:lnTo>
                  <a:lnTo>
                    <a:pt x="167575" y="384330"/>
                  </a:lnTo>
                  <a:lnTo>
                    <a:pt x="167575" y="477224"/>
                  </a:lnTo>
                  <a:lnTo>
                    <a:pt x="163932" y="477224"/>
                  </a:lnTo>
                  <a:lnTo>
                    <a:pt x="163104" y="478881"/>
                  </a:lnTo>
                  <a:lnTo>
                    <a:pt x="169396" y="477225"/>
                  </a:lnTo>
                  <a:lnTo>
                    <a:pt x="171217" y="477225"/>
                  </a:lnTo>
                  <a:lnTo>
                    <a:pt x="174860" y="482690"/>
                  </a:lnTo>
                  <a:lnTo>
                    <a:pt x="174860" y="486332"/>
                  </a:lnTo>
                  <a:lnTo>
                    <a:pt x="169396" y="486332"/>
                  </a:lnTo>
                  <a:lnTo>
                    <a:pt x="176682" y="488154"/>
                  </a:lnTo>
                  <a:lnTo>
                    <a:pt x="176682" y="491797"/>
                  </a:lnTo>
                  <a:lnTo>
                    <a:pt x="171217" y="493618"/>
                  </a:lnTo>
                  <a:lnTo>
                    <a:pt x="176682" y="493618"/>
                  </a:lnTo>
                  <a:lnTo>
                    <a:pt x="176682" y="497261"/>
                  </a:lnTo>
                  <a:lnTo>
                    <a:pt x="182146" y="508190"/>
                  </a:lnTo>
                  <a:lnTo>
                    <a:pt x="182146" y="510011"/>
                  </a:lnTo>
                  <a:lnTo>
                    <a:pt x="156646" y="491797"/>
                  </a:lnTo>
                  <a:lnTo>
                    <a:pt x="151181" y="493618"/>
                  </a:lnTo>
                  <a:lnTo>
                    <a:pt x="156646" y="502725"/>
                  </a:lnTo>
                  <a:lnTo>
                    <a:pt x="156646" y="504547"/>
                  </a:lnTo>
                  <a:lnTo>
                    <a:pt x="151181" y="504547"/>
                  </a:lnTo>
                  <a:lnTo>
                    <a:pt x="147538" y="502725"/>
                  </a:lnTo>
                  <a:lnTo>
                    <a:pt x="145717" y="502725"/>
                  </a:lnTo>
                  <a:lnTo>
                    <a:pt x="140252" y="493618"/>
                  </a:lnTo>
                  <a:lnTo>
                    <a:pt x="145717" y="488154"/>
                  </a:lnTo>
                  <a:lnTo>
                    <a:pt x="131145" y="488154"/>
                  </a:lnTo>
                  <a:lnTo>
                    <a:pt x="131145" y="486332"/>
                  </a:lnTo>
                  <a:lnTo>
                    <a:pt x="134788" y="486332"/>
                  </a:lnTo>
                  <a:lnTo>
                    <a:pt x="156016" y="480746"/>
                  </a:lnTo>
                  <a:lnTo>
                    <a:pt x="135108" y="476725"/>
                  </a:lnTo>
                  <a:lnTo>
                    <a:pt x="147539" y="480869"/>
                  </a:lnTo>
                  <a:lnTo>
                    <a:pt x="151182" y="480869"/>
                  </a:lnTo>
                  <a:lnTo>
                    <a:pt x="147539" y="482690"/>
                  </a:lnTo>
                  <a:lnTo>
                    <a:pt x="131145" y="482690"/>
                  </a:lnTo>
                  <a:lnTo>
                    <a:pt x="131145" y="475963"/>
                  </a:lnTo>
                  <a:lnTo>
                    <a:pt x="109288" y="471760"/>
                  </a:lnTo>
                  <a:lnTo>
                    <a:pt x="109288" y="468117"/>
                  </a:lnTo>
                  <a:lnTo>
                    <a:pt x="98359" y="468117"/>
                  </a:lnTo>
                  <a:lnTo>
                    <a:pt x="98359" y="459010"/>
                  </a:lnTo>
                  <a:lnTo>
                    <a:pt x="114752" y="451724"/>
                  </a:lnTo>
                  <a:lnTo>
                    <a:pt x="109289" y="442618"/>
                  </a:lnTo>
                  <a:lnTo>
                    <a:pt x="109288" y="442618"/>
                  </a:lnTo>
                  <a:lnTo>
                    <a:pt x="109288" y="442617"/>
                  </a:lnTo>
                  <a:lnTo>
                    <a:pt x="109288" y="442616"/>
                  </a:lnTo>
                  <a:lnTo>
                    <a:pt x="109288" y="440795"/>
                  </a:lnTo>
                  <a:lnTo>
                    <a:pt x="109288" y="440796"/>
                  </a:lnTo>
                  <a:lnTo>
                    <a:pt x="118396" y="420759"/>
                  </a:lnTo>
                  <a:lnTo>
                    <a:pt x="120217" y="420759"/>
                  </a:lnTo>
                  <a:lnTo>
                    <a:pt x="123860" y="440796"/>
                  </a:lnTo>
                  <a:lnTo>
                    <a:pt x="123860" y="442618"/>
                  </a:lnTo>
                  <a:lnTo>
                    <a:pt x="120217" y="442618"/>
                  </a:lnTo>
                  <a:lnTo>
                    <a:pt x="123860" y="446261"/>
                  </a:lnTo>
                  <a:lnTo>
                    <a:pt x="123860" y="448082"/>
                  </a:lnTo>
                  <a:lnTo>
                    <a:pt x="120217" y="448082"/>
                  </a:lnTo>
                  <a:lnTo>
                    <a:pt x="112931" y="442618"/>
                  </a:lnTo>
                  <a:lnTo>
                    <a:pt x="111515" y="442618"/>
                  </a:lnTo>
                  <a:lnTo>
                    <a:pt x="129324" y="457188"/>
                  </a:lnTo>
                  <a:lnTo>
                    <a:pt x="129324" y="453545"/>
                  </a:lnTo>
                  <a:lnTo>
                    <a:pt x="125681" y="453545"/>
                  </a:lnTo>
                  <a:lnTo>
                    <a:pt x="125681" y="451724"/>
                  </a:lnTo>
                  <a:lnTo>
                    <a:pt x="129324" y="448081"/>
                  </a:lnTo>
                  <a:lnTo>
                    <a:pt x="129324" y="446259"/>
                  </a:lnTo>
                  <a:lnTo>
                    <a:pt x="131146" y="448081"/>
                  </a:lnTo>
                  <a:lnTo>
                    <a:pt x="131146" y="446259"/>
                  </a:lnTo>
                  <a:lnTo>
                    <a:pt x="129324" y="429866"/>
                  </a:lnTo>
                  <a:lnTo>
                    <a:pt x="129324" y="426223"/>
                  </a:lnTo>
                  <a:lnTo>
                    <a:pt x="145717" y="415295"/>
                  </a:lnTo>
                  <a:lnTo>
                    <a:pt x="120217" y="413473"/>
                  </a:lnTo>
                  <a:lnTo>
                    <a:pt x="120217" y="397080"/>
                  </a:lnTo>
                  <a:lnTo>
                    <a:pt x="125681" y="397080"/>
                  </a:lnTo>
                  <a:lnTo>
                    <a:pt x="120217" y="391615"/>
                  </a:lnTo>
                  <a:lnTo>
                    <a:pt x="120217" y="389794"/>
                  </a:lnTo>
                  <a:lnTo>
                    <a:pt x="136610" y="386151"/>
                  </a:lnTo>
                  <a:close/>
                  <a:moveTo>
                    <a:pt x="36429" y="378865"/>
                  </a:moveTo>
                  <a:lnTo>
                    <a:pt x="45537" y="378865"/>
                  </a:lnTo>
                  <a:lnTo>
                    <a:pt x="41894" y="386151"/>
                  </a:lnTo>
                  <a:lnTo>
                    <a:pt x="40072" y="389794"/>
                  </a:lnTo>
                  <a:lnTo>
                    <a:pt x="40072" y="386151"/>
                  </a:lnTo>
                  <a:lnTo>
                    <a:pt x="36429" y="380687"/>
                  </a:lnTo>
                  <a:close/>
                  <a:moveTo>
                    <a:pt x="63752" y="358830"/>
                  </a:moveTo>
                  <a:lnTo>
                    <a:pt x="67395" y="358830"/>
                  </a:lnTo>
                  <a:lnTo>
                    <a:pt x="67395" y="362473"/>
                  </a:lnTo>
                  <a:lnTo>
                    <a:pt x="72859" y="373402"/>
                  </a:lnTo>
                  <a:lnTo>
                    <a:pt x="63752" y="386153"/>
                  </a:lnTo>
                  <a:lnTo>
                    <a:pt x="74681" y="395260"/>
                  </a:lnTo>
                  <a:lnTo>
                    <a:pt x="83788" y="386153"/>
                  </a:lnTo>
                  <a:lnTo>
                    <a:pt x="96538" y="386153"/>
                  </a:lnTo>
                  <a:lnTo>
                    <a:pt x="98360" y="395260"/>
                  </a:lnTo>
                  <a:lnTo>
                    <a:pt x="74681" y="408010"/>
                  </a:lnTo>
                  <a:lnTo>
                    <a:pt x="74681" y="418939"/>
                  </a:lnTo>
                  <a:lnTo>
                    <a:pt x="69216" y="418939"/>
                  </a:lnTo>
                  <a:lnTo>
                    <a:pt x="56466" y="408010"/>
                  </a:lnTo>
                  <a:lnTo>
                    <a:pt x="56466" y="404367"/>
                  </a:lnTo>
                  <a:lnTo>
                    <a:pt x="67395" y="404367"/>
                  </a:lnTo>
                  <a:lnTo>
                    <a:pt x="63752" y="398903"/>
                  </a:lnTo>
                  <a:lnTo>
                    <a:pt x="61930" y="398903"/>
                  </a:lnTo>
                  <a:lnTo>
                    <a:pt x="58287" y="402546"/>
                  </a:lnTo>
                  <a:lnTo>
                    <a:pt x="52823" y="402546"/>
                  </a:lnTo>
                  <a:lnTo>
                    <a:pt x="52823" y="398903"/>
                  </a:lnTo>
                  <a:lnTo>
                    <a:pt x="45537" y="391617"/>
                  </a:lnTo>
                  <a:lnTo>
                    <a:pt x="45537" y="378865"/>
                  </a:lnTo>
                  <a:lnTo>
                    <a:pt x="45537" y="367937"/>
                  </a:lnTo>
                  <a:lnTo>
                    <a:pt x="52823" y="367937"/>
                  </a:lnTo>
                  <a:lnTo>
                    <a:pt x="56466" y="364294"/>
                  </a:lnTo>
                  <a:lnTo>
                    <a:pt x="58287" y="364294"/>
                  </a:lnTo>
                  <a:lnTo>
                    <a:pt x="61930" y="369759"/>
                  </a:lnTo>
                  <a:lnTo>
                    <a:pt x="63752" y="362473"/>
                  </a:lnTo>
                  <a:close/>
                  <a:moveTo>
                    <a:pt x="30965" y="342436"/>
                  </a:moveTo>
                  <a:lnTo>
                    <a:pt x="34608" y="342436"/>
                  </a:lnTo>
                  <a:lnTo>
                    <a:pt x="41894" y="353365"/>
                  </a:lnTo>
                  <a:lnTo>
                    <a:pt x="41894" y="357008"/>
                  </a:lnTo>
                  <a:lnTo>
                    <a:pt x="40072" y="357008"/>
                  </a:lnTo>
                  <a:lnTo>
                    <a:pt x="34608" y="353365"/>
                  </a:lnTo>
                  <a:lnTo>
                    <a:pt x="30965" y="351543"/>
                  </a:lnTo>
                  <a:close/>
                  <a:moveTo>
                    <a:pt x="40072" y="335150"/>
                  </a:moveTo>
                  <a:lnTo>
                    <a:pt x="45537" y="340614"/>
                  </a:lnTo>
                  <a:lnTo>
                    <a:pt x="45537" y="351544"/>
                  </a:lnTo>
                  <a:lnTo>
                    <a:pt x="41894" y="351544"/>
                  </a:lnTo>
                  <a:lnTo>
                    <a:pt x="40072" y="336971"/>
                  </a:lnTo>
                  <a:close/>
                  <a:moveTo>
                    <a:pt x="16394" y="307829"/>
                  </a:moveTo>
                  <a:lnTo>
                    <a:pt x="18215" y="307829"/>
                  </a:lnTo>
                  <a:lnTo>
                    <a:pt x="29145" y="318758"/>
                  </a:lnTo>
                  <a:lnTo>
                    <a:pt x="29145" y="320579"/>
                  </a:lnTo>
                  <a:lnTo>
                    <a:pt x="25502" y="326044"/>
                  </a:lnTo>
                  <a:lnTo>
                    <a:pt x="25502" y="329687"/>
                  </a:lnTo>
                  <a:lnTo>
                    <a:pt x="23680" y="329687"/>
                  </a:lnTo>
                  <a:lnTo>
                    <a:pt x="23680" y="336972"/>
                  </a:lnTo>
                  <a:lnTo>
                    <a:pt x="18215" y="340615"/>
                  </a:lnTo>
                  <a:lnTo>
                    <a:pt x="16394" y="340615"/>
                  </a:lnTo>
                  <a:lnTo>
                    <a:pt x="16394" y="336972"/>
                  </a:lnTo>
                  <a:lnTo>
                    <a:pt x="20037" y="326043"/>
                  </a:lnTo>
                  <a:close/>
                  <a:moveTo>
                    <a:pt x="20037" y="300543"/>
                  </a:moveTo>
                  <a:lnTo>
                    <a:pt x="30966" y="307829"/>
                  </a:lnTo>
                  <a:lnTo>
                    <a:pt x="34609" y="313294"/>
                  </a:lnTo>
                  <a:lnTo>
                    <a:pt x="34609" y="316937"/>
                  </a:lnTo>
                  <a:lnTo>
                    <a:pt x="25501" y="311472"/>
                  </a:lnTo>
                  <a:close/>
                  <a:moveTo>
                    <a:pt x="12751" y="291435"/>
                  </a:moveTo>
                  <a:lnTo>
                    <a:pt x="18216" y="291435"/>
                  </a:lnTo>
                  <a:lnTo>
                    <a:pt x="18216" y="295078"/>
                  </a:lnTo>
                  <a:lnTo>
                    <a:pt x="16394" y="302364"/>
                  </a:lnTo>
                  <a:lnTo>
                    <a:pt x="12751" y="302364"/>
                  </a:lnTo>
                  <a:lnTo>
                    <a:pt x="1822" y="296899"/>
                  </a:lnTo>
                  <a:lnTo>
                    <a:pt x="1822" y="295078"/>
                  </a:lnTo>
                  <a:lnTo>
                    <a:pt x="10930" y="295078"/>
                  </a:lnTo>
                  <a:close/>
                  <a:moveTo>
                    <a:pt x="1821" y="269577"/>
                  </a:moveTo>
                  <a:lnTo>
                    <a:pt x="5464" y="269577"/>
                  </a:lnTo>
                  <a:lnTo>
                    <a:pt x="10929" y="278685"/>
                  </a:lnTo>
                  <a:lnTo>
                    <a:pt x="7286" y="278685"/>
                  </a:lnTo>
                  <a:lnTo>
                    <a:pt x="1821" y="275042"/>
                  </a:lnTo>
                  <a:lnTo>
                    <a:pt x="0" y="275042"/>
                  </a:lnTo>
                  <a:lnTo>
                    <a:pt x="0" y="273220"/>
                  </a:lnTo>
                  <a:close/>
                  <a:moveTo>
                    <a:pt x="16393" y="234970"/>
                  </a:moveTo>
                  <a:lnTo>
                    <a:pt x="18215" y="234970"/>
                  </a:lnTo>
                  <a:lnTo>
                    <a:pt x="25501" y="245899"/>
                  </a:lnTo>
                  <a:lnTo>
                    <a:pt x="23679" y="285971"/>
                  </a:lnTo>
                  <a:lnTo>
                    <a:pt x="16393" y="284149"/>
                  </a:lnTo>
                  <a:lnTo>
                    <a:pt x="16393" y="267756"/>
                  </a:lnTo>
                  <a:lnTo>
                    <a:pt x="7286" y="258649"/>
                  </a:lnTo>
                  <a:lnTo>
                    <a:pt x="7286" y="256827"/>
                  </a:lnTo>
                  <a:lnTo>
                    <a:pt x="10929" y="258649"/>
                  </a:lnTo>
                  <a:lnTo>
                    <a:pt x="7286" y="253184"/>
                  </a:lnTo>
                  <a:lnTo>
                    <a:pt x="7286" y="251363"/>
                  </a:lnTo>
                  <a:lnTo>
                    <a:pt x="12750" y="245899"/>
                  </a:lnTo>
                  <a:close/>
                  <a:moveTo>
                    <a:pt x="1822" y="227684"/>
                  </a:moveTo>
                  <a:lnTo>
                    <a:pt x="5465" y="227684"/>
                  </a:lnTo>
                  <a:lnTo>
                    <a:pt x="7287" y="234970"/>
                  </a:lnTo>
                  <a:lnTo>
                    <a:pt x="5465" y="240435"/>
                  </a:lnTo>
                  <a:lnTo>
                    <a:pt x="1822" y="240435"/>
                  </a:lnTo>
                  <a:close/>
                  <a:moveTo>
                    <a:pt x="5465" y="213112"/>
                  </a:moveTo>
                  <a:lnTo>
                    <a:pt x="7286" y="213112"/>
                  </a:lnTo>
                  <a:lnTo>
                    <a:pt x="12751" y="233148"/>
                  </a:lnTo>
                  <a:lnTo>
                    <a:pt x="12751" y="234970"/>
                  </a:lnTo>
                  <a:lnTo>
                    <a:pt x="10929" y="234970"/>
                  </a:lnTo>
                  <a:lnTo>
                    <a:pt x="1822" y="218576"/>
                  </a:lnTo>
                  <a:lnTo>
                    <a:pt x="1822" y="216755"/>
                  </a:lnTo>
                  <a:close/>
                  <a:moveTo>
                    <a:pt x="23680" y="196719"/>
                  </a:moveTo>
                  <a:lnTo>
                    <a:pt x="25501" y="196719"/>
                  </a:lnTo>
                  <a:lnTo>
                    <a:pt x="30966" y="205827"/>
                  </a:lnTo>
                  <a:lnTo>
                    <a:pt x="29144" y="205827"/>
                  </a:lnTo>
                  <a:lnTo>
                    <a:pt x="20037" y="200362"/>
                  </a:lnTo>
                  <a:close/>
                  <a:moveTo>
                    <a:pt x="40072" y="107467"/>
                  </a:moveTo>
                  <a:lnTo>
                    <a:pt x="41894" y="107467"/>
                  </a:lnTo>
                  <a:lnTo>
                    <a:pt x="41894" y="111110"/>
                  </a:lnTo>
                  <a:lnTo>
                    <a:pt x="45537" y="118396"/>
                  </a:lnTo>
                  <a:lnTo>
                    <a:pt x="45537" y="122039"/>
                  </a:lnTo>
                  <a:lnTo>
                    <a:pt x="41894" y="122039"/>
                  </a:lnTo>
                  <a:lnTo>
                    <a:pt x="41894" y="118396"/>
                  </a:lnTo>
                  <a:lnTo>
                    <a:pt x="30965" y="112931"/>
                  </a:lnTo>
                  <a:lnTo>
                    <a:pt x="30965" y="111110"/>
                  </a:lnTo>
                  <a:close/>
                  <a:moveTo>
                    <a:pt x="58287" y="85610"/>
                  </a:moveTo>
                  <a:lnTo>
                    <a:pt x="67395" y="94717"/>
                  </a:lnTo>
                  <a:lnTo>
                    <a:pt x="63752" y="102003"/>
                  </a:lnTo>
                  <a:lnTo>
                    <a:pt x="52823" y="107468"/>
                  </a:lnTo>
                  <a:lnTo>
                    <a:pt x="51001" y="107468"/>
                  </a:lnTo>
                  <a:lnTo>
                    <a:pt x="51001" y="105646"/>
                  </a:lnTo>
                  <a:lnTo>
                    <a:pt x="45537" y="94717"/>
                  </a:lnTo>
                  <a:lnTo>
                    <a:pt x="47358" y="94717"/>
                  </a:lnTo>
                  <a:close/>
                  <a:moveTo>
                    <a:pt x="40072" y="0"/>
                  </a:moveTo>
                  <a:lnTo>
                    <a:pt x="47358" y="5464"/>
                  </a:lnTo>
                  <a:lnTo>
                    <a:pt x="52823" y="23679"/>
                  </a:lnTo>
                  <a:lnTo>
                    <a:pt x="51001" y="23679"/>
                  </a:lnTo>
                  <a:lnTo>
                    <a:pt x="45537" y="32786"/>
                  </a:lnTo>
                  <a:lnTo>
                    <a:pt x="47358" y="38251"/>
                  </a:lnTo>
                  <a:lnTo>
                    <a:pt x="47358" y="51001"/>
                  </a:lnTo>
                  <a:lnTo>
                    <a:pt x="45537" y="51001"/>
                  </a:lnTo>
                  <a:lnTo>
                    <a:pt x="41894" y="56466"/>
                  </a:lnTo>
                  <a:lnTo>
                    <a:pt x="41894" y="60109"/>
                  </a:lnTo>
                  <a:lnTo>
                    <a:pt x="29143" y="56466"/>
                  </a:lnTo>
                  <a:lnTo>
                    <a:pt x="29143" y="54644"/>
                  </a:lnTo>
                  <a:lnTo>
                    <a:pt x="25500" y="49180"/>
                  </a:lnTo>
                  <a:lnTo>
                    <a:pt x="30964"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 name="Brazil">
              <a:extLst>
                <a:ext uri="{FF2B5EF4-FFF2-40B4-BE49-F238E27FC236}">
                  <a16:creationId xmlns:a16="http://schemas.microsoft.com/office/drawing/2014/main" id="{B8870797-2B78-1EDD-5BD1-703F503E8F0B}"/>
                </a:ext>
              </a:extLst>
            </p:cNvPr>
            <p:cNvSpPr>
              <a:spLocks/>
            </p:cNvSpPr>
            <p:nvPr/>
          </p:nvSpPr>
          <p:spPr bwMode="auto">
            <a:xfrm>
              <a:off x="4083837" y="4466333"/>
              <a:ext cx="921601" cy="966779"/>
            </a:xfrm>
            <a:custGeom>
              <a:avLst/>
              <a:gdLst/>
              <a:ahLst/>
              <a:cxnLst/>
              <a:rect l="l" t="t" r="r" b="b"/>
              <a:pathLst>
                <a:path w="928948" h="974486">
                  <a:moveTo>
                    <a:pt x="555547" y="162107"/>
                  </a:moveTo>
                  <a:lnTo>
                    <a:pt x="555547" y="167575"/>
                  </a:lnTo>
                  <a:lnTo>
                    <a:pt x="559190" y="167575"/>
                  </a:lnTo>
                  <a:lnTo>
                    <a:pt x="566841" y="165875"/>
                  </a:lnTo>
                  <a:lnTo>
                    <a:pt x="555548" y="162111"/>
                  </a:lnTo>
                  <a:close/>
                  <a:moveTo>
                    <a:pt x="564655" y="111109"/>
                  </a:moveTo>
                  <a:lnTo>
                    <a:pt x="566476" y="111109"/>
                  </a:lnTo>
                  <a:lnTo>
                    <a:pt x="575584" y="122038"/>
                  </a:lnTo>
                  <a:lnTo>
                    <a:pt x="575584" y="123860"/>
                  </a:lnTo>
                  <a:lnTo>
                    <a:pt x="561012" y="123860"/>
                  </a:lnTo>
                  <a:lnTo>
                    <a:pt x="559190" y="116573"/>
                  </a:lnTo>
                  <a:close/>
                  <a:moveTo>
                    <a:pt x="313292" y="0"/>
                  </a:moveTo>
                  <a:lnTo>
                    <a:pt x="331507" y="0"/>
                  </a:lnTo>
                  <a:lnTo>
                    <a:pt x="331507" y="16393"/>
                  </a:lnTo>
                  <a:lnTo>
                    <a:pt x="340614" y="16393"/>
                  </a:lnTo>
                  <a:lnTo>
                    <a:pt x="340614" y="18215"/>
                  </a:lnTo>
                  <a:lnTo>
                    <a:pt x="342436" y="32787"/>
                  </a:lnTo>
                  <a:lnTo>
                    <a:pt x="336971" y="38251"/>
                  </a:lnTo>
                  <a:lnTo>
                    <a:pt x="335150" y="63752"/>
                  </a:lnTo>
                  <a:lnTo>
                    <a:pt x="340614" y="69216"/>
                  </a:lnTo>
                  <a:lnTo>
                    <a:pt x="340614" y="80145"/>
                  </a:lnTo>
                  <a:lnTo>
                    <a:pt x="347900" y="85609"/>
                  </a:lnTo>
                  <a:lnTo>
                    <a:pt x="364293" y="91074"/>
                  </a:lnTo>
                  <a:lnTo>
                    <a:pt x="397080" y="74680"/>
                  </a:lnTo>
                  <a:lnTo>
                    <a:pt x="415295" y="78323"/>
                  </a:lnTo>
                  <a:lnTo>
                    <a:pt x="426223" y="78323"/>
                  </a:lnTo>
                  <a:lnTo>
                    <a:pt x="431688" y="67395"/>
                  </a:lnTo>
                  <a:lnTo>
                    <a:pt x="431688" y="63752"/>
                  </a:lnTo>
                  <a:lnTo>
                    <a:pt x="449902" y="61930"/>
                  </a:lnTo>
                  <a:lnTo>
                    <a:pt x="464474" y="67395"/>
                  </a:lnTo>
                  <a:lnTo>
                    <a:pt x="475403" y="74680"/>
                  </a:lnTo>
                  <a:lnTo>
                    <a:pt x="497261" y="72859"/>
                  </a:lnTo>
                  <a:lnTo>
                    <a:pt x="510011" y="61930"/>
                  </a:lnTo>
                  <a:lnTo>
                    <a:pt x="531868" y="27322"/>
                  </a:lnTo>
                  <a:lnTo>
                    <a:pt x="533690" y="23679"/>
                  </a:lnTo>
                  <a:lnTo>
                    <a:pt x="537333" y="23679"/>
                  </a:lnTo>
                  <a:lnTo>
                    <a:pt x="542797" y="29144"/>
                  </a:lnTo>
                  <a:lnTo>
                    <a:pt x="561012" y="80145"/>
                  </a:lnTo>
                  <a:lnTo>
                    <a:pt x="571941" y="83788"/>
                  </a:lnTo>
                  <a:lnTo>
                    <a:pt x="571941" y="85609"/>
                  </a:lnTo>
                  <a:lnTo>
                    <a:pt x="570119" y="100181"/>
                  </a:lnTo>
                  <a:lnTo>
                    <a:pt x="537333" y="134789"/>
                  </a:lnTo>
                  <a:lnTo>
                    <a:pt x="539154" y="151182"/>
                  </a:lnTo>
                  <a:lnTo>
                    <a:pt x="550083" y="142075"/>
                  </a:lnTo>
                  <a:lnTo>
                    <a:pt x="550083" y="140253"/>
                  </a:lnTo>
                  <a:lnTo>
                    <a:pt x="553726" y="140253"/>
                  </a:lnTo>
                  <a:lnTo>
                    <a:pt x="553726" y="142075"/>
                  </a:lnTo>
                  <a:lnTo>
                    <a:pt x="550083" y="147539"/>
                  </a:lnTo>
                  <a:lnTo>
                    <a:pt x="553726" y="153004"/>
                  </a:lnTo>
                  <a:lnTo>
                    <a:pt x="554940" y="153004"/>
                  </a:lnTo>
                  <a:lnTo>
                    <a:pt x="553726" y="134789"/>
                  </a:lnTo>
                  <a:lnTo>
                    <a:pt x="553726" y="132968"/>
                  </a:lnTo>
                  <a:lnTo>
                    <a:pt x="544619" y="142075"/>
                  </a:lnTo>
                  <a:lnTo>
                    <a:pt x="542797" y="142075"/>
                  </a:lnTo>
                  <a:lnTo>
                    <a:pt x="539154" y="134789"/>
                  </a:lnTo>
                  <a:lnTo>
                    <a:pt x="548262" y="127503"/>
                  </a:lnTo>
                  <a:lnTo>
                    <a:pt x="553727" y="123860"/>
                  </a:lnTo>
                  <a:lnTo>
                    <a:pt x="555548" y="123860"/>
                  </a:lnTo>
                  <a:lnTo>
                    <a:pt x="555548" y="127503"/>
                  </a:lnTo>
                  <a:lnTo>
                    <a:pt x="553727" y="129325"/>
                  </a:lnTo>
                  <a:lnTo>
                    <a:pt x="555548" y="129325"/>
                  </a:lnTo>
                  <a:lnTo>
                    <a:pt x="555548" y="130691"/>
                  </a:lnTo>
                  <a:lnTo>
                    <a:pt x="561012" y="129325"/>
                  </a:lnTo>
                  <a:lnTo>
                    <a:pt x="575584" y="128558"/>
                  </a:lnTo>
                  <a:lnTo>
                    <a:pt x="575584" y="127503"/>
                  </a:lnTo>
                  <a:lnTo>
                    <a:pt x="581049" y="122038"/>
                  </a:lnTo>
                  <a:lnTo>
                    <a:pt x="582870" y="123859"/>
                  </a:lnTo>
                  <a:lnTo>
                    <a:pt x="582870" y="127503"/>
                  </a:lnTo>
                  <a:lnTo>
                    <a:pt x="580477" y="128300"/>
                  </a:lnTo>
                  <a:lnTo>
                    <a:pt x="595620" y="127503"/>
                  </a:lnTo>
                  <a:lnTo>
                    <a:pt x="606549" y="129325"/>
                  </a:lnTo>
                  <a:lnTo>
                    <a:pt x="606549" y="131146"/>
                  </a:lnTo>
                  <a:lnTo>
                    <a:pt x="604728" y="142075"/>
                  </a:lnTo>
                  <a:lnTo>
                    <a:pt x="590156" y="162111"/>
                  </a:lnTo>
                  <a:lnTo>
                    <a:pt x="584084" y="163932"/>
                  </a:lnTo>
                  <a:lnTo>
                    <a:pt x="584691" y="163932"/>
                  </a:lnTo>
                  <a:lnTo>
                    <a:pt x="584691" y="178504"/>
                  </a:lnTo>
                  <a:lnTo>
                    <a:pt x="593798" y="163932"/>
                  </a:lnTo>
                  <a:lnTo>
                    <a:pt x="604727" y="158468"/>
                  </a:lnTo>
                  <a:lnTo>
                    <a:pt x="612013" y="140253"/>
                  </a:lnTo>
                  <a:lnTo>
                    <a:pt x="637513" y="140253"/>
                  </a:lnTo>
                  <a:lnTo>
                    <a:pt x="677586" y="153004"/>
                  </a:lnTo>
                  <a:lnTo>
                    <a:pt x="679407" y="162111"/>
                  </a:lnTo>
                  <a:lnTo>
                    <a:pt x="690336" y="158468"/>
                  </a:lnTo>
                  <a:lnTo>
                    <a:pt x="699443" y="167575"/>
                  </a:lnTo>
                  <a:lnTo>
                    <a:pt x="699443" y="169397"/>
                  </a:lnTo>
                  <a:lnTo>
                    <a:pt x="695800" y="174861"/>
                  </a:lnTo>
                  <a:lnTo>
                    <a:pt x="704908" y="174861"/>
                  </a:lnTo>
                  <a:lnTo>
                    <a:pt x="704908" y="178504"/>
                  </a:lnTo>
                  <a:lnTo>
                    <a:pt x="701265" y="185790"/>
                  </a:lnTo>
                  <a:lnTo>
                    <a:pt x="721301" y="178504"/>
                  </a:lnTo>
                  <a:lnTo>
                    <a:pt x="723122" y="178504"/>
                  </a:lnTo>
                  <a:lnTo>
                    <a:pt x="761373" y="191254"/>
                  </a:lnTo>
                  <a:lnTo>
                    <a:pt x="806910" y="191254"/>
                  </a:lnTo>
                  <a:lnTo>
                    <a:pt x="819660" y="196719"/>
                  </a:lnTo>
                  <a:lnTo>
                    <a:pt x="877947" y="242256"/>
                  </a:lnTo>
                  <a:lnTo>
                    <a:pt x="912555" y="245899"/>
                  </a:lnTo>
                  <a:lnTo>
                    <a:pt x="914376" y="245899"/>
                  </a:lnTo>
                  <a:lnTo>
                    <a:pt x="914376" y="247720"/>
                  </a:lnTo>
                  <a:lnTo>
                    <a:pt x="923484" y="258649"/>
                  </a:lnTo>
                  <a:lnTo>
                    <a:pt x="928948" y="291435"/>
                  </a:lnTo>
                  <a:lnTo>
                    <a:pt x="919841" y="336972"/>
                  </a:lnTo>
                  <a:lnTo>
                    <a:pt x="892519" y="371580"/>
                  </a:lnTo>
                  <a:lnTo>
                    <a:pt x="868840" y="393438"/>
                  </a:lnTo>
                  <a:lnTo>
                    <a:pt x="850625" y="429867"/>
                  </a:lnTo>
                  <a:lnTo>
                    <a:pt x="830589" y="440796"/>
                  </a:lnTo>
                  <a:lnTo>
                    <a:pt x="828767" y="469939"/>
                  </a:lnTo>
                  <a:lnTo>
                    <a:pt x="830589" y="502726"/>
                  </a:lnTo>
                  <a:lnTo>
                    <a:pt x="825125" y="548262"/>
                  </a:lnTo>
                  <a:lnTo>
                    <a:pt x="814196" y="561013"/>
                  </a:lnTo>
                  <a:lnTo>
                    <a:pt x="810553" y="593799"/>
                  </a:lnTo>
                  <a:lnTo>
                    <a:pt x="783231" y="637514"/>
                  </a:lnTo>
                  <a:lnTo>
                    <a:pt x="777766" y="655729"/>
                  </a:lnTo>
                  <a:lnTo>
                    <a:pt x="757730" y="672122"/>
                  </a:lnTo>
                  <a:lnTo>
                    <a:pt x="752266" y="679408"/>
                  </a:lnTo>
                  <a:lnTo>
                    <a:pt x="699443" y="683051"/>
                  </a:lnTo>
                  <a:lnTo>
                    <a:pt x="695800" y="688516"/>
                  </a:lnTo>
                  <a:lnTo>
                    <a:pt x="695800" y="690337"/>
                  </a:lnTo>
                  <a:lnTo>
                    <a:pt x="648442" y="710373"/>
                  </a:lnTo>
                  <a:lnTo>
                    <a:pt x="610191" y="748624"/>
                  </a:lnTo>
                  <a:lnTo>
                    <a:pt x="599263" y="763196"/>
                  </a:lnTo>
                  <a:lnTo>
                    <a:pt x="601084" y="785053"/>
                  </a:lnTo>
                  <a:lnTo>
                    <a:pt x="604727" y="790518"/>
                  </a:lnTo>
                  <a:lnTo>
                    <a:pt x="604727" y="794161"/>
                  </a:lnTo>
                  <a:lnTo>
                    <a:pt x="601084" y="795982"/>
                  </a:lnTo>
                  <a:lnTo>
                    <a:pt x="599263" y="823304"/>
                  </a:lnTo>
                  <a:lnTo>
                    <a:pt x="571941" y="852448"/>
                  </a:lnTo>
                  <a:lnTo>
                    <a:pt x="561012" y="883413"/>
                  </a:lnTo>
                  <a:lnTo>
                    <a:pt x="542797" y="908913"/>
                  </a:lnTo>
                  <a:lnTo>
                    <a:pt x="511832" y="930771"/>
                  </a:lnTo>
                  <a:lnTo>
                    <a:pt x="510011" y="947164"/>
                  </a:lnTo>
                  <a:lnTo>
                    <a:pt x="486332" y="974486"/>
                  </a:lnTo>
                  <a:lnTo>
                    <a:pt x="486332" y="972665"/>
                  </a:lnTo>
                  <a:lnTo>
                    <a:pt x="482689" y="956272"/>
                  </a:lnTo>
                  <a:lnTo>
                    <a:pt x="491796" y="945343"/>
                  </a:lnTo>
                  <a:lnTo>
                    <a:pt x="480867" y="934414"/>
                  </a:lnTo>
                  <a:lnTo>
                    <a:pt x="475403" y="923485"/>
                  </a:lnTo>
                  <a:lnTo>
                    <a:pt x="444438" y="905270"/>
                  </a:lnTo>
                  <a:lnTo>
                    <a:pt x="433509" y="890699"/>
                  </a:lnTo>
                  <a:lnTo>
                    <a:pt x="424402" y="896163"/>
                  </a:lnTo>
                  <a:lnTo>
                    <a:pt x="420759" y="896163"/>
                  </a:lnTo>
                  <a:lnTo>
                    <a:pt x="420759" y="885234"/>
                  </a:lnTo>
                  <a:lnTo>
                    <a:pt x="404366" y="872484"/>
                  </a:lnTo>
                  <a:lnTo>
                    <a:pt x="398901" y="872484"/>
                  </a:lnTo>
                  <a:lnTo>
                    <a:pt x="391615" y="874305"/>
                  </a:lnTo>
                  <a:lnTo>
                    <a:pt x="386151" y="874305"/>
                  </a:lnTo>
                  <a:lnTo>
                    <a:pt x="386151" y="872484"/>
                  </a:lnTo>
                  <a:lnTo>
                    <a:pt x="455367" y="799625"/>
                  </a:lnTo>
                  <a:lnTo>
                    <a:pt x="477224" y="788696"/>
                  </a:lnTo>
                  <a:lnTo>
                    <a:pt x="480867" y="768660"/>
                  </a:lnTo>
                  <a:lnTo>
                    <a:pt x="475403" y="752267"/>
                  </a:lnTo>
                  <a:lnTo>
                    <a:pt x="459010" y="750445"/>
                  </a:lnTo>
                  <a:lnTo>
                    <a:pt x="464474" y="721302"/>
                  </a:lnTo>
                  <a:lnTo>
                    <a:pt x="460831" y="706730"/>
                  </a:lnTo>
                  <a:lnTo>
                    <a:pt x="437152" y="704909"/>
                  </a:lnTo>
                  <a:lnTo>
                    <a:pt x="429866" y="666658"/>
                  </a:lnTo>
                  <a:lnTo>
                    <a:pt x="415295" y="661194"/>
                  </a:lnTo>
                  <a:lnTo>
                    <a:pt x="398901" y="664836"/>
                  </a:lnTo>
                  <a:lnTo>
                    <a:pt x="380687" y="659372"/>
                  </a:lnTo>
                  <a:lnTo>
                    <a:pt x="377044" y="659372"/>
                  </a:lnTo>
                  <a:lnTo>
                    <a:pt x="375222" y="610192"/>
                  </a:lnTo>
                  <a:lnTo>
                    <a:pt x="375222" y="606549"/>
                  </a:lnTo>
                  <a:lnTo>
                    <a:pt x="377044" y="606549"/>
                  </a:lnTo>
                  <a:lnTo>
                    <a:pt x="382508" y="559191"/>
                  </a:lnTo>
                  <a:lnTo>
                    <a:pt x="377044" y="542798"/>
                  </a:lnTo>
                  <a:lnTo>
                    <a:pt x="366115" y="537334"/>
                  </a:lnTo>
                  <a:lnTo>
                    <a:pt x="366115" y="515476"/>
                  </a:lnTo>
                  <a:lnTo>
                    <a:pt x="326043" y="515476"/>
                  </a:lnTo>
                  <a:lnTo>
                    <a:pt x="326043" y="513655"/>
                  </a:lnTo>
                  <a:lnTo>
                    <a:pt x="318757" y="488154"/>
                  </a:lnTo>
                  <a:lnTo>
                    <a:pt x="320578" y="475404"/>
                  </a:lnTo>
                  <a:lnTo>
                    <a:pt x="309649" y="449903"/>
                  </a:lnTo>
                  <a:lnTo>
                    <a:pt x="302364" y="444439"/>
                  </a:lnTo>
                  <a:lnTo>
                    <a:pt x="285970" y="444439"/>
                  </a:lnTo>
                  <a:lnTo>
                    <a:pt x="278685" y="437153"/>
                  </a:lnTo>
                  <a:lnTo>
                    <a:pt x="256827" y="431688"/>
                  </a:lnTo>
                  <a:lnTo>
                    <a:pt x="251363" y="424403"/>
                  </a:lnTo>
                  <a:lnTo>
                    <a:pt x="220398" y="418938"/>
                  </a:lnTo>
                  <a:lnTo>
                    <a:pt x="204004" y="408009"/>
                  </a:lnTo>
                  <a:lnTo>
                    <a:pt x="200361" y="393438"/>
                  </a:lnTo>
                  <a:lnTo>
                    <a:pt x="202183" y="364294"/>
                  </a:lnTo>
                  <a:lnTo>
                    <a:pt x="196719" y="353365"/>
                  </a:lnTo>
                  <a:lnTo>
                    <a:pt x="169397" y="357008"/>
                  </a:lnTo>
                  <a:lnTo>
                    <a:pt x="151182" y="377044"/>
                  </a:lnTo>
                  <a:lnTo>
                    <a:pt x="131146" y="387973"/>
                  </a:lnTo>
                  <a:lnTo>
                    <a:pt x="100181" y="382509"/>
                  </a:lnTo>
                  <a:lnTo>
                    <a:pt x="83788" y="387973"/>
                  </a:lnTo>
                  <a:lnTo>
                    <a:pt x="78323" y="382509"/>
                  </a:lnTo>
                  <a:lnTo>
                    <a:pt x="78323" y="346079"/>
                  </a:lnTo>
                  <a:lnTo>
                    <a:pt x="52823" y="362473"/>
                  </a:lnTo>
                  <a:lnTo>
                    <a:pt x="40072" y="358830"/>
                  </a:lnTo>
                  <a:lnTo>
                    <a:pt x="34608" y="347901"/>
                  </a:lnTo>
                  <a:lnTo>
                    <a:pt x="21858" y="347901"/>
                  </a:lnTo>
                  <a:lnTo>
                    <a:pt x="21858" y="336972"/>
                  </a:lnTo>
                  <a:lnTo>
                    <a:pt x="5465" y="320579"/>
                  </a:lnTo>
                  <a:lnTo>
                    <a:pt x="0" y="304186"/>
                  </a:lnTo>
                  <a:lnTo>
                    <a:pt x="0" y="302364"/>
                  </a:lnTo>
                  <a:lnTo>
                    <a:pt x="7286" y="284149"/>
                  </a:lnTo>
                  <a:lnTo>
                    <a:pt x="16393" y="278685"/>
                  </a:lnTo>
                  <a:lnTo>
                    <a:pt x="18215" y="264113"/>
                  </a:lnTo>
                  <a:lnTo>
                    <a:pt x="32787" y="242256"/>
                  </a:lnTo>
                  <a:lnTo>
                    <a:pt x="52823" y="231327"/>
                  </a:lnTo>
                  <a:lnTo>
                    <a:pt x="91073" y="220398"/>
                  </a:lnTo>
                  <a:lnTo>
                    <a:pt x="105645" y="153004"/>
                  </a:lnTo>
                  <a:lnTo>
                    <a:pt x="100181" y="136610"/>
                  </a:lnTo>
                  <a:lnTo>
                    <a:pt x="89252" y="129325"/>
                  </a:lnTo>
                  <a:lnTo>
                    <a:pt x="89252" y="111110"/>
                  </a:lnTo>
                  <a:lnTo>
                    <a:pt x="91073" y="111110"/>
                  </a:lnTo>
                  <a:lnTo>
                    <a:pt x="111110" y="107467"/>
                  </a:lnTo>
                  <a:lnTo>
                    <a:pt x="107467" y="100181"/>
                  </a:lnTo>
                  <a:lnTo>
                    <a:pt x="94716" y="100181"/>
                  </a:lnTo>
                  <a:lnTo>
                    <a:pt x="94716" y="80145"/>
                  </a:lnTo>
                  <a:lnTo>
                    <a:pt x="129324" y="80145"/>
                  </a:lnTo>
                  <a:lnTo>
                    <a:pt x="131146" y="74680"/>
                  </a:lnTo>
                  <a:lnTo>
                    <a:pt x="134789" y="74680"/>
                  </a:lnTo>
                  <a:lnTo>
                    <a:pt x="140253" y="80145"/>
                  </a:lnTo>
                  <a:lnTo>
                    <a:pt x="151182" y="74680"/>
                  </a:lnTo>
                  <a:lnTo>
                    <a:pt x="153003" y="74680"/>
                  </a:lnTo>
                  <a:lnTo>
                    <a:pt x="162111" y="94717"/>
                  </a:lnTo>
                  <a:lnTo>
                    <a:pt x="163932" y="91074"/>
                  </a:lnTo>
                  <a:lnTo>
                    <a:pt x="167575" y="91074"/>
                  </a:lnTo>
                  <a:lnTo>
                    <a:pt x="178504" y="105645"/>
                  </a:lnTo>
                  <a:lnTo>
                    <a:pt x="196719" y="105645"/>
                  </a:lnTo>
                  <a:lnTo>
                    <a:pt x="225862" y="85609"/>
                  </a:lnTo>
                  <a:lnTo>
                    <a:pt x="234969" y="78323"/>
                  </a:lnTo>
                  <a:lnTo>
                    <a:pt x="251363" y="72859"/>
                  </a:lnTo>
                  <a:lnTo>
                    <a:pt x="251363" y="69216"/>
                  </a:lnTo>
                  <a:lnTo>
                    <a:pt x="229505" y="67395"/>
                  </a:lnTo>
                  <a:lnTo>
                    <a:pt x="225862" y="51001"/>
                  </a:lnTo>
                  <a:lnTo>
                    <a:pt x="225862" y="38251"/>
                  </a:lnTo>
                  <a:lnTo>
                    <a:pt x="218576" y="32787"/>
                  </a:lnTo>
                  <a:lnTo>
                    <a:pt x="214933" y="32787"/>
                  </a:lnTo>
                  <a:lnTo>
                    <a:pt x="214933" y="21858"/>
                  </a:lnTo>
                  <a:lnTo>
                    <a:pt x="218576" y="21858"/>
                  </a:lnTo>
                  <a:lnTo>
                    <a:pt x="258648" y="32787"/>
                  </a:lnTo>
                  <a:lnTo>
                    <a:pt x="307828" y="1275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 name="Argentina">
              <a:extLst>
                <a:ext uri="{FF2B5EF4-FFF2-40B4-BE49-F238E27FC236}">
                  <a16:creationId xmlns:a16="http://schemas.microsoft.com/office/drawing/2014/main" id="{BE641880-360A-694B-C488-2F55546CDA97}"/>
                </a:ext>
              </a:extLst>
            </p:cNvPr>
            <p:cNvSpPr>
              <a:spLocks/>
            </p:cNvSpPr>
            <p:nvPr/>
          </p:nvSpPr>
          <p:spPr bwMode="auto">
            <a:xfrm>
              <a:off x="4094679" y="5111453"/>
              <a:ext cx="468029" cy="1042676"/>
            </a:xfrm>
            <a:custGeom>
              <a:avLst/>
              <a:gdLst/>
              <a:ahLst/>
              <a:cxnLst/>
              <a:rect l="l" t="t" r="r" b="b"/>
              <a:pathLst>
                <a:path w="471760" h="1050988">
                  <a:moveTo>
                    <a:pt x="213112" y="1029130"/>
                  </a:moveTo>
                  <a:lnTo>
                    <a:pt x="231327" y="1029130"/>
                  </a:lnTo>
                  <a:lnTo>
                    <a:pt x="213112" y="1036416"/>
                  </a:lnTo>
                  <a:lnTo>
                    <a:pt x="207647" y="1036416"/>
                  </a:lnTo>
                  <a:lnTo>
                    <a:pt x="207647" y="1034595"/>
                  </a:lnTo>
                  <a:close/>
                  <a:moveTo>
                    <a:pt x="112931" y="943520"/>
                  </a:moveTo>
                  <a:lnTo>
                    <a:pt x="116574" y="943520"/>
                  </a:lnTo>
                  <a:lnTo>
                    <a:pt x="125681" y="961735"/>
                  </a:lnTo>
                  <a:lnTo>
                    <a:pt x="125681" y="963556"/>
                  </a:lnTo>
                  <a:lnTo>
                    <a:pt x="118396" y="967199"/>
                  </a:lnTo>
                  <a:lnTo>
                    <a:pt x="131146" y="985414"/>
                  </a:lnTo>
                  <a:lnTo>
                    <a:pt x="174861" y="1021843"/>
                  </a:lnTo>
                  <a:lnTo>
                    <a:pt x="198540" y="1027308"/>
                  </a:lnTo>
                  <a:lnTo>
                    <a:pt x="198540" y="1029129"/>
                  </a:lnTo>
                  <a:lnTo>
                    <a:pt x="189433" y="1036415"/>
                  </a:lnTo>
                  <a:lnTo>
                    <a:pt x="185790" y="1036415"/>
                  </a:lnTo>
                  <a:lnTo>
                    <a:pt x="183968" y="1040058"/>
                  </a:lnTo>
                  <a:lnTo>
                    <a:pt x="174861" y="1040058"/>
                  </a:lnTo>
                  <a:lnTo>
                    <a:pt x="173040" y="1041879"/>
                  </a:lnTo>
                  <a:lnTo>
                    <a:pt x="169397" y="1041879"/>
                  </a:lnTo>
                  <a:lnTo>
                    <a:pt x="151342" y="1037365"/>
                  </a:lnTo>
                  <a:lnTo>
                    <a:pt x="153005" y="1047345"/>
                  </a:lnTo>
                  <a:lnTo>
                    <a:pt x="145719" y="1047345"/>
                  </a:lnTo>
                  <a:lnTo>
                    <a:pt x="142076" y="1050988"/>
                  </a:lnTo>
                  <a:lnTo>
                    <a:pt x="136611" y="1050988"/>
                  </a:lnTo>
                  <a:lnTo>
                    <a:pt x="125682" y="1047345"/>
                  </a:lnTo>
                  <a:lnTo>
                    <a:pt x="125682" y="1040059"/>
                  </a:lnTo>
                  <a:lnTo>
                    <a:pt x="136611" y="1040059"/>
                  </a:lnTo>
                  <a:lnTo>
                    <a:pt x="145719" y="1036416"/>
                  </a:lnTo>
                  <a:lnTo>
                    <a:pt x="147545" y="1036416"/>
                  </a:lnTo>
                  <a:lnTo>
                    <a:pt x="125681" y="1030950"/>
                  </a:lnTo>
                  <a:lnTo>
                    <a:pt x="116574" y="1036415"/>
                  </a:lnTo>
                  <a:lnTo>
                    <a:pt x="112931" y="1036415"/>
                  </a:lnTo>
                  <a:close/>
                  <a:moveTo>
                    <a:pt x="169397" y="0"/>
                  </a:moveTo>
                  <a:lnTo>
                    <a:pt x="173040" y="0"/>
                  </a:lnTo>
                  <a:lnTo>
                    <a:pt x="180325" y="9108"/>
                  </a:lnTo>
                  <a:lnTo>
                    <a:pt x="207647" y="10929"/>
                  </a:lnTo>
                  <a:lnTo>
                    <a:pt x="214933" y="21858"/>
                  </a:lnTo>
                  <a:lnTo>
                    <a:pt x="220398" y="5465"/>
                  </a:lnTo>
                  <a:lnTo>
                    <a:pt x="225862" y="5465"/>
                  </a:lnTo>
                  <a:lnTo>
                    <a:pt x="231326" y="9108"/>
                  </a:lnTo>
                  <a:lnTo>
                    <a:pt x="242255" y="9108"/>
                  </a:lnTo>
                  <a:lnTo>
                    <a:pt x="256827" y="14572"/>
                  </a:lnTo>
                  <a:lnTo>
                    <a:pt x="262291" y="14572"/>
                  </a:lnTo>
                  <a:lnTo>
                    <a:pt x="298721" y="56466"/>
                  </a:lnTo>
                  <a:lnTo>
                    <a:pt x="326043" y="61930"/>
                  </a:lnTo>
                  <a:lnTo>
                    <a:pt x="371579" y="92895"/>
                  </a:lnTo>
                  <a:lnTo>
                    <a:pt x="375222" y="100181"/>
                  </a:lnTo>
                  <a:lnTo>
                    <a:pt x="375222" y="102002"/>
                  </a:lnTo>
                  <a:lnTo>
                    <a:pt x="358829" y="129324"/>
                  </a:lnTo>
                  <a:lnTo>
                    <a:pt x="358829" y="138432"/>
                  </a:lnTo>
                  <a:lnTo>
                    <a:pt x="380687" y="140253"/>
                  </a:lnTo>
                  <a:lnTo>
                    <a:pt x="393437" y="149361"/>
                  </a:lnTo>
                  <a:lnTo>
                    <a:pt x="420759" y="145718"/>
                  </a:lnTo>
                  <a:lnTo>
                    <a:pt x="444438" y="122039"/>
                  </a:lnTo>
                  <a:lnTo>
                    <a:pt x="448081" y="100181"/>
                  </a:lnTo>
                  <a:lnTo>
                    <a:pt x="448081" y="98359"/>
                  </a:lnTo>
                  <a:lnTo>
                    <a:pt x="453545" y="98359"/>
                  </a:lnTo>
                  <a:lnTo>
                    <a:pt x="459010" y="100181"/>
                  </a:lnTo>
                  <a:lnTo>
                    <a:pt x="466296" y="100181"/>
                  </a:lnTo>
                  <a:lnTo>
                    <a:pt x="471760" y="118396"/>
                  </a:lnTo>
                  <a:lnTo>
                    <a:pt x="466296" y="138432"/>
                  </a:lnTo>
                  <a:lnTo>
                    <a:pt x="466296" y="140253"/>
                  </a:lnTo>
                  <a:lnTo>
                    <a:pt x="444438" y="151182"/>
                  </a:lnTo>
                  <a:lnTo>
                    <a:pt x="375222" y="224041"/>
                  </a:lnTo>
                  <a:lnTo>
                    <a:pt x="369758" y="233148"/>
                  </a:lnTo>
                  <a:lnTo>
                    <a:pt x="364294" y="296899"/>
                  </a:lnTo>
                  <a:lnTo>
                    <a:pt x="355186" y="329686"/>
                  </a:lnTo>
                  <a:lnTo>
                    <a:pt x="358829" y="346079"/>
                  </a:lnTo>
                  <a:lnTo>
                    <a:pt x="386151" y="364294"/>
                  </a:lnTo>
                  <a:lnTo>
                    <a:pt x="386151" y="367937"/>
                  </a:lnTo>
                  <a:lnTo>
                    <a:pt x="380687" y="384330"/>
                  </a:lnTo>
                  <a:lnTo>
                    <a:pt x="387973" y="395259"/>
                  </a:lnTo>
                  <a:lnTo>
                    <a:pt x="398901" y="395259"/>
                  </a:lnTo>
                  <a:lnTo>
                    <a:pt x="398901" y="397080"/>
                  </a:lnTo>
                  <a:lnTo>
                    <a:pt x="397080" y="418938"/>
                  </a:lnTo>
                  <a:lnTo>
                    <a:pt x="380687" y="440795"/>
                  </a:lnTo>
                  <a:lnTo>
                    <a:pt x="377044" y="451724"/>
                  </a:lnTo>
                  <a:lnTo>
                    <a:pt x="364294" y="462653"/>
                  </a:lnTo>
                  <a:lnTo>
                    <a:pt x="293256" y="475403"/>
                  </a:lnTo>
                  <a:lnTo>
                    <a:pt x="269577" y="475403"/>
                  </a:lnTo>
                  <a:lnTo>
                    <a:pt x="264113" y="473582"/>
                  </a:lnTo>
                  <a:lnTo>
                    <a:pt x="264113" y="484510"/>
                  </a:lnTo>
                  <a:lnTo>
                    <a:pt x="271399" y="488153"/>
                  </a:lnTo>
                  <a:lnTo>
                    <a:pt x="271399" y="491796"/>
                  </a:lnTo>
                  <a:lnTo>
                    <a:pt x="264113" y="510011"/>
                  </a:lnTo>
                  <a:lnTo>
                    <a:pt x="264113" y="530047"/>
                  </a:lnTo>
                  <a:lnTo>
                    <a:pt x="262291" y="537333"/>
                  </a:lnTo>
                  <a:lnTo>
                    <a:pt x="245898" y="546440"/>
                  </a:lnTo>
                  <a:lnTo>
                    <a:pt x="229505" y="546440"/>
                  </a:lnTo>
                  <a:lnTo>
                    <a:pt x="202183" y="530047"/>
                  </a:lnTo>
                  <a:lnTo>
                    <a:pt x="196719" y="535511"/>
                  </a:lnTo>
                  <a:lnTo>
                    <a:pt x="202183" y="571941"/>
                  </a:lnTo>
                  <a:lnTo>
                    <a:pt x="213112" y="582870"/>
                  </a:lnTo>
                  <a:lnTo>
                    <a:pt x="218576" y="581048"/>
                  </a:lnTo>
                  <a:lnTo>
                    <a:pt x="214933" y="577405"/>
                  </a:lnTo>
                  <a:lnTo>
                    <a:pt x="214933" y="575584"/>
                  </a:lnTo>
                  <a:lnTo>
                    <a:pt x="229505" y="570119"/>
                  </a:lnTo>
                  <a:lnTo>
                    <a:pt x="229505" y="571941"/>
                  </a:lnTo>
                  <a:lnTo>
                    <a:pt x="231326" y="577405"/>
                  </a:lnTo>
                  <a:lnTo>
                    <a:pt x="234969" y="588334"/>
                  </a:lnTo>
                  <a:lnTo>
                    <a:pt x="231326" y="597441"/>
                  </a:lnTo>
                  <a:lnTo>
                    <a:pt x="218576" y="597441"/>
                  </a:lnTo>
                  <a:lnTo>
                    <a:pt x="209469" y="588334"/>
                  </a:lnTo>
                  <a:lnTo>
                    <a:pt x="202183" y="593798"/>
                  </a:lnTo>
                  <a:lnTo>
                    <a:pt x="218576" y="602906"/>
                  </a:lnTo>
                  <a:lnTo>
                    <a:pt x="218576" y="604727"/>
                  </a:lnTo>
                  <a:lnTo>
                    <a:pt x="202183" y="613835"/>
                  </a:lnTo>
                  <a:lnTo>
                    <a:pt x="196719" y="621120"/>
                  </a:lnTo>
                  <a:lnTo>
                    <a:pt x="196719" y="648442"/>
                  </a:lnTo>
                  <a:lnTo>
                    <a:pt x="185790" y="659371"/>
                  </a:lnTo>
                  <a:lnTo>
                    <a:pt x="189433" y="670300"/>
                  </a:lnTo>
                  <a:lnTo>
                    <a:pt x="173040" y="670300"/>
                  </a:lnTo>
                  <a:lnTo>
                    <a:pt x="156646" y="677586"/>
                  </a:lnTo>
                  <a:lnTo>
                    <a:pt x="140253" y="703086"/>
                  </a:lnTo>
                  <a:lnTo>
                    <a:pt x="140253" y="710372"/>
                  </a:lnTo>
                  <a:lnTo>
                    <a:pt x="147539" y="721301"/>
                  </a:lnTo>
                  <a:lnTo>
                    <a:pt x="158468" y="734051"/>
                  </a:lnTo>
                  <a:lnTo>
                    <a:pt x="180325" y="739516"/>
                  </a:lnTo>
                  <a:lnTo>
                    <a:pt x="183968" y="739516"/>
                  </a:lnTo>
                  <a:lnTo>
                    <a:pt x="185790" y="755909"/>
                  </a:lnTo>
                  <a:lnTo>
                    <a:pt x="178504" y="777767"/>
                  </a:lnTo>
                  <a:lnTo>
                    <a:pt x="140253" y="810553"/>
                  </a:lnTo>
                  <a:lnTo>
                    <a:pt x="134789" y="843339"/>
                  </a:lnTo>
                  <a:lnTo>
                    <a:pt x="131146" y="843339"/>
                  </a:lnTo>
                  <a:lnTo>
                    <a:pt x="120217" y="848804"/>
                  </a:lnTo>
                  <a:lnTo>
                    <a:pt x="120217" y="850625"/>
                  </a:lnTo>
                  <a:lnTo>
                    <a:pt x="116574" y="845161"/>
                  </a:lnTo>
                  <a:lnTo>
                    <a:pt x="118395" y="850625"/>
                  </a:lnTo>
                  <a:lnTo>
                    <a:pt x="105645" y="861554"/>
                  </a:lnTo>
                  <a:lnTo>
                    <a:pt x="96538" y="883412"/>
                  </a:lnTo>
                  <a:lnTo>
                    <a:pt x="100181" y="883412"/>
                  </a:lnTo>
                  <a:lnTo>
                    <a:pt x="102002" y="879769"/>
                  </a:lnTo>
                  <a:lnTo>
                    <a:pt x="102002" y="883412"/>
                  </a:lnTo>
                  <a:lnTo>
                    <a:pt x="105645" y="901626"/>
                  </a:lnTo>
                  <a:lnTo>
                    <a:pt x="100181" y="905269"/>
                  </a:lnTo>
                  <a:lnTo>
                    <a:pt x="105645" y="905269"/>
                  </a:lnTo>
                  <a:lnTo>
                    <a:pt x="120217" y="932591"/>
                  </a:lnTo>
                  <a:lnTo>
                    <a:pt x="85609" y="923484"/>
                  </a:lnTo>
                  <a:lnTo>
                    <a:pt x="32787" y="921662"/>
                  </a:lnTo>
                  <a:lnTo>
                    <a:pt x="29144" y="921662"/>
                  </a:lnTo>
                  <a:lnTo>
                    <a:pt x="27322" y="910734"/>
                  </a:lnTo>
                  <a:lnTo>
                    <a:pt x="23679" y="872483"/>
                  </a:lnTo>
                  <a:lnTo>
                    <a:pt x="18215" y="872483"/>
                  </a:lnTo>
                  <a:lnTo>
                    <a:pt x="12750" y="876126"/>
                  </a:lnTo>
                  <a:lnTo>
                    <a:pt x="1822" y="876126"/>
                  </a:lnTo>
                  <a:lnTo>
                    <a:pt x="0" y="850625"/>
                  </a:lnTo>
                  <a:lnTo>
                    <a:pt x="1822" y="828768"/>
                  </a:lnTo>
                  <a:lnTo>
                    <a:pt x="18215" y="801446"/>
                  </a:lnTo>
                  <a:lnTo>
                    <a:pt x="23679" y="786874"/>
                  </a:lnTo>
                  <a:lnTo>
                    <a:pt x="23679" y="761373"/>
                  </a:lnTo>
                  <a:lnTo>
                    <a:pt x="40072" y="723123"/>
                  </a:lnTo>
                  <a:lnTo>
                    <a:pt x="40072" y="686693"/>
                  </a:lnTo>
                  <a:lnTo>
                    <a:pt x="45537" y="672121"/>
                  </a:lnTo>
                  <a:lnTo>
                    <a:pt x="34608" y="661193"/>
                  </a:lnTo>
                  <a:lnTo>
                    <a:pt x="34608" y="659371"/>
                  </a:lnTo>
                  <a:lnTo>
                    <a:pt x="47358" y="655728"/>
                  </a:lnTo>
                  <a:lnTo>
                    <a:pt x="45537" y="650264"/>
                  </a:lnTo>
                  <a:lnTo>
                    <a:pt x="34608" y="648442"/>
                  </a:lnTo>
                  <a:lnTo>
                    <a:pt x="34608" y="632049"/>
                  </a:lnTo>
                  <a:lnTo>
                    <a:pt x="29144" y="588334"/>
                  </a:lnTo>
                  <a:lnTo>
                    <a:pt x="40072" y="564655"/>
                  </a:lnTo>
                  <a:lnTo>
                    <a:pt x="34608" y="548262"/>
                  </a:lnTo>
                  <a:lnTo>
                    <a:pt x="38251" y="510011"/>
                  </a:lnTo>
                  <a:lnTo>
                    <a:pt x="47358" y="475403"/>
                  </a:lnTo>
                  <a:lnTo>
                    <a:pt x="52823" y="462653"/>
                  </a:lnTo>
                  <a:lnTo>
                    <a:pt x="51001" y="440795"/>
                  </a:lnTo>
                  <a:lnTo>
                    <a:pt x="52823" y="408009"/>
                  </a:lnTo>
                  <a:lnTo>
                    <a:pt x="67394" y="389794"/>
                  </a:lnTo>
                  <a:lnTo>
                    <a:pt x="67394" y="364294"/>
                  </a:lnTo>
                  <a:lnTo>
                    <a:pt x="83788" y="333329"/>
                  </a:lnTo>
                  <a:lnTo>
                    <a:pt x="80145" y="311471"/>
                  </a:lnTo>
                  <a:lnTo>
                    <a:pt x="67394" y="264113"/>
                  </a:lnTo>
                  <a:lnTo>
                    <a:pt x="67394" y="251363"/>
                  </a:lnTo>
                  <a:lnTo>
                    <a:pt x="80145" y="224041"/>
                  </a:lnTo>
                  <a:lnTo>
                    <a:pt x="80145" y="200362"/>
                  </a:lnTo>
                  <a:lnTo>
                    <a:pt x="91073" y="167575"/>
                  </a:lnTo>
                  <a:lnTo>
                    <a:pt x="102002" y="154825"/>
                  </a:lnTo>
                  <a:lnTo>
                    <a:pt x="105645" y="143896"/>
                  </a:lnTo>
                  <a:lnTo>
                    <a:pt x="118395" y="132967"/>
                  </a:lnTo>
                  <a:lnTo>
                    <a:pt x="112931" y="98359"/>
                  </a:lnTo>
                  <a:lnTo>
                    <a:pt x="116574" y="71037"/>
                  </a:lnTo>
                  <a:lnTo>
                    <a:pt x="145718" y="56466"/>
                  </a:lnTo>
                  <a:lnTo>
                    <a:pt x="147539" y="38251"/>
                  </a:lnTo>
                  <a:lnTo>
                    <a:pt x="145718" y="273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 name="The Bahamas">
              <a:extLst>
                <a:ext uri="{FF2B5EF4-FFF2-40B4-BE49-F238E27FC236}">
                  <a16:creationId xmlns:a16="http://schemas.microsoft.com/office/drawing/2014/main" id="{A0AA991B-37C0-F687-6CD2-E0E1E767DB8C}"/>
                </a:ext>
              </a:extLst>
            </p:cNvPr>
            <p:cNvSpPr>
              <a:spLocks/>
            </p:cNvSpPr>
            <p:nvPr/>
          </p:nvSpPr>
          <p:spPr bwMode="auto">
            <a:xfrm>
              <a:off x="3962763" y="3933249"/>
              <a:ext cx="142759" cy="151794"/>
            </a:xfrm>
            <a:custGeom>
              <a:avLst/>
              <a:gdLst/>
              <a:ahLst/>
              <a:cxnLst/>
              <a:rect l="l" t="t" r="r" b="b"/>
              <a:pathLst>
                <a:path w="143897" h="153004">
                  <a:moveTo>
                    <a:pt x="140254" y="140253"/>
                  </a:moveTo>
                  <a:lnTo>
                    <a:pt x="143897" y="140253"/>
                  </a:lnTo>
                  <a:lnTo>
                    <a:pt x="143897" y="142075"/>
                  </a:lnTo>
                  <a:lnTo>
                    <a:pt x="140254" y="147539"/>
                  </a:lnTo>
                  <a:lnTo>
                    <a:pt x="140254" y="151183"/>
                  </a:lnTo>
                  <a:lnTo>
                    <a:pt x="127503" y="153004"/>
                  </a:lnTo>
                  <a:lnTo>
                    <a:pt x="123860" y="153004"/>
                  </a:lnTo>
                  <a:lnTo>
                    <a:pt x="123860" y="147539"/>
                  </a:lnTo>
                  <a:lnTo>
                    <a:pt x="127503" y="147539"/>
                  </a:lnTo>
                  <a:lnTo>
                    <a:pt x="127503" y="145718"/>
                  </a:lnTo>
                  <a:close/>
                  <a:moveTo>
                    <a:pt x="107467" y="105645"/>
                  </a:moveTo>
                  <a:lnTo>
                    <a:pt x="112932" y="105645"/>
                  </a:lnTo>
                  <a:lnTo>
                    <a:pt x="116575" y="107467"/>
                  </a:lnTo>
                  <a:lnTo>
                    <a:pt x="122039" y="107467"/>
                  </a:lnTo>
                  <a:lnTo>
                    <a:pt x="116575" y="118396"/>
                  </a:lnTo>
                  <a:lnTo>
                    <a:pt x="116575" y="122039"/>
                  </a:lnTo>
                  <a:lnTo>
                    <a:pt x="112932" y="118396"/>
                  </a:lnTo>
                  <a:lnTo>
                    <a:pt x="112932" y="112931"/>
                  </a:lnTo>
                  <a:lnTo>
                    <a:pt x="107467" y="107467"/>
                  </a:lnTo>
                  <a:close/>
                  <a:moveTo>
                    <a:pt x="29145" y="67395"/>
                  </a:moveTo>
                  <a:lnTo>
                    <a:pt x="32788" y="67395"/>
                  </a:lnTo>
                  <a:lnTo>
                    <a:pt x="32788" y="83789"/>
                  </a:lnTo>
                  <a:lnTo>
                    <a:pt x="29145" y="83789"/>
                  </a:lnTo>
                  <a:lnTo>
                    <a:pt x="23680" y="74681"/>
                  </a:lnTo>
                  <a:lnTo>
                    <a:pt x="29145" y="69217"/>
                  </a:lnTo>
                  <a:close/>
                  <a:moveTo>
                    <a:pt x="72859" y="56466"/>
                  </a:moveTo>
                  <a:lnTo>
                    <a:pt x="76502" y="56466"/>
                  </a:lnTo>
                  <a:lnTo>
                    <a:pt x="89253" y="69217"/>
                  </a:lnTo>
                  <a:lnTo>
                    <a:pt x="89253" y="72860"/>
                  </a:lnTo>
                  <a:lnTo>
                    <a:pt x="81967" y="72860"/>
                  </a:lnTo>
                  <a:close/>
                  <a:moveTo>
                    <a:pt x="65574" y="43715"/>
                  </a:moveTo>
                  <a:lnTo>
                    <a:pt x="67395" y="43715"/>
                  </a:lnTo>
                  <a:lnTo>
                    <a:pt x="67395" y="58287"/>
                  </a:lnTo>
                  <a:lnTo>
                    <a:pt x="65574" y="58287"/>
                  </a:lnTo>
                  <a:lnTo>
                    <a:pt x="60109" y="52823"/>
                  </a:lnTo>
                  <a:lnTo>
                    <a:pt x="60109" y="51001"/>
                  </a:lnTo>
                  <a:close/>
                  <a:moveTo>
                    <a:pt x="16394" y="43715"/>
                  </a:moveTo>
                  <a:lnTo>
                    <a:pt x="20037" y="43715"/>
                  </a:lnTo>
                  <a:lnTo>
                    <a:pt x="21858" y="45537"/>
                  </a:lnTo>
                  <a:lnTo>
                    <a:pt x="27323" y="56466"/>
                  </a:lnTo>
                  <a:lnTo>
                    <a:pt x="23680" y="63752"/>
                  </a:lnTo>
                  <a:lnTo>
                    <a:pt x="23680" y="67395"/>
                  </a:lnTo>
                  <a:lnTo>
                    <a:pt x="14572" y="56466"/>
                  </a:lnTo>
                  <a:lnTo>
                    <a:pt x="10929" y="56466"/>
                  </a:lnTo>
                  <a:close/>
                  <a:moveTo>
                    <a:pt x="40074" y="5465"/>
                  </a:moveTo>
                  <a:lnTo>
                    <a:pt x="43717" y="5465"/>
                  </a:lnTo>
                  <a:lnTo>
                    <a:pt x="43717" y="7287"/>
                  </a:lnTo>
                  <a:lnTo>
                    <a:pt x="45538" y="12751"/>
                  </a:lnTo>
                  <a:lnTo>
                    <a:pt x="43717" y="27323"/>
                  </a:lnTo>
                  <a:lnTo>
                    <a:pt x="40074" y="27323"/>
                  </a:lnTo>
                  <a:lnTo>
                    <a:pt x="38252" y="16394"/>
                  </a:lnTo>
                  <a:close/>
                  <a:moveTo>
                    <a:pt x="10929" y="0"/>
                  </a:moveTo>
                  <a:lnTo>
                    <a:pt x="21859" y="0"/>
                  </a:lnTo>
                  <a:lnTo>
                    <a:pt x="21859" y="1822"/>
                  </a:lnTo>
                  <a:lnTo>
                    <a:pt x="27323" y="5465"/>
                  </a:lnTo>
                  <a:lnTo>
                    <a:pt x="27323" y="10929"/>
                  </a:lnTo>
                  <a:lnTo>
                    <a:pt x="23680" y="10929"/>
                  </a:lnTo>
                  <a:lnTo>
                    <a:pt x="0" y="5465"/>
                  </a:lnTo>
                  <a:lnTo>
                    <a:pt x="0" y="1822"/>
                  </a:lnTo>
                  <a:lnTo>
                    <a:pt x="5465" y="18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 name="Canada - Offshore">
              <a:extLst>
                <a:ext uri="{FF2B5EF4-FFF2-40B4-BE49-F238E27FC236}">
                  <a16:creationId xmlns:a16="http://schemas.microsoft.com/office/drawing/2014/main" id="{180D373F-F902-DCED-DBDC-A86B5B7F7A5F}"/>
                </a:ext>
              </a:extLst>
            </p:cNvPr>
            <p:cNvSpPr>
              <a:spLocks/>
            </p:cNvSpPr>
            <p:nvPr/>
          </p:nvSpPr>
          <p:spPr bwMode="auto">
            <a:xfrm>
              <a:off x="2616501" y="788821"/>
              <a:ext cx="1967892" cy="2596891"/>
            </a:xfrm>
            <a:custGeom>
              <a:avLst/>
              <a:gdLst/>
              <a:ahLst/>
              <a:cxnLst/>
              <a:rect l="l" t="t" r="r" b="b"/>
              <a:pathLst>
                <a:path w="1983579" h="2617593">
                  <a:moveTo>
                    <a:pt x="1256814" y="2601199"/>
                  </a:moveTo>
                  <a:lnTo>
                    <a:pt x="1289600" y="2601199"/>
                  </a:lnTo>
                  <a:lnTo>
                    <a:pt x="1289600" y="2612128"/>
                  </a:lnTo>
                  <a:lnTo>
                    <a:pt x="1287779" y="2617593"/>
                  </a:lnTo>
                  <a:lnTo>
                    <a:pt x="1284136" y="2617593"/>
                  </a:lnTo>
                  <a:lnTo>
                    <a:pt x="1256814" y="2604842"/>
                  </a:lnTo>
                  <a:lnTo>
                    <a:pt x="1254992" y="2604842"/>
                  </a:lnTo>
                  <a:close/>
                  <a:moveTo>
                    <a:pt x="1794147" y="2564770"/>
                  </a:moveTo>
                  <a:lnTo>
                    <a:pt x="1797790" y="2564770"/>
                  </a:lnTo>
                  <a:lnTo>
                    <a:pt x="1803254" y="2570235"/>
                  </a:lnTo>
                  <a:lnTo>
                    <a:pt x="1803254" y="2572056"/>
                  </a:lnTo>
                  <a:lnTo>
                    <a:pt x="1794147" y="2597556"/>
                  </a:lnTo>
                  <a:lnTo>
                    <a:pt x="1803254" y="2597556"/>
                  </a:lnTo>
                  <a:lnTo>
                    <a:pt x="1808718" y="2588449"/>
                  </a:lnTo>
                  <a:lnTo>
                    <a:pt x="1810540" y="2588449"/>
                  </a:lnTo>
                  <a:lnTo>
                    <a:pt x="1816004" y="2599378"/>
                  </a:lnTo>
                  <a:lnTo>
                    <a:pt x="1816004" y="2601199"/>
                  </a:lnTo>
                  <a:lnTo>
                    <a:pt x="1797790" y="2612128"/>
                  </a:lnTo>
                  <a:lnTo>
                    <a:pt x="1792325" y="2612128"/>
                  </a:lnTo>
                  <a:lnTo>
                    <a:pt x="1783218" y="2615771"/>
                  </a:lnTo>
                  <a:lnTo>
                    <a:pt x="1777754" y="2615771"/>
                  </a:lnTo>
                  <a:lnTo>
                    <a:pt x="1777754" y="2612128"/>
                  </a:lnTo>
                  <a:lnTo>
                    <a:pt x="1772289" y="2606664"/>
                  </a:lnTo>
                  <a:lnTo>
                    <a:pt x="1775932" y="2593914"/>
                  </a:lnTo>
                  <a:close/>
                  <a:moveTo>
                    <a:pt x="1714002" y="2564770"/>
                  </a:moveTo>
                  <a:lnTo>
                    <a:pt x="1715823" y="2564770"/>
                  </a:lnTo>
                  <a:lnTo>
                    <a:pt x="1715823" y="2566592"/>
                  </a:lnTo>
                  <a:lnTo>
                    <a:pt x="1714002" y="2572056"/>
                  </a:lnTo>
                  <a:lnTo>
                    <a:pt x="1721287" y="2581163"/>
                  </a:lnTo>
                  <a:lnTo>
                    <a:pt x="1761360" y="2586628"/>
                  </a:lnTo>
                  <a:lnTo>
                    <a:pt x="1761360" y="2588449"/>
                  </a:lnTo>
                  <a:lnTo>
                    <a:pt x="1748610" y="2601199"/>
                  </a:lnTo>
                  <a:lnTo>
                    <a:pt x="1746788" y="2601199"/>
                  </a:lnTo>
                  <a:lnTo>
                    <a:pt x="1737681" y="2592092"/>
                  </a:lnTo>
                  <a:lnTo>
                    <a:pt x="1726752" y="2593913"/>
                  </a:lnTo>
                  <a:lnTo>
                    <a:pt x="1724930" y="2593913"/>
                  </a:lnTo>
                  <a:lnTo>
                    <a:pt x="1704894" y="2577520"/>
                  </a:lnTo>
                  <a:lnTo>
                    <a:pt x="1704894" y="2575699"/>
                  </a:lnTo>
                  <a:close/>
                  <a:moveTo>
                    <a:pt x="1714002" y="2459125"/>
                  </a:moveTo>
                  <a:lnTo>
                    <a:pt x="1748610" y="2471875"/>
                  </a:lnTo>
                  <a:lnTo>
                    <a:pt x="1765004" y="2480982"/>
                  </a:lnTo>
                  <a:lnTo>
                    <a:pt x="1770468" y="2488268"/>
                  </a:lnTo>
                  <a:lnTo>
                    <a:pt x="1770468" y="2491911"/>
                  </a:lnTo>
                  <a:lnTo>
                    <a:pt x="1754075" y="2491911"/>
                  </a:lnTo>
                  <a:lnTo>
                    <a:pt x="1726752" y="2482804"/>
                  </a:lnTo>
                  <a:lnTo>
                    <a:pt x="1721288" y="2475518"/>
                  </a:lnTo>
                  <a:lnTo>
                    <a:pt x="1703073" y="2466411"/>
                  </a:lnTo>
                  <a:lnTo>
                    <a:pt x="1703073" y="2464589"/>
                  </a:lnTo>
                  <a:close/>
                  <a:moveTo>
                    <a:pt x="187613" y="2424516"/>
                  </a:moveTo>
                  <a:lnTo>
                    <a:pt x="191256" y="2424516"/>
                  </a:lnTo>
                  <a:lnTo>
                    <a:pt x="247721" y="2444552"/>
                  </a:lnTo>
                  <a:lnTo>
                    <a:pt x="269579" y="2475517"/>
                  </a:lnTo>
                  <a:lnTo>
                    <a:pt x="291437" y="2491911"/>
                  </a:lnTo>
                  <a:lnTo>
                    <a:pt x="304187" y="2513768"/>
                  </a:lnTo>
                  <a:lnTo>
                    <a:pt x="304187" y="2515590"/>
                  </a:lnTo>
                  <a:lnTo>
                    <a:pt x="302366" y="2515590"/>
                  </a:lnTo>
                  <a:lnTo>
                    <a:pt x="293258" y="2521054"/>
                  </a:lnTo>
                  <a:lnTo>
                    <a:pt x="265936" y="2510125"/>
                  </a:lnTo>
                  <a:lnTo>
                    <a:pt x="265936" y="2508304"/>
                  </a:lnTo>
                  <a:lnTo>
                    <a:pt x="258650" y="2502839"/>
                  </a:lnTo>
                  <a:lnTo>
                    <a:pt x="260472" y="2497375"/>
                  </a:lnTo>
                  <a:lnTo>
                    <a:pt x="255007" y="2497375"/>
                  </a:lnTo>
                  <a:lnTo>
                    <a:pt x="253186" y="2499196"/>
                  </a:lnTo>
                  <a:lnTo>
                    <a:pt x="247721" y="2499196"/>
                  </a:lnTo>
                  <a:lnTo>
                    <a:pt x="242257" y="2493732"/>
                  </a:lnTo>
                  <a:lnTo>
                    <a:pt x="242257" y="2491911"/>
                  </a:lnTo>
                  <a:lnTo>
                    <a:pt x="247721" y="2491911"/>
                  </a:lnTo>
                  <a:lnTo>
                    <a:pt x="242257" y="2486446"/>
                  </a:lnTo>
                  <a:lnTo>
                    <a:pt x="229507" y="2480982"/>
                  </a:lnTo>
                  <a:lnTo>
                    <a:pt x="225864" y="2480982"/>
                  </a:lnTo>
                  <a:lnTo>
                    <a:pt x="225864" y="2471874"/>
                  </a:lnTo>
                  <a:lnTo>
                    <a:pt x="231328" y="2471874"/>
                  </a:lnTo>
                  <a:lnTo>
                    <a:pt x="213114" y="2466410"/>
                  </a:lnTo>
                  <a:lnTo>
                    <a:pt x="213114" y="2464589"/>
                  </a:lnTo>
                  <a:lnTo>
                    <a:pt x="207649" y="2455481"/>
                  </a:lnTo>
                  <a:lnTo>
                    <a:pt x="207649" y="2459124"/>
                  </a:lnTo>
                  <a:lnTo>
                    <a:pt x="202185" y="2459124"/>
                  </a:lnTo>
                  <a:lnTo>
                    <a:pt x="198542" y="2455481"/>
                  </a:lnTo>
                  <a:lnTo>
                    <a:pt x="193077" y="2455481"/>
                  </a:lnTo>
                  <a:lnTo>
                    <a:pt x="191256" y="2442731"/>
                  </a:lnTo>
                  <a:lnTo>
                    <a:pt x="202185" y="2442731"/>
                  </a:lnTo>
                  <a:lnTo>
                    <a:pt x="202185" y="2437266"/>
                  </a:lnTo>
                  <a:lnTo>
                    <a:pt x="182149" y="2435445"/>
                  </a:lnTo>
                  <a:lnTo>
                    <a:pt x="180327" y="2435445"/>
                  </a:lnTo>
                  <a:lnTo>
                    <a:pt x="180327" y="2431802"/>
                  </a:lnTo>
                  <a:lnTo>
                    <a:pt x="182149" y="2431802"/>
                  </a:lnTo>
                  <a:lnTo>
                    <a:pt x="187613" y="2426338"/>
                  </a:lnTo>
                  <a:close/>
                  <a:moveTo>
                    <a:pt x="1908899" y="2399016"/>
                  </a:moveTo>
                  <a:lnTo>
                    <a:pt x="1916185" y="2399016"/>
                  </a:lnTo>
                  <a:lnTo>
                    <a:pt x="1916185" y="2402659"/>
                  </a:lnTo>
                  <a:lnTo>
                    <a:pt x="1908899" y="2408123"/>
                  </a:lnTo>
                  <a:lnTo>
                    <a:pt x="1910720" y="2415409"/>
                  </a:lnTo>
                  <a:lnTo>
                    <a:pt x="1908899" y="2424517"/>
                  </a:lnTo>
                  <a:lnTo>
                    <a:pt x="1908899" y="2426338"/>
                  </a:lnTo>
                  <a:lnTo>
                    <a:pt x="1899791" y="2426338"/>
                  </a:lnTo>
                  <a:lnTo>
                    <a:pt x="1899791" y="2437267"/>
                  </a:lnTo>
                  <a:lnTo>
                    <a:pt x="1887041" y="2455482"/>
                  </a:lnTo>
                  <a:lnTo>
                    <a:pt x="1888863" y="2470053"/>
                  </a:lnTo>
                  <a:lnTo>
                    <a:pt x="1903434" y="2453660"/>
                  </a:lnTo>
                  <a:lnTo>
                    <a:pt x="1903434" y="2459125"/>
                  </a:lnTo>
                  <a:lnTo>
                    <a:pt x="1916185" y="2460946"/>
                  </a:lnTo>
                  <a:lnTo>
                    <a:pt x="1918006" y="2460946"/>
                  </a:lnTo>
                  <a:lnTo>
                    <a:pt x="1918006" y="2464589"/>
                  </a:lnTo>
                  <a:lnTo>
                    <a:pt x="1916185" y="2464589"/>
                  </a:lnTo>
                  <a:lnTo>
                    <a:pt x="1905256" y="2470053"/>
                  </a:lnTo>
                  <a:lnTo>
                    <a:pt x="1908899" y="2477339"/>
                  </a:lnTo>
                  <a:lnTo>
                    <a:pt x="1910720" y="2477339"/>
                  </a:lnTo>
                  <a:lnTo>
                    <a:pt x="1912542" y="2475518"/>
                  </a:lnTo>
                  <a:lnTo>
                    <a:pt x="1918006" y="2475518"/>
                  </a:lnTo>
                  <a:lnTo>
                    <a:pt x="1921649" y="2471875"/>
                  </a:lnTo>
                  <a:lnTo>
                    <a:pt x="1923471" y="2471875"/>
                  </a:lnTo>
                  <a:lnTo>
                    <a:pt x="1923471" y="2475518"/>
                  </a:lnTo>
                  <a:lnTo>
                    <a:pt x="1921649" y="2482804"/>
                  </a:lnTo>
                  <a:lnTo>
                    <a:pt x="1939864" y="2477339"/>
                  </a:lnTo>
                  <a:lnTo>
                    <a:pt x="1961721" y="2480982"/>
                  </a:lnTo>
                  <a:lnTo>
                    <a:pt x="1965364" y="2480982"/>
                  </a:lnTo>
                  <a:lnTo>
                    <a:pt x="1965364" y="2482804"/>
                  </a:lnTo>
                  <a:lnTo>
                    <a:pt x="1954436" y="2513769"/>
                  </a:lnTo>
                  <a:lnTo>
                    <a:pt x="1972650" y="2508304"/>
                  </a:lnTo>
                  <a:lnTo>
                    <a:pt x="1976293" y="2508304"/>
                  </a:lnTo>
                  <a:lnTo>
                    <a:pt x="1972650" y="2515590"/>
                  </a:lnTo>
                  <a:lnTo>
                    <a:pt x="1956257" y="2526519"/>
                  </a:lnTo>
                  <a:lnTo>
                    <a:pt x="1961721" y="2528340"/>
                  </a:lnTo>
                  <a:lnTo>
                    <a:pt x="1959900" y="2539269"/>
                  </a:lnTo>
                  <a:lnTo>
                    <a:pt x="1961721" y="2542912"/>
                  </a:lnTo>
                  <a:lnTo>
                    <a:pt x="1978115" y="2522876"/>
                  </a:lnTo>
                  <a:lnTo>
                    <a:pt x="1981758" y="2522876"/>
                  </a:lnTo>
                  <a:lnTo>
                    <a:pt x="1981758" y="2526519"/>
                  </a:lnTo>
                  <a:lnTo>
                    <a:pt x="1976293" y="2544734"/>
                  </a:lnTo>
                  <a:lnTo>
                    <a:pt x="1978115" y="2539269"/>
                  </a:lnTo>
                  <a:lnTo>
                    <a:pt x="1981758" y="2539269"/>
                  </a:lnTo>
                  <a:lnTo>
                    <a:pt x="1983579" y="2550198"/>
                  </a:lnTo>
                  <a:lnTo>
                    <a:pt x="1976293" y="2577520"/>
                  </a:lnTo>
                  <a:lnTo>
                    <a:pt x="1972650" y="2577520"/>
                  </a:lnTo>
                  <a:lnTo>
                    <a:pt x="1965364" y="2581163"/>
                  </a:lnTo>
                  <a:lnTo>
                    <a:pt x="1959900" y="2564770"/>
                  </a:lnTo>
                  <a:lnTo>
                    <a:pt x="1950793" y="2572056"/>
                  </a:lnTo>
                  <a:lnTo>
                    <a:pt x="1948971" y="2572056"/>
                  </a:lnTo>
                  <a:lnTo>
                    <a:pt x="1948971" y="2570234"/>
                  </a:lnTo>
                  <a:lnTo>
                    <a:pt x="1954436" y="2553841"/>
                  </a:lnTo>
                  <a:lnTo>
                    <a:pt x="1948971" y="2533805"/>
                  </a:lnTo>
                  <a:lnTo>
                    <a:pt x="1943507" y="2550198"/>
                  </a:lnTo>
                  <a:lnTo>
                    <a:pt x="1912542" y="2572056"/>
                  </a:lnTo>
                  <a:lnTo>
                    <a:pt x="1910720" y="2572056"/>
                  </a:lnTo>
                  <a:lnTo>
                    <a:pt x="1905256" y="2566591"/>
                  </a:lnTo>
                  <a:lnTo>
                    <a:pt x="1905256" y="2564770"/>
                  </a:lnTo>
                  <a:lnTo>
                    <a:pt x="1928935" y="2544734"/>
                  </a:lnTo>
                  <a:lnTo>
                    <a:pt x="1921649" y="2542912"/>
                  </a:lnTo>
                  <a:lnTo>
                    <a:pt x="1918006" y="2550198"/>
                  </a:lnTo>
                  <a:lnTo>
                    <a:pt x="1899791" y="2550198"/>
                  </a:lnTo>
                  <a:lnTo>
                    <a:pt x="1899791" y="2548377"/>
                  </a:lnTo>
                  <a:lnTo>
                    <a:pt x="1908899" y="2542912"/>
                  </a:lnTo>
                  <a:lnTo>
                    <a:pt x="1908899" y="2539269"/>
                  </a:lnTo>
                  <a:lnTo>
                    <a:pt x="1887041" y="2548377"/>
                  </a:lnTo>
                  <a:lnTo>
                    <a:pt x="1832397" y="2548377"/>
                  </a:lnTo>
                  <a:lnTo>
                    <a:pt x="1825111" y="2542912"/>
                  </a:lnTo>
                  <a:lnTo>
                    <a:pt x="1825111" y="2533805"/>
                  </a:lnTo>
                  <a:lnTo>
                    <a:pt x="1843326" y="2519233"/>
                  </a:lnTo>
                  <a:lnTo>
                    <a:pt x="1830576" y="2515590"/>
                  </a:lnTo>
                  <a:lnTo>
                    <a:pt x="1826933" y="2513769"/>
                  </a:lnTo>
                  <a:lnTo>
                    <a:pt x="1839683" y="2508304"/>
                  </a:lnTo>
                  <a:lnTo>
                    <a:pt x="1845147" y="2491911"/>
                  </a:lnTo>
                  <a:lnTo>
                    <a:pt x="1854255" y="2491911"/>
                  </a:lnTo>
                  <a:lnTo>
                    <a:pt x="1850612" y="2480982"/>
                  </a:lnTo>
                  <a:lnTo>
                    <a:pt x="1859719" y="2475518"/>
                  </a:lnTo>
                  <a:lnTo>
                    <a:pt x="1865183" y="2453660"/>
                  </a:lnTo>
                  <a:lnTo>
                    <a:pt x="1870648" y="2450017"/>
                  </a:lnTo>
                  <a:lnTo>
                    <a:pt x="1867005" y="2450017"/>
                  </a:lnTo>
                  <a:lnTo>
                    <a:pt x="1867005" y="2448196"/>
                  </a:lnTo>
                  <a:lnTo>
                    <a:pt x="1872469" y="2437267"/>
                  </a:lnTo>
                  <a:lnTo>
                    <a:pt x="1870648" y="2431803"/>
                  </a:lnTo>
                  <a:lnTo>
                    <a:pt x="1888863" y="2408123"/>
                  </a:lnTo>
                  <a:lnTo>
                    <a:pt x="1899791" y="2402659"/>
                  </a:lnTo>
                  <a:lnTo>
                    <a:pt x="1905256" y="2402659"/>
                  </a:lnTo>
                  <a:close/>
                  <a:moveTo>
                    <a:pt x="1284136" y="2340729"/>
                  </a:moveTo>
                  <a:lnTo>
                    <a:pt x="1307815" y="2340729"/>
                  </a:lnTo>
                  <a:lnTo>
                    <a:pt x="1316922" y="2357123"/>
                  </a:lnTo>
                  <a:lnTo>
                    <a:pt x="1316922" y="2358944"/>
                  </a:lnTo>
                  <a:lnTo>
                    <a:pt x="1313279" y="2358944"/>
                  </a:lnTo>
                  <a:lnTo>
                    <a:pt x="1282314" y="2346194"/>
                  </a:lnTo>
                  <a:close/>
                  <a:moveTo>
                    <a:pt x="1621107" y="2012865"/>
                  </a:moveTo>
                  <a:lnTo>
                    <a:pt x="1624750" y="2012865"/>
                  </a:lnTo>
                  <a:lnTo>
                    <a:pt x="1624750" y="2021973"/>
                  </a:lnTo>
                  <a:lnTo>
                    <a:pt x="1613821" y="2029259"/>
                  </a:lnTo>
                  <a:lnTo>
                    <a:pt x="1610178" y="2029259"/>
                  </a:lnTo>
                  <a:lnTo>
                    <a:pt x="1610178" y="2018330"/>
                  </a:lnTo>
                  <a:close/>
                  <a:moveTo>
                    <a:pt x="466296" y="1983721"/>
                  </a:moveTo>
                  <a:lnTo>
                    <a:pt x="473582" y="1994650"/>
                  </a:lnTo>
                  <a:lnTo>
                    <a:pt x="471760" y="1994650"/>
                  </a:lnTo>
                  <a:lnTo>
                    <a:pt x="460831" y="1991007"/>
                  </a:lnTo>
                  <a:lnTo>
                    <a:pt x="460831" y="1989186"/>
                  </a:lnTo>
                  <a:close/>
                  <a:moveTo>
                    <a:pt x="1688501" y="1960043"/>
                  </a:moveTo>
                  <a:lnTo>
                    <a:pt x="1697608" y="1965508"/>
                  </a:lnTo>
                  <a:lnTo>
                    <a:pt x="1697608" y="1976437"/>
                  </a:lnTo>
                  <a:lnTo>
                    <a:pt x="1693965" y="1976437"/>
                  </a:lnTo>
                  <a:lnTo>
                    <a:pt x="1679393" y="1967329"/>
                  </a:lnTo>
                  <a:lnTo>
                    <a:pt x="1675750" y="1967329"/>
                  </a:lnTo>
                  <a:lnTo>
                    <a:pt x="1675750" y="1965508"/>
                  </a:lnTo>
                  <a:lnTo>
                    <a:pt x="1679393" y="1965508"/>
                  </a:lnTo>
                  <a:close/>
                  <a:moveTo>
                    <a:pt x="568299" y="1945470"/>
                  </a:moveTo>
                  <a:lnTo>
                    <a:pt x="566478" y="1956399"/>
                  </a:lnTo>
                  <a:lnTo>
                    <a:pt x="557370" y="1960042"/>
                  </a:lnTo>
                  <a:lnTo>
                    <a:pt x="546441" y="1954578"/>
                  </a:lnTo>
                  <a:lnTo>
                    <a:pt x="544619" y="1954578"/>
                  </a:lnTo>
                  <a:lnTo>
                    <a:pt x="544619" y="1950935"/>
                  </a:lnTo>
                  <a:lnTo>
                    <a:pt x="546441" y="1950935"/>
                  </a:lnTo>
                  <a:close/>
                  <a:moveTo>
                    <a:pt x="1329673" y="1923613"/>
                  </a:moveTo>
                  <a:lnTo>
                    <a:pt x="1349709" y="1929078"/>
                  </a:lnTo>
                  <a:lnTo>
                    <a:pt x="1335137" y="1967328"/>
                  </a:lnTo>
                  <a:lnTo>
                    <a:pt x="1324208" y="1956399"/>
                  </a:lnTo>
                  <a:lnTo>
                    <a:pt x="1324208" y="1932720"/>
                  </a:lnTo>
                  <a:close/>
                  <a:moveTo>
                    <a:pt x="590156" y="1910863"/>
                  </a:moveTo>
                  <a:lnTo>
                    <a:pt x="595620" y="1910863"/>
                  </a:lnTo>
                  <a:lnTo>
                    <a:pt x="599263" y="1912685"/>
                  </a:lnTo>
                  <a:lnTo>
                    <a:pt x="604728" y="1912685"/>
                  </a:lnTo>
                  <a:lnTo>
                    <a:pt x="604728" y="1916328"/>
                  </a:lnTo>
                  <a:lnTo>
                    <a:pt x="579227" y="1923614"/>
                  </a:lnTo>
                  <a:lnTo>
                    <a:pt x="577405" y="1921793"/>
                  </a:lnTo>
                  <a:lnTo>
                    <a:pt x="579227" y="1921793"/>
                  </a:lnTo>
                  <a:close/>
                  <a:moveTo>
                    <a:pt x="1271385" y="1898113"/>
                  </a:moveTo>
                  <a:lnTo>
                    <a:pt x="1287778" y="1898113"/>
                  </a:lnTo>
                  <a:lnTo>
                    <a:pt x="1287778" y="1899935"/>
                  </a:lnTo>
                  <a:lnTo>
                    <a:pt x="1282314" y="1910863"/>
                  </a:lnTo>
                  <a:lnTo>
                    <a:pt x="1256813" y="1934543"/>
                  </a:lnTo>
                  <a:lnTo>
                    <a:pt x="1240420" y="1940007"/>
                  </a:lnTo>
                  <a:lnTo>
                    <a:pt x="1240420" y="1938186"/>
                  </a:lnTo>
                  <a:lnTo>
                    <a:pt x="1254992" y="1907221"/>
                  </a:lnTo>
                  <a:close/>
                  <a:moveTo>
                    <a:pt x="1367923" y="1870790"/>
                  </a:moveTo>
                  <a:lnTo>
                    <a:pt x="1386139" y="1870790"/>
                  </a:lnTo>
                  <a:lnTo>
                    <a:pt x="1391603" y="1881719"/>
                  </a:lnTo>
                  <a:lnTo>
                    <a:pt x="1391603" y="1883541"/>
                  </a:lnTo>
                  <a:lnTo>
                    <a:pt x="1384317" y="1889005"/>
                  </a:lnTo>
                  <a:lnTo>
                    <a:pt x="1380674" y="1889005"/>
                  </a:lnTo>
                  <a:lnTo>
                    <a:pt x="1367923" y="1872612"/>
                  </a:lnTo>
                  <a:close/>
                  <a:moveTo>
                    <a:pt x="1205812" y="1736002"/>
                  </a:moveTo>
                  <a:lnTo>
                    <a:pt x="1209455" y="1736002"/>
                  </a:lnTo>
                  <a:lnTo>
                    <a:pt x="1209455" y="1737824"/>
                  </a:lnTo>
                  <a:lnTo>
                    <a:pt x="1214919" y="1748752"/>
                  </a:lnTo>
                  <a:lnTo>
                    <a:pt x="1214919" y="1765146"/>
                  </a:lnTo>
                  <a:lnTo>
                    <a:pt x="1225848" y="1756038"/>
                  </a:lnTo>
                  <a:lnTo>
                    <a:pt x="1227670" y="1756038"/>
                  </a:lnTo>
                  <a:lnTo>
                    <a:pt x="1234956" y="1765146"/>
                  </a:lnTo>
                  <a:lnTo>
                    <a:pt x="1234956" y="1772432"/>
                  </a:lnTo>
                  <a:lnTo>
                    <a:pt x="1284135" y="1803397"/>
                  </a:lnTo>
                  <a:lnTo>
                    <a:pt x="1287778" y="1803397"/>
                  </a:lnTo>
                  <a:lnTo>
                    <a:pt x="1293243" y="1832540"/>
                  </a:lnTo>
                  <a:lnTo>
                    <a:pt x="1311457" y="1832540"/>
                  </a:lnTo>
                  <a:lnTo>
                    <a:pt x="1329672" y="1850755"/>
                  </a:lnTo>
                  <a:lnTo>
                    <a:pt x="1329672" y="1854398"/>
                  </a:lnTo>
                  <a:lnTo>
                    <a:pt x="1305993" y="1870791"/>
                  </a:lnTo>
                  <a:lnTo>
                    <a:pt x="1273206" y="1859862"/>
                  </a:lnTo>
                  <a:lnTo>
                    <a:pt x="1273206" y="1843469"/>
                  </a:lnTo>
                  <a:lnTo>
                    <a:pt x="1256813" y="1839826"/>
                  </a:lnTo>
                  <a:lnTo>
                    <a:pt x="1260456" y="1832540"/>
                  </a:lnTo>
                  <a:lnTo>
                    <a:pt x="1245884" y="1834362"/>
                  </a:lnTo>
                  <a:lnTo>
                    <a:pt x="1245884" y="1854398"/>
                  </a:lnTo>
                  <a:lnTo>
                    <a:pt x="1209455" y="1887184"/>
                  </a:lnTo>
                  <a:lnTo>
                    <a:pt x="1205812" y="1887184"/>
                  </a:lnTo>
                  <a:lnTo>
                    <a:pt x="1198526" y="1878077"/>
                  </a:lnTo>
                  <a:lnTo>
                    <a:pt x="1194883" y="1854398"/>
                  </a:lnTo>
                  <a:lnTo>
                    <a:pt x="1194883" y="1856219"/>
                  </a:lnTo>
                  <a:lnTo>
                    <a:pt x="1165740" y="1865326"/>
                  </a:lnTo>
                  <a:lnTo>
                    <a:pt x="1162097" y="1865326"/>
                  </a:lnTo>
                  <a:lnTo>
                    <a:pt x="1160275" y="1856219"/>
                  </a:lnTo>
                  <a:lnTo>
                    <a:pt x="1165740" y="1843469"/>
                  </a:lnTo>
                  <a:lnTo>
                    <a:pt x="1182133" y="1828897"/>
                  </a:lnTo>
                  <a:lnTo>
                    <a:pt x="1178490" y="1808861"/>
                  </a:lnTo>
                  <a:lnTo>
                    <a:pt x="1183954" y="1759681"/>
                  </a:lnTo>
                  <a:lnTo>
                    <a:pt x="1193062" y="1741467"/>
                  </a:lnTo>
                  <a:lnTo>
                    <a:pt x="1194883" y="1741467"/>
                  </a:lnTo>
                  <a:close/>
                  <a:moveTo>
                    <a:pt x="1225849" y="1719609"/>
                  </a:moveTo>
                  <a:lnTo>
                    <a:pt x="1227671" y="1719609"/>
                  </a:lnTo>
                  <a:lnTo>
                    <a:pt x="1240421" y="1730538"/>
                  </a:lnTo>
                  <a:lnTo>
                    <a:pt x="1254992" y="1748754"/>
                  </a:lnTo>
                  <a:lnTo>
                    <a:pt x="1254992" y="1750575"/>
                  </a:lnTo>
                  <a:lnTo>
                    <a:pt x="1251349" y="1750575"/>
                  </a:lnTo>
                  <a:lnTo>
                    <a:pt x="1234956" y="1741467"/>
                  </a:lnTo>
                  <a:lnTo>
                    <a:pt x="1225849" y="1721431"/>
                  </a:lnTo>
                  <a:close/>
                  <a:moveTo>
                    <a:pt x="1464463" y="1597570"/>
                  </a:moveTo>
                  <a:lnTo>
                    <a:pt x="1468106" y="1597570"/>
                  </a:lnTo>
                  <a:lnTo>
                    <a:pt x="1486321" y="1615786"/>
                  </a:lnTo>
                  <a:lnTo>
                    <a:pt x="1486321" y="1619429"/>
                  </a:lnTo>
                  <a:lnTo>
                    <a:pt x="1475392" y="1619429"/>
                  </a:lnTo>
                  <a:lnTo>
                    <a:pt x="1469927" y="1621250"/>
                  </a:lnTo>
                  <a:lnTo>
                    <a:pt x="1462641" y="1621250"/>
                  </a:lnTo>
                  <a:lnTo>
                    <a:pt x="1455355" y="1604856"/>
                  </a:lnTo>
                  <a:close/>
                  <a:moveTo>
                    <a:pt x="1173026" y="1586641"/>
                  </a:moveTo>
                  <a:lnTo>
                    <a:pt x="1176669" y="1588463"/>
                  </a:lnTo>
                  <a:lnTo>
                    <a:pt x="1176669" y="1621249"/>
                  </a:lnTo>
                  <a:lnTo>
                    <a:pt x="1165740" y="1613963"/>
                  </a:lnTo>
                  <a:lnTo>
                    <a:pt x="1165740" y="1588463"/>
                  </a:lnTo>
                  <a:close/>
                  <a:moveTo>
                    <a:pt x="1418924" y="1584820"/>
                  </a:moveTo>
                  <a:lnTo>
                    <a:pt x="1418924" y="1586642"/>
                  </a:lnTo>
                  <a:lnTo>
                    <a:pt x="1444425" y="1592106"/>
                  </a:lnTo>
                  <a:lnTo>
                    <a:pt x="1446246" y="1592106"/>
                  </a:lnTo>
                  <a:lnTo>
                    <a:pt x="1449889" y="1604856"/>
                  </a:lnTo>
                  <a:lnTo>
                    <a:pt x="1449889" y="1635821"/>
                  </a:lnTo>
                  <a:lnTo>
                    <a:pt x="1435317" y="1652215"/>
                  </a:lnTo>
                  <a:lnTo>
                    <a:pt x="1435317" y="1654036"/>
                  </a:lnTo>
                  <a:lnTo>
                    <a:pt x="1402531" y="1654036"/>
                  </a:lnTo>
                  <a:lnTo>
                    <a:pt x="1402531" y="1652215"/>
                  </a:lnTo>
                  <a:lnTo>
                    <a:pt x="1395245" y="1635821"/>
                  </a:lnTo>
                  <a:lnTo>
                    <a:pt x="1397067" y="1615785"/>
                  </a:lnTo>
                  <a:lnTo>
                    <a:pt x="1417103" y="1586642"/>
                  </a:lnTo>
                  <a:close/>
                  <a:moveTo>
                    <a:pt x="1360639" y="1524710"/>
                  </a:moveTo>
                  <a:lnTo>
                    <a:pt x="1362461" y="1524710"/>
                  </a:lnTo>
                  <a:lnTo>
                    <a:pt x="1367925" y="1530175"/>
                  </a:lnTo>
                  <a:lnTo>
                    <a:pt x="1367925" y="1531996"/>
                  </a:lnTo>
                  <a:lnTo>
                    <a:pt x="1360639" y="1542925"/>
                  </a:lnTo>
                  <a:lnTo>
                    <a:pt x="1346067" y="1552033"/>
                  </a:lnTo>
                  <a:lnTo>
                    <a:pt x="1346067" y="1548390"/>
                  </a:lnTo>
                  <a:close/>
                  <a:moveTo>
                    <a:pt x="0" y="1521068"/>
                  </a:moveTo>
                  <a:lnTo>
                    <a:pt x="1821" y="1521068"/>
                  </a:lnTo>
                  <a:lnTo>
                    <a:pt x="25501" y="1542926"/>
                  </a:lnTo>
                  <a:lnTo>
                    <a:pt x="23679" y="1542926"/>
                  </a:lnTo>
                  <a:lnTo>
                    <a:pt x="7286" y="1541105"/>
                  </a:lnTo>
                  <a:lnTo>
                    <a:pt x="5464" y="1541105"/>
                  </a:lnTo>
                  <a:lnTo>
                    <a:pt x="5464" y="1537462"/>
                  </a:lnTo>
                  <a:lnTo>
                    <a:pt x="0" y="1524711"/>
                  </a:lnTo>
                  <a:close/>
                  <a:moveTo>
                    <a:pt x="1318743" y="1486461"/>
                  </a:moveTo>
                  <a:lnTo>
                    <a:pt x="1327851" y="1486461"/>
                  </a:lnTo>
                  <a:lnTo>
                    <a:pt x="1346066" y="1490104"/>
                  </a:lnTo>
                  <a:lnTo>
                    <a:pt x="1346066" y="1491926"/>
                  </a:lnTo>
                  <a:lnTo>
                    <a:pt x="1333315" y="1501033"/>
                  </a:lnTo>
                  <a:lnTo>
                    <a:pt x="1333315" y="1511962"/>
                  </a:lnTo>
                  <a:lnTo>
                    <a:pt x="1329672" y="1511962"/>
                  </a:lnTo>
                  <a:lnTo>
                    <a:pt x="1318743" y="1490104"/>
                  </a:lnTo>
                  <a:close/>
                  <a:moveTo>
                    <a:pt x="34609" y="1486461"/>
                  </a:moveTo>
                  <a:lnTo>
                    <a:pt x="36430" y="1486461"/>
                  </a:lnTo>
                  <a:lnTo>
                    <a:pt x="36430" y="1490104"/>
                  </a:lnTo>
                  <a:lnTo>
                    <a:pt x="41895" y="1501033"/>
                  </a:lnTo>
                  <a:lnTo>
                    <a:pt x="51002" y="1501033"/>
                  </a:lnTo>
                  <a:lnTo>
                    <a:pt x="51002" y="1502854"/>
                  </a:lnTo>
                  <a:lnTo>
                    <a:pt x="30966" y="1535641"/>
                  </a:lnTo>
                  <a:lnTo>
                    <a:pt x="30966" y="1537462"/>
                  </a:lnTo>
                  <a:lnTo>
                    <a:pt x="29144" y="1537462"/>
                  </a:lnTo>
                  <a:lnTo>
                    <a:pt x="23680" y="1535641"/>
                  </a:lnTo>
                  <a:lnTo>
                    <a:pt x="23680" y="1531998"/>
                  </a:lnTo>
                  <a:lnTo>
                    <a:pt x="29144" y="1526533"/>
                  </a:lnTo>
                  <a:lnTo>
                    <a:pt x="20037" y="1526533"/>
                  </a:lnTo>
                  <a:lnTo>
                    <a:pt x="12751" y="1511962"/>
                  </a:lnTo>
                  <a:lnTo>
                    <a:pt x="12751" y="1508319"/>
                  </a:lnTo>
                  <a:lnTo>
                    <a:pt x="14572" y="1508319"/>
                  </a:lnTo>
                  <a:lnTo>
                    <a:pt x="23680" y="1511962"/>
                  </a:lnTo>
                  <a:lnTo>
                    <a:pt x="34609" y="1508319"/>
                  </a:lnTo>
                  <a:lnTo>
                    <a:pt x="30966" y="1502854"/>
                  </a:lnTo>
                  <a:lnTo>
                    <a:pt x="34609" y="1490104"/>
                  </a:lnTo>
                  <a:close/>
                  <a:moveTo>
                    <a:pt x="903448" y="1479175"/>
                  </a:moveTo>
                  <a:lnTo>
                    <a:pt x="907091" y="1479175"/>
                  </a:lnTo>
                  <a:lnTo>
                    <a:pt x="930770" y="1502854"/>
                  </a:lnTo>
                  <a:lnTo>
                    <a:pt x="965378" y="1553855"/>
                  </a:lnTo>
                  <a:lnTo>
                    <a:pt x="970842" y="1552034"/>
                  </a:lnTo>
                  <a:lnTo>
                    <a:pt x="947163" y="1575713"/>
                  </a:lnTo>
                  <a:lnTo>
                    <a:pt x="943520" y="1575713"/>
                  </a:lnTo>
                  <a:lnTo>
                    <a:pt x="868840" y="1548391"/>
                  </a:lnTo>
                  <a:lnTo>
                    <a:pt x="868840" y="1535641"/>
                  </a:lnTo>
                  <a:lnTo>
                    <a:pt x="892519" y="1519248"/>
                  </a:lnTo>
                  <a:lnTo>
                    <a:pt x="890698" y="1508319"/>
                  </a:lnTo>
                  <a:lnTo>
                    <a:pt x="890698" y="1506497"/>
                  </a:lnTo>
                  <a:lnTo>
                    <a:pt x="897983" y="1506497"/>
                  </a:lnTo>
                  <a:lnTo>
                    <a:pt x="896162" y="1502854"/>
                  </a:lnTo>
                  <a:lnTo>
                    <a:pt x="896162" y="1501033"/>
                  </a:lnTo>
                  <a:close/>
                  <a:moveTo>
                    <a:pt x="932592" y="1235099"/>
                  </a:moveTo>
                  <a:lnTo>
                    <a:pt x="938057" y="1249671"/>
                  </a:lnTo>
                  <a:lnTo>
                    <a:pt x="938057" y="1251493"/>
                  </a:lnTo>
                  <a:lnTo>
                    <a:pt x="936236" y="1251493"/>
                  </a:lnTo>
                  <a:lnTo>
                    <a:pt x="927128" y="1260600"/>
                  </a:lnTo>
                  <a:lnTo>
                    <a:pt x="921663" y="1240564"/>
                  </a:lnTo>
                  <a:close/>
                  <a:moveTo>
                    <a:pt x="506367" y="1216884"/>
                  </a:moveTo>
                  <a:lnTo>
                    <a:pt x="517296" y="1224170"/>
                  </a:lnTo>
                  <a:lnTo>
                    <a:pt x="520939" y="1224170"/>
                  </a:lnTo>
                  <a:lnTo>
                    <a:pt x="522761" y="1249671"/>
                  </a:lnTo>
                  <a:lnTo>
                    <a:pt x="511832" y="1280636"/>
                  </a:lnTo>
                  <a:lnTo>
                    <a:pt x="531868" y="1273350"/>
                  </a:lnTo>
                  <a:lnTo>
                    <a:pt x="531868" y="1255135"/>
                  </a:lnTo>
                  <a:lnTo>
                    <a:pt x="533689" y="1255135"/>
                  </a:lnTo>
                  <a:lnTo>
                    <a:pt x="544618" y="1246028"/>
                  </a:lnTo>
                  <a:lnTo>
                    <a:pt x="546440" y="1246028"/>
                  </a:lnTo>
                  <a:lnTo>
                    <a:pt x="588333" y="1273350"/>
                  </a:lnTo>
                  <a:lnTo>
                    <a:pt x="590155" y="1273350"/>
                  </a:lnTo>
                  <a:lnTo>
                    <a:pt x="588333" y="1276993"/>
                  </a:lnTo>
                  <a:lnTo>
                    <a:pt x="573762" y="1300672"/>
                  </a:lnTo>
                  <a:lnTo>
                    <a:pt x="617477" y="1280636"/>
                  </a:lnTo>
                  <a:lnTo>
                    <a:pt x="612012" y="1273350"/>
                  </a:lnTo>
                  <a:lnTo>
                    <a:pt x="615655" y="1271528"/>
                  </a:lnTo>
                  <a:lnTo>
                    <a:pt x="619298" y="1271528"/>
                  </a:lnTo>
                  <a:lnTo>
                    <a:pt x="604727" y="1249671"/>
                  </a:lnTo>
                  <a:lnTo>
                    <a:pt x="604727" y="1246028"/>
                  </a:lnTo>
                  <a:lnTo>
                    <a:pt x="606548" y="1246028"/>
                  </a:lnTo>
                  <a:lnTo>
                    <a:pt x="628406" y="1255135"/>
                  </a:lnTo>
                  <a:lnTo>
                    <a:pt x="652085" y="1284279"/>
                  </a:lnTo>
                  <a:lnTo>
                    <a:pt x="655728" y="1324351"/>
                  </a:lnTo>
                  <a:lnTo>
                    <a:pt x="661192" y="1329815"/>
                  </a:lnTo>
                  <a:lnTo>
                    <a:pt x="657549" y="1346209"/>
                  </a:lnTo>
                  <a:lnTo>
                    <a:pt x="663014" y="1351673"/>
                  </a:lnTo>
                  <a:lnTo>
                    <a:pt x="677585" y="1333458"/>
                  </a:lnTo>
                  <a:lnTo>
                    <a:pt x="668478" y="1307958"/>
                  </a:lnTo>
                  <a:lnTo>
                    <a:pt x="657549" y="1235099"/>
                  </a:lnTo>
                  <a:lnTo>
                    <a:pt x="661192" y="1235099"/>
                  </a:lnTo>
                  <a:lnTo>
                    <a:pt x="666657" y="1229634"/>
                  </a:lnTo>
                  <a:lnTo>
                    <a:pt x="663014" y="1222348"/>
                  </a:lnTo>
                  <a:lnTo>
                    <a:pt x="690336" y="1233277"/>
                  </a:lnTo>
                  <a:lnTo>
                    <a:pt x="690336" y="1224170"/>
                  </a:lnTo>
                  <a:lnTo>
                    <a:pt x="697622" y="1224170"/>
                  </a:lnTo>
                  <a:lnTo>
                    <a:pt x="728586" y="1262421"/>
                  </a:lnTo>
                  <a:lnTo>
                    <a:pt x="728586" y="1271528"/>
                  </a:lnTo>
                  <a:lnTo>
                    <a:pt x="734051" y="1278814"/>
                  </a:lnTo>
                  <a:lnTo>
                    <a:pt x="739515" y="1324351"/>
                  </a:lnTo>
                  <a:lnTo>
                    <a:pt x="752266" y="1357137"/>
                  </a:lnTo>
                  <a:lnTo>
                    <a:pt x="750444" y="1395388"/>
                  </a:lnTo>
                  <a:lnTo>
                    <a:pt x="775945" y="1428175"/>
                  </a:lnTo>
                  <a:lnTo>
                    <a:pt x="792338" y="1428175"/>
                  </a:lnTo>
                  <a:lnTo>
                    <a:pt x="823303" y="1459140"/>
                  </a:lnTo>
                  <a:lnTo>
                    <a:pt x="836053" y="1459140"/>
                  </a:lnTo>
                  <a:lnTo>
                    <a:pt x="839696" y="1470069"/>
                  </a:lnTo>
                  <a:lnTo>
                    <a:pt x="836053" y="1495569"/>
                  </a:lnTo>
                  <a:lnTo>
                    <a:pt x="834232" y="1497391"/>
                  </a:lnTo>
                  <a:lnTo>
                    <a:pt x="828767" y="1497391"/>
                  </a:lnTo>
                  <a:lnTo>
                    <a:pt x="825124" y="1495569"/>
                  </a:lnTo>
                  <a:lnTo>
                    <a:pt x="823303" y="1484641"/>
                  </a:lnTo>
                  <a:lnTo>
                    <a:pt x="819660" y="1495569"/>
                  </a:lnTo>
                  <a:lnTo>
                    <a:pt x="819660" y="1497391"/>
                  </a:lnTo>
                  <a:lnTo>
                    <a:pt x="812374" y="1495569"/>
                  </a:lnTo>
                  <a:lnTo>
                    <a:pt x="812374" y="1491926"/>
                  </a:lnTo>
                  <a:lnTo>
                    <a:pt x="806910" y="1480998"/>
                  </a:lnTo>
                  <a:lnTo>
                    <a:pt x="795981" y="1490105"/>
                  </a:lnTo>
                  <a:lnTo>
                    <a:pt x="797802" y="1502855"/>
                  </a:lnTo>
                  <a:lnTo>
                    <a:pt x="797802" y="1506498"/>
                  </a:lnTo>
                  <a:lnTo>
                    <a:pt x="792338" y="1506498"/>
                  </a:lnTo>
                  <a:lnTo>
                    <a:pt x="790516" y="1502855"/>
                  </a:lnTo>
                  <a:lnTo>
                    <a:pt x="785052" y="1502855"/>
                  </a:lnTo>
                  <a:lnTo>
                    <a:pt x="785052" y="1521070"/>
                  </a:lnTo>
                  <a:lnTo>
                    <a:pt x="806910" y="1506498"/>
                  </a:lnTo>
                  <a:lnTo>
                    <a:pt x="808731" y="1506498"/>
                  </a:lnTo>
                  <a:lnTo>
                    <a:pt x="812374" y="1508320"/>
                  </a:lnTo>
                  <a:lnTo>
                    <a:pt x="812374" y="1511963"/>
                  </a:lnTo>
                  <a:lnTo>
                    <a:pt x="806910" y="1524713"/>
                  </a:lnTo>
                  <a:lnTo>
                    <a:pt x="819660" y="1530177"/>
                  </a:lnTo>
                  <a:lnTo>
                    <a:pt x="823303" y="1530177"/>
                  </a:lnTo>
                  <a:lnTo>
                    <a:pt x="823303" y="1531999"/>
                  </a:lnTo>
                  <a:lnTo>
                    <a:pt x="786873" y="1557499"/>
                  </a:lnTo>
                  <a:lnTo>
                    <a:pt x="781409" y="1557499"/>
                  </a:lnTo>
                  <a:lnTo>
                    <a:pt x="768659" y="1553856"/>
                  </a:lnTo>
                  <a:lnTo>
                    <a:pt x="752266" y="1548392"/>
                  </a:lnTo>
                  <a:lnTo>
                    <a:pt x="739515" y="1546571"/>
                  </a:lnTo>
                  <a:lnTo>
                    <a:pt x="730408" y="1546571"/>
                  </a:lnTo>
                  <a:lnTo>
                    <a:pt x="730408" y="1542928"/>
                  </a:lnTo>
                  <a:lnTo>
                    <a:pt x="735872" y="1535642"/>
                  </a:lnTo>
                  <a:lnTo>
                    <a:pt x="706729" y="1526534"/>
                  </a:lnTo>
                  <a:lnTo>
                    <a:pt x="703086" y="1526534"/>
                  </a:lnTo>
                  <a:lnTo>
                    <a:pt x="703086" y="1513784"/>
                  </a:lnTo>
                  <a:lnTo>
                    <a:pt x="701264" y="1508320"/>
                  </a:lnTo>
                  <a:lnTo>
                    <a:pt x="683050" y="1541106"/>
                  </a:lnTo>
                  <a:lnTo>
                    <a:pt x="652085" y="1542928"/>
                  </a:lnTo>
                  <a:lnTo>
                    <a:pt x="630227" y="1564785"/>
                  </a:lnTo>
                  <a:lnTo>
                    <a:pt x="624763" y="1564785"/>
                  </a:lnTo>
                  <a:lnTo>
                    <a:pt x="606548" y="1568428"/>
                  </a:lnTo>
                  <a:lnTo>
                    <a:pt x="584690" y="1570250"/>
                  </a:lnTo>
                  <a:lnTo>
                    <a:pt x="546440" y="1575714"/>
                  </a:lnTo>
                  <a:lnTo>
                    <a:pt x="540975" y="1575714"/>
                  </a:lnTo>
                  <a:lnTo>
                    <a:pt x="540975" y="1573893"/>
                  </a:lnTo>
                  <a:lnTo>
                    <a:pt x="544618" y="1568428"/>
                  </a:lnTo>
                  <a:lnTo>
                    <a:pt x="533689" y="1559321"/>
                  </a:lnTo>
                  <a:lnTo>
                    <a:pt x="531868" y="1548392"/>
                  </a:lnTo>
                  <a:lnTo>
                    <a:pt x="531868" y="1537463"/>
                  </a:lnTo>
                  <a:lnTo>
                    <a:pt x="504546" y="1521070"/>
                  </a:lnTo>
                  <a:lnTo>
                    <a:pt x="460831" y="1511963"/>
                  </a:lnTo>
                  <a:lnTo>
                    <a:pt x="442616" y="1470069"/>
                  </a:lnTo>
                  <a:lnTo>
                    <a:pt x="515475" y="1448211"/>
                  </a:lnTo>
                  <a:lnTo>
                    <a:pt x="557368" y="1453675"/>
                  </a:lnTo>
                  <a:lnTo>
                    <a:pt x="566476" y="1442747"/>
                  </a:lnTo>
                  <a:lnTo>
                    <a:pt x="526403" y="1424532"/>
                  </a:lnTo>
                  <a:lnTo>
                    <a:pt x="489974" y="1437282"/>
                  </a:lnTo>
                  <a:lnTo>
                    <a:pt x="438973" y="1429996"/>
                  </a:lnTo>
                  <a:lnTo>
                    <a:pt x="437151" y="1429996"/>
                  </a:lnTo>
                  <a:lnTo>
                    <a:pt x="420758" y="1400853"/>
                  </a:lnTo>
                  <a:lnTo>
                    <a:pt x="420758" y="1397210"/>
                  </a:lnTo>
                  <a:lnTo>
                    <a:pt x="422580" y="1397210"/>
                  </a:lnTo>
                  <a:lnTo>
                    <a:pt x="477224" y="1375352"/>
                  </a:lnTo>
                  <a:lnTo>
                    <a:pt x="473581" y="1369888"/>
                  </a:lnTo>
                  <a:lnTo>
                    <a:pt x="479045" y="1364423"/>
                  </a:lnTo>
                  <a:lnTo>
                    <a:pt x="473581" y="1364423"/>
                  </a:lnTo>
                  <a:lnTo>
                    <a:pt x="460831" y="1368066"/>
                  </a:lnTo>
                  <a:lnTo>
                    <a:pt x="444437" y="1373531"/>
                  </a:lnTo>
                  <a:lnTo>
                    <a:pt x="431687" y="1375352"/>
                  </a:lnTo>
                  <a:lnTo>
                    <a:pt x="422580" y="1375352"/>
                  </a:lnTo>
                  <a:lnTo>
                    <a:pt x="420758" y="1369888"/>
                  </a:lnTo>
                  <a:lnTo>
                    <a:pt x="420758" y="1368066"/>
                  </a:lnTo>
                  <a:lnTo>
                    <a:pt x="422580" y="1368066"/>
                  </a:lnTo>
                  <a:lnTo>
                    <a:pt x="431687" y="1362602"/>
                  </a:lnTo>
                  <a:lnTo>
                    <a:pt x="431687" y="1355316"/>
                  </a:lnTo>
                  <a:lnTo>
                    <a:pt x="417115" y="1355316"/>
                  </a:lnTo>
                  <a:lnTo>
                    <a:pt x="411651" y="1357137"/>
                  </a:lnTo>
                  <a:lnTo>
                    <a:pt x="406187" y="1357137"/>
                  </a:lnTo>
                  <a:lnTo>
                    <a:pt x="406187" y="1355316"/>
                  </a:lnTo>
                  <a:lnTo>
                    <a:pt x="404365" y="1338923"/>
                  </a:lnTo>
                  <a:lnTo>
                    <a:pt x="426223" y="1307958"/>
                  </a:lnTo>
                  <a:lnTo>
                    <a:pt x="417115" y="1300672"/>
                  </a:lnTo>
                  <a:lnTo>
                    <a:pt x="417115" y="1297029"/>
                  </a:lnTo>
                  <a:lnTo>
                    <a:pt x="422580" y="1276993"/>
                  </a:lnTo>
                  <a:close/>
                  <a:moveTo>
                    <a:pt x="1311456" y="1198669"/>
                  </a:moveTo>
                  <a:lnTo>
                    <a:pt x="1356993" y="1198669"/>
                  </a:lnTo>
                  <a:lnTo>
                    <a:pt x="1395244" y="1207777"/>
                  </a:lnTo>
                  <a:lnTo>
                    <a:pt x="1397065" y="1207777"/>
                  </a:lnTo>
                  <a:lnTo>
                    <a:pt x="1424387" y="1256957"/>
                  </a:lnTo>
                  <a:lnTo>
                    <a:pt x="1428030" y="1256957"/>
                  </a:lnTo>
                  <a:lnTo>
                    <a:pt x="1428030" y="1260600"/>
                  </a:lnTo>
                  <a:lnTo>
                    <a:pt x="1418923" y="1260600"/>
                  </a:lnTo>
                  <a:lnTo>
                    <a:pt x="1402530" y="1262421"/>
                  </a:lnTo>
                  <a:lnTo>
                    <a:pt x="1384315" y="1266064"/>
                  </a:lnTo>
                  <a:lnTo>
                    <a:pt x="1367922" y="1271529"/>
                  </a:lnTo>
                  <a:lnTo>
                    <a:pt x="1351528" y="1273350"/>
                  </a:lnTo>
                  <a:lnTo>
                    <a:pt x="1346064" y="1273350"/>
                  </a:lnTo>
                  <a:lnTo>
                    <a:pt x="1329671" y="1262421"/>
                  </a:lnTo>
                  <a:lnTo>
                    <a:pt x="1329671" y="1260600"/>
                  </a:lnTo>
                  <a:lnTo>
                    <a:pt x="1324206" y="1235099"/>
                  </a:lnTo>
                  <a:lnTo>
                    <a:pt x="1307813" y="1222348"/>
                  </a:lnTo>
                  <a:close/>
                  <a:moveTo>
                    <a:pt x="701265" y="1187742"/>
                  </a:moveTo>
                  <a:lnTo>
                    <a:pt x="719480" y="1187742"/>
                  </a:lnTo>
                  <a:lnTo>
                    <a:pt x="724944" y="1189564"/>
                  </a:lnTo>
                  <a:lnTo>
                    <a:pt x="744981" y="1189564"/>
                  </a:lnTo>
                  <a:lnTo>
                    <a:pt x="750445" y="1200492"/>
                  </a:lnTo>
                  <a:lnTo>
                    <a:pt x="750445" y="1202314"/>
                  </a:lnTo>
                  <a:lnTo>
                    <a:pt x="739516" y="1240565"/>
                  </a:lnTo>
                  <a:lnTo>
                    <a:pt x="730409" y="1256958"/>
                  </a:lnTo>
                  <a:lnTo>
                    <a:pt x="728587" y="1256958"/>
                  </a:lnTo>
                  <a:lnTo>
                    <a:pt x="688515" y="1211421"/>
                  </a:lnTo>
                  <a:lnTo>
                    <a:pt x="688515" y="1207778"/>
                  </a:lnTo>
                  <a:close/>
                  <a:moveTo>
                    <a:pt x="1151166" y="1187739"/>
                  </a:moveTo>
                  <a:lnTo>
                    <a:pt x="1214917" y="1187739"/>
                  </a:lnTo>
                  <a:lnTo>
                    <a:pt x="1183952" y="1235097"/>
                  </a:lnTo>
                  <a:lnTo>
                    <a:pt x="1173023" y="1278813"/>
                  </a:lnTo>
                  <a:lnTo>
                    <a:pt x="1182131" y="1297027"/>
                  </a:lnTo>
                  <a:lnTo>
                    <a:pt x="1176666" y="1324349"/>
                  </a:lnTo>
                  <a:lnTo>
                    <a:pt x="1182131" y="1335278"/>
                  </a:lnTo>
                  <a:lnTo>
                    <a:pt x="1214917" y="1380815"/>
                  </a:lnTo>
                  <a:lnTo>
                    <a:pt x="1183952" y="1395387"/>
                  </a:lnTo>
                  <a:lnTo>
                    <a:pt x="1209453" y="1389922"/>
                  </a:lnTo>
                  <a:lnTo>
                    <a:pt x="1211274" y="1389922"/>
                  </a:lnTo>
                  <a:lnTo>
                    <a:pt x="1211274" y="1391744"/>
                  </a:lnTo>
                  <a:lnTo>
                    <a:pt x="1214917" y="1400851"/>
                  </a:lnTo>
                  <a:lnTo>
                    <a:pt x="1214917" y="1397208"/>
                  </a:lnTo>
                  <a:lnTo>
                    <a:pt x="1216738" y="1357136"/>
                  </a:lnTo>
                  <a:lnTo>
                    <a:pt x="1203988" y="1351671"/>
                  </a:lnTo>
                  <a:lnTo>
                    <a:pt x="1200345" y="1351671"/>
                  </a:lnTo>
                  <a:lnTo>
                    <a:pt x="1187595" y="1329814"/>
                  </a:lnTo>
                  <a:lnTo>
                    <a:pt x="1187595" y="1327992"/>
                  </a:lnTo>
                  <a:lnTo>
                    <a:pt x="1211274" y="1300670"/>
                  </a:lnTo>
                  <a:lnTo>
                    <a:pt x="1198524" y="1295206"/>
                  </a:lnTo>
                  <a:lnTo>
                    <a:pt x="1193059" y="1260598"/>
                  </a:lnTo>
                  <a:lnTo>
                    <a:pt x="1193059" y="1256955"/>
                  </a:lnTo>
                  <a:lnTo>
                    <a:pt x="1194881" y="1256955"/>
                  </a:lnTo>
                  <a:lnTo>
                    <a:pt x="1227667" y="1266062"/>
                  </a:lnTo>
                  <a:lnTo>
                    <a:pt x="1198524" y="1244205"/>
                  </a:lnTo>
                  <a:lnTo>
                    <a:pt x="1198524" y="1240562"/>
                  </a:lnTo>
                  <a:lnTo>
                    <a:pt x="1211274" y="1240562"/>
                  </a:lnTo>
                  <a:lnTo>
                    <a:pt x="1216738" y="1244205"/>
                  </a:lnTo>
                  <a:lnTo>
                    <a:pt x="1229489" y="1244205"/>
                  </a:lnTo>
                  <a:lnTo>
                    <a:pt x="1214917" y="1235097"/>
                  </a:lnTo>
                  <a:lnTo>
                    <a:pt x="1209453" y="1229633"/>
                  </a:lnTo>
                  <a:lnTo>
                    <a:pt x="1209453" y="1222347"/>
                  </a:lnTo>
                  <a:lnTo>
                    <a:pt x="1211274" y="1222347"/>
                  </a:lnTo>
                  <a:lnTo>
                    <a:pt x="1225846" y="1227811"/>
                  </a:lnTo>
                  <a:lnTo>
                    <a:pt x="1222203" y="1213240"/>
                  </a:lnTo>
                  <a:lnTo>
                    <a:pt x="1225846" y="1213240"/>
                  </a:lnTo>
                  <a:lnTo>
                    <a:pt x="1244061" y="1222347"/>
                  </a:lnTo>
                  <a:lnTo>
                    <a:pt x="1244061" y="1216882"/>
                  </a:lnTo>
                  <a:lnTo>
                    <a:pt x="1234953" y="1211418"/>
                  </a:lnTo>
                  <a:lnTo>
                    <a:pt x="1234953" y="1207775"/>
                  </a:lnTo>
                  <a:lnTo>
                    <a:pt x="1244061" y="1200489"/>
                  </a:lnTo>
                  <a:lnTo>
                    <a:pt x="1295062" y="1187739"/>
                  </a:lnTo>
                  <a:lnTo>
                    <a:pt x="1302348" y="1222347"/>
                  </a:lnTo>
                  <a:lnTo>
                    <a:pt x="1298705" y="1229633"/>
                  </a:lnTo>
                  <a:lnTo>
                    <a:pt x="1316919" y="1240562"/>
                  </a:lnTo>
                  <a:lnTo>
                    <a:pt x="1316919" y="1244205"/>
                  </a:lnTo>
                  <a:lnTo>
                    <a:pt x="1313276" y="1256955"/>
                  </a:lnTo>
                  <a:lnTo>
                    <a:pt x="1322384" y="1271527"/>
                  </a:lnTo>
                  <a:lnTo>
                    <a:pt x="1324205" y="1271527"/>
                  </a:lnTo>
                  <a:lnTo>
                    <a:pt x="1324205" y="1273348"/>
                  </a:lnTo>
                  <a:lnTo>
                    <a:pt x="1311455" y="1313421"/>
                  </a:lnTo>
                  <a:lnTo>
                    <a:pt x="1316919" y="1318885"/>
                  </a:lnTo>
                  <a:lnTo>
                    <a:pt x="1316919" y="1322528"/>
                  </a:lnTo>
                  <a:lnTo>
                    <a:pt x="1307812" y="1324349"/>
                  </a:lnTo>
                  <a:lnTo>
                    <a:pt x="1307812" y="1333457"/>
                  </a:lnTo>
                  <a:lnTo>
                    <a:pt x="1327848" y="1311599"/>
                  </a:lnTo>
                  <a:lnTo>
                    <a:pt x="1333313" y="1286098"/>
                  </a:lnTo>
                  <a:lnTo>
                    <a:pt x="1335134" y="1286098"/>
                  </a:lnTo>
                  <a:lnTo>
                    <a:pt x="1335134" y="1300670"/>
                  </a:lnTo>
                  <a:lnTo>
                    <a:pt x="1355170" y="1307956"/>
                  </a:lnTo>
                  <a:lnTo>
                    <a:pt x="1367920" y="1297027"/>
                  </a:lnTo>
                  <a:lnTo>
                    <a:pt x="1362456" y="1286098"/>
                  </a:lnTo>
                  <a:lnTo>
                    <a:pt x="1362456" y="1284277"/>
                  </a:lnTo>
                  <a:lnTo>
                    <a:pt x="1386135" y="1271527"/>
                  </a:lnTo>
                  <a:lnTo>
                    <a:pt x="1386135" y="1267884"/>
                  </a:lnTo>
                  <a:lnTo>
                    <a:pt x="1389778" y="1267884"/>
                  </a:lnTo>
                  <a:lnTo>
                    <a:pt x="1435315" y="1280634"/>
                  </a:lnTo>
                  <a:lnTo>
                    <a:pt x="1451708" y="1302492"/>
                  </a:lnTo>
                  <a:lnTo>
                    <a:pt x="1451708" y="1306135"/>
                  </a:lnTo>
                  <a:lnTo>
                    <a:pt x="1449887" y="1318885"/>
                  </a:lnTo>
                  <a:lnTo>
                    <a:pt x="1468101" y="1322528"/>
                  </a:lnTo>
                  <a:lnTo>
                    <a:pt x="1468101" y="1340743"/>
                  </a:lnTo>
                  <a:lnTo>
                    <a:pt x="1455351" y="1349850"/>
                  </a:lnTo>
                  <a:lnTo>
                    <a:pt x="1484495" y="1344386"/>
                  </a:lnTo>
                  <a:lnTo>
                    <a:pt x="1486316" y="1344386"/>
                  </a:lnTo>
                  <a:lnTo>
                    <a:pt x="1475387" y="1364422"/>
                  </a:lnTo>
                  <a:lnTo>
                    <a:pt x="1484495" y="1358957"/>
                  </a:lnTo>
                  <a:lnTo>
                    <a:pt x="1484495" y="1369886"/>
                  </a:lnTo>
                  <a:lnTo>
                    <a:pt x="1489959" y="1375351"/>
                  </a:lnTo>
                  <a:lnTo>
                    <a:pt x="1489959" y="1362600"/>
                  </a:lnTo>
                  <a:lnTo>
                    <a:pt x="1500888" y="1362600"/>
                  </a:lnTo>
                  <a:lnTo>
                    <a:pt x="1508174" y="1349850"/>
                  </a:lnTo>
                  <a:lnTo>
                    <a:pt x="1511817" y="1349850"/>
                  </a:lnTo>
                  <a:lnTo>
                    <a:pt x="1537317" y="1364422"/>
                  </a:lnTo>
                  <a:lnTo>
                    <a:pt x="1546424" y="1386279"/>
                  </a:lnTo>
                  <a:lnTo>
                    <a:pt x="1542782" y="1391744"/>
                  </a:lnTo>
                  <a:lnTo>
                    <a:pt x="1542782" y="1395387"/>
                  </a:lnTo>
                  <a:lnTo>
                    <a:pt x="1530031" y="1397208"/>
                  </a:lnTo>
                  <a:lnTo>
                    <a:pt x="1557353" y="1397208"/>
                  </a:lnTo>
                  <a:lnTo>
                    <a:pt x="1557353" y="1400851"/>
                  </a:lnTo>
                  <a:lnTo>
                    <a:pt x="1559175" y="1408137"/>
                  </a:lnTo>
                  <a:lnTo>
                    <a:pt x="1551889" y="1424530"/>
                  </a:lnTo>
                  <a:lnTo>
                    <a:pt x="1573747" y="1413601"/>
                  </a:lnTo>
                  <a:lnTo>
                    <a:pt x="1573747" y="1417244"/>
                  </a:lnTo>
                  <a:lnTo>
                    <a:pt x="1564639" y="1433638"/>
                  </a:lnTo>
                  <a:lnTo>
                    <a:pt x="1581032" y="1419066"/>
                  </a:lnTo>
                  <a:lnTo>
                    <a:pt x="1608354" y="1429995"/>
                  </a:lnTo>
                  <a:lnTo>
                    <a:pt x="1608354" y="1448209"/>
                  </a:lnTo>
                  <a:lnTo>
                    <a:pt x="1606533" y="1448209"/>
                  </a:lnTo>
                  <a:lnTo>
                    <a:pt x="1584675" y="1462781"/>
                  </a:lnTo>
                  <a:lnTo>
                    <a:pt x="1590140" y="1462781"/>
                  </a:lnTo>
                  <a:lnTo>
                    <a:pt x="1597426" y="1459138"/>
                  </a:lnTo>
                  <a:lnTo>
                    <a:pt x="1606533" y="1459138"/>
                  </a:lnTo>
                  <a:lnTo>
                    <a:pt x="1606533" y="1462781"/>
                  </a:lnTo>
                  <a:lnTo>
                    <a:pt x="1597426" y="1473710"/>
                  </a:lnTo>
                  <a:lnTo>
                    <a:pt x="1610176" y="1464603"/>
                  </a:lnTo>
                  <a:lnTo>
                    <a:pt x="1613819" y="1453674"/>
                  </a:lnTo>
                  <a:lnTo>
                    <a:pt x="1613819" y="1451852"/>
                  </a:lnTo>
                  <a:lnTo>
                    <a:pt x="1615640" y="1451852"/>
                  </a:lnTo>
                  <a:lnTo>
                    <a:pt x="1615640" y="1453674"/>
                  </a:lnTo>
                  <a:lnTo>
                    <a:pt x="1637498" y="1479174"/>
                  </a:lnTo>
                  <a:lnTo>
                    <a:pt x="1641141" y="1484639"/>
                  </a:lnTo>
                  <a:lnTo>
                    <a:pt x="1641141" y="1486460"/>
                  </a:lnTo>
                  <a:lnTo>
                    <a:pt x="1637498" y="1491925"/>
                  </a:lnTo>
                  <a:lnTo>
                    <a:pt x="1602890" y="1506496"/>
                  </a:lnTo>
                  <a:lnTo>
                    <a:pt x="1653891" y="1521068"/>
                  </a:lnTo>
                  <a:lnTo>
                    <a:pt x="1653891" y="1524711"/>
                  </a:lnTo>
                  <a:lnTo>
                    <a:pt x="1608354" y="1530176"/>
                  </a:lnTo>
                  <a:lnTo>
                    <a:pt x="1624748" y="1541104"/>
                  </a:lnTo>
                  <a:lnTo>
                    <a:pt x="1615640" y="1548390"/>
                  </a:lnTo>
                  <a:lnTo>
                    <a:pt x="1626569" y="1562962"/>
                  </a:lnTo>
                  <a:lnTo>
                    <a:pt x="1624748" y="1562962"/>
                  </a:lnTo>
                  <a:lnTo>
                    <a:pt x="1624748" y="1564783"/>
                  </a:lnTo>
                  <a:lnTo>
                    <a:pt x="1613819" y="1568426"/>
                  </a:lnTo>
                  <a:lnTo>
                    <a:pt x="1648427" y="1581177"/>
                  </a:lnTo>
                  <a:lnTo>
                    <a:pt x="1652070" y="1581177"/>
                  </a:lnTo>
                  <a:lnTo>
                    <a:pt x="1646605" y="1592106"/>
                  </a:lnTo>
                  <a:lnTo>
                    <a:pt x="1662999" y="1592106"/>
                  </a:lnTo>
                  <a:lnTo>
                    <a:pt x="1664820" y="1597570"/>
                  </a:lnTo>
                  <a:lnTo>
                    <a:pt x="1664820" y="1599391"/>
                  </a:lnTo>
                  <a:lnTo>
                    <a:pt x="1662999" y="1604856"/>
                  </a:lnTo>
                  <a:lnTo>
                    <a:pt x="1668463" y="1610320"/>
                  </a:lnTo>
                  <a:lnTo>
                    <a:pt x="1688499" y="1603034"/>
                  </a:lnTo>
                  <a:lnTo>
                    <a:pt x="1692142" y="1603034"/>
                  </a:lnTo>
                  <a:lnTo>
                    <a:pt x="1688499" y="1615785"/>
                  </a:lnTo>
                  <a:lnTo>
                    <a:pt x="1703071" y="1619428"/>
                  </a:lnTo>
                  <a:lnTo>
                    <a:pt x="1715821" y="1643107"/>
                  </a:lnTo>
                  <a:lnTo>
                    <a:pt x="1715821" y="1646750"/>
                  </a:lnTo>
                  <a:lnTo>
                    <a:pt x="1710357" y="1654036"/>
                  </a:lnTo>
                  <a:lnTo>
                    <a:pt x="1719464" y="1654036"/>
                  </a:lnTo>
                  <a:lnTo>
                    <a:pt x="1724929" y="1652214"/>
                  </a:lnTo>
                  <a:lnTo>
                    <a:pt x="1737679" y="1652214"/>
                  </a:lnTo>
                  <a:lnTo>
                    <a:pt x="1732214" y="1672250"/>
                  </a:lnTo>
                  <a:lnTo>
                    <a:pt x="1757715" y="1666786"/>
                  </a:lnTo>
                  <a:lnTo>
                    <a:pt x="1775930" y="1692286"/>
                  </a:lnTo>
                  <a:lnTo>
                    <a:pt x="1777751" y="1692286"/>
                  </a:lnTo>
                  <a:lnTo>
                    <a:pt x="1775930" y="1694108"/>
                  </a:lnTo>
                  <a:lnTo>
                    <a:pt x="1770465" y="1705037"/>
                  </a:lnTo>
                  <a:lnTo>
                    <a:pt x="1772287" y="1708680"/>
                  </a:lnTo>
                  <a:lnTo>
                    <a:pt x="1772287" y="1710501"/>
                  </a:lnTo>
                  <a:lnTo>
                    <a:pt x="1770465" y="1714144"/>
                  </a:lnTo>
                  <a:lnTo>
                    <a:pt x="1754072" y="1714144"/>
                  </a:lnTo>
                  <a:lnTo>
                    <a:pt x="1748608" y="1725073"/>
                  </a:lnTo>
                  <a:lnTo>
                    <a:pt x="1759536" y="1725073"/>
                  </a:lnTo>
                  <a:lnTo>
                    <a:pt x="1761358" y="1726894"/>
                  </a:lnTo>
                  <a:lnTo>
                    <a:pt x="1759536" y="1726894"/>
                  </a:lnTo>
                  <a:lnTo>
                    <a:pt x="1752251" y="1732359"/>
                  </a:lnTo>
                  <a:lnTo>
                    <a:pt x="1746786" y="1754216"/>
                  </a:lnTo>
                  <a:lnTo>
                    <a:pt x="1743143" y="1754216"/>
                  </a:lnTo>
                  <a:lnTo>
                    <a:pt x="1730393" y="1745109"/>
                  </a:lnTo>
                  <a:lnTo>
                    <a:pt x="1732214" y="1766967"/>
                  </a:lnTo>
                  <a:lnTo>
                    <a:pt x="1724929" y="1792467"/>
                  </a:lnTo>
                  <a:lnTo>
                    <a:pt x="1721286" y="1792467"/>
                  </a:lnTo>
                  <a:lnTo>
                    <a:pt x="1708535" y="1772431"/>
                  </a:lnTo>
                  <a:lnTo>
                    <a:pt x="1699428" y="1776074"/>
                  </a:lnTo>
                  <a:lnTo>
                    <a:pt x="1693964" y="1770610"/>
                  </a:lnTo>
                  <a:lnTo>
                    <a:pt x="1693964" y="1759681"/>
                  </a:lnTo>
                  <a:lnTo>
                    <a:pt x="1692142" y="1761502"/>
                  </a:lnTo>
                  <a:lnTo>
                    <a:pt x="1688499" y="1761502"/>
                  </a:lnTo>
                  <a:lnTo>
                    <a:pt x="1681213" y="1745109"/>
                  </a:lnTo>
                  <a:lnTo>
                    <a:pt x="1681213" y="1730537"/>
                  </a:lnTo>
                  <a:lnTo>
                    <a:pt x="1675749" y="1730537"/>
                  </a:lnTo>
                  <a:lnTo>
                    <a:pt x="1673927" y="1732359"/>
                  </a:lnTo>
                  <a:lnTo>
                    <a:pt x="1668463" y="1732359"/>
                  </a:lnTo>
                  <a:lnTo>
                    <a:pt x="1668463" y="1730537"/>
                  </a:lnTo>
                  <a:lnTo>
                    <a:pt x="1664820" y="1721430"/>
                  </a:lnTo>
                  <a:lnTo>
                    <a:pt x="1642962" y="1710501"/>
                  </a:lnTo>
                  <a:lnTo>
                    <a:pt x="1641141" y="1708680"/>
                  </a:lnTo>
                  <a:lnTo>
                    <a:pt x="1642962" y="1697751"/>
                  </a:lnTo>
                  <a:lnTo>
                    <a:pt x="1632034" y="1697751"/>
                  </a:lnTo>
                  <a:lnTo>
                    <a:pt x="1637498" y="1708680"/>
                  </a:lnTo>
                  <a:lnTo>
                    <a:pt x="1637498" y="1710501"/>
                  </a:lnTo>
                  <a:lnTo>
                    <a:pt x="1635677" y="1710501"/>
                  </a:lnTo>
                  <a:lnTo>
                    <a:pt x="1624748" y="1703215"/>
                  </a:lnTo>
                  <a:lnTo>
                    <a:pt x="1615640" y="1705037"/>
                  </a:lnTo>
                  <a:lnTo>
                    <a:pt x="1641141" y="1730537"/>
                  </a:lnTo>
                  <a:lnTo>
                    <a:pt x="1641141" y="1732359"/>
                  </a:lnTo>
                  <a:lnTo>
                    <a:pt x="1621105" y="1736002"/>
                  </a:lnTo>
                  <a:lnTo>
                    <a:pt x="1621105" y="1748752"/>
                  </a:lnTo>
                  <a:lnTo>
                    <a:pt x="1637498" y="1748752"/>
                  </a:lnTo>
                  <a:lnTo>
                    <a:pt x="1637498" y="1770610"/>
                  </a:lnTo>
                  <a:lnTo>
                    <a:pt x="1642962" y="1772431"/>
                  </a:lnTo>
                  <a:lnTo>
                    <a:pt x="1648427" y="1792467"/>
                  </a:lnTo>
                  <a:lnTo>
                    <a:pt x="1652070" y="1788824"/>
                  </a:lnTo>
                  <a:lnTo>
                    <a:pt x="1664820" y="1788824"/>
                  </a:lnTo>
                  <a:lnTo>
                    <a:pt x="1662999" y="1794289"/>
                  </a:lnTo>
                  <a:lnTo>
                    <a:pt x="1673927" y="1792467"/>
                  </a:lnTo>
                  <a:lnTo>
                    <a:pt x="1675749" y="1792467"/>
                  </a:lnTo>
                  <a:lnTo>
                    <a:pt x="1675749" y="1803396"/>
                  </a:lnTo>
                  <a:lnTo>
                    <a:pt x="1681213" y="1799753"/>
                  </a:lnTo>
                  <a:lnTo>
                    <a:pt x="1692142" y="1808860"/>
                  </a:lnTo>
                  <a:lnTo>
                    <a:pt x="1686678" y="1832540"/>
                  </a:lnTo>
                  <a:lnTo>
                    <a:pt x="1699428" y="1838004"/>
                  </a:lnTo>
                  <a:lnTo>
                    <a:pt x="1704892" y="1854397"/>
                  </a:lnTo>
                  <a:lnTo>
                    <a:pt x="1703071" y="1878076"/>
                  </a:lnTo>
                  <a:lnTo>
                    <a:pt x="1699428" y="1878076"/>
                  </a:lnTo>
                  <a:lnTo>
                    <a:pt x="1692142" y="1872612"/>
                  </a:lnTo>
                  <a:lnTo>
                    <a:pt x="1692142" y="1878076"/>
                  </a:lnTo>
                  <a:lnTo>
                    <a:pt x="1699428" y="1889005"/>
                  </a:lnTo>
                  <a:lnTo>
                    <a:pt x="1703071" y="1899934"/>
                  </a:lnTo>
                  <a:lnTo>
                    <a:pt x="1703071" y="1901755"/>
                  </a:lnTo>
                  <a:lnTo>
                    <a:pt x="1699428" y="1901755"/>
                  </a:lnTo>
                  <a:lnTo>
                    <a:pt x="1697606" y="1899934"/>
                  </a:lnTo>
                  <a:lnTo>
                    <a:pt x="1692142" y="1899934"/>
                  </a:lnTo>
                  <a:lnTo>
                    <a:pt x="1697606" y="1912684"/>
                  </a:lnTo>
                  <a:lnTo>
                    <a:pt x="1697606" y="1916327"/>
                  </a:lnTo>
                  <a:lnTo>
                    <a:pt x="1693964" y="1918149"/>
                  </a:lnTo>
                  <a:lnTo>
                    <a:pt x="1692142" y="1918149"/>
                  </a:lnTo>
                  <a:lnTo>
                    <a:pt x="1679392" y="1894470"/>
                  </a:lnTo>
                  <a:lnTo>
                    <a:pt x="1648427" y="1892648"/>
                  </a:lnTo>
                  <a:lnTo>
                    <a:pt x="1626569" y="1865326"/>
                  </a:lnTo>
                  <a:lnTo>
                    <a:pt x="1619283" y="1870790"/>
                  </a:lnTo>
                  <a:lnTo>
                    <a:pt x="1615640" y="1870790"/>
                  </a:lnTo>
                  <a:lnTo>
                    <a:pt x="1602890" y="1854397"/>
                  </a:lnTo>
                  <a:lnTo>
                    <a:pt x="1601069" y="1854397"/>
                  </a:lnTo>
                  <a:lnTo>
                    <a:pt x="1606533" y="1861683"/>
                  </a:lnTo>
                  <a:lnTo>
                    <a:pt x="1626569" y="1892648"/>
                  </a:lnTo>
                  <a:lnTo>
                    <a:pt x="1664820" y="1927256"/>
                  </a:lnTo>
                  <a:lnTo>
                    <a:pt x="1668463" y="1949114"/>
                  </a:lnTo>
                  <a:lnTo>
                    <a:pt x="1668463" y="1950935"/>
                  </a:lnTo>
                  <a:lnTo>
                    <a:pt x="1657534" y="1950935"/>
                  </a:lnTo>
                  <a:lnTo>
                    <a:pt x="1646605" y="1940006"/>
                  </a:lnTo>
                  <a:lnTo>
                    <a:pt x="1635677" y="1943649"/>
                  </a:lnTo>
                  <a:lnTo>
                    <a:pt x="1606533" y="1932720"/>
                  </a:lnTo>
                  <a:lnTo>
                    <a:pt x="1601069" y="1921792"/>
                  </a:lnTo>
                  <a:lnTo>
                    <a:pt x="1595604" y="1923613"/>
                  </a:lnTo>
                  <a:lnTo>
                    <a:pt x="1591961" y="1923613"/>
                  </a:lnTo>
                  <a:lnTo>
                    <a:pt x="1584675" y="1905398"/>
                  </a:lnTo>
                  <a:lnTo>
                    <a:pt x="1575568" y="1907220"/>
                  </a:lnTo>
                  <a:lnTo>
                    <a:pt x="1573747" y="1907220"/>
                  </a:lnTo>
                  <a:lnTo>
                    <a:pt x="1573747" y="1899934"/>
                  </a:lnTo>
                  <a:lnTo>
                    <a:pt x="1564639" y="1905398"/>
                  </a:lnTo>
                  <a:lnTo>
                    <a:pt x="1562818" y="1905398"/>
                  </a:lnTo>
                  <a:lnTo>
                    <a:pt x="1540960" y="1894470"/>
                  </a:lnTo>
                  <a:lnTo>
                    <a:pt x="1519102" y="1865326"/>
                  </a:lnTo>
                  <a:lnTo>
                    <a:pt x="1519102" y="1861683"/>
                  </a:lnTo>
                  <a:lnTo>
                    <a:pt x="1522745" y="1861683"/>
                  </a:lnTo>
                  <a:lnTo>
                    <a:pt x="1528210" y="1867148"/>
                  </a:lnTo>
                  <a:lnTo>
                    <a:pt x="1535496" y="1861683"/>
                  </a:lnTo>
                  <a:lnTo>
                    <a:pt x="1500888" y="1843468"/>
                  </a:lnTo>
                  <a:lnTo>
                    <a:pt x="1484495" y="1808860"/>
                  </a:lnTo>
                  <a:lnTo>
                    <a:pt x="1458994" y="1803396"/>
                  </a:lnTo>
                  <a:lnTo>
                    <a:pt x="1458994" y="1794289"/>
                  </a:lnTo>
                  <a:lnTo>
                    <a:pt x="1455351" y="1797932"/>
                  </a:lnTo>
                  <a:lnTo>
                    <a:pt x="1462637" y="1814325"/>
                  </a:lnTo>
                  <a:lnTo>
                    <a:pt x="1458994" y="1819789"/>
                  </a:lnTo>
                  <a:lnTo>
                    <a:pt x="1435315" y="1808860"/>
                  </a:lnTo>
                  <a:lnTo>
                    <a:pt x="1429850" y="1810682"/>
                  </a:lnTo>
                  <a:lnTo>
                    <a:pt x="1433493" y="1819789"/>
                  </a:lnTo>
                  <a:lnTo>
                    <a:pt x="1429850" y="1819789"/>
                  </a:lnTo>
                  <a:lnTo>
                    <a:pt x="1411636" y="1828897"/>
                  </a:lnTo>
                  <a:lnTo>
                    <a:pt x="1407993" y="1828897"/>
                  </a:lnTo>
                  <a:lnTo>
                    <a:pt x="1386135" y="1819789"/>
                  </a:lnTo>
                  <a:lnTo>
                    <a:pt x="1377028" y="1805218"/>
                  </a:lnTo>
                  <a:lnTo>
                    <a:pt x="1377028" y="1803396"/>
                  </a:lnTo>
                  <a:lnTo>
                    <a:pt x="1378849" y="1783360"/>
                  </a:lnTo>
                  <a:lnTo>
                    <a:pt x="1391600" y="1772431"/>
                  </a:lnTo>
                  <a:lnTo>
                    <a:pt x="1391600" y="1765145"/>
                  </a:lnTo>
                  <a:lnTo>
                    <a:pt x="1395243" y="1765145"/>
                  </a:lnTo>
                  <a:lnTo>
                    <a:pt x="1391600" y="1761502"/>
                  </a:lnTo>
                  <a:lnTo>
                    <a:pt x="1391600" y="1759681"/>
                  </a:lnTo>
                  <a:lnTo>
                    <a:pt x="1402528" y="1759681"/>
                  </a:lnTo>
                  <a:lnTo>
                    <a:pt x="1418922" y="1761502"/>
                  </a:lnTo>
                  <a:lnTo>
                    <a:pt x="1435315" y="1766967"/>
                  </a:lnTo>
                  <a:lnTo>
                    <a:pt x="1444422" y="1766967"/>
                  </a:lnTo>
                  <a:lnTo>
                    <a:pt x="1469923" y="1754216"/>
                  </a:lnTo>
                  <a:lnTo>
                    <a:pt x="1484495" y="1759681"/>
                  </a:lnTo>
                  <a:lnTo>
                    <a:pt x="1484495" y="1748752"/>
                  </a:lnTo>
                  <a:lnTo>
                    <a:pt x="1462637" y="1719608"/>
                  </a:lnTo>
                  <a:lnTo>
                    <a:pt x="1462637" y="1715966"/>
                  </a:lnTo>
                  <a:lnTo>
                    <a:pt x="1497245" y="1683179"/>
                  </a:lnTo>
                  <a:lnTo>
                    <a:pt x="1500888" y="1670429"/>
                  </a:lnTo>
                  <a:lnTo>
                    <a:pt x="1513638" y="1652214"/>
                  </a:lnTo>
                  <a:lnTo>
                    <a:pt x="1497245" y="1597570"/>
                  </a:lnTo>
                  <a:lnTo>
                    <a:pt x="1479030" y="1586641"/>
                  </a:lnTo>
                  <a:lnTo>
                    <a:pt x="1475387" y="1562962"/>
                  </a:lnTo>
                  <a:lnTo>
                    <a:pt x="1469923" y="1562962"/>
                  </a:lnTo>
                  <a:lnTo>
                    <a:pt x="1469923" y="1573891"/>
                  </a:lnTo>
                  <a:lnTo>
                    <a:pt x="1468101" y="1573891"/>
                  </a:lnTo>
                  <a:lnTo>
                    <a:pt x="1451708" y="1553855"/>
                  </a:lnTo>
                  <a:lnTo>
                    <a:pt x="1451708" y="1546569"/>
                  </a:lnTo>
                  <a:lnTo>
                    <a:pt x="1438958" y="1546569"/>
                  </a:lnTo>
                  <a:lnTo>
                    <a:pt x="1413457" y="1564783"/>
                  </a:lnTo>
                  <a:lnTo>
                    <a:pt x="1411636" y="1564783"/>
                  </a:lnTo>
                  <a:lnTo>
                    <a:pt x="1411636" y="1537461"/>
                  </a:lnTo>
                  <a:lnTo>
                    <a:pt x="1424386" y="1537461"/>
                  </a:lnTo>
                  <a:lnTo>
                    <a:pt x="1433493" y="1531997"/>
                  </a:lnTo>
                  <a:lnTo>
                    <a:pt x="1429850" y="1524711"/>
                  </a:lnTo>
                  <a:lnTo>
                    <a:pt x="1400707" y="1501032"/>
                  </a:lnTo>
                  <a:lnTo>
                    <a:pt x="1400707" y="1497389"/>
                  </a:lnTo>
                  <a:lnTo>
                    <a:pt x="1406171" y="1495568"/>
                  </a:lnTo>
                  <a:lnTo>
                    <a:pt x="1402528" y="1486460"/>
                  </a:lnTo>
                  <a:lnTo>
                    <a:pt x="1386135" y="1486460"/>
                  </a:lnTo>
                  <a:lnTo>
                    <a:pt x="1386135" y="1459138"/>
                  </a:lnTo>
                  <a:lnTo>
                    <a:pt x="1380671" y="1459138"/>
                  </a:lnTo>
                  <a:lnTo>
                    <a:pt x="1378849" y="1462781"/>
                  </a:lnTo>
                  <a:lnTo>
                    <a:pt x="1373385" y="1462781"/>
                  </a:lnTo>
                  <a:lnTo>
                    <a:pt x="1360635" y="1448209"/>
                  </a:lnTo>
                  <a:lnTo>
                    <a:pt x="1351527" y="1448209"/>
                  </a:lnTo>
                  <a:lnTo>
                    <a:pt x="1355170" y="1451852"/>
                  </a:lnTo>
                  <a:lnTo>
                    <a:pt x="1362456" y="1475531"/>
                  </a:lnTo>
                  <a:lnTo>
                    <a:pt x="1362456" y="1479174"/>
                  </a:lnTo>
                  <a:lnTo>
                    <a:pt x="1360635" y="1480996"/>
                  </a:lnTo>
                  <a:lnTo>
                    <a:pt x="1338777" y="1486460"/>
                  </a:lnTo>
                  <a:lnTo>
                    <a:pt x="1335134" y="1486460"/>
                  </a:lnTo>
                  <a:lnTo>
                    <a:pt x="1333313" y="1475531"/>
                  </a:lnTo>
                  <a:lnTo>
                    <a:pt x="1295062" y="1468246"/>
                  </a:lnTo>
                  <a:lnTo>
                    <a:pt x="1307812" y="1484639"/>
                  </a:lnTo>
                  <a:lnTo>
                    <a:pt x="1311455" y="1490103"/>
                  </a:lnTo>
                  <a:lnTo>
                    <a:pt x="1311455" y="1491925"/>
                  </a:lnTo>
                  <a:lnTo>
                    <a:pt x="1302348" y="1491925"/>
                  </a:lnTo>
                  <a:lnTo>
                    <a:pt x="1293240" y="1479174"/>
                  </a:lnTo>
                  <a:lnTo>
                    <a:pt x="1287776" y="1490103"/>
                  </a:lnTo>
                  <a:lnTo>
                    <a:pt x="1284133" y="1490103"/>
                  </a:lnTo>
                  <a:lnTo>
                    <a:pt x="1256811" y="1473710"/>
                  </a:lnTo>
                  <a:lnTo>
                    <a:pt x="1189416" y="1473710"/>
                  </a:lnTo>
                  <a:lnTo>
                    <a:pt x="1176666" y="1457317"/>
                  </a:lnTo>
                  <a:lnTo>
                    <a:pt x="1173023" y="1442745"/>
                  </a:lnTo>
                  <a:lnTo>
                    <a:pt x="1162094" y="1453674"/>
                  </a:lnTo>
                  <a:lnTo>
                    <a:pt x="1154809" y="1453674"/>
                  </a:lnTo>
                  <a:lnTo>
                    <a:pt x="1149344" y="1451852"/>
                  </a:lnTo>
                  <a:lnTo>
                    <a:pt x="1136594" y="1451852"/>
                  </a:lnTo>
                  <a:lnTo>
                    <a:pt x="1105629" y="1411780"/>
                  </a:lnTo>
                  <a:lnTo>
                    <a:pt x="1109272" y="1402673"/>
                  </a:lnTo>
                  <a:lnTo>
                    <a:pt x="1105629" y="1400851"/>
                  </a:lnTo>
                  <a:lnTo>
                    <a:pt x="1105629" y="1397208"/>
                  </a:lnTo>
                  <a:lnTo>
                    <a:pt x="1127486" y="1397208"/>
                  </a:lnTo>
                  <a:lnTo>
                    <a:pt x="1143880" y="1400851"/>
                  </a:lnTo>
                  <a:lnTo>
                    <a:pt x="1151166" y="1400851"/>
                  </a:lnTo>
                  <a:lnTo>
                    <a:pt x="1092879" y="1369886"/>
                  </a:lnTo>
                  <a:lnTo>
                    <a:pt x="1089236" y="1369886"/>
                  </a:lnTo>
                  <a:lnTo>
                    <a:pt x="1094700" y="1346207"/>
                  </a:lnTo>
                  <a:lnTo>
                    <a:pt x="1087414" y="1329814"/>
                  </a:lnTo>
                  <a:lnTo>
                    <a:pt x="1087414" y="1327992"/>
                  </a:lnTo>
                  <a:lnTo>
                    <a:pt x="1098343" y="1317063"/>
                  </a:lnTo>
                  <a:lnTo>
                    <a:pt x="1094700" y="1317063"/>
                  </a:lnTo>
                  <a:lnTo>
                    <a:pt x="1094700" y="1313421"/>
                  </a:lnTo>
                  <a:lnTo>
                    <a:pt x="1092879" y="1297027"/>
                  </a:lnTo>
                  <a:lnTo>
                    <a:pt x="1103807" y="1267884"/>
                  </a:lnTo>
                  <a:lnTo>
                    <a:pt x="1105629" y="1267884"/>
                  </a:lnTo>
                  <a:lnTo>
                    <a:pt x="1105629" y="1266062"/>
                  </a:lnTo>
                  <a:lnTo>
                    <a:pt x="1111093" y="1238740"/>
                  </a:lnTo>
                  <a:close/>
                  <a:moveTo>
                    <a:pt x="848802" y="1173169"/>
                  </a:moveTo>
                  <a:lnTo>
                    <a:pt x="852445" y="1173169"/>
                  </a:lnTo>
                  <a:lnTo>
                    <a:pt x="881588" y="1187741"/>
                  </a:lnTo>
                  <a:lnTo>
                    <a:pt x="918018" y="1173169"/>
                  </a:lnTo>
                  <a:lnTo>
                    <a:pt x="919839" y="1173169"/>
                  </a:lnTo>
                  <a:lnTo>
                    <a:pt x="927125" y="1184098"/>
                  </a:lnTo>
                  <a:lnTo>
                    <a:pt x="930768" y="1187741"/>
                  </a:lnTo>
                  <a:lnTo>
                    <a:pt x="927125" y="1187741"/>
                  </a:lnTo>
                  <a:lnTo>
                    <a:pt x="914375" y="1207777"/>
                  </a:lnTo>
                  <a:lnTo>
                    <a:pt x="921661" y="1222349"/>
                  </a:lnTo>
                  <a:lnTo>
                    <a:pt x="921661" y="1224170"/>
                  </a:lnTo>
                  <a:lnTo>
                    <a:pt x="908910" y="1233277"/>
                  </a:lnTo>
                  <a:lnTo>
                    <a:pt x="897982" y="1255135"/>
                  </a:lnTo>
                  <a:lnTo>
                    <a:pt x="912553" y="1246028"/>
                  </a:lnTo>
                  <a:lnTo>
                    <a:pt x="914375" y="1246028"/>
                  </a:lnTo>
                  <a:lnTo>
                    <a:pt x="914375" y="1249671"/>
                  </a:lnTo>
                  <a:lnTo>
                    <a:pt x="927125" y="1271528"/>
                  </a:lnTo>
                  <a:lnTo>
                    <a:pt x="925303" y="1276993"/>
                  </a:lnTo>
                  <a:lnTo>
                    <a:pt x="936232" y="1271528"/>
                  </a:lnTo>
                  <a:lnTo>
                    <a:pt x="938054" y="1271528"/>
                  </a:lnTo>
                  <a:lnTo>
                    <a:pt x="943518" y="1291564"/>
                  </a:lnTo>
                  <a:lnTo>
                    <a:pt x="938054" y="1306136"/>
                  </a:lnTo>
                  <a:lnTo>
                    <a:pt x="941697" y="1340744"/>
                  </a:lnTo>
                  <a:lnTo>
                    <a:pt x="921661" y="1358959"/>
                  </a:lnTo>
                  <a:lnTo>
                    <a:pt x="907089" y="1358959"/>
                  </a:lnTo>
                  <a:lnTo>
                    <a:pt x="907089" y="1369887"/>
                  </a:lnTo>
                  <a:lnTo>
                    <a:pt x="896160" y="1384459"/>
                  </a:lnTo>
                  <a:lnTo>
                    <a:pt x="879767" y="1380816"/>
                  </a:lnTo>
                  <a:lnTo>
                    <a:pt x="879767" y="1378995"/>
                  </a:lnTo>
                  <a:lnTo>
                    <a:pt x="870660" y="1351673"/>
                  </a:lnTo>
                  <a:lnTo>
                    <a:pt x="857909" y="1335280"/>
                  </a:lnTo>
                  <a:lnTo>
                    <a:pt x="848802" y="1322529"/>
                  </a:lnTo>
                  <a:lnTo>
                    <a:pt x="823302" y="1317065"/>
                  </a:lnTo>
                  <a:lnTo>
                    <a:pt x="823302" y="1313422"/>
                  </a:lnTo>
                  <a:lnTo>
                    <a:pt x="797801" y="1273350"/>
                  </a:lnTo>
                  <a:lnTo>
                    <a:pt x="797801" y="1271528"/>
                  </a:lnTo>
                  <a:lnTo>
                    <a:pt x="801444" y="1255135"/>
                  </a:lnTo>
                  <a:lnTo>
                    <a:pt x="808730" y="1249671"/>
                  </a:lnTo>
                  <a:lnTo>
                    <a:pt x="812373" y="1249671"/>
                  </a:lnTo>
                  <a:lnTo>
                    <a:pt x="812373" y="1251492"/>
                  </a:lnTo>
                  <a:lnTo>
                    <a:pt x="830587" y="1276993"/>
                  </a:lnTo>
                  <a:lnTo>
                    <a:pt x="852445" y="1271528"/>
                  </a:lnTo>
                  <a:lnTo>
                    <a:pt x="848802" y="1260599"/>
                  </a:lnTo>
                  <a:lnTo>
                    <a:pt x="854266" y="1255135"/>
                  </a:lnTo>
                  <a:lnTo>
                    <a:pt x="846981" y="1235099"/>
                  </a:lnTo>
                  <a:lnTo>
                    <a:pt x="854266" y="1235099"/>
                  </a:lnTo>
                  <a:lnTo>
                    <a:pt x="823302" y="1213241"/>
                  </a:lnTo>
                  <a:lnTo>
                    <a:pt x="823302" y="1211420"/>
                  </a:lnTo>
                  <a:lnTo>
                    <a:pt x="830587" y="1211420"/>
                  </a:lnTo>
                  <a:lnTo>
                    <a:pt x="836052" y="1213241"/>
                  </a:lnTo>
                  <a:lnTo>
                    <a:pt x="841516" y="1213241"/>
                  </a:lnTo>
                  <a:lnTo>
                    <a:pt x="839695" y="1202313"/>
                  </a:lnTo>
                  <a:lnTo>
                    <a:pt x="828766" y="1195027"/>
                  </a:lnTo>
                  <a:lnTo>
                    <a:pt x="825123" y="1195027"/>
                  </a:lnTo>
                  <a:lnTo>
                    <a:pt x="825123" y="1193205"/>
                  </a:lnTo>
                  <a:lnTo>
                    <a:pt x="828766" y="1193205"/>
                  </a:lnTo>
                  <a:lnTo>
                    <a:pt x="848802" y="1189562"/>
                  </a:lnTo>
                  <a:lnTo>
                    <a:pt x="845159" y="1178633"/>
                  </a:lnTo>
                  <a:close/>
                  <a:moveTo>
                    <a:pt x="907092" y="1154954"/>
                  </a:moveTo>
                  <a:lnTo>
                    <a:pt x="908913" y="1154954"/>
                  </a:lnTo>
                  <a:lnTo>
                    <a:pt x="908913" y="1156776"/>
                  </a:lnTo>
                  <a:lnTo>
                    <a:pt x="890699" y="1182277"/>
                  </a:lnTo>
                  <a:lnTo>
                    <a:pt x="868841" y="1178634"/>
                  </a:lnTo>
                  <a:lnTo>
                    <a:pt x="868841" y="1176812"/>
                  </a:lnTo>
                  <a:lnTo>
                    <a:pt x="907092" y="1156776"/>
                  </a:lnTo>
                  <a:close/>
                  <a:moveTo>
                    <a:pt x="1010915" y="1149489"/>
                  </a:moveTo>
                  <a:lnTo>
                    <a:pt x="1087417" y="1171347"/>
                  </a:lnTo>
                  <a:lnTo>
                    <a:pt x="1087417" y="1173168"/>
                  </a:lnTo>
                  <a:lnTo>
                    <a:pt x="1076488" y="1200490"/>
                  </a:lnTo>
                  <a:lnTo>
                    <a:pt x="1071024" y="1200490"/>
                  </a:lnTo>
                  <a:lnTo>
                    <a:pt x="1065559" y="1224169"/>
                  </a:lnTo>
                  <a:lnTo>
                    <a:pt x="1060095" y="1229634"/>
                  </a:lnTo>
                  <a:lnTo>
                    <a:pt x="1063738" y="1229634"/>
                  </a:lnTo>
                  <a:lnTo>
                    <a:pt x="1060095" y="1240563"/>
                  </a:lnTo>
                  <a:lnTo>
                    <a:pt x="1043702" y="1273349"/>
                  </a:lnTo>
                  <a:lnTo>
                    <a:pt x="1036416" y="1273349"/>
                  </a:lnTo>
                  <a:lnTo>
                    <a:pt x="1016380" y="1271528"/>
                  </a:lnTo>
                  <a:lnTo>
                    <a:pt x="992701" y="1271528"/>
                  </a:lnTo>
                  <a:lnTo>
                    <a:pt x="1014558" y="1289742"/>
                  </a:lnTo>
                  <a:lnTo>
                    <a:pt x="1014558" y="1291564"/>
                  </a:lnTo>
                  <a:lnTo>
                    <a:pt x="998165" y="1322529"/>
                  </a:lnTo>
                  <a:lnTo>
                    <a:pt x="976307" y="1327993"/>
                  </a:lnTo>
                  <a:lnTo>
                    <a:pt x="970843" y="1324350"/>
                  </a:lnTo>
                  <a:lnTo>
                    <a:pt x="970843" y="1322529"/>
                  </a:lnTo>
                  <a:lnTo>
                    <a:pt x="976307" y="1317064"/>
                  </a:lnTo>
                  <a:lnTo>
                    <a:pt x="970843" y="1313421"/>
                  </a:lnTo>
                  <a:lnTo>
                    <a:pt x="970843" y="1295207"/>
                  </a:lnTo>
                  <a:lnTo>
                    <a:pt x="976307" y="1284278"/>
                  </a:lnTo>
                  <a:lnTo>
                    <a:pt x="959914" y="1273349"/>
                  </a:lnTo>
                  <a:lnTo>
                    <a:pt x="959914" y="1187740"/>
                  </a:lnTo>
                  <a:lnTo>
                    <a:pt x="981772" y="1193204"/>
                  </a:lnTo>
                  <a:lnTo>
                    <a:pt x="965378" y="1173168"/>
                  </a:lnTo>
                  <a:lnTo>
                    <a:pt x="965378" y="1171347"/>
                  </a:lnTo>
                  <a:lnTo>
                    <a:pt x="974486" y="1156775"/>
                  </a:lnTo>
                  <a:lnTo>
                    <a:pt x="974486" y="1154953"/>
                  </a:lnTo>
                  <a:close/>
                  <a:moveTo>
                    <a:pt x="338793" y="1109417"/>
                  </a:moveTo>
                  <a:lnTo>
                    <a:pt x="344258" y="1109417"/>
                  </a:lnTo>
                  <a:lnTo>
                    <a:pt x="344258" y="1111238"/>
                  </a:lnTo>
                  <a:lnTo>
                    <a:pt x="347901" y="1111238"/>
                  </a:lnTo>
                  <a:lnTo>
                    <a:pt x="389794" y="1144025"/>
                  </a:lnTo>
                  <a:lnTo>
                    <a:pt x="389794" y="1145846"/>
                  </a:lnTo>
                  <a:lnTo>
                    <a:pt x="387973" y="1154954"/>
                  </a:lnTo>
                  <a:lnTo>
                    <a:pt x="398902" y="1144025"/>
                  </a:lnTo>
                  <a:lnTo>
                    <a:pt x="400723" y="1144025"/>
                  </a:lnTo>
                  <a:lnTo>
                    <a:pt x="400723" y="1154954"/>
                  </a:lnTo>
                  <a:lnTo>
                    <a:pt x="406188" y="1140382"/>
                  </a:lnTo>
                  <a:lnTo>
                    <a:pt x="438974" y="1140382"/>
                  </a:lnTo>
                  <a:lnTo>
                    <a:pt x="493618" y="1205955"/>
                  </a:lnTo>
                  <a:lnTo>
                    <a:pt x="493618" y="1207777"/>
                  </a:lnTo>
                  <a:lnTo>
                    <a:pt x="404366" y="1273349"/>
                  </a:lnTo>
                  <a:lnTo>
                    <a:pt x="395259" y="1300672"/>
                  </a:lnTo>
                  <a:lnTo>
                    <a:pt x="377044" y="1307957"/>
                  </a:lnTo>
                  <a:lnTo>
                    <a:pt x="369758" y="1329815"/>
                  </a:lnTo>
                  <a:lnTo>
                    <a:pt x="371580" y="1346208"/>
                  </a:lnTo>
                  <a:lnTo>
                    <a:pt x="366115" y="1362602"/>
                  </a:lnTo>
                  <a:lnTo>
                    <a:pt x="347901" y="1373530"/>
                  </a:lnTo>
                  <a:lnTo>
                    <a:pt x="344258" y="1373530"/>
                  </a:lnTo>
                  <a:lnTo>
                    <a:pt x="338793" y="1364423"/>
                  </a:lnTo>
                  <a:lnTo>
                    <a:pt x="304186" y="1395388"/>
                  </a:lnTo>
                  <a:lnTo>
                    <a:pt x="280507" y="1346208"/>
                  </a:lnTo>
                  <a:lnTo>
                    <a:pt x="238613" y="1329815"/>
                  </a:lnTo>
                  <a:lnTo>
                    <a:pt x="238613" y="1327994"/>
                  </a:lnTo>
                  <a:lnTo>
                    <a:pt x="260471" y="1278814"/>
                  </a:lnTo>
                  <a:lnTo>
                    <a:pt x="255006" y="1255135"/>
                  </a:lnTo>
                  <a:lnTo>
                    <a:pt x="255006" y="1251492"/>
                  </a:lnTo>
                  <a:lnTo>
                    <a:pt x="265935" y="1249670"/>
                  </a:lnTo>
                  <a:lnTo>
                    <a:pt x="260471" y="1238742"/>
                  </a:lnTo>
                  <a:lnTo>
                    <a:pt x="260471" y="1235099"/>
                  </a:lnTo>
                  <a:lnTo>
                    <a:pt x="285971" y="1176812"/>
                  </a:lnTo>
                  <a:lnTo>
                    <a:pt x="276864" y="1162240"/>
                  </a:lnTo>
                  <a:lnTo>
                    <a:pt x="275042" y="1151311"/>
                  </a:lnTo>
                  <a:lnTo>
                    <a:pt x="276864" y="1144025"/>
                  </a:lnTo>
                  <a:lnTo>
                    <a:pt x="269578" y="1129453"/>
                  </a:lnTo>
                  <a:lnTo>
                    <a:pt x="269578" y="1127632"/>
                  </a:lnTo>
                  <a:lnTo>
                    <a:pt x="302364" y="1116703"/>
                  </a:lnTo>
                  <a:lnTo>
                    <a:pt x="304186" y="1116703"/>
                  </a:lnTo>
                  <a:lnTo>
                    <a:pt x="307829" y="1123989"/>
                  </a:lnTo>
                  <a:lnTo>
                    <a:pt x="307829" y="1116703"/>
                  </a:lnTo>
                  <a:lnTo>
                    <a:pt x="313293" y="1116703"/>
                  </a:lnTo>
                  <a:lnTo>
                    <a:pt x="316936" y="1114881"/>
                  </a:lnTo>
                  <a:lnTo>
                    <a:pt x="326043" y="1111238"/>
                  </a:lnTo>
                  <a:lnTo>
                    <a:pt x="333329" y="1111238"/>
                  </a:lnTo>
                  <a:close/>
                  <a:moveTo>
                    <a:pt x="746681" y="1035982"/>
                  </a:moveTo>
                  <a:cubicBezTo>
                    <a:pt x="757327" y="1032398"/>
                    <a:pt x="761619" y="1046132"/>
                    <a:pt x="764037" y="1053775"/>
                  </a:cubicBezTo>
                  <a:cubicBezTo>
                    <a:pt x="769843" y="1065482"/>
                    <a:pt x="754061" y="1077546"/>
                    <a:pt x="743298" y="1071631"/>
                  </a:cubicBezTo>
                  <a:cubicBezTo>
                    <a:pt x="739910" y="1069604"/>
                    <a:pt x="736826" y="1066977"/>
                    <a:pt x="734226" y="1063988"/>
                  </a:cubicBezTo>
                  <a:cubicBezTo>
                    <a:pt x="736221" y="1054137"/>
                    <a:pt x="738699" y="1042967"/>
                    <a:pt x="746681" y="1035982"/>
                  </a:cubicBezTo>
                  <a:close/>
                  <a:moveTo>
                    <a:pt x="948319" y="1035367"/>
                  </a:moveTo>
                  <a:cubicBezTo>
                    <a:pt x="949315" y="1036037"/>
                    <a:pt x="949827" y="1037305"/>
                    <a:pt x="948717" y="1038474"/>
                  </a:cubicBezTo>
                  <a:cubicBezTo>
                    <a:pt x="947066" y="1040925"/>
                    <a:pt x="942911" y="1038246"/>
                    <a:pt x="945017" y="1035852"/>
                  </a:cubicBezTo>
                  <a:cubicBezTo>
                    <a:pt x="945842" y="1034626"/>
                    <a:pt x="947322" y="1034697"/>
                    <a:pt x="948319" y="1035367"/>
                  </a:cubicBezTo>
                  <a:close/>
                  <a:moveTo>
                    <a:pt x="839340" y="1018550"/>
                  </a:moveTo>
                  <a:cubicBezTo>
                    <a:pt x="842979" y="1017445"/>
                    <a:pt x="846779" y="1017243"/>
                    <a:pt x="850608" y="1018643"/>
                  </a:cubicBezTo>
                  <a:cubicBezTo>
                    <a:pt x="843884" y="1022127"/>
                    <a:pt x="836404" y="1023123"/>
                    <a:pt x="829037" y="1023869"/>
                  </a:cubicBezTo>
                  <a:cubicBezTo>
                    <a:pt x="832223" y="1021660"/>
                    <a:pt x="835701" y="1019654"/>
                    <a:pt x="839340" y="1018550"/>
                  </a:cubicBezTo>
                  <a:close/>
                  <a:moveTo>
                    <a:pt x="981895" y="1016474"/>
                  </a:moveTo>
                  <a:cubicBezTo>
                    <a:pt x="990778" y="1023222"/>
                    <a:pt x="996626" y="1033069"/>
                    <a:pt x="1002887" y="1042199"/>
                  </a:cubicBezTo>
                  <a:cubicBezTo>
                    <a:pt x="1008430" y="1050021"/>
                    <a:pt x="1006699" y="1060284"/>
                    <a:pt x="1007835" y="1069240"/>
                  </a:cubicBezTo>
                  <a:cubicBezTo>
                    <a:pt x="1008247" y="1080945"/>
                    <a:pt x="1010634" y="1092757"/>
                    <a:pt x="1009147" y="1104462"/>
                  </a:cubicBezTo>
                  <a:cubicBezTo>
                    <a:pt x="1001926" y="1112159"/>
                    <a:pt x="989588" y="1108519"/>
                    <a:pt x="980408" y="1109051"/>
                  </a:cubicBezTo>
                  <a:cubicBezTo>
                    <a:pt x="972180" y="1108403"/>
                    <a:pt x="968665" y="1100222"/>
                    <a:pt x="964250" y="1094432"/>
                  </a:cubicBezTo>
                  <a:lnTo>
                    <a:pt x="959065" y="1100880"/>
                  </a:lnTo>
                  <a:lnTo>
                    <a:pt x="959957" y="1093357"/>
                  </a:lnTo>
                  <a:cubicBezTo>
                    <a:pt x="949168" y="1088816"/>
                    <a:pt x="935817" y="1082668"/>
                    <a:pt x="934383" y="1069482"/>
                  </a:cubicBezTo>
                  <a:cubicBezTo>
                    <a:pt x="935931" y="1053187"/>
                    <a:pt x="954536" y="1044174"/>
                    <a:pt x="954056" y="1027105"/>
                  </a:cubicBezTo>
                  <a:cubicBezTo>
                    <a:pt x="962642" y="1022031"/>
                    <a:pt x="971166" y="1015341"/>
                    <a:pt x="981895" y="1016474"/>
                  </a:cubicBezTo>
                  <a:close/>
                  <a:moveTo>
                    <a:pt x="940548" y="1015341"/>
                  </a:moveTo>
                  <a:cubicBezTo>
                    <a:pt x="944045" y="1016313"/>
                    <a:pt x="948929" y="1017403"/>
                    <a:pt x="950436" y="1021044"/>
                  </a:cubicBezTo>
                  <a:cubicBezTo>
                    <a:pt x="949471" y="1025656"/>
                    <a:pt x="946698" y="1029601"/>
                    <a:pt x="944528" y="1033724"/>
                  </a:cubicBezTo>
                  <a:lnTo>
                    <a:pt x="936933" y="1025170"/>
                  </a:lnTo>
                  <a:cubicBezTo>
                    <a:pt x="935063" y="1031904"/>
                    <a:pt x="931565" y="1038093"/>
                    <a:pt x="927164" y="1043433"/>
                  </a:cubicBezTo>
                  <a:cubicBezTo>
                    <a:pt x="925960" y="1039489"/>
                    <a:pt x="924272" y="1035666"/>
                    <a:pt x="923849" y="1031601"/>
                  </a:cubicBezTo>
                  <a:cubicBezTo>
                    <a:pt x="927468" y="1024564"/>
                    <a:pt x="934460" y="1020013"/>
                    <a:pt x="940548" y="1015341"/>
                  </a:cubicBezTo>
                  <a:close/>
                  <a:moveTo>
                    <a:pt x="350966" y="985240"/>
                  </a:moveTo>
                  <a:cubicBezTo>
                    <a:pt x="350019" y="992304"/>
                    <a:pt x="348894" y="999245"/>
                    <a:pt x="347828" y="1006309"/>
                  </a:cubicBezTo>
                  <a:lnTo>
                    <a:pt x="341435" y="1003996"/>
                  </a:lnTo>
                  <a:cubicBezTo>
                    <a:pt x="344750" y="997785"/>
                    <a:pt x="347651" y="991390"/>
                    <a:pt x="350966" y="985240"/>
                  </a:cubicBezTo>
                  <a:close/>
                  <a:moveTo>
                    <a:pt x="952788" y="983359"/>
                  </a:moveTo>
                  <a:cubicBezTo>
                    <a:pt x="956457" y="983236"/>
                    <a:pt x="956208" y="989256"/>
                    <a:pt x="952601" y="989133"/>
                  </a:cubicBezTo>
                  <a:cubicBezTo>
                    <a:pt x="948932" y="989133"/>
                    <a:pt x="949243" y="983236"/>
                    <a:pt x="952788" y="983359"/>
                  </a:cubicBezTo>
                  <a:close/>
                  <a:moveTo>
                    <a:pt x="984468" y="982232"/>
                  </a:moveTo>
                  <a:cubicBezTo>
                    <a:pt x="986059" y="989657"/>
                    <a:pt x="987709" y="997145"/>
                    <a:pt x="989064" y="1004691"/>
                  </a:cubicBezTo>
                  <a:cubicBezTo>
                    <a:pt x="973512" y="1009823"/>
                    <a:pt x="977694" y="993583"/>
                    <a:pt x="975456" y="985190"/>
                  </a:cubicBezTo>
                  <a:close/>
                  <a:moveTo>
                    <a:pt x="794632" y="982154"/>
                  </a:moveTo>
                  <a:cubicBezTo>
                    <a:pt x="798103" y="981311"/>
                    <a:pt x="801742" y="981394"/>
                    <a:pt x="805460" y="982787"/>
                  </a:cubicBezTo>
                  <a:cubicBezTo>
                    <a:pt x="800740" y="989376"/>
                    <a:pt x="794830" y="995008"/>
                    <a:pt x="789394" y="1001061"/>
                  </a:cubicBezTo>
                  <a:cubicBezTo>
                    <a:pt x="784678" y="1006813"/>
                    <a:pt x="776735" y="1004655"/>
                    <a:pt x="770344" y="1004356"/>
                  </a:cubicBezTo>
                  <a:cubicBezTo>
                    <a:pt x="775316" y="995547"/>
                    <a:pt x="784218" y="984684"/>
                    <a:pt x="794632" y="982154"/>
                  </a:cubicBezTo>
                  <a:close/>
                  <a:moveTo>
                    <a:pt x="974722" y="968186"/>
                  </a:moveTo>
                  <a:cubicBezTo>
                    <a:pt x="975784" y="969983"/>
                    <a:pt x="976906" y="971780"/>
                    <a:pt x="978027" y="973637"/>
                  </a:cubicBezTo>
                  <a:cubicBezTo>
                    <a:pt x="975844" y="974475"/>
                    <a:pt x="973659" y="975314"/>
                    <a:pt x="971476" y="976212"/>
                  </a:cubicBezTo>
                  <a:cubicBezTo>
                    <a:pt x="970650" y="973637"/>
                    <a:pt x="969823" y="971001"/>
                    <a:pt x="968997" y="968426"/>
                  </a:cubicBezTo>
                  <a:cubicBezTo>
                    <a:pt x="970886" y="968366"/>
                    <a:pt x="972833" y="968246"/>
                    <a:pt x="974722" y="968186"/>
                  </a:cubicBezTo>
                  <a:close/>
                  <a:moveTo>
                    <a:pt x="431732" y="967182"/>
                  </a:moveTo>
                  <a:cubicBezTo>
                    <a:pt x="428395" y="988374"/>
                    <a:pt x="423565" y="1011297"/>
                    <a:pt x="407597" y="1026639"/>
                  </a:cubicBezTo>
                  <a:cubicBezTo>
                    <a:pt x="399672" y="1026878"/>
                    <a:pt x="393176" y="1020908"/>
                    <a:pt x="386082" y="1018282"/>
                  </a:cubicBezTo>
                  <a:cubicBezTo>
                    <a:pt x="391802" y="1007895"/>
                    <a:pt x="396869" y="996791"/>
                    <a:pt x="405155" y="988195"/>
                  </a:cubicBezTo>
                  <a:cubicBezTo>
                    <a:pt x="413732" y="980852"/>
                    <a:pt x="422374" y="973510"/>
                    <a:pt x="431732" y="967182"/>
                  </a:cubicBezTo>
                  <a:close/>
                  <a:moveTo>
                    <a:pt x="1357850" y="966180"/>
                  </a:moveTo>
                  <a:cubicBezTo>
                    <a:pt x="1360785" y="973635"/>
                    <a:pt x="1355737" y="979649"/>
                    <a:pt x="1351453" y="984997"/>
                  </a:cubicBezTo>
                  <a:lnTo>
                    <a:pt x="1357791" y="994138"/>
                  </a:lnTo>
                  <a:cubicBezTo>
                    <a:pt x="1352098" y="993538"/>
                    <a:pt x="1343707" y="998286"/>
                    <a:pt x="1339716" y="992876"/>
                  </a:cubicBezTo>
                  <a:cubicBezTo>
                    <a:pt x="1343825" y="982833"/>
                    <a:pt x="1349810" y="973394"/>
                    <a:pt x="1357850" y="966180"/>
                  </a:cubicBezTo>
                  <a:close/>
                  <a:moveTo>
                    <a:pt x="787978" y="948622"/>
                  </a:moveTo>
                  <a:cubicBezTo>
                    <a:pt x="792164" y="956597"/>
                    <a:pt x="791570" y="965954"/>
                    <a:pt x="784627" y="972133"/>
                  </a:cubicBezTo>
                  <a:cubicBezTo>
                    <a:pt x="790071" y="971290"/>
                    <a:pt x="795636" y="971772"/>
                    <a:pt x="799942" y="975668"/>
                  </a:cubicBezTo>
                  <a:cubicBezTo>
                    <a:pt x="790369" y="984308"/>
                    <a:pt x="773144" y="982988"/>
                    <a:pt x="768060" y="996179"/>
                  </a:cubicBezTo>
                  <a:cubicBezTo>
                    <a:pt x="761477" y="996781"/>
                    <a:pt x="760162" y="990482"/>
                    <a:pt x="757829" y="986224"/>
                  </a:cubicBezTo>
                  <a:cubicBezTo>
                    <a:pt x="765543" y="982868"/>
                    <a:pt x="773024" y="979029"/>
                    <a:pt x="780144" y="974589"/>
                  </a:cubicBezTo>
                  <a:cubicBezTo>
                    <a:pt x="771828" y="975129"/>
                    <a:pt x="763393" y="976872"/>
                    <a:pt x="755078" y="975432"/>
                  </a:cubicBezTo>
                  <a:cubicBezTo>
                    <a:pt x="749634" y="973573"/>
                    <a:pt x="746345" y="968415"/>
                    <a:pt x="742754" y="964216"/>
                  </a:cubicBezTo>
                  <a:cubicBezTo>
                    <a:pt x="755135" y="953178"/>
                    <a:pt x="772126" y="950842"/>
                    <a:pt x="787978" y="948622"/>
                  </a:cubicBezTo>
                  <a:close/>
                  <a:moveTo>
                    <a:pt x="1233853" y="931004"/>
                  </a:moveTo>
                  <a:cubicBezTo>
                    <a:pt x="1236285" y="929058"/>
                    <a:pt x="1239386" y="933253"/>
                    <a:pt x="1236954" y="935139"/>
                  </a:cubicBezTo>
                  <a:cubicBezTo>
                    <a:pt x="1234522" y="937084"/>
                    <a:pt x="1231360" y="932889"/>
                    <a:pt x="1233853" y="931004"/>
                  </a:cubicBezTo>
                  <a:close/>
                  <a:moveTo>
                    <a:pt x="746579" y="913463"/>
                  </a:moveTo>
                  <a:cubicBezTo>
                    <a:pt x="757831" y="908992"/>
                    <a:pt x="761780" y="920625"/>
                    <a:pt x="768302" y="926229"/>
                  </a:cubicBezTo>
                  <a:cubicBezTo>
                    <a:pt x="771776" y="930289"/>
                    <a:pt x="777997" y="932854"/>
                    <a:pt x="779374" y="938221"/>
                  </a:cubicBezTo>
                  <a:cubicBezTo>
                    <a:pt x="774588" y="950628"/>
                    <a:pt x="759448" y="947647"/>
                    <a:pt x="748733" y="948659"/>
                  </a:cubicBezTo>
                  <a:cubicBezTo>
                    <a:pt x="745864" y="940132"/>
                    <a:pt x="741972" y="931958"/>
                    <a:pt x="740119" y="923190"/>
                  </a:cubicBezTo>
                  <a:cubicBezTo>
                    <a:pt x="738741" y="918714"/>
                    <a:pt x="743589" y="915791"/>
                    <a:pt x="746579" y="913463"/>
                  </a:cubicBezTo>
                  <a:close/>
                  <a:moveTo>
                    <a:pt x="879824" y="910692"/>
                  </a:moveTo>
                  <a:cubicBezTo>
                    <a:pt x="888845" y="909495"/>
                    <a:pt x="892786" y="917030"/>
                    <a:pt x="893504" y="924615"/>
                  </a:cubicBezTo>
                  <a:cubicBezTo>
                    <a:pt x="896782" y="923839"/>
                    <a:pt x="900073" y="923064"/>
                    <a:pt x="903365" y="922407"/>
                  </a:cubicBezTo>
                  <a:cubicBezTo>
                    <a:pt x="902525" y="924025"/>
                    <a:pt x="901631" y="925643"/>
                    <a:pt x="900791" y="927312"/>
                  </a:cubicBezTo>
                  <a:cubicBezTo>
                    <a:pt x="902823" y="928390"/>
                    <a:pt x="904855" y="929520"/>
                    <a:pt x="906886" y="930666"/>
                  </a:cubicBezTo>
                  <a:cubicBezTo>
                    <a:pt x="906642" y="955241"/>
                    <a:pt x="918833" y="984536"/>
                    <a:pt x="902457" y="1006128"/>
                  </a:cubicBezTo>
                  <a:lnTo>
                    <a:pt x="913808" y="1011151"/>
                  </a:lnTo>
                  <a:cubicBezTo>
                    <a:pt x="914227" y="1021011"/>
                    <a:pt x="914647" y="1030939"/>
                    <a:pt x="915487" y="1040867"/>
                  </a:cubicBezTo>
                  <a:cubicBezTo>
                    <a:pt x="912859" y="1034344"/>
                    <a:pt x="910286" y="1028006"/>
                    <a:pt x="906940" y="1021837"/>
                  </a:cubicBezTo>
                  <a:cubicBezTo>
                    <a:pt x="906548" y="1025933"/>
                    <a:pt x="906141" y="1030012"/>
                    <a:pt x="905749" y="1034108"/>
                  </a:cubicBezTo>
                  <a:cubicBezTo>
                    <a:pt x="904435" y="1031596"/>
                    <a:pt x="903175" y="1029085"/>
                    <a:pt x="901861" y="1026624"/>
                  </a:cubicBezTo>
                  <a:cubicBezTo>
                    <a:pt x="901685" y="1033198"/>
                    <a:pt x="901089" y="1039721"/>
                    <a:pt x="898638" y="1045940"/>
                  </a:cubicBezTo>
                  <a:cubicBezTo>
                    <a:pt x="903893" y="1050609"/>
                    <a:pt x="907238" y="1056880"/>
                    <a:pt x="910056" y="1063217"/>
                  </a:cubicBezTo>
                  <a:cubicBezTo>
                    <a:pt x="902281" y="1068611"/>
                    <a:pt x="894452" y="1075960"/>
                    <a:pt x="884416" y="1075960"/>
                  </a:cubicBezTo>
                  <a:cubicBezTo>
                    <a:pt x="871806" y="1076263"/>
                    <a:pt x="859264" y="1077039"/>
                    <a:pt x="846721" y="1078050"/>
                  </a:cubicBezTo>
                  <a:cubicBezTo>
                    <a:pt x="844026" y="1070870"/>
                    <a:pt x="841642" y="1063639"/>
                    <a:pt x="838893" y="1056526"/>
                  </a:cubicBezTo>
                  <a:lnTo>
                    <a:pt x="849471" y="1053407"/>
                  </a:lnTo>
                  <a:cubicBezTo>
                    <a:pt x="844324" y="1050121"/>
                    <a:pt x="838947" y="1047070"/>
                    <a:pt x="833637" y="1044036"/>
                  </a:cubicBezTo>
                  <a:cubicBezTo>
                    <a:pt x="835073" y="1043311"/>
                    <a:pt x="836495" y="1042536"/>
                    <a:pt x="837931" y="1041811"/>
                  </a:cubicBezTo>
                  <a:cubicBezTo>
                    <a:pt x="844270" y="1031478"/>
                    <a:pt x="859142" y="1025613"/>
                    <a:pt x="858370" y="1011741"/>
                  </a:cubicBezTo>
                  <a:cubicBezTo>
                    <a:pt x="834829" y="1017067"/>
                    <a:pt x="810991" y="1021180"/>
                    <a:pt x="787992" y="1028596"/>
                  </a:cubicBezTo>
                  <a:cubicBezTo>
                    <a:pt x="786435" y="1024719"/>
                    <a:pt x="784945" y="1020826"/>
                    <a:pt x="783387" y="1017000"/>
                  </a:cubicBezTo>
                  <a:cubicBezTo>
                    <a:pt x="788588" y="1012752"/>
                    <a:pt x="795929" y="1010544"/>
                    <a:pt x="799817" y="1004931"/>
                  </a:cubicBezTo>
                  <a:cubicBezTo>
                    <a:pt x="798381" y="1002285"/>
                    <a:pt x="796471" y="1000026"/>
                    <a:pt x="794737" y="997633"/>
                  </a:cubicBezTo>
                  <a:cubicBezTo>
                    <a:pt x="798449" y="994632"/>
                    <a:pt x="802092" y="991177"/>
                    <a:pt x="806806" y="990031"/>
                  </a:cubicBezTo>
                  <a:cubicBezTo>
                    <a:pt x="812359" y="994278"/>
                    <a:pt x="816720" y="999790"/>
                    <a:pt x="821623" y="1004678"/>
                  </a:cubicBezTo>
                  <a:cubicBezTo>
                    <a:pt x="819118" y="999419"/>
                    <a:pt x="816490" y="994228"/>
                    <a:pt x="813618" y="989205"/>
                  </a:cubicBezTo>
                  <a:cubicBezTo>
                    <a:pt x="814810" y="987047"/>
                    <a:pt x="815948" y="984890"/>
                    <a:pt x="817140" y="982800"/>
                  </a:cubicBezTo>
                  <a:cubicBezTo>
                    <a:pt x="813375" y="981367"/>
                    <a:pt x="808187" y="980895"/>
                    <a:pt x="806806" y="976344"/>
                  </a:cubicBezTo>
                  <a:cubicBezTo>
                    <a:pt x="803636" y="969939"/>
                    <a:pt x="810029" y="964444"/>
                    <a:pt x="812846" y="959185"/>
                  </a:cubicBezTo>
                  <a:cubicBezTo>
                    <a:pt x="808783" y="958949"/>
                    <a:pt x="804720" y="958764"/>
                    <a:pt x="800711" y="958646"/>
                  </a:cubicBezTo>
                  <a:cubicBezTo>
                    <a:pt x="802444" y="950640"/>
                    <a:pt x="800480" y="940172"/>
                    <a:pt x="807469" y="934543"/>
                  </a:cubicBezTo>
                  <a:cubicBezTo>
                    <a:pt x="814878" y="932520"/>
                    <a:pt x="821325" y="938082"/>
                    <a:pt x="823831" y="944588"/>
                  </a:cubicBezTo>
                  <a:cubicBezTo>
                    <a:pt x="829330" y="959354"/>
                    <a:pt x="841100" y="970124"/>
                    <a:pt x="848333" y="983811"/>
                  </a:cubicBezTo>
                  <a:cubicBezTo>
                    <a:pt x="850243" y="988598"/>
                    <a:pt x="855674" y="988901"/>
                    <a:pt x="859860" y="990267"/>
                  </a:cubicBezTo>
                  <a:cubicBezTo>
                    <a:pt x="853886" y="983036"/>
                    <a:pt x="849403" y="974844"/>
                    <a:pt x="846776" y="965826"/>
                  </a:cubicBezTo>
                  <a:lnTo>
                    <a:pt x="858546" y="964444"/>
                  </a:lnTo>
                  <a:cubicBezTo>
                    <a:pt x="852993" y="961579"/>
                    <a:pt x="846897" y="959893"/>
                    <a:pt x="840802" y="958696"/>
                  </a:cubicBezTo>
                  <a:lnTo>
                    <a:pt x="852518" y="948667"/>
                  </a:lnTo>
                  <a:cubicBezTo>
                    <a:pt x="844568" y="943510"/>
                    <a:pt x="832256" y="943459"/>
                    <a:pt x="828734" y="933413"/>
                  </a:cubicBezTo>
                  <a:cubicBezTo>
                    <a:pt x="825930" y="928087"/>
                    <a:pt x="833935" y="925289"/>
                    <a:pt x="836387" y="921631"/>
                  </a:cubicBezTo>
                  <a:cubicBezTo>
                    <a:pt x="842062" y="914451"/>
                    <a:pt x="852220" y="914586"/>
                    <a:pt x="860036" y="917451"/>
                  </a:cubicBezTo>
                  <a:cubicBezTo>
                    <a:pt x="867336" y="922525"/>
                    <a:pt x="869666" y="931745"/>
                    <a:pt x="872889" y="939565"/>
                  </a:cubicBezTo>
                  <a:cubicBezTo>
                    <a:pt x="879878" y="930902"/>
                    <a:pt x="869124" y="914990"/>
                    <a:pt x="886989" y="915108"/>
                  </a:cubicBezTo>
                  <a:close/>
                  <a:moveTo>
                    <a:pt x="838216" y="903076"/>
                  </a:moveTo>
                  <a:cubicBezTo>
                    <a:pt x="840857" y="903395"/>
                    <a:pt x="843596" y="904313"/>
                    <a:pt x="846093" y="904638"/>
                  </a:cubicBezTo>
                  <a:cubicBezTo>
                    <a:pt x="836041" y="912871"/>
                    <a:pt x="824845" y="926550"/>
                    <a:pt x="809975" y="921930"/>
                  </a:cubicBezTo>
                  <a:cubicBezTo>
                    <a:pt x="816899" y="916245"/>
                    <a:pt x="823880" y="910678"/>
                    <a:pt x="830924" y="905111"/>
                  </a:cubicBezTo>
                  <a:cubicBezTo>
                    <a:pt x="833031" y="903039"/>
                    <a:pt x="835575" y="902758"/>
                    <a:pt x="838216" y="903076"/>
                  </a:cubicBezTo>
                  <a:close/>
                  <a:moveTo>
                    <a:pt x="863283" y="902971"/>
                  </a:moveTo>
                  <a:cubicBezTo>
                    <a:pt x="863986" y="906630"/>
                    <a:pt x="864629" y="910289"/>
                    <a:pt x="865156" y="914008"/>
                  </a:cubicBezTo>
                  <a:cubicBezTo>
                    <a:pt x="861586" y="911142"/>
                    <a:pt x="858075" y="908215"/>
                    <a:pt x="854622" y="905227"/>
                  </a:cubicBezTo>
                  <a:cubicBezTo>
                    <a:pt x="857489" y="904435"/>
                    <a:pt x="860416" y="903703"/>
                    <a:pt x="863283" y="902971"/>
                  </a:cubicBezTo>
                  <a:close/>
                  <a:moveTo>
                    <a:pt x="630401" y="896864"/>
                  </a:moveTo>
                  <a:cubicBezTo>
                    <a:pt x="638478" y="893442"/>
                    <a:pt x="650922" y="901482"/>
                    <a:pt x="645606" y="910814"/>
                  </a:cubicBezTo>
                  <a:cubicBezTo>
                    <a:pt x="643675" y="917538"/>
                    <a:pt x="645843" y="924358"/>
                    <a:pt x="646972" y="931010"/>
                  </a:cubicBezTo>
                  <a:cubicBezTo>
                    <a:pt x="647803" y="938620"/>
                    <a:pt x="655584" y="942807"/>
                    <a:pt x="657485" y="949938"/>
                  </a:cubicBezTo>
                  <a:cubicBezTo>
                    <a:pt x="656713" y="958146"/>
                    <a:pt x="652050" y="965468"/>
                    <a:pt x="650209" y="973436"/>
                  </a:cubicBezTo>
                  <a:cubicBezTo>
                    <a:pt x="657069" y="972814"/>
                    <a:pt x="664256" y="973173"/>
                    <a:pt x="669750" y="977983"/>
                  </a:cubicBezTo>
                  <a:cubicBezTo>
                    <a:pt x="666780" y="984324"/>
                    <a:pt x="663899" y="990737"/>
                    <a:pt x="660900" y="997150"/>
                  </a:cubicBezTo>
                  <a:cubicBezTo>
                    <a:pt x="666899" y="992412"/>
                    <a:pt x="673700" y="989062"/>
                    <a:pt x="681362" y="988272"/>
                  </a:cubicBezTo>
                  <a:cubicBezTo>
                    <a:pt x="682490" y="993489"/>
                    <a:pt x="683619" y="998777"/>
                    <a:pt x="684836" y="1003970"/>
                  </a:cubicBezTo>
                  <a:cubicBezTo>
                    <a:pt x="687568" y="1002247"/>
                    <a:pt x="690330" y="1000572"/>
                    <a:pt x="693151" y="998825"/>
                  </a:cubicBezTo>
                  <a:lnTo>
                    <a:pt x="686380" y="995953"/>
                  </a:lnTo>
                  <a:cubicBezTo>
                    <a:pt x="685965" y="987674"/>
                    <a:pt x="686677" y="978150"/>
                    <a:pt x="693508" y="972455"/>
                  </a:cubicBezTo>
                  <a:cubicBezTo>
                    <a:pt x="708624" y="974441"/>
                    <a:pt x="724898" y="986956"/>
                    <a:pt x="722314" y="1003922"/>
                  </a:cubicBezTo>
                  <a:cubicBezTo>
                    <a:pt x="725195" y="1015719"/>
                    <a:pt x="717414" y="1025195"/>
                    <a:pt x="714979" y="1035963"/>
                  </a:cubicBezTo>
                  <a:cubicBezTo>
                    <a:pt x="714385" y="1047783"/>
                    <a:pt x="711386" y="1059868"/>
                    <a:pt x="705090" y="1070013"/>
                  </a:cubicBezTo>
                  <a:cubicBezTo>
                    <a:pt x="696181" y="1074440"/>
                    <a:pt x="687806" y="1080662"/>
                    <a:pt x="678125" y="1083414"/>
                  </a:cubicBezTo>
                  <a:cubicBezTo>
                    <a:pt x="671561" y="1083653"/>
                    <a:pt x="668324" y="1077144"/>
                    <a:pt x="665978" y="1072047"/>
                  </a:cubicBezTo>
                  <a:cubicBezTo>
                    <a:pt x="662236" y="1078221"/>
                    <a:pt x="657425" y="1083964"/>
                    <a:pt x="649912" y="1085041"/>
                  </a:cubicBezTo>
                  <a:cubicBezTo>
                    <a:pt x="647625" y="1079944"/>
                    <a:pt x="647744" y="1071497"/>
                    <a:pt x="641121" y="1070061"/>
                  </a:cubicBezTo>
                  <a:cubicBezTo>
                    <a:pt x="631975" y="1076714"/>
                    <a:pt x="625263" y="1087864"/>
                    <a:pt x="613354" y="1089898"/>
                  </a:cubicBezTo>
                  <a:cubicBezTo>
                    <a:pt x="607860" y="1090784"/>
                    <a:pt x="602841" y="1093201"/>
                    <a:pt x="598001" y="1095881"/>
                  </a:cubicBezTo>
                  <a:cubicBezTo>
                    <a:pt x="597585" y="1106481"/>
                    <a:pt x="586805" y="1110621"/>
                    <a:pt x="579291" y="1116196"/>
                  </a:cubicBezTo>
                  <a:cubicBezTo>
                    <a:pt x="565036" y="1125792"/>
                    <a:pt x="547396" y="1132731"/>
                    <a:pt x="530112" y="1129070"/>
                  </a:cubicBezTo>
                  <a:cubicBezTo>
                    <a:pt x="518827" y="1125552"/>
                    <a:pt x="509324" y="1116244"/>
                    <a:pt x="504899" y="1105476"/>
                  </a:cubicBezTo>
                  <a:cubicBezTo>
                    <a:pt x="510334" y="1095235"/>
                    <a:pt x="521737" y="1091262"/>
                    <a:pt x="532399" y="1089348"/>
                  </a:cubicBezTo>
                  <a:cubicBezTo>
                    <a:pt x="536111" y="1072406"/>
                    <a:pt x="556365" y="1077671"/>
                    <a:pt x="569164" y="1075804"/>
                  </a:cubicBezTo>
                  <a:cubicBezTo>
                    <a:pt x="578549" y="1070779"/>
                    <a:pt x="584310" y="1061088"/>
                    <a:pt x="590161" y="1052450"/>
                  </a:cubicBezTo>
                  <a:cubicBezTo>
                    <a:pt x="588260" y="1051851"/>
                    <a:pt x="586330" y="1051181"/>
                    <a:pt x="584429" y="1050583"/>
                  </a:cubicBezTo>
                  <a:cubicBezTo>
                    <a:pt x="578935" y="1062572"/>
                    <a:pt x="565155" y="1062883"/>
                    <a:pt x="553930" y="1064247"/>
                  </a:cubicBezTo>
                  <a:cubicBezTo>
                    <a:pt x="554702" y="1061447"/>
                    <a:pt x="555474" y="1058743"/>
                    <a:pt x="556246" y="1055991"/>
                  </a:cubicBezTo>
                  <a:cubicBezTo>
                    <a:pt x="553395" y="1056278"/>
                    <a:pt x="550455" y="1056589"/>
                    <a:pt x="547574" y="1056637"/>
                  </a:cubicBezTo>
                  <a:cubicBezTo>
                    <a:pt x="546802" y="1059461"/>
                    <a:pt x="545971" y="1062332"/>
                    <a:pt x="545139" y="1065204"/>
                  </a:cubicBezTo>
                  <a:cubicBezTo>
                    <a:pt x="536111" y="1067190"/>
                    <a:pt x="527202" y="1069535"/>
                    <a:pt x="518174" y="1071808"/>
                  </a:cubicBezTo>
                  <a:cubicBezTo>
                    <a:pt x="518530" y="1064199"/>
                    <a:pt x="518708" y="1056637"/>
                    <a:pt x="518827" y="1049100"/>
                  </a:cubicBezTo>
                  <a:cubicBezTo>
                    <a:pt x="522777" y="1044649"/>
                    <a:pt x="526667" y="1040294"/>
                    <a:pt x="530647" y="1035915"/>
                  </a:cubicBezTo>
                  <a:cubicBezTo>
                    <a:pt x="524737" y="1037901"/>
                    <a:pt x="518055" y="1039983"/>
                    <a:pt x="513363" y="1034359"/>
                  </a:cubicBezTo>
                  <a:cubicBezTo>
                    <a:pt x="511581" y="1045032"/>
                    <a:pt x="511462" y="1056637"/>
                    <a:pt x="506265" y="1066472"/>
                  </a:cubicBezTo>
                  <a:cubicBezTo>
                    <a:pt x="501662" y="1072047"/>
                    <a:pt x="495426" y="1076044"/>
                    <a:pt x="490050" y="1080781"/>
                  </a:cubicBezTo>
                  <a:cubicBezTo>
                    <a:pt x="488447" y="1074967"/>
                    <a:pt x="487051" y="1068937"/>
                    <a:pt x="485625" y="1063050"/>
                  </a:cubicBezTo>
                  <a:cubicBezTo>
                    <a:pt x="478201" y="1065036"/>
                    <a:pt x="477904" y="1072574"/>
                    <a:pt x="477488" y="1078987"/>
                  </a:cubicBezTo>
                  <a:cubicBezTo>
                    <a:pt x="472588" y="1076761"/>
                    <a:pt x="466619" y="1075517"/>
                    <a:pt x="463560" y="1070779"/>
                  </a:cubicBezTo>
                  <a:cubicBezTo>
                    <a:pt x="461244" y="1066113"/>
                    <a:pt x="461778" y="1060705"/>
                    <a:pt x="461481" y="1055680"/>
                  </a:cubicBezTo>
                  <a:cubicBezTo>
                    <a:pt x="456938" y="1058432"/>
                    <a:pt x="452750" y="1061806"/>
                    <a:pt x="447761" y="1063768"/>
                  </a:cubicBezTo>
                  <a:cubicBezTo>
                    <a:pt x="440545" y="1063002"/>
                    <a:pt x="433061" y="1059748"/>
                    <a:pt x="428220" y="1054244"/>
                  </a:cubicBezTo>
                  <a:cubicBezTo>
                    <a:pt x="428636" y="1046396"/>
                    <a:pt x="430626" y="1037781"/>
                    <a:pt x="436832" y="1032445"/>
                  </a:cubicBezTo>
                  <a:cubicBezTo>
                    <a:pt x="445148" y="1030220"/>
                    <a:pt x="453819" y="1029861"/>
                    <a:pt x="462253" y="1031727"/>
                  </a:cubicBezTo>
                  <a:cubicBezTo>
                    <a:pt x="470628" y="1025195"/>
                    <a:pt x="482893" y="1022012"/>
                    <a:pt x="486991" y="1011412"/>
                  </a:cubicBezTo>
                  <a:cubicBezTo>
                    <a:pt x="470569" y="1017226"/>
                    <a:pt x="454413" y="1026391"/>
                    <a:pt x="436417" y="1021366"/>
                  </a:cubicBezTo>
                  <a:cubicBezTo>
                    <a:pt x="438971" y="1014762"/>
                    <a:pt x="440545" y="1006985"/>
                    <a:pt x="446276" y="1002295"/>
                  </a:cubicBezTo>
                  <a:cubicBezTo>
                    <a:pt x="455067" y="1000093"/>
                    <a:pt x="464035" y="998657"/>
                    <a:pt x="472410" y="995116"/>
                  </a:cubicBezTo>
                  <a:lnTo>
                    <a:pt x="449038" y="990450"/>
                  </a:lnTo>
                  <a:cubicBezTo>
                    <a:pt x="451295" y="986549"/>
                    <a:pt x="453641" y="982649"/>
                    <a:pt x="456076" y="978868"/>
                  </a:cubicBezTo>
                  <a:cubicBezTo>
                    <a:pt x="447108" y="974800"/>
                    <a:pt x="454116" y="964128"/>
                    <a:pt x="461125" y="962453"/>
                  </a:cubicBezTo>
                  <a:cubicBezTo>
                    <a:pt x="473063" y="959581"/>
                    <a:pt x="485388" y="961926"/>
                    <a:pt x="497356" y="963410"/>
                  </a:cubicBezTo>
                  <a:cubicBezTo>
                    <a:pt x="488981" y="957906"/>
                    <a:pt x="478646" y="956830"/>
                    <a:pt x="469975" y="952403"/>
                  </a:cubicBezTo>
                  <a:cubicBezTo>
                    <a:pt x="467510" y="941060"/>
                    <a:pt x="479478" y="931967"/>
                    <a:pt x="489575" y="930699"/>
                  </a:cubicBezTo>
                  <a:cubicBezTo>
                    <a:pt x="496287" y="928857"/>
                    <a:pt x="505909" y="925626"/>
                    <a:pt x="510987" y="932326"/>
                  </a:cubicBezTo>
                  <a:cubicBezTo>
                    <a:pt x="513363" y="941372"/>
                    <a:pt x="514462" y="950847"/>
                    <a:pt x="517491" y="959773"/>
                  </a:cubicBezTo>
                  <a:cubicBezTo>
                    <a:pt x="524499" y="957906"/>
                    <a:pt x="531152" y="954078"/>
                    <a:pt x="538487" y="953719"/>
                  </a:cubicBezTo>
                  <a:cubicBezTo>
                    <a:pt x="548168" y="956399"/>
                    <a:pt x="554286" y="965157"/>
                    <a:pt x="555058" y="975159"/>
                  </a:cubicBezTo>
                  <a:cubicBezTo>
                    <a:pt x="561146" y="978222"/>
                    <a:pt x="566967" y="982122"/>
                    <a:pt x="571451" y="987387"/>
                  </a:cubicBezTo>
                  <a:cubicBezTo>
                    <a:pt x="566789" y="989852"/>
                    <a:pt x="562185" y="992364"/>
                    <a:pt x="557523" y="994924"/>
                  </a:cubicBezTo>
                  <a:cubicBezTo>
                    <a:pt x="560136" y="996360"/>
                    <a:pt x="562779" y="997940"/>
                    <a:pt x="565333" y="999423"/>
                  </a:cubicBezTo>
                  <a:cubicBezTo>
                    <a:pt x="567145" y="996241"/>
                    <a:pt x="568986" y="993130"/>
                    <a:pt x="570976" y="990019"/>
                  </a:cubicBezTo>
                  <a:cubicBezTo>
                    <a:pt x="571095" y="992292"/>
                    <a:pt x="571154" y="994566"/>
                    <a:pt x="571273" y="996911"/>
                  </a:cubicBezTo>
                  <a:cubicBezTo>
                    <a:pt x="572817" y="996719"/>
                    <a:pt x="574421" y="996552"/>
                    <a:pt x="576054" y="996432"/>
                  </a:cubicBezTo>
                  <a:cubicBezTo>
                    <a:pt x="577420" y="1006434"/>
                    <a:pt x="578935" y="1016437"/>
                    <a:pt x="580776" y="1026439"/>
                  </a:cubicBezTo>
                  <a:cubicBezTo>
                    <a:pt x="599248" y="1016389"/>
                    <a:pt x="619472" y="1027468"/>
                    <a:pt x="638538" y="1029262"/>
                  </a:cubicBezTo>
                  <a:cubicBezTo>
                    <a:pt x="638122" y="1022562"/>
                    <a:pt x="639369" y="1015838"/>
                    <a:pt x="638597" y="1009138"/>
                  </a:cubicBezTo>
                  <a:cubicBezTo>
                    <a:pt x="630757" y="1001457"/>
                    <a:pt x="620897" y="996312"/>
                    <a:pt x="611632" y="990617"/>
                  </a:cubicBezTo>
                  <a:cubicBezTo>
                    <a:pt x="612939" y="984922"/>
                    <a:pt x="614394" y="979347"/>
                    <a:pt x="615463" y="973676"/>
                  </a:cubicBezTo>
                  <a:lnTo>
                    <a:pt x="618522" y="985999"/>
                  </a:lnTo>
                  <a:cubicBezTo>
                    <a:pt x="623303" y="981094"/>
                    <a:pt x="630698" y="976786"/>
                    <a:pt x="627728" y="968220"/>
                  </a:cubicBezTo>
                  <a:cubicBezTo>
                    <a:pt x="621373" y="955322"/>
                    <a:pt x="599723" y="954915"/>
                    <a:pt x="601594" y="936873"/>
                  </a:cubicBezTo>
                  <a:cubicBezTo>
                    <a:pt x="606494" y="934073"/>
                    <a:pt x="612760" y="932614"/>
                    <a:pt x="616294" y="927947"/>
                  </a:cubicBezTo>
                  <a:cubicBezTo>
                    <a:pt x="620838" y="917538"/>
                    <a:pt x="624550" y="906627"/>
                    <a:pt x="630401" y="896864"/>
                  </a:cubicBezTo>
                  <a:close/>
                  <a:moveTo>
                    <a:pt x="919258" y="893258"/>
                  </a:moveTo>
                  <a:cubicBezTo>
                    <a:pt x="921691" y="891434"/>
                    <a:pt x="924852" y="895368"/>
                    <a:pt x="922420" y="897135"/>
                  </a:cubicBezTo>
                  <a:cubicBezTo>
                    <a:pt x="919987" y="898959"/>
                    <a:pt x="916826" y="895026"/>
                    <a:pt x="919258" y="893258"/>
                  </a:cubicBezTo>
                  <a:close/>
                  <a:moveTo>
                    <a:pt x="1091620" y="892939"/>
                  </a:moveTo>
                  <a:cubicBezTo>
                    <a:pt x="1102438" y="903535"/>
                    <a:pt x="1091801" y="918342"/>
                    <a:pt x="1099175" y="930260"/>
                  </a:cubicBezTo>
                  <a:lnTo>
                    <a:pt x="1089867" y="932068"/>
                  </a:lnTo>
                  <a:cubicBezTo>
                    <a:pt x="1085575" y="922497"/>
                    <a:pt x="1078928" y="913529"/>
                    <a:pt x="1077355" y="902933"/>
                  </a:cubicBezTo>
                  <a:cubicBezTo>
                    <a:pt x="1080014" y="897333"/>
                    <a:pt x="1086603" y="895709"/>
                    <a:pt x="1091620" y="892939"/>
                  </a:cubicBezTo>
                  <a:close/>
                  <a:moveTo>
                    <a:pt x="522180" y="886919"/>
                  </a:moveTo>
                  <a:cubicBezTo>
                    <a:pt x="525723" y="891837"/>
                    <a:pt x="534069" y="902464"/>
                    <a:pt x="525901" y="906530"/>
                  </a:cubicBezTo>
                  <a:cubicBezTo>
                    <a:pt x="515153" y="907988"/>
                    <a:pt x="504825" y="904588"/>
                    <a:pt x="494438" y="902342"/>
                  </a:cubicBezTo>
                  <a:cubicBezTo>
                    <a:pt x="497379" y="888984"/>
                    <a:pt x="510893" y="888133"/>
                    <a:pt x="522180" y="886919"/>
                  </a:cubicBezTo>
                  <a:close/>
                  <a:moveTo>
                    <a:pt x="916945" y="873542"/>
                  </a:moveTo>
                  <a:cubicBezTo>
                    <a:pt x="920518" y="872370"/>
                    <a:pt x="921843" y="878345"/>
                    <a:pt x="918271" y="879107"/>
                  </a:cubicBezTo>
                  <a:cubicBezTo>
                    <a:pt x="914640" y="880396"/>
                    <a:pt x="913315" y="874303"/>
                    <a:pt x="916945" y="873542"/>
                  </a:cubicBezTo>
                  <a:close/>
                  <a:moveTo>
                    <a:pt x="950483" y="870794"/>
                  </a:moveTo>
                  <a:cubicBezTo>
                    <a:pt x="954222" y="870351"/>
                    <a:pt x="958163" y="871096"/>
                    <a:pt x="961477" y="872830"/>
                  </a:cubicBezTo>
                  <a:cubicBezTo>
                    <a:pt x="970867" y="877607"/>
                    <a:pt x="981320" y="880381"/>
                    <a:pt x="989478" y="887316"/>
                  </a:cubicBezTo>
                  <a:cubicBezTo>
                    <a:pt x="993344" y="890655"/>
                    <a:pt x="998231" y="882410"/>
                    <a:pt x="1002140" y="886648"/>
                  </a:cubicBezTo>
                  <a:cubicBezTo>
                    <a:pt x="1008216" y="892864"/>
                    <a:pt x="1011997" y="901083"/>
                    <a:pt x="1015566" y="908916"/>
                  </a:cubicBezTo>
                  <a:cubicBezTo>
                    <a:pt x="1013442" y="917880"/>
                    <a:pt x="1010638" y="926742"/>
                    <a:pt x="1008131" y="935603"/>
                  </a:cubicBezTo>
                  <a:cubicBezTo>
                    <a:pt x="1011997" y="930081"/>
                    <a:pt x="1014972" y="923916"/>
                    <a:pt x="1019221" y="918651"/>
                  </a:cubicBezTo>
                  <a:cubicBezTo>
                    <a:pt x="1025679" y="917701"/>
                    <a:pt x="1032562" y="919678"/>
                    <a:pt x="1038723" y="916879"/>
                  </a:cubicBezTo>
                  <a:cubicBezTo>
                    <a:pt x="1046414" y="913642"/>
                    <a:pt x="1055167" y="909019"/>
                    <a:pt x="1063580" y="911844"/>
                  </a:cubicBezTo>
                  <a:cubicBezTo>
                    <a:pt x="1072885" y="916211"/>
                    <a:pt x="1078876" y="925355"/>
                    <a:pt x="1081765" y="934986"/>
                  </a:cubicBezTo>
                  <a:cubicBezTo>
                    <a:pt x="1072800" y="933368"/>
                    <a:pt x="1064047" y="930980"/>
                    <a:pt x="1055464" y="928180"/>
                  </a:cubicBezTo>
                  <a:cubicBezTo>
                    <a:pt x="1074457" y="937863"/>
                    <a:pt x="1091368" y="943437"/>
                    <a:pt x="1107514" y="950731"/>
                  </a:cubicBezTo>
                  <a:cubicBezTo>
                    <a:pt x="1112953" y="953428"/>
                    <a:pt x="1110276" y="961262"/>
                    <a:pt x="1105177" y="962392"/>
                  </a:cubicBezTo>
                  <a:cubicBezTo>
                    <a:pt x="1090136" y="966219"/>
                    <a:pt x="1074797" y="962803"/>
                    <a:pt x="1059713" y="961801"/>
                  </a:cubicBezTo>
                  <a:cubicBezTo>
                    <a:pt x="1064345" y="964138"/>
                    <a:pt x="1069146" y="966296"/>
                    <a:pt x="1073777" y="968556"/>
                  </a:cubicBezTo>
                  <a:cubicBezTo>
                    <a:pt x="1073565" y="970174"/>
                    <a:pt x="1073310" y="971792"/>
                    <a:pt x="1073098" y="973410"/>
                  </a:cubicBezTo>
                  <a:cubicBezTo>
                    <a:pt x="1078281" y="971202"/>
                    <a:pt x="1083720" y="971921"/>
                    <a:pt x="1088606" y="974592"/>
                  </a:cubicBezTo>
                  <a:cubicBezTo>
                    <a:pt x="1080618" y="976518"/>
                    <a:pt x="1072800" y="978856"/>
                    <a:pt x="1065067" y="981655"/>
                  </a:cubicBezTo>
                  <a:cubicBezTo>
                    <a:pt x="1074202" y="984583"/>
                    <a:pt x="1083975" y="983505"/>
                    <a:pt x="1093280" y="982092"/>
                  </a:cubicBezTo>
                  <a:cubicBezTo>
                    <a:pt x="1095362" y="986638"/>
                    <a:pt x="1096934" y="991415"/>
                    <a:pt x="1097997" y="996321"/>
                  </a:cubicBezTo>
                  <a:cubicBezTo>
                    <a:pt x="1103520" y="996373"/>
                    <a:pt x="1112868" y="998042"/>
                    <a:pt x="1112103" y="1005234"/>
                  </a:cubicBezTo>
                  <a:cubicBezTo>
                    <a:pt x="1115502" y="1015045"/>
                    <a:pt x="1105900" y="1016304"/>
                    <a:pt x="1100291" y="1019540"/>
                  </a:cubicBezTo>
                  <a:cubicBezTo>
                    <a:pt x="1110191" y="1019001"/>
                    <a:pt x="1112698" y="1028196"/>
                    <a:pt x="1116182" y="1034899"/>
                  </a:cubicBezTo>
                  <a:lnTo>
                    <a:pt x="1120176" y="1036107"/>
                  </a:lnTo>
                  <a:cubicBezTo>
                    <a:pt x="1119581" y="1027554"/>
                    <a:pt x="1119624" y="1018872"/>
                    <a:pt x="1121833" y="1010550"/>
                  </a:cubicBezTo>
                  <a:cubicBezTo>
                    <a:pt x="1126890" y="1016843"/>
                    <a:pt x="1130501" y="1024086"/>
                    <a:pt x="1133985" y="1031432"/>
                  </a:cubicBezTo>
                  <a:lnTo>
                    <a:pt x="1145118" y="1022288"/>
                  </a:lnTo>
                  <a:cubicBezTo>
                    <a:pt x="1147242" y="1024446"/>
                    <a:pt x="1149409" y="1026655"/>
                    <a:pt x="1151576" y="1028812"/>
                  </a:cubicBezTo>
                  <a:cubicBezTo>
                    <a:pt x="1152808" y="1024985"/>
                    <a:pt x="1154168" y="1021210"/>
                    <a:pt x="1155868" y="1017562"/>
                  </a:cubicBezTo>
                  <a:cubicBezTo>
                    <a:pt x="1162326" y="1024677"/>
                    <a:pt x="1169549" y="1031021"/>
                    <a:pt x="1177792" y="1035927"/>
                  </a:cubicBezTo>
                  <a:cubicBezTo>
                    <a:pt x="1176602" y="1037956"/>
                    <a:pt x="1175413" y="1039934"/>
                    <a:pt x="1174266" y="1041963"/>
                  </a:cubicBezTo>
                  <a:cubicBezTo>
                    <a:pt x="1179662" y="1039702"/>
                    <a:pt x="1185143" y="1037673"/>
                    <a:pt x="1190837" y="1036055"/>
                  </a:cubicBezTo>
                  <a:cubicBezTo>
                    <a:pt x="1188542" y="1033101"/>
                    <a:pt x="1186290" y="1030173"/>
                    <a:pt x="1184081" y="1027194"/>
                  </a:cubicBezTo>
                  <a:cubicBezTo>
                    <a:pt x="1203923" y="1020542"/>
                    <a:pt x="1224276" y="1013016"/>
                    <a:pt x="1239615" y="998170"/>
                  </a:cubicBezTo>
                  <a:cubicBezTo>
                    <a:pt x="1244331" y="1001047"/>
                    <a:pt x="1248877" y="1004463"/>
                    <a:pt x="1254231" y="1005953"/>
                  </a:cubicBezTo>
                  <a:cubicBezTo>
                    <a:pt x="1261752" y="1004515"/>
                    <a:pt x="1267573" y="998710"/>
                    <a:pt x="1274966" y="996912"/>
                  </a:cubicBezTo>
                  <a:cubicBezTo>
                    <a:pt x="1285121" y="996989"/>
                    <a:pt x="1294936" y="999737"/>
                    <a:pt x="1304369" y="1003384"/>
                  </a:cubicBezTo>
                  <a:cubicBezTo>
                    <a:pt x="1303052" y="1007160"/>
                    <a:pt x="1301862" y="1010987"/>
                    <a:pt x="1300630" y="1014814"/>
                  </a:cubicBezTo>
                  <a:cubicBezTo>
                    <a:pt x="1309510" y="1016432"/>
                    <a:pt x="1320090" y="1013119"/>
                    <a:pt x="1327696" y="1019103"/>
                  </a:cubicBezTo>
                  <a:cubicBezTo>
                    <a:pt x="1333135" y="1023187"/>
                    <a:pt x="1326124" y="1029095"/>
                    <a:pt x="1323914" y="1033101"/>
                  </a:cubicBezTo>
                  <a:cubicBezTo>
                    <a:pt x="1328588" y="1032768"/>
                    <a:pt x="1333390" y="1031869"/>
                    <a:pt x="1338021" y="1032768"/>
                  </a:cubicBezTo>
                  <a:cubicBezTo>
                    <a:pt x="1342057" y="1039035"/>
                    <a:pt x="1343884" y="1047228"/>
                    <a:pt x="1342397" y="1054651"/>
                  </a:cubicBezTo>
                  <a:cubicBezTo>
                    <a:pt x="1336534" y="1062844"/>
                    <a:pt x="1327738" y="1068521"/>
                    <a:pt x="1320813" y="1075892"/>
                  </a:cubicBezTo>
                  <a:cubicBezTo>
                    <a:pt x="1327356" y="1080669"/>
                    <a:pt x="1334197" y="1076483"/>
                    <a:pt x="1340443" y="1073606"/>
                  </a:cubicBezTo>
                  <a:cubicBezTo>
                    <a:pt x="1342695" y="1078461"/>
                    <a:pt x="1344989" y="1083264"/>
                    <a:pt x="1347241" y="1088092"/>
                  </a:cubicBezTo>
                  <a:cubicBezTo>
                    <a:pt x="1340825" y="1089762"/>
                    <a:pt x="1334409" y="1091277"/>
                    <a:pt x="1327823" y="1092048"/>
                  </a:cubicBezTo>
                  <a:cubicBezTo>
                    <a:pt x="1327059" y="1099214"/>
                    <a:pt x="1326931" y="1106457"/>
                    <a:pt x="1327356" y="1113648"/>
                  </a:cubicBezTo>
                  <a:cubicBezTo>
                    <a:pt x="1313292" y="1113597"/>
                    <a:pt x="1298633" y="1114059"/>
                    <a:pt x="1288180" y="1125078"/>
                  </a:cubicBezTo>
                  <a:cubicBezTo>
                    <a:pt x="1279767" y="1121302"/>
                    <a:pt x="1270717" y="1118965"/>
                    <a:pt x="1261454" y="1118734"/>
                  </a:cubicBezTo>
                  <a:cubicBezTo>
                    <a:pt x="1260520" y="1105275"/>
                    <a:pt x="1257036" y="1091868"/>
                    <a:pt x="1245691" y="1083726"/>
                  </a:cubicBezTo>
                  <a:cubicBezTo>
                    <a:pt x="1248665" y="1092176"/>
                    <a:pt x="1253041" y="1101191"/>
                    <a:pt x="1248793" y="1110053"/>
                  </a:cubicBezTo>
                  <a:cubicBezTo>
                    <a:pt x="1247475" y="1119196"/>
                    <a:pt x="1237108" y="1119505"/>
                    <a:pt x="1229715" y="1120583"/>
                  </a:cubicBezTo>
                  <a:cubicBezTo>
                    <a:pt x="1221302" y="1120994"/>
                    <a:pt x="1212889" y="1119864"/>
                    <a:pt x="1204518" y="1120943"/>
                  </a:cubicBezTo>
                  <a:cubicBezTo>
                    <a:pt x="1203244" y="1118554"/>
                    <a:pt x="1201926" y="1116217"/>
                    <a:pt x="1200609" y="1113880"/>
                  </a:cubicBezTo>
                  <a:cubicBezTo>
                    <a:pt x="1199250" y="1116448"/>
                    <a:pt x="1197932" y="1119094"/>
                    <a:pt x="1196615" y="1121662"/>
                  </a:cubicBezTo>
                  <a:lnTo>
                    <a:pt x="1185270" y="1124230"/>
                  </a:lnTo>
                  <a:cubicBezTo>
                    <a:pt x="1185143" y="1120943"/>
                    <a:pt x="1185015" y="1117707"/>
                    <a:pt x="1184973" y="1114419"/>
                  </a:cubicBezTo>
                  <a:cubicBezTo>
                    <a:pt x="1181744" y="1118143"/>
                    <a:pt x="1178217" y="1122201"/>
                    <a:pt x="1172948" y="1122561"/>
                  </a:cubicBezTo>
                  <a:cubicBezTo>
                    <a:pt x="1158119" y="1124359"/>
                    <a:pt x="1142611" y="1126208"/>
                    <a:pt x="1128207" y="1121354"/>
                  </a:cubicBezTo>
                  <a:cubicBezTo>
                    <a:pt x="1125445" y="1110720"/>
                    <a:pt x="1131436" y="1099650"/>
                    <a:pt x="1127060" y="1089043"/>
                  </a:cubicBezTo>
                  <a:cubicBezTo>
                    <a:pt x="1124128" y="1094077"/>
                    <a:pt x="1121918" y="1099291"/>
                    <a:pt x="1120346" y="1105018"/>
                  </a:cubicBezTo>
                  <a:cubicBezTo>
                    <a:pt x="1118986" y="1102167"/>
                    <a:pt x="1117627" y="1099342"/>
                    <a:pt x="1116182" y="1096542"/>
                  </a:cubicBezTo>
                  <a:cubicBezTo>
                    <a:pt x="1113718" y="1104248"/>
                    <a:pt x="1112486" y="1114188"/>
                    <a:pt x="1103605" y="1117244"/>
                  </a:cubicBezTo>
                  <a:cubicBezTo>
                    <a:pt x="1089796" y="1123280"/>
                    <a:pt x="1078579" y="1109333"/>
                    <a:pt x="1067659" y="1102810"/>
                  </a:cubicBezTo>
                  <a:cubicBezTo>
                    <a:pt x="1070038" y="1097364"/>
                    <a:pt x="1071993" y="1091739"/>
                    <a:pt x="1073735" y="1086012"/>
                  </a:cubicBezTo>
                  <a:cubicBezTo>
                    <a:pt x="1067701" y="1093255"/>
                    <a:pt x="1061243" y="1101371"/>
                    <a:pt x="1063452" y="1111491"/>
                  </a:cubicBezTo>
                  <a:cubicBezTo>
                    <a:pt x="1056272" y="1107715"/>
                    <a:pt x="1047434" y="1104479"/>
                    <a:pt x="1043610" y="1096902"/>
                  </a:cubicBezTo>
                  <a:cubicBezTo>
                    <a:pt x="1041698" y="1086731"/>
                    <a:pt x="1039913" y="1076123"/>
                    <a:pt x="1041400" y="1065721"/>
                  </a:cubicBezTo>
                  <a:cubicBezTo>
                    <a:pt x="1028271" y="1057528"/>
                    <a:pt x="1031798" y="1037905"/>
                    <a:pt x="1038553" y="1026475"/>
                  </a:cubicBezTo>
                  <a:cubicBezTo>
                    <a:pt x="1046287" y="1016663"/>
                    <a:pt x="1039871" y="1003795"/>
                    <a:pt x="1038723" y="993136"/>
                  </a:cubicBezTo>
                  <a:cubicBezTo>
                    <a:pt x="1027591" y="978856"/>
                    <a:pt x="1023597" y="960953"/>
                    <a:pt x="1017011" y="944387"/>
                  </a:cubicBezTo>
                  <a:cubicBezTo>
                    <a:pt x="1012125" y="946185"/>
                    <a:pt x="1007323" y="948214"/>
                    <a:pt x="1002437" y="950063"/>
                  </a:cubicBezTo>
                  <a:cubicBezTo>
                    <a:pt x="1002267" y="951990"/>
                    <a:pt x="1002055" y="953890"/>
                    <a:pt x="1001970" y="955868"/>
                  </a:cubicBezTo>
                  <a:cubicBezTo>
                    <a:pt x="994364" y="954430"/>
                    <a:pt x="986886" y="952118"/>
                    <a:pt x="979238" y="951681"/>
                  </a:cubicBezTo>
                  <a:cubicBezTo>
                    <a:pt x="973374" y="953608"/>
                    <a:pt x="968020" y="956844"/>
                    <a:pt x="962029" y="958385"/>
                  </a:cubicBezTo>
                  <a:cubicBezTo>
                    <a:pt x="964834" y="953839"/>
                    <a:pt x="968020" y="949601"/>
                    <a:pt x="971335" y="945414"/>
                  </a:cubicBezTo>
                  <a:cubicBezTo>
                    <a:pt x="960712" y="944027"/>
                    <a:pt x="949495" y="940791"/>
                    <a:pt x="943801" y="930877"/>
                  </a:cubicBezTo>
                  <a:lnTo>
                    <a:pt x="954381" y="925483"/>
                  </a:lnTo>
                  <a:cubicBezTo>
                    <a:pt x="943929" y="921117"/>
                    <a:pt x="936876" y="911613"/>
                    <a:pt x="926423" y="907221"/>
                  </a:cubicBezTo>
                  <a:cubicBezTo>
                    <a:pt x="926211" y="904293"/>
                    <a:pt x="925998" y="901365"/>
                    <a:pt x="925701" y="898437"/>
                  </a:cubicBezTo>
                  <a:cubicBezTo>
                    <a:pt x="929525" y="900004"/>
                    <a:pt x="933349" y="901442"/>
                    <a:pt x="937173" y="902855"/>
                  </a:cubicBezTo>
                  <a:cubicBezTo>
                    <a:pt x="937088" y="894019"/>
                    <a:pt x="923534" y="890732"/>
                    <a:pt x="930545" y="881511"/>
                  </a:cubicBezTo>
                  <a:cubicBezTo>
                    <a:pt x="927783" y="881922"/>
                    <a:pt x="925021" y="882410"/>
                    <a:pt x="922344" y="882949"/>
                  </a:cubicBezTo>
                  <a:cubicBezTo>
                    <a:pt x="928760" y="881280"/>
                    <a:pt x="936153" y="881331"/>
                    <a:pt x="940700" y="875886"/>
                  </a:cubicBezTo>
                  <a:cubicBezTo>
                    <a:pt x="943207" y="872868"/>
                    <a:pt x="946744" y="871237"/>
                    <a:pt x="950483" y="870794"/>
                  </a:cubicBezTo>
                  <a:close/>
                  <a:moveTo>
                    <a:pt x="520598" y="860251"/>
                  </a:moveTo>
                  <a:cubicBezTo>
                    <a:pt x="524000" y="858825"/>
                    <a:pt x="526041" y="864184"/>
                    <a:pt x="522392" y="865040"/>
                  </a:cubicBezTo>
                  <a:cubicBezTo>
                    <a:pt x="518928" y="866351"/>
                    <a:pt x="517011" y="861163"/>
                    <a:pt x="520598" y="860251"/>
                  </a:cubicBezTo>
                  <a:close/>
                  <a:moveTo>
                    <a:pt x="753457" y="856821"/>
                  </a:moveTo>
                  <a:lnTo>
                    <a:pt x="757804" y="863373"/>
                  </a:lnTo>
                  <a:cubicBezTo>
                    <a:pt x="753698" y="865981"/>
                    <a:pt x="749170" y="867862"/>
                    <a:pt x="744761" y="869864"/>
                  </a:cubicBezTo>
                  <a:cubicBezTo>
                    <a:pt x="747055" y="865072"/>
                    <a:pt x="750015" y="860764"/>
                    <a:pt x="753457" y="856821"/>
                  </a:cubicBezTo>
                  <a:close/>
                  <a:moveTo>
                    <a:pt x="1069801" y="850894"/>
                  </a:moveTo>
                  <a:cubicBezTo>
                    <a:pt x="1073296" y="851767"/>
                    <a:pt x="1075771" y="854647"/>
                    <a:pt x="1074691" y="859810"/>
                  </a:cubicBezTo>
                  <a:cubicBezTo>
                    <a:pt x="1069831" y="866853"/>
                    <a:pt x="1062690" y="857720"/>
                    <a:pt x="1058791" y="854021"/>
                  </a:cubicBezTo>
                  <a:cubicBezTo>
                    <a:pt x="1061791" y="851156"/>
                    <a:pt x="1066306" y="850021"/>
                    <a:pt x="1069801" y="850894"/>
                  </a:cubicBezTo>
                  <a:close/>
                  <a:moveTo>
                    <a:pt x="956456" y="848793"/>
                  </a:moveTo>
                  <a:cubicBezTo>
                    <a:pt x="960508" y="850805"/>
                    <a:pt x="964561" y="852934"/>
                    <a:pt x="968495" y="855242"/>
                  </a:cubicBezTo>
                  <a:lnTo>
                    <a:pt x="964384" y="861334"/>
                  </a:lnTo>
                  <a:cubicBezTo>
                    <a:pt x="961565" y="857252"/>
                    <a:pt x="958982" y="853052"/>
                    <a:pt x="956456" y="848793"/>
                  </a:cubicBezTo>
                  <a:close/>
                  <a:moveTo>
                    <a:pt x="448747" y="816184"/>
                  </a:moveTo>
                  <a:cubicBezTo>
                    <a:pt x="455680" y="816366"/>
                    <a:pt x="462362" y="818345"/>
                    <a:pt x="468287" y="822050"/>
                  </a:cubicBezTo>
                  <a:lnTo>
                    <a:pt x="458255" y="826717"/>
                  </a:lnTo>
                  <a:cubicBezTo>
                    <a:pt x="463676" y="827843"/>
                    <a:pt x="469187" y="828623"/>
                    <a:pt x="474626" y="829350"/>
                  </a:cubicBezTo>
                  <a:cubicBezTo>
                    <a:pt x="477075" y="834307"/>
                    <a:pt x="479939" y="839265"/>
                    <a:pt x="480893" y="844767"/>
                  </a:cubicBezTo>
                  <a:cubicBezTo>
                    <a:pt x="474806" y="851468"/>
                    <a:pt x="463622" y="853212"/>
                    <a:pt x="459984" y="862001"/>
                  </a:cubicBezTo>
                  <a:cubicBezTo>
                    <a:pt x="463856" y="870736"/>
                    <a:pt x="469907" y="878327"/>
                    <a:pt x="474554" y="886644"/>
                  </a:cubicBezTo>
                  <a:cubicBezTo>
                    <a:pt x="469187" y="885754"/>
                    <a:pt x="463802" y="884737"/>
                    <a:pt x="458490" y="883720"/>
                  </a:cubicBezTo>
                  <a:cubicBezTo>
                    <a:pt x="463334" y="891910"/>
                    <a:pt x="472051" y="899809"/>
                    <a:pt x="470862" y="910088"/>
                  </a:cubicBezTo>
                  <a:cubicBezTo>
                    <a:pt x="464937" y="919004"/>
                    <a:pt x="452745" y="919731"/>
                    <a:pt x="444623" y="925887"/>
                  </a:cubicBezTo>
                  <a:cubicBezTo>
                    <a:pt x="441165" y="934495"/>
                    <a:pt x="446477" y="947479"/>
                    <a:pt x="436915" y="952509"/>
                  </a:cubicBezTo>
                  <a:cubicBezTo>
                    <a:pt x="428198" y="955069"/>
                    <a:pt x="421553" y="945209"/>
                    <a:pt x="419644" y="937854"/>
                  </a:cubicBezTo>
                  <a:cubicBezTo>
                    <a:pt x="418563" y="923853"/>
                    <a:pt x="423048" y="910088"/>
                    <a:pt x="425569" y="896450"/>
                  </a:cubicBezTo>
                  <a:cubicBezTo>
                    <a:pt x="421733" y="898484"/>
                    <a:pt x="417681" y="900227"/>
                    <a:pt x="414097" y="902788"/>
                  </a:cubicBezTo>
                  <a:cubicBezTo>
                    <a:pt x="410801" y="910451"/>
                    <a:pt x="413142" y="919894"/>
                    <a:pt x="408478" y="927140"/>
                  </a:cubicBezTo>
                  <a:cubicBezTo>
                    <a:pt x="404894" y="927739"/>
                    <a:pt x="401184" y="927376"/>
                    <a:pt x="397546" y="927267"/>
                  </a:cubicBezTo>
                  <a:cubicBezTo>
                    <a:pt x="400230" y="931026"/>
                    <a:pt x="403273" y="934622"/>
                    <a:pt x="405074" y="938980"/>
                  </a:cubicBezTo>
                  <a:cubicBezTo>
                    <a:pt x="402805" y="950348"/>
                    <a:pt x="398501" y="961171"/>
                    <a:pt x="394485" y="971994"/>
                  </a:cubicBezTo>
                  <a:cubicBezTo>
                    <a:pt x="387029" y="964876"/>
                    <a:pt x="386363" y="954234"/>
                    <a:pt x="384040" y="944791"/>
                  </a:cubicBezTo>
                  <a:cubicBezTo>
                    <a:pt x="382725" y="945499"/>
                    <a:pt x="381338" y="946280"/>
                    <a:pt x="380024" y="947061"/>
                  </a:cubicBezTo>
                  <a:cubicBezTo>
                    <a:pt x="380690" y="958066"/>
                    <a:pt x="382239" y="969071"/>
                    <a:pt x="382725" y="980075"/>
                  </a:cubicBezTo>
                  <a:cubicBezTo>
                    <a:pt x="381284" y="990790"/>
                    <a:pt x="370659" y="995148"/>
                    <a:pt x="361564" y="997781"/>
                  </a:cubicBezTo>
                  <a:cubicBezTo>
                    <a:pt x="359007" y="983671"/>
                    <a:pt x="355585" y="969670"/>
                    <a:pt x="351713" y="955905"/>
                  </a:cubicBezTo>
                  <a:cubicBezTo>
                    <a:pt x="349624" y="964821"/>
                    <a:pt x="349084" y="973974"/>
                    <a:pt x="348417" y="983072"/>
                  </a:cubicBezTo>
                  <a:cubicBezTo>
                    <a:pt x="339161" y="986304"/>
                    <a:pt x="332173" y="979240"/>
                    <a:pt x="326374" y="973011"/>
                  </a:cubicBezTo>
                  <a:cubicBezTo>
                    <a:pt x="321296" y="979785"/>
                    <a:pt x="316163" y="986413"/>
                    <a:pt x="310472" y="992642"/>
                  </a:cubicBezTo>
                  <a:cubicBezTo>
                    <a:pt x="310130" y="987848"/>
                    <a:pt x="309824" y="983126"/>
                    <a:pt x="309698" y="978405"/>
                  </a:cubicBezTo>
                  <a:cubicBezTo>
                    <a:pt x="306708" y="978169"/>
                    <a:pt x="303737" y="977987"/>
                    <a:pt x="300801" y="977805"/>
                  </a:cubicBezTo>
                  <a:lnTo>
                    <a:pt x="300801" y="974391"/>
                  </a:lnTo>
                  <a:cubicBezTo>
                    <a:pt x="304745" y="974573"/>
                    <a:pt x="308689" y="974864"/>
                    <a:pt x="312633" y="975172"/>
                  </a:cubicBezTo>
                  <a:cubicBezTo>
                    <a:pt x="311318" y="970378"/>
                    <a:pt x="309770" y="965657"/>
                    <a:pt x="308275" y="960935"/>
                  </a:cubicBezTo>
                  <a:cubicBezTo>
                    <a:pt x="305754" y="963695"/>
                    <a:pt x="303250" y="966437"/>
                    <a:pt x="300801" y="969252"/>
                  </a:cubicBezTo>
                  <a:lnTo>
                    <a:pt x="300801" y="966982"/>
                  </a:lnTo>
                  <a:cubicBezTo>
                    <a:pt x="305393" y="954779"/>
                    <a:pt x="312093" y="942757"/>
                    <a:pt x="322376" y="934495"/>
                  </a:cubicBezTo>
                  <a:cubicBezTo>
                    <a:pt x="328823" y="935275"/>
                    <a:pt x="334316" y="938980"/>
                    <a:pt x="339827" y="942267"/>
                  </a:cubicBezTo>
                  <a:cubicBezTo>
                    <a:pt x="338332" y="935221"/>
                    <a:pt x="335937" y="927321"/>
                    <a:pt x="340115" y="920748"/>
                  </a:cubicBezTo>
                  <a:cubicBezTo>
                    <a:pt x="342799" y="914809"/>
                    <a:pt x="348958" y="909743"/>
                    <a:pt x="347535" y="902624"/>
                  </a:cubicBezTo>
                  <a:cubicBezTo>
                    <a:pt x="350867" y="903750"/>
                    <a:pt x="354216" y="904949"/>
                    <a:pt x="357620" y="906147"/>
                  </a:cubicBezTo>
                  <a:cubicBezTo>
                    <a:pt x="360249" y="899501"/>
                    <a:pt x="362338" y="892618"/>
                    <a:pt x="365634" y="886281"/>
                  </a:cubicBezTo>
                  <a:cubicBezTo>
                    <a:pt x="373216" y="870554"/>
                    <a:pt x="387984" y="858896"/>
                    <a:pt x="391675" y="841244"/>
                  </a:cubicBezTo>
                  <a:cubicBezTo>
                    <a:pt x="394017" y="843169"/>
                    <a:pt x="396412" y="845022"/>
                    <a:pt x="398861" y="846874"/>
                  </a:cubicBezTo>
                  <a:cubicBezTo>
                    <a:pt x="400104" y="843750"/>
                    <a:pt x="401364" y="840645"/>
                    <a:pt x="402625" y="837540"/>
                  </a:cubicBezTo>
                  <a:cubicBezTo>
                    <a:pt x="417014" y="835452"/>
                    <a:pt x="431530" y="837540"/>
                    <a:pt x="443614" y="846093"/>
                  </a:cubicBezTo>
                  <a:cubicBezTo>
                    <a:pt x="442227" y="843278"/>
                    <a:pt x="440913" y="840409"/>
                    <a:pt x="439598" y="837594"/>
                  </a:cubicBezTo>
                  <a:lnTo>
                    <a:pt x="450115" y="840645"/>
                  </a:lnTo>
                  <a:cubicBezTo>
                    <a:pt x="450421" y="839628"/>
                    <a:pt x="450710" y="838611"/>
                    <a:pt x="451016" y="837594"/>
                  </a:cubicBezTo>
                  <a:cubicBezTo>
                    <a:pt x="447018" y="833345"/>
                    <a:pt x="443362" y="828805"/>
                    <a:pt x="440210" y="823902"/>
                  </a:cubicBezTo>
                  <a:cubicBezTo>
                    <a:pt x="444677" y="825627"/>
                    <a:pt x="449161" y="827498"/>
                    <a:pt x="453591" y="829531"/>
                  </a:cubicBezTo>
                  <a:cubicBezTo>
                    <a:pt x="451916" y="825028"/>
                    <a:pt x="450295" y="820615"/>
                    <a:pt x="448747" y="816184"/>
                  </a:cubicBezTo>
                  <a:close/>
                  <a:moveTo>
                    <a:pt x="1211561" y="813676"/>
                  </a:moveTo>
                  <a:cubicBezTo>
                    <a:pt x="1213105" y="817237"/>
                    <a:pt x="1214648" y="820860"/>
                    <a:pt x="1216311" y="824421"/>
                  </a:cubicBezTo>
                  <a:lnTo>
                    <a:pt x="1209305" y="828224"/>
                  </a:lnTo>
                  <a:cubicBezTo>
                    <a:pt x="1206929" y="823756"/>
                    <a:pt x="1204376" y="819411"/>
                    <a:pt x="1201763" y="815125"/>
                  </a:cubicBezTo>
                  <a:cubicBezTo>
                    <a:pt x="1205029" y="814702"/>
                    <a:pt x="1208295" y="814219"/>
                    <a:pt x="1211561" y="813676"/>
                  </a:cubicBezTo>
                  <a:close/>
                  <a:moveTo>
                    <a:pt x="1073870" y="807288"/>
                  </a:moveTo>
                  <a:cubicBezTo>
                    <a:pt x="1077973" y="807146"/>
                    <a:pt x="1082023" y="807864"/>
                    <a:pt x="1085619" y="810078"/>
                  </a:cubicBezTo>
                  <a:cubicBezTo>
                    <a:pt x="1094990" y="818097"/>
                    <a:pt x="1100429" y="830781"/>
                    <a:pt x="1099463" y="843052"/>
                  </a:cubicBezTo>
                  <a:cubicBezTo>
                    <a:pt x="1097466" y="849456"/>
                    <a:pt x="1090695" y="859327"/>
                    <a:pt x="1082958" y="854781"/>
                  </a:cubicBezTo>
                  <a:cubicBezTo>
                    <a:pt x="1075522" y="849751"/>
                    <a:pt x="1067484" y="844067"/>
                    <a:pt x="1063556" y="835811"/>
                  </a:cubicBezTo>
                  <a:cubicBezTo>
                    <a:pt x="1061864" y="827255"/>
                    <a:pt x="1062347" y="818334"/>
                    <a:pt x="1061802" y="809659"/>
                  </a:cubicBezTo>
                  <a:cubicBezTo>
                    <a:pt x="1065611" y="808433"/>
                    <a:pt x="1069767" y="807430"/>
                    <a:pt x="1073870" y="807288"/>
                  </a:cubicBezTo>
                  <a:close/>
                  <a:moveTo>
                    <a:pt x="712017" y="793108"/>
                  </a:moveTo>
                  <a:cubicBezTo>
                    <a:pt x="723790" y="802208"/>
                    <a:pt x="734601" y="815253"/>
                    <a:pt x="732199" y="831056"/>
                  </a:cubicBezTo>
                  <a:cubicBezTo>
                    <a:pt x="743911" y="835067"/>
                    <a:pt x="750277" y="850929"/>
                    <a:pt x="745173" y="862005"/>
                  </a:cubicBezTo>
                  <a:cubicBezTo>
                    <a:pt x="736764" y="866850"/>
                    <a:pt x="725891" y="860265"/>
                    <a:pt x="722770" y="852065"/>
                  </a:cubicBezTo>
                  <a:cubicBezTo>
                    <a:pt x="715742" y="833570"/>
                    <a:pt x="711959" y="814176"/>
                    <a:pt x="706132" y="795320"/>
                  </a:cubicBezTo>
                  <a:close/>
                  <a:moveTo>
                    <a:pt x="1006431" y="791604"/>
                  </a:moveTo>
                  <a:cubicBezTo>
                    <a:pt x="1010561" y="795152"/>
                    <a:pt x="1014506" y="798881"/>
                    <a:pt x="1018159" y="802903"/>
                  </a:cubicBezTo>
                  <a:cubicBezTo>
                    <a:pt x="1010619" y="809705"/>
                    <a:pt x="1007444" y="819288"/>
                    <a:pt x="1007511" y="829228"/>
                  </a:cubicBezTo>
                  <a:cubicBezTo>
                    <a:pt x="992608" y="828340"/>
                    <a:pt x="978006" y="824081"/>
                    <a:pt x="962985" y="825680"/>
                  </a:cubicBezTo>
                  <a:cubicBezTo>
                    <a:pt x="954549" y="828754"/>
                    <a:pt x="946414" y="824672"/>
                    <a:pt x="942703" y="817395"/>
                  </a:cubicBezTo>
                  <a:cubicBezTo>
                    <a:pt x="934384" y="807399"/>
                    <a:pt x="946289" y="794031"/>
                    <a:pt x="956643" y="791841"/>
                  </a:cubicBezTo>
                  <a:cubicBezTo>
                    <a:pt x="964903" y="793022"/>
                    <a:pt x="973164" y="794087"/>
                    <a:pt x="981474" y="792609"/>
                  </a:cubicBezTo>
                  <a:cubicBezTo>
                    <a:pt x="989977" y="791604"/>
                    <a:pt x="998715" y="797579"/>
                    <a:pt x="1006431" y="791604"/>
                  </a:cubicBezTo>
                  <a:close/>
                  <a:moveTo>
                    <a:pt x="1390884" y="782073"/>
                  </a:moveTo>
                  <a:cubicBezTo>
                    <a:pt x="1389120" y="786699"/>
                    <a:pt x="1385776" y="790244"/>
                    <a:pt x="1381094" y="792106"/>
                  </a:cubicBezTo>
                  <a:lnTo>
                    <a:pt x="1380851" y="784356"/>
                  </a:lnTo>
                  <a:cubicBezTo>
                    <a:pt x="1384195" y="783515"/>
                    <a:pt x="1387479" y="782734"/>
                    <a:pt x="1390884" y="782073"/>
                  </a:cubicBezTo>
                  <a:close/>
                  <a:moveTo>
                    <a:pt x="803614" y="778388"/>
                  </a:moveTo>
                  <a:cubicBezTo>
                    <a:pt x="807692" y="777971"/>
                    <a:pt x="811709" y="778135"/>
                    <a:pt x="815458" y="780217"/>
                  </a:cubicBezTo>
                  <a:cubicBezTo>
                    <a:pt x="822711" y="783250"/>
                    <a:pt x="826908" y="790091"/>
                    <a:pt x="831045" y="796275"/>
                  </a:cubicBezTo>
                  <a:cubicBezTo>
                    <a:pt x="821573" y="797107"/>
                    <a:pt x="812759" y="801154"/>
                    <a:pt x="803525" y="802640"/>
                  </a:cubicBezTo>
                  <a:cubicBezTo>
                    <a:pt x="793994" y="799606"/>
                    <a:pt x="791775" y="788722"/>
                    <a:pt x="791414" y="780039"/>
                  </a:cubicBezTo>
                  <a:cubicBezTo>
                    <a:pt x="795401" y="779801"/>
                    <a:pt x="799537" y="778804"/>
                    <a:pt x="803614" y="778388"/>
                  </a:cubicBezTo>
                  <a:close/>
                  <a:moveTo>
                    <a:pt x="507330" y="758997"/>
                  </a:moveTo>
                  <a:cubicBezTo>
                    <a:pt x="514603" y="768348"/>
                    <a:pt x="521037" y="778232"/>
                    <a:pt x="527045" y="788414"/>
                  </a:cubicBezTo>
                  <a:cubicBezTo>
                    <a:pt x="522538" y="794073"/>
                    <a:pt x="516826" y="798661"/>
                    <a:pt x="510095" y="801637"/>
                  </a:cubicBezTo>
                  <a:cubicBezTo>
                    <a:pt x="502522" y="792167"/>
                    <a:pt x="494771" y="782760"/>
                    <a:pt x="489421" y="771802"/>
                  </a:cubicBezTo>
                  <a:cubicBezTo>
                    <a:pt x="495369" y="767512"/>
                    <a:pt x="501261" y="763167"/>
                    <a:pt x="507330" y="758997"/>
                  </a:cubicBezTo>
                  <a:close/>
                  <a:moveTo>
                    <a:pt x="613413" y="753132"/>
                  </a:moveTo>
                  <a:cubicBezTo>
                    <a:pt x="616710" y="753506"/>
                    <a:pt x="619888" y="754639"/>
                    <a:pt x="622878" y="757032"/>
                  </a:cubicBezTo>
                  <a:cubicBezTo>
                    <a:pt x="625870" y="775949"/>
                    <a:pt x="602362" y="779301"/>
                    <a:pt x="589256" y="782479"/>
                  </a:cubicBezTo>
                  <a:cubicBezTo>
                    <a:pt x="593206" y="791812"/>
                    <a:pt x="602296" y="791812"/>
                    <a:pt x="610729" y="793257"/>
                  </a:cubicBezTo>
                  <a:cubicBezTo>
                    <a:pt x="610073" y="803312"/>
                    <a:pt x="613609" y="816893"/>
                    <a:pt x="604754" y="824502"/>
                  </a:cubicBezTo>
                  <a:cubicBezTo>
                    <a:pt x="592727" y="831918"/>
                    <a:pt x="578187" y="833479"/>
                    <a:pt x="565748" y="840125"/>
                  </a:cubicBezTo>
                  <a:cubicBezTo>
                    <a:pt x="559462" y="843775"/>
                    <a:pt x="555213" y="837129"/>
                    <a:pt x="551620" y="833065"/>
                  </a:cubicBezTo>
                  <a:cubicBezTo>
                    <a:pt x="547314" y="827555"/>
                    <a:pt x="541273" y="823905"/>
                    <a:pt x="536610" y="818810"/>
                  </a:cubicBezTo>
                  <a:cubicBezTo>
                    <a:pt x="535888" y="814745"/>
                    <a:pt x="536488" y="810613"/>
                    <a:pt x="536667" y="806539"/>
                  </a:cubicBezTo>
                  <a:cubicBezTo>
                    <a:pt x="534697" y="797206"/>
                    <a:pt x="532061" y="787324"/>
                    <a:pt x="535410" y="778588"/>
                  </a:cubicBezTo>
                  <a:cubicBezTo>
                    <a:pt x="548871" y="767512"/>
                    <a:pt x="566039" y="762002"/>
                    <a:pt x="582380" y="756734"/>
                  </a:cubicBezTo>
                  <a:cubicBezTo>
                    <a:pt x="592561" y="757723"/>
                    <a:pt x="603523" y="752011"/>
                    <a:pt x="613413" y="753132"/>
                  </a:cubicBezTo>
                  <a:close/>
                  <a:moveTo>
                    <a:pt x="809642" y="741170"/>
                  </a:moveTo>
                  <a:cubicBezTo>
                    <a:pt x="813239" y="738930"/>
                    <a:pt x="815996" y="745287"/>
                    <a:pt x="812820" y="747346"/>
                  </a:cubicBezTo>
                  <a:cubicBezTo>
                    <a:pt x="809283" y="749465"/>
                    <a:pt x="806465" y="743228"/>
                    <a:pt x="809642" y="741170"/>
                  </a:cubicBezTo>
                  <a:close/>
                  <a:moveTo>
                    <a:pt x="779986" y="732912"/>
                  </a:moveTo>
                  <a:cubicBezTo>
                    <a:pt x="782270" y="735265"/>
                    <a:pt x="784554" y="737621"/>
                    <a:pt x="786899" y="739854"/>
                  </a:cubicBezTo>
                  <a:cubicBezTo>
                    <a:pt x="782991" y="744624"/>
                    <a:pt x="779024" y="749453"/>
                    <a:pt x="774815" y="753981"/>
                  </a:cubicBezTo>
                  <a:cubicBezTo>
                    <a:pt x="772351" y="746314"/>
                    <a:pt x="775777" y="739191"/>
                    <a:pt x="779986" y="732912"/>
                  </a:cubicBezTo>
                  <a:close/>
                  <a:moveTo>
                    <a:pt x="1138054" y="713348"/>
                  </a:moveTo>
                  <a:cubicBezTo>
                    <a:pt x="1137995" y="722322"/>
                    <a:pt x="1135858" y="731118"/>
                    <a:pt x="1132592" y="739434"/>
                  </a:cubicBezTo>
                  <a:cubicBezTo>
                    <a:pt x="1128021" y="730460"/>
                    <a:pt x="1133542" y="721127"/>
                    <a:pt x="1138054" y="713348"/>
                  </a:cubicBezTo>
                  <a:close/>
                  <a:moveTo>
                    <a:pt x="596367" y="676881"/>
                  </a:moveTo>
                  <a:cubicBezTo>
                    <a:pt x="608187" y="676224"/>
                    <a:pt x="613937" y="688653"/>
                    <a:pt x="621314" y="695763"/>
                  </a:cubicBezTo>
                  <a:cubicBezTo>
                    <a:pt x="630908" y="703535"/>
                    <a:pt x="631387" y="717993"/>
                    <a:pt x="627015" y="728750"/>
                  </a:cubicBezTo>
                  <a:cubicBezTo>
                    <a:pt x="618080" y="729884"/>
                    <a:pt x="609086" y="730362"/>
                    <a:pt x="600390" y="733054"/>
                  </a:cubicBezTo>
                  <a:cubicBezTo>
                    <a:pt x="593672" y="730720"/>
                    <a:pt x="589240" y="724267"/>
                    <a:pt x="583540" y="720082"/>
                  </a:cubicBezTo>
                  <a:cubicBezTo>
                    <a:pt x="582102" y="724506"/>
                    <a:pt x="580485" y="728870"/>
                    <a:pt x="578089" y="732869"/>
                  </a:cubicBezTo>
                  <a:cubicBezTo>
                    <a:pt x="569753" y="734427"/>
                    <a:pt x="566329" y="726177"/>
                    <a:pt x="559920" y="723252"/>
                  </a:cubicBezTo>
                  <a:cubicBezTo>
                    <a:pt x="549548" y="723909"/>
                    <a:pt x="542650" y="735920"/>
                    <a:pt x="531559" y="732451"/>
                  </a:cubicBezTo>
                  <a:cubicBezTo>
                    <a:pt x="533536" y="713868"/>
                    <a:pt x="552363" y="699768"/>
                    <a:pt x="570592" y="700544"/>
                  </a:cubicBezTo>
                  <a:cubicBezTo>
                    <a:pt x="578209" y="691823"/>
                    <a:pt x="585217" y="681245"/>
                    <a:pt x="596367" y="676881"/>
                  </a:cubicBezTo>
                  <a:close/>
                  <a:moveTo>
                    <a:pt x="896454" y="668811"/>
                  </a:moveTo>
                  <a:cubicBezTo>
                    <a:pt x="913458" y="667195"/>
                    <a:pt x="925210" y="682213"/>
                    <a:pt x="938926" y="690049"/>
                  </a:cubicBezTo>
                  <a:cubicBezTo>
                    <a:pt x="945664" y="692555"/>
                    <a:pt x="941432" y="699799"/>
                    <a:pt x="940718" y="704821"/>
                  </a:cubicBezTo>
                  <a:cubicBezTo>
                    <a:pt x="946560" y="707092"/>
                    <a:pt x="952698" y="706191"/>
                    <a:pt x="958789" y="706561"/>
                  </a:cubicBezTo>
                  <a:cubicBezTo>
                    <a:pt x="965585" y="710979"/>
                    <a:pt x="971018" y="717149"/>
                    <a:pt x="976498" y="723061"/>
                  </a:cubicBezTo>
                  <a:cubicBezTo>
                    <a:pt x="971847" y="728565"/>
                    <a:pt x="967014" y="733957"/>
                    <a:pt x="961944" y="739091"/>
                  </a:cubicBezTo>
                  <a:cubicBezTo>
                    <a:pt x="970531" y="745558"/>
                    <a:pt x="978528" y="759848"/>
                    <a:pt x="969102" y="768709"/>
                  </a:cubicBezTo>
                  <a:cubicBezTo>
                    <a:pt x="957769" y="774509"/>
                    <a:pt x="945721" y="781506"/>
                    <a:pt x="932664" y="779828"/>
                  </a:cubicBezTo>
                  <a:cubicBezTo>
                    <a:pt x="929861" y="782888"/>
                    <a:pt x="928546" y="786948"/>
                    <a:pt x="926697" y="790601"/>
                  </a:cubicBezTo>
                  <a:cubicBezTo>
                    <a:pt x="925324" y="789700"/>
                    <a:pt x="924009" y="788812"/>
                    <a:pt x="922703" y="787911"/>
                  </a:cubicBezTo>
                  <a:cubicBezTo>
                    <a:pt x="925506" y="775348"/>
                    <a:pt x="914230" y="769128"/>
                    <a:pt x="906062" y="763020"/>
                  </a:cubicBezTo>
                  <a:cubicBezTo>
                    <a:pt x="906958" y="761354"/>
                    <a:pt x="907844" y="759737"/>
                    <a:pt x="908807" y="758120"/>
                  </a:cubicBezTo>
                  <a:cubicBezTo>
                    <a:pt x="915364" y="756985"/>
                    <a:pt x="922227" y="756800"/>
                    <a:pt x="928727" y="755011"/>
                  </a:cubicBezTo>
                  <a:cubicBezTo>
                    <a:pt x="923533" y="746335"/>
                    <a:pt x="913753" y="742991"/>
                    <a:pt x="905042" y="739338"/>
                  </a:cubicBezTo>
                  <a:cubicBezTo>
                    <a:pt x="898189" y="729885"/>
                    <a:pt x="895082" y="718038"/>
                    <a:pt x="889601" y="707746"/>
                  </a:cubicBezTo>
                  <a:cubicBezTo>
                    <a:pt x="892041" y="705722"/>
                    <a:pt x="894672" y="703859"/>
                    <a:pt x="896873" y="701526"/>
                  </a:cubicBezTo>
                  <a:cubicBezTo>
                    <a:pt x="894843" y="690889"/>
                    <a:pt x="883215" y="676166"/>
                    <a:pt x="896454" y="668811"/>
                  </a:cubicBezTo>
                  <a:close/>
                  <a:moveTo>
                    <a:pt x="1196856" y="637796"/>
                  </a:moveTo>
                  <a:cubicBezTo>
                    <a:pt x="1201010" y="638428"/>
                    <a:pt x="1205387" y="640264"/>
                    <a:pt x="1209287" y="640927"/>
                  </a:cubicBezTo>
                  <a:cubicBezTo>
                    <a:pt x="1202440" y="653088"/>
                    <a:pt x="1188266" y="656339"/>
                    <a:pt x="1176178" y="660673"/>
                  </a:cubicBezTo>
                  <a:cubicBezTo>
                    <a:pt x="1178797" y="654171"/>
                    <a:pt x="1179989" y="646467"/>
                    <a:pt x="1185766" y="641891"/>
                  </a:cubicBezTo>
                  <a:cubicBezTo>
                    <a:pt x="1188773" y="637737"/>
                    <a:pt x="1192703" y="637165"/>
                    <a:pt x="1196856" y="637796"/>
                  </a:cubicBezTo>
                  <a:close/>
                  <a:moveTo>
                    <a:pt x="759819" y="598469"/>
                  </a:moveTo>
                  <a:cubicBezTo>
                    <a:pt x="766155" y="603000"/>
                    <a:pt x="773689" y="606292"/>
                    <a:pt x="779263" y="611888"/>
                  </a:cubicBezTo>
                  <a:cubicBezTo>
                    <a:pt x="790200" y="626818"/>
                    <a:pt x="785777" y="645969"/>
                    <a:pt x="790978" y="662680"/>
                  </a:cubicBezTo>
                  <a:cubicBezTo>
                    <a:pt x="793668" y="653017"/>
                    <a:pt x="793846" y="640953"/>
                    <a:pt x="804086" y="635938"/>
                  </a:cubicBezTo>
                  <a:cubicBezTo>
                    <a:pt x="807311" y="632724"/>
                    <a:pt x="810713" y="636713"/>
                    <a:pt x="813111" y="638920"/>
                  </a:cubicBezTo>
                  <a:cubicBezTo>
                    <a:pt x="817665" y="643935"/>
                    <a:pt x="821958" y="649241"/>
                    <a:pt x="827581" y="653075"/>
                  </a:cubicBezTo>
                  <a:cubicBezTo>
                    <a:pt x="825977" y="659930"/>
                    <a:pt x="824243" y="667094"/>
                    <a:pt x="826268" y="674065"/>
                  </a:cubicBezTo>
                  <a:cubicBezTo>
                    <a:pt x="831534" y="672226"/>
                    <a:pt x="836736" y="669651"/>
                    <a:pt x="842358" y="669070"/>
                  </a:cubicBezTo>
                  <a:cubicBezTo>
                    <a:pt x="850022" y="673949"/>
                    <a:pt x="855580" y="682314"/>
                    <a:pt x="853490" y="691609"/>
                  </a:cubicBezTo>
                  <a:cubicBezTo>
                    <a:pt x="857071" y="693294"/>
                    <a:pt x="860716" y="694843"/>
                    <a:pt x="864313" y="696450"/>
                  </a:cubicBezTo>
                  <a:cubicBezTo>
                    <a:pt x="860959" y="706229"/>
                    <a:pt x="852825" y="715853"/>
                    <a:pt x="858027" y="726774"/>
                  </a:cubicBezTo>
                  <a:cubicBezTo>
                    <a:pt x="863536" y="737753"/>
                    <a:pt x="872917" y="746932"/>
                    <a:pt x="875980" y="759169"/>
                  </a:cubicBezTo>
                  <a:cubicBezTo>
                    <a:pt x="876693" y="767709"/>
                    <a:pt x="874003" y="776113"/>
                    <a:pt x="872561" y="784478"/>
                  </a:cubicBezTo>
                  <a:cubicBezTo>
                    <a:pt x="863892" y="786085"/>
                    <a:pt x="854024" y="792107"/>
                    <a:pt x="845404" y="786802"/>
                  </a:cubicBezTo>
                  <a:cubicBezTo>
                    <a:pt x="830935" y="777004"/>
                    <a:pt x="833511" y="757911"/>
                    <a:pt x="827954" y="743175"/>
                  </a:cubicBezTo>
                  <a:lnTo>
                    <a:pt x="821310" y="745092"/>
                  </a:lnTo>
                  <a:cubicBezTo>
                    <a:pt x="816109" y="739651"/>
                    <a:pt x="810065" y="733396"/>
                    <a:pt x="802045" y="733203"/>
                  </a:cubicBezTo>
                  <a:cubicBezTo>
                    <a:pt x="795823" y="734345"/>
                    <a:pt x="789601" y="738218"/>
                    <a:pt x="783508" y="734461"/>
                  </a:cubicBezTo>
                  <a:cubicBezTo>
                    <a:pt x="784821" y="730279"/>
                    <a:pt x="786133" y="726057"/>
                    <a:pt x="787446" y="721817"/>
                  </a:cubicBezTo>
                  <a:cubicBezTo>
                    <a:pt x="776930" y="723075"/>
                    <a:pt x="767240" y="727665"/>
                    <a:pt x="759155" y="734345"/>
                  </a:cubicBezTo>
                  <a:cubicBezTo>
                    <a:pt x="752820" y="740425"/>
                    <a:pt x="742174" y="734229"/>
                    <a:pt x="739727" y="727122"/>
                  </a:cubicBezTo>
                  <a:cubicBezTo>
                    <a:pt x="734640" y="719241"/>
                    <a:pt x="726506" y="706171"/>
                    <a:pt x="736373" y="698425"/>
                  </a:cubicBezTo>
                  <a:cubicBezTo>
                    <a:pt x="748088" y="697457"/>
                    <a:pt x="757243" y="706771"/>
                    <a:pt x="769023" y="706422"/>
                  </a:cubicBezTo>
                  <a:cubicBezTo>
                    <a:pt x="769865" y="702066"/>
                    <a:pt x="770578" y="697709"/>
                    <a:pt x="771356" y="693352"/>
                  </a:cubicBezTo>
                  <a:cubicBezTo>
                    <a:pt x="766819" y="692984"/>
                    <a:pt x="762217" y="692635"/>
                    <a:pt x="757729" y="691551"/>
                  </a:cubicBezTo>
                  <a:cubicBezTo>
                    <a:pt x="764000" y="686245"/>
                    <a:pt x="773462" y="682373"/>
                    <a:pt x="772798" y="672652"/>
                  </a:cubicBezTo>
                  <a:lnTo>
                    <a:pt x="761132" y="676931"/>
                  </a:lnTo>
                  <a:cubicBezTo>
                    <a:pt x="761667" y="674782"/>
                    <a:pt x="762153" y="672652"/>
                    <a:pt x="762687" y="670503"/>
                  </a:cubicBezTo>
                  <a:lnTo>
                    <a:pt x="755688" y="676041"/>
                  </a:lnTo>
                  <a:lnTo>
                    <a:pt x="749174" y="674065"/>
                  </a:lnTo>
                  <a:cubicBezTo>
                    <a:pt x="752528" y="668876"/>
                    <a:pt x="756238" y="663880"/>
                    <a:pt x="760176" y="659097"/>
                  </a:cubicBezTo>
                  <a:lnTo>
                    <a:pt x="751621" y="648118"/>
                  </a:lnTo>
                  <a:cubicBezTo>
                    <a:pt x="742709" y="654624"/>
                    <a:pt x="743017" y="668760"/>
                    <a:pt x="731286" y="671935"/>
                  </a:cubicBezTo>
                  <a:cubicBezTo>
                    <a:pt x="733927" y="661421"/>
                    <a:pt x="737151" y="651042"/>
                    <a:pt x="739954" y="640605"/>
                  </a:cubicBezTo>
                  <a:cubicBezTo>
                    <a:pt x="733198" y="642096"/>
                    <a:pt x="726571" y="643819"/>
                    <a:pt x="719927" y="645620"/>
                  </a:cubicBezTo>
                  <a:cubicBezTo>
                    <a:pt x="714661" y="632356"/>
                    <a:pt x="716995" y="618104"/>
                    <a:pt x="720219" y="604743"/>
                  </a:cubicBezTo>
                  <a:cubicBezTo>
                    <a:pt x="733797" y="609332"/>
                    <a:pt x="746484" y="599670"/>
                    <a:pt x="759819" y="598469"/>
                  </a:cubicBezTo>
                  <a:close/>
                  <a:moveTo>
                    <a:pt x="856893" y="493124"/>
                  </a:moveTo>
                  <a:cubicBezTo>
                    <a:pt x="862068" y="497363"/>
                    <a:pt x="868374" y="498855"/>
                    <a:pt x="874742" y="496646"/>
                  </a:cubicBezTo>
                  <a:cubicBezTo>
                    <a:pt x="883548" y="515744"/>
                    <a:pt x="886227" y="538429"/>
                    <a:pt x="881111" y="558840"/>
                  </a:cubicBezTo>
                  <a:cubicBezTo>
                    <a:pt x="871469" y="552630"/>
                    <a:pt x="869269" y="541708"/>
                    <a:pt x="865758" y="531620"/>
                  </a:cubicBezTo>
                  <a:cubicBezTo>
                    <a:pt x="860043" y="529472"/>
                    <a:pt x="853797" y="529892"/>
                    <a:pt x="847904" y="528755"/>
                  </a:cubicBezTo>
                  <a:cubicBezTo>
                    <a:pt x="847845" y="516342"/>
                    <a:pt x="846597" y="502134"/>
                    <a:pt x="856893" y="493124"/>
                  </a:cubicBezTo>
                  <a:close/>
                  <a:moveTo>
                    <a:pt x="870400" y="488706"/>
                  </a:moveTo>
                  <a:cubicBezTo>
                    <a:pt x="871459" y="489428"/>
                    <a:pt x="872003" y="490796"/>
                    <a:pt x="870824" y="492073"/>
                  </a:cubicBezTo>
                  <a:cubicBezTo>
                    <a:pt x="869009" y="494627"/>
                    <a:pt x="864654" y="491769"/>
                    <a:pt x="866892" y="489215"/>
                  </a:cubicBezTo>
                  <a:cubicBezTo>
                    <a:pt x="867769" y="487908"/>
                    <a:pt x="869342" y="487984"/>
                    <a:pt x="870400" y="488706"/>
                  </a:cubicBezTo>
                  <a:close/>
                  <a:moveTo>
                    <a:pt x="961904" y="412895"/>
                  </a:moveTo>
                  <a:cubicBezTo>
                    <a:pt x="968331" y="413977"/>
                    <a:pt x="973409" y="418366"/>
                    <a:pt x="972805" y="426904"/>
                  </a:cubicBezTo>
                  <a:cubicBezTo>
                    <a:pt x="962498" y="425582"/>
                    <a:pt x="952614" y="422215"/>
                    <a:pt x="942910" y="418726"/>
                  </a:cubicBezTo>
                  <a:cubicBezTo>
                    <a:pt x="947701" y="414037"/>
                    <a:pt x="955477" y="411812"/>
                    <a:pt x="961904" y="412895"/>
                  </a:cubicBezTo>
                  <a:close/>
                  <a:moveTo>
                    <a:pt x="1005529" y="309016"/>
                  </a:moveTo>
                  <a:cubicBezTo>
                    <a:pt x="1022396" y="317379"/>
                    <a:pt x="1043017" y="327511"/>
                    <a:pt x="1047085" y="347775"/>
                  </a:cubicBezTo>
                  <a:cubicBezTo>
                    <a:pt x="1050071" y="364987"/>
                    <a:pt x="1057011" y="381181"/>
                    <a:pt x="1063127" y="397463"/>
                  </a:cubicBezTo>
                  <a:cubicBezTo>
                    <a:pt x="1064776" y="405958"/>
                    <a:pt x="1071973" y="411002"/>
                    <a:pt x="1076211" y="417949"/>
                  </a:cubicBezTo>
                  <a:cubicBezTo>
                    <a:pt x="1075557" y="422860"/>
                    <a:pt x="1074959" y="427949"/>
                    <a:pt x="1073992" y="432860"/>
                  </a:cubicBezTo>
                  <a:cubicBezTo>
                    <a:pt x="1081729" y="434143"/>
                    <a:pt x="1089323" y="437107"/>
                    <a:pt x="1094756" y="442992"/>
                  </a:cubicBezTo>
                  <a:cubicBezTo>
                    <a:pt x="1097202" y="440559"/>
                    <a:pt x="1099591" y="438037"/>
                    <a:pt x="1102521" y="436178"/>
                  </a:cubicBezTo>
                  <a:cubicBezTo>
                    <a:pt x="1107982" y="438125"/>
                    <a:pt x="1113842" y="442815"/>
                    <a:pt x="1114069" y="448788"/>
                  </a:cubicBezTo>
                  <a:cubicBezTo>
                    <a:pt x="1108636" y="464186"/>
                    <a:pt x="1109461" y="483388"/>
                    <a:pt x="1121379" y="495512"/>
                  </a:cubicBezTo>
                  <a:cubicBezTo>
                    <a:pt x="1124167" y="498565"/>
                    <a:pt x="1128490" y="498874"/>
                    <a:pt x="1131590" y="496175"/>
                  </a:cubicBezTo>
                  <a:cubicBezTo>
                    <a:pt x="1131761" y="485955"/>
                    <a:pt x="1122858" y="478300"/>
                    <a:pt x="1123569" y="467902"/>
                  </a:cubicBezTo>
                  <a:cubicBezTo>
                    <a:pt x="1121123" y="461487"/>
                    <a:pt x="1124821" y="454717"/>
                    <a:pt x="1130396" y="452107"/>
                  </a:cubicBezTo>
                  <a:cubicBezTo>
                    <a:pt x="1136369" y="452107"/>
                    <a:pt x="1142370" y="453876"/>
                    <a:pt x="1147547" y="456841"/>
                  </a:cubicBezTo>
                  <a:cubicBezTo>
                    <a:pt x="1150847" y="469982"/>
                    <a:pt x="1155085" y="490423"/>
                    <a:pt x="1138587" y="496529"/>
                  </a:cubicBezTo>
                  <a:cubicBezTo>
                    <a:pt x="1139071" y="499228"/>
                    <a:pt x="1139555" y="501883"/>
                    <a:pt x="1139953" y="504582"/>
                  </a:cubicBezTo>
                  <a:cubicBezTo>
                    <a:pt x="1144817" y="503387"/>
                    <a:pt x="1149823" y="502016"/>
                    <a:pt x="1154857" y="502679"/>
                  </a:cubicBezTo>
                  <a:cubicBezTo>
                    <a:pt x="1161257" y="509980"/>
                    <a:pt x="1165552" y="521218"/>
                    <a:pt x="1158100" y="529360"/>
                  </a:cubicBezTo>
                  <a:lnTo>
                    <a:pt x="1166092" y="527501"/>
                  </a:lnTo>
                  <a:cubicBezTo>
                    <a:pt x="1164613" y="543386"/>
                    <a:pt x="1164130" y="560995"/>
                    <a:pt x="1153350" y="573871"/>
                  </a:cubicBezTo>
                  <a:cubicBezTo>
                    <a:pt x="1153776" y="575818"/>
                    <a:pt x="1154260" y="577764"/>
                    <a:pt x="1154743" y="579711"/>
                  </a:cubicBezTo>
                  <a:cubicBezTo>
                    <a:pt x="1160773" y="572986"/>
                    <a:pt x="1166405" y="564845"/>
                    <a:pt x="1174540" y="560730"/>
                  </a:cubicBezTo>
                  <a:cubicBezTo>
                    <a:pt x="1185292" y="558872"/>
                    <a:pt x="1187141" y="572145"/>
                    <a:pt x="1186202" y="579977"/>
                  </a:cubicBezTo>
                  <a:lnTo>
                    <a:pt x="1189956" y="579048"/>
                  </a:lnTo>
                  <a:cubicBezTo>
                    <a:pt x="1191407" y="573871"/>
                    <a:pt x="1192886" y="568827"/>
                    <a:pt x="1194451" y="563739"/>
                  </a:cubicBezTo>
                  <a:cubicBezTo>
                    <a:pt x="1200623" y="579092"/>
                    <a:pt x="1207250" y="594224"/>
                    <a:pt x="1214304" y="609179"/>
                  </a:cubicBezTo>
                  <a:cubicBezTo>
                    <a:pt x="1206056" y="629576"/>
                    <a:pt x="1174113" y="627187"/>
                    <a:pt x="1171724" y="651212"/>
                  </a:cubicBezTo>
                  <a:cubicBezTo>
                    <a:pt x="1169392" y="649044"/>
                    <a:pt x="1167003" y="646876"/>
                    <a:pt x="1164613" y="644752"/>
                  </a:cubicBezTo>
                  <a:cubicBezTo>
                    <a:pt x="1165751" y="661477"/>
                    <a:pt x="1153776" y="674884"/>
                    <a:pt x="1149368" y="690370"/>
                  </a:cubicBezTo>
                  <a:cubicBezTo>
                    <a:pt x="1135544" y="679707"/>
                    <a:pt x="1141176" y="659929"/>
                    <a:pt x="1141887" y="644752"/>
                  </a:cubicBezTo>
                  <a:lnTo>
                    <a:pt x="1136084" y="645283"/>
                  </a:lnTo>
                  <a:cubicBezTo>
                    <a:pt x="1134179" y="658336"/>
                    <a:pt x="1133923" y="671831"/>
                    <a:pt x="1137165" y="684706"/>
                  </a:cubicBezTo>
                  <a:cubicBezTo>
                    <a:pt x="1136682" y="688865"/>
                    <a:pt x="1141773" y="692361"/>
                    <a:pt x="1142541" y="698024"/>
                  </a:cubicBezTo>
                  <a:cubicBezTo>
                    <a:pt x="1143309" y="704042"/>
                    <a:pt x="1138417" y="708599"/>
                    <a:pt x="1135487" y="713245"/>
                  </a:cubicBezTo>
                  <a:cubicBezTo>
                    <a:pt x="1131420" y="705856"/>
                    <a:pt x="1127893" y="698024"/>
                    <a:pt x="1122204" y="691741"/>
                  </a:cubicBezTo>
                  <a:cubicBezTo>
                    <a:pt x="1122375" y="701431"/>
                    <a:pt x="1125617" y="710679"/>
                    <a:pt x="1126328" y="720280"/>
                  </a:cubicBezTo>
                  <a:cubicBezTo>
                    <a:pt x="1125845" y="730368"/>
                    <a:pt x="1123029" y="740235"/>
                    <a:pt x="1120412" y="749969"/>
                  </a:cubicBezTo>
                  <a:cubicBezTo>
                    <a:pt x="1106588" y="733465"/>
                    <a:pt x="1100302" y="712183"/>
                    <a:pt x="1091656" y="692759"/>
                  </a:cubicBezTo>
                  <a:cubicBezTo>
                    <a:pt x="1090575" y="712891"/>
                    <a:pt x="1102948" y="729704"/>
                    <a:pt x="1104569" y="749394"/>
                  </a:cubicBezTo>
                  <a:cubicBezTo>
                    <a:pt x="1096918" y="742270"/>
                    <a:pt x="1092168" y="732801"/>
                    <a:pt x="1084516" y="725722"/>
                  </a:cubicBezTo>
                  <a:cubicBezTo>
                    <a:pt x="1084175" y="734261"/>
                    <a:pt x="1084459" y="742934"/>
                    <a:pt x="1084061" y="751473"/>
                  </a:cubicBezTo>
                  <a:cubicBezTo>
                    <a:pt x="1057011" y="750057"/>
                    <a:pt x="1028056" y="736607"/>
                    <a:pt x="1018982" y="709130"/>
                  </a:cubicBezTo>
                  <a:lnTo>
                    <a:pt x="1053001" y="701962"/>
                  </a:lnTo>
                  <a:cubicBezTo>
                    <a:pt x="1039974" y="698024"/>
                    <a:pt x="1026036" y="689573"/>
                    <a:pt x="1012639" y="697139"/>
                  </a:cubicBezTo>
                  <a:cubicBezTo>
                    <a:pt x="1008288" y="688910"/>
                    <a:pt x="1003537" y="680857"/>
                    <a:pt x="1000380" y="672052"/>
                  </a:cubicBezTo>
                  <a:cubicBezTo>
                    <a:pt x="1006723" y="674176"/>
                    <a:pt x="1012952" y="676654"/>
                    <a:pt x="1019352" y="678689"/>
                  </a:cubicBezTo>
                  <a:cubicBezTo>
                    <a:pt x="1015683" y="670238"/>
                    <a:pt x="1006894" y="668203"/>
                    <a:pt x="999072" y="665415"/>
                  </a:cubicBezTo>
                  <a:cubicBezTo>
                    <a:pt x="993980" y="660460"/>
                    <a:pt x="991961" y="652938"/>
                    <a:pt x="988292" y="646965"/>
                  </a:cubicBezTo>
                  <a:cubicBezTo>
                    <a:pt x="998588" y="642186"/>
                    <a:pt x="1008999" y="636567"/>
                    <a:pt x="1012156" y="624665"/>
                  </a:cubicBezTo>
                  <a:cubicBezTo>
                    <a:pt x="1032977" y="629930"/>
                    <a:pt x="1054622" y="623382"/>
                    <a:pt x="1074590" y="617763"/>
                  </a:cubicBezTo>
                  <a:cubicBezTo>
                    <a:pt x="1068787" y="613913"/>
                    <a:pt x="1062046" y="614488"/>
                    <a:pt x="1055817" y="616922"/>
                  </a:cubicBezTo>
                  <a:cubicBezTo>
                    <a:pt x="1046430" y="620240"/>
                    <a:pt x="1036134" y="618426"/>
                    <a:pt x="1027117" y="614975"/>
                  </a:cubicBezTo>
                  <a:cubicBezTo>
                    <a:pt x="1030815" y="608913"/>
                    <a:pt x="1037471" y="606790"/>
                    <a:pt x="1043671" y="604135"/>
                  </a:cubicBezTo>
                  <a:cubicBezTo>
                    <a:pt x="1038523" y="602277"/>
                    <a:pt x="1033460" y="600374"/>
                    <a:pt x="1028369" y="598339"/>
                  </a:cubicBezTo>
                  <a:cubicBezTo>
                    <a:pt x="1032209" y="594711"/>
                    <a:pt x="1036020" y="591127"/>
                    <a:pt x="1039718" y="587366"/>
                  </a:cubicBezTo>
                  <a:cubicBezTo>
                    <a:pt x="1028198" y="587764"/>
                    <a:pt x="1019949" y="595551"/>
                    <a:pt x="1012583" y="603294"/>
                  </a:cubicBezTo>
                  <a:cubicBezTo>
                    <a:pt x="1012156" y="600197"/>
                    <a:pt x="1011672" y="597144"/>
                    <a:pt x="1011217" y="594047"/>
                  </a:cubicBezTo>
                  <a:cubicBezTo>
                    <a:pt x="1006240" y="602232"/>
                    <a:pt x="1001945" y="611878"/>
                    <a:pt x="992018" y="614975"/>
                  </a:cubicBezTo>
                  <a:cubicBezTo>
                    <a:pt x="990624" y="608559"/>
                    <a:pt x="992957" y="602409"/>
                    <a:pt x="995886" y="596834"/>
                  </a:cubicBezTo>
                  <a:lnTo>
                    <a:pt x="985021" y="592056"/>
                  </a:lnTo>
                  <a:cubicBezTo>
                    <a:pt x="985248" y="594799"/>
                    <a:pt x="985476" y="597498"/>
                    <a:pt x="985675" y="600197"/>
                  </a:cubicBezTo>
                  <a:cubicBezTo>
                    <a:pt x="979872" y="604666"/>
                    <a:pt x="974127" y="609223"/>
                    <a:pt x="967613" y="612719"/>
                  </a:cubicBezTo>
                  <a:cubicBezTo>
                    <a:pt x="966902" y="607321"/>
                    <a:pt x="966163" y="602011"/>
                    <a:pt x="965622" y="596657"/>
                  </a:cubicBezTo>
                  <a:cubicBezTo>
                    <a:pt x="953619" y="599710"/>
                    <a:pt x="951287" y="584711"/>
                    <a:pt x="955354" y="576216"/>
                  </a:cubicBezTo>
                  <a:cubicBezTo>
                    <a:pt x="966902" y="570287"/>
                    <a:pt x="990880" y="567544"/>
                    <a:pt x="986983" y="549093"/>
                  </a:cubicBezTo>
                  <a:cubicBezTo>
                    <a:pt x="978792" y="558473"/>
                    <a:pt x="967187" y="567190"/>
                    <a:pt x="953960" y="563739"/>
                  </a:cubicBezTo>
                  <a:cubicBezTo>
                    <a:pt x="943692" y="553695"/>
                    <a:pt x="938544" y="539315"/>
                    <a:pt x="931120" y="527147"/>
                  </a:cubicBezTo>
                  <a:lnTo>
                    <a:pt x="942185" y="525997"/>
                  </a:lnTo>
                  <a:cubicBezTo>
                    <a:pt x="930779" y="518696"/>
                    <a:pt x="929869" y="504494"/>
                    <a:pt x="930694" y="492282"/>
                  </a:cubicBezTo>
                  <a:cubicBezTo>
                    <a:pt x="938544" y="496839"/>
                    <a:pt x="945826" y="502370"/>
                    <a:pt x="953847" y="506617"/>
                  </a:cubicBezTo>
                  <a:cubicBezTo>
                    <a:pt x="962949" y="510378"/>
                    <a:pt x="973103" y="508520"/>
                    <a:pt x="982489" y="511175"/>
                  </a:cubicBezTo>
                  <a:cubicBezTo>
                    <a:pt x="979929" y="507414"/>
                    <a:pt x="977426" y="503564"/>
                    <a:pt x="974952" y="499759"/>
                  </a:cubicBezTo>
                  <a:cubicBezTo>
                    <a:pt x="980811" y="496175"/>
                    <a:pt x="986670" y="492636"/>
                    <a:pt x="992672" y="489273"/>
                  </a:cubicBezTo>
                  <a:cubicBezTo>
                    <a:pt x="989003" y="488211"/>
                    <a:pt x="985305" y="487061"/>
                    <a:pt x="981721" y="485866"/>
                  </a:cubicBezTo>
                  <a:cubicBezTo>
                    <a:pt x="977057" y="491574"/>
                    <a:pt x="971567" y="497016"/>
                    <a:pt x="964086" y="498565"/>
                  </a:cubicBezTo>
                  <a:cubicBezTo>
                    <a:pt x="960417" y="496175"/>
                    <a:pt x="957146" y="493255"/>
                    <a:pt x="953960" y="490246"/>
                  </a:cubicBezTo>
                  <a:lnTo>
                    <a:pt x="963603" y="484495"/>
                  </a:lnTo>
                  <a:cubicBezTo>
                    <a:pt x="956549" y="484008"/>
                    <a:pt x="948585" y="487370"/>
                    <a:pt x="942498" y="482415"/>
                  </a:cubicBezTo>
                  <a:cubicBezTo>
                    <a:pt x="935956" y="478167"/>
                    <a:pt x="933936" y="470823"/>
                    <a:pt x="931604" y="463920"/>
                  </a:cubicBezTo>
                  <a:lnTo>
                    <a:pt x="939426" y="464938"/>
                  </a:lnTo>
                  <a:cubicBezTo>
                    <a:pt x="945712" y="455514"/>
                    <a:pt x="955354" y="463920"/>
                    <a:pt x="962749" y="467283"/>
                  </a:cubicBezTo>
                  <a:cubicBezTo>
                    <a:pt x="958824" y="459451"/>
                    <a:pt x="953079" y="452682"/>
                    <a:pt x="947930" y="445691"/>
                  </a:cubicBezTo>
                  <a:cubicBezTo>
                    <a:pt x="948755" y="441089"/>
                    <a:pt x="948755" y="436444"/>
                    <a:pt x="948158" y="431754"/>
                  </a:cubicBezTo>
                  <a:cubicBezTo>
                    <a:pt x="966362" y="425559"/>
                    <a:pt x="983286" y="434099"/>
                    <a:pt x="1000864" y="437461"/>
                  </a:cubicBezTo>
                  <a:cubicBezTo>
                    <a:pt x="994748" y="428302"/>
                    <a:pt x="977768" y="429718"/>
                    <a:pt x="979275" y="415825"/>
                  </a:cubicBezTo>
                  <a:lnTo>
                    <a:pt x="993013" y="413038"/>
                  </a:lnTo>
                  <a:cubicBezTo>
                    <a:pt x="991762" y="411489"/>
                    <a:pt x="990510" y="409985"/>
                    <a:pt x="989316" y="408436"/>
                  </a:cubicBezTo>
                  <a:cubicBezTo>
                    <a:pt x="985789" y="409056"/>
                    <a:pt x="982205" y="409896"/>
                    <a:pt x="978621" y="409941"/>
                  </a:cubicBezTo>
                  <a:cubicBezTo>
                    <a:pt x="974497" y="408082"/>
                    <a:pt x="973530" y="403171"/>
                    <a:pt x="971738" y="399499"/>
                  </a:cubicBezTo>
                  <a:cubicBezTo>
                    <a:pt x="967414" y="399499"/>
                    <a:pt x="962693" y="400383"/>
                    <a:pt x="958824" y="397994"/>
                  </a:cubicBezTo>
                  <a:cubicBezTo>
                    <a:pt x="957630" y="391933"/>
                    <a:pt x="963489" y="389676"/>
                    <a:pt x="967727" y="387242"/>
                  </a:cubicBezTo>
                  <a:cubicBezTo>
                    <a:pt x="964968" y="386402"/>
                    <a:pt x="962294" y="385605"/>
                    <a:pt x="959535" y="384897"/>
                  </a:cubicBezTo>
                  <a:cubicBezTo>
                    <a:pt x="963830" y="375916"/>
                    <a:pt x="965878" y="364854"/>
                    <a:pt x="974838" y="359191"/>
                  </a:cubicBezTo>
                  <a:cubicBezTo>
                    <a:pt x="981835" y="359545"/>
                    <a:pt x="983513" y="367509"/>
                    <a:pt x="986016" y="372641"/>
                  </a:cubicBezTo>
                  <a:cubicBezTo>
                    <a:pt x="988832" y="369367"/>
                    <a:pt x="991876" y="366358"/>
                    <a:pt x="994208" y="362730"/>
                  </a:cubicBezTo>
                  <a:cubicBezTo>
                    <a:pt x="991819" y="358881"/>
                    <a:pt x="988775" y="355607"/>
                    <a:pt x="986016" y="352111"/>
                  </a:cubicBezTo>
                  <a:cubicBezTo>
                    <a:pt x="995545" y="353218"/>
                    <a:pt x="1004988" y="354501"/>
                    <a:pt x="1014431" y="356270"/>
                  </a:cubicBezTo>
                  <a:cubicBezTo>
                    <a:pt x="1015455" y="349634"/>
                    <a:pt x="1020177" y="341227"/>
                    <a:pt x="1013407" y="336360"/>
                  </a:cubicBezTo>
                  <a:cubicBezTo>
                    <a:pt x="1005756" y="334767"/>
                    <a:pt x="997877" y="336714"/>
                    <a:pt x="990226" y="337112"/>
                  </a:cubicBezTo>
                  <a:cubicBezTo>
                    <a:pt x="985135" y="328750"/>
                    <a:pt x="988121" y="319370"/>
                    <a:pt x="990994" y="310874"/>
                  </a:cubicBezTo>
                  <a:cubicBezTo>
                    <a:pt x="996683" y="313573"/>
                    <a:pt x="1002229" y="316449"/>
                    <a:pt x="1007548" y="319724"/>
                  </a:cubicBezTo>
                  <a:cubicBezTo>
                    <a:pt x="1006837" y="316140"/>
                    <a:pt x="1006183" y="312556"/>
                    <a:pt x="1005529" y="309016"/>
                  </a:cubicBezTo>
                  <a:close/>
                  <a:moveTo>
                    <a:pt x="1648413" y="276576"/>
                  </a:moveTo>
                  <a:cubicBezTo>
                    <a:pt x="1650857" y="274704"/>
                    <a:pt x="1656233" y="274402"/>
                    <a:pt x="1657761" y="277482"/>
                  </a:cubicBezTo>
                  <a:cubicBezTo>
                    <a:pt x="1656356" y="280924"/>
                    <a:pt x="1648230" y="280381"/>
                    <a:pt x="1648413" y="276576"/>
                  </a:cubicBezTo>
                  <a:close/>
                  <a:moveTo>
                    <a:pt x="1692235" y="251326"/>
                  </a:moveTo>
                  <a:lnTo>
                    <a:pt x="1692877" y="259352"/>
                  </a:lnTo>
                  <a:lnTo>
                    <a:pt x="1685352" y="258667"/>
                  </a:lnTo>
                  <a:cubicBezTo>
                    <a:pt x="1687569" y="256117"/>
                    <a:pt x="1689844" y="253690"/>
                    <a:pt x="1692235" y="251326"/>
                  </a:cubicBezTo>
                  <a:close/>
                  <a:moveTo>
                    <a:pt x="1640423" y="65828"/>
                  </a:moveTo>
                  <a:cubicBezTo>
                    <a:pt x="1643717" y="65884"/>
                    <a:pt x="1643158" y="70731"/>
                    <a:pt x="1640050" y="70562"/>
                  </a:cubicBezTo>
                  <a:cubicBezTo>
                    <a:pt x="1636694" y="70562"/>
                    <a:pt x="1637316" y="65715"/>
                    <a:pt x="1640423" y="65828"/>
                  </a:cubicBezTo>
                  <a:close/>
                  <a:moveTo>
                    <a:pt x="1377339" y="28091"/>
                  </a:moveTo>
                  <a:cubicBezTo>
                    <a:pt x="1376353" y="34149"/>
                    <a:pt x="1374381" y="39972"/>
                    <a:pt x="1371132" y="45147"/>
                  </a:cubicBezTo>
                  <a:cubicBezTo>
                    <a:pt x="1370262" y="40736"/>
                    <a:pt x="1369043" y="36326"/>
                    <a:pt x="1368811" y="31796"/>
                  </a:cubicBezTo>
                  <a:cubicBezTo>
                    <a:pt x="1371538" y="30267"/>
                    <a:pt x="1374439" y="29268"/>
                    <a:pt x="1377339" y="28091"/>
                  </a:cubicBezTo>
                  <a:close/>
                  <a:moveTo>
                    <a:pt x="1476165" y="4014"/>
                  </a:moveTo>
                  <a:cubicBezTo>
                    <a:pt x="1475282" y="6226"/>
                    <a:pt x="1474340" y="8381"/>
                    <a:pt x="1473457" y="10536"/>
                  </a:cubicBezTo>
                  <a:cubicBezTo>
                    <a:pt x="1470514" y="8495"/>
                    <a:pt x="1467512" y="6396"/>
                    <a:pt x="1464627" y="4354"/>
                  </a:cubicBezTo>
                  <a:cubicBezTo>
                    <a:pt x="1468453" y="4184"/>
                    <a:pt x="1472339" y="4128"/>
                    <a:pt x="1476165" y="4014"/>
                  </a:cubicBezTo>
                  <a:close/>
                  <a:moveTo>
                    <a:pt x="1579062" y="0"/>
                  </a:moveTo>
                  <a:cubicBezTo>
                    <a:pt x="1578643" y="4485"/>
                    <a:pt x="1578165" y="9030"/>
                    <a:pt x="1577746" y="13515"/>
                  </a:cubicBezTo>
                  <a:lnTo>
                    <a:pt x="1583010" y="15667"/>
                  </a:lnTo>
                  <a:cubicBezTo>
                    <a:pt x="1581874" y="18239"/>
                    <a:pt x="1580737" y="20930"/>
                    <a:pt x="1579660" y="23561"/>
                  </a:cubicBezTo>
                  <a:lnTo>
                    <a:pt x="1593120" y="17162"/>
                  </a:lnTo>
                  <a:cubicBezTo>
                    <a:pt x="1594795" y="23561"/>
                    <a:pt x="1596649" y="29959"/>
                    <a:pt x="1598863" y="36238"/>
                  </a:cubicBezTo>
                  <a:cubicBezTo>
                    <a:pt x="1600538" y="31096"/>
                    <a:pt x="1601674" y="25534"/>
                    <a:pt x="1605263" y="21229"/>
                  </a:cubicBezTo>
                  <a:cubicBezTo>
                    <a:pt x="1611724" y="19255"/>
                    <a:pt x="1615672" y="26670"/>
                    <a:pt x="1616450" y="31993"/>
                  </a:cubicBezTo>
                  <a:cubicBezTo>
                    <a:pt x="1623748" y="29660"/>
                    <a:pt x="1631285" y="30498"/>
                    <a:pt x="1637866" y="34265"/>
                  </a:cubicBezTo>
                  <a:cubicBezTo>
                    <a:pt x="1639062" y="33189"/>
                    <a:pt x="1640199" y="32112"/>
                    <a:pt x="1641395" y="30976"/>
                  </a:cubicBezTo>
                  <a:cubicBezTo>
                    <a:pt x="1646540" y="32949"/>
                    <a:pt x="1651864" y="34265"/>
                    <a:pt x="1656709" y="36777"/>
                  </a:cubicBezTo>
                  <a:cubicBezTo>
                    <a:pt x="1658444" y="43235"/>
                    <a:pt x="1654077" y="49275"/>
                    <a:pt x="1650129" y="53879"/>
                  </a:cubicBezTo>
                  <a:cubicBezTo>
                    <a:pt x="1636669" y="70803"/>
                    <a:pt x="1613100" y="75527"/>
                    <a:pt x="1601435" y="94364"/>
                  </a:cubicBezTo>
                  <a:cubicBezTo>
                    <a:pt x="1612023" y="91673"/>
                    <a:pt x="1623090" y="89819"/>
                    <a:pt x="1632960" y="84915"/>
                  </a:cubicBezTo>
                  <a:cubicBezTo>
                    <a:pt x="1648813" y="74271"/>
                    <a:pt x="1660657" y="58304"/>
                    <a:pt x="1677586" y="49155"/>
                  </a:cubicBezTo>
                  <a:cubicBezTo>
                    <a:pt x="1679082" y="53281"/>
                    <a:pt x="1680577" y="57467"/>
                    <a:pt x="1682133" y="61593"/>
                  </a:cubicBezTo>
                  <a:cubicBezTo>
                    <a:pt x="1684645" y="55972"/>
                    <a:pt x="1687098" y="49992"/>
                    <a:pt x="1686081" y="43713"/>
                  </a:cubicBezTo>
                  <a:cubicBezTo>
                    <a:pt x="1688534" y="41860"/>
                    <a:pt x="1690926" y="39946"/>
                    <a:pt x="1693319" y="37973"/>
                  </a:cubicBezTo>
                  <a:cubicBezTo>
                    <a:pt x="1695054" y="38690"/>
                    <a:pt x="1696849" y="39348"/>
                    <a:pt x="1698643" y="40006"/>
                  </a:cubicBezTo>
                  <a:cubicBezTo>
                    <a:pt x="1696011" y="49095"/>
                    <a:pt x="1699241" y="58125"/>
                    <a:pt x="1703907" y="65899"/>
                  </a:cubicBezTo>
                  <a:cubicBezTo>
                    <a:pt x="1708155" y="61534"/>
                    <a:pt x="1711744" y="56451"/>
                    <a:pt x="1716948" y="53221"/>
                  </a:cubicBezTo>
                  <a:cubicBezTo>
                    <a:pt x="1721614" y="53461"/>
                    <a:pt x="1725921" y="55374"/>
                    <a:pt x="1730348" y="56690"/>
                  </a:cubicBezTo>
                  <a:cubicBezTo>
                    <a:pt x="1735792" y="67394"/>
                    <a:pt x="1716649" y="74689"/>
                    <a:pt x="1725383" y="83540"/>
                  </a:cubicBezTo>
                  <a:cubicBezTo>
                    <a:pt x="1729750" y="90357"/>
                    <a:pt x="1734655" y="96815"/>
                    <a:pt x="1738484" y="103991"/>
                  </a:cubicBezTo>
                  <a:cubicBezTo>
                    <a:pt x="1739620" y="111526"/>
                    <a:pt x="1736330" y="119240"/>
                    <a:pt x="1735313" y="126775"/>
                  </a:cubicBezTo>
                  <a:cubicBezTo>
                    <a:pt x="1739680" y="120556"/>
                    <a:pt x="1743868" y="112303"/>
                    <a:pt x="1752541" y="111885"/>
                  </a:cubicBezTo>
                  <a:cubicBezTo>
                    <a:pt x="1773299" y="118283"/>
                    <a:pt x="1792202" y="139452"/>
                    <a:pt x="1784067" y="162356"/>
                  </a:cubicBezTo>
                  <a:cubicBezTo>
                    <a:pt x="1782153" y="174435"/>
                    <a:pt x="1765941" y="177545"/>
                    <a:pt x="1763967" y="189564"/>
                  </a:cubicBezTo>
                  <a:cubicBezTo>
                    <a:pt x="1762053" y="199969"/>
                    <a:pt x="1752123" y="205650"/>
                    <a:pt x="1746440" y="213783"/>
                  </a:cubicBezTo>
                  <a:cubicBezTo>
                    <a:pt x="1738125" y="225085"/>
                    <a:pt x="1724605" y="231065"/>
                    <a:pt x="1717008" y="242965"/>
                  </a:cubicBezTo>
                  <a:cubicBezTo>
                    <a:pt x="1713897" y="240753"/>
                    <a:pt x="1710906" y="238480"/>
                    <a:pt x="1707915" y="236208"/>
                  </a:cubicBezTo>
                  <a:cubicBezTo>
                    <a:pt x="1709889" y="241949"/>
                    <a:pt x="1714137" y="249782"/>
                    <a:pt x="1706540" y="253370"/>
                  </a:cubicBezTo>
                  <a:cubicBezTo>
                    <a:pt x="1700079" y="254506"/>
                    <a:pt x="1693379" y="246852"/>
                    <a:pt x="1686440" y="249962"/>
                  </a:cubicBezTo>
                  <a:cubicBezTo>
                    <a:pt x="1679321" y="253191"/>
                    <a:pt x="1672203" y="256420"/>
                    <a:pt x="1664725" y="258812"/>
                  </a:cubicBezTo>
                  <a:cubicBezTo>
                    <a:pt x="1670887" y="259769"/>
                    <a:pt x="1677108" y="260427"/>
                    <a:pt x="1683329" y="260785"/>
                  </a:cubicBezTo>
                  <a:cubicBezTo>
                    <a:pt x="1676928" y="264852"/>
                    <a:pt x="1669870" y="267722"/>
                    <a:pt x="1662272" y="268380"/>
                  </a:cubicBezTo>
                  <a:cubicBezTo>
                    <a:pt x="1645224" y="269696"/>
                    <a:pt x="1629012" y="275974"/>
                    <a:pt x="1611963" y="277170"/>
                  </a:cubicBezTo>
                  <a:cubicBezTo>
                    <a:pt x="1603708" y="270234"/>
                    <a:pt x="1597427" y="261324"/>
                    <a:pt x="1589052" y="254566"/>
                  </a:cubicBezTo>
                  <a:cubicBezTo>
                    <a:pt x="1595273" y="264433"/>
                    <a:pt x="1602990" y="273224"/>
                    <a:pt x="1609271" y="283031"/>
                  </a:cubicBezTo>
                  <a:lnTo>
                    <a:pt x="1601614" y="287157"/>
                  </a:lnTo>
                  <a:cubicBezTo>
                    <a:pt x="1614835" y="289011"/>
                    <a:pt x="1626978" y="281177"/>
                    <a:pt x="1639840" y="279921"/>
                  </a:cubicBezTo>
                  <a:cubicBezTo>
                    <a:pt x="1644446" y="281057"/>
                    <a:pt x="1648394" y="283988"/>
                    <a:pt x="1652402" y="286439"/>
                  </a:cubicBezTo>
                  <a:cubicBezTo>
                    <a:pt x="1636729" y="301329"/>
                    <a:pt x="1618125" y="312572"/>
                    <a:pt x="1600418" y="324950"/>
                  </a:cubicBezTo>
                  <a:cubicBezTo>
                    <a:pt x="1595812" y="328419"/>
                    <a:pt x="1589890" y="328000"/>
                    <a:pt x="1584446" y="327940"/>
                  </a:cubicBezTo>
                  <a:cubicBezTo>
                    <a:pt x="1584446" y="329555"/>
                    <a:pt x="1584506" y="331169"/>
                    <a:pt x="1584566" y="332784"/>
                  </a:cubicBezTo>
                  <a:cubicBezTo>
                    <a:pt x="1579062" y="336432"/>
                    <a:pt x="1573678" y="340079"/>
                    <a:pt x="1568235" y="343787"/>
                  </a:cubicBezTo>
                  <a:lnTo>
                    <a:pt x="1576490" y="344564"/>
                  </a:lnTo>
                  <a:cubicBezTo>
                    <a:pt x="1576310" y="346478"/>
                    <a:pt x="1576131" y="348451"/>
                    <a:pt x="1575951" y="350425"/>
                  </a:cubicBezTo>
                  <a:cubicBezTo>
                    <a:pt x="1582472" y="344325"/>
                    <a:pt x="1588454" y="337269"/>
                    <a:pt x="1596829" y="333502"/>
                  </a:cubicBezTo>
                  <a:cubicBezTo>
                    <a:pt x="1625662" y="319389"/>
                    <a:pt x="1653000" y="302226"/>
                    <a:pt x="1681893" y="288114"/>
                  </a:cubicBezTo>
                  <a:cubicBezTo>
                    <a:pt x="1688892" y="285064"/>
                    <a:pt x="1696490" y="283748"/>
                    <a:pt x="1703848" y="281895"/>
                  </a:cubicBezTo>
                  <a:cubicBezTo>
                    <a:pt x="1709889" y="303482"/>
                    <a:pt x="1689790" y="321422"/>
                    <a:pt x="1673578" y="332066"/>
                  </a:cubicBezTo>
                  <a:cubicBezTo>
                    <a:pt x="1662033" y="336312"/>
                    <a:pt x="1657965" y="348990"/>
                    <a:pt x="1653359" y="359215"/>
                  </a:cubicBezTo>
                  <a:cubicBezTo>
                    <a:pt x="1648334" y="371115"/>
                    <a:pt x="1634635" y="375720"/>
                    <a:pt x="1628294" y="386723"/>
                  </a:cubicBezTo>
                  <a:cubicBezTo>
                    <a:pt x="1620039" y="399879"/>
                    <a:pt x="1609391" y="411301"/>
                    <a:pt x="1600119" y="423679"/>
                  </a:cubicBezTo>
                  <a:cubicBezTo>
                    <a:pt x="1592402" y="433845"/>
                    <a:pt x="1592940" y="447778"/>
                    <a:pt x="1586420" y="458542"/>
                  </a:cubicBezTo>
                  <a:cubicBezTo>
                    <a:pt x="1582053" y="465419"/>
                    <a:pt x="1572422" y="464941"/>
                    <a:pt x="1565662" y="466854"/>
                  </a:cubicBezTo>
                  <a:cubicBezTo>
                    <a:pt x="1567756" y="455791"/>
                    <a:pt x="1564047" y="445626"/>
                    <a:pt x="1556330" y="437852"/>
                  </a:cubicBezTo>
                  <a:cubicBezTo>
                    <a:pt x="1558663" y="445865"/>
                    <a:pt x="1561654" y="453938"/>
                    <a:pt x="1561355" y="462429"/>
                  </a:cubicBezTo>
                  <a:cubicBezTo>
                    <a:pt x="1560398" y="469904"/>
                    <a:pt x="1568773" y="473133"/>
                    <a:pt x="1573200" y="477618"/>
                  </a:cubicBezTo>
                  <a:cubicBezTo>
                    <a:pt x="1571226" y="482462"/>
                    <a:pt x="1569969" y="490057"/>
                    <a:pt x="1562970" y="488621"/>
                  </a:cubicBezTo>
                  <a:cubicBezTo>
                    <a:pt x="1551126" y="486110"/>
                    <a:pt x="1542691" y="494841"/>
                    <a:pt x="1532940" y="499266"/>
                  </a:cubicBezTo>
                  <a:cubicBezTo>
                    <a:pt x="1527377" y="495558"/>
                    <a:pt x="1522831" y="490535"/>
                    <a:pt x="1517567" y="486528"/>
                  </a:cubicBezTo>
                  <a:cubicBezTo>
                    <a:pt x="1520258" y="490774"/>
                    <a:pt x="1523070" y="494960"/>
                    <a:pt x="1526001" y="499086"/>
                  </a:cubicBezTo>
                  <a:cubicBezTo>
                    <a:pt x="1523190" y="501598"/>
                    <a:pt x="1520498" y="504229"/>
                    <a:pt x="1517806" y="506860"/>
                  </a:cubicBezTo>
                  <a:cubicBezTo>
                    <a:pt x="1532402" y="507040"/>
                    <a:pt x="1545503" y="500641"/>
                    <a:pt x="1558304" y="494542"/>
                  </a:cubicBezTo>
                  <a:cubicBezTo>
                    <a:pt x="1559919" y="501598"/>
                    <a:pt x="1560637" y="509910"/>
                    <a:pt x="1554835" y="515412"/>
                  </a:cubicBezTo>
                  <a:cubicBezTo>
                    <a:pt x="1548314" y="519478"/>
                    <a:pt x="1540956" y="522229"/>
                    <a:pt x="1535453" y="527790"/>
                  </a:cubicBezTo>
                  <a:cubicBezTo>
                    <a:pt x="1541136" y="528029"/>
                    <a:pt x="1546759" y="528209"/>
                    <a:pt x="1552442" y="528627"/>
                  </a:cubicBezTo>
                  <a:cubicBezTo>
                    <a:pt x="1546041" y="544295"/>
                    <a:pt x="1532462" y="558706"/>
                    <a:pt x="1514875" y="560142"/>
                  </a:cubicBezTo>
                  <a:cubicBezTo>
                    <a:pt x="1501116" y="562534"/>
                    <a:pt x="1501355" y="548301"/>
                    <a:pt x="1496091" y="540527"/>
                  </a:cubicBezTo>
                  <a:cubicBezTo>
                    <a:pt x="1491305" y="538733"/>
                    <a:pt x="1486161" y="538554"/>
                    <a:pt x="1481076" y="538255"/>
                  </a:cubicBezTo>
                  <a:cubicBezTo>
                    <a:pt x="1479640" y="535863"/>
                    <a:pt x="1478205" y="533531"/>
                    <a:pt x="1476769" y="531258"/>
                  </a:cubicBezTo>
                  <a:cubicBezTo>
                    <a:pt x="1468873" y="532634"/>
                    <a:pt x="1461096" y="534607"/>
                    <a:pt x="1453439" y="537059"/>
                  </a:cubicBezTo>
                  <a:cubicBezTo>
                    <a:pt x="1464984" y="542202"/>
                    <a:pt x="1477786" y="543338"/>
                    <a:pt x="1489511" y="548002"/>
                  </a:cubicBezTo>
                  <a:cubicBezTo>
                    <a:pt x="1495194" y="556434"/>
                    <a:pt x="1497228" y="567198"/>
                    <a:pt x="1496091" y="577244"/>
                  </a:cubicBezTo>
                  <a:cubicBezTo>
                    <a:pt x="1492382" y="580653"/>
                    <a:pt x="1487477" y="582088"/>
                    <a:pt x="1482990" y="584061"/>
                  </a:cubicBezTo>
                  <a:cubicBezTo>
                    <a:pt x="1481315" y="581968"/>
                    <a:pt x="1479760" y="579875"/>
                    <a:pt x="1478145" y="577842"/>
                  </a:cubicBezTo>
                  <a:lnTo>
                    <a:pt x="1475453" y="591656"/>
                  </a:lnTo>
                  <a:cubicBezTo>
                    <a:pt x="1467018" y="592134"/>
                    <a:pt x="1459421" y="588905"/>
                    <a:pt x="1452901" y="584002"/>
                  </a:cubicBezTo>
                  <a:cubicBezTo>
                    <a:pt x="1453260" y="589383"/>
                    <a:pt x="1453678" y="594706"/>
                    <a:pt x="1454097" y="600088"/>
                  </a:cubicBezTo>
                  <a:cubicBezTo>
                    <a:pt x="1433579" y="596858"/>
                    <a:pt x="1420717" y="575988"/>
                    <a:pt x="1398344" y="578799"/>
                  </a:cubicBezTo>
                  <a:cubicBezTo>
                    <a:pt x="1405942" y="581968"/>
                    <a:pt x="1414137" y="583942"/>
                    <a:pt x="1421555" y="587709"/>
                  </a:cubicBezTo>
                  <a:cubicBezTo>
                    <a:pt x="1425563" y="592194"/>
                    <a:pt x="1427058" y="598353"/>
                    <a:pt x="1429690" y="603735"/>
                  </a:cubicBezTo>
                  <a:cubicBezTo>
                    <a:pt x="1421256" y="603018"/>
                    <a:pt x="1413000" y="602181"/>
                    <a:pt x="1404685" y="601044"/>
                  </a:cubicBezTo>
                  <a:cubicBezTo>
                    <a:pt x="1403429" y="597038"/>
                    <a:pt x="1402053" y="593031"/>
                    <a:pt x="1400857" y="589025"/>
                  </a:cubicBezTo>
                  <a:lnTo>
                    <a:pt x="1395652" y="588128"/>
                  </a:lnTo>
                  <a:cubicBezTo>
                    <a:pt x="1397028" y="593749"/>
                    <a:pt x="1398344" y="599430"/>
                    <a:pt x="1399660" y="605051"/>
                  </a:cubicBezTo>
                  <a:cubicBezTo>
                    <a:pt x="1392362" y="603676"/>
                    <a:pt x="1385124" y="602300"/>
                    <a:pt x="1377826" y="601224"/>
                  </a:cubicBezTo>
                  <a:cubicBezTo>
                    <a:pt x="1382791" y="604274"/>
                    <a:pt x="1387876" y="607443"/>
                    <a:pt x="1393499" y="609177"/>
                  </a:cubicBezTo>
                  <a:cubicBezTo>
                    <a:pt x="1417666" y="612406"/>
                    <a:pt x="1441953" y="615576"/>
                    <a:pt x="1466420" y="616532"/>
                  </a:cubicBezTo>
                  <a:cubicBezTo>
                    <a:pt x="1463608" y="618984"/>
                    <a:pt x="1460737" y="621376"/>
                    <a:pt x="1457806" y="623649"/>
                  </a:cubicBezTo>
                  <a:cubicBezTo>
                    <a:pt x="1460976" y="629509"/>
                    <a:pt x="1463728" y="635608"/>
                    <a:pt x="1466181" y="641828"/>
                  </a:cubicBezTo>
                  <a:cubicBezTo>
                    <a:pt x="1455174" y="643861"/>
                    <a:pt x="1444645" y="641230"/>
                    <a:pt x="1434596" y="636804"/>
                  </a:cubicBezTo>
                  <a:cubicBezTo>
                    <a:pt x="1431784" y="630705"/>
                    <a:pt x="1431006" y="620120"/>
                    <a:pt x="1421914" y="621615"/>
                  </a:cubicBezTo>
                  <a:cubicBezTo>
                    <a:pt x="1409052" y="623230"/>
                    <a:pt x="1396310" y="621675"/>
                    <a:pt x="1383509" y="620898"/>
                  </a:cubicBezTo>
                  <a:cubicBezTo>
                    <a:pt x="1397626" y="627117"/>
                    <a:pt x="1413539" y="626639"/>
                    <a:pt x="1427597" y="633097"/>
                  </a:cubicBezTo>
                  <a:cubicBezTo>
                    <a:pt x="1407616" y="631901"/>
                    <a:pt x="1390089" y="639675"/>
                    <a:pt x="1380219" y="653608"/>
                  </a:cubicBezTo>
                  <a:cubicBezTo>
                    <a:pt x="1397985" y="644220"/>
                    <a:pt x="1420538" y="637821"/>
                    <a:pt x="1434476" y="652233"/>
                  </a:cubicBezTo>
                  <a:lnTo>
                    <a:pt x="1421973" y="660963"/>
                  </a:lnTo>
                  <a:cubicBezTo>
                    <a:pt x="1431904" y="662638"/>
                    <a:pt x="1445423" y="656777"/>
                    <a:pt x="1453020" y="665927"/>
                  </a:cubicBezTo>
                  <a:cubicBezTo>
                    <a:pt x="1458883" y="672923"/>
                    <a:pt x="1466779" y="677588"/>
                    <a:pt x="1473359" y="683867"/>
                  </a:cubicBezTo>
                  <a:cubicBezTo>
                    <a:pt x="1468095" y="684405"/>
                    <a:pt x="1462831" y="683687"/>
                    <a:pt x="1457686" y="682372"/>
                  </a:cubicBezTo>
                  <a:cubicBezTo>
                    <a:pt x="1458404" y="687215"/>
                    <a:pt x="1459301" y="692119"/>
                    <a:pt x="1460139" y="696963"/>
                  </a:cubicBezTo>
                  <a:cubicBezTo>
                    <a:pt x="1448893" y="703122"/>
                    <a:pt x="1436570" y="706411"/>
                    <a:pt x="1424247" y="709461"/>
                  </a:cubicBezTo>
                  <a:cubicBezTo>
                    <a:pt x="1433638" y="714125"/>
                    <a:pt x="1443449" y="718311"/>
                    <a:pt x="1450029" y="727042"/>
                  </a:cubicBezTo>
                  <a:cubicBezTo>
                    <a:pt x="1445303" y="731228"/>
                    <a:pt x="1441535" y="736311"/>
                    <a:pt x="1438364" y="741753"/>
                  </a:cubicBezTo>
                  <a:cubicBezTo>
                    <a:pt x="1427656" y="739600"/>
                    <a:pt x="1416590" y="737208"/>
                    <a:pt x="1405762" y="739839"/>
                  </a:cubicBezTo>
                  <a:lnTo>
                    <a:pt x="1407258" y="745699"/>
                  </a:lnTo>
                  <a:lnTo>
                    <a:pt x="1438065" y="752995"/>
                  </a:lnTo>
                  <a:cubicBezTo>
                    <a:pt x="1435971" y="758377"/>
                    <a:pt x="1433818" y="763759"/>
                    <a:pt x="1431545" y="769081"/>
                  </a:cubicBezTo>
                  <a:cubicBezTo>
                    <a:pt x="1427597" y="768004"/>
                    <a:pt x="1423648" y="766569"/>
                    <a:pt x="1419521" y="766510"/>
                  </a:cubicBezTo>
                  <a:cubicBezTo>
                    <a:pt x="1414735" y="769739"/>
                    <a:pt x="1411624" y="774822"/>
                    <a:pt x="1408454" y="779546"/>
                  </a:cubicBezTo>
                  <a:cubicBezTo>
                    <a:pt x="1396550" y="772310"/>
                    <a:pt x="1382552" y="771234"/>
                    <a:pt x="1369092" y="773805"/>
                  </a:cubicBezTo>
                  <a:cubicBezTo>
                    <a:pt x="1377527" y="785107"/>
                    <a:pt x="1381176" y="798622"/>
                    <a:pt x="1384466" y="812077"/>
                  </a:cubicBezTo>
                  <a:cubicBezTo>
                    <a:pt x="1380279" y="825233"/>
                    <a:pt x="1372921" y="837611"/>
                    <a:pt x="1360657" y="844667"/>
                  </a:cubicBezTo>
                  <a:cubicBezTo>
                    <a:pt x="1360897" y="842156"/>
                    <a:pt x="1361136" y="839644"/>
                    <a:pt x="1361435" y="837133"/>
                  </a:cubicBezTo>
                  <a:cubicBezTo>
                    <a:pt x="1352462" y="847478"/>
                    <a:pt x="1337985" y="847059"/>
                    <a:pt x="1325543" y="846162"/>
                  </a:cubicBezTo>
                  <a:cubicBezTo>
                    <a:pt x="1310468" y="843531"/>
                    <a:pt x="1302213" y="829897"/>
                    <a:pt x="1292402" y="819731"/>
                  </a:cubicBezTo>
                  <a:lnTo>
                    <a:pt x="1288095" y="830674"/>
                  </a:lnTo>
                  <a:cubicBezTo>
                    <a:pt x="1293658" y="834621"/>
                    <a:pt x="1299222" y="838628"/>
                    <a:pt x="1304127" y="843352"/>
                  </a:cubicBezTo>
                  <a:cubicBezTo>
                    <a:pt x="1295872" y="844010"/>
                    <a:pt x="1287617" y="844129"/>
                    <a:pt x="1279361" y="844249"/>
                  </a:cubicBezTo>
                  <a:cubicBezTo>
                    <a:pt x="1282532" y="849511"/>
                    <a:pt x="1285702" y="854833"/>
                    <a:pt x="1288514" y="860395"/>
                  </a:cubicBezTo>
                  <a:lnTo>
                    <a:pt x="1305264" y="847717"/>
                  </a:lnTo>
                  <a:cubicBezTo>
                    <a:pt x="1312980" y="850169"/>
                    <a:pt x="1320398" y="853757"/>
                    <a:pt x="1328414" y="855132"/>
                  </a:cubicBezTo>
                  <a:cubicBezTo>
                    <a:pt x="1335952" y="855073"/>
                    <a:pt x="1345044" y="849511"/>
                    <a:pt x="1351325" y="856269"/>
                  </a:cubicBezTo>
                  <a:cubicBezTo>
                    <a:pt x="1360119" y="864760"/>
                    <a:pt x="1349950" y="876301"/>
                    <a:pt x="1346001" y="884255"/>
                  </a:cubicBezTo>
                  <a:cubicBezTo>
                    <a:pt x="1354496" y="883537"/>
                    <a:pt x="1357666" y="890294"/>
                    <a:pt x="1360777" y="896155"/>
                  </a:cubicBezTo>
                  <a:cubicBezTo>
                    <a:pt x="1364486" y="887962"/>
                    <a:pt x="1369331" y="880248"/>
                    <a:pt x="1376091" y="874208"/>
                  </a:cubicBezTo>
                  <a:cubicBezTo>
                    <a:pt x="1383210" y="886886"/>
                    <a:pt x="1390627" y="905902"/>
                    <a:pt x="1379321" y="918101"/>
                  </a:cubicBezTo>
                  <a:cubicBezTo>
                    <a:pt x="1375134" y="923782"/>
                    <a:pt x="1371724" y="930061"/>
                    <a:pt x="1367477" y="935742"/>
                  </a:cubicBezTo>
                  <a:cubicBezTo>
                    <a:pt x="1366759" y="931735"/>
                    <a:pt x="1365981" y="927729"/>
                    <a:pt x="1365264" y="923722"/>
                  </a:cubicBezTo>
                  <a:cubicBezTo>
                    <a:pt x="1356949" y="932752"/>
                    <a:pt x="1353898" y="942081"/>
                    <a:pt x="1347676" y="948718"/>
                  </a:cubicBezTo>
                  <a:cubicBezTo>
                    <a:pt x="1333379" y="953562"/>
                    <a:pt x="1320279" y="961336"/>
                    <a:pt x="1305981" y="966180"/>
                  </a:cubicBezTo>
                  <a:cubicBezTo>
                    <a:pt x="1306998" y="956193"/>
                    <a:pt x="1311964" y="947104"/>
                    <a:pt x="1312681" y="937177"/>
                  </a:cubicBezTo>
                  <a:cubicBezTo>
                    <a:pt x="1307178" y="926652"/>
                    <a:pt x="1293359" y="931855"/>
                    <a:pt x="1284207" y="930779"/>
                  </a:cubicBezTo>
                  <a:cubicBezTo>
                    <a:pt x="1284147" y="919955"/>
                    <a:pt x="1276191" y="912540"/>
                    <a:pt x="1267876" y="906799"/>
                  </a:cubicBezTo>
                  <a:cubicBezTo>
                    <a:pt x="1270927" y="912659"/>
                    <a:pt x="1275054" y="917802"/>
                    <a:pt x="1279780" y="922347"/>
                  </a:cubicBezTo>
                  <a:cubicBezTo>
                    <a:pt x="1279002" y="928805"/>
                    <a:pt x="1278344" y="935084"/>
                    <a:pt x="1277985" y="941662"/>
                  </a:cubicBezTo>
                  <a:cubicBezTo>
                    <a:pt x="1273020" y="939270"/>
                    <a:pt x="1265423" y="942798"/>
                    <a:pt x="1261176" y="938254"/>
                  </a:cubicBezTo>
                  <a:cubicBezTo>
                    <a:pt x="1258783" y="929044"/>
                    <a:pt x="1257587" y="918998"/>
                    <a:pt x="1250229" y="912181"/>
                  </a:cubicBezTo>
                  <a:cubicBezTo>
                    <a:pt x="1251784" y="921510"/>
                    <a:pt x="1253938" y="930719"/>
                    <a:pt x="1255852" y="939988"/>
                  </a:cubicBezTo>
                  <a:cubicBezTo>
                    <a:pt x="1240897" y="941602"/>
                    <a:pt x="1236709" y="926712"/>
                    <a:pt x="1230967" y="916606"/>
                  </a:cubicBezTo>
                  <a:cubicBezTo>
                    <a:pt x="1230368" y="922526"/>
                    <a:pt x="1229950" y="928506"/>
                    <a:pt x="1230129" y="934426"/>
                  </a:cubicBezTo>
                  <a:cubicBezTo>
                    <a:pt x="1227078" y="935084"/>
                    <a:pt x="1224087" y="935862"/>
                    <a:pt x="1221096" y="936759"/>
                  </a:cubicBezTo>
                  <a:cubicBezTo>
                    <a:pt x="1217567" y="931197"/>
                    <a:pt x="1213918" y="925755"/>
                    <a:pt x="1209850" y="920613"/>
                  </a:cubicBezTo>
                  <a:cubicBezTo>
                    <a:pt x="1207457" y="933529"/>
                    <a:pt x="1216729" y="941782"/>
                    <a:pt x="1225164" y="949197"/>
                  </a:cubicBezTo>
                  <a:cubicBezTo>
                    <a:pt x="1209012" y="954160"/>
                    <a:pt x="1194536" y="946566"/>
                    <a:pt x="1179940" y="941124"/>
                  </a:cubicBezTo>
                  <a:cubicBezTo>
                    <a:pt x="1178923" y="938313"/>
                    <a:pt x="1178025" y="935563"/>
                    <a:pt x="1177068" y="932812"/>
                  </a:cubicBezTo>
                  <a:lnTo>
                    <a:pt x="1172821" y="932274"/>
                  </a:lnTo>
                  <a:lnTo>
                    <a:pt x="1169292" y="945788"/>
                  </a:lnTo>
                  <a:cubicBezTo>
                    <a:pt x="1162173" y="940167"/>
                    <a:pt x="1156131" y="933290"/>
                    <a:pt x="1151525" y="925456"/>
                  </a:cubicBezTo>
                  <a:cubicBezTo>
                    <a:pt x="1152662" y="932632"/>
                    <a:pt x="1152482" y="940107"/>
                    <a:pt x="1149790" y="946925"/>
                  </a:cubicBezTo>
                  <a:cubicBezTo>
                    <a:pt x="1143509" y="944652"/>
                    <a:pt x="1137108" y="942619"/>
                    <a:pt x="1130767" y="940466"/>
                  </a:cubicBezTo>
                  <a:cubicBezTo>
                    <a:pt x="1129092" y="928207"/>
                    <a:pt x="1131724" y="913915"/>
                    <a:pt x="1124187" y="903151"/>
                  </a:cubicBezTo>
                  <a:cubicBezTo>
                    <a:pt x="1124366" y="914095"/>
                    <a:pt x="1126221" y="924978"/>
                    <a:pt x="1125742" y="936041"/>
                  </a:cubicBezTo>
                  <a:cubicBezTo>
                    <a:pt x="1124965" y="931556"/>
                    <a:pt x="1124247" y="927071"/>
                    <a:pt x="1123589" y="922586"/>
                  </a:cubicBezTo>
                  <a:cubicBezTo>
                    <a:pt x="1121555" y="928147"/>
                    <a:pt x="1119641" y="933828"/>
                    <a:pt x="1117846" y="939450"/>
                  </a:cubicBezTo>
                  <a:cubicBezTo>
                    <a:pt x="1110548" y="935503"/>
                    <a:pt x="1105942" y="928626"/>
                    <a:pt x="1100977" y="922227"/>
                  </a:cubicBezTo>
                  <a:cubicBezTo>
                    <a:pt x="1106121" y="912719"/>
                    <a:pt x="1105284" y="901776"/>
                    <a:pt x="1105882" y="891490"/>
                  </a:cubicBezTo>
                  <a:cubicBezTo>
                    <a:pt x="1114795" y="883118"/>
                    <a:pt x="1125144" y="876002"/>
                    <a:pt x="1131545" y="865298"/>
                  </a:cubicBezTo>
                  <a:cubicBezTo>
                    <a:pt x="1138903" y="864222"/>
                    <a:pt x="1146560" y="864162"/>
                    <a:pt x="1153798" y="866255"/>
                  </a:cubicBezTo>
                  <a:cubicBezTo>
                    <a:pt x="1154337" y="863684"/>
                    <a:pt x="1154875" y="861172"/>
                    <a:pt x="1155473" y="858660"/>
                  </a:cubicBezTo>
                  <a:cubicBezTo>
                    <a:pt x="1161216" y="859617"/>
                    <a:pt x="1166959" y="860454"/>
                    <a:pt x="1172761" y="860634"/>
                  </a:cubicBezTo>
                  <a:cubicBezTo>
                    <a:pt x="1169052" y="858541"/>
                    <a:pt x="1165224" y="856687"/>
                    <a:pt x="1161336" y="854893"/>
                  </a:cubicBezTo>
                  <a:cubicBezTo>
                    <a:pt x="1162412" y="852621"/>
                    <a:pt x="1163489" y="850348"/>
                    <a:pt x="1164626" y="848076"/>
                  </a:cubicBezTo>
                  <a:lnTo>
                    <a:pt x="1158644" y="846760"/>
                  </a:lnTo>
                  <a:cubicBezTo>
                    <a:pt x="1162053" y="843711"/>
                    <a:pt x="1164925" y="840063"/>
                    <a:pt x="1168394" y="837073"/>
                  </a:cubicBezTo>
                  <a:cubicBezTo>
                    <a:pt x="1162711" y="838209"/>
                    <a:pt x="1157148" y="840541"/>
                    <a:pt x="1151345" y="840601"/>
                  </a:cubicBezTo>
                  <a:cubicBezTo>
                    <a:pt x="1144287" y="840182"/>
                    <a:pt x="1146620" y="831990"/>
                    <a:pt x="1146979" y="827326"/>
                  </a:cubicBezTo>
                  <a:cubicBezTo>
                    <a:pt x="1150747" y="813153"/>
                    <a:pt x="1125623" y="808728"/>
                    <a:pt x="1135493" y="792821"/>
                  </a:cubicBezTo>
                  <a:cubicBezTo>
                    <a:pt x="1135254" y="785645"/>
                    <a:pt x="1143569" y="784629"/>
                    <a:pt x="1148414" y="781938"/>
                  </a:cubicBezTo>
                  <a:cubicBezTo>
                    <a:pt x="1159062" y="775420"/>
                    <a:pt x="1172163" y="781041"/>
                    <a:pt x="1180418" y="788695"/>
                  </a:cubicBezTo>
                  <a:cubicBezTo>
                    <a:pt x="1191425" y="799100"/>
                    <a:pt x="1188913" y="815844"/>
                    <a:pt x="1194775" y="828821"/>
                  </a:cubicBezTo>
                  <a:cubicBezTo>
                    <a:pt x="1204287" y="835159"/>
                    <a:pt x="1215294" y="839345"/>
                    <a:pt x="1224446" y="846461"/>
                  </a:cubicBezTo>
                  <a:cubicBezTo>
                    <a:pt x="1223310" y="842335"/>
                    <a:pt x="1222113" y="838209"/>
                    <a:pt x="1220977" y="834083"/>
                  </a:cubicBezTo>
                  <a:cubicBezTo>
                    <a:pt x="1230189" y="835040"/>
                    <a:pt x="1239282" y="837073"/>
                    <a:pt x="1248195" y="839465"/>
                  </a:cubicBezTo>
                  <a:cubicBezTo>
                    <a:pt x="1245563" y="835877"/>
                    <a:pt x="1242871" y="832289"/>
                    <a:pt x="1240299" y="828701"/>
                  </a:cubicBezTo>
                  <a:cubicBezTo>
                    <a:pt x="1262552" y="811419"/>
                    <a:pt x="1268773" y="781758"/>
                    <a:pt x="1275054" y="755805"/>
                  </a:cubicBezTo>
                  <a:cubicBezTo>
                    <a:pt x="1272003" y="758496"/>
                    <a:pt x="1267577" y="760410"/>
                    <a:pt x="1266560" y="764716"/>
                  </a:cubicBezTo>
                  <a:cubicBezTo>
                    <a:pt x="1260937" y="785227"/>
                    <a:pt x="1253459" y="805439"/>
                    <a:pt x="1241435" y="823080"/>
                  </a:cubicBezTo>
                  <a:cubicBezTo>
                    <a:pt x="1231924" y="820209"/>
                    <a:pt x="1217447" y="824635"/>
                    <a:pt x="1212542" y="813332"/>
                  </a:cubicBezTo>
                  <a:cubicBezTo>
                    <a:pt x="1206679" y="807054"/>
                    <a:pt x="1208235" y="798084"/>
                    <a:pt x="1205483" y="790609"/>
                  </a:cubicBezTo>
                  <a:cubicBezTo>
                    <a:pt x="1202671" y="784689"/>
                    <a:pt x="1199082" y="779247"/>
                    <a:pt x="1195493" y="773865"/>
                  </a:cubicBezTo>
                  <a:cubicBezTo>
                    <a:pt x="1201236" y="767765"/>
                    <a:pt x="1210029" y="763101"/>
                    <a:pt x="1211704" y="754251"/>
                  </a:cubicBezTo>
                  <a:cubicBezTo>
                    <a:pt x="1213978" y="744443"/>
                    <a:pt x="1214576" y="734337"/>
                    <a:pt x="1215593" y="724351"/>
                  </a:cubicBezTo>
                  <a:cubicBezTo>
                    <a:pt x="1208354" y="735414"/>
                    <a:pt x="1206859" y="752696"/>
                    <a:pt x="1192801" y="757360"/>
                  </a:cubicBezTo>
                  <a:cubicBezTo>
                    <a:pt x="1188733" y="758915"/>
                    <a:pt x="1184247" y="758437"/>
                    <a:pt x="1180000" y="758377"/>
                  </a:cubicBezTo>
                  <a:cubicBezTo>
                    <a:pt x="1183708" y="749347"/>
                    <a:pt x="1187716" y="740437"/>
                    <a:pt x="1191306" y="731347"/>
                  </a:cubicBezTo>
                  <a:cubicBezTo>
                    <a:pt x="1183768" y="738165"/>
                    <a:pt x="1176769" y="745639"/>
                    <a:pt x="1168873" y="752098"/>
                  </a:cubicBezTo>
                  <a:cubicBezTo>
                    <a:pt x="1162951" y="756942"/>
                    <a:pt x="1155593" y="753294"/>
                    <a:pt x="1149611" y="750782"/>
                  </a:cubicBezTo>
                  <a:cubicBezTo>
                    <a:pt x="1153379" y="747852"/>
                    <a:pt x="1157208" y="745161"/>
                    <a:pt x="1161156" y="742530"/>
                  </a:cubicBezTo>
                  <a:cubicBezTo>
                    <a:pt x="1158285" y="741753"/>
                    <a:pt x="1155413" y="741095"/>
                    <a:pt x="1152542" y="740557"/>
                  </a:cubicBezTo>
                  <a:cubicBezTo>
                    <a:pt x="1152243" y="732842"/>
                    <a:pt x="1150927" y="725068"/>
                    <a:pt x="1151585" y="717414"/>
                  </a:cubicBezTo>
                  <a:cubicBezTo>
                    <a:pt x="1155054" y="707487"/>
                    <a:pt x="1161635" y="698936"/>
                    <a:pt x="1164446" y="688770"/>
                  </a:cubicBezTo>
                  <a:cubicBezTo>
                    <a:pt x="1166899" y="683747"/>
                    <a:pt x="1166959" y="674957"/>
                    <a:pt x="1173479" y="672684"/>
                  </a:cubicBezTo>
                  <a:cubicBezTo>
                    <a:pt x="1186101" y="668737"/>
                    <a:pt x="1198245" y="663415"/>
                    <a:pt x="1209611" y="656718"/>
                  </a:cubicBezTo>
                  <a:cubicBezTo>
                    <a:pt x="1217866" y="662638"/>
                    <a:pt x="1228155" y="663176"/>
                    <a:pt x="1237427" y="666585"/>
                  </a:cubicBezTo>
                  <a:cubicBezTo>
                    <a:pt x="1254057" y="674119"/>
                    <a:pt x="1264047" y="690086"/>
                    <a:pt x="1277746" y="701448"/>
                  </a:cubicBezTo>
                  <a:cubicBezTo>
                    <a:pt x="1275952" y="685182"/>
                    <a:pt x="1261236" y="677229"/>
                    <a:pt x="1252801" y="665030"/>
                  </a:cubicBezTo>
                  <a:cubicBezTo>
                    <a:pt x="1265662" y="665329"/>
                    <a:pt x="1278464" y="664492"/>
                    <a:pt x="1291266" y="663475"/>
                  </a:cubicBezTo>
                  <a:cubicBezTo>
                    <a:pt x="1291266" y="656179"/>
                    <a:pt x="1291864" y="648944"/>
                    <a:pt x="1292821" y="641768"/>
                  </a:cubicBezTo>
                  <a:cubicBezTo>
                    <a:pt x="1286779" y="647389"/>
                    <a:pt x="1282532" y="655402"/>
                    <a:pt x="1274935" y="658990"/>
                  </a:cubicBezTo>
                  <a:cubicBezTo>
                    <a:pt x="1259680" y="655641"/>
                    <a:pt x="1244007" y="653608"/>
                    <a:pt x="1228933" y="649482"/>
                  </a:cubicBezTo>
                  <a:cubicBezTo>
                    <a:pt x="1220378" y="647030"/>
                    <a:pt x="1213320" y="634054"/>
                    <a:pt x="1223190" y="628791"/>
                  </a:cubicBezTo>
                  <a:cubicBezTo>
                    <a:pt x="1233838" y="627595"/>
                    <a:pt x="1236530" y="642426"/>
                    <a:pt x="1246699" y="644279"/>
                  </a:cubicBezTo>
                  <a:cubicBezTo>
                    <a:pt x="1243828" y="634831"/>
                    <a:pt x="1236769" y="627835"/>
                    <a:pt x="1230787" y="620300"/>
                  </a:cubicBezTo>
                  <a:cubicBezTo>
                    <a:pt x="1224326" y="610493"/>
                    <a:pt x="1226360" y="597337"/>
                    <a:pt x="1218703" y="588068"/>
                  </a:cubicBezTo>
                  <a:cubicBezTo>
                    <a:pt x="1212602" y="580174"/>
                    <a:pt x="1212362" y="569769"/>
                    <a:pt x="1207278" y="561517"/>
                  </a:cubicBezTo>
                  <a:cubicBezTo>
                    <a:pt x="1198364" y="555716"/>
                    <a:pt x="1187716" y="553324"/>
                    <a:pt x="1178863" y="547464"/>
                  </a:cubicBezTo>
                  <a:cubicBezTo>
                    <a:pt x="1173479" y="536581"/>
                    <a:pt x="1181854" y="523604"/>
                    <a:pt x="1176111" y="512661"/>
                  </a:cubicBezTo>
                  <a:cubicBezTo>
                    <a:pt x="1170428" y="500282"/>
                    <a:pt x="1171625" y="485990"/>
                    <a:pt x="1174317" y="473014"/>
                  </a:cubicBezTo>
                  <a:cubicBezTo>
                    <a:pt x="1179581" y="466675"/>
                    <a:pt x="1189212" y="467692"/>
                    <a:pt x="1195672" y="471758"/>
                  </a:cubicBezTo>
                  <a:cubicBezTo>
                    <a:pt x="1208654" y="479771"/>
                    <a:pt x="1225463" y="472894"/>
                    <a:pt x="1238923" y="479233"/>
                  </a:cubicBezTo>
                  <a:cubicBezTo>
                    <a:pt x="1250468" y="491851"/>
                    <a:pt x="1257946" y="507578"/>
                    <a:pt x="1270029" y="519837"/>
                  </a:cubicBezTo>
                  <a:cubicBezTo>
                    <a:pt x="1283070" y="531199"/>
                    <a:pt x="1280259" y="551889"/>
                    <a:pt x="1293958" y="562653"/>
                  </a:cubicBezTo>
                  <a:cubicBezTo>
                    <a:pt x="1300059" y="566121"/>
                    <a:pt x="1306819" y="567975"/>
                    <a:pt x="1313220" y="570786"/>
                  </a:cubicBezTo>
                  <a:cubicBezTo>
                    <a:pt x="1320937" y="566420"/>
                    <a:pt x="1329371" y="562892"/>
                    <a:pt x="1335772" y="556494"/>
                  </a:cubicBezTo>
                  <a:cubicBezTo>
                    <a:pt x="1328055" y="557510"/>
                    <a:pt x="1320937" y="560799"/>
                    <a:pt x="1313399" y="562414"/>
                  </a:cubicBezTo>
                  <a:cubicBezTo>
                    <a:pt x="1307238" y="559843"/>
                    <a:pt x="1302033" y="555417"/>
                    <a:pt x="1296291" y="552128"/>
                  </a:cubicBezTo>
                  <a:cubicBezTo>
                    <a:pt x="1294616" y="542022"/>
                    <a:pt x="1293658" y="531737"/>
                    <a:pt x="1290967" y="521870"/>
                  </a:cubicBezTo>
                  <a:cubicBezTo>
                    <a:pt x="1285942" y="515113"/>
                    <a:pt x="1277866" y="511106"/>
                    <a:pt x="1273678" y="503571"/>
                  </a:cubicBezTo>
                  <a:cubicBezTo>
                    <a:pt x="1266201" y="491791"/>
                    <a:pt x="1259800" y="479293"/>
                    <a:pt x="1253579" y="466795"/>
                  </a:cubicBezTo>
                  <a:cubicBezTo>
                    <a:pt x="1274935" y="459080"/>
                    <a:pt x="1297846" y="456748"/>
                    <a:pt x="1318843" y="448077"/>
                  </a:cubicBezTo>
                  <a:cubicBezTo>
                    <a:pt x="1334277" y="431034"/>
                    <a:pt x="1360298" y="437852"/>
                    <a:pt x="1380338" y="430975"/>
                  </a:cubicBezTo>
                  <a:cubicBezTo>
                    <a:pt x="1364665" y="424815"/>
                    <a:pt x="1347916" y="426789"/>
                    <a:pt x="1331644" y="427925"/>
                  </a:cubicBezTo>
                  <a:cubicBezTo>
                    <a:pt x="1343190" y="416264"/>
                    <a:pt x="1356769" y="406277"/>
                    <a:pt x="1372083" y="400118"/>
                  </a:cubicBezTo>
                  <a:cubicBezTo>
                    <a:pt x="1385244" y="393540"/>
                    <a:pt x="1400318" y="394916"/>
                    <a:pt x="1414496" y="392464"/>
                  </a:cubicBezTo>
                  <a:lnTo>
                    <a:pt x="1414615" y="386783"/>
                  </a:lnTo>
                  <a:cubicBezTo>
                    <a:pt x="1395114" y="382477"/>
                    <a:pt x="1374715" y="382118"/>
                    <a:pt x="1356590" y="392045"/>
                  </a:cubicBezTo>
                  <a:cubicBezTo>
                    <a:pt x="1356649" y="385288"/>
                    <a:pt x="1355274" y="378232"/>
                    <a:pt x="1357128" y="371713"/>
                  </a:cubicBezTo>
                  <a:cubicBezTo>
                    <a:pt x="1361854" y="363581"/>
                    <a:pt x="1368374" y="356285"/>
                    <a:pt x="1370049" y="346717"/>
                  </a:cubicBezTo>
                  <a:cubicBezTo>
                    <a:pt x="1376510" y="324591"/>
                    <a:pt x="1402292" y="316698"/>
                    <a:pt x="1411086" y="296426"/>
                  </a:cubicBezTo>
                  <a:cubicBezTo>
                    <a:pt x="1398943" y="303422"/>
                    <a:pt x="1387457" y="311675"/>
                    <a:pt x="1376390" y="320286"/>
                  </a:cubicBezTo>
                  <a:cubicBezTo>
                    <a:pt x="1368075" y="329136"/>
                    <a:pt x="1364007" y="341096"/>
                    <a:pt x="1360179" y="352338"/>
                  </a:cubicBezTo>
                  <a:cubicBezTo>
                    <a:pt x="1356590" y="350963"/>
                    <a:pt x="1353060" y="349588"/>
                    <a:pt x="1349531" y="348093"/>
                  </a:cubicBezTo>
                  <a:cubicBezTo>
                    <a:pt x="1351266" y="351860"/>
                    <a:pt x="1352761" y="355926"/>
                    <a:pt x="1350488" y="359813"/>
                  </a:cubicBezTo>
                  <a:cubicBezTo>
                    <a:pt x="1346959" y="366750"/>
                    <a:pt x="1350727" y="374703"/>
                    <a:pt x="1347617" y="381700"/>
                  </a:cubicBezTo>
                  <a:cubicBezTo>
                    <a:pt x="1342233" y="400896"/>
                    <a:pt x="1322432" y="409626"/>
                    <a:pt x="1307776" y="420510"/>
                  </a:cubicBezTo>
                  <a:cubicBezTo>
                    <a:pt x="1290907" y="428941"/>
                    <a:pt x="1272721" y="438988"/>
                    <a:pt x="1253280" y="437433"/>
                  </a:cubicBezTo>
                  <a:cubicBezTo>
                    <a:pt x="1255852" y="428044"/>
                    <a:pt x="1258604" y="416922"/>
                    <a:pt x="1269072" y="413693"/>
                  </a:cubicBezTo>
                  <a:cubicBezTo>
                    <a:pt x="1278344" y="410703"/>
                    <a:pt x="1290129" y="404842"/>
                    <a:pt x="1286719" y="393002"/>
                  </a:cubicBezTo>
                  <a:cubicBezTo>
                    <a:pt x="1272901" y="400776"/>
                    <a:pt x="1261894" y="419194"/>
                    <a:pt x="1244247" y="415786"/>
                  </a:cubicBezTo>
                  <a:cubicBezTo>
                    <a:pt x="1247956" y="408012"/>
                    <a:pt x="1253280" y="401195"/>
                    <a:pt x="1256869" y="393361"/>
                  </a:cubicBezTo>
                  <a:cubicBezTo>
                    <a:pt x="1251006" y="398324"/>
                    <a:pt x="1244665" y="403347"/>
                    <a:pt x="1240837" y="410164"/>
                  </a:cubicBezTo>
                  <a:cubicBezTo>
                    <a:pt x="1240179" y="417998"/>
                    <a:pt x="1243529" y="425952"/>
                    <a:pt x="1240957" y="433606"/>
                  </a:cubicBezTo>
                  <a:cubicBezTo>
                    <a:pt x="1238564" y="439406"/>
                    <a:pt x="1231445" y="440363"/>
                    <a:pt x="1226001" y="441260"/>
                  </a:cubicBezTo>
                  <a:cubicBezTo>
                    <a:pt x="1214516" y="441559"/>
                    <a:pt x="1202911" y="441260"/>
                    <a:pt x="1191605" y="438808"/>
                  </a:cubicBezTo>
                  <a:cubicBezTo>
                    <a:pt x="1192083" y="436775"/>
                    <a:pt x="1192562" y="434742"/>
                    <a:pt x="1193040" y="432769"/>
                  </a:cubicBezTo>
                  <a:cubicBezTo>
                    <a:pt x="1186400" y="441499"/>
                    <a:pt x="1175573" y="437313"/>
                    <a:pt x="1169770" y="429838"/>
                  </a:cubicBezTo>
                  <a:cubicBezTo>
                    <a:pt x="1171924" y="412616"/>
                    <a:pt x="1183349" y="398264"/>
                    <a:pt x="1189511" y="382358"/>
                  </a:cubicBezTo>
                  <a:cubicBezTo>
                    <a:pt x="1195194" y="367647"/>
                    <a:pt x="1213320" y="365793"/>
                    <a:pt x="1226121" y="361428"/>
                  </a:cubicBezTo>
                  <a:cubicBezTo>
                    <a:pt x="1242632" y="354431"/>
                    <a:pt x="1260937" y="351441"/>
                    <a:pt x="1276370" y="341993"/>
                  </a:cubicBezTo>
                  <a:cubicBezTo>
                    <a:pt x="1261296" y="341395"/>
                    <a:pt x="1248494" y="350544"/>
                    <a:pt x="1234077" y="353355"/>
                  </a:cubicBezTo>
                  <a:cubicBezTo>
                    <a:pt x="1217507" y="358139"/>
                    <a:pt x="1196510" y="356225"/>
                    <a:pt x="1185324" y="371713"/>
                  </a:cubicBezTo>
                  <a:cubicBezTo>
                    <a:pt x="1174257" y="388936"/>
                    <a:pt x="1165762" y="407713"/>
                    <a:pt x="1156370" y="425892"/>
                  </a:cubicBezTo>
                  <a:cubicBezTo>
                    <a:pt x="1149192" y="426490"/>
                    <a:pt x="1143150" y="421945"/>
                    <a:pt x="1137587" y="418058"/>
                  </a:cubicBezTo>
                  <a:cubicBezTo>
                    <a:pt x="1125024" y="407234"/>
                    <a:pt x="1111385" y="396590"/>
                    <a:pt x="1102951" y="381999"/>
                  </a:cubicBezTo>
                  <a:cubicBezTo>
                    <a:pt x="1113419" y="376677"/>
                    <a:pt x="1123589" y="368544"/>
                    <a:pt x="1136091" y="369561"/>
                  </a:cubicBezTo>
                  <a:cubicBezTo>
                    <a:pt x="1147696" y="368903"/>
                    <a:pt x="1159601" y="373089"/>
                    <a:pt x="1170727" y="367767"/>
                  </a:cubicBezTo>
                  <a:cubicBezTo>
                    <a:pt x="1181316" y="362743"/>
                    <a:pt x="1190408" y="354671"/>
                    <a:pt x="1195972" y="344325"/>
                  </a:cubicBezTo>
                  <a:cubicBezTo>
                    <a:pt x="1200638" y="334817"/>
                    <a:pt x="1210568" y="330452"/>
                    <a:pt x="1219182" y="325429"/>
                  </a:cubicBezTo>
                  <a:cubicBezTo>
                    <a:pt x="1216011" y="323934"/>
                    <a:pt x="1212961" y="319807"/>
                    <a:pt x="1209192" y="321781"/>
                  </a:cubicBezTo>
                  <a:cubicBezTo>
                    <a:pt x="1199980" y="325847"/>
                    <a:pt x="1190947" y="331528"/>
                    <a:pt x="1184905" y="339780"/>
                  </a:cubicBezTo>
                  <a:cubicBezTo>
                    <a:pt x="1176769" y="353714"/>
                    <a:pt x="1159182" y="357063"/>
                    <a:pt x="1144466" y="359275"/>
                  </a:cubicBezTo>
                  <a:cubicBezTo>
                    <a:pt x="1126640" y="359454"/>
                    <a:pt x="1109411" y="364179"/>
                    <a:pt x="1092063" y="367527"/>
                  </a:cubicBezTo>
                  <a:cubicBezTo>
                    <a:pt x="1086201" y="358079"/>
                    <a:pt x="1076749" y="340558"/>
                    <a:pt x="1089970" y="333442"/>
                  </a:cubicBezTo>
                  <a:cubicBezTo>
                    <a:pt x="1096789" y="331229"/>
                    <a:pt x="1104147" y="333681"/>
                    <a:pt x="1111206" y="333621"/>
                  </a:cubicBezTo>
                  <a:lnTo>
                    <a:pt x="1091645" y="317356"/>
                  </a:lnTo>
                  <a:cubicBezTo>
                    <a:pt x="1104685" y="311675"/>
                    <a:pt x="1112582" y="299356"/>
                    <a:pt x="1121615" y="288951"/>
                  </a:cubicBezTo>
                  <a:cubicBezTo>
                    <a:pt x="1129212" y="284107"/>
                    <a:pt x="1139022" y="286499"/>
                    <a:pt x="1147577" y="286499"/>
                  </a:cubicBezTo>
                  <a:cubicBezTo>
                    <a:pt x="1141236" y="281715"/>
                    <a:pt x="1132681" y="277529"/>
                    <a:pt x="1124845" y="281476"/>
                  </a:cubicBezTo>
                  <a:cubicBezTo>
                    <a:pt x="1108813" y="288532"/>
                    <a:pt x="1096370" y="301688"/>
                    <a:pt x="1081894" y="311376"/>
                  </a:cubicBezTo>
                  <a:cubicBezTo>
                    <a:pt x="1078006" y="307130"/>
                    <a:pt x="1073998" y="303064"/>
                    <a:pt x="1069930" y="298997"/>
                  </a:cubicBezTo>
                  <a:cubicBezTo>
                    <a:pt x="1079860" y="288174"/>
                    <a:pt x="1091346" y="279084"/>
                    <a:pt x="1102771" y="269935"/>
                  </a:cubicBezTo>
                  <a:lnTo>
                    <a:pt x="1091286" y="271250"/>
                  </a:lnTo>
                  <a:cubicBezTo>
                    <a:pt x="1089551" y="267423"/>
                    <a:pt x="1087756" y="263596"/>
                    <a:pt x="1085902" y="259769"/>
                  </a:cubicBezTo>
                  <a:cubicBezTo>
                    <a:pt x="1080159" y="263656"/>
                    <a:pt x="1072622" y="266227"/>
                    <a:pt x="1070109" y="273284"/>
                  </a:cubicBezTo>
                  <a:cubicBezTo>
                    <a:pt x="1069032" y="280758"/>
                    <a:pt x="1063589" y="284885"/>
                    <a:pt x="1057367" y="287576"/>
                  </a:cubicBezTo>
                  <a:cubicBezTo>
                    <a:pt x="1056650" y="283748"/>
                    <a:pt x="1055872" y="279921"/>
                    <a:pt x="1055094" y="276094"/>
                  </a:cubicBezTo>
                  <a:cubicBezTo>
                    <a:pt x="1053778" y="278964"/>
                    <a:pt x="1052522" y="281835"/>
                    <a:pt x="1051206" y="284705"/>
                  </a:cubicBezTo>
                  <a:cubicBezTo>
                    <a:pt x="1049411" y="283808"/>
                    <a:pt x="1047617" y="282851"/>
                    <a:pt x="1045822" y="282014"/>
                  </a:cubicBezTo>
                  <a:cubicBezTo>
                    <a:pt x="1046839" y="271071"/>
                    <a:pt x="1044745" y="257496"/>
                    <a:pt x="1054556" y="249902"/>
                  </a:cubicBezTo>
                  <a:cubicBezTo>
                    <a:pt x="1062692" y="243982"/>
                    <a:pt x="1069391" y="236447"/>
                    <a:pt x="1076630" y="229451"/>
                  </a:cubicBezTo>
                  <a:cubicBezTo>
                    <a:pt x="1082313" y="223650"/>
                    <a:pt x="1090987" y="223949"/>
                    <a:pt x="1098404" y="222155"/>
                  </a:cubicBezTo>
                  <a:cubicBezTo>
                    <a:pt x="1099900" y="228075"/>
                    <a:pt x="1103609" y="232919"/>
                    <a:pt x="1107677" y="237284"/>
                  </a:cubicBezTo>
                  <a:cubicBezTo>
                    <a:pt x="1106002" y="230288"/>
                    <a:pt x="1104985" y="223052"/>
                    <a:pt x="1106002" y="215876"/>
                  </a:cubicBezTo>
                  <a:cubicBezTo>
                    <a:pt x="1109052" y="218148"/>
                    <a:pt x="1112043" y="220540"/>
                    <a:pt x="1114915" y="222992"/>
                  </a:cubicBezTo>
                  <a:cubicBezTo>
                    <a:pt x="1106959" y="202122"/>
                    <a:pt x="1134117" y="183345"/>
                    <a:pt x="1152243" y="192853"/>
                  </a:cubicBezTo>
                  <a:cubicBezTo>
                    <a:pt x="1159003" y="198534"/>
                    <a:pt x="1158105" y="207803"/>
                    <a:pt x="1158045" y="215637"/>
                  </a:cubicBezTo>
                  <a:cubicBezTo>
                    <a:pt x="1162532" y="209836"/>
                    <a:pt x="1165164" y="203019"/>
                    <a:pt x="1166241" y="195843"/>
                  </a:cubicBezTo>
                  <a:cubicBezTo>
                    <a:pt x="1179521" y="195245"/>
                    <a:pt x="1188853" y="202900"/>
                    <a:pt x="1193698" y="214800"/>
                  </a:cubicBezTo>
                  <a:cubicBezTo>
                    <a:pt x="1194237" y="211929"/>
                    <a:pt x="1194835" y="209119"/>
                    <a:pt x="1195792" y="206368"/>
                  </a:cubicBezTo>
                  <a:cubicBezTo>
                    <a:pt x="1201774" y="203797"/>
                    <a:pt x="1206021" y="207863"/>
                    <a:pt x="1209312" y="211511"/>
                  </a:cubicBezTo>
                  <a:cubicBezTo>
                    <a:pt x="1210867" y="209717"/>
                    <a:pt x="1212482" y="207983"/>
                    <a:pt x="1214037" y="206189"/>
                  </a:cubicBezTo>
                  <a:cubicBezTo>
                    <a:pt x="1216131" y="212886"/>
                    <a:pt x="1218045" y="219703"/>
                    <a:pt x="1220259" y="226401"/>
                  </a:cubicBezTo>
                  <a:cubicBezTo>
                    <a:pt x="1218045" y="219404"/>
                    <a:pt x="1221694" y="205710"/>
                    <a:pt x="1211884" y="202840"/>
                  </a:cubicBezTo>
                  <a:cubicBezTo>
                    <a:pt x="1198484" y="198654"/>
                    <a:pt x="1185682" y="192793"/>
                    <a:pt x="1173659" y="185558"/>
                  </a:cubicBezTo>
                  <a:cubicBezTo>
                    <a:pt x="1167676" y="182149"/>
                    <a:pt x="1167078" y="174614"/>
                    <a:pt x="1164925" y="168754"/>
                  </a:cubicBezTo>
                  <a:cubicBezTo>
                    <a:pt x="1177846" y="166960"/>
                    <a:pt x="1191425" y="165046"/>
                    <a:pt x="1202612" y="157751"/>
                  </a:cubicBezTo>
                  <a:cubicBezTo>
                    <a:pt x="1199322" y="147166"/>
                    <a:pt x="1199322" y="134369"/>
                    <a:pt x="1188793" y="127851"/>
                  </a:cubicBezTo>
                  <a:cubicBezTo>
                    <a:pt x="1199082" y="121273"/>
                    <a:pt x="1211465" y="118941"/>
                    <a:pt x="1222652" y="124562"/>
                  </a:cubicBezTo>
                  <a:cubicBezTo>
                    <a:pt x="1220378" y="126894"/>
                    <a:pt x="1218045" y="129107"/>
                    <a:pt x="1215772" y="131379"/>
                  </a:cubicBezTo>
                  <a:cubicBezTo>
                    <a:pt x="1220498" y="135565"/>
                    <a:pt x="1225104" y="140887"/>
                    <a:pt x="1231744" y="141784"/>
                  </a:cubicBezTo>
                  <a:cubicBezTo>
                    <a:pt x="1238085" y="142861"/>
                    <a:pt x="1245563" y="144655"/>
                    <a:pt x="1247178" y="152010"/>
                  </a:cubicBezTo>
                  <a:cubicBezTo>
                    <a:pt x="1251724" y="166302"/>
                    <a:pt x="1265662" y="182149"/>
                    <a:pt x="1256390" y="197219"/>
                  </a:cubicBezTo>
                  <a:cubicBezTo>
                    <a:pt x="1264945" y="195604"/>
                    <a:pt x="1273499" y="194348"/>
                    <a:pt x="1282113" y="193092"/>
                  </a:cubicBezTo>
                  <a:lnTo>
                    <a:pt x="1268534" y="190401"/>
                  </a:lnTo>
                  <a:cubicBezTo>
                    <a:pt x="1264646" y="179339"/>
                    <a:pt x="1259920" y="168575"/>
                    <a:pt x="1257288" y="157153"/>
                  </a:cubicBezTo>
                  <a:cubicBezTo>
                    <a:pt x="1267457" y="153206"/>
                    <a:pt x="1272123" y="163910"/>
                    <a:pt x="1277926" y="170249"/>
                  </a:cubicBezTo>
                  <a:cubicBezTo>
                    <a:pt x="1292342" y="187112"/>
                    <a:pt x="1310229" y="201106"/>
                    <a:pt x="1329730" y="211750"/>
                  </a:cubicBezTo>
                  <a:cubicBezTo>
                    <a:pt x="1334994" y="221079"/>
                    <a:pt x="1339122" y="232082"/>
                    <a:pt x="1348992" y="237763"/>
                  </a:cubicBezTo>
                  <a:cubicBezTo>
                    <a:pt x="1344745" y="225982"/>
                    <a:pt x="1339002" y="214740"/>
                    <a:pt x="1332302" y="204275"/>
                  </a:cubicBezTo>
                  <a:cubicBezTo>
                    <a:pt x="1323210" y="197876"/>
                    <a:pt x="1306101" y="194288"/>
                    <a:pt x="1308853" y="179757"/>
                  </a:cubicBezTo>
                  <a:cubicBezTo>
                    <a:pt x="1288454" y="174674"/>
                    <a:pt x="1279481" y="154582"/>
                    <a:pt x="1266141" y="140588"/>
                  </a:cubicBezTo>
                  <a:cubicBezTo>
                    <a:pt x="1266560" y="132097"/>
                    <a:pt x="1268594" y="123785"/>
                    <a:pt x="1272482" y="116250"/>
                  </a:cubicBezTo>
                  <a:lnTo>
                    <a:pt x="1294436" y="118223"/>
                  </a:lnTo>
                  <a:cubicBezTo>
                    <a:pt x="1287796" y="112842"/>
                    <a:pt x="1280139" y="108177"/>
                    <a:pt x="1275114" y="101181"/>
                  </a:cubicBezTo>
                  <a:cubicBezTo>
                    <a:pt x="1270747" y="95141"/>
                    <a:pt x="1276011" y="88623"/>
                    <a:pt x="1279122" y="83420"/>
                  </a:cubicBezTo>
                  <a:cubicBezTo>
                    <a:pt x="1288275" y="88384"/>
                    <a:pt x="1296949" y="94124"/>
                    <a:pt x="1304366" y="101480"/>
                  </a:cubicBezTo>
                  <a:cubicBezTo>
                    <a:pt x="1303290" y="103214"/>
                    <a:pt x="1302213" y="105008"/>
                    <a:pt x="1301136" y="106742"/>
                  </a:cubicBezTo>
                  <a:cubicBezTo>
                    <a:pt x="1306639" y="108416"/>
                    <a:pt x="1312143" y="109911"/>
                    <a:pt x="1317886" y="110390"/>
                  </a:cubicBezTo>
                  <a:cubicBezTo>
                    <a:pt x="1312442" y="91493"/>
                    <a:pt x="1299461" y="76244"/>
                    <a:pt x="1291385" y="58544"/>
                  </a:cubicBezTo>
                  <a:cubicBezTo>
                    <a:pt x="1301196" y="57826"/>
                    <a:pt x="1312083" y="55972"/>
                    <a:pt x="1320578" y="62251"/>
                  </a:cubicBezTo>
                  <a:cubicBezTo>
                    <a:pt x="1327995" y="68231"/>
                    <a:pt x="1327278" y="78816"/>
                    <a:pt x="1329311" y="87367"/>
                  </a:cubicBezTo>
                  <a:cubicBezTo>
                    <a:pt x="1330927" y="84198"/>
                    <a:pt x="1332482" y="80968"/>
                    <a:pt x="1333918" y="77739"/>
                  </a:cubicBezTo>
                  <a:cubicBezTo>
                    <a:pt x="1342592" y="82882"/>
                    <a:pt x="1352103" y="86530"/>
                    <a:pt x="1362452" y="86410"/>
                  </a:cubicBezTo>
                  <a:cubicBezTo>
                    <a:pt x="1350787" y="80191"/>
                    <a:pt x="1331465" y="77141"/>
                    <a:pt x="1331704" y="60457"/>
                  </a:cubicBezTo>
                  <a:lnTo>
                    <a:pt x="1338823" y="57706"/>
                  </a:lnTo>
                  <a:cubicBezTo>
                    <a:pt x="1331286" y="55195"/>
                    <a:pt x="1320039" y="52683"/>
                    <a:pt x="1321774" y="42458"/>
                  </a:cubicBezTo>
                  <a:cubicBezTo>
                    <a:pt x="1327816" y="35102"/>
                    <a:pt x="1336968" y="29361"/>
                    <a:pt x="1346420" y="27807"/>
                  </a:cubicBezTo>
                  <a:cubicBezTo>
                    <a:pt x="1351684" y="30976"/>
                    <a:pt x="1353299" y="37375"/>
                    <a:pt x="1356231" y="42398"/>
                  </a:cubicBezTo>
                  <a:lnTo>
                    <a:pt x="1363409" y="32890"/>
                  </a:lnTo>
                  <a:cubicBezTo>
                    <a:pt x="1366101" y="38750"/>
                    <a:pt x="1368314" y="44730"/>
                    <a:pt x="1370827" y="50650"/>
                  </a:cubicBezTo>
                  <a:cubicBezTo>
                    <a:pt x="1374835" y="45687"/>
                    <a:pt x="1378843" y="40723"/>
                    <a:pt x="1382791" y="35640"/>
                  </a:cubicBezTo>
                  <a:cubicBezTo>
                    <a:pt x="1388534" y="41142"/>
                    <a:pt x="1395234" y="45687"/>
                    <a:pt x="1400378" y="51786"/>
                  </a:cubicBezTo>
                  <a:cubicBezTo>
                    <a:pt x="1406300" y="62311"/>
                    <a:pt x="1408215" y="74630"/>
                    <a:pt x="1413658" y="85394"/>
                  </a:cubicBezTo>
                  <a:cubicBezTo>
                    <a:pt x="1417846" y="90895"/>
                    <a:pt x="1424247" y="94244"/>
                    <a:pt x="1428494" y="99686"/>
                  </a:cubicBezTo>
                  <a:cubicBezTo>
                    <a:pt x="1427716" y="109852"/>
                    <a:pt x="1423050" y="119240"/>
                    <a:pt x="1420777" y="129047"/>
                  </a:cubicBezTo>
                  <a:cubicBezTo>
                    <a:pt x="1427896" y="117984"/>
                    <a:pt x="1434237" y="106443"/>
                    <a:pt x="1440996" y="95201"/>
                  </a:cubicBezTo>
                  <a:cubicBezTo>
                    <a:pt x="1433100" y="89340"/>
                    <a:pt x="1423888" y="83241"/>
                    <a:pt x="1420777" y="73493"/>
                  </a:cubicBezTo>
                  <a:cubicBezTo>
                    <a:pt x="1419521" y="67693"/>
                    <a:pt x="1426221" y="65361"/>
                    <a:pt x="1429750" y="62251"/>
                  </a:cubicBezTo>
                  <a:cubicBezTo>
                    <a:pt x="1426280" y="62431"/>
                    <a:pt x="1422751" y="62670"/>
                    <a:pt x="1419281" y="62311"/>
                  </a:cubicBezTo>
                  <a:cubicBezTo>
                    <a:pt x="1412641" y="55195"/>
                    <a:pt x="1412163" y="43952"/>
                    <a:pt x="1404147" y="37674"/>
                  </a:cubicBezTo>
                  <a:cubicBezTo>
                    <a:pt x="1399720" y="32770"/>
                    <a:pt x="1389431" y="25714"/>
                    <a:pt x="1397088" y="19016"/>
                  </a:cubicBezTo>
                  <a:cubicBezTo>
                    <a:pt x="1404984" y="19196"/>
                    <a:pt x="1413359" y="21229"/>
                    <a:pt x="1420418" y="16265"/>
                  </a:cubicBezTo>
                  <a:cubicBezTo>
                    <a:pt x="1429989" y="9747"/>
                    <a:pt x="1440697" y="19495"/>
                    <a:pt x="1450388" y="14830"/>
                  </a:cubicBezTo>
                  <a:cubicBezTo>
                    <a:pt x="1457686" y="11721"/>
                    <a:pt x="1465164" y="17222"/>
                    <a:pt x="1470308" y="21886"/>
                  </a:cubicBezTo>
                  <a:cubicBezTo>
                    <a:pt x="1475752" y="31096"/>
                    <a:pt x="1477128" y="41919"/>
                    <a:pt x="1481196" y="51667"/>
                  </a:cubicBezTo>
                  <a:cubicBezTo>
                    <a:pt x="1488195" y="63208"/>
                    <a:pt x="1498364" y="72417"/>
                    <a:pt x="1508833" y="80789"/>
                  </a:cubicBezTo>
                  <a:lnTo>
                    <a:pt x="1511943" y="75766"/>
                  </a:lnTo>
                  <a:cubicBezTo>
                    <a:pt x="1502671" y="66856"/>
                    <a:pt x="1494117" y="56989"/>
                    <a:pt x="1489511" y="44849"/>
                  </a:cubicBezTo>
                  <a:cubicBezTo>
                    <a:pt x="1481674" y="29959"/>
                    <a:pt x="1497646" y="17581"/>
                    <a:pt x="1505363" y="6339"/>
                  </a:cubicBezTo>
                  <a:cubicBezTo>
                    <a:pt x="1514635" y="5322"/>
                    <a:pt x="1523728" y="3169"/>
                    <a:pt x="1532940" y="1674"/>
                  </a:cubicBezTo>
                  <a:cubicBezTo>
                    <a:pt x="1531624" y="8611"/>
                    <a:pt x="1530129" y="15548"/>
                    <a:pt x="1528753" y="22484"/>
                  </a:cubicBezTo>
                  <a:cubicBezTo>
                    <a:pt x="1534376" y="32112"/>
                    <a:pt x="1542033" y="40544"/>
                    <a:pt x="1552801" y="44371"/>
                  </a:cubicBezTo>
                  <a:cubicBezTo>
                    <a:pt x="1548075" y="35102"/>
                    <a:pt x="1542452" y="26371"/>
                    <a:pt x="1537068" y="17521"/>
                  </a:cubicBezTo>
                  <a:cubicBezTo>
                    <a:pt x="1540956" y="13275"/>
                    <a:pt x="1544007" y="8013"/>
                    <a:pt x="1548853" y="4784"/>
                  </a:cubicBezTo>
                  <a:cubicBezTo>
                    <a:pt x="1558304" y="717"/>
                    <a:pt x="1568952" y="1136"/>
                    <a:pt x="1579062" y="0"/>
                  </a:cubicBez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 name="Canada - Mainland">
              <a:extLst>
                <a:ext uri="{FF2B5EF4-FFF2-40B4-BE49-F238E27FC236}">
                  <a16:creationId xmlns:a16="http://schemas.microsoft.com/office/drawing/2014/main" id="{6C93E50B-31CB-83EA-282E-631994D78C38}"/>
                </a:ext>
              </a:extLst>
            </p:cNvPr>
            <p:cNvSpPr>
              <a:spLocks noEditPoints="1"/>
            </p:cNvSpPr>
            <p:nvPr/>
          </p:nvSpPr>
          <p:spPr bwMode="auto">
            <a:xfrm>
              <a:off x="2497236" y="2108118"/>
              <a:ext cx="2016681" cy="1393245"/>
            </a:xfrm>
            <a:custGeom>
              <a:avLst/>
              <a:gdLst>
                <a:gd name="T0" fmla="*/ 581 w 1116"/>
                <a:gd name="T1" fmla="*/ 586 h 771"/>
                <a:gd name="T2" fmla="*/ 568 w 1116"/>
                <a:gd name="T3" fmla="*/ 575 h 771"/>
                <a:gd name="T4" fmla="*/ 564 w 1116"/>
                <a:gd name="T5" fmla="*/ 531 h 771"/>
                <a:gd name="T6" fmla="*/ 426 w 1116"/>
                <a:gd name="T7" fmla="*/ 408 h 771"/>
                <a:gd name="T8" fmla="*/ 344 w 1116"/>
                <a:gd name="T9" fmla="*/ 340 h 771"/>
                <a:gd name="T10" fmla="*/ 381 w 1116"/>
                <a:gd name="T11" fmla="*/ 340 h 771"/>
                <a:gd name="T12" fmla="*/ 374 w 1116"/>
                <a:gd name="T13" fmla="*/ 335 h 771"/>
                <a:gd name="T14" fmla="*/ 684 w 1116"/>
                <a:gd name="T15" fmla="*/ 228 h 771"/>
                <a:gd name="T16" fmla="*/ 257 w 1116"/>
                <a:gd name="T17" fmla="*/ 223 h 771"/>
                <a:gd name="T18" fmla="*/ 269 w 1116"/>
                <a:gd name="T19" fmla="*/ 243 h 771"/>
                <a:gd name="T20" fmla="*/ 272 w 1116"/>
                <a:gd name="T21" fmla="*/ 209 h 771"/>
                <a:gd name="T22" fmla="*/ 610 w 1116"/>
                <a:gd name="T23" fmla="*/ 2 h 771"/>
                <a:gd name="T24" fmla="*/ 656 w 1116"/>
                <a:gd name="T25" fmla="*/ 97 h 771"/>
                <a:gd name="T26" fmla="*/ 676 w 1116"/>
                <a:gd name="T27" fmla="*/ 105 h 771"/>
                <a:gd name="T28" fmla="*/ 736 w 1116"/>
                <a:gd name="T29" fmla="*/ 114 h 771"/>
                <a:gd name="T30" fmla="*/ 780 w 1116"/>
                <a:gd name="T31" fmla="*/ 131 h 771"/>
                <a:gd name="T32" fmla="*/ 749 w 1116"/>
                <a:gd name="T33" fmla="*/ 212 h 771"/>
                <a:gd name="T34" fmla="*/ 693 w 1116"/>
                <a:gd name="T35" fmla="*/ 240 h 771"/>
                <a:gd name="T36" fmla="*/ 639 w 1116"/>
                <a:gd name="T37" fmla="*/ 288 h 771"/>
                <a:gd name="T38" fmla="*/ 638 w 1116"/>
                <a:gd name="T39" fmla="*/ 319 h 771"/>
                <a:gd name="T40" fmla="*/ 611 w 1116"/>
                <a:gd name="T41" fmla="*/ 427 h 771"/>
                <a:gd name="T42" fmla="*/ 728 w 1116"/>
                <a:gd name="T43" fmla="*/ 504 h 771"/>
                <a:gd name="T44" fmla="*/ 786 w 1116"/>
                <a:gd name="T45" fmla="*/ 596 h 771"/>
                <a:gd name="T46" fmla="*/ 839 w 1116"/>
                <a:gd name="T47" fmla="*/ 485 h 771"/>
                <a:gd name="T48" fmla="*/ 827 w 1116"/>
                <a:gd name="T49" fmla="*/ 393 h 771"/>
                <a:gd name="T50" fmla="*/ 862 w 1116"/>
                <a:gd name="T51" fmla="*/ 332 h 771"/>
                <a:gd name="T52" fmla="*/ 934 w 1116"/>
                <a:gd name="T53" fmla="*/ 362 h 771"/>
                <a:gd name="T54" fmla="*/ 930 w 1116"/>
                <a:gd name="T55" fmla="*/ 420 h 771"/>
                <a:gd name="T56" fmla="*/ 980 w 1116"/>
                <a:gd name="T57" fmla="*/ 429 h 771"/>
                <a:gd name="T58" fmla="*/ 1007 w 1116"/>
                <a:gd name="T59" fmla="*/ 402 h 771"/>
                <a:gd name="T60" fmla="*/ 1023 w 1116"/>
                <a:gd name="T61" fmla="*/ 427 h 771"/>
                <a:gd name="T62" fmla="*/ 1041 w 1116"/>
                <a:gd name="T63" fmla="*/ 466 h 771"/>
                <a:gd name="T64" fmla="*/ 1042 w 1116"/>
                <a:gd name="T65" fmla="*/ 485 h 771"/>
                <a:gd name="T66" fmla="*/ 1094 w 1116"/>
                <a:gd name="T67" fmla="*/ 522 h 771"/>
                <a:gd name="T68" fmla="*/ 1085 w 1116"/>
                <a:gd name="T69" fmla="*/ 532 h 771"/>
                <a:gd name="T70" fmla="*/ 1114 w 1116"/>
                <a:gd name="T71" fmla="*/ 567 h 771"/>
                <a:gd name="T72" fmla="*/ 971 w 1116"/>
                <a:gd name="T73" fmla="*/ 621 h 771"/>
                <a:gd name="T74" fmla="*/ 992 w 1116"/>
                <a:gd name="T75" fmla="*/ 658 h 771"/>
                <a:gd name="T76" fmla="*/ 1025 w 1116"/>
                <a:gd name="T77" fmla="*/ 703 h 771"/>
                <a:gd name="T78" fmla="*/ 1007 w 1116"/>
                <a:gd name="T79" fmla="*/ 725 h 771"/>
                <a:gd name="T80" fmla="*/ 986 w 1116"/>
                <a:gd name="T81" fmla="*/ 712 h 771"/>
                <a:gd name="T82" fmla="*/ 909 w 1116"/>
                <a:gd name="T83" fmla="*/ 718 h 771"/>
                <a:gd name="T84" fmla="*/ 756 w 1116"/>
                <a:gd name="T85" fmla="*/ 771 h 771"/>
                <a:gd name="T86" fmla="*/ 781 w 1116"/>
                <a:gd name="T87" fmla="*/ 712 h 771"/>
                <a:gd name="T88" fmla="*/ 736 w 1116"/>
                <a:gd name="T89" fmla="*/ 681 h 771"/>
                <a:gd name="T90" fmla="*/ 682 w 1116"/>
                <a:gd name="T91" fmla="*/ 650 h 771"/>
                <a:gd name="T92" fmla="*/ 227 w 1116"/>
                <a:gd name="T93" fmla="*/ 632 h 771"/>
                <a:gd name="T94" fmla="*/ 186 w 1116"/>
                <a:gd name="T95" fmla="*/ 602 h 771"/>
                <a:gd name="T96" fmla="*/ 166 w 1116"/>
                <a:gd name="T97" fmla="*/ 567 h 771"/>
                <a:gd name="T98" fmla="*/ 86 w 1116"/>
                <a:gd name="T99" fmla="*/ 421 h 771"/>
                <a:gd name="T100" fmla="*/ 76 w 1116"/>
                <a:gd name="T101" fmla="*/ 128 h 771"/>
                <a:gd name="T102" fmla="*/ 132 w 1116"/>
                <a:gd name="T103" fmla="*/ 97 h 771"/>
                <a:gd name="T104" fmla="*/ 196 w 1116"/>
                <a:gd name="T105" fmla="*/ 101 h 771"/>
                <a:gd name="T106" fmla="*/ 275 w 1116"/>
                <a:gd name="T107" fmla="*/ 101 h 771"/>
                <a:gd name="T108" fmla="*/ 409 w 1116"/>
                <a:gd name="T109" fmla="*/ 159 h 771"/>
                <a:gd name="T110" fmla="*/ 438 w 1116"/>
                <a:gd name="T111" fmla="*/ 181 h 771"/>
                <a:gd name="T112" fmla="*/ 448 w 1116"/>
                <a:gd name="T113" fmla="*/ 141 h 771"/>
                <a:gd name="T114" fmla="*/ 466 w 1116"/>
                <a:gd name="T115" fmla="*/ 132 h 771"/>
                <a:gd name="T116" fmla="*/ 572 w 1116"/>
                <a:gd name="T117" fmla="*/ 162 h 771"/>
                <a:gd name="T118" fmla="*/ 589 w 1116"/>
                <a:gd name="T119" fmla="*/ 142 h 771"/>
                <a:gd name="T120" fmla="*/ 605 w 1116"/>
                <a:gd name="T121" fmla="*/ 148 h 771"/>
                <a:gd name="T122" fmla="*/ 583 w 1116"/>
                <a:gd name="T123" fmla="*/ 48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6" h="771">
                  <a:moveTo>
                    <a:pt x="1004" y="710"/>
                  </a:moveTo>
                  <a:lnTo>
                    <a:pt x="1005" y="713"/>
                  </a:lnTo>
                  <a:lnTo>
                    <a:pt x="1013" y="710"/>
                  </a:lnTo>
                  <a:lnTo>
                    <a:pt x="1004" y="710"/>
                  </a:lnTo>
                  <a:close/>
                  <a:moveTo>
                    <a:pt x="581" y="586"/>
                  </a:moveTo>
                  <a:lnTo>
                    <a:pt x="578" y="595"/>
                  </a:lnTo>
                  <a:lnTo>
                    <a:pt x="581" y="593"/>
                  </a:lnTo>
                  <a:lnTo>
                    <a:pt x="583" y="593"/>
                  </a:lnTo>
                  <a:lnTo>
                    <a:pt x="583" y="595"/>
                  </a:lnTo>
                  <a:lnTo>
                    <a:pt x="577" y="607"/>
                  </a:lnTo>
                  <a:lnTo>
                    <a:pt x="578" y="611"/>
                  </a:lnTo>
                  <a:lnTo>
                    <a:pt x="580" y="611"/>
                  </a:lnTo>
                  <a:lnTo>
                    <a:pt x="581" y="607"/>
                  </a:lnTo>
                  <a:lnTo>
                    <a:pt x="583" y="607"/>
                  </a:lnTo>
                  <a:lnTo>
                    <a:pt x="586" y="595"/>
                  </a:lnTo>
                  <a:lnTo>
                    <a:pt x="581" y="586"/>
                  </a:lnTo>
                  <a:close/>
                  <a:moveTo>
                    <a:pt x="559" y="529"/>
                  </a:moveTo>
                  <a:lnTo>
                    <a:pt x="562" y="531"/>
                  </a:lnTo>
                  <a:lnTo>
                    <a:pt x="561" y="535"/>
                  </a:lnTo>
                  <a:lnTo>
                    <a:pt x="564" y="541"/>
                  </a:lnTo>
                  <a:lnTo>
                    <a:pt x="564" y="543"/>
                  </a:lnTo>
                  <a:lnTo>
                    <a:pt x="552" y="540"/>
                  </a:lnTo>
                  <a:lnTo>
                    <a:pt x="547" y="549"/>
                  </a:lnTo>
                  <a:lnTo>
                    <a:pt x="549" y="552"/>
                  </a:lnTo>
                  <a:lnTo>
                    <a:pt x="558" y="555"/>
                  </a:lnTo>
                  <a:lnTo>
                    <a:pt x="558" y="556"/>
                  </a:lnTo>
                  <a:lnTo>
                    <a:pt x="552" y="559"/>
                  </a:lnTo>
                  <a:lnTo>
                    <a:pt x="555" y="565"/>
                  </a:lnTo>
                  <a:lnTo>
                    <a:pt x="561" y="571"/>
                  </a:lnTo>
                  <a:lnTo>
                    <a:pt x="562" y="580"/>
                  </a:lnTo>
                  <a:lnTo>
                    <a:pt x="565" y="580"/>
                  </a:lnTo>
                  <a:lnTo>
                    <a:pt x="568" y="575"/>
                  </a:lnTo>
                  <a:lnTo>
                    <a:pt x="570" y="575"/>
                  </a:lnTo>
                  <a:lnTo>
                    <a:pt x="574" y="589"/>
                  </a:lnTo>
                  <a:lnTo>
                    <a:pt x="575" y="584"/>
                  </a:lnTo>
                  <a:lnTo>
                    <a:pt x="577" y="584"/>
                  </a:lnTo>
                  <a:lnTo>
                    <a:pt x="580" y="586"/>
                  </a:lnTo>
                  <a:lnTo>
                    <a:pt x="581" y="586"/>
                  </a:lnTo>
                  <a:lnTo>
                    <a:pt x="575" y="575"/>
                  </a:lnTo>
                  <a:lnTo>
                    <a:pt x="572" y="558"/>
                  </a:lnTo>
                  <a:lnTo>
                    <a:pt x="568" y="553"/>
                  </a:lnTo>
                  <a:lnTo>
                    <a:pt x="565" y="541"/>
                  </a:lnTo>
                  <a:lnTo>
                    <a:pt x="565" y="537"/>
                  </a:lnTo>
                  <a:lnTo>
                    <a:pt x="568" y="535"/>
                  </a:lnTo>
                  <a:lnTo>
                    <a:pt x="567" y="534"/>
                  </a:lnTo>
                  <a:lnTo>
                    <a:pt x="562" y="537"/>
                  </a:lnTo>
                  <a:lnTo>
                    <a:pt x="562" y="535"/>
                  </a:lnTo>
                  <a:lnTo>
                    <a:pt x="564" y="531"/>
                  </a:lnTo>
                  <a:lnTo>
                    <a:pt x="562" y="529"/>
                  </a:lnTo>
                  <a:lnTo>
                    <a:pt x="559" y="529"/>
                  </a:lnTo>
                  <a:close/>
                  <a:moveTo>
                    <a:pt x="415" y="395"/>
                  </a:moveTo>
                  <a:lnTo>
                    <a:pt x="414" y="396"/>
                  </a:lnTo>
                  <a:lnTo>
                    <a:pt x="417" y="398"/>
                  </a:lnTo>
                  <a:lnTo>
                    <a:pt x="417" y="399"/>
                  </a:lnTo>
                  <a:lnTo>
                    <a:pt x="411" y="400"/>
                  </a:lnTo>
                  <a:lnTo>
                    <a:pt x="395" y="420"/>
                  </a:lnTo>
                  <a:lnTo>
                    <a:pt x="402" y="420"/>
                  </a:lnTo>
                  <a:lnTo>
                    <a:pt x="402" y="418"/>
                  </a:lnTo>
                  <a:lnTo>
                    <a:pt x="404" y="418"/>
                  </a:lnTo>
                  <a:lnTo>
                    <a:pt x="417" y="412"/>
                  </a:lnTo>
                  <a:lnTo>
                    <a:pt x="449" y="409"/>
                  </a:lnTo>
                  <a:lnTo>
                    <a:pt x="436" y="406"/>
                  </a:lnTo>
                  <a:lnTo>
                    <a:pt x="429" y="406"/>
                  </a:lnTo>
                  <a:lnTo>
                    <a:pt x="426" y="408"/>
                  </a:lnTo>
                  <a:lnTo>
                    <a:pt x="420" y="408"/>
                  </a:lnTo>
                  <a:lnTo>
                    <a:pt x="420" y="406"/>
                  </a:lnTo>
                  <a:lnTo>
                    <a:pt x="421" y="406"/>
                  </a:lnTo>
                  <a:lnTo>
                    <a:pt x="423" y="405"/>
                  </a:lnTo>
                  <a:lnTo>
                    <a:pt x="417" y="405"/>
                  </a:lnTo>
                  <a:lnTo>
                    <a:pt x="417" y="399"/>
                  </a:lnTo>
                  <a:lnTo>
                    <a:pt x="423" y="395"/>
                  </a:lnTo>
                  <a:lnTo>
                    <a:pt x="415" y="395"/>
                  </a:lnTo>
                  <a:close/>
                  <a:moveTo>
                    <a:pt x="323" y="310"/>
                  </a:moveTo>
                  <a:lnTo>
                    <a:pt x="332" y="323"/>
                  </a:lnTo>
                  <a:lnTo>
                    <a:pt x="343" y="329"/>
                  </a:lnTo>
                  <a:lnTo>
                    <a:pt x="343" y="331"/>
                  </a:lnTo>
                  <a:lnTo>
                    <a:pt x="341" y="334"/>
                  </a:lnTo>
                  <a:lnTo>
                    <a:pt x="347" y="335"/>
                  </a:lnTo>
                  <a:lnTo>
                    <a:pt x="347" y="337"/>
                  </a:lnTo>
                  <a:lnTo>
                    <a:pt x="344" y="340"/>
                  </a:lnTo>
                  <a:lnTo>
                    <a:pt x="346" y="341"/>
                  </a:lnTo>
                  <a:lnTo>
                    <a:pt x="346" y="343"/>
                  </a:lnTo>
                  <a:lnTo>
                    <a:pt x="338" y="343"/>
                  </a:lnTo>
                  <a:lnTo>
                    <a:pt x="337" y="353"/>
                  </a:lnTo>
                  <a:lnTo>
                    <a:pt x="331" y="353"/>
                  </a:lnTo>
                  <a:lnTo>
                    <a:pt x="331" y="360"/>
                  </a:lnTo>
                  <a:lnTo>
                    <a:pt x="329" y="360"/>
                  </a:lnTo>
                  <a:lnTo>
                    <a:pt x="300" y="350"/>
                  </a:lnTo>
                  <a:lnTo>
                    <a:pt x="295" y="355"/>
                  </a:lnTo>
                  <a:lnTo>
                    <a:pt x="304" y="353"/>
                  </a:lnTo>
                  <a:lnTo>
                    <a:pt x="306" y="353"/>
                  </a:lnTo>
                  <a:lnTo>
                    <a:pt x="325" y="369"/>
                  </a:lnTo>
                  <a:lnTo>
                    <a:pt x="355" y="365"/>
                  </a:lnTo>
                  <a:lnTo>
                    <a:pt x="358" y="356"/>
                  </a:lnTo>
                  <a:lnTo>
                    <a:pt x="374" y="349"/>
                  </a:lnTo>
                  <a:lnTo>
                    <a:pt x="381" y="340"/>
                  </a:lnTo>
                  <a:lnTo>
                    <a:pt x="383" y="334"/>
                  </a:lnTo>
                  <a:lnTo>
                    <a:pt x="392" y="329"/>
                  </a:lnTo>
                  <a:lnTo>
                    <a:pt x="392" y="323"/>
                  </a:lnTo>
                  <a:lnTo>
                    <a:pt x="398" y="323"/>
                  </a:lnTo>
                  <a:lnTo>
                    <a:pt x="402" y="325"/>
                  </a:lnTo>
                  <a:lnTo>
                    <a:pt x="405" y="325"/>
                  </a:lnTo>
                  <a:lnTo>
                    <a:pt x="401" y="320"/>
                  </a:lnTo>
                  <a:lnTo>
                    <a:pt x="404" y="319"/>
                  </a:lnTo>
                  <a:lnTo>
                    <a:pt x="405" y="319"/>
                  </a:lnTo>
                  <a:lnTo>
                    <a:pt x="412" y="322"/>
                  </a:lnTo>
                  <a:lnTo>
                    <a:pt x="417" y="319"/>
                  </a:lnTo>
                  <a:lnTo>
                    <a:pt x="405" y="313"/>
                  </a:lnTo>
                  <a:lnTo>
                    <a:pt x="395" y="314"/>
                  </a:lnTo>
                  <a:lnTo>
                    <a:pt x="384" y="320"/>
                  </a:lnTo>
                  <a:lnTo>
                    <a:pt x="375" y="335"/>
                  </a:lnTo>
                  <a:lnTo>
                    <a:pt x="374" y="335"/>
                  </a:lnTo>
                  <a:lnTo>
                    <a:pt x="365" y="337"/>
                  </a:lnTo>
                  <a:lnTo>
                    <a:pt x="361" y="337"/>
                  </a:lnTo>
                  <a:lnTo>
                    <a:pt x="361" y="329"/>
                  </a:lnTo>
                  <a:lnTo>
                    <a:pt x="355" y="332"/>
                  </a:lnTo>
                  <a:lnTo>
                    <a:pt x="352" y="323"/>
                  </a:lnTo>
                  <a:lnTo>
                    <a:pt x="350" y="323"/>
                  </a:lnTo>
                  <a:lnTo>
                    <a:pt x="346" y="326"/>
                  </a:lnTo>
                  <a:lnTo>
                    <a:pt x="332" y="317"/>
                  </a:lnTo>
                  <a:lnTo>
                    <a:pt x="329" y="310"/>
                  </a:lnTo>
                  <a:lnTo>
                    <a:pt x="323" y="310"/>
                  </a:lnTo>
                  <a:close/>
                  <a:moveTo>
                    <a:pt x="666" y="223"/>
                  </a:moveTo>
                  <a:lnTo>
                    <a:pt x="664" y="224"/>
                  </a:lnTo>
                  <a:lnTo>
                    <a:pt x="679" y="239"/>
                  </a:lnTo>
                  <a:lnTo>
                    <a:pt x="693" y="240"/>
                  </a:lnTo>
                  <a:lnTo>
                    <a:pt x="693" y="239"/>
                  </a:lnTo>
                  <a:lnTo>
                    <a:pt x="684" y="228"/>
                  </a:lnTo>
                  <a:lnTo>
                    <a:pt x="666" y="223"/>
                  </a:lnTo>
                  <a:close/>
                  <a:moveTo>
                    <a:pt x="276" y="187"/>
                  </a:moveTo>
                  <a:lnTo>
                    <a:pt x="251" y="202"/>
                  </a:lnTo>
                  <a:lnTo>
                    <a:pt x="211" y="211"/>
                  </a:lnTo>
                  <a:lnTo>
                    <a:pt x="209" y="215"/>
                  </a:lnTo>
                  <a:lnTo>
                    <a:pt x="212" y="220"/>
                  </a:lnTo>
                  <a:lnTo>
                    <a:pt x="215" y="214"/>
                  </a:lnTo>
                  <a:lnTo>
                    <a:pt x="218" y="214"/>
                  </a:lnTo>
                  <a:lnTo>
                    <a:pt x="223" y="215"/>
                  </a:lnTo>
                  <a:lnTo>
                    <a:pt x="226" y="215"/>
                  </a:lnTo>
                  <a:lnTo>
                    <a:pt x="230" y="217"/>
                  </a:lnTo>
                  <a:lnTo>
                    <a:pt x="233" y="217"/>
                  </a:lnTo>
                  <a:lnTo>
                    <a:pt x="235" y="212"/>
                  </a:lnTo>
                  <a:lnTo>
                    <a:pt x="258" y="217"/>
                  </a:lnTo>
                  <a:lnTo>
                    <a:pt x="258" y="218"/>
                  </a:lnTo>
                  <a:lnTo>
                    <a:pt x="257" y="223"/>
                  </a:lnTo>
                  <a:lnTo>
                    <a:pt x="254" y="223"/>
                  </a:lnTo>
                  <a:lnTo>
                    <a:pt x="249" y="221"/>
                  </a:lnTo>
                  <a:lnTo>
                    <a:pt x="243" y="221"/>
                  </a:lnTo>
                  <a:lnTo>
                    <a:pt x="246" y="226"/>
                  </a:lnTo>
                  <a:lnTo>
                    <a:pt x="246" y="231"/>
                  </a:lnTo>
                  <a:lnTo>
                    <a:pt x="239" y="237"/>
                  </a:lnTo>
                  <a:lnTo>
                    <a:pt x="238" y="243"/>
                  </a:lnTo>
                  <a:lnTo>
                    <a:pt x="238" y="245"/>
                  </a:lnTo>
                  <a:lnTo>
                    <a:pt x="232" y="246"/>
                  </a:lnTo>
                  <a:lnTo>
                    <a:pt x="249" y="252"/>
                  </a:lnTo>
                  <a:lnTo>
                    <a:pt x="254" y="248"/>
                  </a:lnTo>
                  <a:lnTo>
                    <a:pt x="255" y="239"/>
                  </a:lnTo>
                  <a:lnTo>
                    <a:pt x="269" y="233"/>
                  </a:lnTo>
                  <a:lnTo>
                    <a:pt x="270" y="233"/>
                  </a:lnTo>
                  <a:lnTo>
                    <a:pt x="270" y="239"/>
                  </a:lnTo>
                  <a:lnTo>
                    <a:pt x="269" y="243"/>
                  </a:lnTo>
                  <a:lnTo>
                    <a:pt x="257" y="254"/>
                  </a:lnTo>
                  <a:lnTo>
                    <a:pt x="258" y="258"/>
                  </a:lnTo>
                  <a:lnTo>
                    <a:pt x="276" y="240"/>
                  </a:lnTo>
                  <a:lnTo>
                    <a:pt x="280" y="240"/>
                  </a:lnTo>
                  <a:lnTo>
                    <a:pt x="276" y="234"/>
                  </a:lnTo>
                  <a:lnTo>
                    <a:pt x="280" y="227"/>
                  </a:lnTo>
                  <a:lnTo>
                    <a:pt x="288" y="227"/>
                  </a:lnTo>
                  <a:lnTo>
                    <a:pt x="292" y="228"/>
                  </a:lnTo>
                  <a:lnTo>
                    <a:pt x="295" y="228"/>
                  </a:lnTo>
                  <a:lnTo>
                    <a:pt x="306" y="214"/>
                  </a:lnTo>
                  <a:lnTo>
                    <a:pt x="304" y="211"/>
                  </a:lnTo>
                  <a:lnTo>
                    <a:pt x="306" y="206"/>
                  </a:lnTo>
                  <a:lnTo>
                    <a:pt x="304" y="206"/>
                  </a:lnTo>
                  <a:lnTo>
                    <a:pt x="306" y="200"/>
                  </a:lnTo>
                  <a:lnTo>
                    <a:pt x="295" y="209"/>
                  </a:lnTo>
                  <a:lnTo>
                    <a:pt x="272" y="209"/>
                  </a:lnTo>
                  <a:lnTo>
                    <a:pt x="269" y="206"/>
                  </a:lnTo>
                  <a:lnTo>
                    <a:pt x="272" y="200"/>
                  </a:lnTo>
                  <a:lnTo>
                    <a:pt x="286" y="191"/>
                  </a:lnTo>
                  <a:lnTo>
                    <a:pt x="276" y="187"/>
                  </a:lnTo>
                  <a:close/>
                  <a:moveTo>
                    <a:pt x="596" y="172"/>
                  </a:moveTo>
                  <a:lnTo>
                    <a:pt x="595" y="175"/>
                  </a:lnTo>
                  <a:lnTo>
                    <a:pt x="596" y="177"/>
                  </a:lnTo>
                  <a:lnTo>
                    <a:pt x="596" y="172"/>
                  </a:lnTo>
                  <a:close/>
                  <a:moveTo>
                    <a:pt x="618" y="101"/>
                  </a:moveTo>
                  <a:lnTo>
                    <a:pt x="617" y="107"/>
                  </a:lnTo>
                  <a:lnTo>
                    <a:pt x="618" y="105"/>
                  </a:lnTo>
                  <a:lnTo>
                    <a:pt x="618" y="101"/>
                  </a:lnTo>
                  <a:close/>
                  <a:moveTo>
                    <a:pt x="601" y="0"/>
                  </a:moveTo>
                  <a:lnTo>
                    <a:pt x="602" y="0"/>
                  </a:lnTo>
                  <a:lnTo>
                    <a:pt x="608" y="2"/>
                  </a:lnTo>
                  <a:lnTo>
                    <a:pt x="610" y="2"/>
                  </a:lnTo>
                  <a:lnTo>
                    <a:pt x="610" y="3"/>
                  </a:lnTo>
                  <a:lnTo>
                    <a:pt x="608" y="8"/>
                  </a:lnTo>
                  <a:lnTo>
                    <a:pt x="610" y="11"/>
                  </a:lnTo>
                  <a:lnTo>
                    <a:pt x="617" y="8"/>
                  </a:lnTo>
                  <a:lnTo>
                    <a:pt x="618" y="8"/>
                  </a:lnTo>
                  <a:lnTo>
                    <a:pt x="618" y="9"/>
                  </a:lnTo>
                  <a:lnTo>
                    <a:pt x="620" y="18"/>
                  </a:lnTo>
                  <a:lnTo>
                    <a:pt x="627" y="27"/>
                  </a:lnTo>
                  <a:lnTo>
                    <a:pt x="629" y="48"/>
                  </a:lnTo>
                  <a:lnTo>
                    <a:pt x="648" y="74"/>
                  </a:lnTo>
                  <a:lnTo>
                    <a:pt x="644" y="74"/>
                  </a:lnTo>
                  <a:lnTo>
                    <a:pt x="641" y="73"/>
                  </a:lnTo>
                  <a:lnTo>
                    <a:pt x="638" y="73"/>
                  </a:lnTo>
                  <a:lnTo>
                    <a:pt x="642" y="80"/>
                  </a:lnTo>
                  <a:lnTo>
                    <a:pt x="632" y="91"/>
                  </a:lnTo>
                  <a:lnTo>
                    <a:pt x="656" y="97"/>
                  </a:lnTo>
                  <a:lnTo>
                    <a:pt x="657" y="97"/>
                  </a:lnTo>
                  <a:lnTo>
                    <a:pt x="657" y="98"/>
                  </a:lnTo>
                  <a:lnTo>
                    <a:pt x="656" y="104"/>
                  </a:lnTo>
                  <a:lnTo>
                    <a:pt x="656" y="105"/>
                  </a:lnTo>
                  <a:lnTo>
                    <a:pt x="654" y="105"/>
                  </a:lnTo>
                  <a:lnTo>
                    <a:pt x="651" y="104"/>
                  </a:lnTo>
                  <a:lnTo>
                    <a:pt x="661" y="122"/>
                  </a:lnTo>
                  <a:lnTo>
                    <a:pt x="663" y="122"/>
                  </a:lnTo>
                  <a:lnTo>
                    <a:pt x="663" y="123"/>
                  </a:lnTo>
                  <a:lnTo>
                    <a:pt x="660" y="134"/>
                  </a:lnTo>
                  <a:lnTo>
                    <a:pt x="663" y="140"/>
                  </a:lnTo>
                  <a:lnTo>
                    <a:pt x="669" y="126"/>
                  </a:lnTo>
                  <a:lnTo>
                    <a:pt x="669" y="114"/>
                  </a:lnTo>
                  <a:lnTo>
                    <a:pt x="673" y="107"/>
                  </a:lnTo>
                  <a:lnTo>
                    <a:pt x="675" y="107"/>
                  </a:lnTo>
                  <a:lnTo>
                    <a:pt x="676" y="105"/>
                  </a:lnTo>
                  <a:lnTo>
                    <a:pt x="681" y="105"/>
                  </a:lnTo>
                  <a:lnTo>
                    <a:pt x="691" y="120"/>
                  </a:lnTo>
                  <a:lnTo>
                    <a:pt x="696" y="141"/>
                  </a:lnTo>
                  <a:lnTo>
                    <a:pt x="693" y="141"/>
                  </a:lnTo>
                  <a:lnTo>
                    <a:pt x="691" y="142"/>
                  </a:lnTo>
                  <a:lnTo>
                    <a:pt x="690" y="142"/>
                  </a:lnTo>
                  <a:lnTo>
                    <a:pt x="688" y="154"/>
                  </a:lnTo>
                  <a:lnTo>
                    <a:pt x="701" y="177"/>
                  </a:lnTo>
                  <a:lnTo>
                    <a:pt x="712" y="171"/>
                  </a:lnTo>
                  <a:lnTo>
                    <a:pt x="712" y="160"/>
                  </a:lnTo>
                  <a:lnTo>
                    <a:pt x="721" y="140"/>
                  </a:lnTo>
                  <a:lnTo>
                    <a:pt x="722" y="128"/>
                  </a:lnTo>
                  <a:lnTo>
                    <a:pt x="734" y="125"/>
                  </a:lnTo>
                  <a:lnTo>
                    <a:pt x="730" y="122"/>
                  </a:lnTo>
                  <a:lnTo>
                    <a:pt x="730" y="120"/>
                  </a:lnTo>
                  <a:lnTo>
                    <a:pt x="736" y="114"/>
                  </a:lnTo>
                  <a:lnTo>
                    <a:pt x="725" y="105"/>
                  </a:lnTo>
                  <a:lnTo>
                    <a:pt x="725" y="86"/>
                  </a:lnTo>
                  <a:lnTo>
                    <a:pt x="730" y="86"/>
                  </a:lnTo>
                  <a:lnTo>
                    <a:pt x="739" y="88"/>
                  </a:lnTo>
                  <a:lnTo>
                    <a:pt x="750" y="89"/>
                  </a:lnTo>
                  <a:lnTo>
                    <a:pt x="759" y="91"/>
                  </a:lnTo>
                  <a:lnTo>
                    <a:pt x="764" y="91"/>
                  </a:lnTo>
                  <a:lnTo>
                    <a:pt x="765" y="98"/>
                  </a:lnTo>
                  <a:lnTo>
                    <a:pt x="764" y="100"/>
                  </a:lnTo>
                  <a:lnTo>
                    <a:pt x="768" y="107"/>
                  </a:lnTo>
                  <a:lnTo>
                    <a:pt x="781" y="111"/>
                  </a:lnTo>
                  <a:lnTo>
                    <a:pt x="781" y="113"/>
                  </a:lnTo>
                  <a:lnTo>
                    <a:pt x="774" y="120"/>
                  </a:lnTo>
                  <a:lnTo>
                    <a:pt x="781" y="122"/>
                  </a:lnTo>
                  <a:lnTo>
                    <a:pt x="781" y="123"/>
                  </a:lnTo>
                  <a:lnTo>
                    <a:pt x="780" y="131"/>
                  </a:lnTo>
                  <a:lnTo>
                    <a:pt x="773" y="138"/>
                  </a:lnTo>
                  <a:lnTo>
                    <a:pt x="770" y="134"/>
                  </a:lnTo>
                  <a:lnTo>
                    <a:pt x="765" y="135"/>
                  </a:lnTo>
                  <a:lnTo>
                    <a:pt x="768" y="140"/>
                  </a:lnTo>
                  <a:lnTo>
                    <a:pt x="768" y="145"/>
                  </a:lnTo>
                  <a:lnTo>
                    <a:pt x="771" y="144"/>
                  </a:lnTo>
                  <a:lnTo>
                    <a:pt x="773" y="144"/>
                  </a:lnTo>
                  <a:lnTo>
                    <a:pt x="771" y="154"/>
                  </a:lnTo>
                  <a:lnTo>
                    <a:pt x="781" y="168"/>
                  </a:lnTo>
                  <a:lnTo>
                    <a:pt x="781" y="178"/>
                  </a:lnTo>
                  <a:lnTo>
                    <a:pt x="764" y="200"/>
                  </a:lnTo>
                  <a:lnTo>
                    <a:pt x="755" y="206"/>
                  </a:lnTo>
                  <a:lnTo>
                    <a:pt x="753" y="206"/>
                  </a:lnTo>
                  <a:lnTo>
                    <a:pt x="746" y="197"/>
                  </a:lnTo>
                  <a:lnTo>
                    <a:pt x="744" y="200"/>
                  </a:lnTo>
                  <a:lnTo>
                    <a:pt x="749" y="212"/>
                  </a:lnTo>
                  <a:lnTo>
                    <a:pt x="749" y="214"/>
                  </a:lnTo>
                  <a:lnTo>
                    <a:pt x="740" y="208"/>
                  </a:lnTo>
                  <a:lnTo>
                    <a:pt x="740" y="212"/>
                  </a:lnTo>
                  <a:lnTo>
                    <a:pt x="736" y="212"/>
                  </a:lnTo>
                  <a:lnTo>
                    <a:pt x="733" y="211"/>
                  </a:lnTo>
                  <a:lnTo>
                    <a:pt x="730" y="211"/>
                  </a:lnTo>
                  <a:lnTo>
                    <a:pt x="728" y="200"/>
                  </a:lnTo>
                  <a:lnTo>
                    <a:pt x="713" y="200"/>
                  </a:lnTo>
                  <a:lnTo>
                    <a:pt x="712" y="206"/>
                  </a:lnTo>
                  <a:lnTo>
                    <a:pt x="719" y="208"/>
                  </a:lnTo>
                  <a:lnTo>
                    <a:pt x="719" y="215"/>
                  </a:lnTo>
                  <a:lnTo>
                    <a:pt x="703" y="237"/>
                  </a:lnTo>
                  <a:lnTo>
                    <a:pt x="703" y="239"/>
                  </a:lnTo>
                  <a:lnTo>
                    <a:pt x="700" y="239"/>
                  </a:lnTo>
                  <a:lnTo>
                    <a:pt x="697" y="240"/>
                  </a:lnTo>
                  <a:lnTo>
                    <a:pt x="693" y="240"/>
                  </a:lnTo>
                  <a:lnTo>
                    <a:pt x="707" y="242"/>
                  </a:lnTo>
                  <a:lnTo>
                    <a:pt x="709" y="242"/>
                  </a:lnTo>
                  <a:lnTo>
                    <a:pt x="709" y="243"/>
                  </a:lnTo>
                  <a:lnTo>
                    <a:pt x="693" y="274"/>
                  </a:lnTo>
                  <a:lnTo>
                    <a:pt x="693" y="276"/>
                  </a:lnTo>
                  <a:lnTo>
                    <a:pt x="679" y="280"/>
                  </a:lnTo>
                  <a:lnTo>
                    <a:pt x="678" y="280"/>
                  </a:lnTo>
                  <a:lnTo>
                    <a:pt x="670" y="277"/>
                  </a:lnTo>
                  <a:lnTo>
                    <a:pt x="670" y="282"/>
                  </a:lnTo>
                  <a:lnTo>
                    <a:pt x="667" y="282"/>
                  </a:lnTo>
                  <a:lnTo>
                    <a:pt x="667" y="289"/>
                  </a:lnTo>
                  <a:lnTo>
                    <a:pt x="666" y="289"/>
                  </a:lnTo>
                  <a:lnTo>
                    <a:pt x="660" y="295"/>
                  </a:lnTo>
                  <a:lnTo>
                    <a:pt x="658" y="295"/>
                  </a:lnTo>
                  <a:lnTo>
                    <a:pt x="647" y="286"/>
                  </a:lnTo>
                  <a:lnTo>
                    <a:pt x="639" y="288"/>
                  </a:lnTo>
                  <a:lnTo>
                    <a:pt x="623" y="279"/>
                  </a:lnTo>
                  <a:lnTo>
                    <a:pt x="621" y="282"/>
                  </a:lnTo>
                  <a:lnTo>
                    <a:pt x="623" y="283"/>
                  </a:lnTo>
                  <a:lnTo>
                    <a:pt x="623" y="280"/>
                  </a:lnTo>
                  <a:lnTo>
                    <a:pt x="624" y="280"/>
                  </a:lnTo>
                  <a:lnTo>
                    <a:pt x="639" y="289"/>
                  </a:lnTo>
                  <a:lnTo>
                    <a:pt x="639" y="291"/>
                  </a:lnTo>
                  <a:lnTo>
                    <a:pt x="644" y="288"/>
                  </a:lnTo>
                  <a:lnTo>
                    <a:pt x="656" y="294"/>
                  </a:lnTo>
                  <a:lnTo>
                    <a:pt x="657" y="295"/>
                  </a:lnTo>
                  <a:lnTo>
                    <a:pt x="660" y="309"/>
                  </a:lnTo>
                  <a:lnTo>
                    <a:pt x="660" y="310"/>
                  </a:lnTo>
                  <a:lnTo>
                    <a:pt x="658" y="310"/>
                  </a:lnTo>
                  <a:lnTo>
                    <a:pt x="648" y="314"/>
                  </a:lnTo>
                  <a:lnTo>
                    <a:pt x="636" y="314"/>
                  </a:lnTo>
                  <a:lnTo>
                    <a:pt x="638" y="319"/>
                  </a:lnTo>
                  <a:lnTo>
                    <a:pt x="642" y="320"/>
                  </a:lnTo>
                  <a:lnTo>
                    <a:pt x="642" y="322"/>
                  </a:lnTo>
                  <a:lnTo>
                    <a:pt x="633" y="322"/>
                  </a:lnTo>
                  <a:lnTo>
                    <a:pt x="633" y="337"/>
                  </a:lnTo>
                  <a:lnTo>
                    <a:pt x="629" y="334"/>
                  </a:lnTo>
                  <a:lnTo>
                    <a:pt x="624" y="340"/>
                  </a:lnTo>
                  <a:lnTo>
                    <a:pt x="623" y="340"/>
                  </a:lnTo>
                  <a:lnTo>
                    <a:pt x="624" y="343"/>
                  </a:lnTo>
                  <a:lnTo>
                    <a:pt x="621" y="349"/>
                  </a:lnTo>
                  <a:lnTo>
                    <a:pt x="608" y="355"/>
                  </a:lnTo>
                  <a:lnTo>
                    <a:pt x="613" y="360"/>
                  </a:lnTo>
                  <a:lnTo>
                    <a:pt x="605" y="380"/>
                  </a:lnTo>
                  <a:lnTo>
                    <a:pt x="605" y="412"/>
                  </a:lnTo>
                  <a:lnTo>
                    <a:pt x="604" y="415"/>
                  </a:lnTo>
                  <a:lnTo>
                    <a:pt x="610" y="421"/>
                  </a:lnTo>
                  <a:lnTo>
                    <a:pt x="611" y="427"/>
                  </a:lnTo>
                  <a:lnTo>
                    <a:pt x="613" y="423"/>
                  </a:lnTo>
                  <a:lnTo>
                    <a:pt x="613" y="421"/>
                  </a:lnTo>
                  <a:lnTo>
                    <a:pt x="614" y="421"/>
                  </a:lnTo>
                  <a:lnTo>
                    <a:pt x="615" y="423"/>
                  </a:lnTo>
                  <a:lnTo>
                    <a:pt x="621" y="423"/>
                  </a:lnTo>
                  <a:lnTo>
                    <a:pt x="623" y="424"/>
                  </a:lnTo>
                  <a:lnTo>
                    <a:pt x="626" y="424"/>
                  </a:lnTo>
                  <a:lnTo>
                    <a:pt x="636" y="455"/>
                  </a:lnTo>
                  <a:lnTo>
                    <a:pt x="636" y="463"/>
                  </a:lnTo>
                  <a:lnTo>
                    <a:pt x="633" y="466"/>
                  </a:lnTo>
                  <a:lnTo>
                    <a:pt x="653" y="458"/>
                  </a:lnTo>
                  <a:lnTo>
                    <a:pt x="678" y="470"/>
                  </a:lnTo>
                  <a:lnTo>
                    <a:pt x="691" y="479"/>
                  </a:lnTo>
                  <a:lnTo>
                    <a:pt x="698" y="491"/>
                  </a:lnTo>
                  <a:lnTo>
                    <a:pt x="721" y="497"/>
                  </a:lnTo>
                  <a:lnTo>
                    <a:pt x="728" y="504"/>
                  </a:lnTo>
                  <a:lnTo>
                    <a:pt x="728" y="506"/>
                  </a:lnTo>
                  <a:lnTo>
                    <a:pt x="733" y="506"/>
                  </a:lnTo>
                  <a:lnTo>
                    <a:pt x="764" y="510"/>
                  </a:lnTo>
                  <a:lnTo>
                    <a:pt x="768" y="510"/>
                  </a:lnTo>
                  <a:lnTo>
                    <a:pt x="767" y="532"/>
                  </a:lnTo>
                  <a:lnTo>
                    <a:pt x="770" y="552"/>
                  </a:lnTo>
                  <a:lnTo>
                    <a:pt x="768" y="558"/>
                  </a:lnTo>
                  <a:lnTo>
                    <a:pt x="780" y="571"/>
                  </a:lnTo>
                  <a:lnTo>
                    <a:pt x="780" y="572"/>
                  </a:lnTo>
                  <a:lnTo>
                    <a:pt x="779" y="572"/>
                  </a:lnTo>
                  <a:lnTo>
                    <a:pt x="773" y="577"/>
                  </a:lnTo>
                  <a:lnTo>
                    <a:pt x="783" y="577"/>
                  </a:lnTo>
                  <a:lnTo>
                    <a:pt x="789" y="583"/>
                  </a:lnTo>
                  <a:lnTo>
                    <a:pt x="790" y="590"/>
                  </a:lnTo>
                  <a:lnTo>
                    <a:pt x="790" y="592"/>
                  </a:lnTo>
                  <a:lnTo>
                    <a:pt x="786" y="596"/>
                  </a:lnTo>
                  <a:lnTo>
                    <a:pt x="792" y="592"/>
                  </a:lnTo>
                  <a:lnTo>
                    <a:pt x="793" y="592"/>
                  </a:lnTo>
                  <a:lnTo>
                    <a:pt x="801" y="596"/>
                  </a:lnTo>
                  <a:lnTo>
                    <a:pt x="801" y="590"/>
                  </a:lnTo>
                  <a:lnTo>
                    <a:pt x="802" y="590"/>
                  </a:lnTo>
                  <a:lnTo>
                    <a:pt x="805" y="589"/>
                  </a:lnTo>
                  <a:lnTo>
                    <a:pt x="813" y="593"/>
                  </a:lnTo>
                  <a:lnTo>
                    <a:pt x="814" y="589"/>
                  </a:lnTo>
                  <a:lnTo>
                    <a:pt x="810" y="583"/>
                  </a:lnTo>
                  <a:lnTo>
                    <a:pt x="810" y="581"/>
                  </a:lnTo>
                  <a:lnTo>
                    <a:pt x="819" y="574"/>
                  </a:lnTo>
                  <a:lnTo>
                    <a:pt x="814" y="568"/>
                  </a:lnTo>
                  <a:lnTo>
                    <a:pt x="811" y="537"/>
                  </a:lnTo>
                  <a:lnTo>
                    <a:pt x="802" y="524"/>
                  </a:lnTo>
                  <a:lnTo>
                    <a:pt x="827" y="504"/>
                  </a:lnTo>
                  <a:lnTo>
                    <a:pt x="839" y="485"/>
                  </a:lnTo>
                  <a:lnTo>
                    <a:pt x="841" y="485"/>
                  </a:lnTo>
                  <a:lnTo>
                    <a:pt x="847" y="483"/>
                  </a:lnTo>
                  <a:lnTo>
                    <a:pt x="844" y="478"/>
                  </a:lnTo>
                  <a:lnTo>
                    <a:pt x="841" y="483"/>
                  </a:lnTo>
                  <a:lnTo>
                    <a:pt x="839" y="483"/>
                  </a:lnTo>
                  <a:lnTo>
                    <a:pt x="838" y="467"/>
                  </a:lnTo>
                  <a:lnTo>
                    <a:pt x="829" y="435"/>
                  </a:lnTo>
                  <a:lnTo>
                    <a:pt x="813" y="423"/>
                  </a:lnTo>
                  <a:lnTo>
                    <a:pt x="813" y="415"/>
                  </a:lnTo>
                  <a:lnTo>
                    <a:pt x="814" y="414"/>
                  </a:lnTo>
                  <a:lnTo>
                    <a:pt x="827" y="409"/>
                  </a:lnTo>
                  <a:lnTo>
                    <a:pt x="827" y="400"/>
                  </a:lnTo>
                  <a:lnTo>
                    <a:pt x="830" y="400"/>
                  </a:lnTo>
                  <a:lnTo>
                    <a:pt x="830" y="399"/>
                  </a:lnTo>
                  <a:lnTo>
                    <a:pt x="833" y="393"/>
                  </a:lnTo>
                  <a:lnTo>
                    <a:pt x="827" y="393"/>
                  </a:lnTo>
                  <a:lnTo>
                    <a:pt x="827" y="392"/>
                  </a:lnTo>
                  <a:lnTo>
                    <a:pt x="829" y="387"/>
                  </a:lnTo>
                  <a:lnTo>
                    <a:pt x="826" y="380"/>
                  </a:lnTo>
                  <a:lnTo>
                    <a:pt x="824" y="374"/>
                  </a:lnTo>
                  <a:lnTo>
                    <a:pt x="824" y="372"/>
                  </a:lnTo>
                  <a:lnTo>
                    <a:pt x="827" y="372"/>
                  </a:lnTo>
                  <a:lnTo>
                    <a:pt x="822" y="371"/>
                  </a:lnTo>
                  <a:lnTo>
                    <a:pt x="822" y="369"/>
                  </a:lnTo>
                  <a:lnTo>
                    <a:pt x="830" y="346"/>
                  </a:lnTo>
                  <a:lnTo>
                    <a:pt x="822" y="344"/>
                  </a:lnTo>
                  <a:lnTo>
                    <a:pt x="822" y="343"/>
                  </a:lnTo>
                  <a:lnTo>
                    <a:pt x="820" y="331"/>
                  </a:lnTo>
                  <a:lnTo>
                    <a:pt x="820" y="329"/>
                  </a:lnTo>
                  <a:lnTo>
                    <a:pt x="829" y="320"/>
                  </a:lnTo>
                  <a:lnTo>
                    <a:pt x="830" y="320"/>
                  </a:lnTo>
                  <a:lnTo>
                    <a:pt x="862" y="332"/>
                  </a:lnTo>
                  <a:lnTo>
                    <a:pt x="878" y="323"/>
                  </a:lnTo>
                  <a:lnTo>
                    <a:pt x="894" y="332"/>
                  </a:lnTo>
                  <a:lnTo>
                    <a:pt x="894" y="334"/>
                  </a:lnTo>
                  <a:lnTo>
                    <a:pt x="893" y="341"/>
                  </a:lnTo>
                  <a:lnTo>
                    <a:pt x="899" y="340"/>
                  </a:lnTo>
                  <a:lnTo>
                    <a:pt x="902" y="347"/>
                  </a:lnTo>
                  <a:lnTo>
                    <a:pt x="900" y="349"/>
                  </a:lnTo>
                  <a:lnTo>
                    <a:pt x="909" y="349"/>
                  </a:lnTo>
                  <a:lnTo>
                    <a:pt x="909" y="350"/>
                  </a:lnTo>
                  <a:lnTo>
                    <a:pt x="905" y="353"/>
                  </a:lnTo>
                  <a:lnTo>
                    <a:pt x="907" y="360"/>
                  </a:lnTo>
                  <a:lnTo>
                    <a:pt x="924" y="362"/>
                  </a:lnTo>
                  <a:lnTo>
                    <a:pt x="925" y="362"/>
                  </a:lnTo>
                  <a:lnTo>
                    <a:pt x="927" y="368"/>
                  </a:lnTo>
                  <a:lnTo>
                    <a:pt x="933" y="362"/>
                  </a:lnTo>
                  <a:lnTo>
                    <a:pt x="934" y="362"/>
                  </a:lnTo>
                  <a:lnTo>
                    <a:pt x="937" y="366"/>
                  </a:lnTo>
                  <a:lnTo>
                    <a:pt x="933" y="378"/>
                  </a:lnTo>
                  <a:lnTo>
                    <a:pt x="937" y="389"/>
                  </a:lnTo>
                  <a:lnTo>
                    <a:pt x="937" y="390"/>
                  </a:lnTo>
                  <a:lnTo>
                    <a:pt x="919" y="390"/>
                  </a:lnTo>
                  <a:lnTo>
                    <a:pt x="933" y="393"/>
                  </a:lnTo>
                  <a:lnTo>
                    <a:pt x="934" y="393"/>
                  </a:lnTo>
                  <a:lnTo>
                    <a:pt x="937" y="400"/>
                  </a:lnTo>
                  <a:lnTo>
                    <a:pt x="934" y="408"/>
                  </a:lnTo>
                  <a:lnTo>
                    <a:pt x="939" y="408"/>
                  </a:lnTo>
                  <a:lnTo>
                    <a:pt x="939" y="409"/>
                  </a:lnTo>
                  <a:lnTo>
                    <a:pt x="936" y="412"/>
                  </a:lnTo>
                  <a:lnTo>
                    <a:pt x="939" y="417"/>
                  </a:lnTo>
                  <a:lnTo>
                    <a:pt x="939" y="418"/>
                  </a:lnTo>
                  <a:lnTo>
                    <a:pt x="933" y="421"/>
                  </a:lnTo>
                  <a:lnTo>
                    <a:pt x="930" y="420"/>
                  </a:lnTo>
                  <a:lnTo>
                    <a:pt x="930" y="423"/>
                  </a:lnTo>
                  <a:lnTo>
                    <a:pt x="948" y="420"/>
                  </a:lnTo>
                  <a:lnTo>
                    <a:pt x="949" y="420"/>
                  </a:lnTo>
                  <a:lnTo>
                    <a:pt x="952" y="430"/>
                  </a:lnTo>
                  <a:lnTo>
                    <a:pt x="952" y="435"/>
                  </a:lnTo>
                  <a:lnTo>
                    <a:pt x="955" y="426"/>
                  </a:lnTo>
                  <a:lnTo>
                    <a:pt x="956" y="426"/>
                  </a:lnTo>
                  <a:lnTo>
                    <a:pt x="956" y="430"/>
                  </a:lnTo>
                  <a:lnTo>
                    <a:pt x="958" y="430"/>
                  </a:lnTo>
                  <a:lnTo>
                    <a:pt x="958" y="432"/>
                  </a:lnTo>
                  <a:lnTo>
                    <a:pt x="959" y="438"/>
                  </a:lnTo>
                  <a:lnTo>
                    <a:pt x="971" y="429"/>
                  </a:lnTo>
                  <a:lnTo>
                    <a:pt x="974" y="420"/>
                  </a:lnTo>
                  <a:lnTo>
                    <a:pt x="976" y="420"/>
                  </a:lnTo>
                  <a:lnTo>
                    <a:pt x="980" y="424"/>
                  </a:lnTo>
                  <a:lnTo>
                    <a:pt x="980" y="429"/>
                  </a:lnTo>
                  <a:lnTo>
                    <a:pt x="983" y="426"/>
                  </a:lnTo>
                  <a:lnTo>
                    <a:pt x="979" y="420"/>
                  </a:lnTo>
                  <a:lnTo>
                    <a:pt x="979" y="418"/>
                  </a:lnTo>
                  <a:lnTo>
                    <a:pt x="983" y="418"/>
                  </a:lnTo>
                  <a:lnTo>
                    <a:pt x="985" y="412"/>
                  </a:lnTo>
                  <a:lnTo>
                    <a:pt x="985" y="408"/>
                  </a:lnTo>
                  <a:lnTo>
                    <a:pt x="989" y="405"/>
                  </a:lnTo>
                  <a:lnTo>
                    <a:pt x="986" y="399"/>
                  </a:lnTo>
                  <a:lnTo>
                    <a:pt x="986" y="398"/>
                  </a:lnTo>
                  <a:lnTo>
                    <a:pt x="995" y="383"/>
                  </a:lnTo>
                  <a:lnTo>
                    <a:pt x="1001" y="383"/>
                  </a:lnTo>
                  <a:lnTo>
                    <a:pt x="1004" y="390"/>
                  </a:lnTo>
                  <a:lnTo>
                    <a:pt x="1002" y="393"/>
                  </a:lnTo>
                  <a:lnTo>
                    <a:pt x="1004" y="393"/>
                  </a:lnTo>
                  <a:lnTo>
                    <a:pt x="1004" y="395"/>
                  </a:lnTo>
                  <a:lnTo>
                    <a:pt x="1007" y="402"/>
                  </a:lnTo>
                  <a:lnTo>
                    <a:pt x="1011" y="402"/>
                  </a:lnTo>
                  <a:lnTo>
                    <a:pt x="1011" y="403"/>
                  </a:lnTo>
                  <a:lnTo>
                    <a:pt x="1008" y="406"/>
                  </a:lnTo>
                  <a:lnTo>
                    <a:pt x="1016" y="411"/>
                  </a:lnTo>
                  <a:lnTo>
                    <a:pt x="1017" y="411"/>
                  </a:lnTo>
                  <a:lnTo>
                    <a:pt x="1016" y="412"/>
                  </a:lnTo>
                  <a:lnTo>
                    <a:pt x="1008" y="417"/>
                  </a:lnTo>
                  <a:lnTo>
                    <a:pt x="1010" y="417"/>
                  </a:lnTo>
                  <a:lnTo>
                    <a:pt x="1011" y="415"/>
                  </a:lnTo>
                  <a:lnTo>
                    <a:pt x="1014" y="415"/>
                  </a:lnTo>
                  <a:lnTo>
                    <a:pt x="1016" y="414"/>
                  </a:lnTo>
                  <a:lnTo>
                    <a:pt x="1019" y="414"/>
                  </a:lnTo>
                  <a:lnTo>
                    <a:pt x="1019" y="415"/>
                  </a:lnTo>
                  <a:lnTo>
                    <a:pt x="1017" y="421"/>
                  </a:lnTo>
                  <a:lnTo>
                    <a:pt x="1023" y="426"/>
                  </a:lnTo>
                  <a:lnTo>
                    <a:pt x="1023" y="427"/>
                  </a:lnTo>
                  <a:lnTo>
                    <a:pt x="1016" y="430"/>
                  </a:lnTo>
                  <a:lnTo>
                    <a:pt x="1026" y="432"/>
                  </a:lnTo>
                  <a:lnTo>
                    <a:pt x="1028" y="432"/>
                  </a:lnTo>
                  <a:lnTo>
                    <a:pt x="1028" y="433"/>
                  </a:lnTo>
                  <a:lnTo>
                    <a:pt x="1020" y="439"/>
                  </a:lnTo>
                  <a:lnTo>
                    <a:pt x="1026" y="438"/>
                  </a:lnTo>
                  <a:lnTo>
                    <a:pt x="1028" y="438"/>
                  </a:lnTo>
                  <a:lnTo>
                    <a:pt x="1029" y="440"/>
                  </a:lnTo>
                  <a:lnTo>
                    <a:pt x="1029" y="442"/>
                  </a:lnTo>
                  <a:lnTo>
                    <a:pt x="1028" y="443"/>
                  </a:lnTo>
                  <a:lnTo>
                    <a:pt x="1031" y="443"/>
                  </a:lnTo>
                  <a:lnTo>
                    <a:pt x="1036" y="451"/>
                  </a:lnTo>
                  <a:lnTo>
                    <a:pt x="1036" y="452"/>
                  </a:lnTo>
                  <a:lnTo>
                    <a:pt x="1031" y="455"/>
                  </a:lnTo>
                  <a:lnTo>
                    <a:pt x="1035" y="455"/>
                  </a:lnTo>
                  <a:lnTo>
                    <a:pt x="1041" y="466"/>
                  </a:lnTo>
                  <a:lnTo>
                    <a:pt x="1036" y="472"/>
                  </a:lnTo>
                  <a:lnTo>
                    <a:pt x="1038" y="473"/>
                  </a:lnTo>
                  <a:lnTo>
                    <a:pt x="1038" y="475"/>
                  </a:lnTo>
                  <a:lnTo>
                    <a:pt x="1036" y="475"/>
                  </a:lnTo>
                  <a:lnTo>
                    <a:pt x="1032" y="473"/>
                  </a:lnTo>
                  <a:lnTo>
                    <a:pt x="1031" y="473"/>
                  </a:lnTo>
                  <a:lnTo>
                    <a:pt x="1026" y="475"/>
                  </a:lnTo>
                  <a:lnTo>
                    <a:pt x="1036" y="476"/>
                  </a:lnTo>
                  <a:lnTo>
                    <a:pt x="1035" y="479"/>
                  </a:lnTo>
                  <a:lnTo>
                    <a:pt x="1038" y="482"/>
                  </a:lnTo>
                  <a:lnTo>
                    <a:pt x="1038" y="483"/>
                  </a:lnTo>
                  <a:lnTo>
                    <a:pt x="1036" y="485"/>
                  </a:lnTo>
                  <a:lnTo>
                    <a:pt x="1038" y="485"/>
                  </a:lnTo>
                  <a:lnTo>
                    <a:pt x="1039" y="483"/>
                  </a:lnTo>
                  <a:lnTo>
                    <a:pt x="1042" y="483"/>
                  </a:lnTo>
                  <a:lnTo>
                    <a:pt x="1042" y="485"/>
                  </a:lnTo>
                  <a:lnTo>
                    <a:pt x="1044" y="491"/>
                  </a:lnTo>
                  <a:lnTo>
                    <a:pt x="1056" y="494"/>
                  </a:lnTo>
                  <a:lnTo>
                    <a:pt x="1056" y="495"/>
                  </a:lnTo>
                  <a:lnTo>
                    <a:pt x="1057" y="503"/>
                  </a:lnTo>
                  <a:lnTo>
                    <a:pt x="1054" y="506"/>
                  </a:lnTo>
                  <a:lnTo>
                    <a:pt x="1057" y="506"/>
                  </a:lnTo>
                  <a:lnTo>
                    <a:pt x="1060" y="504"/>
                  </a:lnTo>
                  <a:lnTo>
                    <a:pt x="1065" y="504"/>
                  </a:lnTo>
                  <a:lnTo>
                    <a:pt x="1066" y="507"/>
                  </a:lnTo>
                  <a:lnTo>
                    <a:pt x="1066" y="512"/>
                  </a:lnTo>
                  <a:lnTo>
                    <a:pt x="1069" y="507"/>
                  </a:lnTo>
                  <a:lnTo>
                    <a:pt x="1071" y="507"/>
                  </a:lnTo>
                  <a:lnTo>
                    <a:pt x="1076" y="516"/>
                  </a:lnTo>
                  <a:lnTo>
                    <a:pt x="1081" y="518"/>
                  </a:lnTo>
                  <a:lnTo>
                    <a:pt x="1085" y="513"/>
                  </a:lnTo>
                  <a:lnTo>
                    <a:pt x="1094" y="522"/>
                  </a:lnTo>
                  <a:lnTo>
                    <a:pt x="1094" y="524"/>
                  </a:lnTo>
                  <a:lnTo>
                    <a:pt x="1093" y="524"/>
                  </a:lnTo>
                  <a:lnTo>
                    <a:pt x="1075" y="531"/>
                  </a:lnTo>
                  <a:lnTo>
                    <a:pt x="1076" y="531"/>
                  </a:lnTo>
                  <a:lnTo>
                    <a:pt x="1078" y="532"/>
                  </a:lnTo>
                  <a:lnTo>
                    <a:pt x="1076" y="532"/>
                  </a:lnTo>
                  <a:lnTo>
                    <a:pt x="1062" y="538"/>
                  </a:lnTo>
                  <a:lnTo>
                    <a:pt x="1059" y="544"/>
                  </a:lnTo>
                  <a:lnTo>
                    <a:pt x="1057" y="544"/>
                  </a:lnTo>
                  <a:lnTo>
                    <a:pt x="1048" y="540"/>
                  </a:lnTo>
                  <a:lnTo>
                    <a:pt x="1047" y="541"/>
                  </a:lnTo>
                  <a:lnTo>
                    <a:pt x="1056" y="544"/>
                  </a:lnTo>
                  <a:lnTo>
                    <a:pt x="1057" y="546"/>
                  </a:lnTo>
                  <a:lnTo>
                    <a:pt x="1056" y="550"/>
                  </a:lnTo>
                  <a:lnTo>
                    <a:pt x="1076" y="534"/>
                  </a:lnTo>
                  <a:lnTo>
                    <a:pt x="1085" y="532"/>
                  </a:lnTo>
                  <a:lnTo>
                    <a:pt x="1084" y="532"/>
                  </a:lnTo>
                  <a:lnTo>
                    <a:pt x="1084" y="531"/>
                  </a:lnTo>
                  <a:lnTo>
                    <a:pt x="1096" y="531"/>
                  </a:lnTo>
                  <a:lnTo>
                    <a:pt x="1096" y="546"/>
                  </a:lnTo>
                  <a:lnTo>
                    <a:pt x="1099" y="540"/>
                  </a:lnTo>
                  <a:lnTo>
                    <a:pt x="1099" y="538"/>
                  </a:lnTo>
                  <a:lnTo>
                    <a:pt x="1100" y="538"/>
                  </a:lnTo>
                  <a:lnTo>
                    <a:pt x="1114" y="544"/>
                  </a:lnTo>
                  <a:lnTo>
                    <a:pt x="1114" y="546"/>
                  </a:lnTo>
                  <a:lnTo>
                    <a:pt x="1112" y="546"/>
                  </a:lnTo>
                  <a:lnTo>
                    <a:pt x="1116" y="553"/>
                  </a:lnTo>
                  <a:lnTo>
                    <a:pt x="1109" y="553"/>
                  </a:lnTo>
                  <a:lnTo>
                    <a:pt x="1114" y="556"/>
                  </a:lnTo>
                  <a:lnTo>
                    <a:pt x="1116" y="565"/>
                  </a:lnTo>
                  <a:lnTo>
                    <a:pt x="1115" y="565"/>
                  </a:lnTo>
                  <a:lnTo>
                    <a:pt x="1114" y="567"/>
                  </a:lnTo>
                  <a:lnTo>
                    <a:pt x="1116" y="571"/>
                  </a:lnTo>
                  <a:lnTo>
                    <a:pt x="1114" y="571"/>
                  </a:lnTo>
                  <a:lnTo>
                    <a:pt x="1116" y="574"/>
                  </a:lnTo>
                  <a:lnTo>
                    <a:pt x="1116" y="575"/>
                  </a:lnTo>
                  <a:lnTo>
                    <a:pt x="1105" y="589"/>
                  </a:lnTo>
                  <a:lnTo>
                    <a:pt x="1081" y="593"/>
                  </a:lnTo>
                  <a:lnTo>
                    <a:pt x="1060" y="615"/>
                  </a:lnTo>
                  <a:lnTo>
                    <a:pt x="1059" y="615"/>
                  </a:lnTo>
                  <a:lnTo>
                    <a:pt x="1057" y="614"/>
                  </a:lnTo>
                  <a:lnTo>
                    <a:pt x="1056" y="614"/>
                  </a:lnTo>
                  <a:lnTo>
                    <a:pt x="1056" y="612"/>
                  </a:lnTo>
                  <a:lnTo>
                    <a:pt x="1039" y="618"/>
                  </a:lnTo>
                  <a:lnTo>
                    <a:pt x="1038" y="618"/>
                  </a:lnTo>
                  <a:lnTo>
                    <a:pt x="1031" y="615"/>
                  </a:lnTo>
                  <a:lnTo>
                    <a:pt x="977" y="615"/>
                  </a:lnTo>
                  <a:lnTo>
                    <a:pt x="971" y="621"/>
                  </a:lnTo>
                  <a:lnTo>
                    <a:pt x="965" y="633"/>
                  </a:lnTo>
                  <a:lnTo>
                    <a:pt x="964" y="633"/>
                  </a:lnTo>
                  <a:lnTo>
                    <a:pt x="955" y="635"/>
                  </a:lnTo>
                  <a:lnTo>
                    <a:pt x="945" y="644"/>
                  </a:lnTo>
                  <a:lnTo>
                    <a:pt x="937" y="654"/>
                  </a:lnTo>
                  <a:lnTo>
                    <a:pt x="933" y="657"/>
                  </a:lnTo>
                  <a:lnTo>
                    <a:pt x="925" y="670"/>
                  </a:lnTo>
                  <a:lnTo>
                    <a:pt x="918" y="679"/>
                  </a:lnTo>
                  <a:lnTo>
                    <a:pt x="919" y="678"/>
                  </a:lnTo>
                  <a:lnTo>
                    <a:pt x="934" y="660"/>
                  </a:lnTo>
                  <a:lnTo>
                    <a:pt x="949" y="647"/>
                  </a:lnTo>
                  <a:lnTo>
                    <a:pt x="973" y="636"/>
                  </a:lnTo>
                  <a:lnTo>
                    <a:pt x="993" y="635"/>
                  </a:lnTo>
                  <a:lnTo>
                    <a:pt x="1004" y="639"/>
                  </a:lnTo>
                  <a:lnTo>
                    <a:pt x="1004" y="650"/>
                  </a:lnTo>
                  <a:lnTo>
                    <a:pt x="992" y="658"/>
                  </a:lnTo>
                  <a:lnTo>
                    <a:pt x="990" y="658"/>
                  </a:lnTo>
                  <a:lnTo>
                    <a:pt x="983" y="657"/>
                  </a:lnTo>
                  <a:lnTo>
                    <a:pt x="977" y="658"/>
                  </a:lnTo>
                  <a:lnTo>
                    <a:pt x="985" y="660"/>
                  </a:lnTo>
                  <a:lnTo>
                    <a:pt x="986" y="664"/>
                  </a:lnTo>
                  <a:lnTo>
                    <a:pt x="993" y="661"/>
                  </a:lnTo>
                  <a:lnTo>
                    <a:pt x="998" y="663"/>
                  </a:lnTo>
                  <a:lnTo>
                    <a:pt x="998" y="664"/>
                  </a:lnTo>
                  <a:lnTo>
                    <a:pt x="992" y="676"/>
                  </a:lnTo>
                  <a:lnTo>
                    <a:pt x="998" y="676"/>
                  </a:lnTo>
                  <a:lnTo>
                    <a:pt x="998" y="688"/>
                  </a:lnTo>
                  <a:lnTo>
                    <a:pt x="1001" y="691"/>
                  </a:lnTo>
                  <a:lnTo>
                    <a:pt x="1011" y="696"/>
                  </a:lnTo>
                  <a:lnTo>
                    <a:pt x="1011" y="697"/>
                  </a:lnTo>
                  <a:lnTo>
                    <a:pt x="1010" y="697"/>
                  </a:lnTo>
                  <a:lnTo>
                    <a:pt x="1025" y="703"/>
                  </a:lnTo>
                  <a:lnTo>
                    <a:pt x="1033" y="700"/>
                  </a:lnTo>
                  <a:lnTo>
                    <a:pt x="1033" y="698"/>
                  </a:lnTo>
                  <a:lnTo>
                    <a:pt x="1035" y="698"/>
                  </a:lnTo>
                  <a:lnTo>
                    <a:pt x="1035" y="700"/>
                  </a:lnTo>
                  <a:lnTo>
                    <a:pt x="1036" y="703"/>
                  </a:lnTo>
                  <a:lnTo>
                    <a:pt x="1042" y="704"/>
                  </a:lnTo>
                  <a:lnTo>
                    <a:pt x="1044" y="704"/>
                  </a:lnTo>
                  <a:lnTo>
                    <a:pt x="1044" y="706"/>
                  </a:lnTo>
                  <a:lnTo>
                    <a:pt x="1042" y="709"/>
                  </a:lnTo>
                  <a:lnTo>
                    <a:pt x="1047" y="710"/>
                  </a:lnTo>
                  <a:lnTo>
                    <a:pt x="1048" y="710"/>
                  </a:lnTo>
                  <a:lnTo>
                    <a:pt x="1047" y="712"/>
                  </a:lnTo>
                  <a:lnTo>
                    <a:pt x="1023" y="721"/>
                  </a:lnTo>
                  <a:lnTo>
                    <a:pt x="1014" y="722"/>
                  </a:lnTo>
                  <a:lnTo>
                    <a:pt x="1014" y="725"/>
                  </a:lnTo>
                  <a:lnTo>
                    <a:pt x="1007" y="725"/>
                  </a:lnTo>
                  <a:lnTo>
                    <a:pt x="1004" y="730"/>
                  </a:lnTo>
                  <a:lnTo>
                    <a:pt x="990" y="744"/>
                  </a:lnTo>
                  <a:lnTo>
                    <a:pt x="989" y="744"/>
                  </a:lnTo>
                  <a:lnTo>
                    <a:pt x="980" y="738"/>
                  </a:lnTo>
                  <a:lnTo>
                    <a:pt x="980" y="737"/>
                  </a:lnTo>
                  <a:lnTo>
                    <a:pt x="979" y="731"/>
                  </a:lnTo>
                  <a:lnTo>
                    <a:pt x="982" y="725"/>
                  </a:lnTo>
                  <a:lnTo>
                    <a:pt x="979" y="725"/>
                  </a:lnTo>
                  <a:lnTo>
                    <a:pt x="979" y="724"/>
                  </a:lnTo>
                  <a:lnTo>
                    <a:pt x="980" y="724"/>
                  </a:lnTo>
                  <a:lnTo>
                    <a:pt x="1001" y="710"/>
                  </a:lnTo>
                  <a:lnTo>
                    <a:pt x="996" y="710"/>
                  </a:lnTo>
                  <a:lnTo>
                    <a:pt x="996" y="707"/>
                  </a:lnTo>
                  <a:lnTo>
                    <a:pt x="1002" y="700"/>
                  </a:lnTo>
                  <a:lnTo>
                    <a:pt x="1001" y="700"/>
                  </a:lnTo>
                  <a:lnTo>
                    <a:pt x="986" y="712"/>
                  </a:lnTo>
                  <a:lnTo>
                    <a:pt x="967" y="713"/>
                  </a:lnTo>
                  <a:lnTo>
                    <a:pt x="961" y="713"/>
                  </a:lnTo>
                  <a:lnTo>
                    <a:pt x="961" y="712"/>
                  </a:lnTo>
                  <a:lnTo>
                    <a:pt x="959" y="706"/>
                  </a:lnTo>
                  <a:lnTo>
                    <a:pt x="958" y="704"/>
                  </a:lnTo>
                  <a:lnTo>
                    <a:pt x="956" y="704"/>
                  </a:lnTo>
                  <a:lnTo>
                    <a:pt x="956" y="679"/>
                  </a:lnTo>
                  <a:lnTo>
                    <a:pt x="950" y="673"/>
                  </a:lnTo>
                  <a:lnTo>
                    <a:pt x="945" y="676"/>
                  </a:lnTo>
                  <a:lnTo>
                    <a:pt x="943" y="676"/>
                  </a:lnTo>
                  <a:lnTo>
                    <a:pt x="937" y="672"/>
                  </a:lnTo>
                  <a:lnTo>
                    <a:pt x="928" y="684"/>
                  </a:lnTo>
                  <a:lnTo>
                    <a:pt x="921" y="710"/>
                  </a:lnTo>
                  <a:lnTo>
                    <a:pt x="921" y="712"/>
                  </a:lnTo>
                  <a:lnTo>
                    <a:pt x="910" y="712"/>
                  </a:lnTo>
                  <a:lnTo>
                    <a:pt x="909" y="718"/>
                  </a:lnTo>
                  <a:lnTo>
                    <a:pt x="863" y="718"/>
                  </a:lnTo>
                  <a:lnTo>
                    <a:pt x="854" y="725"/>
                  </a:lnTo>
                  <a:lnTo>
                    <a:pt x="838" y="734"/>
                  </a:lnTo>
                  <a:lnTo>
                    <a:pt x="836" y="733"/>
                  </a:lnTo>
                  <a:lnTo>
                    <a:pt x="836" y="737"/>
                  </a:lnTo>
                  <a:lnTo>
                    <a:pt x="823" y="737"/>
                  </a:lnTo>
                  <a:lnTo>
                    <a:pt x="808" y="740"/>
                  </a:lnTo>
                  <a:lnTo>
                    <a:pt x="802" y="747"/>
                  </a:lnTo>
                  <a:lnTo>
                    <a:pt x="810" y="749"/>
                  </a:lnTo>
                  <a:lnTo>
                    <a:pt x="811" y="749"/>
                  </a:lnTo>
                  <a:lnTo>
                    <a:pt x="813" y="756"/>
                  </a:lnTo>
                  <a:lnTo>
                    <a:pt x="796" y="756"/>
                  </a:lnTo>
                  <a:lnTo>
                    <a:pt x="790" y="761"/>
                  </a:lnTo>
                  <a:lnTo>
                    <a:pt x="783" y="759"/>
                  </a:lnTo>
                  <a:lnTo>
                    <a:pt x="765" y="771"/>
                  </a:lnTo>
                  <a:lnTo>
                    <a:pt x="756" y="771"/>
                  </a:lnTo>
                  <a:lnTo>
                    <a:pt x="756" y="770"/>
                  </a:lnTo>
                  <a:lnTo>
                    <a:pt x="759" y="764"/>
                  </a:lnTo>
                  <a:lnTo>
                    <a:pt x="759" y="762"/>
                  </a:lnTo>
                  <a:lnTo>
                    <a:pt x="761" y="762"/>
                  </a:lnTo>
                  <a:lnTo>
                    <a:pt x="764" y="764"/>
                  </a:lnTo>
                  <a:lnTo>
                    <a:pt x="762" y="759"/>
                  </a:lnTo>
                  <a:lnTo>
                    <a:pt x="765" y="752"/>
                  </a:lnTo>
                  <a:lnTo>
                    <a:pt x="765" y="750"/>
                  </a:lnTo>
                  <a:lnTo>
                    <a:pt x="774" y="746"/>
                  </a:lnTo>
                  <a:lnTo>
                    <a:pt x="774" y="731"/>
                  </a:lnTo>
                  <a:lnTo>
                    <a:pt x="779" y="721"/>
                  </a:lnTo>
                  <a:lnTo>
                    <a:pt x="776" y="712"/>
                  </a:lnTo>
                  <a:lnTo>
                    <a:pt x="776" y="710"/>
                  </a:lnTo>
                  <a:lnTo>
                    <a:pt x="779" y="710"/>
                  </a:lnTo>
                  <a:lnTo>
                    <a:pt x="780" y="712"/>
                  </a:lnTo>
                  <a:lnTo>
                    <a:pt x="781" y="712"/>
                  </a:lnTo>
                  <a:lnTo>
                    <a:pt x="783" y="716"/>
                  </a:lnTo>
                  <a:lnTo>
                    <a:pt x="786" y="716"/>
                  </a:lnTo>
                  <a:lnTo>
                    <a:pt x="786" y="722"/>
                  </a:lnTo>
                  <a:lnTo>
                    <a:pt x="787" y="721"/>
                  </a:lnTo>
                  <a:lnTo>
                    <a:pt x="789" y="721"/>
                  </a:lnTo>
                  <a:lnTo>
                    <a:pt x="796" y="724"/>
                  </a:lnTo>
                  <a:lnTo>
                    <a:pt x="796" y="718"/>
                  </a:lnTo>
                  <a:lnTo>
                    <a:pt x="799" y="719"/>
                  </a:lnTo>
                  <a:lnTo>
                    <a:pt x="796" y="715"/>
                  </a:lnTo>
                  <a:lnTo>
                    <a:pt x="796" y="710"/>
                  </a:lnTo>
                  <a:lnTo>
                    <a:pt x="787" y="700"/>
                  </a:lnTo>
                  <a:lnTo>
                    <a:pt x="743" y="693"/>
                  </a:lnTo>
                  <a:lnTo>
                    <a:pt x="741" y="690"/>
                  </a:lnTo>
                  <a:lnTo>
                    <a:pt x="739" y="690"/>
                  </a:lnTo>
                  <a:lnTo>
                    <a:pt x="739" y="682"/>
                  </a:lnTo>
                  <a:lnTo>
                    <a:pt x="736" y="681"/>
                  </a:lnTo>
                  <a:lnTo>
                    <a:pt x="736" y="672"/>
                  </a:lnTo>
                  <a:lnTo>
                    <a:pt x="731" y="667"/>
                  </a:lnTo>
                  <a:lnTo>
                    <a:pt x="733" y="661"/>
                  </a:lnTo>
                  <a:lnTo>
                    <a:pt x="722" y="661"/>
                  </a:lnTo>
                  <a:lnTo>
                    <a:pt x="713" y="645"/>
                  </a:lnTo>
                  <a:lnTo>
                    <a:pt x="706" y="645"/>
                  </a:lnTo>
                  <a:lnTo>
                    <a:pt x="706" y="654"/>
                  </a:lnTo>
                  <a:lnTo>
                    <a:pt x="704" y="654"/>
                  </a:lnTo>
                  <a:lnTo>
                    <a:pt x="700" y="644"/>
                  </a:lnTo>
                  <a:lnTo>
                    <a:pt x="693" y="641"/>
                  </a:lnTo>
                  <a:lnTo>
                    <a:pt x="688" y="651"/>
                  </a:lnTo>
                  <a:lnTo>
                    <a:pt x="687" y="651"/>
                  </a:lnTo>
                  <a:lnTo>
                    <a:pt x="687" y="647"/>
                  </a:lnTo>
                  <a:lnTo>
                    <a:pt x="684" y="653"/>
                  </a:lnTo>
                  <a:lnTo>
                    <a:pt x="682" y="653"/>
                  </a:lnTo>
                  <a:lnTo>
                    <a:pt x="682" y="650"/>
                  </a:lnTo>
                  <a:lnTo>
                    <a:pt x="676" y="658"/>
                  </a:lnTo>
                  <a:lnTo>
                    <a:pt x="670" y="661"/>
                  </a:lnTo>
                  <a:lnTo>
                    <a:pt x="656" y="657"/>
                  </a:lnTo>
                  <a:lnTo>
                    <a:pt x="650" y="658"/>
                  </a:lnTo>
                  <a:lnTo>
                    <a:pt x="630" y="648"/>
                  </a:lnTo>
                  <a:lnTo>
                    <a:pt x="607" y="647"/>
                  </a:lnTo>
                  <a:lnTo>
                    <a:pt x="601" y="635"/>
                  </a:lnTo>
                  <a:lnTo>
                    <a:pt x="601" y="642"/>
                  </a:lnTo>
                  <a:lnTo>
                    <a:pt x="239" y="641"/>
                  </a:lnTo>
                  <a:lnTo>
                    <a:pt x="236" y="638"/>
                  </a:lnTo>
                  <a:lnTo>
                    <a:pt x="236" y="636"/>
                  </a:lnTo>
                  <a:lnTo>
                    <a:pt x="239" y="636"/>
                  </a:lnTo>
                  <a:lnTo>
                    <a:pt x="233" y="635"/>
                  </a:lnTo>
                  <a:lnTo>
                    <a:pt x="233" y="627"/>
                  </a:lnTo>
                  <a:lnTo>
                    <a:pt x="229" y="632"/>
                  </a:lnTo>
                  <a:lnTo>
                    <a:pt x="227" y="632"/>
                  </a:lnTo>
                  <a:lnTo>
                    <a:pt x="227" y="626"/>
                  </a:lnTo>
                  <a:lnTo>
                    <a:pt x="224" y="621"/>
                  </a:lnTo>
                  <a:lnTo>
                    <a:pt x="224" y="624"/>
                  </a:lnTo>
                  <a:lnTo>
                    <a:pt x="221" y="624"/>
                  </a:lnTo>
                  <a:lnTo>
                    <a:pt x="215" y="621"/>
                  </a:lnTo>
                  <a:lnTo>
                    <a:pt x="212" y="618"/>
                  </a:lnTo>
                  <a:lnTo>
                    <a:pt x="212" y="617"/>
                  </a:lnTo>
                  <a:lnTo>
                    <a:pt x="214" y="612"/>
                  </a:lnTo>
                  <a:lnTo>
                    <a:pt x="196" y="610"/>
                  </a:lnTo>
                  <a:lnTo>
                    <a:pt x="195" y="610"/>
                  </a:lnTo>
                  <a:lnTo>
                    <a:pt x="195" y="608"/>
                  </a:lnTo>
                  <a:lnTo>
                    <a:pt x="197" y="605"/>
                  </a:lnTo>
                  <a:lnTo>
                    <a:pt x="192" y="602"/>
                  </a:lnTo>
                  <a:lnTo>
                    <a:pt x="192" y="601"/>
                  </a:lnTo>
                  <a:lnTo>
                    <a:pt x="189" y="601"/>
                  </a:lnTo>
                  <a:lnTo>
                    <a:pt x="186" y="602"/>
                  </a:lnTo>
                  <a:lnTo>
                    <a:pt x="181" y="602"/>
                  </a:lnTo>
                  <a:lnTo>
                    <a:pt x="175" y="598"/>
                  </a:lnTo>
                  <a:lnTo>
                    <a:pt x="174" y="595"/>
                  </a:lnTo>
                  <a:lnTo>
                    <a:pt x="174" y="593"/>
                  </a:lnTo>
                  <a:lnTo>
                    <a:pt x="177" y="593"/>
                  </a:lnTo>
                  <a:lnTo>
                    <a:pt x="174" y="592"/>
                  </a:lnTo>
                  <a:lnTo>
                    <a:pt x="174" y="590"/>
                  </a:lnTo>
                  <a:lnTo>
                    <a:pt x="178" y="589"/>
                  </a:lnTo>
                  <a:lnTo>
                    <a:pt x="177" y="589"/>
                  </a:lnTo>
                  <a:lnTo>
                    <a:pt x="177" y="584"/>
                  </a:lnTo>
                  <a:lnTo>
                    <a:pt x="174" y="587"/>
                  </a:lnTo>
                  <a:lnTo>
                    <a:pt x="172" y="587"/>
                  </a:lnTo>
                  <a:lnTo>
                    <a:pt x="172" y="569"/>
                  </a:lnTo>
                  <a:lnTo>
                    <a:pt x="168" y="571"/>
                  </a:lnTo>
                  <a:lnTo>
                    <a:pt x="166" y="571"/>
                  </a:lnTo>
                  <a:lnTo>
                    <a:pt x="166" y="567"/>
                  </a:lnTo>
                  <a:lnTo>
                    <a:pt x="160" y="568"/>
                  </a:lnTo>
                  <a:lnTo>
                    <a:pt x="156" y="558"/>
                  </a:lnTo>
                  <a:lnTo>
                    <a:pt x="156" y="547"/>
                  </a:lnTo>
                  <a:lnTo>
                    <a:pt x="154" y="549"/>
                  </a:lnTo>
                  <a:lnTo>
                    <a:pt x="153" y="549"/>
                  </a:lnTo>
                  <a:lnTo>
                    <a:pt x="143" y="537"/>
                  </a:lnTo>
                  <a:lnTo>
                    <a:pt x="143" y="535"/>
                  </a:lnTo>
                  <a:lnTo>
                    <a:pt x="144" y="531"/>
                  </a:lnTo>
                  <a:lnTo>
                    <a:pt x="138" y="526"/>
                  </a:lnTo>
                  <a:lnTo>
                    <a:pt x="138" y="525"/>
                  </a:lnTo>
                  <a:lnTo>
                    <a:pt x="140" y="519"/>
                  </a:lnTo>
                  <a:lnTo>
                    <a:pt x="143" y="519"/>
                  </a:lnTo>
                  <a:lnTo>
                    <a:pt x="143" y="489"/>
                  </a:lnTo>
                  <a:lnTo>
                    <a:pt x="119" y="476"/>
                  </a:lnTo>
                  <a:lnTo>
                    <a:pt x="94" y="426"/>
                  </a:lnTo>
                  <a:lnTo>
                    <a:pt x="86" y="421"/>
                  </a:lnTo>
                  <a:lnTo>
                    <a:pt x="73" y="398"/>
                  </a:lnTo>
                  <a:lnTo>
                    <a:pt x="63" y="403"/>
                  </a:lnTo>
                  <a:lnTo>
                    <a:pt x="58" y="414"/>
                  </a:lnTo>
                  <a:lnTo>
                    <a:pt x="46" y="420"/>
                  </a:lnTo>
                  <a:lnTo>
                    <a:pt x="42" y="411"/>
                  </a:lnTo>
                  <a:lnTo>
                    <a:pt x="24" y="390"/>
                  </a:lnTo>
                  <a:lnTo>
                    <a:pt x="23" y="390"/>
                  </a:lnTo>
                  <a:lnTo>
                    <a:pt x="24" y="384"/>
                  </a:lnTo>
                  <a:lnTo>
                    <a:pt x="14" y="387"/>
                  </a:lnTo>
                  <a:lnTo>
                    <a:pt x="0" y="384"/>
                  </a:lnTo>
                  <a:lnTo>
                    <a:pt x="0" y="88"/>
                  </a:lnTo>
                  <a:lnTo>
                    <a:pt x="24" y="94"/>
                  </a:lnTo>
                  <a:lnTo>
                    <a:pt x="46" y="117"/>
                  </a:lnTo>
                  <a:lnTo>
                    <a:pt x="60" y="117"/>
                  </a:lnTo>
                  <a:lnTo>
                    <a:pt x="74" y="128"/>
                  </a:lnTo>
                  <a:lnTo>
                    <a:pt x="76" y="128"/>
                  </a:lnTo>
                  <a:lnTo>
                    <a:pt x="73" y="120"/>
                  </a:lnTo>
                  <a:lnTo>
                    <a:pt x="71" y="120"/>
                  </a:lnTo>
                  <a:lnTo>
                    <a:pt x="73" y="119"/>
                  </a:lnTo>
                  <a:lnTo>
                    <a:pt x="76" y="119"/>
                  </a:lnTo>
                  <a:lnTo>
                    <a:pt x="79" y="120"/>
                  </a:lnTo>
                  <a:lnTo>
                    <a:pt x="83" y="120"/>
                  </a:lnTo>
                  <a:lnTo>
                    <a:pt x="89" y="129"/>
                  </a:lnTo>
                  <a:lnTo>
                    <a:pt x="89" y="126"/>
                  </a:lnTo>
                  <a:lnTo>
                    <a:pt x="83" y="114"/>
                  </a:lnTo>
                  <a:lnTo>
                    <a:pt x="83" y="113"/>
                  </a:lnTo>
                  <a:lnTo>
                    <a:pt x="92" y="104"/>
                  </a:lnTo>
                  <a:lnTo>
                    <a:pt x="149" y="68"/>
                  </a:lnTo>
                  <a:lnTo>
                    <a:pt x="150" y="68"/>
                  </a:lnTo>
                  <a:lnTo>
                    <a:pt x="153" y="76"/>
                  </a:lnTo>
                  <a:lnTo>
                    <a:pt x="150" y="80"/>
                  </a:lnTo>
                  <a:lnTo>
                    <a:pt x="132" y="97"/>
                  </a:lnTo>
                  <a:lnTo>
                    <a:pt x="120" y="97"/>
                  </a:lnTo>
                  <a:lnTo>
                    <a:pt x="110" y="108"/>
                  </a:lnTo>
                  <a:lnTo>
                    <a:pt x="131" y="98"/>
                  </a:lnTo>
                  <a:lnTo>
                    <a:pt x="131" y="105"/>
                  </a:lnTo>
                  <a:lnTo>
                    <a:pt x="140" y="91"/>
                  </a:lnTo>
                  <a:lnTo>
                    <a:pt x="159" y="79"/>
                  </a:lnTo>
                  <a:lnTo>
                    <a:pt x="159" y="80"/>
                  </a:lnTo>
                  <a:lnTo>
                    <a:pt x="157" y="86"/>
                  </a:lnTo>
                  <a:lnTo>
                    <a:pt x="174" y="70"/>
                  </a:lnTo>
                  <a:lnTo>
                    <a:pt x="166" y="64"/>
                  </a:lnTo>
                  <a:lnTo>
                    <a:pt x="166" y="62"/>
                  </a:lnTo>
                  <a:lnTo>
                    <a:pt x="169" y="57"/>
                  </a:lnTo>
                  <a:lnTo>
                    <a:pt x="171" y="57"/>
                  </a:lnTo>
                  <a:lnTo>
                    <a:pt x="180" y="67"/>
                  </a:lnTo>
                  <a:lnTo>
                    <a:pt x="187" y="89"/>
                  </a:lnTo>
                  <a:lnTo>
                    <a:pt x="196" y="101"/>
                  </a:lnTo>
                  <a:lnTo>
                    <a:pt x="200" y="100"/>
                  </a:lnTo>
                  <a:lnTo>
                    <a:pt x="206" y="97"/>
                  </a:lnTo>
                  <a:lnTo>
                    <a:pt x="203" y="94"/>
                  </a:lnTo>
                  <a:lnTo>
                    <a:pt x="211" y="79"/>
                  </a:lnTo>
                  <a:lnTo>
                    <a:pt x="214" y="79"/>
                  </a:lnTo>
                  <a:lnTo>
                    <a:pt x="214" y="77"/>
                  </a:lnTo>
                  <a:lnTo>
                    <a:pt x="212" y="74"/>
                  </a:lnTo>
                  <a:lnTo>
                    <a:pt x="212" y="73"/>
                  </a:lnTo>
                  <a:lnTo>
                    <a:pt x="217" y="73"/>
                  </a:lnTo>
                  <a:lnTo>
                    <a:pt x="217" y="88"/>
                  </a:lnTo>
                  <a:lnTo>
                    <a:pt x="223" y="89"/>
                  </a:lnTo>
                  <a:lnTo>
                    <a:pt x="217" y="101"/>
                  </a:lnTo>
                  <a:lnTo>
                    <a:pt x="229" y="101"/>
                  </a:lnTo>
                  <a:lnTo>
                    <a:pt x="235" y="86"/>
                  </a:lnTo>
                  <a:lnTo>
                    <a:pt x="252" y="86"/>
                  </a:lnTo>
                  <a:lnTo>
                    <a:pt x="275" y="101"/>
                  </a:lnTo>
                  <a:lnTo>
                    <a:pt x="315" y="117"/>
                  </a:lnTo>
                  <a:lnTo>
                    <a:pt x="326" y="122"/>
                  </a:lnTo>
                  <a:lnTo>
                    <a:pt x="323" y="116"/>
                  </a:lnTo>
                  <a:lnTo>
                    <a:pt x="338" y="116"/>
                  </a:lnTo>
                  <a:lnTo>
                    <a:pt x="338" y="117"/>
                  </a:lnTo>
                  <a:lnTo>
                    <a:pt x="352" y="131"/>
                  </a:lnTo>
                  <a:lnTo>
                    <a:pt x="353" y="141"/>
                  </a:lnTo>
                  <a:lnTo>
                    <a:pt x="344" y="141"/>
                  </a:lnTo>
                  <a:lnTo>
                    <a:pt x="344" y="142"/>
                  </a:lnTo>
                  <a:lnTo>
                    <a:pt x="337" y="145"/>
                  </a:lnTo>
                  <a:lnTo>
                    <a:pt x="337" y="151"/>
                  </a:lnTo>
                  <a:lnTo>
                    <a:pt x="334" y="153"/>
                  </a:lnTo>
                  <a:lnTo>
                    <a:pt x="344" y="159"/>
                  </a:lnTo>
                  <a:lnTo>
                    <a:pt x="381" y="160"/>
                  </a:lnTo>
                  <a:lnTo>
                    <a:pt x="405" y="148"/>
                  </a:lnTo>
                  <a:lnTo>
                    <a:pt x="409" y="159"/>
                  </a:lnTo>
                  <a:lnTo>
                    <a:pt x="420" y="159"/>
                  </a:lnTo>
                  <a:lnTo>
                    <a:pt x="421" y="168"/>
                  </a:lnTo>
                  <a:lnTo>
                    <a:pt x="423" y="162"/>
                  </a:lnTo>
                  <a:lnTo>
                    <a:pt x="424" y="162"/>
                  </a:lnTo>
                  <a:lnTo>
                    <a:pt x="424" y="171"/>
                  </a:lnTo>
                  <a:lnTo>
                    <a:pt x="432" y="172"/>
                  </a:lnTo>
                  <a:lnTo>
                    <a:pt x="432" y="174"/>
                  </a:lnTo>
                  <a:lnTo>
                    <a:pt x="435" y="180"/>
                  </a:lnTo>
                  <a:lnTo>
                    <a:pt x="435" y="181"/>
                  </a:lnTo>
                  <a:lnTo>
                    <a:pt x="427" y="183"/>
                  </a:lnTo>
                  <a:lnTo>
                    <a:pt x="433" y="191"/>
                  </a:lnTo>
                  <a:lnTo>
                    <a:pt x="433" y="187"/>
                  </a:lnTo>
                  <a:lnTo>
                    <a:pt x="441" y="187"/>
                  </a:lnTo>
                  <a:lnTo>
                    <a:pt x="439" y="183"/>
                  </a:lnTo>
                  <a:lnTo>
                    <a:pt x="438" y="183"/>
                  </a:lnTo>
                  <a:lnTo>
                    <a:pt x="438" y="181"/>
                  </a:lnTo>
                  <a:lnTo>
                    <a:pt x="441" y="181"/>
                  </a:lnTo>
                  <a:lnTo>
                    <a:pt x="430" y="160"/>
                  </a:lnTo>
                  <a:lnTo>
                    <a:pt x="430" y="159"/>
                  </a:lnTo>
                  <a:lnTo>
                    <a:pt x="435" y="153"/>
                  </a:lnTo>
                  <a:lnTo>
                    <a:pt x="433" y="151"/>
                  </a:lnTo>
                  <a:lnTo>
                    <a:pt x="436" y="148"/>
                  </a:lnTo>
                  <a:lnTo>
                    <a:pt x="451" y="141"/>
                  </a:lnTo>
                  <a:lnTo>
                    <a:pt x="457" y="128"/>
                  </a:lnTo>
                  <a:lnTo>
                    <a:pt x="451" y="131"/>
                  </a:lnTo>
                  <a:lnTo>
                    <a:pt x="451" y="132"/>
                  </a:lnTo>
                  <a:lnTo>
                    <a:pt x="452" y="134"/>
                  </a:lnTo>
                  <a:lnTo>
                    <a:pt x="449" y="134"/>
                  </a:lnTo>
                  <a:lnTo>
                    <a:pt x="449" y="135"/>
                  </a:lnTo>
                  <a:lnTo>
                    <a:pt x="451" y="135"/>
                  </a:lnTo>
                  <a:lnTo>
                    <a:pt x="449" y="141"/>
                  </a:lnTo>
                  <a:lnTo>
                    <a:pt x="448" y="141"/>
                  </a:lnTo>
                  <a:lnTo>
                    <a:pt x="438" y="138"/>
                  </a:lnTo>
                  <a:lnTo>
                    <a:pt x="433" y="141"/>
                  </a:lnTo>
                  <a:lnTo>
                    <a:pt x="438" y="144"/>
                  </a:lnTo>
                  <a:lnTo>
                    <a:pt x="438" y="145"/>
                  </a:lnTo>
                  <a:lnTo>
                    <a:pt x="436" y="145"/>
                  </a:lnTo>
                  <a:lnTo>
                    <a:pt x="432" y="147"/>
                  </a:lnTo>
                  <a:lnTo>
                    <a:pt x="421" y="138"/>
                  </a:lnTo>
                  <a:lnTo>
                    <a:pt x="420" y="138"/>
                  </a:lnTo>
                  <a:lnTo>
                    <a:pt x="420" y="137"/>
                  </a:lnTo>
                  <a:lnTo>
                    <a:pt x="427" y="128"/>
                  </a:lnTo>
                  <a:lnTo>
                    <a:pt x="454" y="116"/>
                  </a:lnTo>
                  <a:lnTo>
                    <a:pt x="455" y="116"/>
                  </a:lnTo>
                  <a:lnTo>
                    <a:pt x="464" y="123"/>
                  </a:lnTo>
                  <a:lnTo>
                    <a:pt x="464" y="125"/>
                  </a:lnTo>
                  <a:lnTo>
                    <a:pt x="463" y="126"/>
                  </a:lnTo>
                  <a:lnTo>
                    <a:pt x="466" y="132"/>
                  </a:lnTo>
                  <a:lnTo>
                    <a:pt x="466" y="134"/>
                  </a:lnTo>
                  <a:lnTo>
                    <a:pt x="464" y="135"/>
                  </a:lnTo>
                  <a:lnTo>
                    <a:pt x="475" y="141"/>
                  </a:lnTo>
                  <a:lnTo>
                    <a:pt x="476" y="142"/>
                  </a:lnTo>
                  <a:lnTo>
                    <a:pt x="476" y="145"/>
                  </a:lnTo>
                  <a:lnTo>
                    <a:pt x="494" y="145"/>
                  </a:lnTo>
                  <a:lnTo>
                    <a:pt x="507" y="160"/>
                  </a:lnTo>
                  <a:lnTo>
                    <a:pt x="531" y="154"/>
                  </a:lnTo>
                  <a:lnTo>
                    <a:pt x="556" y="159"/>
                  </a:lnTo>
                  <a:lnTo>
                    <a:pt x="552" y="150"/>
                  </a:lnTo>
                  <a:lnTo>
                    <a:pt x="555" y="147"/>
                  </a:lnTo>
                  <a:lnTo>
                    <a:pt x="556" y="147"/>
                  </a:lnTo>
                  <a:lnTo>
                    <a:pt x="556" y="148"/>
                  </a:lnTo>
                  <a:lnTo>
                    <a:pt x="561" y="159"/>
                  </a:lnTo>
                  <a:lnTo>
                    <a:pt x="571" y="163"/>
                  </a:lnTo>
                  <a:lnTo>
                    <a:pt x="572" y="162"/>
                  </a:lnTo>
                  <a:lnTo>
                    <a:pt x="572" y="154"/>
                  </a:lnTo>
                  <a:lnTo>
                    <a:pt x="570" y="154"/>
                  </a:lnTo>
                  <a:lnTo>
                    <a:pt x="565" y="156"/>
                  </a:lnTo>
                  <a:lnTo>
                    <a:pt x="562" y="156"/>
                  </a:lnTo>
                  <a:lnTo>
                    <a:pt x="553" y="138"/>
                  </a:lnTo>
                  <a:lnTo>
                    <a:pt x="553" y="137"/>
                  </a:lnTo>
                  <a:lnTo>
                    <a:pt x="556" y="137"/>
                  </a:lnTo>
                  <a:lnTo>
                    <a:pt x="561" y="135"/>
                  </a:lnTo>
                  <a:lnTo>
                    <a:pt x="564" y="135"/>
                  </a:lnTo>
                  <a:lnTo>
                    <a:pt x="568" y="134"/>
                  </a:lnTo>
                  <a:lnTo>
                    <a:pt x="572" y="134"/>
                  </a:lnTo>
                  <a:lnTo>
                    <a:pt x="577" y="140"/>
                  </a:lnTo>
                  <a:lnTo>
                    <a:pt x="583" y="140"/>
                  </a:lnTo>
                  <a:lnTo>
                    <a:pt x="583" y="141"/>
                  </a:lnTo>
                  <a:lnTo>
                    <a:pt x="581" y="148"/>
                  </a:lnTo>
                  <a:lnTo>
                    <a:pt x="589" y="142"/>
                  </a:lnTo>
                  <a:lnTo>
                    <a:pt x="587" y="159"/>
                  </a:lnTo>
                  <a:lnTo>
                    <a:pt x="589" y="162"/>
                  </a:lnTo>
                  <a:lnTo>
                    <a:pt x="589" y="163"/>
                  </a:lnTo>
                  <a:lnTo>
                    <a:pt x="584" y="166"/>
                  </a:lnTo>
                  <a:lnTo>
                    <a:pt x="589" y="168"/>
                  </a:lnTo>
                  <a:lnTo>
                    <a:pt x="589" y="174"/>
                  </a:lnTo>
                  <a:lnTo>
                    <a:pt x="595" y="171"/>
                  </a:lnTo>
                  <a:lnTo>
                    <a:pt x="596" y="171"/>
                  </a:lnTo>
                  <a:lnTo>
                    <a:pt x="596" y="166"/>
                  </a:lnTo>
                  <a:lnTo>
                    <a:pt x="593" y="160"/>
                  </a:lnTo>
                  <a:lnTo>
                    <a:pt x="595" y="151"/>
                  </a:lnTo>
                  <a:lnTo>
                    <a:pt x="593" y="148"/>
                  </a:lnTo>
                  <a:lnTo>
                    <a:pt x="593" y="147"/>
                  </a:lnTo>
                  <a:lnTo>
                    <a:pt x="599" y="147"/>
                  </a:lnTo>
                  <a:lnTo>
                    <a:pt x="602" y="148"/>
                  </a:lnTo>
                  <a:lnTo>
                    <a:pt x="605" y="148"/>
                  </a:lnTo>
                  <a:lnTo>
                    <a:pt x="620" y="131"/>
                  </a:lnTo>
                  <a:lnTo>
                    <a:pt x="617" y="120"/>
                  </a:lnTo>
                  <a:lnTo>
                    <a:pt x="614" y="125"/>
                  </a:lnTo>
                  <a:lnTo>
                    <a:pt x="610" y="125"/>
                  </a:lnTo>
                  <a:lnTo>
                    <a:pt x="608" y="126"/>
                  </a:lnTo>
                  <a:lnTo>
                    <a:pt x="605" y="126"/>
                  </a:lnTo>
                  <a:lnTo>
                    <a:pt x="605" y="125"/>
                  </a:lnTo>
                  <a:lnTo>
                    <a:pt x="613" y="102"/>
                  </a:lnTo>
                  <a:lnTo>
                    <a:pt x="617" y="100"/>
                  </a:lnTo>
                  <a:lnTo>
                    <a:pt x="617" y="98"/>
                  </a:lnTo>
                  <a:lnTo>
                    <a:pt x="610" y="101"/>
                  </a:lnTo>
                  <a:lnTo>
                    <a:pt x="608" y="101"/>
                  </a:lnTo>
                  <a:lnTo>
                    <a:pt x="580" y="76"/>
                  </a:lnTo>
                  <a:lnTo>
                    <a:pt x="580" y="64"/>
                  </a:lnTo>
                  <a:lnTo>
                    <a:pt x="587" y="54"/>
                  </a:lnTo>
                  <a:lnTo>
                    <a:pt x="583" y="48"/>
                  </a:lnTo>
                  <a:lnTo>
                    <a:pt x="581" y="48"/>
                  </a:lnTo>
                  <a:lnTo>
                    <a:pt x="583" y="28"/>
                  </a:lnTo>
                  <a:lnTo>
                    <a:pt x="589" y="24"/>
                  </a:lnTo>
                  <a:lnTo>
                    <a:pt x="590" y="24"/>
                  </a:lnTo>
                  <a:lnTo>
                    <a:pt x="593" y="27"/>
                  </a:lnTo>
                  <a:lnTo>
                    <a:pt x="595" y="21"/>
                  </a:lnTo>
                  <a:lnTo>
                    <a:pt x="590" y="16"/>
                  </a:lnTo>
                  <a:lnTo>
                    <a:pt x="590" y="15"/>
                  </a:lnTo>
                  <a:lnTo>
                    <a:pt x="60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 name="Alaska - Mainland">
              <a:extLst>
                <a:ext uri="{FF2B5EF4-FFF2-40B4-BE49-F238E27FC236}">
                  <a16:creationId xmlns:a16="http://schemas.microsoft.com/office/drawing/2014/main" id="{08C4B66E-D38E-4443-DA3F-C765273F71CA}"/>
                </a:ext>
              </a:extLst>
            </p:cNvPr>
            <p:cNvSpPr>
              <a:spLocks noEditPoints="1"/>
            </p:cNvSpPr>
            <p:nvPr/>
          </p:nvSpPr>
          <p:spPr bwMode="auto">
            <a:xfrm>
              <a:off x="1857537" y="2153295"/>
              <a:ext cx="899916" cy="892689"/>
            </a:xfrm>
            <a:custGeom>
              <a:avLst/>
              <a:gdLst>
                <a:gd name="T0" fmla="*/ 234 w 498"/>
                <a:gd name="T1" fmla="*/ 318 h 494"/>
                <a:gd name="T2" fmla="*/ 166 w 498"/>
                <a:gd name="T3" fmla="*/ 8 h 494"/>
                <a:gd name="T4" fmla="*/ 196 w 498"/>
                <a:gd name="T5" fmla="*/ 17 h 494"/>
                <a:gd name="T6" fmla="*/ 212 w 498"/>
                <a:gd name="T7" fmla="*/ 30 h 494"/>
                <a:gd name="T8" fmla="*/ 308 w 498"/>
                <a:gd name="T9" fmla="*/ 52 h 494"/>
                <a:gd name="T10" fmla="*/ 356 w 498"/>
                <a:gd name="T11" fmla="*/ 358 h 494"/>
                <a:gd name="T12" fmla="*/ 393 w 498"/>
                <a:gd name="T13" fmla="*/ 375 h 494"/>
                <a:gd name="T14" fmla="*/ 415 w 498"/>
                <a:gd name="T15" fmla="*/ 377 h 494"/>
                <a:gd name="T16" fmla="*/ 498 w 498"/>
                <a:gd name="T17" fmla="*/ 488 h 494"/>
                <a:gd name="T18" fmla="*/ 483 w 498"/>
                <a:gd name="T19" fmla="*/ 463 h 494"/>
                <a:gd name="T20" fmla="*/ 476 w 498"/>
                <a:gd name="T21" fmla="*/ 460 h 494"/>
                <a:gd name="T22" fmla="*/ 461 w 498"/>
                <a:gd name="T23" fmla="*/ 441 h 494"/>
                <a:gd name="T24" fmla="*/ 454 w 498"/>
                <a:gd name="T25" fmla="*/ 427 h 494"/>
                <a:gd name="T26" fmla="*/ 448 w 498"/>
                <a:gd name="T27" fmla="*/ 417 h 494"/>
                <a:gd name="T28" fmla="*/ 433 w 498"/>
                <a:gd name="T29" fmla="*/ 405 h 494"/>
                <a:gd name="T30" fmla="*/ 420 w 498"/>
                <a:gd name="T31" fmla="*/ 407 h 494"/>
                <a:gd name="T32" fmla="*/ 411 w 498"/>
                <a:gd name="T33" fmla="*/ 411 h 494"/>
                <a:gd name="T34" fmla="*/ 369 w 498"/>
                <a:gd name="T35" fmla="*/ 378 h 494"/>
                <a:gd name="T36" fmla="*/ 359 w 498"/>
                <a:gd name="T37" fmla="*/ 374 h 494"/>
                <a:gd name="T38" fmla="*/ 302 w 498"/>
                <a:gd name="T39" fmla="*/ 355 h 494"/>
                <a:gd name="T40" fmla="*/ 279 w 498"/>
                <a:gd name="T41" fmla="*/ 346 h 494"/>
                <a:gd name="T42" fmla="*/ 267 w 498"/>
                <a:gd name="T43" fmla="*/ 341 h 494"/>
                <a:gd name="T44" fmla="*/ 257 w 498"/>
                <a:gd name="T45" fmla="*/ 353 h 494"/>
                <a:gd name="T46" fmla="*/ 240 w 498"/>
                <a:gd name="T47" fmla="*/ 375 h 494"/>
                <a:gd name="T48" fmla="*/ 214 w 498"/>
                <a:gd name="T49" fmla="*/ 389 h 494"/>
                <a:gd name="T50" fmla="*/ 216 w 498"/>
                <a:gd name="T51" fmla="*/ 377 h 494"/>
                <a:gd name="T52" fmla="*/ 243 w 498"/>
                <a:gd name="T53" fmla="*/ 341 h 494"/>
                <a:gd name="T54" fmla="*/ 214 w 498"/>
                <a:gd name="T55" fmla="*/ 343 h 494"/>
                <a:gd name="T56" fmla="*/ 188 w 498"/>
                <a:gd name="T57" fmla="*/ 390 h 494"/>
                <a:gd name="T58" fmla="*/ 182 w 498"/>
                <a:gd name="T59" fmla="*/ 413 h 494"/>
                <a:gd name="T60" fmla="*/ 153 w 498"/>
                <a:gd name="T61" fmla="*/ 439 h 494"/>
                <a:gd name="T62" fmla="*/ 133 w 498"/>
                <a:gd name="T63" fmla="*/ 454 h 494"/>
                <a:gd name="T64" fmla="*/ 110 w 498"/>
                <a:gd name="T65" fmla="*/ 475 h 494"/>
                <a:gd name="T66" fmla="*/ 73 w 498"/>
                <a:gd name="T67" fmla="*/ 485 h 494"/>
                <a:gd name="T68" fmla="*/ 59 w 498"/>
                <a:gd name="T69" fmla="*/ 484 h 494"/>
                <a:gd name="T70" fmla="*/ 99 w 498"/>
                <a:gd name="T71" fmla="*/ 460 h 494"/>
                <a:gd name="T72" fmla="*/ 138 w 498"/>
                <a:gd name="T73" fmla="*/ 410 h 494"/>
                <a:gd name="T74" fmla="*/ 125 w 498"/>
                <a:gd name="T75" fmla="*/ 396 h 494"/>
                <a:gd name="T76" fmla="*/ 119 w 498"/>
                <a:gd name="T77" fmla="*/ 407 h 494"/>
                <a:gd name="T78" fmla="*/ 77 w 498"/>
                <a:gd name="T79" fmla="*/ 401 h 494"/>
                <a:gd name="T80" fmla="*/ 79 w 498"/>
                <a:gd name="T81" fmla="*/ 386 h 494"/>
                <a:gd name="T82" fmla="*/ 67 w 498"/>
                <a:gd name="T83" fmla="*/ 375 h 494"/>
                <a:gd name="T84" fmla="*/ 49 w 498"/>
                <a:gd name="T85" fmla="*/ 367 h 494"/>
                <a:gd name="T86" fmla="*/ 43 w 498"/>
                <a:gd name="T87" fmla="*/ 338 h 494"/>
                <a:gd name="T88" fmla="*/ 28 w 498"/>
                <a:gd name="T89" fmla="*/ 328 h 494"/>
                <a:gd name="T90" fmla="*/ 30 w 498"/>
                <a:gd name="T91" fmla="*/ 315 h 494"/>
                <a:gd name="T92" fmla="*/ 77 w 498"/>
                <a:gd name="T93" fmla="*/ 269 h 494"/>
                <a:gd name="T94" fmla="*/ 71 w 498"/>
                <a:gd name="T95" fmla="*/ 248 h 494"/>
                <a:gd name="T96" fmla="*/ 27 w 498"/>
                <a:gd name="T97" fmla="*/ 238 h 494"/>
                <a:gd name="T98" fmla="*/ 33 w 498"/>
                <a:gd name="T99" fmla="*/ 189 h 494"/>
                <a:gd name="T100" fmla="*/ 58 w 498"/>
                <a:gd name="T101" fmla="*/ 184 h 494"/>
                <a:gd name="T102" fmla="*/ 82 w 498"/>
                <a:gd name="T103" fmla="*/ 178 h 494"/>
                <a:gd name="T104" fmla="*/ 90 w 498"/>
                <a:gd name="T105" fmla="*/ 171 h 494"/>
                <a:gd name="T106" fmla="*/ 80 w 498"/>
                <a:gd name="T107" fmla="*/ 160 h 494"/>
                <a:gd name="T108" fmla="*/ 55 w 498"/>
                <a:gd name="T109" fmla="*/ 143 h 494"/>
                <a:gd name="T110" fmla="*/ 55 w 498"/>
                <a:gd name="T111" fmla="*/ 91 h 494"/>
                <a:gd name="T112" fmla="*/ 68 w 498"/>
                <a:gd name="T113" fmla="*/ 63 h 494"/>
                <a:gd name="T114" fmla="*/ 80 w 498"/>
                <a:gd name="T115" fmla="*/ 42 h 494"/>
                <a:gd name="T116" fmla="*/ 105 w 498"/>
                <a:gd name="T117" fmla="*/ 40 h 494"/>
                <a:gd name="T118" fmla="*/ 120 w 498"/>
                <a:gd name="T119" fmla="*/ 1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8" h="494">
                  <a:moveTo>
                    <a:pt x="375" y="368"/>
                  </a:moveTo>
                  <a:lnTo>
                    <a:pt x="377" y="371"/>
                  </a:lnTo>
                  <a:lnTo>
                    <a:pt x="378" y="370"/>
                  </a:lnTo>
                  <a:lnTo>
                    <a:pt x="375" y="368"/>
                  </a:lnTo>
                  <a:close/>
                  <a:moveTo>
                    <a:pt x="233" y="310"/>
                  </a:moveTo>
                  <a:lnTo>
                    <a:pt x="228" y="330"/>
                  </a:lnTo>
                  <a:lnTo>
                    <a:pt x="234" y="318"/>
                  </a:lnTo>
                  <a:lnTo>
                    <a:pt x="233" y="310"/>
                  </a:lnTo>
                  <a:close/>
                  <a:moveTo>
                    <a:pt x="89" y="184"/>
                  </a:moveTo>
                  <a:lnTo>
                    <a:pt x="92" y="187"/>
                  </a:lnTo>
                  <a:lnTo>
                    <a:pt x="93" y="186"/>
                  </a:lnTo>
                  <a:lnTo>
                    <a:pt x="89" y="184"/>
                  </a:lnTo>
                  <a:close/>
                  <a:moveTo>
                    <a:pt x="150" y="0"/>
                  </a:moveTo>
                  <a:lnTo>
                    <a:pt x="166" y="8"/>
                  </a:lnTo>
                  <a:lnTo>
                    <a:pt x="166" y="9"/>
                  </a:lnTo>
                  <a:lnTo>
                    <a:pt x="157" y="20"/>
                  </a:lnTo>
                  <a:lnTo>
                    <a:pt x="168" y="24"/>
                  </a:lnTo>
                  <a:lnTo>
                    <a:pt x="166" y="14"/>
                  </a:lnTo>
                  <a:lnTo>
                    <a:pt x="172" y="9"/>
                  </a:lnTo>
                  <a:lnTo>
                    <a:pt x="182" y="21"/>
                  </a:lnTo>
                  <a:lnTo>
                    <a:pt x="196" y="17"/>
                  </a:lnTo>
                  <a:lnTo>
                    <a:pt x="200" y="23"/>
                  </a:lnTo>
                  <a:lnTo>
                    <a:pt x="203" y="23"/>
                  </a:lnTo>
                  <a:lnTo>
                    <a:pt x="206" y="21"/>
                  </a:lnTo>
                  <a:lnTo>
                    <a:pt x="211" y="21"/>
                  </a:lnTo>
                  <a:lnTo>
                    <a:pt x="211" y="23"/>
                  </a:lnTo>
                  <a:lnTo>
                    <a:pt x="209" y="29"/>
                  </a:lnTo>
                  <a:lnTo>
                    <a:pt x="212" y="30"/>
                  </a:lnTo>
                  <a:lnTo>
                    <a:pt x="218" y="32"/>
                  </a:lnTo>
                  <a:lnTo>
                    <a:pt x="218" y="33"/>
                  </a:lnTo>
                  <a:lnTo>
                    <a:pt x="216" y="34"/>
                  </a:lnTo>
                  <a:lnTo>
                    <a:pt x="246" y="34"/>
                  </a:lnTo>
                  <a:lnTo>
                    <a:pt x="299" y="54"/>
                  </a:lnTo>
                  <a:lnTo>
                    <a:pt x="302" y="54"/>
                  </a:lnTo>
                  <a:lnTo>
                    <a:pt x="308" y="52"/>
                  </a:lnTo>
                  <a:lnTo>
                    <a:pt x="317" y="49"/>
                  </a:lnTo>
                  <a:lnTo>
                    <a:pt x="323" y="48"/>
                  </a:lnTo>
                  <a:lnTo>
                    <a:pt x="326" y="48"/>
                  </a:lnTo>
                  <a:lnTo>
                    <a:pt x="351" y="66"/>
                  </a:lnTo>
                  <a:lnTo>
                    <a:pt x="354" y="63"/>
                  </a:lnTo>
                  <a:lnTo>
                    <a:pt x="356" y="63"/>
                  </a:lnTo>
                  <a:lnTo>
                    <a:pt x="356" y="358"/>
                  </a:lnTo>
                  <a:lnTo>
                    <a:pt x="368" y="361"/>
                  </a:lnTo>
                  <a:lnTo>
                    <a:pt x="378" y="358"/>
                  </a:lnTo>
                  <a:lnTo>
                    <a:pt x="380" y="358"/>
                  </a:lnTo>
                  <a:lnTo>
                    <a:pt x="378" y="365"/>
                  </a:lnTo>
                  <a:lnTo>
                    <a:pt x="393" y="380"/>
                  </a:lnTo>
                  <a:lnTo>
                    <a:pt x="394" y="378"/>
                  </a:lnTo>
                  <a:lnTo>
                    <a:pt x="393" y="375"/>
                  </a:lnTo>
                  <a:lnTo>
                    <a:pt x="394" y="375"/>
                  </a:lnTo>
                  <a:lnTo>
                    <a:pt x="396" y="378"/>
                  </a:lnTo>
                  <a:lnTo>
                    <a:pt x="394" y="381"/>
                  </a:lnTo>
                  <a:lnTo>
                    <a:pt x="397" y="386"/>
                  </a:lnTo>
                  <a:lnTo>
                    <a:pt x="400" y="393"/>
                  </a:lnTo>
                  <a:lnTo>
                    <a:pt x="411" y="387"/>
                  </a:lnTo>
                  <a:lnTo>
                    <a:pt x="415" y="377"/>
                  </a:lnTo>
                  <a:lnTo>
                    <a:pt x="427" y="371"/>
                  </a:lnTo>
                  <a:lnTo>
                    <a:pt x="428" y="371"/>
                  </a:lnTo>
                  <a:lnTo>
                    <a:pt x="442" y="395"/>
                  </a:lnTo>
                  <a:lnTo>
                    <a:pt x="449" y="401"/>
                  </a:lnTo>
                  <a:lnTo>
                    <a:pt x="474" y="450"/>
                  </a:lnTo>
                  <a:lnTo>
                    <a:pt x="498" y="464"/>
                  </a:lnTo>
                  <a:lnTo>
                    <a:pt x="498" y="488"/>
                  </a:lnTo>
                  <a:lnTo>
                    <a:pt x="488" y="494"/>
                  </a:lnTo>
                  <a:lnTo>
                    <a:pt x="486" y="494"/>
                  </a:lnTo>
                  <a:lnTo>
                    <a:pt x="486" y="487"/>
                  </a:lnTo>
                  <a:lnTo>
                    <a:pt x="491" y="484"/>
                  </a:lnTo>
                  <a:lnTo>
                    <a:pt x="489" y="481"/>
                  </a:lnTo>
                  <a:lnTo>
                    <a:pt x="486" y="481"/>
                  </a:lnTo>
                  <a:lnTo>
                    <a:pt x="483" y="463"/>
                  </a:lnTo>
                  <a:lnTo>
                    <a:pt x="476" y="467"/>
                  </a:lnTo>
                  <a:lnTo>
                    <a:pt x="471" y="475"/>
                  </a:lnTo>
                  <a:lnTo>
                    <a:pt x="470" y="475"/>
                  </a:lnTo>
                  <a:lnTo>
                    <a:pt x="468" y="472"/>
                  </a:lnTo>
                  <a:lnTo>
                    <a:pt x="468" y="470"/>
                  </a:lnTo>
                  <a:lnTo>
                    <a:pt x="473" y="460"/>
                  </a:lnTo>
                  <a:lnTo>
                    <a:pt x="476" y="460"/>
                  </a:lnTo>
                  <a:lnTo>
                    <a:pt x="470" y="456"/>
                  </a:lnTo>
                  <a:lnTo>
                    <a:pt x="467" y="448"/>
                  </a:lnTo>
                  <a:lnTo>
                    <a:pt x="461" y="444"/>
                  </a:lnTo>
                  <a:lnTo>
                    <a:pt x="458" y="441"/>
                  </a:lnTo>
                  <a:lnTo>
                    <a:pt x="458" y="439"/>
                  </a:lnTo>
                  <a:lnTo>
                    <a:pt x="460" y="439"/>
                  </a:lnTo>
                  <a:lnTo>
                    <a:pt x="461" y="441"/>
                  </a:lnTo>
                  <a:lnTo>
                    <a:pt x="461" y="439"/>
                  </a:lnTo>
                  <a:lnTo>
                    <a:pt x="454" y="438"/>
                  </a:lnTo>
                  <a:lnTo>
                    <a:pt x="452" y="436"/>
                  </a:lnTo>
                  <a:lnTo>
                    <a:pt x="454" y="436"/>
                  </a:lnTo>
                  <a:lnTo>
                    <a:pt x="455" y="433"/>
                  </a:lnTo>
                  <a:lnTo>
                    <a:pt x="454" y="433"/>
                  </a:lnTo>
                  <a:lnTo>
                    <a:pt x="454" y="427"/>
                  </a:lnTo>
                  <a:lnTo>
                    <a:pt x="451" y="427"/>
                  </a:lnTo>
                  <a:lnTo>
                    <a:pt x="451" y="423"/>
                  </a:lnTo>
                  <a:lnTo>
                    <a:pt x="452" y="423"/>
                  </a:lnTo>
                  <a:lnTo>
                    <a:pt x="457" y="426"/>
                  </a:lnTo>
                  <a:lnTo>
                    <a:pt x="452" y="421"/>
                  </a:lnTo>
                  <a:lnTo>
                    <a:pt x="449" y="421"/>
                  </a:lnTo>
                  <a:lnTo>
                    <a:pt x="448" y="417"/>
                  </a:lnTo>
                  <a:lnTo>
                    <a:pt x="446" y="417"/>
                  </a:lnTo>
                  <a:lnTo>
                    <a:pt x="443" y="411"/>
                  </a:lnTo>
                  <a:lnTo>
                    <a:pt x="436" y="408"/>
                  </a:lnTo>
                  <a:lnTo>
                    <a:pt x="436" y="407"/>
                  </a:lnTo>
                  <a:lnTo>
                    <a:pt x="427" y="384"/>
                  </a:lnTo>
                  <a:lnTo>
                    <a:pt x="427" y="387"/>
                  </a:lnTo>
                  <a:lnTo>
                    <a:pt x="433" y="405"/>
                  </a:lnTo>
                  <a:lnTo>
                    <a:pt x="431" y="410"/>
                  </a:lnTo>
                  <a:lnTo>
                    <a:pt x="431" y="411"/>
                  </a:lnTo>
                  <a:lnTo>
                    <a:pt x="427" y="411"/>
                  </a:lnTo>
                  <a:lnTo>
                    <a:pt x="425" y="405"/>
                  </a:lnTo>
                  <a:lnTo>
                    <a:pt x="421" y="408"/>
                  </a:lnTo>
                  <a:lnTo>
                    <a:pt x="421" y="407"/>
                  </a:lnTo>
                  <a:lnTo>
                    <a:pt x="420" y="407"/>
                  </a:lnTo>
                  <a:lnTo>
                    <a:pt x="421" y="402"/>
                  </a:lnTo>
                  <a:lnTo>
                    <a:pt x="418" y="395"/>
                  </a:lnTo>
                  <a:lnTo>
                    <a:pt x="417" y="398"/>
                  </a:lnTo>
                  <a:lnTo>
                    <a:pt x="408" y="393"/>
                  </a:lnTo>
                  <a:lnTo>
                    <a:pt x="418" y="404"/>
                  </a:lnTo>
                  <a:lnTo>
                    <a:pt x="418" y="408"/>
                  </a:lnTo>
                  <a:lnTo>
                    <a:pt x="411" y="411"/>
                  </a:lnTo>
                  <a:lnTo>
                    <a:pt x="397" y="402"/>
                  </a:lnTo>
                  <a:lnTo>
                    <a:pt x="399" y="399"/>
                  </a:lnTo>
                  <a:lnTo>
                    <a:pt x="391" y="392"/>
                  </a:lnTo>
                  <a:lnTo>
                    <a:pt x="390" y="392"/>
                  </a:lnTo>
                  <a:lnTo>
                    <a:pt x="390" y="384"/>
                  </a:lnTo>
                  <a:lnTo>
                    <a:pt x="385" y="389"/>
                  </a:lnTo>
                  <a:lnTo>
                    <a:pt x="369" y="378"/>
                  </a:lnTo>
                  <a:lnTo>
                    <a:pt x="369" y="377"/>
                  </a:lnTo>
                  <a:lnTo>
                    <a:pt x="372" y="375"/>
                  </a:lnTo>
                  <a:lnTo>
                    <a:pt x="374" y="367"/>
                  </a:lnTo>
                  <a:lnTo>
                    <a:pt x="372" y="365"/>
                  </a:lnTo>
                  <a:lnTo>
                    <a:pt x="369" y="371"/>
                  </a:lnTo>
                  <a:lnTo>
                    <a:pt x="368" y="371"/>
                  </a:lnTo>
                  <a:lnTo>
                    <a:pt x="359" y="374"/>
                  </a:lnTo>
                  <a:lnTo>
                    <a:pt x="350" y="370"/>
                  </a:lnTo>
                  <a:lnTo>
                    <a:pt x="348" y="370"/>
                  </a:lnTo>
                  <a:lnTo>
                    <a:pt x="348" y="365"/>
                  </a:lnTo>
                  <a:lnTo>
                    <a:pt x="337" y="365"/>
                  </a:lnTo>
                  <a:lnTo>
                    <a:pt x="326" y="367"/>
                  </a:lnTo>
                  <a:lnTo>
                    <a:pt x="314" y="367"/>
                  </a:lnTo>
                  <a:lnTo>
                    <a:pt x="302" y="355"/>
                  </a:lnTo>
                  <a:lnTo>
                    <a:pt x="298" y="358"/>
                  </a:lnTo>
                  <a:lnTo>
                    <a:pt x="291" y="352"/>
                  </a:lnTo>
                  <a:lnTo>
                    <a:pt x="291" y="349"/>
                  </a:lnTo>
                  <a:lnTo>
                    <a:pt x="283" y="349"/>
                  </a:lnTo>
                  <a:lnTo>
                    <a:pt x="286" y="346"/>
                  </a:lnTo>
                  <a:lnTo>
                    <a:pt x="279" y="347"/>
                  </a:lnTo>
                  <a:lnTo>
                    <a:pt x="279" y="346"/>
                  </a:lnTo>
                  <a:lnTo>
                    <a:pt x="282" y="344"/>
                  </a:lnTo>
                  <a:lnTo>
                    <a:pt x="279" y="344"/>
                  </a:lnTo>
                  <a:lnTo>
                    <a:pt x="280" y="338"/>
                  </a:lnTo>
                  <a:lnTo>
                    <a:pt x="270" y="341"/>
                  </a:lnTo>
                  <a:lnTo>
                    <a:pt x="268" y="341"/>
                  </a:lnTo>
                  <a:lnTo>
                    <a:pt x="267" y="338"/>
                  </a:lnTo>
                  <a:lnTo>
                    <a:pt x="267" y="341"/>
                  </a:lnTo>
                  <a:lnTo>
                    <a:pt x="264" y="343"/>
                  </a:lnTo>
                  <a:lnTo>
                    <a:pt x="262" y="343"/>
                  </a:lnTo>
                  <a:lnTo>
                    <a:pt x="264" y="335"/>
                  </a:lnTo>
                  <a:lnTo>
                    <a:pt x="255" y="344"/>
                  </a:lnTo>
                  <a:lnTo>
                    <a:pt x="259" y="346"/>
                  </a:lnTo>
                  <a:lnTo>
                    <a:pt x="259" y="347"/>
                  </a:lnTo>
                  <a:lnTo>
                    <a:pt x="257" y="353"/>
                  </a:lnTo>
                  <a:lnTo>
                    <a:pt x="262" y="352"/>
                  </a:lnTo>
                  <a:lnTo>
                    <a:pt x="257" y="367"/>
                  </a:lnTo>
                  <a:lnTo>
                    <a:pt x="255" y="367"/>
                  </a:lnTo>
                  <a:lnTo>
                    <a:pt x="245" y="365"/>
                  </a:lnTo>
                  <a:lnTo>
                    <a:pt x="242" y="374"/>
                  </a:lnTo>
                  <a:lnTo>
                    <a:pt x="240" y="374"/>
                  </a:lnTo>
                  <a:lnTo>
                    <a:pt x="240" y="375"/>
                  </a:lnTo>
                  <a:lnTo>
                    <a:pt x="236" y="375"/>
                  </a:lnTo>
                  <a:lnTo>
                    <a:pt x="233" y="383"/>
                  </a:lnTo>
                  <a:lnTo>
                    <a:pt x="231" y="383"/>
                  </a:lnTo>
                  <a:lnTo>
                    <a:pt x="231" y="378"/>
                  </a:lnTo>
                  <a:lnTo>
                    <a:pt x="224" y="386"/>
                  </a:lnTo>
                  <a:lnTo>
                    <a:pt x="215" y="389"/>
                  </a:lnTo>
                  <a:lnTo>
                    <a:pt x="214" y="389"/>
                  </a:lnTo>
                  <a:lnTo>
                    <a:pt x="214" y="387"/>
                  </a:lnTo>
                  <a:lnTo>
                    <a:pt x="211" y="386"/>
                  </a:lnTo>
                  <a:lnTo>
                    <a:pt x="211" y="384"/>
                  </a:lnTo>
                  <a:lnTo>
                    <a:pt x="212" y="380"/>
                  </a:lnTo>
                  <a:lnTo>
                    <a:pt x="218" y="380"/>
                  </a:lnTo>
                  <a:lnTo>
                    <a:pt x="222" y="374"/>
                  </a:lnTo>
                  <a:lnTo>
                    <a:pt x="216" y="377"/>
                  </a:lnTo>
                  <a:lnTo>
                    <a:pt x="216" y="375"/>
                  </a:lnTo>
                  <a:lnTo>
                    <a:pt x="212" y="374"/>
                  </a:lnTo>
                  <a:lnTo>
                    <a:pt x="212" y="373"/>
                  </a:lnTo>
                  <a:lnTo>
                    <a:pt x="218" y="358"/>
                  </a:lnTo>
                  <a:lnTo>
                    <a:pt x="219" y="346"/>
                  </a:lnTo>
                  <a:lnTo>
                    <a:pt x="231" y="340"/>
                  </a:lnTo>
                  <a:lnTo>
                    <a:pt x="243" y="341"/>
                  </a:lnTo>
                  <a:lnTo>
                    <a:pt x="236" y="338"/>
                  </a:lnTo>
                  <a:lnTo>
                    <a:pt x="236" y="337"/>
                  </a:lnTo>
                  <a:lnTo>
                    <a:pt x="242" y="330"/>
                  </a:lnTo>
                  <a:lnTo>
                    <a:pt x="236" y="334"/>
                  </a:lnTo>
                  <a:lnTo>
                    <a:pt x="234" y="334"/>
                  </a:lnTo>
                  <a:lnTo>
                    <a:pt x="228" y="332"/>
                  </a:lnTo>
                  <a:lnTo>
                    <a:pt x="214" y="343"/>
                  </a:lnTo>
                  <a:lnTo>
                    <a:pt x="203" y="361"/>
                  </a:lnTo>
                  <a:lnTo>
                    <a:pt x="202" y="361"/>
                  </a:lnTo>
                  <a:lnTo>
                    <a:pt x="197" y="359"/>
                  </a:lnTo>
                  <a:lnTo>
                    <a:pt x="202" y="367"/>
                  </a:lnTo>
                  <a:lnTo>
                    <a:pt x="184" y="381"/>
                  </a:lnTo>
                  <a:lnTo>
                    <a:pt x="182" y="389"/>
                  </a:lnTo>
                  <a:lnTo>
                    <a:pt x="188" y="390"/>
                  </a:lnTo>
                  <a:lnTo>
                    <a:pt x="193" y="395"/>
                  </a:lnTo>
                  <a:lnTo>
                    <a:pt x="193" y="396"/>
                  </a:lnTo>
                  <a:lnTo>
                    <a:pt x="184" y="405"/>
                  </a:lnTo>
                  <a:lnTo>
                    <a:pt x="182" y="408"/>
                  </a:lnTo>
                  <a:lnTo>
                    <a:pt x="184" y="411"/>
                  </a:lnTo>
                  <a:lnTo>
                    <a:pt x="184" y="413"/>
                  </a:lnTo>
                  <a:lnTo>
                    <a:pt x="182" y="413"/>
                  </a:lnTo>
                  <a:lnTo>
                    <a:pt x="171" y="417"/>
                  </a:lnTo>
                  <a:lnTo>
                    <a:pt x="166" y="424"/>
                  </a:lnTo>
                  <a:lnTo>
                    <a:pt x="163" y="423"/>
                  </a:lnTo>
                  <a:lnTo>
                    <a:pt x="162" y="427"/>
                  </a:lnTo>
                  <a:lnTo>
                    <a:pt x="153" y="433"/>
                  </a:lnTo>
                  <a:lnTo>
                    <a:pt x="154" y="433"/>
                  </a:lnTo>
                  <a:lnTo>
                    <a:pt x="153" y="439"/>
                  </a:lnTo>
                  <a:lnTo>
                    <a:pt x="139" y="445"/>
                  </a:lnTo>
                  <a:lnTo>
                    <a:pt x="139" y="451"/>
                  </a:lnTo>
                  <a:lnTo>
                    <a:pt x="133" y="451"/>
                  </a:lnTo>
                  <a:lnTo>
                    <a:pt x="133" y="453"/>
                  </a:lnTo>
                  <a:lnTo>
                    <a:pt x="135" y="453"/>
                  </a:lnTo>
                  <a:lnTo>
                    <a:pt x="135" y="454"/>
                  </a:lnTo>
                  <a:lnTo>
                    <a:pt x="133" y="454"/>
                  </a:lnTo>
                  <a:lnTo>
                    <a:pt x="123" y="457"/>
                  </a:lnTo>
                  <a:lnTo>
                    <a:pt x="120" y="456"/>
                  </a:lnTo>
                  <a:lnTo>
                    <a:pt x="125" y="463"/>
                  </a:lnTo>
                  <a:lnTo>
                    <a:pt x="125" y="464"/>
                  </a:lnTo>
                  <a:lnTo>
                    <a:pt x="114" y="467"/>
                  </a:lnTo>
                  <a:lnTo>
                    <a:pt x="111" y="475"/>
                  </a:lnTo>
                  <a:lnTo>
                    <a:pt x="110" y="475"/>
                  </a:lnTo>
                  <a:lnTo>
                    <a:pt x="107" y="469"/>
                  </a:lnTo>
                  <a:lnTo>
                    <a:pt x="88" y="479"/>
                  </a:lnTo>
                  <a:lnTo>
                    <a:pt x="86" y="479"/>
                  </a:lnTo>
                  <a:lnTo>
                    <a:pt x="86" y="473"/>
                  </a:lnTo>
                  <a:lnTo>
                    <a:pt x="80" y="485"/>
                  </a:lnTo>
                  <a:lnTo>
                    <a:pt x="74" y="487"/>
                  </a:lnTo>
                  <a:lnTo>
                    <a:pt x="73" y="485"/>
                  </a:lnTo>
                  <a:lnTo>
                    <a:pt x="73" y="487"/>
                  </a:lnTo>
                  <a:lnTo>
                    <a:pt x="65" y="485"/>
                  </a:lnTo>
                  <a:lnTo>
                    <a:pt x="64" y="490"/>
                  </a:lnTo>
                  <a:lnTo>
                    <a:pt x="64" y="491"/>
                  </a:lnTo>
                  <a:lnTo>
                    <a:pt x="62" y="491"/>
                  </a:lnTo>
                  <a:lnTo>
                    <a:pt x="59" y="485"/>
                  </a:lnTo>
                  <a:lnTo>
                    <a:pt x="59" y="484"/>
                  </a:lnTo>
                  <a:lnTo>
                    <a:pt x="61" y="484"/>
                  </a:lnTo>
                  <a:lnTo>
                    <a:pt x="62" y="482"/>
                  </a:lnTo>
                  <a:lnTo>
                    <a:pt x="89" y="463"/>
                  </a:lnTo>
                  <a:lnTo>
                    <a:pt x="98" y="466"/>
                  </a:lnTo>
                  <a:lnTo>
                    <a:pt x="98" y="464"/>
                  </a:lnTo>
                  <a:lnTo>
                    <a:pt x="99" y="463"/>
                  </a:lnTo>
                  <a:lnTo>
                    <a:pt x="99" y="460"/>
                  </a:lnTo>
                  <a:lnTo>
                    <a:pt x="102" y="457"/>
                  </a:lnTo>
                  <a:lnTo>
                    <a:pt x="102" y="454"/>
                  </a:lnTo>
                  <a:lnTo>
                    <a:pt x="123" y="444"/>
                  </a:lnTo>
                  <a:lnTo>
                    <a:pt x="125" y="438"/>
                  </a:lnTo>
                  <a:lnTo>
                    <a:pt x="132" y="433"/>
                  </a:lnTo>
                  <a:lnTo>
                    <a:pt x="141" y="410"/>
                  </a:lnTo>
                  <a:lnTo>
                    <a:pt x="138" y="410"/>
                  </a:lnTo>
                  <a:lnTo>
                    <a:pt x="138" y="408"/>
                  </a:lnTo>
                  <a:lnTo>
                    <a:pt x="139" y="402"/>
                  </a:lnTo>
                  <a:lnTo>
                    <a:pt x="147" y="392"/>
                  </a:lnTo>
                  <a:lnTo>
                    <a:pt x="132" y="401"/>
                  </a:lnTo>
                  <a:lnTo>
                    <a:pt x="131" y="402"/>
                  </a:lnTo>
                  <a:lnTo>
                    <a:pt x="131" y="401"/>
                  </a:lnTo>
                  <a:lnTo>
                    <a:pt x="125" y="396"/>
                  </a:lnTo>
                  <a:lnTo>
                    <a:pt x="125" y="393"/>
                  </a:lnTo>
                  <a:lnTo>
                    <a:pt x="122" y="398"/>
                  </a:lnTo>
                  <a:lnTo>
                    <a:pt x="123" y="404"/>
                  </a:lnTo>
                  <a:lnTo>
                    <a:pt x="123" y="405"/>
                  </a:lnTo>
                  <a:lnTo>
                    <a:pt x="120" y="407"/>
                  </a:lnTo>
                  <a:lnTo>
                    <a:pt x="120" y="408"/>
                  </a:lnTo>
                  <a:lnTo>
                    <a:pt x="119" y="407"/>
                  </a:lnTo>
                  <a:lnTo>
                    <a:pt x="111" y="395"/>
                  </a:lnTo>
                  <a:lnTo>
                    <a:pt x="102" y="395"/>
                  </a:lnTo>
                  <a:lnTo>
                    <a:pt x="102" y="387"/>
                  </a:lnTo>
                  <a:lnTo>
                    <a:pt x="96" y="393"/>
                  </a:lnTo>
                  <a:lnTo>
                    <a:pt x="79" y="402"/>
                  </a:lnTo>
                  <a:lnTo>
                    <a:pt x="77" y="402"/>
                  </a:lnTo>
                  <a:lnTo>
                    <a:pt x="77" y="401"/>
                  </a:lnTo>
                  <a:lnTo>
                    <a:pt x="85" y="396"/>
                  </a:lnTo>
                  <a:lnTo>
                    <a:pt x="83" y="392"/>
                  </a:lnTo>
                  <a:lnTo>
                    <a:pt x="83" y="390"/>
                  </a:lnTo>
                  <a:lnTo>
                    <a:pt x="85" y="389"/>
                  </a:lnTo>
                  <a:lnTo>
                    <a:pt x="80" y="387"/>
                  </a:lnTo>
                  <a:lnTo>
                    <a:pt x="79" y="387"/>
                  </a:lnTo>
                  <a:lnTo>
                    <a:pt x="79" y="386"/>
                  </a:lnTo>
                  <a:lnTo>
                    <a:pt x="83" y="377"/>
                  </a:lnTo>
                  <a:lnTo>
                    <a:pt x="74" y="358"/>
                  </a:lnTo>
                  <a:lnTo>
                    <a:pt x="83" y="347"/>
                  </a:lnTo>
                  <a:lnTo>
                    <a:pt x="77" y="352"/>
                  </a:lnTo>
                  <a:lnTo>
                    <a:pt x="74" y="358"/>
                  </a:lnTo>
                  <a:lnTo>
                    <a:pt x="76" y="362"/>
                  </a:lnTo>
                  <a:lnTo>
                    <a:pt x="67" y="375"/>
                  </a:lnTo>
                  <a:lnTo>
                    <a:pt x="64" y="375"/>
                  </a:lnTo>
                  <a:lnTo>
                    <a:pt x="59" y="374"/>
                  </a:lnTo>
                  <a:lnTo>
                    <a:pt x="55" y="374"/>
                  </a:lnTo>
                  <a:lnTo>
                    <a:pt x="50" y="368"/>
                  </a:lnTo>
                  <a:lnTo>
                    <a:pt x="52" y="368"/>
                  </a:lnTo>
                  <a:lnTo>
                    <a:pt x="52" y="367"/>
                  </a:lnTo>
                  <a:lnTo>
                    <a:pt x="49" y="367"/>
                  </a:lnTo>
                  <a:lnTo>
                    <a:pt x="48" y="361"/>
                  </a:lnTo>
                  <a:lnTo>
                    <a:pt x="48" y="359"/>
                  </a:lnTo>
                  <a:lnTo>
                    <a:pt x="56" y="344"/>
                  </a:lnTo>
                  <a:lnTo>
                    <a:pt x="48" y="344"/>
                  </a:lnTo>
                  <a:lnTo>
                    <a:pt x="45" y="343"/>
                  </a:lnTo>
                  <a:lnTo>
                    <a:pt x="46" y="338"/>
                  </a:lnTo>
                  <a:lnTo>
                    <a:pt x="43" y="338"/>
                  </a:lnTo>
                  <a:lnTo>
                    <a:pt x="39" y="340"/>
                  </a:lnTo>
                  <a:lnTo>
                    <a:pt x="37" y="340"/>
                  </a:lnTo>
                  <a:lnTo>
                    <a:pt x="34" y="334"/>
                  </a:lnTo>
                  <a:lnTo>
                    <a:pt x="34" y="332"/>
                  </a:lnTo>
                  <a:lnTo>
                    <a:pt x="36" y="330"/>
                  </a:lnTo>
                  <a:lnTo>
                    <a:pt x="28" y="330"/>
                  </a:lnTo>
                  <a:lnTo>
                    <a:pt x="28" y="328"/>
                  </a:lnTo>
                  <a:lnTo>
                    <a:pt x="30" y="328"/>
                  </a:lnTo>
                  <a:lnTo>
                    <a:pt x="34" y="324"/>
                  </a:lnTo>
                  <a:lnTo>
                    <a:pt x="25" y="327"/>
                  </a:lnTo>
                  <a:lnTo>
                    <a:pt x="24" y="327"/>
                  </a:lnTo>
                  <a:lnTo>
                    <a:pt x="27" y="321"/>
                  </a:lnTo>
                  <a:lnTo>
                    <a:pt x="25" y="318"/>
                  </a:lnTo>
                  <a:lnTo>
                    <a:pt x="30" y="315"/>
                  </a:lnTo>
                  <a:lnTo>
                    <a:pt x="34" y="301"/>
                  </a:lnTo>
                  <a:lnTo>
                    <a:pt x="46" y="291"/>
                  </a:lnTo>
                  <a:lnTo>
                    <a:pt x="53" y="291"/>
                  </a:lnTo>
                  <a:lnTo>
                    <a:pt x="53" y="287"/>
                  </a:lnTo>
                  <a:lnTo>
                    <a:pt x="58" y="284"/>
                  </a:lnTo>
                  <a:lnTo>
                    <a:pt x="67" y="282"/>
                  </a:lnTo>
                  <a:lnTo>
                    <a:pt x="77" y="269"/>
                  </a:lnTo>
                  <a:lnTo>
                    <a:pt x="92" y="267"/>
                  </a:lnTo>
                  <a:lnTo>
                    <a:pt x="96" y="258"/>
                  </a:lnTo>
                  <a:lnTo>
                    <a:pt x="88" y="239"/>
                  </a:lnTo>
                  <a:lnTo>
                    <a:pt x="93" y="239"/>
                  </a:lnTo>
                  <a:lnTo>
                    <a:pt x="96" y="233"/>
                  </a:lnTo>
                  <a:lnTo>
                    <a:pt x="85" y="230"/>
                  </a:lnTo>
                  <a:lnTo>
                    <a:pt x="71" y="248"/>
                  </a:lnTo>
                  <a:lnTo>
                    <a:pt x="68" y="241"/>
                  </a:lnTo>
                  <a:lnTo>
                    <a:pt x="67" y="242"/>
                  </a:lnTo>
                  <a:lnTo>
                    <a:pt x="67" y="244"/>
                  </a:lnTo>
                  <a:lnTo>
                    <a:pt x="59" y="239"/>
                  </a:lnTo>
                  <a:lnTo>
                    <a:pt x="43" y="242"/>
                  </a:lnTo>
                  <a:lnTo>
                    <a:pt x="27" y="239"/>
                  </a:lnTo>
                  <a:lnTo>
                    <a:pt x="27" y="238"/>
                  </a:lnTo>
                  <a:lnTo>
                    <a:pt x="16" y="218"/>
                  </a:lnTo>
                  <a:lnTo>
                    <a:pt x="24" y="215"/>
                  </a:lnTo>
                  <a:lnTo>
                    <a:pt x="10" y="214"/>
                  </a:lnTo>
                  <a:lnTo>
                    <a:pt x="0" y="203"/>
                  </a:lnTo>
                  <a:lnTo>
                    <a:pt x="0" y="202"/>
                  </a:lnTo>
                  <a:lnTo>
                    <a:pt x="24" y="187"/>
                  </a:lnTo>
                  <a:lnTo>
                    <a:pt x="33" y="189"/>
                  </a:lnTo>
                  <a:lnTo>
                    <a:pt x="30" y="186"/>
                  </a:lnTo>
                  <a:lnTo>
                    <a:pt x="30" y="184"/>
                  </a:lnTo>
                  <a:lnTo>
                    <a:pt x="31" y="184"/>
                  </a:lnTo>
                  <a:lnTo>
                    <a:pt x="46" y="174"/>
                  </a:lnTo>
                  <a:lnTo>
                    <a:pt x="55" y="174"/>
                  </a:lnTo>
                  <a:lnTo>
                    <a:pt x="58" y="175"/>
                  </a:lnTo>
                  <a:lnTo>
                    <a:pt x="58" y="184"/>
                  </a:lnTo>
                  <a:lnTo>
                    <a:pt x="55" y="186"/>
                  </a:lnTo>
                  <a:lnTo>
                    <a:pt x="59" y="192"/>
                  </a:lnTo>
                  <a:lnTo>
                    <a:pt x="83" y="195"/>
                  </a:lnTo>
                  <a:lnTo>
                    <a:pt x="86" y="184"/>
                  </a:lnTo>
                  <a:lnTo>
                    <a:pt x="82" y="184"/>
                  </a:lnTo>
                  <a:lnTo>
                    <a:pt x="80" y="183"/>
                  </a:lnTo>
                  <a:lnTo>
                    <a:pt x="82" y="178"/>
                  </a:lnTo>
                  <a:lnTo>
                    <a:pt x="79" y="172"/>
                  </a:lnTo>
                  <a:lnTo>
                    <a:pt x="79" y="171"/>
                  </a:lnTo>
                  <a:lnTo>
                    <a:pt x="80" y="171"/>
                  </a:lnTo>
                  <a:lnTo>
                    <a:pt x="85" y="178"/>
                  </a:lnTo>
                  <a:lnTo>
                    <a:pt x="98" y="181"/>
                  </a:lnTo>
                  <a:lnTo>
                    <a:pt x="111" y="175"/>
                  </a:lnTo>
                  <a:lnTo>
                    <a:pt x="90" y="171"/>
                  </a:lnTo>
                  <a:lnTo>
                    <a:pt x="90" y="177"/>
                  </a:lnTo>
                  <a:lnTo>
                    <a:pt x="89" y="177"/>
                  </a:lnTo>
                  <a:lnTo>
                    <a:pt x="82" y="169"/>
                  </a:lnTo>
                  <a:lnTo>
                    <a:pt x="82" y="168"/>
                  </a:lnTo>
                  <a:lnTo>
                    <a:pt x="86" y="162"/>
                  </a:lnTo>
                  <a:lnTo>
                    <a:pt x="86" y="160"/>
                  </a:lnTo>
                  <a:lnTo>
                    <a:pt x="80" y="160"/>
                  </a:lnTo>
                  <a:lnTo>
                    <a:pt x="77" y="162"/>
                  </a:lnTo>
                  <a:lnTo>
                    <a:pt x="74" y="162"/>
                  </a:lnTo>
                  <a:lnTo>
                    <a:pt x="74" y="158"/>
                  </a:lnTo>
                  <a:lnTo>
                    <a:pt x="71" y="162"/>
                  </a:lnTo>
                  <a:lnTo>
                    <a:pt x="70" y="162"/>
                  </a:lnTo>
                  <a:lnTo>
                    <a:pt x="59" y="158"/>
                  </a:lnTo>
                  <a:lnTo>
                    <a:pt x="55" y="143"/>
                  </a:lnTo>
                  <a:lnTo>
                    <a:pt x="49" y="137"/>
                  </a:lnTo>
                  <a:lnTo>
                    <a:pt x="16" y="115"/>
                  </a:lnTo>
                  <a:lnTo>
                    <a:pt x="16" y="113"/>
                  </a:lnTo>
                  <a:lnTo>
                    <a:pt x="24" y="109"/>
                  </a:lnTo>
                  <a:lnTo>
                    <a:pt x="24" y="95"/>
                  </a:lnTo>
                  <a:lnTo>
                    <a:pt x="25" y="95"/>
                  </a:lnTo>
                  <a:lnTo>
                    <a:pt x="55" y="91"/>
                  </a:lnTo>
                  <a:lnTo>
                    <a:pt x="65" y="76"/>
                  </a:lnTo>
                  <a:lnTo>
                    <a:pt x="67" y="67"/>
                  </a:lnTo>
                  <a:lnTo>
                    <a:pt x="67" y="66"/>
                  </a:lnTo>
                  <a:lnTo>
                    <a:pt x="68" y="66"/>
                  </a:lnTo>
                  <a:lnTo>
                    <a:pt x="67" y="64"/>
                  </a:lnTo>
                  <a:lnTo>
                    <a:pt x="67" y="63"/>
                  </a:lnTo>
                  <a:lnTo>
                    <a:pt x="68" y="63"/>
                  </a:lnTo>
                  <a:lnTo>
                    <a:pt x="68" y="61"/>
                  </a:lnTo>
                  <a:lnTo>
                    <a:pt x="74" y="52"/>
                  </a:lnTo>
                  <a:lnTo>
                    <a:pt x="76" y="52"/>
                  </a:lnTo>
                  <a:lnTo>
                    <a:pt x="80" y="55"/>
                  </a:lnTo>
                  <a:lnTo>
                    <a:pt x="77" y="52"/>
                  </a:lnTo>
                  <a:lnTo>
                    <a:pt x="77" y="51"/>
                  </a:lnTo>
                  <a:lnTo>
                    <a:pt x="80" y="42"/>
                  </a:lnTo>
                  <a:lnTo>
                    <a:pt x="83" y="42"/>
                  </a:lnTo>
                  <a:lnTo>
                    <a:pt x="85" y="43"/>
                  </a:lnTo>
                  <a:lnTo>
                    <a:pt x="83" y="46"/>
                  </a:lnTo>
                  <a:lnTo>
                    <a:pt x="104" y="30"/>
                  </a:lnTo>
                  <a:lnTo>
                    <a:pt x="107" y="33"/>
                  </a:lnTo>
                  <a:lnTo>
                    <a:pt x="107" y="34"/>
                  </a:lnTo>
                  <a:lnTo>
                    <a:pt x="105" y="40"/>
                  </a:lnTo>
                  <a:lnTo>
                    <a:pt x="107" y="42"/>
                  </a:lnTo>
                  <a:lnTo>
                    <a:pt x="108" y="34"/>
                  </a:lnTo>
                  <a:lnTo>
                    <a:pt x="113" y="33"/>
                  </a:lnTo>
                  <a:lnTo>
                    <a:pt x="105" y="29"/>
                  </a:lnTo>
                  <a:lnTo>
                    <a:pt x="108" y="24"/>
                  </a:lnTo>
                  <a:lnTo>
                    <a:pt x="119" y="17"/>
                  </a:lnTo>
                  <a:lnTo>
                    <a:pt x="120" y="17"/>
                  </a:lnTo>
                  <a:lnTo>
                    <a:pt x="120" y="18"/>
                  </a:lnTo>
                  <a:lnTo>
                    <a:pt x="114" y="24"/>
                  </a:lnTo>
                  <a:lnTo>
                    <a:pt x="117" y="26"/>
                  </a:lnTo>
                  <a:lnTo>
                    <a:pt x="117" y="23"/>
                  </a:lnTo>
                  <a:lnTo>
                    <a:pt x="133" y="20"/>
                  </a:lnTo>
                  <a:lnTo>
                    <a:pt x="15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 name="Alaska - Offshore">
              <a:extLst>
                <a:ext uri="{FF2B5EF4-FFF2-40B4-BE49-F238E27FC236}">
                  <a16:creationId xmlns:a16="http://schemas.microsoft.com/office/drawing/2014/main" id="{1AD53918-93A6-A590-BF28-E57635E37104}"/>
                </a:ext>
              </a:extLst>
            </p:cNvPr>
            <p:cNvSpPr>
              <a:spLocks/>
            </p:cNvSpPr>
            <p:nvPr/>
          </p:nvSpPr>
          <p:spPr bwMode="auto">
            <a:xfrm>
              <a:off x="1866572" y="2446039"/>
              <a:ext cx="907145" cy="701140"/>
            </a:xfrm>
            <a:custGeom>
              <a:avLst/>
              <a:gdLst/>
              <a:ahLst/>
              <a:cxnLst/>
              <a:rect l="l" t="t" r="r" b="b"/>
              <a:pathLst>
                <a:path w="914377" h="706729">
                  <a:moveTo>
                    <a:pt x="892519" y="639334"/>
                  </a:moveTo>
                  <a:lnTo>
                    <a:pt x="903448" y="644799"/>
                  </a:lnTo>
                  <a:lnTo>
                    <a:pt x="912556" y="655728"/>
                  </a:lnTo>
                  <a:lnTo>
                    <a:pt x="914377" y="655728"/>
                  </a:lnTo>
                  <a:lnTo>
                    <a:pt x="912556" y="666657"/>
                  </a:lnTo>
                  <a:lnTo>
                    <a:pt x="908913" y="666657"/>
                  </a:lnTo>
                  <a:lnTo>
                    <a:pt x="901741" y="654704"/>
                  </a:lnTo>
                  <a:lnTo>
                    <a:pt x="903448" y="666656"/>
                  </a:lnTo>
                  <a:lnTo>
                    <a:pt x="887054" y="648441"/>
                  </a:lnTo>
                  <a:lnTo>
                    <a:pt x="887054" y="644798"/>
                  </a:lnTo>
                  <a:lnTo>
                    <a:pt x="898336" y="649029"/>
                  </a:lnTo>
                  <a:close/>
                  <a:moveTo>
                    <a:pt x="25501" y="633870"/>
                  </a:moveTo>
                  <a:lnTo>
                    <a:pt x="34608" y="633870"/>
                  </a:lnTo>
                  <a:lnTo>
                    <a:pt x="29144" y="644799"/>
                  </a:lnTo>
                  <a:lnTo>
                    <a:pt x="30965" y="644799"/>
                  </a:lnTo>
                  <a:lnTo>
                    <a:pt x="30965" y="648442"/>
                  </a:lnTo>
                  <a:lnTo>
                    <a:pt x="29144" y="648442"/>
                  </a:lnTo>
                  <a:lnTo>
                    <a:pt x="20036" y="655728"/>
                  </a:lnTo>
                  <a:lnTo>
                    <a:pt x="0" y="664836"/>
                  </a:lnTo>
                  <a:lnTo>
                    <a:pt x="0" y="661193"/>
                  </a:lnTo>
                  <a:lnTo>
                    <a:pt x="14572" y="644799"/>
                  </a:lnTo>
                  <a:lnTo>
                    <a:pt x="12750" y="637513"/>
                  </a:lnTo>
                  <a:lnTo>
                    <a:pt x="18215" y="637513"/>
                  </a:lnTo>
                  <a:close/>
                  <a:moveTo>
                    <a:pt x="887056" y="628405"/>
                  </a:moveTo>
                  <a:lnTo>
                    <a:pt x="890699" y="628405"/>
                  </a:lnTo>
                  <a:lnTo>
                    <a:pt x="892520" y="637513"/>
                  </a:lnTo>
                  <a:lnTo>
                    <a:pt x="892520" y="639334"/>
                  </a:lnTo>
                  <a:lnTo>
                    <a:pt x="885234" y="637513"/>
                  </a:lnTo>
                  <a:lnTo>
                    <a:pt x="881591" y="633870"/>
                  </a:lnTo>
                  <a:close/>
                  <a:moveTo>
                    <a:pt x="823304" y="626583"/>
                  </a:moveTo>
                  <a:lnTo>
                    <a:pt x="839697" y="626583"/>
                  </a:lnTo>
                  <a:lnTo>
                    <a:pt x="839697" y="632048"/>
                  </a:lnTo>
                  <a:lnTo>
                    <a:pt x="843340" y="626583"/>
                  </a:lnTo>
                  <a:lnTo>
                    <a:pt x="843340" y="628405"/>
                  </a:lnTo>
                  <a:lnTo>
                    <a:pt x="846983" y="637512"/>
                  </a:lnTo>
                  <a:lnTo>
                    <a:pt x="848804" y="632048"/>
                  </a:lnTo>
                  <a:lnTo>
                    <a:pt x="854269" y="626583"/>
                  </a:lnTo>
                  <a:lnTo>
                    <a:pt x="857912" y="626583"/>
                  </a:lnTo>
                  <a:lnTo>
                    <a:pt x="859733" y="633869"/>
                  </a:lnTo>
                  <a:lnTo>
                    <a:pt x="854269" y="659369"/>
                  </a:lnTo>
                  <a:lnTo>
                    <a:pt x="854269" y="661191"/>
                  </a:lnTo>
                  <a:lnTo>
                    <a:pt x="854257" y="661200"/>
                  </a:lnTo>
                  <a:lnTo>
                    <a:pt x="854269" y="661192"/>
                  </a:lnTo>
                  <a:lnTo>
                    <a:pt x="854269" y="664835"/>
                  </a:lnTo>
                  <a:lnTo>
                    <a:pt x="857912" y="664835"/>
                  </a:lnTo>
                  <a:lnTo>
                    <a:pt x="859733" y="670300"/>
                  </a:lnTo>
                  <a:lnTo>
                    <a:pt x="859733" y="672121"/>
                  </a:lnTo>
                  <a:lnTo>
                    <a:pt x="857912" y="672121"/>
                  </a:lnTo>
                  <a:lnTo>
                    <a:pt x="859733" y="675764"/>
                  </a:lnTo>
                  <a:lnTo>
                    <a:pt x="859733" y="677585"/>
                  </a:lnTo>
                  <a:lnTo>
                    <a:pt x="854269" y="677585"/>
                  </a:lnTo>
                  <a:lnTo>
                    <a:pt x="854269" y="686693"/>
                  </a:lnTo>
                  <a:lnTo>
                    <a:pt x="868841" y="706729"/>
                  </a:lnTo>
                  <a:lnTo>
                    <a:pt x="846983" y="686693"/>
                  </a:lnTo>
                  <a:lnTo>
                    <a:pt x="846983" y="681228"/>
                  </a:lnTo>
                  <a:lnTo>
                    <a:pt x="843340" y="681228"/>
                  </a:lnTo>
                  <a:lnTo>
                    <a:pt x="843340" y="672121"/>
                  </a:lnTo>
                  <a:lnTo>
                    <a:pt x="841518" y="672121"/>
                  </a:lnTo>
                  <a:lnTo>
                    <a:pt x="841518" y="670300"/>
                  </a:lnTo>
                  <a:lnTo>
                    <a:pt x="841520" y="670298"/>
                  </a:lnTo>
                  <a:lnTo>
                    <a:pt x="841519" y="670298"/>
                  </a:lnTo>
                  <a:lnTo>
                    <a:pt x="839697" y="659369"/>
                  </a:lnTo>
                  <a:lnTo>
                    <a:pt x="841519" y="655726"/>
                  </a:lnTo>
                  <a:lnTo>
                    <a:pt x="830590" y="650262"/>
                  </a:lnTo>
                  <a:lnTo>
                    <a:pt x="823304" y="633869"/>
                  </a:lnTo>
                  <a:close/>
                  <a:moveTo>
                    <a:pt x="40072" y="621119"/>
                  </a:moveTo>
                  <a:lnTo>
                    <a:pt x="41893" y="621119"/>
                  </a:lnTo>
                  <a:lnTo>
                    <a:pt x="47358" y="628405"/>
                  </a:lnTo>
                  <a:lnTo>
                    <a:pt x="41893" y="628405"/>
                  </a:lnTo>
                  <a:lnTo>
                    <a:pt x="40072" y="632048"/>
                  </a:lnTo>
                  <a:lnTo>
                    <a:pt x="36429" y="632048"/>
                  </a:lnTo>
                  <a:lnTo>
                    <a:pt x="36429" y="628405"/>
                  </a:lnTo>
                  <a:lnTo>
                    <a:pt x="40072" y="622941"/>
                  </a:lnTo>
                  <a:close/>
                  <a:moveTo>
                    <a:pt x="96539" y="588333"/>
                  </a:moveTo>
                  <a:lnTo>
                    <a:pt x="109289" y="602905"/>
                  </a:lnTo>
                  <a:lnTo>
                    <a:pt x="109289" y="604726"/>
                  </a:lnTo>
                  <a:lnTo>
                    <a:pt x="107468" y="604726"/>
                  </a:lnTo>
                  <a:lnTo>
                    <a:pt x="85610" y="608369"/>
                  </a:lnTo>
                  <a:lnTo>
                    <a:pt x="78324" y="617476"/>
                  </a:lnTo>
                  <a:lnTo>
                    <a:pt x="74681" y="617476"/>
                  </a:lnTo>
                  <a:lnTo>
                    <a:pt x="63752" y="610190"/>
                  </a:lnTo>
                  <a:lnTo>
                    <a:pt x="63752" y="608369"/>
                  </a:lnTo>
                  <a:lnTo>
                    <a:pt x="74681" y="593797"/>
                  </a:lnTo>
                  <a:close/>
                  <a:moveTo>
                    <a:pt x="163932" y="575583"/>
                  </a:moveTo>
                  <a:lnTo>
                    <a:pt x="165753" y="575583"/>
                  </a:lnTo>
                  <a:lnTo>
                    <a:pt x="169396" y="577405"/>
                  </a:lnTo>
                  <a:lnTo>
                    <a:pt x="171218" y="586512"/>
                  </a:lnTo>
                  <a:lnTo>
                    <a:pt x="163932" y="586512"/>
                  </a:lnTo>
                  <a:close/>
                  <a:moveTo>
                    <a:pt x="870662" y="553725"/>
                  </a:moveTo>
                  <a:lnTo>
                    <a:pt x="879769" y="586511"/>
                  </a:lnTo>
                  <a:lnTo>
                    <a:pt x="876126" y="586511"/>
                  </a:lnTo>
                  <a:lnTo>
                    <a:pt x="865197" y="582868"/>
                  </a:lnTo>
                  <a:lnTo>
                    <a:pt x="865197" y="575582"/>
                  </a:lnTo>
                  <a:lnTo>
                    <a:pt x="863376" y="581047"/>
                  </a:lnTo>
                  <a:lnTo>
                    <a:pt x="859733" y="581047"/>
                  </a:lnTo>
                  <a:lnTo>
                    <a:pt x="854268" y="575582"/>
                  </a:lnTo>
                  <a:lnTo>
                    <a:pt x="857911" y="559189"/>
                  </a:lnTo>
                  <a:lnTo>
                    <a:pt x="857911" y="555546"/>
                  </a:lnTo>
                  <a:lnTo>
                    <a:pt x="859733" y="555546"/>
                  </a:lnTo>
                  <a:close/>
                  <a:moveTo>
                    <a:pt x="218576" y="537332"/>
                  </a:moveTo>
                  <a:lnTo>
                    <a:pt x="220397" y="537332"/>
                  </a:lnTo>
                  <a:lnTo>
                    <a:pt x="225862" y="542797"/>
                  </a:lnTo>
                  <a:lnTo>
                    <a:pt x="224040" y="553726"/>
                  </a:lnTo>
                  <a:lnTo>
                    <a:pt x="220397" y="553726"/>
                  </a:lnTo>
                  <a:lnTo>
                    <a:pt x="218576" y="539154"/>
                  </a:lnTo>
                  <a:close/>
                  <a:moveTo>
                    <a:pt x="812374" y="535510"/>
                  </a:moveTo>
                  <a:lnTo>
                    <a:pt x="817838" y="535510"/>
                  </a:lnTo>
                  <a:lnTo>
                    <a:pt x="823303" y="537331"/>
                  </a:lnTo>
                  <a:lnTo>
                    <a:pt x="825124" y="537331"/>
                  </a:lnTo>
                  <a:lnTo>
                    <a:pt x="825124" y="548260"/>
                  </a:lnTo>
                  <a:lnTo>
                    <a:pt x="834231" y="548260"/>
                  </a:lnTo>
                  <a:lnTo>
                    <a:pt x="846982" y="571939"/>
                  </a:lnTo>
                  <a:lnTo>
                    <a:pt x="846982" y="575582"/>
                  </a:lnTo>
                  <a:lnTo>
                    <a:pt x="841517" y="571939"/>
                  </a:lnTo>
                  <a:lnTo>
                    <a:pt x="843339" y="577404"/>
                  </a:lnTo>
                  <a:lnTo>
                    <a:pt x="852446" y="582868"/>
                  </a:lnTo>
                  <a:lnTo>
                    <a:pt x="852446" y="586511"/>
                  </a:lnTo>
                  <a:lnTo>
                    <a:pt x="848803" y="591976"/>
                  </a:lnTo>
                  <a:lnTo>
                    <a:pt x="852446" y="591976"/>
                  </a:lnTo>
                  <a:lnTo>
                    <a:pt x="852446" y="604726"/>
                  </a:lnTo>
                  <a:lnTo>
                    <a:pt x="843339" y="604726"/>
                  </a:lnTo>
                  <a:lnTo>
                    <a:pt x="836053" y="586511"/>
                  </a:lnTo>
                  <a:lnTo>
                    <a:pt x="823304" y="581047"/>
                  </a:lnTo>
                  <a:lnTo>
                    <a:pt x="834232" y="602904"/>
                  </a:lnTo>
                  <a:lnTo>
                    <a:pt x="834232" y="604726"/>
                  </a:lnTo>
                  <a:lnTo>
                    <a:pt x="830589" y="604726"/>
                  </a:lnTo>
                  <a:lnTo>
                    <a:pt x="823303" y="593797"/>
                  </a:lnTo>
                  <a:lnTo>
                    <a:pt x="823303" y="581047"/>
                  </a:lnTo>
                  <a:lnTo>
                    <a:pt x="823303" y="577404"/>
                  </a:lnTo>
                  <a:lnTo>
                    <a:pt x="828767" y="575582"/>
                  </a:lnTo>
                  <a:lnTo>
                    <a:pt x="828767" y="570118"/>
                  </a:lnTo>
                  <a:lnTo>
                    <a:pt x="817838" y="566475"/>
                  </a:lnTo>
                  <a:lnTo>
                    <a:pt x="819660" y="548260"/>
                  </a:lnTo>
                  <a:lnTo>
                    <a:pt x="812374" y="555546"/>
                  </a:lnTo>
                  <a:lnTo>
                    <a:pt x="808731" y="555546"/>
                  </a:lnTo>
                  <a:lnTo>
                    <a:pt x="808731" y="553725"/>
                  </a:lnTo>
                  <a:lnTo>
                    <a:pt x="814195" y="542796"/>
                  </a:lnTo>
                  <a:lnTo>
                    <a:pt x="812374" y="537331"/>
                  </a:lnTo>
                  <a:close/>
                  <a:moveTo>
                    <a:pt x="841517" y="531867"/>
                  </a:moveTo>
                  <a:lnTo>
                    <a:pt x="843339" y="531867"/>
                  </a:lnTo>
                  <a:lnTo>
                    <a:pt x="848803" y="537332"/>
                  </a:lnTo>
                  <a:lnTo>
                    <a:pt x="848803" y="544618"/>
                  </a:lnTo>
                  <a:lnTo>
                    <a:pt x="846982" y="542796"/>
                  </a:lnTo>
                  <a:close/>
                  <a:moveTo>
                    <a:pt x="825125" y="531867"/>
                  </a:moveTo>
                  <a:lnTo>
                    <a:pt x="836054" y="531867"/>
                  </a:lnTo>
                  <a:lnTo>
                    <a:pt x="834233" y="539153"/>
                  </a:lnTo>
                  <a:lnTo>
                    <a:pt x="830590" y="539153"/>
                  </a:lnTo>
                  <a:lnTo>
                    <a:pt x="825125" y="535510"/>
                  </a:lnTo>
                  <a:close/>
                  <a:moveTo>
                    <a:pt x="309649" y="526403"/>
                  </a:moveTo>
                  <a:lnTo>
                    <a:pt x="315114" y="530046"/>
                  </a:lnTo>
                  <a:lnTo>
                    <a:pt x="315114" y="531868"/>
                  </a:lnTo>
                  <a:lnTo>
                    <a:pt x="311471" y="535511"/>
                  </a:lnTo>
                  <a:lnTo>
                    <a:pt x="309649" y="535511"/>
                  </a:lnTo>
                  <a:close/>
                  <a:moveTo>
                    <a:pt x="806910" y="502724"/>
                  </a:moveTo>
                  <a:lnTo>
                    <a:pt x="808731" y="502724"/>
                  </a:lnTo>
                  <a:lnTo>
                    <a:pt x="812374" y="504545"/>
                  </a:lnTo>
                  <a:lnTo>
                    <a:pt x="819660" y="504545"/>
                  </a:lnTo>
                  <a:lnTo>
                    <a:pt x="823303" y="508188"/>
                  </a:lnTo>
                  <a:lnTo>
                    <a:pt x="825125" y="508188"/>
                  </a:lnTo>
                  <a:lnTo>
                    <a:pt x="828768" y="520938"/>
                  </a:lnTo>
                  <a:lnTo>
                    <a:pt x="828768" y="524580"/>
                  </a:lnTo>
                  <a:lnTo>
                    <a:pt x="830590" y="519116"/>
                  </a:lnTo>
                  <a:lnTo>
                    <a:pt x="830590" y="515473"/>
                  </a:lnTo>
                  <a:lnTo>
                    <a:pt x="834233" y="515473"/>
                  </a:lnTo>
                  <a:lnTo>
                    <a:pt x="834233" y="519116"/>
                  </a:lnTo>
                  <a:lnTo>
                    <a:pt x="836054" y="526402"/>
                  </a:lnTo>
                  <a:lnTo>
                    <a:pt x="828768" y="526402"/>
                  </a:lnTo>
                  <a:lnTo>
                    <a:pt x="828768" y="524581"/>
                  </a:lnTo>
                  <a:lnTo>
                    <a:pt x="823303" y="519117"/>
                  </a:lnTo>
                  <a:lnTo>
                    <a:pt x="825125" y="530045"/>
                  </a:lnTo>
                  <a:lnTo>
                    <a:pt x="825125" y="531867"/>
                  </a:lnTo>
                  <a:lnTo>
                    <a:pt x="812374" y="531867"/>
                  </a:lnTo>
                  <a:lnTo>
                    <a:pt x="808732" y="519726"/>
                  </a:lnTo>
                  <a:lnTo>
                    <a:pt x="808732" y="526402"/>
                  </a:lnTo>
                  <a:lnTo>
                    <a:pt x="806910" y="526402"/>
                  </a:lnTo>
                  <a:lnTo>
                    <a:pt x="806910" y="548260"/>
                  </a:lnTo>
                  <a:lnTo>
                    <a:pt x="803267" y="548260"/>
                  </a:lnTo>
                  <a:lnTo>
                    <a:pt x="803267" y="544617"/>
                  </a:lnTo>
                  <a:lnTo>
                    <a:pt x="797803" y="539153"/>
                  </a:lnTo>
                  <a:lnTo>
                    <a:pt x="797803" y="530045"/>
                  </a:lnTo>
                  <a:lnTo>
                    <a:pt x="801446" y="530045"/>
                  </a:lnTo>
                  <a:lnTo>
                    <a:pt x="792338" y="513652"/>
                  </a:lnTo>
                  <a:lnTo>
                    <a:pt x="806910" y="515473"/>
                  </a:lnTo>
                  <a:lnTo>
                    <a:pt x="807456" y="515473"/>
                  </a:lnTo>
                  <a:lnTo>
                    <a:pt x="806910" y="513652"/>
                  </a:lnTo>
                  <a:lnTo>
                    <a:pt x="803267" y="504545"/>
                  </a:lnTo>
                  <a:lnTo>
                    <a:pt x="806910" y="504545"/>
                  </a:lnTo>
                  <a:close/>
                  <a:moveTo>
                    <a:pt x="344258" y="464473"/>
                  </a:moveTo>
                  <a:lnTo>
                    <a:pt x="347901" y="464473"/>
                  </a:lnTo>
                  <a:lnTo>
                    <a:pt x="355187" y="471759"/>
                  </a:lnTo>
                  <a:lnTo>
                    <a:pt x="360651" y="466295"/>
                  </a:lnTo>
                  <a:lnTo>
                    <a:pt x="364294" y="466295"/>
                  </a:lnTo>
                  <a:lnTo>
                    <a:pt x="364294" y="480866"/>
                  </a:lnTo>
                  <a:lnTo>
                    <a:pt x="371580" y="480866"/>
                  </a:lnTo>
                  <a:lnTo>
                    <a:pt x="371580" y="482688"/>
                  </a:lnTo>
                  <a:lnTo>
                    <a:pt x="369759" y="488152"/>
                  </a:lnTo>
                  <a:lnTo>
                    <a:pt x="366116" y="488152"/>
                  </a:lnTo>
                  <a:lnTo>
                    <a:pt x="355187" y="486331"/>
                  </a:lnTo>
                  <a:lnTo>
                    <a:pt x="360651" y="493617"/>
                  </a:lnTo>
                  <a:lnTo>
                    <a:pt x="360651" y="497260"/>
                  </a:lnTo>
                  <a:lnTo>
                    <a:pt x="355187" y="497260"/>
                  </a:lnTo>
                  <a:lnTo>
                    <a:pt x="353365" y="493617"/>
                  </a:lnTo>
                  <a:lnTo>
                    <a:pt x="347901" y="493617"/>
                  </a:lnTo>
                  <a:lnTo>
                    <a:pt x="331507" y="519117"/>
                  </a:lnTo>
                  <a:lnTo>
                    <a:pt x="327864" y="519117"/>
                  </a:lnTo>
                  <a:lnTo>
                    <a:pt x="327864" y="510010"/>
                  </a:lnTo>
                  <a:lnTo>
                    <a:pt x="326043" y="504545"/>
                  </a:lnTo>
                  <a:lnTo>
                    <a:pt x="326043" y="502724"/>
                  </a:lnTo>
                  <a:lnTo>
                    <a:pt x="322400" y="513653"/>
                  </a:lnTo>
                  <a:lnTo>
                    <a:pt x="322400" y="515474"/>
                  </a:lnTo>
                  <a:lnTo>
                    <a:pt x="320578" y="515474"/>
                  </a:lnTo>
                  <a:lnTo>
                    <a:pt x="320578" y="513653"/>
                  </a:lnTo>
                  <a:lnTo>
                    <a:pt x="307828" y="493617"/>
                  </a:lnTo>
                  <a:lnTo>
                    <a:pt x="307828" y="491795"/>
                  </a:lnTo>
                  <a:lnTo>
                    <a:pt x="322400" y="477223"/>
                  </a:lnTo>
                  <a:lnTo>
                    <a:pt x="326043" y="477223"/>
                  </a:lnTo>
                  <a:lnTo>
                    <a:pt x="331507" y="486331"/>
                  </a:lnTo>
                  <a:lnTo>
                    <a:pt x="333329" y="480866"/>
                  </a:lnTo>
                  <a:lnTo>
                    <a:pt x="327864" y="469938"/>
                  </a:lnTo>
                  <a:lnTo>
                    <a:pt x="331507" y="469938"/>
                  </a:lnTo>
                  <a:lnTo>
                    <a:pt x="338793" y="475402"/>
                  </a:lnTo>
                  <a:lnTo>
                    <a:pt x="347901" y="469938"/>
                  </a:lnTo>
                  <a:lnTo>
                    <a:pt x="344258" y="466295"/>
                  </a:lnTo>
                  <a:close/>
                  <a:moveTo>
                    <a:pt x="792338" y="457186"/>
                  </a:moveTo>
                  <a:lnTo>
                    <a:pt x="795981" y="457186"/>
                  </a:lnTo>
                  <a:lnTo>
                    <a:pt x="797802" y="460829"/>
                  </a:lnTo>
                  <a:lnTo>
                    <a:pt x="806910" y="491794"/>
                  </a:lnTo>
                  <a:lnTo>
                    <a:pt x="806910" y="493615"/>
                  </a:lnTo>
                  <a:lnTo>
                    <a:pt x="801445" y="491794"/>
                  </a:lnTo>
                  <a:lnTo>
                    <a:pt x="801445" y="499080"/>
                  </a:lnTo>
                  <a:lnTo>
                    <a:pt x="792338" y="508187"/>
                  </a:lnTo>
                  <a:lnTo>
                    <a:pt x="790516" y="508187"/>
                  </a:lnTo>
                  <a:lnTo>
                    <a:pt x="790516" y="491794"/>
                  </a:lnTo>
                  <a:lnTo>
                    <a:pt x="792338" y="488151"/>
                  </a:lnTo>
                  <a:lnTo>
                    <a:pt x="790516" y="486329"/>
                  </a:lnTo>
                  <a:lnTo>
                    <a:pt x="790516" y="482686"/>
                  </a:lnTo>
                  <a:lnTo>
                    <a:pt x="786873" y="482686"/>
                  </a:lnTo>
                  <a:lnTo>
                    <a:pt x="785052" y="460829"/>
                  </a:lnTo>
                  <a:lnTo>
                    <a:pt x="785052" y="459007"/>
                  </a:lnTo>
                  <a:close/>
                  <a:moveTo>
                    <a:pt x="757730" y="448080"/>
                  </a:moveTo>
                  <a:lnTo>
                    <a:pt x="775945" y="459009"/>
                  </a:lnTo>
                  <a:lnTo>
                    <a:pt x="781409" y="464473"/>
                  </a:lnTo>
                  <a:lnTo>
                    <a:pt x="781409" y="466294"/>
                  </a:lnTo>
                  <a:lnTo>
                    <a:pt x="775945" y="466294"/>
                  </a:lnTo>
                  <a:lnTo>
                    <a:pt x="779587" y="471759"/>
                  </a:lnTo>
                  <a:lnTo>
                    <a:pt x="775945" y="471759"/>
                  </a:lnTo>
                  <a:lnTo>
                    <a:pt x="781409" y="475402"/>
                  </a:lnTo>
                  <a:lnTo>
                    <a:pt x="781409" y="488152"/>
                  </a:lnTo>
                  <a:lnTo>
                    <a:pt x="779587" y="488152"/>
                  </a:lnTo>
                  <a:lnTo>
                    <a:pt x="763194" y="475402"/>
                  </a:lnTo>
                  <a:lnTo>
                    <a:pt x="764713" y="484510"/>
                  </a:lnTo>
                  <a:lnTo>
                    <a:pt x="765016" y="482687"/>
                  </a:lnTo>
                  <a:lnTo>
                    <a:pt x="768660" y="482687"/>
                  </a:lnTo>
                  <a:lnTo>
                    <a:pt x="781410" y="493616"/>
                  </a:lnTo>
                  <a:lnTo>
                    <a:pt x="790518" y="524581"/>
                  </a:lnTo>
                  <a:lnTo>
                    <a:pt x="786875" y="542796"/>
                  </a:lnTo>
                  <a:lnTo>
                    <a:pt x="785053" y="542796"/>
                  </a:lnTo>
                  <a:lnTo>
                    <a:pt x="779589" y="526403"/>
                  </a:lnTo>
                  <a:lnTo>
                    <a:pt x="779589" y="520938"/>
                  </a:lnTo>
                  <a:lnTo>
                    <a:pt x="770481" y="513652"/>
                  </a:lnTo>
                  <a:lnTo>
                    <a:pt x="768660" y="513652"/>
                  </a:lnTo>
                  <a:lnTo>
                    <a:pt x="774124" y="504545"/>
                  </a:lnTo>
                  <a:lnTo>
                    <a:pt x="763195" y="493616"/>
                  </a:lnTo>
                  <a:lnTo>
                    <a:pt x="763802" y="489971"/>
                  </a:lnTo>
                  <a:lnTo>
                    <a:pt x="763194" y="491795"/>
                  </a:lnTo>
                  <a:lnTo>
                    <a:pt x="761373" y="491795"/>
                  </a:lnTo>
                  <a:lnTo>
                    <a:pt x="746801" y="471759"/>
                  </a:lnTo>
                  <a:lnTo>
                    <a:pt x="750444" y="466294"/>
                  </a:lnTo>
                  <a:lnTo>
                    <a:pt x="744980" y="459009"/>
                  </a:lnTo>
                  <a:lnTo>
                    <a:pt x="744980" y="457187"/>
                  </a:lnTo>
                  <a:lnTo>
                    <a:pt x="746801" y="457187"/>
                  </a:lnTo>
                  <a:close/>
                  <a:moveTo>
                    <a:pt x="355186" y="442616"/>
                  </a:moveTo>
                  <a:lnTo>
                    <a:pt x="369758" y="442616"/>
                  </a:lnTo>
                  <a:lnTo>
                    <a:pt x="369758" y="446259"/>
                  </a:lnTo>
                  <a:lnTo>
                    <a:pt x="371580" y="446259"/>
                  </a:lnTo>
                  <a:lnTo>
                    <a:pt x="375223" y="453545"/>
                  </a:lnTo>
                  <a:lnTo>
                    <a:pt x="375223" y="457188"/>
                  </a:lnTo>
                  <a:lnTo>
                    <a:pt x="353365" y="460831"/>
                  </a:lnTo>
                  <a:lnTo>
                    <a:pt x="347900" y="457188"/>
                  </a:lnTo>
                  <a:lnTo>
                    <a:pt x="347900" y="453545"/>
                  </a:lnTo>
                  <a:lnTo>
                    <a:pt x="355186" y="451723"/>
                  </a:lnTo>
                  <a:lnTo>
                    <a:pt x="353365" y="448080"/>
                  </a:lnTo>
                  <a:close/>
                  <a:moveTo>
                    <a:pt x="488154" y="351542"/>
                  </a:moveTo>
                  <a:lnTo>
                    <a:pt x="489975" y="351542"/>
                  </a:lnTo>
                  <a:lnTo>
                    <a:pt x="495440" y="357006"/>
                  </a:lnTo>
                  <a:lnTo>
                    <a:pt x="495440" y="358828"/>
                  </a:lnTo>
                  <a:lnTo>
                    <a:pt x="482689" y="378863"/>
                  </a:lnTo>
                  <a:lnTo>
                    <a:pt x="471760" y="380685"/>
                  </a:lnTo>
                  <a:lnTo>
                    <a:pt x="468117" y="380685"/>
                  </a:lnTo>
                  <a:lnTo>
                    <a:pt x="473582" y="373399"/>
                  </a:lnTo>
                  <a:close/>
                  <a:moveTo>
                    <a:pt x="36430" y="351542"/>
                  </a:moveTo>
                  <a:lnTo>
                    <a:pt x="51001" y="357006"/>
                  </a:lnTo>
                  <a:lnTo>
                    <a:pt x="52823" y="357006"/>
                  </a:lnTo>
                  <a:lnTo>
                    <a:pt x="52823" y="369756"/>
                  </a:lnTo>
                  <a:lnTo>
                    <a:pt x="40073" y="384328"/>
                  </a:lnTo>
                  <a:lnTo>
                    <a:pt x="14572" y="373399"/>
                  </a:lnTo>
                  <a:lnTo>
                    <a:pt x="3643" y="362471"/>
                  </a:lnTo>
                  <a:lnTo>
                    <a:pt x="3643" y="358828"/>
                  </a:lnTo>
                  <a:close/>
                  <a:moveTo>
                    <a:pt x="500904" y="346077"/>
                  </a:moveTo>
                  <a:lnTo>
                    <a:pt x="504547" y="346077"/>
                  </a:lnTo>
                  <a:lnTo>
                    <a:pt x="515476" y="351541"/>
                  </a:lnTo>
                  <a:lnTo>
                    <a:pt x="515476" y="353363"/>
                  </a:lnTo>
                  <a:lnTo>
                    <a:pt x="499082" y="353363"/>
                  </a:lnTo>
                  <a:lnTo>
                    <a:pt x="499082" y="351541"/>
                  </a:lnTo>
                  <a:lnTo>
                    <a:pt x="500904" y="347898"/>
                  </a:lnTo>
                  <a:close/>
                  <a:moveTo>
                    <a:pt x="67395" y="329685"/>
                  </a:moveTo>
                  <a:lnTo>
                    <a:pt x="85609" y="342436"/>
                  </a:lnTo>
                  <a:lnTo>
                    <a:pt x="74680" y="353365"/>
                  </a:lnTo>
                  <a:lnTo>
                    <a:pt x="72859" y="353365"/>
                  </a:lnTo>
                  <a:lnTo>
                    <a:pt x="58287" y="340614"/>
                  </a:lnTo>
                  <a:lnTo>
                    <a:pt x="56466" y="340614"/>
                  </a:lnTo>
                  <a:close/>
                  <a:moveTo>
                    <a:pt x="74681" y="216754"/>
                  </a:moveTo>
                  <a:lnTo>
                    <a:pt x="78324" y="216754"/>
                  </a:lnTo>
                  <a:lnTo>
                    <a:pt x="81967" y="218575"/>
                  </a:lnTo>
                  <a:lnTo>
                    <a:pt x="81967" y="231326"/>
                  </a:lnTo>
                  <a:lnTo>
                    <a:pt x="80145" y="231326"/>
                  </a:lnTo>
                  <a:lnTo>
                    <a:pt x="69216" y="236791"/>
                  </a:lnTo>
                  <a:lnTo>
                    <a:pt x="67395" y="236791"/>
                  </a:lnTo>
                  <a:lnTo>
                    <a:pt x="67395" y="227683"/>
                  </a:lnTo>
                  <a:close/>
                  <a:moveTo>
                    <a:pt x="125682" y="0"/>
                  </a:moveTo>
                  <a:lnTo>
                    <a:pt x="129325" y="0"/>
                  </a:lnTo>
                  <a:lnTo>
                    <a:pt x="140254" y="10930"/>
                  </a:lnTo>
                  <a:lnTo>
                    <a:pt x="140254" y="12751"/>
                  </a:lnTo>
                  <a:lnTo>
                    <a:pt x="129325" y="12751"/>
                  </a:lnTo>
                  <a:lnTo>
                    <a:pt x="125682" y="182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8" name="USA - Mainland">
              <a:extLst>
                <a:ext uri="{FF2B5EF4-FFF2-40B4-BE49-F238E27FC236}">
                  <a16:creationId xmlns:a16="http://schemas.microsoft.com/office/drawing/2014/main" id="{865F62A2-B420-3FDB-525D-44338F80015C}"/>
                </a:ext>
              </a:extLst>
            </p:cNvPr>
            <p:cNvSpPr>
              <a:spLocks noEditPoints="1"/>
            </p:cNvSpPr>
            <p:nvPr/>
          </p:nvSpPr>
          <p:spPr bwMode="auto">
            <a:xfrm>
              <a:off x="2885754" y="3250181"/>
              <a:ext cx="1360718" cy="728247"/>
            </a:xfrm>
            <a:custGeom>
              <a:avLst/>
              <a:gdLst>
                <a:gd name="T0" fmla="*/ 162 w 753"/>
                <a:gd name="T1" fmla="*/ 160 h 403"/>
                <a:gd name="T2" fmla="*/ 151 w 753"/>
                <a:gd name="T3" fmla="*/ 144 h 403"/>
                <a:gd name="T4" fmla="*/ 393 w 753"/>
                <a:gd name="T5" fmla="*/ 13 h 403"/>
                <a:gd name="T6" fmla="*/ 436 w 753"/>
                <a:gd name="T7" fmla="*/ 43 h 403"/>
                <a:gd name="T8" fmla="*/ 481 w 753"/>
                <a:gd name="T9" fmla="*/ 37 h 403"/>
                <a:gd name="T10" fmla="*/ 488 w 753"/>
                <a:gd name="T11" fmla="*/ 56 h 403"/>
                <a:gd name="T12" fmla="*/ 526 w 753"/>
                <a:gd name="T13" fmla="*/ 56 h 403"/>
                <a:gd name="T14" fmla="*/ 519 w 753"/>
                <a:gd name="T15" fmla="*/ 69 h 403"/>
                <a:gd name="T16" fmla="*/ 481 w 753"/>
                <a:gd name="T17" fmla="*/ 90 h 403"/>
                <a:gd name="T18" fmla="*/ 485 w 753"/>
                <a:gd name="T19" fmla="*/ 93 h 403"/>
                <a:gd name="T20" fmla="*/ 500 w 753"/>
                <a:gd name="T21" fmla="*/ 127 h 403"/>
                <a:gd name="T22" fmla="*/ 509 w 753"/>
                <a:gd name="T23" fmla="*/ 86 h 403"/>
                <a:gd name="T24" fmla="*/ 525 w 753"/>
                <a:gd name="T25" fmla="*/ 71 h 403"/>
                <a:gd name="T26" fmla="*/ 534 w 753"/>
                <a:gd name="T27" fmla="*/ 108 h 403"/>
                <a:gd name="T28" fmla="*/ 549 w 753"/>
                <a:gd name="T29" fmla="*/ 127 h 403"/>
                <a:gd name="T30" fmla="*/ 543 w 753"/>
                <a:gd name="T31" fmla="*/ 145 h 403"/>
                <a:gd name="T32" fmla="*/ 623 w 753"/>
                <a:gd name="T33" fmla="*/ 114 h 403"/>
                <a:gd name="T34" fmla="*/ 638 w 753"/>
                <a:gd name="T35" fmla="*/ 92 h 403"/>
                <a:gd name="T36" fmla="*/ 721 w 753"/>
                <a:gd name="T37" fmla="*/ 38 h 403"/>
                <a:gd name="T38" fmla="*/ 743 w 753"/>
                <a:gd name="T39" fmla="*/ 71 h 403"/>
                <a:gd name="T40" fmla="*/ 752 w 753"/>
                <a:gd name="T41" fmla="*/ 86 h 403"/>
                <a:gd name="T42" fmla="*/ 727 w 753"/>
                <a:gd name="T43" fmla="*/ 104 h 403"/>
                <a:gd name="T44" fmla="*/ 713 w 753"/>
                <a:gd name="T45" fmla="*/ 139 h 403"/>
                <a:gd name="T46" fmla="*/ 706 w 753"/>
                <a:gd name="T47" fmla="*/ 145 h 403"/>
                <a:gd name="T48" fmla="*/ 660 w 753"/>
                <a:gd name="T49" fmla="*/ 161 h 403"/>
                <a:gd name="T50" fmla="*/ 650 w 753"/>
                <a:gd name="T51" fmla="*/ 187 h 403"/>
                <a:gd name="T52" fmla="*/ 639 w 753"/>
                <a:gd name="T53" fmla="*/ 207 h 403"/>
                <a:gd name="T54" fmla="*/ 635 w 753"/>
                <a:gd name="T55" fmla="*/ 182 h 403"/>
                <a:gd name="T56" fmla="*/ 632 w 753"/>
                <a:gd name="T57" fmla="*/ 209 h 403"/>
                <a:gd name="T58" fmla="*/ 632 w 753"/>
                <a:gd name="T59" fmla="*/ 224 h 403"/>
                <a:gd name="T60" fmla="*/ 630 w 753"/>
                <a:gd name="T61" fmla="*/ 238 h 403"/>
                <a:gd name="T62" fmla="*/ 636 w 753"/>
                <a:gd name="T63" fmla="*/ 240 h 403"/>
                <a:gd name="T64" fmla="*/ 629 w 753"/>
                <a:gd name="T65" fmla="*/ 247 h 403"/>
                <a:gd name="T66" fmla="*/ 630 w 753"/>
                <a:gd name="T67" fmla="*/ 259 h 403"/>
                <a:gd name="T68" fmla="*/ 574 w 753"/>
                <a:gd name="T69" fmla="*/ 293 h 403"/>
                <a:gd name="T70" fmla="*/ 581 w 753"/>
                <a:gd name="T71" fmla="*/ 390 h 403"/>
                <a:gd name="T72" fmla="*/ 555 w 753"/>
                <a:gd name="T73" fmla="*/ 378 h 403"/>
                <a:gd name="T74" fmla="*/ 529 w 753"/>
                <a:gd name="T75" fmla="*/ 330 h 403"/>
                <a:gd name="T76" fmla="*/ 489 w 753"/>
                <a:gd name="T77" fmla="*/ 324 h 403"/>
                <a:gd name="T78" fmla="*/ 448 w 753"/>
                <a:gd name="T79" fmla="*/ 327 h 403"/>
                <a:gd name="T80" fmla="*/ 457 w 753"/>
                <a:gd name="T81" fmla="*/ 338 h 403"/>
                <a:gd name="T82" fmla="*/ 441 w 753"/>
                <a:gd name="T83" fmla="*/ 345 h 403"/>
                <a:gd name="T84" fmla="*/ 389 w 753"/>
                <a:gd name="T85" fmla="*/ 339 h 403"/>
                <a:gd name="T86" fmla="*/ 368 w 753"/>
                <a:gd name="T87" fmla="*/ 353 h 403"/>
                <a:gd name="T88" fmla="*/ 356 w 753"/>
                <a:gd name="T89" fmla="*/ 373 h 403"/>
                <a:gd name="T90" fmla="*/ 325 w 753"/>
                <a:gd name="T91" fmla="*/ 367 h 403"/>
                <a:gd name="T92" fmla="*/ 277 w 753"/>
                <a:gd name="T93" fmla="*/ 348 h 403"/>
                <a:gd name="T94" fmla="*/ 214 w 753"/>
                <a:gd name="T95" fmla="*/ 313 h 403"/>
                <a:gd name="T96" fmla="*/ 101 w 753"/>
                <a:gd name="T97" fmla="*/ 295 h 403"/>
                <a:gd name="T98" fmla="*/ 80 w 753"/>
                <a:gd name="T99" fmla="*/ 271 h 403"/>
                <a:gd name="T100" fmla="*/ 28 w 753"/>
                <a:gd name="T101" fmla="*/ 212 h 403"/>
                <a:gd name="T102" fmla="*/ 28 w 753"/>
                <a:gd name="T103" fmla="*/ 207 h 403"/>
                <a:gd name="T104" fmla="*/ 5 w 753"/>
                <a:gd name="T105" fmla="*/ 167 h 403"/>
                <a:gd name="T106" fmla="*/ 9 w 753"/>
                <a:gd name="T107" fmla="*/ 64 h 403"/>
                <a:gd name="T108" fmla="*/ 9 w 753"/>
                <a:gd name="T109" fmla="*/ 53 h 403"/>
                <a:gd name="T110" fmla="*/ 6 w 753"/>
                <a:gd name="T111" fmla="*/ 46 h 403"/>
                <a:gd name="T112" fmla="*/ 23 w 753"/>
                <a:gd name="T113" fmla="*/ 35 h 403"/>
                <a:gd name="T114" fmla="*/ 30 w 753"/>
                <a:gd name="T115" fmla="*/ 1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3" h="403">
                  <a:moveTo>
                    <a:pt x="160" y="147"/>
                  </a:moveTo>
                  <a:lnTo>
                    <a:pt x="160" y="151"/>
                  </a:lnTo>
                  <a:lnTo>
                    <a:pt x="159" y="151"/>
                  </a:lnTo>
                  <a:lnTo>
                    <a:pt x="156" y="149"/>
                  </a:lnTo>
                  <a:lnTo>
                    <a:pt x="160" y="157"/>
                  </a:lnTo>
                  <a:lnTo>
                    <a:pt x="162" y="160"/>
                  </a:lnTo>
                  <a:lnTo>
                    <a:pt x="165" y="158"/>
                  </a:lnTo>
                  <a:lnTo>
                    <a:pt x="166" y="157"/>
                  </a:lnTo>
                  <a:lnTo>
                    <a:pt x="162" y="152"/>
                  </a:lnTo>
                  <a:lnTo>
                    <a:pt x="163" y="148"/>
                  </a:lnTo>
                  <a:lnTo>
                    <a:pt x="160" y="147"/>
                  </a:lnTo>
                  <a:close/>
                  <a:moveTo>
                    <a:pt x="151" y="144"/>
                  </a:moveTo>
                  <a:lnTo>
                    <a:pt x="154" y="148"/>
                  </a:lnTo>
                  <a:lnTo>
                    <a:pt x="156" y="145"/>
                  </a:lnTo>
                  <a:lnTo>
                    <a:pt x="151" y="144"/>
                  </a:lnTo>
                  <a:close/>
                  <a:moveTo>
                    <a:pt x="384" y="0"/>
                  </a:moveTo>
                  <a:lnTo>
                    <a:pt x="386" y="0"/>
                  </a:lnTo>
                  <a:lnTo>
                    <a:pt x="393" y="13"/>
                  </a:lnTo>
                  <a:lnTo>
                    <a:pt x="415" y="15"/>
                  </a:lnTo>
                  <a:lnTo>
                    <a:pt x="435" y="25"/>
                  </a:lnTo>
                  <a:lnTo>
                    <a:pt x="441" y="23"/>
                  </a:lnTo>
                  <a:lnTo>
                    <a:pt x="455" y="28"/>
                  </a:lnTo>
                  <a:lnTo>
                    <a:pt x="455" y="29"/>
                  </a:lnTo>
                  <a:lnTo>
                    <a:pt x="436" y="43"/>
                  </a:lnTo>
                  <a:lnTo>
                    <a:pt x="427" y="53"/>
                  </a:lnTo>
                  <a:lnTo>
                    <a:pt x="439" y="49"/>
                  </a:lnTo>
                  <a:lnTo>
                    <a:pt x="441" y="49"/>
                  </a:lnTo>
                  <a:lnTo>
                    <a:pt x="441" y="55"/>
                  </a:lnTo>
                  <a:lnTo>
                    <a:pt x="449" y="55"/>
                  </a:lnTo>
                  <a:lnTo>
                    <a:pt x="481" y="37"/>
                  </a:lnTo>
                  <a:lnTo>
                    <a:pt x="481" y="38"/>
                  </a:lnTo>
                  <a:lnTo>
                    <a:pt x="473" y="49"/>
                  </a:lnTo>
                  <a:lnTo>
                    <a:pt x="473" y="52"/>
                  </a:lnTo>
                  <a:lnTo>
                    <a:pt x="478" y="49"/>
                  </a:lnTo>
                  <a:lnTo>
                    <a:pt x="479" y="49"/>
                  </a:lnTo>
                  <a:lnTo>
                    <a:pt x="488" y="56"/>
                  </a:lnTo>
                  <a:lnTo>
                    <a:pt x="495" y="58"/>
                  </a:lnTo>
                  <a:lnTo>
                    <a:pt x="501" y="52"/>
                  </a:lnTo>
                  <a:lnTo>
                    <a:pt x="516" y="52"/>
                  </a:lnTo>
                  <a:lnTo>
                    <a:pt x="518" y="55"/>
                  </a:lnTo>
                  <a:lnTo>
                    <a:pt x="524" y="56"/>
                  </a:lnTo>
                  <a:lnTo>
                    <a:pt x="526" y="56"/>
                  </a:lnTo>
                  <a:lnTo>
                    <a:pt x="526" y="58"/>
                  </a:lnTo>
                  <a:lnTo>
                    <a:pt x="531" y="65"/>
                  </a:lnTo>
                  <a:lnTo>
                    <a:pt x="531" y="66"/>
                  </a:lnTo>
                  <a:lnTo>
                    <a:pt x="522" y="66"/>
                  </a:lnTo>
                  <a:lnTo>
                    <a:pt x="521" y="69"/>
                  </a:lnTo>
                  <a:lnTo>
                    <a:pt x="519" y="69"/>
                  </a:lnTo>
                  <a:lnTo>
                    <a:pt x="513" y="65"/>
                  </a:lnTo>
                  <a:lnTo>
                    <a:pt x="495" y="74"/>
                  </a:lnTo>
                  <a:lnTo>
                    <a:pt x="495" y="69"/>
                  </a:lnTo>
                  <a:lnTo>
                    <a:pt x="489" y="74"/>
                  </a:lnTo>
                  <a:lnTo>
                    <a:pt x="481" y="89"/>
                  </a:lnTo>
                  <a:lnTo>
                    <a:pt x="481" y="90"/>
                  </a:lnTo>
                  <a:lnTo>
                    <a:pt x="485" y="87"/>
                  </a:lnTo>
                  <a:lnTo>
                    <a:pt x="488" y="78"/>
                  </a:lnTo>
                  <a:lnTo>
                    <a:pt x="489" y="78"/>
                  </a:lnTo>
                  <a:lnTo>
                    <a:pt x="491" y="81"/>
                  </a:lnTo>
                  <a:lnTo>
                    <a:pt x="491" y="83"/>
                  </a:lnTo>
                  <a:lnTo>
                    <a:pt x="485" y="93"/>
                  </a:lnTo>
                  <a:lnTo>
                    <a:pt x="481" y="117"/>
                  </a:lnTo>
                  <a:lnTo>
                    <a:pt x="481" y="133"/>
                  </a:lnTo>
                  <a:lnTo>
                    <a:pt x="485" y="141"/>
                  </a:lnTo>
                  <a:lnTo>
                    <a:pt x="489" y="144"/>
                  </a:lnTo>
                  <a:lnTo>
                    <a:pt x="494" y="139"/>
                  </a:lnTo>
                  <a:lnTo>
                    <a:pt x="500" y="127"/>
                  </a:lnTo>
                  <a:lnTo>
                    <a:pt x="500" y="118"/>
                  </a:lnTo>
                  <a:lnTo>
                    <a:pt x="497" y="109"/>
                  </a:lnTo>
                  <a:lnTo>
                    <a:pt x="500" y="90"/>
                  </a:lnTo>
                  <a:lnTo>
                    <a:pt x="507" y="81"/>
                  </a:lnTo>
                  <a:lnTo>
                    <a:pt x="509" y="81"/>
                  </a:lnTo>
                  <a:lnTo>
                    <a:pt x="509" y="86"/>
                  </a:lnTo>
                  <a:lnTo>
                    <a:pt x="510" y="86"/>
                  </a:lnTo>
                  <a:lnTo>
                    <a:pt x="510" y="78"/>
                  </a:lnTo>
                  <a:lnTo>
                    <a:pt x="512" y="78"/>
                  </a:lnTo>
                  <a:lnTo>
                    <a:pt x="516" y="77"/>
                  </a:lnTo>
                  <a:lnTo>
                    <a:pt x="516" y="71"/>
                  </a:lnTo>
                  <a:lnTo>
                    <a:pt x="525" y="71"/>
                  </a:lnTo>
                  <a:lnTo>
                    <a:pt x="537" y="78"/>
                  </a:lnTo>
                  <a:lnTo>
                    <a:pt x="538" y="78"/>
                  </a:lnTo>
                  <a:lnTo>
                    <a:pt x="538" y="80"/>
                  </a:lnTo>
                  <a:lnTo>
                    <a:pt x="540" y="95"/>
                  </a:lnTo>
                  <a:lnTo>
                    <a:pt x="532" y="106"/>
                  </a:lnTo>
                  <a:lnTo>
                    <a:pt x="534" y="108"/>
                  </a:lnTo>
                  <a:lnTo>
                    <a:pt x="538" y="104"/>
                  </a:lnTo>
                  <a:lnTo>
                    <a:pt x="544" y="101"/>
                  </a:lnTo>
                  <a:lnTo>
                    <a:pt x="546" y="101"/>
                  </a:lnTo>
                  <a:lnTo>
                    <a:pt x="546" y="102"/>
                  </a:lnTo>
                  <a:lnTo>
                    <a:pt x="552" y="120"/>
                  </a:lnTo>
                  <a:lnTo>
                    <a:pt x="549" y="127"/>
                  </a:lnTo>
                  <a:lnTo>
                    <a:pt x="549" y="129"/>
                  </a:lnTo>
                  <a:lnTo>
                    <a:pt x="547" y="129"/>
                  </a:lnTo>
                  <a:lnTo>
                    <a:pt x="546" y="132"/>
                  </a:lnTo>
                  <a:lnTo>
                    <a:pt x="543" y="139"/>
                  </a:lnTo>
                  <a:lnTo>
                    <a:pt x="538" y="144"/>
                  </a:lnTo>
                  <a:lnTo>
                    <a:pt x="543" y="145"/>
                  </a:lnTo>
                  <a:lnTo>
                    <a:pt x="559" y="145"/>
                  </a:lnTo>
                  <a:lnTo>
                    <a:pt x="583" y="135"/>
                  </a:lnTo>
                  <a:lnTo>
                    <a:pt x="596" y="124"/>
                  </a:lnTo>
                  <a:lnTo>
                    <a:pt x="595" y="117"/>
                  </a:lnTo>
                  <a:lnTo>
                    <a:pt x="607" y="112"/>
                  </a:lnTo>
                  <a:lnTo>
                    <a:pt x="623" y="114"/>
                  </a:lnTo>
                  <a:lnTo>
                    <a:pt x="632" y="111"/>
                  </a:lnTo>
                  <a:lnTo>
                    <a:pt x="632" y="105"/>
                  </a:lnTo>
                  <a:lnTo>
                    <a:pt x="633" y="102"/>
                  </a:lnTo>
                  <a:lnTo>
                    <a:pt x="630" y="102"/>
                  </a:lnTo>
                  <a:lnTo>
                    <a:pt x="630" y="101"/>
                  </a:lnTo>
                  <a:lnTo>
                    <a:pt x="638" y="92"/>
                  </a:lnTo>
                  <a:lnTo>
                    <a:pt x="648" y="84"/>
                  </a:lnTo>
                  <a:lnTo>
                    <a:pt x="692" y="84"/>
                  </a:lnTo>
                  <a:lnTo>
                    <a:pt x="695" y="80"/>
                  </a:lnTo>
                  <a:lnTo>
                    <a:pt x="704" y="78"/>
                  </a:lnTo>
                  <a:lnTo>
                    <a:pt x="713" y="50"/>
                  </a:lnTo>
                  <a:lnTo>
                    <a:pt x="721" y="38"/>
                  </a:lnTo>
                  <a:lnTo>
                    <a:pt x="722" y="38"/>
                  </a:lnTo>
                  <a:lnTo>
                    <a:pt x="728" y="43"/>
                  </a:lnTo>
                  <a:lnTo>
                    <a:pt x="735" y="40"/>
                  </a:lnTo>
                  <a:lnTo>
                    <a:pt x="737" y="40"/>
                  </a:lnTo>
                  <a:lnTo>
                    <a:pt x="743" y="46"/>
                  </a:lnTo>
                  <a:lnTo>
                    <a:pt x="743" y="71"/>
                  </a:lnTo>
                  <a:lnTo>
                    <a:pt x="746" y="72"/>
                  </a:lnTo>
                  <a:lnTo>
                    <a:pt x="746" y="74"/>
                  </a:lnTo>
                  <a:lnTo>
                    <a:pt x="747" y="80"/>
                  </a:lnTo>
                  <a:lnTo>
                    <a:pt x="753" y="80"/>
                  </a:lnTo>
                  <a:lnTo>
                    <a:pt x="753" y="81"/>
                  </a:lnTo>
                  <a:lnTo>
                    <a:pt x="752" y="86"/>
                  </a:lnTo>
                  <a:lnTo>
                    <a:pt x="753" y="89"/>
                  </a:lnTo>
                  <a:lnTo>
                    <a:pt x="752" y="90"/>
                  </a:lnTo>
                  <a:lnTo>
                    <a:pt x="735" y="99"/>
                  </a:lnTo>
                  <a:lnTo>
                    <a:pt x="730" y="95"/>
                  </a:lnTo>
                  <a:lnTo>
                    <a:pt x="727" y="102"/>
                  </a:lnTo>
                  <a:lnTo>
                    <a:pt x="727" y="104"/>
                  </a:lnTo>
                  <a:lnTo>
                    <a:pt x="725" y="104"/>
                  </a:lnTo>
                  <a:lnTo>
                    <a:pt x="712" y="109"/>
                  </a:lnTo>
                  <a:lnTo>
                    <a:pt x="703" y="133"/>
                  </a:lnTo>
                  <a:lnTo>
                    <a:pt x="710" y="142"/>
                  </a:lnTo>
                  <a:lnTo>
                    <a:pt x="713" y="142"/>
                  </a:lnTo>
                  <a:lnTo>
                    <a:pt x="713" y="139"/>
                  </a:lnTo>
                  <a:lnTo>
                    <a:pt x="715" y="138"/>
                  </a:lnTo>
                  <a:lnTo>
                    <a:pt x="715" y="139"/>
                  </a:lnTo>
                  <a:lnTo>
                    <a:pt x="716" y="144"/>
                  </a:lnTo>
                  <a:lnTo>
                    <a:pt x="712" y="144"/>
                  </a:lnTo>
                  <a:lnTo>
                    <a:pt x="709" y="145"/>
                  </a:lnTo>
                  <a:lnTo>
                    <a:pt x="706" y="145"/>
                  </a:lnTo>
                  <a:lnTo>
                    <a:pt x="703" y="147"/>
                  </a:lnTo>
                  <a:lnTo>
                    <a:pt x="700" y="147"/>
                  </a:lnTo>
                  <a:lnTo>
                    <a:pt x="698" y="145"/>
                  </a:lnTo>
                  <a:lnTo>
                    <a:pt x="694" y="149"/>
                  </a:lnTo>
                  <a:lnTo>
                    <a:pt x="675" y="152"/>
                  </a:lnTo>
                  <a:lnTo>
                    <a:pt x="660" y="161"/>
                  </a:lnTo>
                  <a:lnTo>
                    <a:pt x="660" y="164"/>
                  </a:lnTo>
                  <a:lnTo>
                    <a:pt x="663" y="170"/>
                  </a:lnTo>
                  <a:lnTo>
                    <a:pt x="660" y="179"/>
                  </a:lnTo>
                  <a:lnTo>
                    <a:pt x="651" y="191"/>
                  </a:lnTo>
                  <a:lnTo>
                    <a:pt x="650" y="191"/>
                  </a:lnTo>
                  <a:lnTo>
                    <a:pt x="650" y="187"/>
                  </a:lnTo>
                  <a:lnTo>
                    <a:pt x="644" y="182"/>
                  </a:lnTo>
                  <a:lnTo>
                    <a:pt x="650" y="197"/>
                  </a:lnTo>
                  <a:lnTo>
                    <a:pt x="638" y="221"/>
                  </a:lnTo>
                  <a:lnTo>
                    <a:pt x="636" y="221"/>
                  </a:lnTo>
                  <a:lnTo>
                    <a:pt x="635" y="215"/>
                  </a:lnTo>
                  <a:lnTo>
                    <a:pt x="639" y="207"/>
                  </a:lnTo>
                  <a:lnTo>
                    <a:pt x="632" y="200"/>
                  </a:lnTo>
                  <a:lnTo>
                    <a:pt x="632" y="198"/>
                  </a:lnTo>
                  <a:lnTo>
                    <a:pt x="633" y="192"/>
                  </a:lnTo>
                  <a:lnTo>
                    <a:pt x="632" y="192"/>
                  </a:lnTo>
                  <a:lnTo>
                    <a:pt x="632" y="191"/>
                  </a:lnTo>
                  <a:lnTo>
                    <a:pt x="635" y="182"/>
                  </a:lnTo>
                  <a:lnTo>
                    <a:pt x="629" y="187"/>
                  </a:lnTo>
                  <a:lnTo>
                    <a:pt x="629" y="198"/>
                  </a:lnTo>
                  <a:lnTo>
                    <a:pt x="632" y="204"/>
                  </a:lnTo>
                  <a:lnTo>
                    <a:pt x="630" y="204"/>
                  </a:lnTo>
                  <a:lnTo>
                    <a:pt x="620" y="198"/>
                  </a:lnTo>
                  <a:lnTo>
                    <a:pt x="632" y="209"/>
                  </a:lnTo>
                  <a:lnTo>
                    <a:pt x="633" y="209"/>
                  </a:lnTo>
                  <a:lnTo>
                    <a:pt x="633" y="210"/>
                  </a:lnTo>
                  <a:lnTo>
                    <a:pt x="630" y="212"/>
                  </a:lnTo>
                  <a:lnTo>
                    <a:pt x="633" y="221"/>
                  </a:lnTo>
                  <a:lnTo>
                    <a:pt x="633" y="222"/>
                  </a:lnTo>
                  <a:lnTo>
                    <a:pt x="632" y="224"/>
                  </a:lnTo>
                  <a:lnTo>
                    <a:pt x="636" y="224"/>
                  </a:lnTo>
                  <a:lnTo>
                    <a:pt x="639" y="237"/>
                  </a:lnTo>
                  <a:lnTo>
                    <a:pt x="639" y="238"/>
                  </a:lnTo>
                  <a:lnTo>
                    <a:pt x="638" y="238"/>
                  </a:lnTo>
                  <a:lnTo>
                    <a:pt x="633" y="237"/>
                  </a:lnTo>
                  <a:lnTo>
                    <a:pt x="630" y="238"/>
                  </a:lnTo>
                  <a:lnTo>
                    <a:pt x="629" y="238"/>
                  </a:lnTo>
                  <a:lnTo>
                    <a:pt x="627" y="237"/>
                  </a:lnTo>
                  <a:lnTo>
                    <a:pt x="627" y="240"/>
                  </a:lnTo>
                  <a:lnTo>
                    <a:pt x="635" y="240"/>
                  </a:lnTo>
                  <a:lnTo>
                    <a:pt x="636" y="241"/>
                  </a:lnTo>
                  <a:lnTo>
                    <a:pt x="636" y="240"/>
                  </a:lnTo>
                  <a:lnTo>
                    <a:pt x="638" y="240"/>
                  </a:lnTo>
                  <a:lnTo>
                    <a:pt x="639" y="244"/>
                  </a:lnTo>
                  <a:lnTo>
                    <a:pt x="641" y="244"/>
                  </a:lnTo>
                  <a:lnTo>
                    <a:pt x="635" y="250"/>
                  </a:lnTo>
                  <a:lnTo>
                    <a:pt x="633" y="250"/>
                  </a:lnTo>
                  <a:lnTo>
                    <a:pt x="629" y="247"/>
                  </a:lnTo>
                  <a:lnTo>
                    <a:pt x="627" y="249"/>
                  </a:lnTo>
                  <a:lnTo>
                    <a:pt x="630" y="250"/>
                  </a:lnTo>
                  <a:lnTo>
                    <a:pt x="630" y="252"/>
                  </a:lnTo>
                  <a:lnTo>
                    <a:pt x="629" y="253"/>
                  </a:lnTo>
                  <a:lnTo>
                    <a:pt x="630" y="253"/>
                  </a:lnTo>
                  <a:lnTo>
                    <a:pt x="630" y="259"/>
                  </a:lnTo>
                  <a:lnTo>
                    <a:pt x="617" y="264"/>
                  </a:lnTo>
                  <a:lnTo>
                    <a:pt x="612" y="270"/>
                  </a:lnTo>
                  <a:lnTo>
                    <a:pt x="598" y="277"/>
                  </a:lnTo>
                  <a:lnTo>
                    <a:pt x="593" y="284"/>
                  </a:lnTo>
                  <a:lnTo>
                    <a:pt x="581" y="293"/>
                  </a:lnTo>
                  <a:lnTo>
                    <a:pt x="574" y="293"/>
                  </a:lnTo>
                  <a:lnTo>
                    <a:pt x="575" y="296"/>
                  </a:lnTo>
                  <a:lnTo>
                    <a:pt x="575" y="298"/>
                  </a:lnTo>
                  <a:lnTo>
                    <a:pt x="571" y="301"/>
                  </a:lnTo>
                  <a:lnTo>
                    <a:pt x="562" y="323"/>
                  </a:lnTo>
                  <a:lnTo>
                    <a:pt x="581" y="376"/>
                  </a:lnTo>
                  <a:lnTo>
                    <a:pt x="581" y="390"/>
                  </a:lnTo>
                  <a:lnTo>
                    <a:pt x="578" y="400"/>
                  </a:lnTo>
                  <a:lnTo>
                    <a:pt x="568" y="403"/>
                  </a:lnTo>
                  <a:lnTo>
                    <a:pt x="566" y="403"/>
                  </a:lnTo>
                  <a:lnTo>
                    <a:pt x="564" y="394"/>
                  </a:lnTo>
                  <a:lnTo>
                    <a:pt x="559" y="391"/>
                  </a:lnTo>
                  <a:lnTo>
                    <a:pt x="555" y="378"/>
                  </a:lnTo>
                  <a:lnTo>
                    <a:pt x="553" y="378"/>
                  </a:lnTo>
                  <a:lnTo>
                    <a:pt x="547" y="370"/>
                  </a:lnTo>
                  <a:lnTo>
                    <a:pt x="549" y="364"/>
                  </a:lnTo>
                  <a:lnTo>
                    <a:pt x="546" y="364"/>
                  </a:lnTo>
                  <a:lnTo>
                    <a:pt x="546" y="344"/>
                  </a:lnTo>
                  <a:lnTo>
                    <a:pt x="529" y="330"/>
                  </a:lnTo>
                  <a:lnTo>
                    <a:pt x="513" y="336"/>
                  </a:lnTo>
                  <a:lnTo>
                    <a:pt x="500" y="324"/>
                  </a:lnTo>
                  <a:lnTo>
                    <a:pt x="497" y="324"/>
                  </a:lnTo>
                  <a:lnTo>
                    <a:pt x="494" y="326"/>
                  </a:lnTo>
                  <a:lnTo>
                    <a:pt x="489" y="326"/>
                  </a:lnTo>
                  <a:lnTo>
                    <a:pt x="489" y="324"/>
                  </a:lnTo>
                  <a:lnTo>
                    <a:pt x="479" y="329"/>
                  </a:lnTo>
                  <a:lnTo>
                    <a:pt x="478" y="329"/>
                  </a:lnTo>
                  <a:lnTo>
                    <a:pt x="478" y="321"/>
                  </a:lnTo>
                  <a:lnTo>
                    <a:pt x="475" y="326"/>
                  </a:lnTo>
                  <a:lnTo>
                    <a:pt x="475" y="327"/>
                  </a:lnTo>
                  <a:lnTo>
                    <a:pt x="448" y="327"/>
                  </a:lnTo>
                  <a:lnTo>
                    <a:pt x="448" y="330"/>
                  </a:lnTo>
                  <a:lnTo>
                    <a:pt x="451" y="330"/>
                  </a:lnTo>
                  <a:lnTo>
                    <a:pt x="454" y="329"/>
                  </a:lnTo>
                  <a:lnTo>
                    <a:pt x="461" y="329"/>
                  </a:lnTo>
                  <a:lnTo>
                    <a:pt x="461" y="330"/>
                  </a:lnTo>
                  <a:lnTo>
                    <a:pt x="457" y="338"/>
                  </a:lnTo>
                  <a:lnTo>
                    <a:pt x="463" y="344"/>
                  </a:lnTo>
                  <a:lnTo>
                    <a:pt x="463" y="345"/>
                  </a:lnTo>
                  <a:lnTo>
                    <a:pt x="460" y="347"/>
                  </a:lnTo>
                  <a:lnTo>
                    <a:pt x="452" y="341"/>
                  </a:lnTo>
                  <a:lnTo>
                    <a:pt x="449" y="345"/>
                  </a:lnTo>
                  <a:lnTo>
                    <a:pt x="441" y="345"/>
                  </a:lnTo>
                  <a:lnTo>
                    <a:pt x="427" y="336"/>
                  </a:lnTo>
                  <a:lnTo>
                    <a:pt x="423" y="339"/>
                  </a:lnTo>
                  <a:lnTo>
                    <a:pt x="400" y="336"/>
                  </a:lnTo>
                  <a:lnTo>
                    <a:pt x="390" y="341"/>
                  </a:lnTo>
                  <a:lnTo>
                    <a:pt x="389" y="341"/>
                  </a:lnTo>
                  <a:lnTo>
                    <a:pt x="389" y="339"/>
                  </a:lnTo>
                  <a:lnTo>
                    <a:pt x="390" y="338"/>
                  </a:lnTo>
                  <a:lnTo>
                    <a:pt x="389" y="336"/>
                  </a:lnTo>
                  <a:lnTo>
                    <a:pt x="386" y="348"/>
                  </a:lnTo>
                  <a:lnTo>
                    <a:pt x="386" y="350"/>
                  </a:lnTo>
                  <a:lnTo>
                    <a:pt x="378" y="353"/>
                  </a:lnTo>
                  <a:lnTo>
                    <a:pt x="368" y="353"/>
                  </a:lnTo>
                  <a:lnTo>
                    <a:pt x="369" y="356"/>
                  </a:lnTo>
                  <a:lnTo>
                    <a:pt x="369" y="357"/>
                  </a:lnTo>
                  <a:lnTo>
                    <a:pt x="357" y="364"/>
                  </a:lnTo>
                  <a:lnTo>
                    <a:pt x="359" y="372"/>
                  </a:lnTo>
                  <a:lnTo>
                    <a:pt x="359" y="373"/>
                  </a:lnTo>
                  <a:lnTo>
                    <a:pt x="356" y="373"/>
                  </a:lnTo>
                  <a:lnTo>
                    <a:pt x="357" y="375"/>
                  </a:lnTo>
                  <a:lnTo>
                    <a:pt x="356" y="381"/>
                  </a:lnTo>
                  <a:lnTo>
                    <a:pt x="360" y="393"/>
                  </a:lnTo>
                  <a:lnTo>
                    <a:pt x="360" y="394"/>
                  </a:lnTo>
                  <a:lnTo>
                    <a:pt x="334" y="385"/>
                  </a:lnTo>
                  <a:lnTo>
                    <a:pt x="325" y="367"/>
                  </a:lnTo>
                  <a:lnTo>
                    <a:pt x="316" y="357"/>
                  </a:lnTo>
                  <a:lnTo>
                    <a:pt x="312" y="345"/>
                  </a:lnTo>
                  <a:lnTo>
                    <a:pt x="301" y="335"/>
                  </a:lnTo>
                  <a:lnTo>
                    <a:pt x="286" y="336"/>
                  </a:lnTo>
                  <a:lnTo>
                    <a:pt x="279" y="348"/>
                  </a:lnTo>
                  <a:lnTo>
                    <a:pt x="277" y="348"/>
                  </a:lnTo>
                  <a:lnTo>
                    <a:pt x="264" y="339"/>
                  </a:lnTo>
                  <a:lnTo>
                    <a:pt x="258" y="332"/>
                  </a:lnTo>
                  <a:lnTo>
                    <a:pt x="255" y="323"/>
                  </a:lnTo>
                  <a:lnTo>
                    <a:pt x="237" y="305"/>
                  </a:lnTo>
                  <a:lnTo>
                    <a:pt x="214" y="305"/>
                  </a:lnTo>
                  <a:lnTo>
                    <a:pt x="214" y="313"/>
                  </a:lnTo>
                  <a:lnTo>
                    <a:pt x="178" y="314"/>
                  </a:lnTo>
                  <a:lnTo>
                    <a:pt x="128" y="292"/>
                  </a:lnTo>
                  <a:lnTo>
                    <a:pt x="125" y="292"/>
                  </a:lnTo>
                  <a:lnTo>
                    <a:pt x="117" y="293"/>
                  </a:lnTo>
                  <a:lnTo>
                    <a:pt x="108" y="293"/>
                  </a:lnTo>
                  <a:lnTo>
                    <a:pt x="101" y="295"/>
                  </a:lnTo>
                  <a:lnTo>
                    <a:pt x="98" y="295"/>
                  </a:lnTo>
                  <a:lnTo>
                    <a:pt x="98" y="293"/>
                  </a:lnTo>
                  <a:lnTo>
                    <a:pt x="95" y="284"/>
                  </a:lnTo>
                  <a:lnTo>
                    <a:pt x="88" y="277"/>
                  </a:lnTo>
                  <a:lnTo>
                    <a:pt x="83" y="276"/>
                  </a:lnTo>
                  <a:lnTo>
                    <a:pt x="80" y="271"/>
                  </a:lnTo>
                  <a:lnTo>
                    <a:pt x="54" y="262"/>
                  </a:lnTo>
                  <a:lnTo>
                    <a:pt x="54" y="253"/>
                  </a:lnTo>
                  <a:lnTo>
                    <a:pt x="37" y="234"/>
                  </a:lnTo>
                  <a:lnTo>
                    <a:pt x="37" y="225"/>
                  </a:lnTo>
                  <a:lnTo>
                    <a:pt x="31" y="221"/>
                  </a:lnTo>
                  <a:lnTo>
                    <a:pt x="28" y="212"/>
                  </a:lnTo>
                  <a:lnTo>
                    <a:pt x="30" y="210"/>
                  </a:lnTo>
                  <a:lnTo>
                    <a:pt x="31" y="210"/>
                  </a:lnTo>
                  <a:lnTo>
                    <a:pt x="30" y="207"/>
                  </a:lnTo>
                  <a:lnTo>
                    <a:pt x="33" y="204"/>
                  </a:lnTo>
                  <a:lnTo>
                    <a:pt x="30" y="204"/>
                  </a:lnTo>
                  <a:lnTo>
                    <a:pt x="28" y="207"/>
                  </a:lnTo>
                  <a:lnTo>
                    <a:pt x="28" y="209"/>
                  </a:lnTo>
                  <a:lnTo>
                    <a:pt x="27" y="209"/>
                  </a:lnTo>
                  <a:lnTo>
                    <a:pt x="23" y="206"/>
                  </a:lnTo>
                  <a:lnTo>
                    <a:pt x="14" y="192"/>
                  </a:lnTo>
                  <a:lnTo>
                    <a:pt x="12" y="178"/>
                  </a:lnTo>
                  <a:lnTo>
                    <a:pt x="5" y="167"/>
                  </a:lnTo>
                  <a:lnTo>
                    <a:pt x="8" y="148"/>
                  </a:lnTo>
                  <a:lnTo>
                    <a:pt x="6" y="141"/>
                  </a:lnTo>
                  <a:lnTo>
                    <a:pt x="3" y="123"/>
                  </a:lnTo>
                  <a:lnTo>
                    <a:pt x="6" y="112"/>
                  </a:lnTo>
                  <a:lnTo>
                    <a:pt x="9" y="65"/>
                  </a:lnTo>
                  <a:lnTo>
                    <a:pt x="9" y="64"/>
                  </a:lnTo>
                  <a:lnTo>
                    <a:pt x="11" y="64"/>
                  </a:lnTo>
                  <a:lnTo>
                    <a:pt x="17" y="62"/>
                  </a:lnTo>
                  <a:lnTo>
                    <a:pt x="9" y="59"/>
                  </a:lnTo>
                  <a:lnTo>
                    <a:pt x="8" y="59"/>
                  </a:lnTo>
                  <a:lnTo>
                    <a:pt x="8" y="53"/>
                  </a:lnTo>
                  <a:lnTo>
                    <a:pt x="9" y="53"/>
                  </a:lnTo>
                  <a:lnTo>
                    <a:pt x="11" y="55"/>
                  </a:lnTo>
                  <a:lnTo>
                    <a:pt x="11" y="53"/>
                  </a:lnTo>
                  <a:lnTo>
                    <a:pt x="8" y="52"/>
                  </a:lnTo>
                  <a:lnTo>
                    <a:pt x="8" y="47"/>
                  </a:lnTo>
                  <a:lnTo>
                    <a:pt x="6" y="47"/>
                  </a:lnTo>
                  <a:lnTo>
                    <a:pt x="6" y="46"/>
                  </a:lnTo>
                  <a:lnTo>
                    <a:pt x="0" y="23"/>
                  </a:lnTo>
                  <a:lnTo>
                    <a:pt x="0" y="19"/>
                  </a:lnTo>
                  <a:lnTo>
                    <a:pt x="2" y="19"/>
                  </a:lnTo>
                  <a:lnTo>
                    <a:pt x="25" y="23"/>
                  </a:lnTo>
                  <a:lnTo>
                    <a:pt x="25" y="29"/>
                  </a:lnTo>
                  <a:lnTo>
                    <a:pt x="23" y="35"/>
                  </a:lnTo>
                  <a:lnTo>
                    <a:pt x="24" y="38"/>
                  </a:lnTo>
                  <a:lnTo>
                    <a:pt x="30" y="28"/>
                  </a:lnTo>
                  <a:lnTo>
                    <a:pt x="30" y="21"/>
                  </a:lnTo>
                  <a:lnTo>
                    <a:pt x="27" y="19"/>
                  </a:lnTo>
                  <a:lnTo>
                    <a:pt x="27" y="18"/>
                  </a:lnTo>
                  <a:lnTo>
                    <a:pt x="30" y="13"/>
                  </a:lnTo>
                  <a:lnTo>
                    <a:pt x="24" y="9"/>
                  </a:lnTo>
                  <a:lnTo>
                    <a:pt x="24" y="7"/>
                  </a:lnTo>
                  <a:lnTo>
                    <a:pt x="384" y="9"/>
                  </a:lnTo>
                  <a:lnTo>
                    <a:pt x="38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9" name="USA - Offshore">
              <a:extLst>
                <a:ext uri="{FF2B5EF4-FFF2-40B4-BE49-F238E27FC236}">
                  <a16:creationId xmlns:a16="http://schemas.microsoft.com/office/drawing/2014/main" id="{6EBD93B0-9FEB-A20F-481B-C06A4E7ECE13}"/>
                </a:ext>
              </a:extLst>
            </p:cNvPr>
            <p:cNvSpPr>
              <a:spLocks/>
            </p:cNvSpPr>
            <p:nvPr/>
          </p:nvSpPr>
          <p:spPr bwMode="auto">
            <a:xfrm>
              <a:off x="3536295" y="3524854"/>
              <a:ext cx="590909" cy="388519"/>
            </a:xfrm>
            <a:custGeom>
              <a:avLst/>
              <a:gdLst/>
              <a:ahLst/>
              <a:cxnLst/>
              <a:rect l="l" t="t" r="r" b="b"/>
              <a:pathLst>
                <a:path w="595620" h="391616">
                  <a:moveTo>
                    <a:pt x="14572" y="373401"/>
                  </a:moveTo>
                  <a:lnTo>
                    <a:pt x="16394" y="373401"/>
                  </a:lnTo>
                  <a:lnTo>
                    <a:pt x="16394" y="377044"/>
                  </a:lnTo>
                  <a:lnTo>
                    <a:pt x="3643" y="391616"/>
                  </a:lnTo>
                  <a:lnTo>
                    <a:pt x="0" y="391616"/>
                  </a:lnTo>
                  <a:lnTo>
                    <a:pt x="0" y="389795"/>
                  </a:lnTo>
                  <a:lnTo>
                    <a:pt x="3643" y="384330"/>
                  </a:lnTo>
                  <a:lnTo>
                    <a:pt x="3643" y="382509"/>
                  </a:lnTo>
                  <a:close/>
                  <a:moveTo>
                    <a:pt x="591977" y="0"/>
                  </a:moveTo>
                  <a:lnTo>
                    <a:pt x="595620" y="0"/>
                  </a:lnTo>
                  <a:lnTo>
                    <a:pt x="586513" y="10929"/>
                  </a:lnTo>
                  <a:lnTo>
                    <a:pt x="551905" y="21858"/>
                  </a:lnTo>
                  <a:lnTo>
                    <a:pt x="551905" y="20037"/>
                  </a:lnTo>
                  <a:lnTo>
                    <a:pt x="557370"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0" name="Hawaii">
              <a:extLst>
                <a:ext uri="{FF2B5EF4-FFF2-40B4-BE49-F238E27FC236}">
                  <a16:creationId xmlns:a16="http://schemas.microsoft.com/office/drawing/2014/main" id="{58C7816D-F281-3CB7-6F06-AAD713DD26AF}"/>
                </a:ext>
              </a:extLst>
            </p:cNvPr>
            <p:cNvSpPr>
              <a:spLocks/>
            </p:cNvSpPr>
            <p:nvPr/>
          </p:nvSpPr>
          <p:spPr bwMode="auto">
            <a:xfrm>
              <a:off x="2056313" y="4056129"/>
              <a:ext cx="119266" cy="84933"/>
            </a:xfrm>
            <a:custGeom>
              <a:avLst/>
              <a:gdLst/>
              <a:ahLst/>
              <a:cxnLst/>
              <a:rect l="l" t="t" r="r" b="b"/>
              <a:pathLst>
                <a:path w="120217" h="85610">
                  <a:moveTo>
                    <a:pt x="91073" y="51001"/>
                  </a:moveTo>
                  <a:lnTo>
                    <a:pt x="94716" y="51001"/>
                  </a:lnTo>
                  <a:lnTo>
                    <a:pt x="111109" y="56466"/>
                  </a:lnTo>
                  <a:lnTo>
                    <a:pt x="120217" y="67395"/>
                  </a:lnTo>
                  <a:lnTo>
                    <a:pt x="118396" y="76502"/>
                  </a:lnTo>
                  <a:lnTo>
                    <a:pt x="118396" y="78324"/>
                  </a:lnTo>
                  <a:lnTo>
                    <a:pt x="107466" y="78324"/>
                  </a:lnTo>
                  <a:lnTo>
                    <a:pt x="100180" y="85610"/>
                  </a:lnTo>
                  <a:lnTo>
                    <a:pt x="96537" y="85610"/>
                  </a:lnTo>
                  <a:lnTo>
                    <a:pt x="96537" y="83789"/>
                  </a:lnTo>
                  <a:lnTo>
                    <a:pt x="94716" y="83789"/>
                  </a:lnTo>
                  <a:lnTo>
                    <a:pt x="89251" y="67395"/>
                  </a:lnTo>
                  <a:lnTo>
                    <a:pt x="91073" y="54644"/>
                  </a:lnTo>
                  <a:close/>
                  <a:moveTo>
                    <a:pt x="58287" y="23680"/>
                  </a:moveTo>
                  <a:lnTo>
                    <a:pt x="61930" y="23680"/>
                  </a:lnTo>
                  <a:lnTo>
                    <a:pt x="72859" y="29145"/>
                  </a:lnTo>
                  <a:lnTo>
                    <a:pt x="74681" y="29145"/>
                  </a:lnTo>
                  <a:lnTo>
                    <a:pt x="74681" y="32787"/>
                  </a:lnTo>
                  <a:lnTo>
                    <a:pt x="83788" y="32787"/>
                  </a:lnTo>
                  <a:lnTo>
                    <a:pt x="91074" y="38251"/>
                  </a:lnTo>
                  <a:lnTo>
                    <a:pt x="91074" y="40073"/>
                  </a:lnTo>
                  <a:lnTo>
                    <a:pt x="83788" y="43716"/>
                  </a:lnTo>
                  <a:lnTo>
                    <a:pt x="80145" y="43716"/>
                  </a:lnTo>
                  <a:lnTo>
                    <a:pt x="72860" y="32788"/>
                  </a:lnTo>
                  <a:lnTo>
                    <a:pt x="58287" y="32788"/>
                  </a:lnTo>
                  <a:close/>
                  <a:moveTo>
                    <a:pt x="40072" y="12751"/>
                  </a:moveTo>
                  <a:lnTo>
                    <a:pt x="41893" y="12751"/>
                  </a:lnTo>
                  <a:lnTo>
                    <a:pt x="51001" y="21858"/>
                  </a:lnTo>
                  <a:lnTo>
                    <a:pt x="51001" y="23680"/>
                  </a:lnTo>
                  <a:lnTo>
                    <a:pt x="41893" y="23680"/>
                  </a:lnTo>
                  <a:lnTo>
                    <a:pt x="40072" y="18215"/>
                  </a:lnTo>
                  <a:close/>
                  <a:moveTo>
                    <a:pt x="1822" y="0"/>
                  </a:moveTo>
                  <a:lnTo>
                    <a:pt x="5465" y="0"/>
                  </a:lnTo>
                  <a:lnTo>
                    <a:pt x="12751" y="1821"/>
                  </a:lnTo>
                  <a:lnTo>
                    <a:pt x="12751" y="5465"/>
                  </a:lnTo>
                  <a:lnTo>
                    <a:pt x="7286" y="10929"/>
                  </a:lnTo>
                  <a:lnTo>
                    <a:pt x="7286" y="12751"/>
                  </a:lnTo>
                  <a:lnTo>
                    <a:pt x="5465" y="12751"/>
                  </a:lnTo>
                  <a:lnTo>
                    <a:pt x="5465" y="10929"/>
                  </a:lnTo>
                  <a:lnTo>
                    <a:pt x="0" y="7286"/>
                  </a:lnTo>
                  <a:lnTo>
                    <a:pt x="0" y="5465"/>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1" name="Puerto Rico">
              <a:extLst>
                <a:ext uri="{FF2B5EF4-FFF2-40B4-BE49-F238E27FC236}">
                  <a16:creationId xmlns:a16="http://schemas.microsoft.com/office/drawing/2014/main" id="{B6FF4175-7557-AEA3-7EB1-F05232E5B93E}"/>
                </a:ext>
              </a:extLst>
            </p:cNvPr>
            <p:cNvSpPr>
              <a:spLocks/>
            </p:cNvSpPr>
            <p:nvPr/>
          </p:nvSpPr>
          <p:spPr bwMode="auto">
            <a:xfrm>
              <a:off x="4239243" y="4144677"/>
              <a:ext cx="37948" cy="16264"/>
            </a:xfrm>
            <a:custGeom>
              <a:avLst/>
              <a:gdLst>
                <a:gd name="T0" fmla="*/ 1 w 21"/>
                <a:gd name="T1" fmla="*/ 0 h 9"/>
                <a:gd name="T2" fmla="*/ 19 w 21"/>
                <a:gd name="T3" fmla="*/ 0 h 9"/>
                <a:gd name="T4" fmla="*/ 19 w 21"/>
                <a:gd name="T5" fmla="*/ 1 h 9"/>
                <a:gd name="T6" fmla="*/ 21 w 21"/>
                <a:gd name="T7" fmla="*/ 4 h 9"/>
                <a:gd name="T8" fmla="*/ 21 w 21"/>
                <a:gd name="T9" fmla="*/ 6 h 9"/>
                <a:gd name="T10" fmla="*/ 13 w 21"/>
                <a:gd name="T11" fmla="*/ 9 h 9"/>
                <a:gd name="T12" fmla="*/ 3 w 21"/>
                <a:gd name="T13" fmla="*/ 9 h 9"/>
                <a:gd name="T14" fmla="*/ 0 w 21"/>
                <a:gd name="T15" fmla="*/ 4 h 9"/>
                <a:gd name="T16" fmla="*/ 1 w 21"/>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1" y="0"/>
                  </a:moveTo>
                  <a:lnTo>
                    <a:pt x="19" y="0"/>
                  </a:lnTo>
                  <a:lnTo>
                    <a:pt x="19" y="1"/>
                  </a:lnTo>
                  <a:lnTo>
                    <a:pt x="21" y="4"/>
                  </a:lnTo>
                  <a:lnTo>
                    <a:pt x="21" y="6"/>
                  </a:lnTo>
                  <a:lnTo>
                    <a:pt x="13" y="9"/>
                  </a:lnTo>
                  <a:lnTo>
                    <a:pt x="3" y="9"/>
                  </a:lnTo>
                  <a:lnTo>
                    <a:pt x="0" y="4"/>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2" name="Panama">
              <a:extLst>
                <a:ext uri="{FF2B5EF4-FFF2-40B4-BE49-F238E27FC236}">
                  <a16:creationId xmlns:a16="http://schemas.microsoft.com/office/drawing/2014/main" id="{6EA25F1D-3AA2-EBDB-ECB0-9957C78A6951}"/>
                </a:ext>
              </a:extLst>
            </p:cNvPr>
            <p:cNvSpPr>
              <a:spLocks/>
            </p:cNvSpPr>
            <p:nvPr/>
          </p:nvSpPr>
          <p:spPr bwMode="auto">
            <a:xfrm>
              <a:off x="3866989" y="4361524"/>
              <a:ext cx="139145" cy="59634"/>
            </a:xfrm>
            <a:custGeom>
              <a:avLst/>
              <a:gdLst>
                <a:gd name="T0" fmla="*/ 6 w 77"/>
                <a:gd name="T1" fmla="*/ 0 h 33"/>
                <a:gd name="T2" fmla="*/ 10 w 77"/>
                <a:gd name="T3" fmla="*/ 2 h 33"/>
                <a:gd name="T4" fmla="*/ 12 w 77"/>
                <a:gd name="T5" fmla="*/ 7 h 33"/>
                <a:gd name="T6" fmla="*/ 23 w 77"/>
                <a:gd name="T7" fmla="*/ 10 h 33"/>
                <a:gd name="T8" fmla="*/ 37 w 77"/>
                <a:gd name="T9" fmla="*/ 4 h 33"/>
                <a:gd name="T10" fmla="*/ 38 w 77"/>
                <a:gd name="T11" fmla="*/ 4 h 33"/>
                <a:gd name="T12" fmla="*/ 40 w 77"/>
                <a:gd name="T13" fmla="*/ 6 h 33"/>
                <a:gd name="T14" fmla="*/ 43 w 77"/>
                <a:gd name="T15" fmla="*/ 0 h 33"/>
                <a:gd name="T16" fmla="*/ 50 w 77"/>
                <a:gd name="T17" fmla="*/ 0 h 33"/>
                <a:gd name="T18" fmla="*/ 64 w 77"/>
                <a:gd name="T19" fmla="*/ 3 h 33"/>
                <a:gd name="T20" fmla="*/ 74 w 77"/>
                <a:gd name="T21" fmla="*/ 13 h 33"/>
                <a:gd name="T22" fmla="*/ 74 w 77"/>
                <a:gd name="T23" fmla="*/ 16 h 33"/>
                <a:gd name="T24" fmla="*/ 77 w 77"/>
                <a:gd name="T25" fmla="*/ 21 h 33"/>
                <a:gd name="T26" fmla="*/ 77 w 77"/>
                <a:gd name="T27" fmla="*/ 22 h 33"/>
                <a:gd name="T28" fmla="*/ 72 w 77"/>
                <a:gd name="T29" fmla="*/ 27 h 33"/>
                <a:gd name="T30" fmla="*/ 69 w 77"/>
                <a:gd name="T31" fmla="*/ 27 h 33"/>
                <a:gd name="T32" fmla="*/ 68 w 77"/>
                <a:gd name="T33" fmla="*/ 31 h 33"/>
                <a:gd name="T34" fmla="*/ 66 w 77"/>
                <a:gd name="T35" fmla="*/ 31 h 33"/>
                <a:gd name="T36" fmla="*/ 61 w 77"/>
                <a:gd name="T37" fmla="*/ 22 h 33"/>
                <a:gd name="T38" fmla="*/ 64 w 77"/>
                <a:gd name="T39" fmla="*/ 16 h 33"/>
                <a:gd name="T40" fmla="*/ 61 w 77"/>
                <a:gd name="T41" fmla="*/ 16 h 33"/>
                <a:gd name="T42" fmla="*/ 50 w 77"/>
                <a:gd name="T43" fmla="*/ 9 h 33"/>
                <a:gd name="T44" fmla="*/ 34 w 77"/>
                <a:gd name="T45" fmla="*/ 19 h 33"/>
                <a:gd name="T46" fmla="*/ 34 w 77"/>
                <a:gd name="T47" fmla="*/ 22 h 33"/>
                <a:gd name="T48" fmla="*/ 38 w 77"/>
                <a:gd name="T49" fmla="*/ 28 h 33"/>
                <a:gd name="T50" fmla="*/ 38 w 77"/>
                <a:gd name="T51" fmla="*/ 30 h 33"/>
                <a:gd name="T52" fmla="*/ 32 w 77"/>
                <a:gd name="T53" fmla="*/ 33 h 33"/>
                <a:gd name="T54" fmla="*/ 28 w 77"/>
                <a:gd name="T55" fmla="*/ 33 h 33"/>
                <a:gd name="T56" fmla="*/ 26 w 77"/>
                <a:gd name="T57" fmla="*/ 27 h 33"/>
                <a:gd name="T58" fmla="*/ 22 w 77"/>
                <a:gd name="T59" fmla="*/ 27 h 33"/>
                <a:gd name="T60" fmla="*/ 16 w 77"/>
                <a:gd name="T61" fmla="*/ 19 h 33"/>
                <a:gd name="T62" fmla="*/ 4 w 77"/>
                <a:gd name="T63" fmla="*/ 18 h 33"/>
                <a:gd name="T64" fmla="*/ 3 w 77"/>
                <a:gd name="T65" fmla="*/ 21 h 33"/>
                <a:gd name="T66" fmla="*/ 1 w 77"/>
                <a:gd name="T67" fmla="*/ 21 h 33"/>
                <a:gd name="T68" fmla="*/ 0 w 77"/>
                <a:gd name="T69" fmla="*/ 16 h 33"/>
                <a:gd name="T70" fmla="*/ 3 w 77"/>
                <a:gd name="T71" fmla="*/ 7 h 33"/>
                <a:gd name="T72" fmla="*/ 1 w 77"/>
                <a:gd name="T73" fmla="*/ 6 h 33"/>
                <a:gd name="T74" fmla="*/ 1 w 77"/>
                <a:gd name="T75" fmla="*/ 2 h 33"/>
                <a:gd name="T76" fmla="*/ 6 w 77"/>
                <a:gd name="T7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 h="33">
                  <a:moveTo>
                    <a:pt x="6" y="0"/>
                  </a:moveTo>
                  <a:lnTo>
                    <a:pt x="10" y="2"/>
                  </a:lnTo>
                  <a:lnTo>
                    <a:pt x="12" y="7"/>
                  </a:lnTo>
                  <a:lnTo>
                    <a:pt x="23" y="10"/>
                  </a:lnTo>
                  <a:lnTo>
                    <a:pt x="37" y="4"/>
                  </a:lnTo>
                  <a:lnTo>
                    <a:pt x="38" y="4"/>
                  </a:lnTo>
                  <a:lnTo>
                    <a:pt x="40" y="6"/>
                  </a:lnTo>
                  <a:lnTo>
                    <a:pt x="43" y="0"/>
                  </a:lnTo>
                  <a:lnTo>
                    <a:pt x="50" y="0"/>
                  </a:lnTo>
                  <a:lnTo>
                    <a:pt x="64" y="3"/>
                  </a:lnTo>
                  <a:lnTo>
                    <a:pt x="74" y="13"/>
                  </a:lnTo>
                  <a:lnTo>
                    <a:pt x="74" y="16"/>
                  </a:lnTo>
                  <a:lnTo>
                    <a:pt x="77" y="21"/>
                  </a:lnTo>
                  <a:lnTo>
                    <a:pt x="77" y="22"/>
                  </a:lnTo>
                  <a:lnTo>
                    <a:pt x="72" y="27"/>
                  </a:lnTo>
                  <a:lnTo>
                    <a:pt x="69" y="27"/>
                  </a:lnTo>
                  <a:lnTo>
                    <a:pt x="68" y="31"/>
                  </a:lnTo>
                  <a:lnTo>
                    <a:pt x="66" y="31"/>
                  </a:lnTo>
                  <a:lnTo>
                    <a:pt x="61" y="22"/>
                  </a:lnTo>
                  <a:lnTo>
                    <a:pt x="64" y="16"/>
                  </a:lnTo>
                  <a:lnTo>
                    <a:pt x="61" y="16"/>
                  </a:lnTo>
                  <a:lnTo>
                    <a:pt x="50" y="9"/>
                  </a:lnTo>
                  <a:lnTo>
                    <a:pt x="34" y="19"/>
                  </a:lnTo>
                  <a:lnTo>
                    <a:pt x="34" y="22"/>
                  </a:lnTo>
                  <a:lnTo>
                    <a:pt x="38" y="28"/>
                  </a:lnTo>
                  <a:lnTo>
                    <a:pt x="38" y="30"/>
                  </a:lnTo>
                  <a:lnTo>
                    <a:pt x="32" y="33"/>
                  </a:lnTo>
                  <a:lnTo>
                    <a:pt x="28" y="33"/>
                  </a:lnTo>
                  <a:lnTo>
                    <a:pt x="26" y="27"/>
                  </a:lnTo>
                  <a:lnTo>
                    <a:pt x="22" y="27"/>
                  </a:lnTo>
                  <a:lnTo>
                    <a:pt x="16" y="19"/>
                  </a:lnTo>
                  <a:lnTo>
                    <a:pt x="4" y="18"/>
                  </a:lnTo>
                  <a:lnTo>
                    <a:pt x="3" y="21"/>
                  </a:lnTo>
                  <a:lnTo>
                    <a:pt x="1" y="21"/>
                  </a:lnTo>
                  <a:lnTo>
                    <a:pt x="0" y="16"/>
                  </a:lnTo>
                  <a:lnTo>
                    <a:pt x="3" y="7"/>
                  </a:lnTo>
                  <a:lnTo>
                    <a:pt x="1" y="6"/>
                  </a:lnTo>
                  <a:lnTo>
                    <a:pt x="1" y="2"/>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3" name="Nicaragua">
              <a:extLst>
                <a:ext uri="{FF2B5EF4-FFF2-40B4-BE49-F238E27FC236}">
                  <a16:creationId xmlns:a16="http://schemas.microsoft.com/office/drawing/2014/main" id="{C582AC56-42BA-1312-AA31-25B465EA18CE}"/>
                </a:ext>
              </a:extLst>
            </p:cNvPr>
            <p:cNvSpPr>
              <a:spLocks/>
            </p:cNvSpPr>
            <p:nvPr/>
          </p:nvSpPr>
          <p:spPr bwMode="auto">
            <a:xfrm>
              <a:off x="3758565" y="4233222"/>
              <a:ext cx="104809" cy="104809"/>
            </a:xfrm>
            <a:custGeom>
              <a:avLst/>
              <a:gdLst>
                <a:gd name="T0" fmla="*/ 57 w 58"/>
                <a:gd name="T1" fmla="*/ 0 h 58"/>
                <a:gd name="T2" fmla="*/ 58 w 58"/>
                <a:gd name="T3" fmla="*/ 0 h 58"/>
                <a:gd name="T4" fmla="*/ 51 w 58"/>
                <a:gd name="T5" fmla="*/ 47 h 58"/>
                <a:gd name="T6" fmla="*/ 52 w 58"/>
                <a:gd name="T7" fmla="*/ 53 h 58"/>
                <a:gd name="T8" fmla="*/ 52 w 58"/>
                <a:gd name="T9" fmla="*/ 55 h 58"/>
                <a:gd name="T10" fmla="*/ 46 w 58"/>
                <a:gd name="T11" fmla="*/ 58 h 58"/>
                <a:gd name="T12" fmla="*/ 45 w 58"/>
                <a:gd name="T13" fmla="*/ 58 h 58"/>
                <a:gd name="T14" fmla="*/ 41 w 58"/>
                <a:gd name="T15" fmla="*/ 53 h 58"/>
                <a:gd name="T16" fmla="*/ 24 w 58"/>
                <a:gd name="T17" fmla="*/ 52 h 58"/>
                <a:gd name="T18" fmla="*/ 0 w 58"/>
                <a:gd name="T19" fmla="*/ 28 h 58"/>
                <a:gd name="T20" fmla="*/ 0 w 58"/>
                <a:gd name="T21" fmla="*/ 27 h 58"/>
                <a:gd name="T22" fmla="*/ 3 w 58"/>
                <a:gd name="T23" fmla="*/ 27 h 58"/>
                <a:gd name="T24" fmla="*/ 8 w 58"/>
                <a:gd name="T25" fmla="*/ 25 h 58"/>
                <a:gd name="T26" fmla="*/ 11 w 58"/>
                <a:gd name="T27" fmla="*/ 22 h 58"/>
                <a:gd name="T28" fmla="*/ 11 w 58"/>
                <a:gd name="T29" fmla="*/ 16 h 58"/>
                <a:gd name="T30" fmla="*/ 17 w 58"/>
                <a:gd name="T31" fmla="*/ 16 h 58"/>
                <a:gd name="T32" fmla="*/ 18 w 58"/>
                <a:gd name="T33" fmla="*/ 12 h 58"/>
                <a:gd name="T34" fmla="*/ 20 w 58"/>
                <a:gd name="T35" fmla="*/ 12 h 58"/>
                <a:gd name="T36" fmla="*/ 24 w 58"/>
                <a:gd name="T37" fmla="*/ 13 h 58"/>
                <a:gd name="T38" fmla="*/ 32 w 58"/>
                <a:gd name="T39" fmla="*/ 9 h 58"/>
                <a:gd name="T40" fmla="*/ 36 w 58"/>
                <a:gd name="T41" fmla="*/ 1 h 58"/>
                <a:gd name="T42" fmla="*/ 38 w 58"/>
                <a:gd name="T43" fmla="*/ 1 h 58"/>
                <a:gd name="T44" fmla="*/ 43 w 58"/>
                <a:gd name="T45" fmla="*/ 4 h 58"/>
                <a:gd name="T46" fmla="*/ 57 w 58"/>
                <a:gd name="T4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58">
                  <a:moveTo>
                    <a:pt x="57" y="0"/>
                  </a:moveTo>
                  <a:lnTo>
                    <a:pt x="58" y="0"/>
                  </a:lnTo>
                  <a:lnTo>
                    <a:pt x="51" y="47"/>
                  </a:lnTo>
                  <a:lnTo>
                    <a:pt x="52" y="53"/>
                  </a:lnTo>
                  <a:lnTo>
                    <a:pt x="52" y="55"/>
                  </a:lnTo>
                  <a:lnTo>
                    <a:pt x="46" y="58"/>
                  </a:lnTo>
                  <a:lnTo>
                    <a:pt x="45" y="58"/>
                  </a:lnTo>
                  <a:lnTo>
                    <a:pt x="41" y="53"/>
                  </a:lnTo>
                  <a:lnTo>
                    <a:pt x="24" y="52"/>
                  </a:lnTo>
                  <a:lnTo>
                    <a:pt x="0" y="28"/>
                  </a:lnTo>
                  <a:lnTo>
                    <a:pt x="0" y="27"/>
                  </a:lnTo>
                  <a:lnTo>
                    <a:pt x="3" y="27"/>
                  </a:lnTo>
                  <a:lnTo>
                    <a:pt x="8" y="25"/>
                  </a:lnTo>
                  <a:lnTo>
                    <a:pt x="11" y="22"/>
                  </a:lnTo>
                  <a:lnTo>
                    <a:pt x="11" y="16"/>
                  </a:lnTo>
                  <a:lnTo>
                    <a:pt x="17" y="16"/>
                  </a:lnTo>
                  <a:lnTo>
                    <a:pt x="18" y="12"/>
                  </a:lnTo>
                  <a:lnTo>
                    <a:pt x="20" y="12"/>
                  </a:lnTo>
                  <a:lnTo>
                    <a:pt x="24" y="13"/>
                  </a:lnTo>
                  <a:lnTo>
                    <a:pt x="32" y="9"/>
                  </a:lnTo>
                  <a:lnTo>
                    <a:pt x="36" y="1"/>
                  </a:lnTo>
                  <a:lnTo>
                    <a:pt x="38" y="1"/>
                  </a:lnTo>
                  <a:lnTo>
                    <a:pt x="43" y="4"/>
                  </a:lnTo>
                  <a:lnTo>
                    <a:pt x="5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4" name="Mexico">
              <a:extLst>
                <a:ext uri="{FF2B5EF4-FFF2-40B4-BE49-F238E27FC236}">
                  <a16:creationId xmlns:a16="http://schemas.microsoft.com/office/drawing/2014/main" id="{98B7590E-B82A-8E22-8766-CFA73F46EA16}"/>
                </a:ext>
              </a:extLst>
            </p:cNvPr>
            <p:cNvSpPr>
              <a:spLocks/>
            </p:cNvSpPr>
            <p:nvPr/>
          </p:nvSpPr>
          <p:spPr bwMode="auto">
            <a:xfrm>
              <a:off x="3062846" y="3774229"/>
              <a:ext cx="715596" cy="469837"/>
            </a:xfrm>
            <a:custGeom>
              <a:avLst/>
              <a:gdLst>
                <a:gd name="T0" fmla="*/ 114 w 396"/>
                <a:gd name="T1" fmla="*/ 21 h 260"/>
                <a:gd name="T2" fmla="*/ 139 w 396"/>
                <a:gd name="T3" fmla="*/ 14 h 260"/>
                <a:gd name="T4" fmla="*/ 162 w 396"/>
                <a:gd name="T5" fmla="*/ 40 h 260"/>
                <a:gd name="T6" fmla="*/ 187 w 396"/>
                <a:gd name="T7" fmla="*/ 45 h 260"/>
                <a:gd name="T8" fmla="*/ 205 w 396"/>
                <a:gd name="T9" fmla="*/ 43 h 260"/>
                <a:gd name="T10" fmla="*/ 228 w 396"/>
                <a:gd name="T11" fmla="*/ 77 h 260"/>
                <a:gd name="T12" fmla="*/ 262 w 396"/>
                <a:gd name="T13" fmla="*/ 109 h 260"/>
                <a:gd name="T14" fmla="*/ 255 w 396"/>
                <a:gd name="T15" fmla="*/ 138 h 260"/>
                <a:gd name="T16" fmla="*/ 261 w 396"/>
                <a:gd name="T17" fmla="*/ 172 h 260"/>
                <a:gd name="T18" fmla="*/ 280 w 396"/>
                <a:gd name="T19" fmla="*/ 200 h 260"/>
                <a:gd name="T20" fmla="*/ 322 w 396"/>
                <a:gd name="T21" fmla="*/ 202 h 260"/>
                <a:gd name="T22" fmla="*/ 337 w 396"/>
                <a:gd name="T23" fmla="*/ 199 h 260"/>
                <a:gd name="T24" fmla="*/ 378 w 396"/>
                <a:gd name="T25" fmla="*/ 162 h 260"/>
                <a:gd name="T26" fmla="*/ 385 w 396"/>
                <a:gd name="T27" fmla="*/ 163 h 260"/>
                <a:gd name="T28" fmla="*/ 390 w 396"/>
                <a:gd name="T29" fmla="*/ 163 h 260"/>
                <a:gd name="T30" fmla="*/ 396 w 396"/>
                <a:gd name="T31" fmla="*/ 168 h 260"/>
                <a:gd name="T32" fmla="*/ 387 w 396"/>
                <a:gd name="T33" fmla="*/ 190 h 260"/>
                <a:gd name="T34" fmla="*/ 387 w 396"/>
                <a:gd name="T35" fmla="*/ 195 h 260"/>
                <a:gd name="T36" fmla="*/ 378 w 396"/>
                <a:gd name="T37" fmla="*/ 206 h 260"/>
                <a:gd name="T38" fmla="*/ 374 w 396"/>
                <a:gd name="T39" fmla="*/ 208 h 260"/>
                <a:gd name="T40" fmla="*/ 343 w 396"/>
                <a:gd name="T41" fmla="*/ 215 h 260"/>
                <a:gd name="T42" fmla="*/ 338 w 396"/>
                <a:gd name="T43" fmla="*/ 221 h 260"/>
                <a:gd name="T44" fmla="*/ 348 w 396"/>
                <a:gd name="T45" fmla="*/ 238 h 260"/>
                <a:gd name="T46" fmla="*/ 328 w 396"/>
                <a:gd name="T47" fmla="*/ 252 h 260"/>
                <a:gd name="T48" fmla="*/ 308 w 396"/>
                <a:gd name="T49" fmla="*/ 243 h 260"/>
                <a:gd name="T50" fmla="*/ 274 w 396"/>
                <a:gd name="T51" fmla="*/ 246 h 260"/>
                <a:gd name="T52" fmla="*/ 240 w 396"/>
                <a:gd name="T53" fmla="*/ 233 h 260"/>
                <a:gd name="T54" fmla="*/ 181 w 396"/>
                <a:gd name="T55" fmla="*/ 209 h 260"/>
                <a:gd name="T56" fmla="*/ 154 w 396"/>
                <a:gd name="T57" fmla="*/ 190 h 260"/>
                <a:gd name="T58" fmla="*/ 156 w 396"/>
                <a:gd name="T59" fmla="*/ 178 h 260"/>
                <a:gd name="T60" fmla="*/ 150 w 396"/>
                <a:gd name="T61" fmla="*/ 150 h 260"/>
                <a:gd name="T62" fmla="*/ 122 w 396"/>
                <a:gd name="T63" fmla="*/ 123 h 260"/>
                <a:gd name="T64" fmla="*/ 116 w 396"/>
                <a:gd name="T65" fmla="*/ 113 h 260"/>
                <a:gd name="T66" fmla="*/ 107 w 396"/>
                <a:gd name="T67" fmla="*/ 107 h 260"/>
                <a:gd name="T68" fmla="*/ 101 w 396"/>
                <a:gd name="T69" fmla="*/ 103 h 260"/>
                <a:gd name="T70" fmla="*/ 86 w 396"/>
                <a:gd name="T71" fmla="*/ 74 h 260"/>
                <a:gd name="T72" fmla="*/ 58 w 396"/>
                <a:gd name="T73" fmla="*/ 43 h 260"/>
                <a:gd name="T74" fmla="*/ 39 w 396"/>
                <a:gd name="T75" fmla="*/ 21 h 260"/>
                <a:gd name="T76" fmla="*/ 39 w 396"/>
                <a:gd name="T77" fmla="*/ 46 h 260"/>
                <a:gd name="T78" fmla="*/ 52 w 396"/>
                <a:gd name="T79" fmla="*/ 60 h 260"/>
                <a:gd name="T80" fmla="*/ 71 w 396"/>
                <a:gd name="T81" fmla="*/ 89 h 260"/>
                <a:gd name="T82" fmla="*/ 89 w 396"/>
                <a:gd name="T83" fmla="*/ 126 h 260"/>
                <a:gd name="T84" fmla="*/ 102 w 396"/>
                <a:gd name="T85" fmla="*/ 137 h 260"/>
                <a:gd name="T86" fmla="*/ 88 w 396"/>
                <a:gd name="T87" fmla="*/ 135 h 260"/>
                <a:gd name="T88" fmla="*/ 64 w 396"/>
                <a:gd name="T89" fmla="*/ 119 h 260"/>
                <a:gd name="T90" fmla="*/ 55 w 396"/>
                <a:gd name="T91" fmla="*/ 94 h 260"/>
                <a:gd name="T92" fmla="*/ 48 w 396"/>
                <a:gd name="T93" fmla="*/ 91 h 260"/>
                <a:gd name="T94" fmla="*/ 39 w 396"/>
                <a:gd name="T95" fmla="*/ 74 h 260"/>
                <a:gd name="T96" fmla="*/ 19 w 396"/>
                <a:gd name="T97" fmla="*/ 46 h 260"/>
                <a:gd name="T98" fmla="*/ 8 w 396"/>
                <a:gd name="T99" fmla="*/ 15 h 260"/>
                <a:gd name="T100" fmla="*/ 31 w 396"/>
                <a:gd name="T10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6" h="260">
                  <a:moveTo>
                    <a:pt x="31" y="0"/>
                  </a:moveTo>
                  <a:lnTo>
                    <a:pt x="80" y="23"/>
                  </a:lnTo>
                  <a:lnTo>
                    <a:pt x="114" y="21"/>
                  </a:lnTo>
                  <a:lnTo>
                    <a:pt x="114" y="15"/>
                  </a:lnTo>
                  <a:lnTo>
                    <a:pt x="116" y="14"/>
                  </a:lnTo>
                  <a:lnTo>
                    <a:pt x="139" y="14"/>
                  </a:lnTo>
                  <a:lnTo>
                    <a:pt x="139" y="15"/>
                  </a:lnTo>
                  <a:lnTo>
                    <a:pt x="159" y="31"/>
                  </a:lnTo>
                  <a:lnTo>
                    <a:pt x="162" y="40"/>
                  </a:lnTo>
                  <a:lnTo>
                    <a:pt x="166" y="48"/>
                  </a:lnTo>
                  <a:lnTo>
                    <a:pt x="179" y="57"/>
                  </a:lnTo>
                  <a:lnTo>
                    <a:pt x="187" y="45"/>
                  </a:lnTo>
                  <a:lnTo>
                    <a:pt x="193" y="45"/>
                  </a:lnTo>
                  <a:lnTo>
                    <a:pt x="197" y="43"/>
                  </a:lnTo>
                  <a:lnTo>
                    <a:pt x="205" y="43"/>
                  </a:lnTo>
                  <a:lnTo>
                    <a:pt x="215" y="54"/>
                  </a:lnTo>
                  <a:lnTo>
                    <a:pt x="219" y="66"/>
                  </a:lnTo>
                  <a:lnTo>
                    <a:pt x="228" y="77"/>
                  </a:lnTo>
                  <a:lnTo>
                    <a:pt x="236" y="94"/>
                  </a:lnTo>
                  <a:lnTo>
                    <a:pt x="262" y="103"/>
                  </a:lnTo>
                  <a:lnTo>
                    <a:pt x="262" y="109"/>
                  </a:lnTo>
                  <a:lnTo>
                    <a:pt x="257" y="112"/>
                  </a:lnTo>
                  <a:lnTo>
                    <a:pt x="252" y="120"/>
                  </a:lnTo>
                  <a:lnTo>
                    <a:pt x="255" y="138"/>
                  </a:lnTo>
                  <a:lnTo>
                    <a:pt x="255" y="156"/>
                  </a:lnTo>
                  <a:lnTo>
                    <a:pt x="261" y="165"/>
                  </a:lnTo>
                  <a:lnTo>
                    <a:pt x="261" y="172"/>
                  </a:lnTo>
                  <a:lnTo>
                    <a:pt x="270" y="186"/>
                  </a:lnTo>
                  <a:lnTo>
                    <a:pt x="274" y="196"/>
                  </a:lnTo>
                  <a:lnTo>
                    <a:pt x="280" y="200"/>
                  </a:lnTo>
                  <a:lnTo>
                    <a:pt x="289" y="203"/>
                  </a:lnTo>
                  <a:lnTo>
                    <a:pt x="297" y="209"/>
                  </a:lnTo>
                  <a:lnTo>
                    <a:pt x="322" y="202"/>
                  </a:lnTo>
                  <a:lnTo>
                    <a:pt x="334" y="205"/>
                  </a:lnTo>
                  <a:lnTo>
                    <a:pt x="337" y="203"/>
                  </a:lnTo>
                  <a:lnTo>
                    <a:pt x="337" y="199"/>
                  </a:lnTo>
                  <a:lnTo>
                    <a:pt x="343" y="195"/>
                  </a:lnTo>
                  <a:lnTo>
                    <a:pt x="348" y="169"/>
                  </a:lnTo>
                  <a:lnTo>
                    <a:pt x="378" y="162"/>
                  </a:lnTo>
                  <a:lnTo>
                    <a:pt x="384" y="162"/>
                  </a:lnTo>
                  <a:lnTo>
                    <a:pt x="384" y="165"/>
                  </a:lnTo>
                  <a:lnTo>
                    <a:pt x="385" y="163"/>
                  </a:lnTo>
                  <a:lnTo>
                    <a:pt x="385" y="162"/>
                  </a:lnTo>
                  <a:lnTo>
                    <a:pt x="388" y="162"/>
                  </a:lnTo>
                  <a:lnTo>
                    <a:pt x="390" y="163"/>
                  </a:lnTo>
                  <a:lnTo>
                    <a:pt x="393" y="163"/>
                  </a:lnTo>
                  <a:lnTo>
                    <a:pt x="393" y="165"/>
                  </a:lnTo>
                  <a:lnTo>
                    <a:pt x="396" y="168"/>
                  </a:lnTo>
                  <a:lnTo>
                    <a:pt x="396" y="169"/>
                  </a:lnTo>
                  <a:lnTo>
                    <a:pt x="385" y="190"/>
                  </a:lnTo>
                  <a:lnTo>
                    <a:pt x="387" y="190"/>
                  </a:lnTo>
                  <a:lnTo>
                    <a:pt x="387" y="192"/>
                  </a:lnTo>
                  <a:lnTo>
                    <a:pt x="385" y="193"/>
                  </a:lnTo>
                  <a:lnTo>
                    <a:pt x="387" y="195"/>
                  </a:lnTo>
                  <a:lnTo>
                    <a:pt x="383" y="212"/>
                  </a:lnTo>
                  <a:lnTo>
                    <a:pt x="381" y="212"/>
                  </a:lnTo>
                  <a:lnTo>
                    <a:pt x="378" y="206"/>
                  </a:lnTo>
                  <a:lnTo>
                    <a:pt x="378" y="202"/>
                  </a:lnTo>
                  <a:lnTo>
                    <a:pt x="375" y="206"/>
                  </a:lnTo>
                  <a:lnTo>
                    <a:pt x="374" y="208"/>
                  </a:lnTo>
                  <a:lnTo>
                    <a:pt x="369" y="214"/>
                  </a:lnTo>
                  <a:lnTo>
                    <a:pt x="365" y="215"/>
                  </a:lnTo>
                  <a:lnTo>
                    <a:pt x="343" y="215"/>
                  </a:lnTo>
                  <a:lnTo>
                    <a:pt x="343" y="223"/>
                  </a:lnTo>
                  <a:lnTo>
                    <a:pt x="340" y="223"/>
                  </a:lnTo>
                  <a:lnTo>
                    <a:pt x="338" y="221"/>
                  </a:lnTo>
                  <a:lnTo>
                    <a:pt x="337" y="221"/>
                  </a:lnTo>
                  <a:lnTo>
                    <a:pt x="344" y="229"/>
                  </a:lnTo>
                  <a:lnTo>
                    <a:pt x="348" y="238"/>
                  </a:lnTo>
                  <a:lnTo>
                    <a:pt x="348" y="239"/>
                  </a:lnTo>
                  <a:lnTo>
                    <a:pt x="335" y="239"/>
                  </a:lnTo>
                  <a:lnTo>
                    <a:pt x="328" y="252"/>
                  </a:lnTo>
                  <a:lnTo>
                    <a:pt x="325" y="258"/>
                  </a:lnTo>
                  <a:lnTo>
                    <a:pt x="325" y="260"/>
                  </a:lnTo>
                  <a:lnTo>
                    <a:pt x="308" y="243"/>
                  </a:lnTo>
                  <a:lnTo>
                    <a:pt x="294" y="238"/>
                  </a:lnTo>
                  <a:lnTo>
                    <a:pt x="289" y="239"/>
                  </a:lnTo>
                  <a:lnTo>
                    <a:pt x="274" y="246"/>
                  </a:lnTo>
                  <a:lnTo>
                    <a:pt x="273" y="246"/>
                  </a:lnTo>
                  <a:lnTo>
                    <a:pt x="254" y="241"/>
                  </a:lnTo>
                  <a:lnTo>
                    <a:pt x="240" y="233"/>
                  </a:lnTo>
                  <a:lnTo>
                    <a:pt x="212" y="226"/>
                  </a:lnTo>
                  <a:lnTo>
                    <a:pt x="200" y="214"/>
                  </a:lnTo>
                  <a:lnTo>
                    <a:pt x="181" y="209"/>
                  </a:lnTo>
                  <a:lnTo>
                    <a:pt x="174" y="203"/>
                  </a:lnTo>
                  <a:lnTo>
                    <a:pt x="162" y="196"/>
                  </a:lnTo>
                  <a:lnTo>
                    <a:pt x="154" y="190"/>
                  </a:lnTo>
                  <a:lnTo>
                    <a:pt x="151" y="181"/>
                  </a:lnTo>
                  <a:lnTo>
                    <a:pt x="151" y="180"/>
                  </a:lnTo>
                  <a:lnTo>
                    <a:pt x="156" y="178"/>
                  </a:lnTo>
                  <a:lnTo>
                    <a:pt x="154" y="175"/>
                  </a:lnTo>
                  <a:lnTo>
                    <a:pt x="157" y="168"/>
                  </a:lnTo>
                  <a:lnTo>
                    <a:pt x="150" y="150"/>
                  </a:lnTo>
                  <a:lnTo>
                    <a:pt x="141" y="143"/>
                  </a:lnTo>
                  <a:lnTo>
                    <a:pt x="134" y="132"/>
                  </a:lnTo>
                  <a:lnTo>
                    <a:pt x="122" y="123"/>
                  </a:lnTo>
                  <a:lnTo>
                    <a:pt x="122" y="122"/>
                  </a:lnTo>
                  <a:lnTo>
                    <a:pt x="120" y="116"/>
                  </a:lnTo>
                  <a:lnTo>
                    <a:pt x="116" y="113"/>
                  </a:lnTo>
                  <a:lnTo>
                    <a:pt x="108" y="110"/>
                  </a:lnTo>
                  <a:lnTo>
                    <a:pt x="107" y="110"/>
                  </a:lnTo>
                  <a:lnTo>
                    <a:pt x="107" y="107"/>
                  </a:lnTo>
                  <a:lnTo>
                    <a:pt x="104" y="107"/>
                  </a:lnTo>
                  <a:lnTo>
                    <a:pt x="101" y="104"/>
                  </a:lnTo>
                  <a:lnTo>
                    <a:pt x="101" y="103"/>
                  </a:lnTo>
                  <a:lnTo>
                    <a:pt x="105" y="97"/>
                  </a:lnTo>
                  <a:lnTo>
                    <a:pt x="88" y="83"/>
                  </a:lnTo>
                  <a:lnTo>
                    <a:pt x="86" y="74"/>
                  </a:lnTo>
                  <a:lnTo>
                    <a:pt x="80" y="73"/>
                  </a:lnTo>
                  <a:lnTo>
                    <a:pt x="70" y="63"/>
                  </a:lnTo>
                  <a:lnTo>
                    <a:pt x="58" y="43"/>
                  </a:lnTo>
                  <a:lnTo>
                    <a:pt x="52" y="26"/>
                  </a:lnTo>
                  <a:lnTo>
                    <a:pt x="45" y="20"/>
                  </a:lnTo>
                  <a:lnTo>
                    <a:pt x="39" y="21"/>
                  </a:lnTo>
                  <a:lnTo>
                    <a:pt x="31" y="14"/>
                  </a:lnTo>
                  <a:lnTo>
                    <a:pt x="36" y="40"/>
                  </a:lnTo>
                  <a:lnTo>
                    <a:pt x="39" y="46"/>
                  </a:lnTo>
                  <a:lnTo>
                    <a:pt x="48" y="52"/>
                  </a:lnTo>
                  <a:lnTo>
                    <a:pt x="50" y="58"/>
                  </a:lnTo>
                  <a:lnTo>
                    <a:pt x="52" y="60"/>
                  </a:lnTo>
                  <a:lnTo>
                    <a:pt x="53" y="60"/>
                  </a:lnTo>
                  <a:lnTo>
                    <a:pt x="70" y="89"/>
                  </a:lnTo>
                  <a:lnTo>
                    <a:pt x="71" y="89"/>
                  </a:lnTo>
                  <a:lnTo>
                    <a:pt x="74" y="91"/>
                  </a:lnTo>
                  <a:lnTo>
                    <a:pt x="88" y="126"/>
                  </a:lnTo>
                  <a:lnTo>
                    <a:pt x="89" y="126"/>
                  </a:lnTo>
                  <a:lnTo>
                    <a:pt x="92" y="125"/>
                  </a:lnTo>
                  <a:lnTo>
                    <a:pt x="92" y="126"/>
                  </a:lnTo>
                  <a:lnTo>
                    <a:pt x="102" y="137"/>
                  </a:lnTo>
                  <a:lnTo>
                    <a:pt x="101" y="143"/>
                  </a:lnTo>
                  <a:lnTo>
                    <a:pt x="95" y="147"/>
                  </a:lnTo>
                  <a:lnTo>
                    <a:pt x="88" y="135"/>
                  </a:lnTo>
                  <a:lnTo>
                    <a:pt x="70" y="120"/>
                  </a:lnTo>
                  <a:lnTo>
                    <a:pt x="64" y="120"/>
                  </a:lnTo>
                  <a:lnTo>
                    <a:pt x="64" y="119"/>
                  </a:lnTo>
                  <a:lnTo>
                    <a:pt x="65" y="106"/>
                  </a:lnTo>
                  <a:lnTo>
                    <a:pt x="64" y="98"/>
                  </a:lnTo>
                  <a:lnTo>
                    <a:pt x="55" y="94"/>
                  </a:lnTo>
                  <a:lnTo>
                    <a:pt x="53" y="89"/>
                  </a:lnTo>
                  <a:lnTo>
                    <a:pt x="52" y="91"/>
                  </a:lnTo>
                  <a:lnTo>
                    <a:pt x="48" y="91"/>
                  </a:lnTo>
                  <a:lnTo>
                    <a:pt x="28" y="77"/>
                  </a:lnTo>
                  <a:lnTo>
                    <a:pt x="28" y="74"/>
                  </a:lnTo>
                  <a:lnTo>
                    <a:pt x="39" y="74"/>
                  </a:lnTo>
                  <a:lnTo>
                    <a:pt x="40" y="66"/>
                  </a:lnTo>
                  <a:lnTo>
                    <a:pt x="28" y="51"/>
                  </a:lnTo>
                  <a:lnTo>
                    <a:pt x="19" y="46"/>
                  </a:lnTo>
                  <a:lnTo>
                    <a:pt x="18" y="37"/>
                  </a:lnTo>
                  <a:lnTo>
                    <a:pt x="15" y="37"/>
                  </a:lnTo>
                  <a:lnTo>
                    <a:pt x="8" y="15"/>
                  </a:lnTo>
                  <a:lnTo>
                    <a:pt x="0" y="5"/>
                  </a:lnTo>
                  <a:lnTo>
                    <a:pt x="0" y="3"/>
                  </a:lnTo>
                  <a:lnTo>
                    <a:pt x="3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5" name="Martinique">
              <a:extLst>
                <a:ext uri="{FF2B5EF4-FFF2-40B4-BE49-F238E27FC236}">
                  <a16:creationId xmlns:a16="http://schemas.microsoft.com/office/drawing/2014/main" id="{F7E3BBEC-1A18-797F-A1FC-ACD03156667D}"/>
                </a:ext>
              </a:extLst>
            </p:cNvPr>
            <p:cNvSpPr>
              <a:spLocks/>
            </p:cNvSpPr>
            <p:nvPr/>
          </p:nvSpPr>
          <p:spPr bwMode="auto">
            <a:xfrm>
              <a:off x="4380195" y="4235030"/>
              <a:ext cx="10843" cy="14457"/>
            </a:xfrm>
            <a:custGeom>
              <a:avLst/>
              <a:gdLst>
                <a:gd name="T0" fmla="*/ 0 w 6"/>
                <a:gd name="T1" fmla="*/ 0 h 8"/>
                <a:gd name="T2" fmla="*/ 2 w 6"/>
                <a:gd name="T3" fmla="*/ 0 h 8"/>
                <a:gd name="T4" fmla="*/ 6 w 6"/>
                <a:gd name="T5" fmla="*/ 6 h 8"/>
                <a:gd name="T6" fmla="*/ 6 w 6"/>
                <a:gd name="T7" fmla="*/ 8 h 8"/>
                <a:gd name="T8" fmla="*/ 3 w 6"/>
                <a:gd name="T9" fmla="*/ 8 h 8"/>
                <a:gd name="T10" fmla="*/ 3 w 6"/>
                <a:gd name="T11" fmla="*/ 6 h 8"/>
                <a:gd name="T12" fmla="*/ 0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0"/>
                  </a:moveTo>
                  <a:lnTo>
                    <a:pt x="2" y="0"/>
                  </a:lnTo>
                  <a:lnTo>
                    <a:pt x="6" y="6"/>
                  </a:lnTo>
                  <a:lnTo>
                    <a:pt x="6" y="8"/>
                  </a:lnTo>
                  <a:lnTo>
                    <a:pt x="3" y="8"/>
                  </a:lnTo>
                  <a:lnTo>
                    <a:pt x="3" y="6"/>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6" name="Lago de Nicaragua">
              <a:extLst>
                <a:ext uri="{FF2B5EF4-FFF2-40B4-BE49-F238E27FC236}">
                  <a16:creationId xmlns:a16="http://schemas.microsoft.com/office/drawing/2014/main" id="{1881C5FD-B60B-E130-4A21-A0B91778F211}"/>
                </a:ext>
              </a:extLst>
            </p:cNvPr>
            <p:cNvSpPr>
              <a:spLocks/>
            </p:cNvSpPr>
            <p:nvPr/>
          </p:nvSpPr>
          <p:spPr bwMode="auto">
            <a:xfrm>
              <a:off x="3800127" y="4301891"/>
              <a:ext cx="23493" cy="25299"/>
            </a:xfrm>
            <a:custGeom>
              <a:avLst/>
              <a:gdLst>
                <a:gd name="T0" fmla="*/ 0 w 13"/>
                <a:gd name="T1" fmla="*/ 0 h 14"/>
                <a:gd name="T2" fmla="*/ 3 w 13"/>
                <a:gd name="T3" fmla="*/ 0 h 14"/>
                <a:gd name="T4" fmla="*/ 10 w 13"/>
                <a:gd name="T5" fmla="*/ 6 h 14"/>
                <a:gd name="T6" fmla="*/ 13 w 13"/>
                <a:gd name="T7" fmla="*/ 14 h 14"/>
                <a:gd name="T8" fmla="*/ 3 w 13"/>
                <a:gd name="T9" fmla="*/ 11 h 14"/>
                <a:gd name="T10" fmla="*/ 0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0" y="0"/>
                  </a:moveTo>
                  <a:lnTo>
                    <a:pt x="3" y="0"/>
                  </a:lnTo>
                  <a:lnTo>
                    <a:pt x="10" y="6"/>
                  </a:lnTo>
                  <a:lnTo>
                    <a:pt x="13" y="14"/>
                  </a:lnTo>
                  <a:lnTo>
                    <a:pt x="3" y="11"/>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7" name="Honduras">
              <a:extLst>
                <a:ext uri="{FF2B5EF4-FFF2-40B4-BE49-F238E27FC236}">
                  <a16:creationId xmlns:a16="http://schemas.microsoft.com/office/drawing/2014/main" id="{79C11938-4406-57F3-A52A-1BC4DDE283A6}"/>
                </a:ext>
              </a:extLst>
            </p:cNvPr>
            <p:cNvSpPr>
              <a:spLocks/>
            </p:cNvSpPr>
            <p:nvPr/>
          </p:nvSpPr>
          <p:spPr bwMode="auto">
            <a:xfrm>
              <a:off x="3717003" y="4206117"/>
              <a:ext cx="144565" cy="75897"/>
            </a:xfrm>
            <a:custGeom>
              <a:avLst/>
              <a:gdLst>
                <a:gd name="T0" fmla="*/ 56 w 80"/>
                <a:gd name="T1" fmla="*/ 0 h 42"/>
                <a:gd name="T2" fmla="*/ 69 w 80"/>
                <a:gd name="T3" fmla="*/ 4 h 42"/>
                <a:gd name="T4" fmla="*/ 80 w 80"/>
                <a:gd name="T5" fmla="*/ 15 h 42"/>
                <a:gd name="T6" fmla="*/ 80 w 80"/>
                <a:gd name="T7" fmla="*/ 16 h 42"/>
                <a:gd name="T8" fmla="*/ 66 w 80"/>
                <a:gd name="T9" fmla="*/ 21 h 42"/>
                <a:gd name="T10" fmla="*/ 61 w 80"/>
                <a:gd name="T11" fmla="*/ 18 h 42"/>
                <a:gd name="T12" fmla="*/ 56 w 80"/>
                <a:gd name="T13" fmla="*/ 24 h 42"/>
                <a:gd name="T14" fmla="*/ 47 w 80"/>
                <a:gd name="T15" fmla="*/ 30 h 42"/>
                <a:gd name="T16" fmla="*/ 43 w 80"/>
                <a:gd name="T17" fmla="*/ 28 h 42"/>
                <a:gd name="T18" fmla="*/ 41 w 80"/>
                <a:gd name="T19" fmla="*/ 33 h 42"/>
                <a:gd name="T20" fmla="*/ 35 w 80"/>
                <a:gd name="T21" fmla="*/ 33 h 42"/>
                <a:gd name="T22" fmla="*/ 35 w 80"/>
                <a:gd name="T23" fmla="*/ 37 h 42"/>
                <a:gd name="T24" fmla="*/ 31 w 80"/>
                <a:gd name="T25" fmla="*/ 40 h 42"/>
                <a:gd name="T26" fmla="*/ 26 w 80"/>
                <a:gd name="T27" fmla="*/ 42 h 42"/>
                <a:gd name="T28" fmla="*/ 23 w 80"/>
                <a:gd name="T29" fmla="*/ 37 h 42"/>
                <a:gd name="T30" fmla="*/ 21 w 80"/>
                <a:gd name="T31" fmla="*/ 37 h 42"/>
                <a:gd name="T32" fmla="*/ 19 w 80"/>
                <a:gd name="T33" fmla="*/ 30 h 42"/>
                <a:gd name="T34" fmla="*/ 12 w 80"/>
                <a:gd name="T35" fmla="*/ 30 h 42"/>
                <a:gd name="T36" fmla="*/ 0 w 80"/>
                <a:gd name="T37" fmla="*/ 22 h 42"/>
                <a:gd name="T38" fmla="*/ 1 w 80"/>
                <a:gd name="T39" fmla="*/ 19 h 42"/>
                <a:gd name="T40" fmla="*/ 1 w 80"/>
                <a:gd name="T41" fmla="*/ 15 h 42"/>
                <a:gd name="T42" fmla="*/ 12 w 80"/>
                <a:gd name="T43" fmla="*/ 6 h 42"/>
                <a:gd name="T44" fmla="*/ 13 w 80"/>
                <a:gd name="T45" fmla="*/ 3 h 42"/>
                <a:gd name="T46" fmla="*/ 56 w 80"/>
                <a:gd name="T4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42">
                  <a:moveTo>
                    <a:pt x="56" y="0"/>
                  </a:moveTo>
                  <a:lnTo>
                    <a:pt x="69" y="4"/>
                  </a:lnTo>
                  <a:lnTo>
                    <a:pt x="80" y="15"/>
                  </a:lnTo>
                  <a:lnTo>
                    <a:pt x="80" y="16"/>
                  </a:lnTo>
                  <a:lnTo>
                    <a:pt x="66" y="21"/>
                  </a:lnTo>
                  <a:lnTo>
                    <a:pt x="61" y="18"/>
                  </a:lnTo>
                  <a:lnTo>
                    <a:pt x="56" y="24"/>
                  </a:lnTo>
                  <a:lnTo>
                    <a:pt x="47" y="30"/>
                  </a:lnTo>
                  <a:lnTo>
                    <a:pt x="43" y="28"/>
                  </a:lnTo>
                  <a:lnTo>
                    <a:pt x="41" y="33"/>
                  </a:lnTo>
                  <a:lnTo>
                    <a:pt x="35" y="33"/>
                  </a:lnTo>
                  <a:lnTo>
                    <a:pt x="35" y="37"/>
                  </a:lnTo>
                  <a:lnTo>
                    <a:pt x="31" y="40"/>
                  </a:lnTo>
                  <a:lnTo>
                    <a:pt x="26" y="42"/>
                  </a:lnTo>
                  <a:lnTo>
                    <a:pt x="23" y="37"/>
                  </a:lnTo>
                  <a:lnTo>
                    <a:pt x="21" y="37"/>
                  </a:lnTo>
                  <a:lnTo>
                    <a:pt x="19" y="30"/>
                  </a:lnTo>
                  <a:lnTo>
                    <a:pt x="12" y="30"/>
                  </a:lnTo>
                  <a:lnTo>
                    <a:pt x="0" y="22"/>
                  </a:lnTo>
                  <a:lnTo>
                    <a:pt x="1" y="19"/>
                  </a:lnTo>
                  <a:lnTo>
                    <a:pt x="1" y="15"/>
                  </a:lnTo>
                  <a:lnTo>
                    <a:pt x="12" y="6"/>
                  </a:lnTo>
                  <a:lnTo>
                    <a:pt x="13" y="3"/>
                  </a:lnTo>
                  <a:lnTo>
                    <a:pt x="5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8" name="Haiti">
              <a:extLst>
                <a:ext uri="{FF2B5EF4-FFF2-40B4-BE49-F238E27FC236}">
                  <a16:creationId xmlns:a16="http://schemas.microsoft.com/office/drawing/2014/main" id="{A44673DC-460A-9D1D-6786-7487782CCE8B}"/>
                </a:ext>
              </a:extLst>
            </p:cNvPr>
            <p:cNvSpPr>
              <a:spLocks/>
            </p:cNvSpPr>
            <p:nvPr/>
          </p:nvSpPr>
          <p:spPr bwMode="auto">
            <a:xfrm>
              <a:off x="4069380" y="4106729"/>
              <a:ext cx="66862" cy="50597"/>
            </a:xfrm>
            <a:custGeom>
              <a:avLst/>
              <a:gdLst/>
              <a:ahLst/>
              <a:cxnLst/>
              <a:rect l="l" t="t" r="r" b="b"/>
              <a:pathLst>
                <a:path w="67395" h="51000">
                  <a:moveTo>
                    <a:pt x="27322" y="27322"/>
                  </a:moveTo>
                  <a:lnTo>
                    <a:pt x="36430" y="27322"/>
                  </a:lnTo>
                  <a:lnTo>
                    <a:pt x="38251" y="32787"/>
                  </a:lnTo>
                  <a:lnTo>
                    <a:pt x="41894" y="34608"/>
                  </a:lnTo>
                  <a:lnTo>
                    <a:pt x="38251" y="34608"/>
                  </a:lnTo>
                  <a:lnTo>
                    <a:pt x="30965" y="32787"/>
                  </a:lnTo>
                  <a:lnTo>
                    <a:pt x="27322" y="29144"/>
                  </a:lnTo>
                  <a:close/>
                  <a:moveTo>
                    <a:pt x="36430" y="0"/>
                  </a:moveTo>
                  <a:lnTo>
                    <a:pt x="38252" y="0"/>
                  </a:lnTo>
                  <a:lnTo>
                    <a:pt x="43716" y="3643"/>
                  </a:lnTo>
                  <a:lnTo>
                    <a:pt x="43716" y="5465"/>
                  </a:lnTo>
                  <a:lnTo>
                    <a:pt x="41899" y="5465"/>
                  </a:lnTo>
                  <a:lnTo>
                    <a:pt x="52823" y="9107"/>
                  </a:lnTo>
                  <a:lnTo>
                    <a:pt x="63752" y="5464"/>
                  </a:lnTo>
                  <a:lnTo>
                    <a:pt x="67395" y="21857"/>
                  </a:lnTo>
                  <a:lnTo>
                    <a:pt x="63752" y="38250"/>
                  </a:lnTo>
                  <a:lnTo>
                    <a:pt x="65574" y="51000"/>
                  </a:lnTo>
                  <a:lnTo>
                    <a:pt x="63752" y="51000"/>
                  </a:lnTo>
                  <a:lnTo>
                    <a:pt x="54645" y="49179"/>
                  </a:lnTo>
                  <a:lnTo>
                    <a:pt x="41894" y="51000"/>
                  </a:lnTo>
                  <a:lnTo>
                    <a:pt x="21858" y="45536"/>
                  </a:lnTo>
                  <a:lnTo>
                    <a:pt x="14572" y="51000"/>
                  </a:lnTo>
                  <a:lnTo>
                    <a:pt x="0" y="40071"/>
                  </a:lnTo>
                  <a:lnTo>
                    <a:pt x="0" y="38250"/>
                  </a:lnTo>
                  <a:lnTo>
                    <a:pt x="47359" y="38250"/>
                  </a:lnTo>
                  <a:lnTo>
                    <a:pt x="47359" y="34607"/>
                  </a:lnTo>
                  <a:lnTo>
                    <a:pt x="38251" y="29143"/>
                  </a:lnTo>
                  <a:lnTo>
                    <a:pt x="38251" y="16392"/>
                  </a:lnTo>
                  <a:lnTo>
                    <a:pt x="25501" y="10928"/>
                  </a:lnTo>
                  <a:lnTo>
                    <a:pt x="21858" y="10928"/>
                  </a:lnTo>
                  <a:lnTo>
                    <a:pt x="21858" y="9107"/>
                  </a:lnTo>
                  <a:lnTo>
                    <a:pt x="36430" y="3642"/>
                  </a:lnTo>
                  <a:lnTo>
                    <a:pt x="36430" y="364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9" name="Jamaica">
              <a:extLst>
                <a:ext uri="{FF2B5EF4-FFF2-40B4-BE49-F238E27FC236}">
                  <a16:creationId xmlns:a16="http://schemas.microsoft.com/office/drawing/2014/main" id="{6C1AADCB-FD11-476B-7460-C3D916B3198E}"/>
                </a:ext>
              </a:extLst>
            </p:cNvPr>
            <p:cNvSpPr>
              <a:spLocks/>
            </p:cNvSpPr>
            <p:nvPr/>
          </p:nvSpPr>
          <p:spPr bwMode="auto">
            <a:xfrm>
              <a:off x="3977219" y="4144677"/>
              <a:ext cx="52405" cy="21685"/>
            </a:xfrm>
            <a:custGeom>
              <a:avLst/>
              <a:gdLst>
                <a:gd name="T0" fmla="*/ 5 w 29"/>
                <a:gd name="T1" fmla="*/ 0 h 12"/>
                <a:gd name="T2" fmla="*/ 16 w 29"/>
                <a:gd name="T3" fmla="*/ 0 h 12"/>
                <a:gd name="T4" fmla="*/ 26 w 29"/>
                <a:gd name="T5" fmla="*/ 4 h 12"/>
                <a:gd name="T6" fmla="*/ 29 w 29"/>
                <a:gd name="T7" fmla="*/ 9 h 12"/>
                <a:gd name="T8" fmla="*/ 22 w 29"/>
                <a:gd name="T9" fmla="*/ 9 h 12"/>
                <a:gd name="T10" fmla="*/ 16 w 29"/>
                <a:gd name="T11" fmla="*/ 12 h 12"/>
                <a:gd name="T12" fmla="*/ 8 w 29"/>
                <a:gd name="T13" fmla="*/ 10 h 12"/>
                <a:gd name="T14" fmla="*/ 0 w 29"/>
                <a:gd name="T15" fmla="*/ 4 h 12"/>
                <a:gd name="T16" fmla="*/ 0 w 29"/>
                <a:gd name="T17" fmla="*/ 3 h 12"/>
                <a:gd name="T18" fmla="*/ 5 w 29"/>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2">
                  <a:moveTo>
                    <a:pt x="5" y="0"/>
                  </a:moveTo>
                  <a:lnTo>
                    <a:pt x="16" y="0"/>
                  </a:lnTo>
                  <a:lnTo>
                    <a:pt x="26" y="4"/>
                  </a:lnTo>
                  <a:lnTo>
                    <a:pt x="29" y="9"/>
                  </a:lnTo>
                  <a:lnTo>
                    <a:pt x="22" y="9"/>
                  </a:lnTo>
                  <a:lnTo>
                    <a:pt x="16" y="12"/>
                  </a:lnTo>
                  <a:lnTo>
                    <a:pt x="8" y="10"/>
                  </a:lnTo>
                  <a:lnTo>
                    <a:pt x="0" y="4"/>
                  </a:lnTo>
                  <a:lnTo>
                    <a:pt x="0" y="3"/>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0" name="Guadeloupe">
              <a:extLst>
                <a:ext uri="{FF2B5EF4-FFF2-40B4-BE49-F238E27FC236}">
                  <a16:creationId xmlns:a16="http://schemas.microsoft.com/office/drawing/2014/main" id="{14A5DB2E-EAF8-8188-E82A-97D4B28D7B2E}"/>
                </a:ext>
              </a:extLst>
            </p:cNvPr>
            <p:cNvSpPr>
              <a:spLocks/>
            </p:cNvSpPr>
            <p:nvPr/>
          </p:nvSpPr>
          <p:spPr bwMode="auto">
            <a:xfrm>
              <a:off x="4367546" y="4195275"/>
              <a:ext cx="16264" cy="14457"/>
            </a:xfrm>
            <a:custGeom>
              <a:avLst/>
              <a:gdLst>
                <a:gd name="T0" fmla="*/ 4 w 9"/>
                <a:gd name="T1" fmla="*/ 0 h 8"/>
                <a:gd name="T2" fmla="*/ 6 w 9"/>
                <a:gd name="T3" fmla="*/ 0 h 8"/>
                <a:gd name="T4" fmla="*/ 9 w 9"/>
                <a:gd name="T5" fmla="*/ 3 h 8"/>
                <a:gd name="T6" fmla="*/ 9 w 9"/>
                <a:gd name="T7" fmla="*/ 5 h 8"/>
                <a:gd name="T8" fmla="*/ 1 w 9"/>
                <a:gd name="T9" fmla="*/ 8 h 8"/>
                <a:gd name="T10" fmla="*/ 0 w 9"/>
                <a:gd name="T11" fmla="*/ 8 h 8"/>
                <a:gd name="T12" fmla="*/ 0 w 9"/>
                <a:gd name="T13" fmla="*/ 2 h 8"/>
                <a:gd name="T14" fmla="*/ 1 w 9"/>
                <a:gd name="T15" fmla="*/ 2 h 8"/>
                <a:gd name="T16" fmla="*/ 4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0"/>
                  </a:moveTo>
                  <a:lnTo>
                    <a:pt x="6" y="0"/>
                  </a:lnTo>
                  <a:lnTo>
                    <a:pt x="9" y="3"/>
                  </a:lnTo>
                  <a:lnTo>
                    <a:pt x="9" y="5"/>
                  </a:lnTo>
                  <a:lnTo>
                    <a:pt x="1" y="8"/>
                  </a:lnTo>
                  <a:lnTo>
                    <a:pt x="0" y="8"/>
                  </a:lnTo>
                  <a:lnTo>
                    <a:pt x="0" y="2"/>
                  </a:lnTo>
                  <a:lnTo>
                    <a:pt x="1" y="2"/>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1" name="Guatemala">
              <a:extLst>
                <a:ext uri="{FF2B5EF4-FFF2-40B4-BE49-F238E27FC236}">
                  <a16:creationId xmlns:a16="http://schemas.microsoft.com/office/drawing/2014/main" id="{B771541B-9576-870A-B5EF-85A45740396D}"/>
                </a:ext>
              </a:extLst>
            </p:cNvPr>
            <p:cNvSpPr>
              <a:spLocks/>
            </p:cNvSpPr>
            <p:nvPr/>
          </p:nvSpPr>
          <p:spPr bwMode="auto">
            <a:xfrm>
              <a:off x="3646527" y="4160940"/>
              <a:ext cx="97581" cy="104809"/>
            </a:xfrm>
            <a:custGeom>
              <a:avLst/>
              <a:gdLst>
                <a:gd name="T0" fmla="*/ 20 w 54"/>
                <a:gd name="T1" fmla="*/ 0 h 58"/>
                <a:gd name="T2" fmla="*/ 42 w 54"/>
                <a:gd name="T3" fmla="*/ 0 h 58"/>
                <a:gd name="T4" fmla="*/ 42 w 54"/>
                <a:gd name="T5" fmla="*/ 25 h 58"/>
                <a:gd name="T6" fmla="*/ 46 w 54"/>
                <a:gd name="T7" fmla="*/ 25 h 58"/>
                <a:gd name="T8" fmla="*/ 54 w 54"/>
                <a:gd name="T9" fmla="*/ 28 h 58"/>
                <a:gd name="T10" fmla="*/ 54 w 54"/>
                <a:gd name="T11" fmla="*/ 29 h 58"/>
                <a:gd name="T12" fmla="*/ 52 w 54"/>
                <a:gd name="T13" fmla="*/ 32 h 58"/>
                <a:gd name="T14" fmla="*/ 42 w 54"/>
                <a:gd name="T15" fmla="*/ 40 h 58"/>
                <a:gd name="T16" fmla="*/ 42 w 54"/>
                <a:gd name="T17" fmla="*/ 44 h 58"/>
                <a:gd name="T18" fmla="*/ 39 w 54"/>
                <a:gd name="T19" fmla="*/ 47 h 58"/>
                <a:gd name="T20" fmla="*/ 31 w 54"/>
                <a:gd name="T21" fmla="*/ 58 h 58"/>
                <a:gd name="T22" fmla="*/ 30 w 54"/>
                <a:gd name="T23" fmla="*/ 58 h 58"/>
                <a:gd name="T24" fmla="*/ 14 w 54"/>
                <a:gd name="T25" fmla="*/ 55 h 58"/>
                <a:gd name="T26" fmla="*/ 2 w 54"/>
                <a:gd name="T27" fmla="*/ 46 h 58"/>
                <a:gd name="T28" fmla="*/ 0 w 54"/>
                <a:gd name="T29" fmla="*/ 44 h 58"/>
                <a:gd name="T30" fmla="*/ 3 w 54"/>
                <a:gd name="T31" fmla="*/ 38 h 58"/>
                <a:gd name="T32" fmla="*/ 12 w 54"/>
                <a:gd name="T33" fmla="*/ 25 h 58"/>
                <a:gd name="T34" fmla="*/ 12 w 54"/>
                <a:gd name="T35" fmla="*/ 24 h 58"/>
                <a:gd name="T36" fmla="*/ 22 w 54"/>
                <a:gd name="T37" fmla="*/ 24 h 58"/>
                <a:gd name="T38" fmla="*/ 20 w 54"/>
                <a:gd name="T39" fmla="*/ 16 h 58"/>
                <a:gd name="T40" fmla="*/ 11 w 54"/>
                <a:gd name="T41" fmla="*/ 7 h 58"/>
                <a:gd name="T42" fmla="*/ 11 w 54"/>
                <a:gd name="T43" fmla="*/ 6 h 58"/>
                <a:gd name="T44" fmla="*/ 14 w 54"/>
                <a:gd name="T45" fmla="*/ 6 h 58"/>
                <a:gd name="T46" fmla="*/ 15 w 54"/>
                <a:gd name="T47" fmla="*/ 7 h 58"/>
                <a:gd name="T48" fmla="*/ 18 w 54"/>
                <a:gd name="T49" fmla="*/ 7 h 58"/>
                <a:gd name="T50" fmla="*/ 20 w 54"/>
                <a:gd name="T51" fmla="*/ 1 h 58"/>
                <a:gd name="T52" fmla="*/ 20 w 54"/>
                <a:gd name="T5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8">
                  <a:moveTo>
                    <a:pt x="20" y="0"/>
                  </a:moveTo>
                  <a:lnTo>
                    <a:pt x="42" y="0"/>
                  </a:lnTo>
                  <a:lnTo>
                    <a:pt x="42" y="25"/>
                  </a:lnTo>
                  <a:lnTo>
                    <a:pt x="46" y="25"/>
                  </a:lnTo>
                  <a:lnTo>
                    <a:pt x="54" y="28"/>
                  </a:lnTo>
                  <a:lnTo>
                    <a:pt x="54" y="29"/>
                  </a:lnTo>
                  <a:lnTo>
                    <a:pt x="52" y="32"/>
                  </a:lnTo>
                  <a:lnTo>
                    <a:pt x="42" y="40"/>
                  </a:lnTo>
                  <a:lnTo>
                    <a:pt x="42" y="44"/>
                  </a:lnTo>
                  <a:lnTo>
                    <a:pt x="39" y="47"/>
                  </a:lnTo>
                  <a:lnTo>
                    <a:pt x="31" y="58"/>
                  </a:lnTo>
                  <a:lnTo>
                    <a:pt x="30" y="58"/>
                  </a:lnTo>
                  <a:lnTo>
                    <a:pt x="14" y="55"/>
                  </a:lnTo>
                  <a:lnTo>
                    <a:pt x="2" y="46"/>
                  </a:lnTo>
                  <a:lnTo>
                    <a:pt x="0" y="44"/>
                  </a:lnTo>
                  <a:lnTo>
                    <a:pt x="3" y="38"/>
                  </a:lnTo>
                  <a:lnTo>
                    <a:pt x="12" y="25"/>
                  </a:lnTo>
                  <a:lnTo>
                    <a:pt x="12" y="24"/>
                  </a:lnTo>
                  <a:lnTo>
                    <a:pt x="22" y="24"/>
                  </a:lnTo>
                  <a:lnTo>
                    <a:pt x="20" y="16"/>
                  </a:lnTo>
                  <a:lnTo>
                    <a:pt x="11" y="7"/>
                  </a:lnTo>
                  <a:lnTo>
                    <a:pt x="11" y="6"/>
                  </a:lnTo>
                  <a:lnTo>
                    <a:pt x="14" y="6"/>
                  </a:lnTo>
                  <a:lnTo>
                    <a:pt x="15" y="7"/>
                  </a:lnTo>
                  <a:lnTo>
                    <a:pt x="18" y="7"/>
                  </a:lnTo>
                  <a:lnTo>
                    <a:pt x="20" y="1"/>
                  </a:lnTo>
                  <a:lnTo>
                    <a:pt x="2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2" name="El Salvador">
              <a:extLst>
                <a:ext uri="{FF2B5EF4-FFF2-40B4-BE49-F238E27FC236}">
                  <a16:creationId xmlns:a16="http://schemas.microsoft.com/office/drawing/2014/main" id="{7FAB0236-19D3-B686-1D77-733C81194221}"/>
                </a:ext>
              </a:extLst>
            </p:cNvPr>
            <p:cNvSpPr>
              <a:spLocks/>
            </p:cNvSpPr>
            <p:nvPr/>
          </p:nvSpPr>
          <p:spPr bwMode="auto">
            <a:xfrm>
              <a:off x="3700739" y="4245872"/>
              <a:ext cx="56019" cy="32527"/>
            </a:xfrm>
            <a:custGeom>
              <a:avLst/>
              <a:gdLst>
                <a:gd name="T0" fmla="*/ 9 w 31"/>
                <a:gd name="T1" fmla="*/ 0 h 18"/>
                <a:gd name="T2" fmla="*/ 21 w 31"/>
                <a:gd name="T3" fmla="*/ 8 h 18"/>
                <a:gd name="T4" fmla="*/ 28 w 31"/>
                <a:gd name="T5" fmla="*/ 6 h 18"/>
                <a:gd name="T6" fmla="*/ 30 w 31"/>
                <a:gd name="T7" fmla="*/ 6 h 18"/>
                <a:gd name="T8" fmla="*/ 30 w 31"/>
                <a:gd name="T9" fmla="*/ 8 h 18"/>
                <a:gd name="T10" fmla="*/ 31 w 31"/>
                <a:gd name="T11" fmla="*/ 14 h 18"/>
                <a:gd name="T12" fmla="*/ 31 w 31"/>
                <a:gd name="T13" fmla="*/ 15 h 18"/>
                <a:gd name="T14" fmla="*/ 25 w 31"/>
                <a:gd name="T15" fmla="*/ 18 h 18"/>
                <a:gd name="T16" fmla="*/ 18 w 31"/>
                <a:gd name="T17" fmla="*/ 18 h 18"/>
                <a:gd name="T18" fmla="*/ 0 w 31"/>
                <a:gd name="T19" fmla="*/ 11 h 18"/>
                <a:gd name="T20" fmla="*/ 0 w 31"/>
                <a:gd name="T21" fmla="*/ 9 h 18"/>
                <a:gd name="T22" fmla="*/ 9 w 31"/>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8">
                  <a:moveTo>
                    <a:pt x="9" y="0"/>
                  </a:moveTo>
                  <a:lnTo>
                    <a:pt x="21" y="8"/>
                  </a:lnTo>
                  <a:lnTo>
                    <a:pt x="28" y="6"/>
                  </a:lnTo>
                  <a:lnTo>
                    <a:pt x="30" y="6"/>
                  </a:lnTo>
                  <a:lnTo>
                    <a:pt x="30" y="8"/>
                  </a:lnTo>
                  <a:lnTo>
                    <a:pt x="31" y="14"/>
                  </a:lnTo>
                  <a:lnTo>
                    <a:pt x="31" y="15"/>
                  </a:lnTo>
                  <a:lnTo>
                    <a:pt x="25" y="18"/>
                  </a:lnTo>
                  <a:lnTo>
                    <a:pt x="18" y="18"/>
                  </a:lnTo>
                  <a:lnTo>
                    <a:pt x="0" y="11"/>
                  </a:lnTo>
                  <a:lnTo>
                    <a:pt x="0" y="9"/>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3" name="Dominican Republic">
              <a:extLst>
                <a:ext uri="{FF2B5EF4-FFF2-40B4-BE49-F238E27FC236}">
                  <a16:creationId xmlns:a16="http://schemas.microsoft.com/office/drawing/2014/main" id="{281675A8-EE7D-3ED5-4620-1434EBC5F099}"/>
                </a:ext>
              </a:extLst>
            </p:cNvPr>
            <p:cNvSpPr>
              <a:spLocks/>
            </p:cNvSpPr>
            <p:nvPr/>
          </p:nvSpPr>
          <p:spPr bwMode="auto">
            <a:xfrm>
              <a:off x="4129012" y="4110342"/>
              <a:ext cx="84933" cy="57826"/>
            </a:xfrm>
            <a:custGeom>
              <a:avLst/>
              <a:gdLst>
                <a:gd name="T0" fmla="*/ 15 w 47"/>
                <a:gd name="T1" fmla="*/ 0 h 32"/>
                <a:gd name="T2" fmla="*/ 25 w 47"/>
                <a:gd name="T3" fmla="*/ 3 h 32"/>
                <a:gd name="T4" fmla="*/ 28 w 47"/>
                <a:gd name="T5" fmla="*/ 7 h 32"/>
                <a:gd name="T6" fmla="*/ 36 w 47"/>
                <a:gd name="T7" fmla="*/ 9 h 32"/>
                <a:gd name="T8" fmla="*/ 36 w 47"/>
                <a:gd name="T9" fmla="*/ 10 h 32"/>
                <a:gd name="T10" fmla="*/ 33 w 47"/>
                <a:gd name="T11" fmla="*/ 12 h 32"/>
                <a:gd name="T12" fmla="*/ 40 w 47"/>
                <a:gd name="T13" fmla="*/ 13 h 32"/>
                <a:gd name="T14" fmla="*/ 47 w 47"/>
                <a:gd name="T15" fmla="*/ 17 h 32"/>
                <a:gd name="T16" fmla="*/ 47 w 47"/>
                <a:gd name="T17" fmla="*/ 19 h 32"/>
                <a:gd name="T18" fmla="*/ 45 w 47"/>
                <a:gd name="T19" fmla="*/ 23 h 32"/>
                <a:gd name="T20" fmla="*/ 43 w 47"/>
                <a:gd name="T21" fmla="*/ 23 h 32"/>
                <a:gd name="T22" fmla="*/ 42 w 47"/>
                <a:gd name="T23" fmla="*/ 22 h 32"/>
                <a:gd name="T24" fmla="*/ 34 w 47"/>
                <a:gd name="T25" fmla="*/ 22 h 32"/>
                <a:gd name="T26" fmla="*/ 33 w 47"/>
                <a:gd name="T27" fmla="*/ 20 h 32"/>
                <a:gd name="T28" fmla="*/ 31 w 47"/>
                <a:gd name="T29" fmla="*/ 20 h 32"/>
                <a:gd name="T30" fmla="*/ 18 w 47"/>
                <a:gd name="T31" fmla="*/ 26 h 32"/>
                <a:gd name="T32" fmla="*/ 18 w 47"/>
                <a:gd name="T33" fmla="*/ 25 h 32"/>
                <a:gd name="T34" fmla="*/ 15 w 47"/>
                <a:gd name="T35" fmla="*/ 22 h 32"/>
                <a:gd name="T36" fmla="*/ 6 w 47"/>
                <a:gd name="T37" fmla="*/ 32 h 32"/>
                <a:gd name="T38" fmla="*/ 4 w 47"/>
                <a:gd name="T39" fmla="*/ 32 h 32"/>
                <a:gd name="T40" fmla="*/ 2 w 47"/>
                <a:gd name="T41" fmla="*/ 26 h 32"/>
                <a:gd name="T42" fmla="*/ 0 w 47"/>
                <a:gd name="T43" fmla="*/ 19 h 32"/>
                <a:gd name="T44" fmla="*/ 3 w 47"/>
                <a:gd name="T45" fmla="*/ 10 h 32"/>
                <a:gd name="T46" fmla="*/ 2 w 47"/>
                <a:gd name="T47" fmla="*/ 1 h 32"/>
                <a:gd name="T48" fmla="*/ 15 w 47"/>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32">
                  <a:moveTo>
                    <a:pt x="15" y="0"/>
                  </a:moveTo>
                  <a:lnTo>
                    <a:pt x="25" y="3"/>
                  </a:lnTo>
                  <a:lnTo>
                    <a:pt x="28" y="7"/>
                  </a:lnTo>
                  <a:lnTo>
                    <a:pt x="36" y="9"/>
                  </a:lnTo>
                  <a:lnTo>
                    <a:pt x="36" y="10"/>
                  </a:lnTo>
                  <a:lnTo>
                    <a:pt x="33" y="12"/>
                  </a:lnTo>
                  <a:lnTo>
                    <a:pt x="40" y="13"/>
                  </a:lnTo>
                  <a:lnTo>
                    <a:pt x="47" y="17"/>
                  </a:lnTo>
                  <a:lnTo>
                    <a:pt x="47" y="19"/>
                  </a:lnTo>
                  <a:lnTo>
                    <a:pt x="45" y="23"/>
                  </a:lnTo>
                  <a:lnTo>
                    <a:pt x="43" y="23"/>
                  </a:lnTo>
                  <a:lnTo>
                    <a:pt x="42" y="22"/>
                  </a:lnTo>
                  <a:lnTo>
                    <a:pt x="34" y="22"/>
                  </a:lnTo>
                  <a:lnTo>
                    <a:pt x="33" y="20"/>
                  </a:lnTo>
                  <a:lnTo>
                    <a:pt x="31" y="20"/>
                  </a:lnTo>
                  <a:lnTo>
                    <a:pt x="18" y="26"/>
                  </a:lnTo>
                  <a:lnTo>
                    <a:pt x="18" y="25"/>
                  </a:lnTo>
                  <a:lnTo>
                    <a:pt x="15" y="22"/>
                  </a:lnTo>
                  <a:lnTo>
                    <a:pt x="6" y="32"/>
                  </a:lnTo>
                  <a:lnTo>
                    <a:pt x="4" y="32"/>
                  </a:lnTo>
                  <a:lnTo>
                    <a:pt x="2" y="26"/>
                  </a:lnTo>
                  <a:lnTo>
                    <a:pt x="0" y="19"/>
                  </a:lnTo>
                  <a:lnTo>
                    <a:pt x="3" y="10"/>
                  </a:lnTo>
                  <a:lnTo>
                    <a:pt x="2" y="1"/>
                  </a:lnTo>
                  <a:lnTo>
                    <a:pt x="1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4" name="Costa Rica">
              <a:extLst>
                <a:ext uri="{FF2B5EF4-FFF2-40B4-BE49-F238E27FC236}">
                  <a16:creationId xmlns:a16="http://schemas.microsoft.com/office/drawing/2014/main" id="{9D814AAB-45A9-CFFE-9215-558151BB12C6}"/>
                </a:ext>
              </a:extLst>
            </p:cNvPr>
            <p:cNvSpPr>
              <a:spLocks/>
            </p:cNvSpPr>
            <p:nvPr/>
          </p:nvSpPr>
          <p:spPr bwMode="auto">
            <a:xfrm>
              <a:off x="3800127" y="4323576"/>
              <a:ext cx="77705" cy="70476"/>
            </a:xfrm>
            <a:custGeom>
              <a:avLst/>
              <a:gdLst>
                <a:gd name="T0" fmla="*/ 1 w 43"/>
                <a:gd name="T1" fmla="*/ 0 h 39"/>
                <a:gd name="T2" fmla="*/ 7 w 43"/>
                <a:gd name="T3" fmla="*/ 0 h 39"/>
                <a:gd name="T4" fmla="*/ 12 w 43"/>
                <a:gd name="T5" fmla="*/ 2 h 39"/>
                <a:gd name="T6" fmla="*/ 18 w 43"/>
                <a:gd name="T7" fmla="*/ 2 h 39"/>
                <a:gd name="T8" fmla="*/ 22 w 43"/>
                <a:gd name="T9" fmla="*/ 6 h 39"/>
                <a:gd name="T10" fmla="*/ 28 w 43"/>
                <a:gd name="T11" fmla="*/ 3 h 39"/>
                <a:gd name="T12" fmla="*/ 29 w 43"/>
                <a:gd name="T13" fmla="*/ 3 h 39"/>
                <a:gd name="T14" fmla="*/ 34 w 43"/>
                <a:gd name="T15" fmla="*/ 14 h 39"/>
                <a:gd name="T16" fmla="*/ 43 w 43"/>
                <a:gd name="T17" fmla="*/ 21 h 39"/>
                <a:gd name="T18" fmla="*/ 40 w 43"/>
                <a:gd name="T19" fmla="*/ 24 h 39"/>
                <a:gd name="T20" fmla="*/ 40 w 43"/>
                <a:gd name="T21" fmla="*/ 27 h 39"/>
                <a:gd name="T22" fmla="*/ 41 w 43"/>
                <a:gd name="T23" fmla="*/ 27 h 39"/>
                <a:gd name="T24" fmla="*/ 41 w 43"/>
                <a:gd name="T25" fmla="*/ 28 h 39"/>
                <a:gd name="T26" fmla="*/ 38 w 43"/>
                <a:gd name="T27" fmla="*/ 37 h 39"/>
                <a:gd name="T28" fmla="*/ 38 w 43"/>
                <a:gd name="T29" fmla="*/ 39 h 39"/>
                <a:gd name="T30" fmla="*/ 37 w 43"/>
                <a:gd name="T31" fmla="*/ 39 h 39"/>
                <a:gd name="T32" fmla="*/ 37 w 43"/>
                <a:gd name="T33" fmla="*/ 37 h 39"/>
                <a:gd name="T34" fmla="*/ 34 w 43"/>
                <a:gd name="T35" fmla="*/ 36 h 39"/>
                <a:gd name="T36" fmla="*/ 34 w 43"/>
                <a:gd name="T37" fmla="*/ 37 h 39"/>
                <a:gd name="T38" fmla="*/ 32 w 43"/>
                <a:gd name="T39" fmla="*/ 37 h 39"/>
                <a:gd name="T40" fmla="*/ 28 w 43"/>
                <a:gd name="T41" fmla="*/ 36 h 39"/>
                <a:gd name="T42" fmla="*/ 28 w 43"/>
                <a:gd name="T43" fmla="*/ 28 h 39"/>
                <a:gd name="T44" fmla="*/ 18 w 43"/>
                <a:gd name="T45" fmla="*/ 24 h 39"/>
                <a:gd name="T46" fmla="*/ 12 w 43"/>
                <a:gd name="T47" fmla="*/ 15 h 39"/>
                <a:gd name="T48" fmla="*/ 12 w 43"/>
                <a:gd name="T49" fmla="*/ 21 h 39"/>
                <a:gd name="T50" fmla="*/ 10 w 43"/>
                <a:gd name="T51" fmla="*/ 21 h 39"/>
                <a:gd name="T52" fmla="*/ 3 w 43"/>
                <a:gd name="T53" fmla="*/ 17 h 39"/>
                <a:gd name="T54" fmla="*/ 0 w 43"/>
                <a:gd name="T55" fmla="*/ 11 h 39"/>
                <a:gd name="T56" fmla="*/ 1 w 43"/>
                <a:gd name="T57" fmla="*/ 2 h 39"/>
                <a:gd name="T58" fmla="*/ 1 w 43"/>
                <a:gd name="T5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39">
                  <a:moveTo>
                    <a:pt x="1" y="0"/>
                  </a:moveTo>
                  <a:lnTo>
                    <a:pt x="7" y="0"/>
                  </a:lnTo>
                  <a:lnTo>
                    <a:pt x="12" y="2"/>
                  </a:lnTo>
                  <a:lnTo>
                    <a:pt x="18" y="2"/>
                  </a:lnTo>
                  <a:lnTo>
                    <a:pt x="22" y="6"/>
                  </a:lnTo>
                  <a:lnTo>
                    <a:pt x="28" y="3"/>
                  </a:lnTo>
                  <a:lnTo>
                    <a:pt x="29" y="3"/>
                  </a:lnTo>
                  <a:lnTo>
                    <a:pt x="34" y="14"/>
                  </a:lnTo>
                  <a:lnTo>
                    <a:pt x="43" y="21"/>
                  </a:lnTo>
                  <a:lnTo>
                    <a:pt x="40" y="24"/>
                  </a:lnTo>
                  <a:lnTo>
                    <a:pt x="40" y="27"/>
                  </a:lnTo>
                  <a:lnTo>
                    <a:pt x="41" y="27"/>
                  </a:lnTo>
                  <a:lnTo>
                    <a:pt x="41" y="28"/>
                  </a:lnTo>
                  <a:lnTo>
                    <a:pt x="38" y="37"/>
                  </a:lnTo>
                  <a:lnTo>
                    <a:pt x="38" y="39"/>
                  </a:lnTo>
                  <a:lnTo>
                    <a:pt x="37" y="39"/>
                  </a:lnTo>
                  <a:lnTo>
                    <a:pt x="37" y="37"/>
                  </a:lnTo>
                  <a:lnTo>
                    <a:pt x="34" y="36"/>
                  </a:lnTo>
                  <a:lnTo>
                    <a:pt x="34" y="37"/>
                  </a:lnTo>
                  <a:lnTo>
                    <a:pt x="32" y="37"/>
                  </a:lnTo>
                  <a:lnTo>
                    <a:pt x="28" y="36"/>
                  </a:lnTo>
                  <a:lnTo>
                    <a:pt x="28" y="28"/>
                  </a:lnTo>
                  <a:lnTo>
                    <a:pt x="18" y="24"/>
                  </a:lnTo>
                  <a:lnTo>
                    <a:pt x="12" y="15"/>
                  </a:lnTo>
                  <a:lnTo>
                    <a:pt x="12" y="21"/>
                  </a:lnTo>
                  <a:lnTo>
                    <a:pt x="10" y="21"/>
                  </a:lnTo>
                  <a:lnTo>
                    <a:pt x="3" y="17"/>
                  </a:lnTo>
                  <a:lnTo>
                    <a:pt x="0" y="11"/>
                  </a:lnTo>
                  <a:lnTo>
                    <a:pt x="1" y="2"/>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5" name="Cuba">
              <a:extLst>
                <a:ext uri="{FF2B5EF4-FFF2-40B4-BE49-F238E27FC236}">
                  <a16:creationId xmlns:a16="http://schemas.microsoft.com/office/drawing/2014/main" id="{4077485E-1A3D-F14C-8A0D-A28B3326EDFE}"/>
                </a:ext>
              </a:extLst>
            </p:cNvPr>
            <p:cNvSpPr>
              <a:spLocks/>
            </p:cNvSpPr>
            <p:nvPr/>
          </p:nvSpPr>
          <p:spPr bwMode="auto">
            <a:xfrm>
              <a:off x="3823620" y="4027217"/>
              <a:ext cx="251182" cy="88546"/>
            </a:xfrm>
            <a:custGeom>
              <a:avLst/>
              <a:gdLst/>
              <a:ahLst/>
              <a:cxnLst/>
              <a:rect l="l" t="t" r="r" b="b"/>
              <a:pathLst>
                <a:path w="253184" h="89252">
                  <a:moveTo>
                    <a:pt x="43715" y="34608"/>
                  </a:moveTo>
                  <a:lnTo>
                    <a:pt x="51001" y="34608"/>
                  </a:lnTo>
                  <a:lnTo>
                    <a:pt x="51001" y="45538"/>
                  </a:lnTo>
                  <a:lnTo>
                    <a:pt x="49180" y="45538"/>
                  </a:lnTo>
                  <a:lnTo>
                    <a:pt x="45536" y="47359"/>
                  </a:lnTo>
                  <a:lnTo>
                    <a:pt x="40072" y="47359"/>
                  </a:lnTo>
                  <a:lnTo>
                    <a:pt x="38250" y="45538"/>
                  </a:lnTo>
                  <a:close/>
                  <a:moveTo>
                    <a:pt x="56466" y="0"/>
                  </a:moveTo>
                  <a:lnTo>
                    <a:pt x="76502" y="0"/>
                  </a:lnTo>
                  <a:lnTo>
                    <a:pt x="111110" y="5465"/>
                  </a:lnTo>
                  <a:lnTo>
                    <a:pt x="129324" y="21858"/>
                  </a:lnTo>
                  <a:lnTo>
                    <a:pt x="149360" y="21858"/>
                  </a:lnTo>
                  <a:lnTo>
                    <a:pt x="162111" y="30965"/>
                  </a:lnTo>
                  <a:lnTo>
                    <a:pt x="163930" y="31875"/>
                  </a:lnTo>
                  <a:lnTo>
                    <a:pt x="145717" y="18215"/>
                  </a:lnTo>
                  <a:lnTo>
                    <a:pt x="162111" y="23680"/>
                  </a:lnTo>
                  <a:lnTo>
                    <a:pt x="169397" y="29144"/>
                  </a:lnTo>
                  <a:lnTo>
                    <a:pt x="173040" y="29144"/>
                  </a:lnTo>
                  <a:lnTo>
                    <a:pt x="173040" y="34609"/>
                  </a:lnTo>
                  <a:lnTo>
                    <a:pt x="169399" y="34609"/>
                  </a:lnTo>
                  <a:lnTo>
                    <a:pt x="180325" y="40072"/>
                  </a:lnTo>
                  <a:lnTo>
                    <a:pt x="194897" y="47358"/>
                  </a:lnTo>
                  <a:lnTo>
                    <a:pt x="218576" y="52823"/>
                  </a:lnTo>
                  <a:lnTo>
                    <a:pt x="218576" y="63752"/>
                  </a:lnTo>
                  <a:lnTo>
                    <a:pt x="238612" y="63752"/>
                  </a:lnTo>
                  <a:lnTo>
                    <a:pt x="253184" y="74680"/>
                  </a:lnTo>
                  <a:lnTo>
                    <a:pt x="253184" y="78323"/>
                  </a:lnTo>
                  <a:lnTo>
                    <a:pt x="227684" y="85609"/>
                  </a:lnTo>
                  <a:lnTo>
                    <a:pt x="227684" y="89252"/>
                  </a:lnTo>
                  <a:lnTo>
                    <a:pt x="173040" y="89252"/>
                  </a:lnTo>
                  <a:lnTo>
                    <a:pt x="167575" y="85609"/>
                  </a:lnTo>
                  <a:lnTo>
                    <a:pt x="167575" y="83788"/>
                  </a:lnTo>
                  <a:lnTo>
                    <a:pt x="180325" y="72859"/>
                  </a:lnTo>
                  <a:lnTo>
                    <a:pt x="160289" y="67394"/>
                  </a:lnTo>
                  <a:lnTo>
                    <a:pt x="145718" y="45537"/>
                  </a:lnTo>
                  <a:lnTo>
                    <a:pt x="116574" y="41894"/>
                  </a:lnTo>
                  <a:lnTo>
                    <a:pt x="100181" y="30965"/>
                  </a:lnTo>
                  <a:lnTo>
                    <a:pt x="67394" y="29144"/>
                  </a:lnTo>
                  <a:lnTo>
                    <a:pt x="61930" y="23679"/>
                  </a:lnTo>
                  <a:lnTo>
                    <a:pt x="65573" y="21858"/>
                  </a:lnTo>
                  <a:lnTo>
                    <a:pt x="71037" y="18215"/>
                  </a:lnTo>
                  <a:lnTo>
                    <a:pt x="51001" y="18215"/>
                  </a:lnTo>
                  <a:lnTo>
                    <a:pt x="40072" y="27322"/>
                  </a:lnTo>
                  <a:lnTo>
                    <a:pt x="23679" y="29144"/>
                  </a:lnTo>
                  <a:lnTo>
                    <a:pt x="10929" y="40072"/>
                  </a:lnTo>
                  <a:lnTo>
                    <a:pt x="9107" y="40072"/>
                  </a:lnTo>
                  <a:lnTo>
                    <a:pt x="0" y="36430"/>
                  </a:lnTo>
                  <a:lnTo>
                    <a:pt x="0" y="34608"/>
                  </a:lnTo>
                  <a:lnTo>
                    <a:pt x="9107" y="30965"/>
                  </a:lnTo>
                  <a:lnTo>
                    <a:pt x="10929" y="18215"/>
                  </a:lnTo>
                  <a:lnTo>
                    <a:pt x="23679"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6" name="Belize">
              <a:extLst>
                <a:ext uri="{FF2B5EF4-FFF2-40B4-BE49-F238E27FC236}">
                  <a16:creationId xmlns:a16="http://schemas.microsoft.com/office/drawing/2014/main" id="{6BC5DF5A-2BC9-54AB-A522-616ACC90337E}"/>
                </a:ext>
              </a:extLst>
            </p:cNvPr>
            <p:cNvSpPr>
              <a:spLocks/>
            </p:cNvSpPr>
            <p:nvPr/>
          </p:nvSpPr>
          <p:spPr bwMode="auto">
            <a:xfrm>
              <a:off x="3718810" y="4146484"/>
              <a:ext cx="30721" cy="63248"/>
            </a:xfrm>
            <a:custGeom>
              <a:avLst/>
              <a:gdLst>
                <a:gd name="T0" fmla="*/ 9 w 17"/>
                <a:gd name="T1" fmla="*/ 0 h 35"/>
                <a:gd name="T2" fmla="*/ 12 w 17"/>
                <a:gd name="T3" fmla="*/ 0 h 35"/>
                <a:gd name="T4" fmla="*/ 17 w 17"/>
                <a:gd name="T5" fmla="*/ 3 h 35"/>
                <a:gd name="T6" fmla="*/ 14 w 17"/>
                <a:gd name="T7" fmla="*/ 21 h 35"/>
                <a:gd name="T8" fmla="*/ 6 w 17"/>
                <a:gd name="T9" fmla="*/ 35 h 35"/>
                <a:gd name="T10" fmla="*/ 0 w 17"/>
                <a:gd name="T11" fmla="*/ 35 h 35"/>
                <a:gd name="T12" fmla="*/ 0 w 17"/>
                <a:gd name="T13" fmla="*/ 8 h 35"/>
                <a:gd name="T14" fmla="*/ 2 w 17"/>
                <a:gd name="T15" fmla="*/ 8 h 35"/>
                <a:gd name="T16" fmla="*/ 6 w 17"/>
                <a:gd name="T17" fmla="*/ 6 h 35"/>
                <a:gd name="T18" fmla="*/ 9 w 17"/>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35">
                  <a:moveTo>
                    <a:pt x="9" y="0"/>
                  </a:moveTo>
                  <a:lnTo>
                    <a:pt x="12" y="0"/>
                  </a:lnTo>
                  <a:lnTo>
                    <a:pt x="17" y="3"/>
                  </a:lnTo>
                  <a:lnTo>
                    <a:pt x="14" y="21"/>
                  </a:lnTo>
                  <a:lnTo>
                    <a:pt x="6" y="35"/>
                  </a:lnTo>
                  <a:lnTo>
                    <a:pt x="0" y="35"/>
                  </a:lnTo>
                  <a:lnTo>
                    <a:pt x="0" y="8"/>
                  </a:lnTo>
                  <a:lnTo>
                    <a:pt x="2" y="8"/>
                  </a:lnTo>
                  <a:lnTo>
                    <a:pt x="6" y="6"/>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7" name="Greenland - Offshore">
              <a:extLst>
                <a:ext uri="{FF2B5EF4-FFF2-40B4-BE49-F238E27FC236}">
                  <a16:creationId xmlns:a16="http://schemas.microsoft.com/office/drawing/2014/main" id="{2DFCBFB5-D88D-BEF8-001A-DAD66D2B5CE3}"/>
                </a:ext>
              </a:extLst>
            </p:cNvPr>
            <p:cNvSpPr/>
            <p:nvPr/>
          </p:nvSpPr>
          <p:spPr>
            <a:xfrm>
              <a:off x="4114830" y="727607"/>
              <a:ext cx="1315871" cy="1577254"/>
            </a:xfrm>
            <a:custGeom>
              <a:avLst/>
              <a:gdLst/>
              <a:ahLst/>
              <a:cxnLst/>
              <a:rect l="l" t="t" r="r" b="b"/>
              <a:pathLst>
                <a:path w="1326361" h="1589827">
                  <a:moveTo>
                    <a:pt x="507533" y="1543579"/>
                  </a:moveTo>
                  <a:cubicBezTo>
                    <a:pt x="512900" y="1544838"/>
                    <a:pt x="518803" y="1546575"/>
                    <a:pt x="524230" y="1548071"/>
                  </a:cubicBezTo>
                  <a:cubicBezTo>
                    <a:pt x="520712" y="1557115"/>
                    <a:pt x="518208" y="1566522"/>
                    <a:pt x="514986" y="1575685"/>
                  </a:cubicBezTo>
                  <a:cubicBezTo>
                    <a:pt x="511052" y="1570295"/>
                    <a:pt x="507175" y="1563764"/>
                    <a:pt x="509738" y="1556935"/>
                  </a:cubicBezTo>
                  <a:cubicBezTo>
                    <a:pt x="511886" y="1552264"/>
                    <a:pt x="509561" y="1547772"/>
                    <a:pt x="507533" y="1543579"/>
                  </a:cubicBezTo>
                  <a:close/>
                  <a:moveTo>
                    <a:pt x="435827" y="1516730"/>
                  </a:moveTo>
                  <a:cubicBezTo>
                    <a:pt x="440086" y="1516856"/>
                    <a:pt x="444712" y="1518259"/>
                    <a:pt x="448332" y="1519095"/>
                  </a:cubicBezTo>
                  <a:cubicBezTo>
                    <a:pt x="466780" y="1522381"/>
                    <a:pt x="471689" y="1544779"/>
                    <a:pt x="488641" y="1550805"/>
                  </a:cubicBezTo>
                  <a:cubicBezTo>
                    <a:pt x="501156" y="1555291"/>
                    <a:pt x="497141" y="1573798"/>
                    <a:pt x="486065" y="1577738"/>
                  </a:cubicBezTo>
                  <a:cubicBezTo>
                    <a:pt x="472948" y="1583590"/>
                    <a:pt x="456484" y="1596254"/>
                    <a:pt x="442644" y="1585866"/>
                  </a:cubicBezTo>
                  <a:cubicBezTo>
                    <a:pt x="437613" y="1583474"/>
                    <a:pt x="439832" y="1578160"/>
                    <a:pt x="440726" y="1574096"/>
                  </a:cubicBezTo>
                  <a:cubicBezTo>
                    <a:pt x="432469" y="1570877"/>
                    <a:pt x="424383" y="1566631"/>
                    <a:pt x="419889" y="1558693"/>
                  </a:cubicBezTo>
                  <a:cubicBezTo>
                    <a:pt x="424619" y="1558329"/>
                    <a:pt x="429349" y="1558213"/>
                    <a:pt x="434143" y="1558213"/>
                  </a:cubicBezTo>
                  <a:lnTo>
                    <a:pt x="422221" y="1551939"/>
                  </a:lnTo>
                  <a:cubicBezTo>
                    <a:pt x="424440" y="1548239"/>
                    <a:pt x="426837" y="1544597"/>
                    <a:pt x="429292" y="1541071"/>
                  </a:cubicBezTo>
                  <a:cubicBezTo>
                    <a:pt x="427731" y="1534863"/>
                    <a:pt x="423961" y="1528473"/>
                    <a:pt x="425521" y="1522025"/>
                  </a:cubicBezTo>
                  <a:cubicBezTo>
                    <a:pt x="427675" y="1517755"/>
                    <a:pt x="431567" y="1516604"/>
                    <a:pt x="435827" y="1516730"/>
                  </a:cubicBezTo>
                  <a:close/>
                  <a:moveTo>
                    <a:pt x="491142" y="1467836"/>
                  </a:moveTo>
                  <a:cubicBezTo>
                    <a:pt x="495965" y="1471117"/>
                    <a:pt x="500551" y="1474697"/>
                    <a:pt x="504667" y="1478873"/>
                  </a:cubicBezTo>
                  <a:cubicBezTo>
                    <a:pt x="499257" y="1478337"/>
                    <a:pt x="493907" y="1477680"/>
                    <a:pt x="488614" y="1476845"/>
                  </a:cubicBezTo>
                  <a:cubicBezTo>
                    <a:pt x="489495" y="1473861"/>
                    <a:pt x="490319" y="1470819"/>
                    <a:pt x="491142" y="1467836"/>
                  </a:cubicBezTo>
                  <a:close/>
                  <a:moveTo>
                    <a:pt x="1130402" y="1459810"/>
                  </a:moveTo>
                  <a:cubicBezTo>
                    <a:pt x="1128682" y="1462037"/>
                    <a:pt x="1127016" y="1464323"/>
                    <a:pt x="1125289" y="1466550"/>
                  </a:cubicBezTo>
                  <a:cubicBezTo>
                    <a:pt x="1130700" y="1474013"/>
                    <a:pt x="1131655" y="1483521"/>
                    <a:pt x="1133734" y="1492306"/>
                  </a:cubicBezTo>
                  <a:cubicBezTo>
                    <a:pt x="1125648" y="1496578"/>
                    <a:pt x="1117975" y="1501568"/>
                    <a:pt x="1109835" y="1505664"/>
                  </a:cubicBezTo>
                  <a:cubicBezTo>
                    <a:pt x="1108467" y="1504036"/>
                    <a:pt x="1107336" y="1502355"/>
                    <a:pt x="1106205" y="1500669"/>
                  </a:cubicBezTo>
                  <a:cubicBezTo>
                    <a:pt x="1092945" y="1504159"/>
                    <a:pt x="1079508" y="1506927"/>
                    <a:pt x="1066011" y="1508972"/>
                  </a:cubicBezTo>
                  <a:cubicBezTo>
                    <a:pt x="1067440" y="1499764"/>
                    <a:pt x="1073501" y="1493024"/>
                    <a:pt x="1080700" y="1487729"/>
                  </a:cubicBezTo>
                  <a:cubicBezTo>
                    <a:pt x="1077964" y="1484843"/>
                    <a:pt x="1073860" y="1481953"/>
                    <a:pt x="1075343" y="1477381"/>
                  </a:cubicBezTo>
                  <a:cubicBezTo>
                    <a:pt x="1078262" y="1471845"/>
                    <a:pt x="1084025" y="1476176"/>
                    <a:pt x="1087296" y="1478944"/>
                  </a:cubicBezTo>
                  <a:cubicBezTo>
                    <a:pt x="1102995" y="1475758"/>
                    <a:pt x="1116194" y="1466732"/>
                    <a:pt x="1130402" y="1459810"/>
                  </a:cubicBezTo>
                  <a:close/>
                  <a:moveTo>
                    <a:pt x="456196" y="1443761"/>
                  </a:moveTo>
                  <a:cubicBezTo>
                    <a:pt x="458846" y="1451381"/>
                    <a:pt x="461027" y="1459659"/>
                    <a:pt x="457432" y="1467338"/>
                  </a:cubicBezTo>
                  <a:cubicBezTo>
                    <a:pt x="453426" y="1463679"/>
                    <a:pt x="444471" y="1461279"/>
                    <a:pt x="447122" y="1454260"/>
                  </a:cubicBezTo>
                  <a:cubicBezTo>
                    <a:pt x="448595" y="1449641"/>
                    <a:pt x="452719" y="1446760"/>
                    <a:pt x="456196" y="1443761"/>
                  </a:cubicBezTo>
                  <a:close/>
                  <a:moveTo>
                    <a:pt x="462472" y="1416624"/>
                  </a:moveTo>
                  <a:cubicBezTo>
                    <a:pt x="465245" y="1414724"/>
                    <a:pt x="469375" y="1414812"/>
                    <a:pt x="475069" y="1417969"/>
                  </a:cubicBezTo>
                  <a:cubicBezTo>
                    <a:pt x="470538" y="1422821"/>
                    <a:pt x="464812" y="1426388"/>
                    <a:pt x="458014" y="1427206"/>
                  </a:cubicBezTo>
                  <a:cubicBezTo>
                    <a:pt x="458283" y="1422412"/>
                    <a:pt x="459699" y="1418525"/>
                    <a:pt x="462472" y="1416624"/>
                  </a:cubicBezTo>
                  <a:close/>
                  <a:moveTo>
                    <a:pt x="394347" y="1327877"/>
                  </a:moveTo>
                  <a:lnTo>
                    <a:pt x="403415" y="1328229"/>
                  </a:lnTo>
                  <a:cubicBezTo>
                    <a:pt x="403534" y="1330981"/>
                    <a:pt x="403653" y="1333792"/>
                    <a:pt x="403832" y="1336661"/>
                  </a:cubicBezTo>
                  <a:cubicBezTo>
                    <a:pt x="400134" y="1337540"/>
                    <a:pt x="396435" y="1338477"/>
                    <a:pt x="392796" y="1339414"/>
                  </a:cubicBezTo>
                  <a:cubicBezTo>
                    <a:pt x="393393" y="1335549"/>
                    <a:pt x="393930" y="1331683"/>
                    <a:pt x="394347" y="1327877"/>
                  </a:cubicBezTo>
                  <a:close/>
                  <a:moveTo>
                    <a:pt x="1152289" y="1322477"/>
                  </a:moveTo>
                  <a:cubicBezTo>
                    <a:pt x="1163487" y="1320854"/>
                    <a:pt x="1175042" y="1322117"/>
                    <a:pt x="1185637" y="1326203"/>
                  </a:cubicBezTo>
                  <a:cubicBezTo>
                    <a:pt x="1192047" y="1331790"/>
                    <a:pt x="1194980" y="1340810"/>
                    <a:pt x="1202820" y="1344834"/>
                  </a:cubicBezTo>
                  <a:cubicBezTo>
                    <a:pt x="1208687" y="1348803"/>
                    <a:pt x="1218508" y="1351926"/>
                    <a:pt x="1215515" y="1361002"/>
                  </a:cubicBezTo>
                  <a:cubicBezTo>
                    <a:pt x="1208449" y="1359378"/>
                    <a:pt x="1201383" y="1357817"/>
                    <a:pt x="1194258" y="1356672"/>
                  </a:cubicBezTo>
                  <a:cubicBezTo>
                    <a:pt x="1198748" y="1362924"/>
                    <a:pt x="1205337" y="1366955"/>
                    <a:pt x="1211084" y="1371819"/>
                  </a:cubicBezTo>
                  <a:cubicBezTo>
                    <a:pt x="1211025" y="1375608"/>
                    <a:pt x="1210303" y="1379334"/>
                    <a:pt x="1209946" y="1383060"/>
                  </a:cubicBezTo>
                  <a:cubicBezTo>
                    <a:pt x="1201086" y="1381797"/>
                    <a:pt x="1194258" y="1376087"/>
                    <a:pt x="1188391" y="1369897"/>
                  </a:cubicBezTo>
                  <a:cubicBezTo>
                    <a:pt x="1180492" y="1360342"/>
                    <a:pt x="1167440" y="1357518"/>
                    <a:pt x="1159831" y="1347658"/>
                  </a:cubicBezTo>
                  <a:cubicBezTo>
                    <a:pt x="1153488" y="1341046"/>
                    <a:pt x="1154925" y="1330589"/>
                    <a:pt x="1152289" y="1322477"/>
                  </a:cubicBezTo>
                  <a:close/>
                  <a:moveTo>
                    <a:pt x="1146272" y="1317342"/>
                  </a:moveTo>
                  <a:cubicBezTo>
                    <a:pt x="1145610" y="1321335"/>
                    <a:pt x="1144947" y="1325330"/>
                    <a:pt x="1144285" y="1329381"/>
                  </a:cubicBezTo>
                  <a:cubicBezTo>
                    <a:pt x="1140372" y="1328340"/>
                    <a:pt x="1136520" y="1327239"/>
                    <a:pt x="1132727" y="1326198"/>
                  </a:cubicBezTo>
                  <a:cubicBezTo>
                    <a:pt x="1136820" y="1322725"/>
                    <a:pt x="1141456" y="1319831"/>
                    <a:pt x="1146272" y="1317342"/>
                  </a:cubicBezTo>
                  <a:close/>
                  <a:moveTo>
                    <a:pt x="396431" y="1278717"/>
                  </a:moveTo>
                  <a:lnTo>
                    <a:pt x="406842" y="1281285"/>
                  </a:lnTo>
                  <a:cubicBezTo>
                    <a:pt x="405088" y="1289341"/>
                    <a:pt x="401227" y="1296803"/>
                    <a:pt x="395028" y="1302294"/>
                  </a:cubicBezTo>
                  <a:cubicBezTo>
                    <a:pt x="397074" y="1295728"/>
                    <a:pt x="400057" y="1289520"/>
                    <a:pt x="402981" y="1283312"/>
                  </a:cubicBezTo>
                  <a:lnTo>
                    <a:pt x="393799" y="1287252"/>
                  </a:lnTo>
                  <a:cubicBezTo>
                    <a:pt x="394677" y="1284387"/>
                    <a:pt x="395553" y="1281582"/>
                    <a:pt x="396431" y="1278717"/>
                  </a:cubicBezTo>
                  <a:close/>
                  <a:moveTo>
                    <a:pt x="390786" y="1253633"/>
                  </a:moveTo>
                  <a:cubicBezTo>
                    <a:pt x="385695" y="1258037"/>
                    <a:pt x="379211" y="1260656"/>
                    <a:pt x="372725" y="1257263"/>
                  </a:cubicBezTo>
                  <a:cubicBezTo>
                    <a:pt x="378241" y="1254288"/>
                    <a:pt x="384544" y="1253693"/>
                    <a:pt x="390786" y="1253633"/>
                  </a:cubicBezTo>
                  <a:close/>
                  <a:moveTo>
                    <a:pt x="370893" y="1171591"/>
                  </a:moveTo>
                  <a:cubicBezTo>
                    <a:pt x="373537" y="1170361"/>
                    <a:pt x="377744" y="1173559"/>
                    <a:pt x="375820" y="1176450"/>
                  </a:cubicBezTo>
                  <a:cubicBezTo>
                    <a:pt x="372936" y="1179894"/>
                    <a:pt x="366205" y="1173989"/>
                    <a:pt x="370893" y="1171591"/>
                  </a:cubicBezTo>
                  <a:close/>
                  <a:moveTo>
                    <a:pt x="1289843" y="1166349"/>
                  </a:moveTo>
                  <a:cubicBezTo>
                    <a:pt x="1290793" y="1170845"/>
                    <a:pt x="1291800" y="1175339"/>
                    <a:pt x="1292748" y="1179894"/>
                  </a:cubicBezTo>
                  <a:lnTo>
                    <a:pt x="1278702" y="1177497"/>
                  </a:lnTo>
                  <a:cubicBezTo>
                    <a:pt x="1282259" y="1173661"/>
                    <a:pt x="1285992" y="1169945"/>
                    <a:pt x="1289843" y="1166349"/>
                  </a:cubicBezTo>
                  <a:close/>
                  <a:moveTo>
                    <a:pt x="1257462" y="1134418"/>
                  </a:moveTo>
                  <a:cubicBezTo>
                    <a:pt x="1260468" y="1140962"/>
                    <a:pt x="1264914" y="1146910"/>
                    <a:pt x="1266657" y="1153928"/>
                  </a:cubicBezTo>
                  <a:cubicBezTo>
                    <a:pt x="1264973" y="1159104"/>
                    <a:pt x="1259986" y="1167849"/>
                    <a:pt x="1253495" y="1163446"/>
                  </a:cubicBezTo>
                  <a:cubicBezTo>
                    <a:pt x="1242077" y="1157974"/>
                    <a:pt x="1242738" y="1134240"/>
                    <a:pt x="1257462" y="1134418"/>
                  </a:cubicBezTo>
                  <a:close/>
                  <a:moveTo>
                    <a:pt x="1307932" y="1096613"/>
                  </a:moveTo>
                  <a:cubicBezTo>
                    <a:pt x="1310296" y="1101310"/>
                    <a:pt x="1312543" y="1106129"/>
                    <a:pt x="1314319" y="1111123"/>
                  </a:cubicBezTo>
                  <a:cubicBezTo>
                    <a:pt x="1311243" y="1112490"/>
                    <a:pt x="1308224" y="1113919"/>
                    <a:pt x="1305266" y="1115343"/>
                  </a:cubicBezTo>
                  <a:cubicBezTo>
                    <a:pt x="1308106" y="1120577"/>
                    <a:pt x="1310829" y="1125868"/>
                    <a:pt x="1313608" y="1131164"/>
                  </a:cubicBezTo>
                  <a:cubicBezTo>
                    <a:pt x="1317630" y="1128664"/>
                    <a:pt x="1321653" y="1126165"/>
                    <a:pt x="1325850" y="1123850"/>
                  </a:cubicBezTo>
                  <a:cubicBezTo>
                    <a:pt x="1325139" y="1130744"/>
                    <a:pt x="1323368" y="1137463"/>
                    <a:pt x="1320410" y="1143768"/>
                  </a:cubicBezTo>
                  <a:cubicBezTo>
                    <a:pt x="1318163" y="1140854"/>
                    <a:pt x="1316326" y="1137166"/>
                    <a:pt x="1312779" y="1135681"/>
                  </a:cubicBezTo>
                  <a:cubicBezTo>
                    <a:pt x="1304559" y="1136987"/>
                    <a:pt x="1296514" y="1142042"/>
                    <a:pt x="1288351" y="1137407"/>
                  </a:cubicBezTo>
                  <a:cubicBezTo>
                    <a:pt x="1290720" y="1126585"/>
                    <a:pt x="1285218" y="1112966"/>
                    <a:pt x="1292788" y="1103630"/>
                  </a:cubicBezTo>
                  <a:cubicBezTo>
                    <a:pt x="1297107" y="1105115"/>
                    <a:pt x="1300951" y="1107732"/>
                    <a:pt x="1304913" y="1110114"/>
                  </a:cubicBezTo>
                  <a:cubicBezTo>
                    <a:pt x="1305859" y="1105591"/>
                    <a:pt x="1306806" y="1101074"/>
                    <a:pt x="1307932" y="1096613"/>
                  </a:cubicBezTo>
                  <a:close/>
                  <a:moveTo>
                    <a:pt x="58997" y="996528"/>
                  </a:moveTo>
                  <a:cubicBezTo>
                    <a:pt x="61628" y="993775"/>
                    <a:pt x="66215" y="998302"/>
                    <a:pt x="63401" y="1000993"/>
                  </a:cubicBezTo>
                  <a:cubicBezTo>
                    <a:pt x="60771" y="1003807"/>
                    <a:pt x="56183" y="999220"/>
                    <a:pt x="58997" y="996528"/>
                  </a:cubicBezTo>
                  <a:close/>
                  <a:moveTo>
                    <a:pt x="1245884" y="988757"/>
                  </a:moveTo>
                  <a:cubicBezTo>
                    <a:pt x="1244377" y="992790"/>
                    <a:pt x="1242806" y="996703"/>
                    <a:pt x="1241237" y="1000676"/>
                  </a:cubicBezTo>
                  <a:cubicBezTo>
                    <a:pt x="1246851" y="1001098"/>
                    <a:pt x="1252523" y="1001338"/>
                    <a:pt x="1258133" y="1001879"/>
                  </a:cubicBezTo>
                  <a:cubicBezTo>
                    <a:pt x="1249504" y="1004708"/>
                    <a:pt x="1240513" y="1005311"/>
                    <a:pt x="1232549" y="1000735"/>
                  </a:cubicBezTo>
                  <a:cubicBezTo>
                    <a:pt x="1235445" y="995138"/>
                    <a:pt x="1238945" y="989360"/>
                    <a:pt x="1245884" y="988757"/>
                  </a:cubicBezTo>
                  <a:close/>
                  <a:moveTo>
                    <a:pt x="72320" y="981535"/>
                  </a:moveTo>
                  <a:cubicBezTo>
                    <a:pt x="75409" y="983167"/>
                    <a:pt x="76964" y="985720"/>
                    <a:pt x="72162" y="986928"/>
                  </a:cubicBezTo>
                  <a:cubicBezTo>
                    <a:pt x="69260" y="991764"/>
                    <a:pt x="53674" y="984149"/>
                    <a:pt x="63279" y="981670"/>
                  </a:cubicBezTo>
                  <a:cubicBezTo>
                    <a:pt x="64609" y="979193"/>
                    <a:pt x="69231" y="979903"/>
                    <a:pt x="72320" y="981535"/>
                  </a:cubicBezTo>
                  <a:close/>
                  <a:moveTo>
                    <a:pt x="1226952" y="977216"/>
                  </a:moveTo>
                  <a:cubicBezTo>
                    <a:pt x="1229781" y="978287"/>
                    <a:pt x="1232611" y="979358"/>
                    <a:pt x="1235561" y="980251"/>
                  </a:cubicBezTo>
                  <a:cubicBezTo>
                    <a:pt x="1234537" y="982750"/>
                    <a:pt x="1233514" y="985250"/>
                    <a:pt x="1232551" y="987749"/>
                  </a:cubicBezTo>
                  <a:lnTo>
                    <a:pt x="1222016" y="983286"/>
                  </a:lnTo>
                  <a:cubicBezTo>
                    <a:pt x="1223642" y="981203"/>
                    <a:pt x="1225267" y="979179"/>
                    <a:pt x="1226952" y="977216"/>
                  </a:cubicBezTo>
                  <a:close/>
                  <a:moveTo>
                    <a:pt x="1280804" y="968186"/>
                  </a:moveTo>
                  <a:cubicBezTo>
                    <a:pt x="1284085" y="969320"/>
                    <a:pt x="1288800" y="968543"/>
                    <a:pt x="1291187" y="971586"/>
                  </a:cubicBezTo>
                  <a:cubicBezTo>
                    <a:pt x="1295006" y="979695"/>
                    <a:pt x="1290114" y="988461"/>
                    <a:pt x="1291485" y="996934"/>
                  </a:cubicBezTo>
                  <a:cubicBezTo>
                    <a:pt x="1294231" y="1013690"/>
                    <a:pt x="1298767" y="1030271"/>
                    <a:pt x="1298409" y="1047447"/>
                  </a:cubicBezTo>
                  <a:cubicBezTo>
                    <a:pt x="1291665" y="1027346"/>
                    <a:pt x="1286353" y="1006770"/>
                    <a:pt x="1281340" y="986194"/>
                  </a:cubicBezTo>
                  <a:lnTo>
                    <a:pt x="1289635" y="985782"/>
                  </a:lnTo>
                  <a:cubicBezTo>
                    <a:pt x="1284562" y="981367"/>
                    <a:pt x="1280206" y="975645"/>
                    <a:pt x="1280804" y="968186"/>
                  </a:cubicBezTo>
                  <a:close/>
                  <a:moveTo>
                    <a:pt x="0" y="892298"/>
                  </a:moveTo>
                  <a:cubicBezTo>
                    <a:pt x="11154" y="890430"/>
                    <a:pt x="22427" y="892478"/>
                    <a:pt x="30601" y="900735"/>
                  </a:cubicBezTo>
                  <a:cubicBezTo>
                    <a:pt x="19805" y="907485"/>
                    <a:pt x="6203" y="903147"/>
                    <a:pt x="0" y="892298"/>
                  </a:cubicBezTo>
                  <a:close/>
                  <a:moveTo>
                    <a:pt x="32607" y="887776"/>
                  </a:moveTo>
                  <a:cubicBezTo>
                    <a:pt x="42291" y="887419"/>
                    <a:pt x="51380" y="890683"/>
                    <a:pt x="59696" y="895312"/>
                  </a:cubicBezTo>
                  <a:cubicBezTo>
                    <a:pt x="51499" y="896261"/>
                    <a:pt x="43418" y="897388"/>
                    <a:pt x="35281" y="898456"/>
                  </a:cubicBezTo>
                  <a:close/>
                  <a:moveTo>
                    <a:pt x="149779" y="881835"/>
                  </a:moveTo>
                  <a:cubicBezTo>
                    <a:pt x="150889" y="882506"/>
                    <a:pt x="151558" y="883803"/>
                    <a:pt x="150616" y="885087"/>
                  </a:cubicBezTo>
                  <a:cubicBezTo>
                    <a:pt x="148974" y="887420"/>
                    <a:pt x="144474" y="884795"/>
                    <a:pt x="146298" y="882345"/>
                  </a:cubicBezTo>
                  <a:cubicBezTo>
                    <a:pt x="147119" y="881121"/>
                    <a:pt x="148670" y="881164"/>
                    <a:pt x="149779" y="881835"/>
                  </a:cubicBezTo>
                  <a:close/>
                  <a:moveTo>
                    <a:pt x="1257634" y="869360"/>
                  </a:moveTo>
                  <a:cubicBezTo>
                    <a:pt x="1260585" y="876111"/>
                    <a:pt x="1263772" y="882677"/>
                    <a:pt x="1266664" y="889427"/>
                  </a:cubicBezTo>
                  <a:cubicBezTo>
                    <a:pt x="1261648" y="884440"/>
                    <a:pt x="1257103" y="879089"/>
                    <a:pt x="1252618" y="873678"/>
                  </a:cubicBezTo>
                  <a:cubicBezTo>
                    <a:pt x="1254211" y="872218"/>
                    <a:pt x="1255923" y="870819"/>
                    <a:pt x="1257634" y="869360"/>
                  </a:cubicBezTo>
                  <a:close/>
                  <a:moveTo>
                    <a:pt x="138730" y="868974"/>
                  </a:moveTo>
                  <a:cubicBezTo>
                    <a:pt x="145978" y="867853"/>
                    <a:pt x="138791" y="878385"/>
                    <a:pt x="136948" y="871467"/>
                  </a:cubicBezTo>
                  <a:close/>
                  <a:moveTo>
                    <a:pt x="1317271" y="840264"/>
                  </a:moveTo>
                  <a:cubicBezTo>
                    <a:pt x="1320341" y="850829"/>
                    <a:pt x="1316327" y="861277"/>
                    <a:pt x="1313494" y="871366"/>
                  </a:cubicBezTo>
                  <a:lnTo>
                    <a:pt x="1304287" y="871366"/>
                  </a:lnTo>
                  <a:cubicBezTo>
                    <a:pt x="1307357" y="860801"/>
                    <a:pt x="1307297" y="847010"/>
                    <a:pt x="1317271" y="840264"/>
                  </a:cubicBezTo>
                  <a:close/>
                  <a:moveTo>
                    <a:pt x="1250612" y="835247"/>
                  </a:moveTo>
                  <a:cubicBezTo>
                    <a:pt x="1263442" y="835666"/>
                    <a:pt x="1272236" y="846093"/>
                    <a:pt x="1282718" y="851904"/>
                  </a:cubicBezTo>
                  <a:lnTo>
                    <a:pt x="1279585" y="856818"/>
                  </a:lnTo>
                  <a:cubicBezTo>
                    <a:pt x="1268502" y="852025"/>
                    <a:pt x="1255011" y="847829"/>
                    <a:pt x="1250612" y="835247"/>
                  </a:cubicBezTo>
                  <a:close/>
                  <a:moveTo>
                    <a:pt x="1253043" y="825974"/>
                  </a:moveTo>
                  <a:cubicBezTo>
                    <a:pt x="1254125" y="829978"/>
                    <a:pt x="1245595" y="830733"/>
                    <a:pt x="1246196" y="826496"/>
                  </a:cubicBezTo>
                  <a:cubicBezTo>
                    <a:pt x="1247277" y="824117"/>
                    <a:pt x="1251542" y="823710"/>
                    <a:pt x="1253043" y="825974"/>
                  </a:cubicBezTo>
                  <a:close/>
                  <a:moveTo>
                    <a:pt x="1255629" y="807408"/>
                  </a:moveTo>
                  <a:cubicBezTo>
                    <a:pt x="1252870" y="810167"/>
                    <a:pt x="1250110" y="812986"/>
                    <a:pt x="1247291" y="815686"/>
                  </a:cubicBezTo>
                  <a:cubicBezTo>
                    <a:pt x="1244592" y="808908"/>
                    <a:pt x="1248851" y="804649"/>
                    <a:pt x="1255629" y="807408"/>
                  </a:cubicBezTo>
                  <a:close/>
                  <a:moveTo>
                    <a:pt x="1272566" y="785584"/>
                  </a:moveTo>
                  <a:cubicBezTo>
                    <a:pt x="1274147" y="790333"/>
                    <a:pt x="1274966" y="795263"/>
                    <a:pt x="1276195" y="800132"/>
                  </a:cubicBezTo>
                  <a:lnTo>
                    <a:pt x="1269172" y="797697"/>
                  </a:lnTo>
                  <a:cubicBezTo>
                    <a:pt x="1270343" y="793680"/>
                    <a:pt x="1271396" y="789602"/>
                    <a:pt x="1272566" y="785584"/>
                  </a:cubicBezTo>
                  <a:close/>
                  <a:moveTo>
                    <a:pt x="1279575" y="782575"/>
                  </a:moveTo>
                  <a:cubicBezTo>
                    <a:pt x="1282841" y="789207"/>
                    <a:pt x="1286109" y="795781"/>
                    <a:pt x="1289739" y="802234"/>
                  </a:cubicBezTo>
                  <a:lnTo>
                    <a:pt x="1281209" y="806655"/>
                  </a:lnTo>
                  <a:cubicBezTo>
                    <a:pt x="1279515" y="798709"/>
                    <a:pt x="1277699" y="790642"/>
                    <a:pt x="1279575" y="782575"/>
                  </a:cubicBezTo>
                  <a:close/>
                  <a:moveTo>
                    <a:pt x="1284312" y="717865"/>
                  </a:moveTo>
                  <a:cubicBezTo>
                    <a:pt x="1284131" y="725319"/>
                    <a:pt x="1283773" y="733254"/>
                    <a:pt x="1279516" y="739690"/>
                  </a:cubicBezTo>
                  <a:cubicBezTo>
                    <a:pt x="1286230" y="744197"/>
                    <a:pt x="1280835" y="747083"/>
                    <a:pt x="1275200" y="748466"/>
                  </a:cubicBezTo>
                  <a:cubicBezTo>
                    <a:pt x="1267167" y="737284"/>
                    <a:pt x="1275560" y="725319"/>
                    <a:pt x="1284312" y="717865"/>
                  </a:cubicBezTo>
                  <a:close/>
                  <a:moveTo>
                    <a:pt x="1321370" y="684253"/>
                  </a:moveTo>
                  <a:cubicBezTo>
                    <a:pt x="1322244" y="690052"/>
                    <a:pt x="1323352" y="695851"/>
                    <a:pt x="1323235" y="701831"/>
                  </a:cubicBezTo>
                  <a:cubicBezTo>
                    <a:pt x="1319972" y="706919"/>
                    <a:pt x="1315601" y="711182"/>
                    <a:pt x="1311813" y="715856"/>
                  </a:cubicBezTo>
                  <a:cubicBezTo>
                    <a:pt x="1312571" y="704729"/>
                    <a:pt x="1313561" y="692833"/>
                    <a:pt x="1321370" y="684253"/>
                  </a:cubicBezTo>
                  <a:close/>
                  <a:moveTo>
                    <a:pt x="1277316" y="543791"/>
                  </a:moveTo>
                  <a:cubicBezTo>
                    <a:pt x="1282332" y="547591"/>
                    <a:pt x="1287231" y="551452"/>
                    <a:pt x="1292248" y="555310"/>
                  </a:cubicBezTo>
                  <a:lnTo>
                    <a:pt x="1291775" y="560774"/>
                  </a:lnTo>
                  <a:cubicBezTo>
                    <a:pt x="1284222" y="564870"/>
                    <a:pt x="1276963" y="569325"/>
                    <a:pt x="1269172" y="572886"/>
                  </a:cubicBezTo>
                  <a:cubicBezTo>
                    <a:pt x="1270884" y="562909"/>
                    <a:pt x="1272714" y="552875"/>
                    <a:pt x="1277316" y="543791"/>
                  </a:cubicBezTo>
                  <a:close/>
                  <a:moveTo>
                    <a:pt x="139955" y="475563"/>
                  </a:moveTo>
                  <a:cubicBezTo>
                    <a:pt x="143661" y="480109"/>
                    <a:pt x="146308" y="485313"/>
                    <a:pt x="147485" y="491115"/>
                  </a:cubicBezTo>
                  <a:cubicBezTo>
                    <a:pt x="141073" y="488423"/>
                    <a:pt x="137954" y="482383"/>
                    <a:pt x="139955" y="475563"/>
                  </a:cubicBezTo>
                  <a:close/>
                  <a:moveTo>
                    <a:pt x="1313282" y="312026"/>
                  </a:moveTo>
                  <a:cubicBezTo>
                    <a:pt x="1318623" y="321604"/>
                    <a:pt x="1323541" y="331476"/>
                    <a:pt x="1326361" y="342125"/>
                  </a:cubicBezTo>
                  <a:lnTo>
                    <a:pt x="1318022" y="341710"/>
                  </a:lnTo>
                  <a:cubicBezTo>
                    <a:pt x="1312863" y="333559"/>
                    <a:pt x="1307643" y="325468"/>
                    <a:pt x="1302783" y="317200"/>
                  </a:cubicBezTo>
                  <a:close/>
                  <a:moveTo>
                    <a:pt x="1275647" y="247312"/>
                  </a:moveTo>
                  <a:lnTo>
                    <a:pt x="1281244" y="247312"/>
                  </a:lnTo>
                  <a:cubicBezTo>
                    <a:pt x="1285946" y="265816"/>
                    <a:pt x="1294043" y="283657"/>
                    <a:pt x="1294758" y="302996"/>
                  </a:cubicBezTo>
                  <a:cubicBezTo>
                    <a:pt x="1288089" y="301743"/>
                    <a:pt x="1280707" y="299293"/>
                    <a:pt x="1280528" y="290701"/>
                  </a:cubicBezTo>
                  <a:cubicBezTo>
                    <a:pt x="1275945" y="277036"/>
                    <a:pt x="1267669" y="261339"/>
                    <a:pt x="1275647" y="247312"/>
                  </a:cubicBezTo>
                  <a:close/>
                  <a:moveTo>
                    <a:pt x="1307848" y="241293"/>
                  </a:moveTo>
                  <a:cubicBezTo>
                    <a:pt x="1311854" y="256183"/>
                    <a:pt x="1316230" y="271073"/>
                    <a:pt x="1317833" y="286441"/>
                  </a:cubicBezTo>
                  <a:cubicBezTo>
                    <a:pt x="1314629" y="283931"/>
                    <a:pt x="1310806" y="281299"/>
                    <a:pt x="1311299" y="276815"/>
                  </a:cubicBezTo>
                  <a:cubicBezTo>
                    <a:pt x="1311299" y="264856"/>
                    <a:pt x="1303287" y="253013"/>
                    <a:pt x="1307848" y="241293"/>
                  </a:cubicBezTo>
                  <a:close/>
                  <a:moveTo>
                    <a:pt x="434381" y="226833"/>
                  </a:moveTo>
                  <a:lnTo>
                    <a:pt x="440614" y="227771"/>
                  </a:lnTo>
                  <a:cubicBezTo>
                    <a:pt x="444343" y="242152"/>
                    <a:pt x="468530" y="252469"/>
                    <a:pt x="478653" y="265756"/>
                  </a:cubicBezTo>
                  <a:cubicBezTo>
                    <a:pt x="482435" y="271592"/>
                    <a:pt x="485898" y="276802"/>
                    <a:pt x="487603" y="283263"/>
                  </a:cubicBezTo>
                  <a:cubicBezTo>
                    <a:pt x="475083" y="289099"/>
                    <a:pt x="464322" y="271175"/>
                    <a:pt x="450044" y="271696"/>
                  </a:cubicBezTo>
                  <a:cubicBezTo>
                    <a:pt x="435020" y="272425"/>
                    <a:pt x="425750" y="263151"/>
                    <a:pt x="426549" y="253719"/>
                  </a:cubicBezTo>
                  <a:cubicBezTo>
                    <a:pt x="425537" y="241891"/>
                    <a:pt x="429959" y="235691"/>
                    <a:pt x="434381" y="226833"/>
                  </a:cubicBezTo>
                  <a:close/>
                  <a:moveTo>
                    <a:pt x="459009" y="226746"/>
                  </a:moveTo>
                  <a:cubicBezTo>
                    <a:pt x="465492" y="228440"/>
                    <a:pt x="469893" y="233109"/>
                    <a:pt x="470547" y="239763"/>
                  </a:cubicBezTo>
                  <a:lnTo>
                    <a:pt x="462399" y="242799"/>
                  </a:lnTo>
                  <a:cubicBezTo>
                    <a:pt x="460793" y="237545"/>
                    <a:pt x="459782" y="232116"/>
                    <a:pt x="459009" y="226746"/>
                  </a:cubicBezTo>
                  <a:close/>
                  <a:moveTo>
                    <a:pt x="509920" y="129928"/>
                  </a:moveTo>
                  <a:cubicBezTo>
                    <a:pt x="513077" y="132244"/>
                    <a:pt x="516173" y="134618"/>
                    <a:pt x="519208" y="136992"/>
                  </a:cubicBezTo>
                  <a:lnTo>
                    <a:pt x="509677" y="139961"/>
                  </a:lnTo>
                  <a:cubicBezTo>
                    <a:pt x="509738" y="136636"/>
                    <a:pt x="509859" y="133253"/>
                    <a:pt x="509920" y="129928"/>
                  </a:cubicBezTo>
                  <a:close/>
                  <a:moveTo>
                    <a:pt x="537330" y="122402"/>
                  </a:moveTo>
                  <a:lnTo>
                    <a:pt x="542936" y="122868"/>
                  </a:lnTo>
                  <a:cubicBezTo>
                    <a:pt x="543890" y="124906"/>
                    <a:pt x="544845" y="126944"/>
                    <a:pt x="545799" y="128924"/>
                  </a:cubicBezTo>
                  <a:cubicBezTo>
                    <a:pt x="542936" y="128866"/>
                    <a:pt x="540133" y="128749"/>
                    <a:pt x="537270" y="128633"/>
                  </a:cubicBezTo>
                  <a:close/>
                  <a:moveTo>
                    <a:pt x="551334" y="112870"/>
                  </a:moveTo>
                  <a:cubicBezTo>
                    <a:pt x="561164" y="118391"/>
                    <a:pt x="574390" y="124150"/>
                    <a:pt x="574031" y="137450"/>
                  </a:cubicBezTo>
                  <a:lnTo>
                    <a:pt x="552049" y="137035"/>
                  </a:lnTo>
                  <a:cubicBezTo>
                    <a:pt x="549307" y="129257"/>
                    <a:pt x="549486" y="120827"/>
                    <a:pt x="551334" y="112870"/>
                  </a:cubicBezTo>
                  <a:close/>
                  <a:moveTo>
                    <a:pt x="578780" y="102835"/>
                  </a:moveTo>
                  <a:cubicBezTo>
                    <a:pt x="589201" y="107743"/>
                    <a:pt x="601020" y="113600"/>
                    <a:pt x="603989" y="125485"/>
                  </a:cubicBezTo>
                  <a:cubicBezTo>
                    <a:pt x="596112" y="127437"/>
                    <a:pt x="585869" y="130926"/>
                    <a:pt x="579628" y="123771"/>
                  </a:cubicBezTo>
                  <a:cubicBezTo>
                    <a:pt x="576900" y="116970"/>
                    <a:pt x="577626" y="109813"/>
                    <a:pt x="578780" y="102835"/>
                  </a:cubicBezTo>
                  <a:close/>
                  <a:moveTo>
                    <a:pt x="604489" y="94807"/>
                  </a:moveTo>
                  <a:cubicBezTo>
                    <a:pt x="614398" y="98470"/>
                    <a:pt x="620006" y="107779"/>
                    <a:pt x="625558" y="116125"/>
                  </a:cubicBezTo>
                  <a:lnTo>
                    <a:pt x="620723" y="118887"/>
                  </a:lnTo>
                  <a:cubicBezTo>
                    <a:pt x="614815" y="111261"/>
                    <a:pt x="608368" y="103815"/>
                    <a:pt x="604489" y="94807"/>
                  </a:cubicBezTo>
                  <a:close/>
                  <a:moveTo>
                    <a:pt x="612515" y="84275"/>
                  </a:moveTo>
                  <a:cubicBezTo>
                    <a:pt x="623146" y="95008"/>
                    <a:pt x="638287" y="100858"/>
                    <a:pt x="646124" y="114305"/>
                  </a:cubicBezTo>
                  <a:cubicBezTo>
                    <a:pt x="626231" y="118888"/>
                    <a:pt x="619223" y="98324"/>
                    <a:pt x="612515" y="84275"/>
                  </a:cubicBezTo>
                  <a:close/>
                  <a:moveTo>
                    <a:pt x="803143" y="67218"/>
                  </a:moveTo>
                  <a:cubicBezTo>
                    <a:pt x="799033" y="72401"/>
                    <a:pt x="795110" y="77762"/>
                    <a:pt x="790517" y="82409"/>
                  </a:cubicBezTo>
                  <a:cubicBezTo>
                    <a:pt x="781695" y="84851"/>
                    <a:pt x="772576" y="85507"/>
                    <a:pt x="763512" y="86281"/>
                  </a:cubicBezTo>
                  <a:cubicBezTo>
                    <a:pt x="769374" y="70196"/>
                    <a:pt x="789007" y="71269"/>
                    <a:pt x="803143" y="67218"/>
                  </a:cubicBezTo>
                  <a:close/>
                  <a:moveTo>
                    <a:pt x="705321" y="58188"/>
                  </a:moveTo>
                  <a:cubicBezTo>
                    <a:pt x="710889" y="58546"/>
                    <a:pt x="716165" y="58968"/>
                    <a:pt x="721795" y="59923"/>
                  </a:cubicBezTo>
                  <a:cubicBezTo>
                    <a:pt x="725986" y="65974"/>
                    <a:pt x="729638" y="72383"/>
                    <a:pt x="733475" y="78727"/>
                  </a:cubicBezTo>
                  <a:cubicBezTo>
                    <a:pt x="731975" y="72204"/>
                    <a:pt x="730419" y="65675"/>
                    <a:pt x="728863" y="59207"/>
                  </a:cubicBezTo>
                  <a:cubicBezTo>
                    <a:pt x="742038" y="59923"/>
                    <a:pt x="753359" y="67292"/>
                    <a:pt x="761506" y="77171"/>
                  </a:cubicBezTo>
                  <a:cubicBezTo>
                    <a:pt x="761265" y="90824"/>
                    <a:pt x="747432" y="100828"/>
                    <a:pt x="734015" y="96875"/>
                  </a:cubicBezTo>
                  <a:cubicBezTo>
                    <a:pt x="722812" y="85315"/>
                    <a:pt x="713828" y="71781"/>
                    <a:pt x="705321" y="58188"/>
                  </a:cubicBezTo>
                  <a:close/>
                  <a:moveTo>
                    <a:pt x="745452" y="46649"/>
                  </a:moveTo>
                  <a:cubicBezTo>
                    <a:pt x="760352" y="53824"/>
                    <a:pt x="780415" y="51232"/>
                    <a:pt x="791102" y="65464"/>
                  </a:cubicBezTo>
                  <a:cubicBezTo>
                    <a:pt x="780119" y="67753"/>
                    <a:pt x="768368" y="70226"/>
                    <a:pt x="757563" y="65824"/>
                  </a:cubicBezTo>
                  <a:cubicBezTo>
                    <a:pt x="751861" y="60819"/>
                    <a:pt x="749606" y="52800"/>
                    <a:pt x="745452" y="46649"/>
                  </a:cubicBezTo>
                  <a:close/>
                  <a:moveTo>
                    <a:pt x="812674" y="45646"/>
                  </a:moveTo>
                  <a:cubicBezTo>
                    <a:pt x="818722" y="45946"/>
                    <a:pt x="824710" y="48761"/>
                    <a:pt x="829729" y="52115"/>
                  </a:cubicBezTo>
                  <a:cubicBezTo>
                    <a:pt x="824952" y="54091"/>
                    <a:pt x="820114" y="55948"/>
                    <a:pt x="815214" y="57685"/>
                  </a:cubicBezTo>
                  <a:cubicBezTo>
                    <a:pt x="814306" y="53672"/>
                    <a:pt x="813460" y="49659"/>
                    <a:pt x="812674" y="45646"/>
                  </a:cubicBezTo>
                  <a:close/>
                  <a:moveTo>
                    <a:pt x="703818" y="41135"/>
                  </a:moveTo>
                  <a:cubicBezTo>
                    <a:pt x="710412" y="42803"/>
                    <a:pt x="716473" y="46020"/>
                    <a:pt x="721879" y="50071"/>
                  </a:cubicBezTo>
                  <a:lnTo>
                    <a:pt x="706314" y="50667"/>
                  </a:lnTo>
                  <a:cubicBezTo>
                    <a:pt x="705422" y="47509"/>
                    <a:pt x="704591" y="44352"/>
                    <a:pt x="703818" y="41135"/>
                  </a:cubicBezTo>
                  <a:close/>
                  <a:moveTo>
                    <a:pt x="691332" y="37620"/>
                  </a:moveTo>
                  <a:cubicBezTo>
                    <a:pt x="691942" y="39667"/>
                    <a:pt x="692612" y="41713"/>
                    <a:pt x="693282" y="43821"/>
                  </a:cubicBezTo>
                  <a:cubicBezTo>
                    <a:pt x="691150" y="44724"/>
                    <a:pt x="689018" y="45687"/>
                    <a:pt x="686946" y="46650"/>
                  </a:cubicBezTo>
                  <a:cubicBezTo>
                    <a:pt x="687068" y="41293"/>
                    <a:pt x="689262" y="39546"/>
                    <a:pt x="691332" y="37620"/>
                  </a:cubicBezTo>
                  <a:close/>
                  <a:moveTo>
                    <a:pt x="741918" y="30597"/>
                  </a:moveTo>
                  <a:cubicBezTo>
                    <a:pt x="745684" y="33598"/>
                    <a:pt x="749390" y="36657"/>
                    <a:pt x="752977" y="39834"/>
                  </a:cubicBezTo>
                  <a:cubicBezTo>
                    <a:pt x="749091" y="39894"/>
                    <a:pt x="745265" y="40012"/>
                    <a:pt x="741439" y="40129"/>
                  </a:cubicBezTo>
                  <a:cubicBezTo>
                    <a:pt x="741618" y="36952"/>
                    <a:pt x="741738" y="33774"/>
                    <a:pt x="741918" y="30597"/>
                  </a:cubicBezTo>
                  <a:close/>
                  <a:moveTo>
                    <a:pt x="699802" y="27922"/>
                  </a:moveTo>
                  <a:cubicBezTo>
                    <a:pt x="710570" y="21567"/>
                    <a:pt x="712424" y="31311"/>
                    <a:pt x="715356" y="37120"/>
                  </a:cubicBezTo>
                  <a:cubicBezTo>
                    <a:pt x="709254" y="35789"/>
                    <a:pt x="703750" y="32883"/>
                    <a:pt x="699802" y="27922"/>
                  </a:cubicBezTo>
                  <a:close/>
                  <a:moveTo>
                    <a:pt x="767316" y="9530"/>
                  </a:moveTo>
                  <a:cubicBezTo>
                    <a:pt x="775352" y="16578"/>
                    <a:pt x="783750" y="23331"/>
                    <a:pt x="790241" y="31991"/>
                  </a:cubicBezTo>
                  <a:cubicBezTo>
                    <a:pt x="797269" y="41788"/>
                    <a:pt x="808820" y="47699"/>
                    <a:pt x="814179" y="58870"/>
                  </a:cubicBezTo>
                  <a:lnTo>
                    <a:pt x="809357" y="61200"/>
                  </a:lnTo>
                  <a:cubicBezTo>
                    <a:pt x="796971" y="55046"/>
                    <a:pt x="785300" y="47104"/>
                    <a:pt x="780353" y="33365"/>
                  </a:cubicBezTo>
                  <a:cubicBezTo>
                    <a:pt x="774815" y="31991"/>
                    <a:pt x="769874" y="30554"/>
                    <a:pt x="764515" y="29180"/>
                  </a:cubicBezTo>
                  <a:cubicBezTo>
                    <a:pt x="765111" y="22551"/>
                    <a:pt x="766184" y="16040"/>
                    <a:pt x="767316" y="9530"/>
                  </a:cubicBezTo>
                  <a:close/>
                  <a:moveTo>
                    <a:pt x="792477" y="0"/>
                  </a:moveTo>
                  <a:lnTo>
                    <a:pt x="798624" y="61"/>
                  </a:lnTo>
                  <a:cubicBezTo>
                    <a:pt x="801309" y="8962"/>
                    <a:pt x="804293" y="17744"/>
                    <a:pt x="807157" y="26587"/>
                  </a:cubicBezTo>
                  <a:cubicBezTo>
                    <a:pt x="801608" y="24782"/>
                    <a:pt x="795461" y="23218"/>
                    <a:pt x="791761" y="18345"/>
                  </a:cubicBezTo>
                  <a:cubicBezTo>
                    <a:pt x="791104" y="12211"/>
                    <a:pt x="792297" y="6136"/>
                    <a:pt x="792477" y="0"/>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8" name="Greenland - Mainland">
              <a:extLst>
                <a:ext uri="{FF2B5EF4-FFF2-40B4-BE49-F238E27FC236}">
                  <a16:creationId xmlns:a16="http://schemas.microsoft.com/office/drawing/2014/main" id="{2B21CF2A-3351-8E91-1C80-07C772335AA8}"/>
                </a:ext>
              </a:extLst>
            </p:cNvPr>
            <p:cNvSpPr>
              <a:spLocks/>
            </p:cNvSpPr>
            <p:nvPr/>
          </p:nvSpPr>
          <p:spPr bwMode="auto">
            <a:xfrm flipV="1">
              <a:off x="4109360" y="685800"/>
              <a:ext cx="1463183" cy="2149496"/>
            </a:xfrm>
            <a:custGeom>
              <a:avLst/>
              <a:gdLst>
                <a:gd name="T0" fmla="*/ 18345 w 24669"/>
                <a:gd name="T1" fmla="*/ 35148 h 36230"/>
                <a:gd name="T2" fmla="*/ 15080 w 24669"/>
                <a:gd name="T3" fmla="*/ 33857 h 36230"/>
                <a:gd name="T4" fmla="*/ 19709 w 24669"/>
                <a:gd name="T5" fmla="*/ 33256 h 36230"/>
                <a:gd name="T6" fmla="*/ 15797 w 24669"/>
                <a:gd name="T7" fmla="*/ 30351 h 36230"/>
                <a:gd name="T8" fmla="*/ 19397 w 24669"/>
                <a:gd name="T9" fmla="*/ 29995 h 36230"/>
                <a:gd name="T10" fmla="*/ 19907 w 24669"/>
                <a:gd name="T11" fmla="*/ 27549 h 36230"/>
                <a:gd name="T12" fmla="*/ 21622 w 24669"/>
                <a:gd name="T13" fmla="*/ 29929 h 36230"/>
                <a:gd name="T14" fmla="*/ 23865 w 24669"/>
                <a:gd name="T15" fmla="*/ 30346 h 36230"/>
                <a:gd name="T16" fmla="*/ 22894 w 24669"/>
                <a:gd name="T17" fmla="*/ 27360 h 36230"/>
                <a:gd name="T18" fmla="*/ 21041 w 24669"/>
                <a:gd name="T19" fmla="*/ 25509 h 36230"/>
                <a:gd name="T20" fmla="*/ 21285 w 24669"/>
                <a:gd name="T21" fmla="*/ 23338 h 36230"/>
                <a:gd name="T22" fmla="*/ 20669 w 24669"/>
                <a:gd name="T23" fmla="*/ 21592 h 36230"/>
                <a:gd name="T24" fmla="*/ 20911 w 24669"/>
                <a:gd name="T25" fmla="*/ 20497 h 36230"/>
                <a:gd name="T26" fmla="*/ 20304 w 24669"/>
                <a:gd name="T27" fmla="*/ 19557 h 36230"/>
                <a:gd name="T28" fmla="*/ 21043 w 24669"/>
                <a:gd name="T29" fmla="*/ 18015 h 36230"/>
                <a:gd name="T30" fmla="*/ 20890 w 24669"/>
                <a:gd name="T31" fmla="*/ 15999 h 36230"/>
                <a:gd name="T32" fmla="*/ 21110 w 24669"/>
                <a:gd name="T33" fmla="*/ 14792 h 36230"/>
                <a:gd name="T34" fmla="*/ 18206 w 24669"/>
                <a:gd name="T35" fmla="*/ 14284 h 36230"/>
                <a:gd name="T36" fmla="*/ 19966 w 24669"/>
                <a:gd name="T37" fmla="*/ 13664 h 36230"/>
                <a:gd name="T38" fmla="*/ 18495 w 24669"/>
                <a:gd name="T39" fmla="*/ 13202 h 36230"/>
                <a:gd name="T40" fmla="*/ 20301 w 24669"/>
                <a:gd name="T41" fmla="*/ 11905 h 36230"/>
                <a:gd name="T42" fmla="*/ 19316 w 24669"/>
                <a:gd name="T43" fmla="*/ 11352 h 36230"/>
                <a:gd name="T44" fmla="*/ 18015 w 24669"/>
                <a:gd name="T45" fmla="*/ 11186 h 36230"/>
                <a:gd name="T46" fmla="*/ 18374 w 24669"/>
                <a:gd name="T47" fmla="*/ 10035 h 36230"/>
                <a:gd name="T48" fmla="*/ 19061 w 24669"/>
                <a:gd name="T49" fmla="*/ 8937 h 36230"/>
                <a:gd name="T50" fmla="*/ 17118 w 24669"/>
                <a:gd name="T51" fmla="*/ 7798 h 36230"/>
                <a:gd name="T52" fmla="*/ 15407 w 24669"/>
                <a:gd name="T53" fmla="*/ 6156 h 36230"/>
                <a:gd name="T54" fmla="*/ 14329 w 24669"/>
                <a:gd name="T55" fmla="*/ 5512 h 36230"/>
                <a:gd name="T56" fmla="*/ 13285 w 24669"/>
                <a:gd name="T57" fmla="*/ 5127 h 36230"/>
                <a:gd name="T58" fmla="*/ 12902 w 24669"/>
                <a:gd name="T59" fmla="*/ 3708 h 36230"/>
                <a:gd name="T60" fmla="*/ 12100 w 24669"/>
                <a:gd name="T61" fmla="*/ 1144 h 36230"/>
                <a:gd name="T62" fmla="*/ 10832 w 24669"/>
                <a:gd name="T63" fmla="*/ 695 h 36230"/>
                <a:gd name="T64" fmla="*/ 9659 w 24669"/>
                <a:gd name="T65" fmla="*/ 1342 h 36230"/>
                <a:gd name="T66" fmla="*/ 8686 w 24669"/>
                <a:gd name="T67" fmla="*/ 3867 h 36230"/>
                <a:gd name="T68" fmla="*/ 8149 w 24669"/>
                <a:gd name="T69" fmla="*/ 4683 h 36230"/>
                <a:gd name="T70" fmla="*/ 7881 w 24669"/>
                <a:gd name="T71" fmla="*/ 7541 h 36230"/>
                <a:gd name="T72" fmla="*/ 7962 w 24669"/>
                <a:gd name="T73" fmla="*/ 8337 h 36230"/>
                <a:gd name="T74" fmla="*/ 9032 w 24669"/>
                <a:gd name="T75" fmla="*/ 9566 h 36230"/>
                <a:gd name="T76" fmla="*/ 8849 w 24669"/>
                <a:gd name="T77" fmla="*/ 10594 h 36230"/>
                <a:gd name="T78" fmla="*/ 7961 w 24669"/>
                <a:gd name="T79" fmla="*/ 11520 h 36230"/>
                <a:gd name="T80" fmla="*/ 6796 w 24669"/>
                <a:gd name="T81" fmla="*/ 11878 h 36230"/>
                <a:gd name="T82" fmla="*/ 7074 w 24669"/>
                <a:gd name="T83" fmla="*/ 13078 h 36230"/>
                <a:gd name="T84" fmla="*/ 6736 w 24669"/>
                <a:gd name="T85" fmla="*/ 14384 h 36230"/>
                <a:gd name="T86" fmla="*/ 6207 w 24669"/>
                <a:gd name="T87" fmla="*/ 15159 h 36230"/>
                <a:gd name="T88" fmla="*/ 5948 w 24669"/>
                <a:gd name="T89" fmla="*/ 16747 h 36230"/>
                <a:gd name="T90" fmla="*/ 3967 w 24669"/>
                <a:gd name="T91" fmla="*/ 18639 h 36230"/>
                <a:gd name="T92" fmla="*/ 2665 w 24669"/>
                <a:gd name="T93" fmla="*/ 18583 h 36230"/>
                <a:gd name="T94" fmla="*/ 870 w 24669"/>
                <a:gd name="T95" fmla="*/ 19481 h 36230"/>
                <a:gd name="T96" fmla="*/ 2344 w 24669"/>
                <a:gd name="T97" fmla="*/ 21109 h 36230"/>
                <a:gd name="T98" fmla="*/ 632 w 24669"/>
                <a:gd name="T99" fmla="*/ 21445 h 36230"/>
                <a:gd name="T100" fmla="*/ 2687 w 24669"/>
                <a:gd name="T101" fmla="*/ 23945 h 36230"/>
                <a:gd name="T102" fmla="*/ 2136 w 24669"/>
                <a:gd name="T103" fmla="*/ 26602 h 36230"/>
                <a:gd name="T104" fmla="*/ 4360 w 24669"/>
                <a:gd name="T105" fmla="*/ 30394 h 36230"/>
                <a:gd name="T106" fmla="*/ 6925 w 24669"/>
                <a:gd name="T107" fmla="*/ 31919 h 36230"/>
                <a:gd name="T108" fmla="*/ 8230 w 24669"/>
                <a:gd name="T109" fmla="*/ 32413 h 36230"/>
                <a:gd name="T110" fmla="*/ 9987 w 24669"/>
                <a:gd name="T111" fmla="*/ 32781 h 36230"/>
                <a:gd name="T112" fmla="*/ 11683 w 24669"/>
                <a:gd name="T113" fmla="*/ 33247 h 36230"/>
                <a:gd name="T114" fmla="*/ 11370 w 24669"/>
                <a:gd name="T115" fmla="*/ 34300 h 36230"/>
                <a:gd name="T116" fmla="*/ 14236 w 24669"/>
                <a:gd name="T117" fmla="*/ 34628 h 36230"/>
                <a:gd name="connsiteX0" fmla="*/ 15246 w 24669"/>
                <a:gd name="connsiteY0" fmla="*/ 36230 h 36230"/>
                <a:gd name="connsiteX1" fmla="*/ 15279 w 24669"/>
                <a:gd name="connsiteY1" fmla="*/ 36230 h 36230"/>
                <a:gd name="connsiteX2" fmla="*/ 15328 w 24669"/>
                <a:gd name="connsiteY2" fmla="*/ 36015 h 36230"/>
                <a:gd name="connsiteX3" fmla="*/ 15392 w 24669"/>
                <a:gd name="connsiteY3" fmla="*/ 36205 h 36230"/>
                <a:gd name="connsiteX4" fmla="*/ 15614 w 24669"/>
                <a:gd name="connsiteY4" fmla="*/ 35682 h 36230"/>
                <a:gd name="connsiteX5" fmla="*/ 15527 w 24669"/>
                <a:gd name="connsiteY5" fmla="*/ 36069 h 36230"/>
                <a:gd name="connsiteX6" fmla="*/ 16398 w 24669"/>
                <a:gd name="connsiteY6" fmla="*/ 35986 h 36230"/>
                <a:gd name="connsiteX7" fmla="*/ 17007 w 24669"/>
                <a:gd name="connsiteY7" fmla="*/ 35695 h 36230"/>
                <a:gd name="connsiteX8" fmla="*/ 16987 w 24669"/>
                <a:gd name="connsiteY8" fmla="*/ 35423 h 36230"/>
                <a:gd name="connsiteX9" fmla="*/ 17558 w 24669"/>
                <a:gd name="connsiteY9" fmla="*/ 35572 h 36230"/>
                <a:gd name="connsiteX10" fmla="*/ 18345 w 24669"/>
                <a:gd name="connsiteY10" fmla="*/ 35148 h 36230"/>
                <a:gd name="connsiteX11" fmla="*/ 17896 w 24669"/>
                <a:gd name="connsiteY11" fmla="*/ 34540 h 36230"/>
                <a:gd name="connsiteX12" fmla="*/ 18156 w 24669"/>
                <a:gd name="connsiteY12" fmla="*/ 34565 h 36230"/>
                <a:gd name="connsiteX13" fmla="*/ 16485 w 24669"/>
                <a:gd name="connsiteY13" fmla="*/ 34572 h 36230"/>
                <a:gd name="connsiteX14" fmla="*/ 15461 w 24669"/>
                <a:gd name="connsiteY14" fmla="*/ 34324 h 36230"/>
                <a:gd name="connsiteX15" fmla="*/ 14623 w 24669"/>
                <a:gd name="connsiteY15" fmla="*/ 34462 h 36230"/>
                <a:gd name="connsiteX16" fmla="*/ 15454 w 24669"/>
                <a:gd name="connsiteY16" fmla="*/ 34149 h 36230"/>
                <a:gd name="connsiteX17" fmla="*/ 14302 w 24669"/>
                <a:gd name="connsiteY17" fmla="*/ 33720 h 36230"/>
                <a:gd name="connsiteX18" fmla="*/ 14241 w 24669"/>
                <a:gd name="connsiteY18" fmla="*/ 33038 h 36230"/>
                <a:gd name="connsiteX19" fmla="*/ 14431 w 24669"/>
                <a:gd name="connsiteY19" fmla="*/ 33601 h 36230"/>
                <a:gd name="connsiteX20" fmla="*/ 14878 w 24669"/>
                <a:gd name="connsiteY20" fmla="*/ 33641 h 36230"/>
                <a:gd name="connsiteX21" fmla="*/ 15080 w 24669"/>
                <a:gd name="connsiteY21" fmla="*/ 33857 h 36230"/>
                <a:gd name="connsiteX22" fmla="*/ 15899 w 24669"/>
                <a:gd name="connsiteY22" fmla="*/ 34061 h 36230"/>
                <a:gd name="connsiteX23" fmla="*/ 16779 w 24669"/>
                <a:gd name="connsiteY23" fmla="*/ 34401 h 36230"/>
                <a:gd name="connsiteX24" fmla="*/ 17953 w 24669"/>
                <a:gd name="connsiteY24" fmla="*/ 34269 h 36230"/>
                <a:gd name="connsiteX25" fmla="*/ 18632 w 24669"/>
                <a:gd name="connsiteY25" fmla="*/ 34414 h 36230"/>
                <a:gd name="connsiteX26" fmla="*/ 18651 w 24669"/>
                <a:gd name="connsiteY26" fmla="*/ 33753 h 36230"/>
                <a:gd name="connsiteX27" fmla="*/ 18360 w 24669"/>
                <a:gd name="connsiteY27" fmla="*/ 33275 h 36230"/>
                <a:gd name="connsiteX28" fmla="*/ 18735 w 24669"/>
                <a:gd name="connsiteY28" fmla="*/ 33596 h 36230"/>
                <a:gd name="connsiteX29" fmla="*/ 19072 w 24669"/>
                <a:gd name="connsiteY29" fmla="*/ 33696 h 36230"/>
                <a:gd name="connsiteX30" fmla="*/ 19107 w 24669"/>
                <a:gd name="connsiteY30" fmla="*/ 33396 h 36230"/>
                <a:gd name="connsiteX31" fmla="*/ 19303 w 24669"/>
                <a:gd name="connsiteY31" fmla="*/ 33465 h 36230"/>
                <a:gd name="connsiteX32" fmla="*/ 19709 w 24669"/>
                <a:gd name="connsiteY32" fmla="*/ 33256 h 36230"/>
                <a:gd name="connsiteX33" fmla="*/ 20191 w 24669"/>
                <a:gd name="connsiteY33" fmla="*/ 32769 h 36230"/>
                <a:gd name="connsiteX34" fmla="*/ 20032 w 24669"/>
                <a:gd name="connsiteY34" fmla="*/ 32330 h 36230"/>
                <a:gd name="connsiteX35" fmla="*/ 19688 w 24669"/>
                <a:gd name="connsiteY35" fmla="*/ 31859 h 36230"/>
                <a:gd name="connsiteX36" fmla="*/ 19033 w 24669"/>
                <a:gd name="connsiteY36" fmla="*/ 31628 h 36230"/>
                <a:gd name="connsiteX37" fmla="*/ 18422 w 24669"/>
                <a:gd name="connsiteY37" fmla="*/ 31361 h 36230"/>
                <a:gd name="connsiteX38" fmla="*/ 17630 w 24669"/>
                <a:gd name="connsiteY38" fmla="*/ 31404 h 36230"/>
                <a:gd name="connsiteX39" fmla="*/ 16589 w 24669"/>
                <a:gd name="connsiteY39" fmla="*/ 31250 h 36230"/>
                <a:gd name="connsiteX40" fmla="*/ 16276 w 24669"/>
                <a:gd name="connsiteY40" fmla="*/ 31043 h 36230"/>
                <a:gd name="connsiteX41" fmla="*/ 15428 w 24669"/>
                <a:gd name="connsiteY41" fmla="*/ 30480 h 36230"/>
                <a:gd name="connsiteX42" fmla="*/ 15368 w 24669"/>
                <a:gd name="connsiteY42" fmla="*/ 29931 h 36230"/>
                <a:gd name="connsiteX43" fmla="*/ 15797 w 24669"/>
                <a:gd name="connsiteY43" fmla="*/ 30351 h 36230"/>
                <a:gd name="connsiteX44" fmla="*/ 16915 w 24669"/>
                <a:gd name="connsiteY44" fmla="*/ 30822 h 36230"/>
                <a:gd name="connsiteX45" fmla="*/ 18388 w 24669"/>
                <a:gd name="connsiteY45" fmla="*/ 30898 h 36230"/>
                <a:gd name="connsiteX46" fmla="*/ 18573 w 24669"/>
                <a:gd name="connsiteY46" fmla="*/ 30470 h 36230"/>
                <a:gd name="connsiteX47" fmla="*/ 19067 w 24669"/>
                <a:gd name="connsiteY47" fmla="*/ 30522 h 36230"/>
                <a:gd name="connsiteX48" fmla="*/ 19106 w 24669"/>
                <a:gd name="connsiteY48" fmla="*/ 30891 h 36230"/>
                <a:gd name="connsiteX49" fmla="*/ 19345 w 24669"/>
                <a:gd name="connsiteY49" fmla="*/ 31034 h 36230"/>
                <a:gd name="connsiteX50" fmla="*/ 19316 w 24669"/>
                <a:gd name="connsiteY50" fmla="*/ 30400 h 36230"/>
                <a:gd name="connsiteX51" fmla="*/ 18676 w 24669"/>
                <a:gd name="connsiteY51" fmla="*/ 29879 h 36230"/>
                <a:gd name="connsiteX52" fmla="*/ 18512 w 24669"/>
                <a:gd name="connsiteY52" fmla="*/ 29676 h 36230"/>
                <a:gd name="connsiteX53" fmla="*/ 18609 w 24669"/>
                <a:gd name="connsiteY53" fmla="*/ 29437 h 36230"/>
                <a:gd name="connsiteX54" fmla="*/ 19397 w 24669"/>
                <a:gd name="connsiteY54" fmla="*/ 29995 h 36230"/>
                <a:gd name="connsiteX55" fmla="*/ 19625 w 24669"/>
                <a:gd name="connsiteY55" fmla="*/ 30196 h 36230"/>
                <a:gd name="connsiteX56" fmla="*/ 19894 w 24669"/>
                <a:gd name="connsiteY56" fmla="*/ 30186 h 36230"/>
                <a:gd name="connsiteX57" fmla="*/ 19912 w 24669"/>
                <a:gd name="connsiteY57" fmla="*/ 30979 h 36230"/>
                <a:gd name="connsiteX58" fmla="*/ 20716 w 24669"/>
                <a:gd name="connsiteY58" fmla="*/ 31262 h 36230"/>
                <a:gd name="connsiteX59" fmla="*/ 20663 w 24669"/>
                <a:gd name="connsiteY59" fmla="*/ 29512 h 36230"/>
                <a:gd name="connsiteX60" fmla="*/ 20335 w 24669"/>
                <a:gd name="connsiteY60" fmla="*/ 28883 h 36230"/>
                <a:gd name="connsiteX61" fmla="*/ 19869 w 24669"/>
                <a:gd name="connsiteY61" fmla="*/ 27843 h 36230"/>
                <a:gd name="connsiteX62" fmla="*/ 19699 w 24669"/>
                <a:gd name="connsiteY62" fmla="*/ 27586 h 36230"/>
                <a:gd name="connsiteX63" fmla="*/ 19808 w 24669"/>
                <a:gd name="connsiteY63" fmla="*/ 27612 h 36230"/>
                <a:gd name="connsiteX64" fmla="*/ 19606 w 24669"/>
                <a:gd name="connsiteY64" fmla="*/ 27298 h 36230"/>
                <a:gd name="connsiteX65" fmla="*/ 19907 w 24669"/>
                <a:gd name="connsiteY65" fmla="*/ 27549 h 36230"/>
                <a:gd name="connsiteX66" fmla="*/ 20065 w 24669"/>
                <a:gd name="connsiteY66" fmla="*/ 28041 h 36230"/>
                <a:gd name="connsiteX67" fmla="*/ 20379 w 24669"/>
                <a:gd name="connsiteY67" fmla="*/ 28296 h 36230"/>
                <a:gd name="connsiteX68" fmla="*/ 20293 w 24669"/>
                <a:gd name="connsiteY68" fmla="*/ 28310 h 36230"/>
                <a:gd name="connsiteX69" fmla="*/ 20714 w 24669"/>
                <a:gd name="connsiteY69" fmla="*/ 28827 h 36230"/>
                <a:gd name="connsiteX70" fmla="*/ 21067 w 24669"/>
                <a:gd name="connsiteY70" fmla="*/ 29461 h 36230"/>
                <a:gd name="connsiteX71" fmla="*/ 21386 w 24669"/>
                <a:gd name="connsiteY71" fmla="*/ 29815 h 36230"/>
                <a:gd name="connsiteX72" fmla="*/ 21176 w 24669"/>
                <a:gd name="connsiteY72" fmla="*/ 29783 h 36230"/>
                <a:gd name="connsiteX73" fmla="*/ 21280 w 24669"/>
                <a:gd name="connsiteY73" fmla="*/ 30202 h 36230"/>
                <a:gd name="connsiteX74" fmla="*/ 21488 w 24669"/>
                <a:gd name="connsiteY74" fmla="*/ 29915 h 36230"/>
                <a:gd name="connsiteX75" fmla="*/ 21479 w 24669"/>
                <a:gd name="connsiteY75" fmla="*/ 29835 h 36230"/>
                <a:gd name="connsiteX76" fmla="*/ 21622 w 24669"/>
                <a:gd name="connsiteY76" fmla="*/ 29929 h 36230"/>
                <a:gd name="connsiteX77" fmla="*/ 21434 w 24669"/>
                <a:gd name="connsiteY77" fmla="*/ 29311 h 36230"/>
                <a:gd name="connsiteX78" fmla="*/ 21809 w 24669"/>
                <a:gd name="connsiteY78" fmla="*/ 29621 h 36230"/>
                <a:gd name="connsiteX79" fmla="*/ 22045 w 24669"/>
                <a:gd name="connsiteY79" fmla="*/ 29417 h 36230"/>
                <a:gd name="connsiteX80" fmla="*/ 22114 w 24669"/>
                <a:gd name="connsiteY80" fmla="*/ 29490 h 36230"/>
                <a:gd name="connsiteX81" fmla="*/ 22241 w 24669"/>
                <a:gd name="connsiteY81" fmla="*/ 29254 h 36230"/>
                <a:gd name="connsiteX82" fmla="*/ 22436 w 24669"/>
                <a:gd name="connsiteY82" fmla="*/ 29648 h 36230"/>
                <a:gd name="connsiteX83" fmla="*/ 22504 w 24669"/>
                <a:gd name="connsiteY83" fmla="*/ 30027 h 36230"/>
                <a:gd name="connsiteX84" fmla="*/ 22665 w 24669"/>
                <a:gd name="connsiteY84" fmla="*/ 30359 h 36230"/>
                <a:gd name="connsiteX85" fmla="*/ 22827 w 24669"/>
                <a:gd name="connsiteY85" fmla="*/ 30387 h 36230"/>
                <a:gd name="connsiteX86" fmla="*/ 23051 w 24669"/>
                <a:gd name="connsiteY86" fmla="*/ 30532 h 36230"/>
                <a:gd name="connsiteX87" fmla="*/ 23865 w 24669"/>
                <a:gd name="connsiteY87" fmla="*/ 30346 h 36230"/>
                <a:gd name="connsiteX88" fmla="*/ 24396 w 24669"/>
                <a:gd name="connsiteY88" fmla="*/ 29962 h 36230"/>
                <a:gd name="connsiteX89" fmla="*/ 24669 w 24669"/>
                <a:gd name="connsiteY89" fmla="*/ 29523 h 36230"/>
                <a:gd name="connsiteX90" fmla="*/ 24669 w 24669"/>
                <a:gd name="connsiteY90" fmla="*/ 29458 h 36230"/>
                <a:gd name="connsiteX91" fmla="*/ 24139 w 24669"/>
                <a:gd name="connsiteY91" fmla="*/ 28815 h 36230"/>
                <a:gd name="connsiteX92" fmla="*/ 23847 w 24669"/>
                <a:gd name="connsiteY92" fmla="*/ 28371 h 36230"/>
                <a:gd name="connsiteX93" fmla="*/ 23481 w 24669"/>
                <a:gd name="connsiteY93" fmla="*/ 28340 h 36230"/>
                <a:gd name="connsiteX94" fmla="*/ 23393 w 24669"/>
                <a:gd name="connsiteY94" fmla="*/ 28212 h 36230"/>
                <a:gd name="connsiteX95" fmla="*/ 23843 w 24669"/>
                <a:gd name="connsiteY95" fmla="*/ 28271 h 36230"/>
                <a:gd name="connsiteX96" fmla="*/ 23503 w 24669"/>
                <a:gd name="connsiteY96" fmla="*/ 27799 h 36230"/>
                <a:gd name="connsiteX97" fmla="*/ 23075 w 24669"/>
                <a:gd name="connsiteY97" fmla="*/ 27532 h 36230"/>
                <a:gd name="connsiteX98" fmla="*/ 22894 w 24669"/>
                <a:gd name="connsiteY98" fmla="*/ 27360 h 36230"/>
                <a:gd name="connsiteX99" fmla="*/ 22248 w 24669"/>
                <a:gd name="connsiteY99" fmla="*/ 27599 h 36230"/>
                <a:gd name="connsiteX100" fmla="*/ 21746 w 24669"/>
                <a:gd name="connsiteY100" fmla="*/ 27248 h 36230"/>
                <a:gd name="connsiteX101" fmla="*/ 21713 w 24669"/>
                <a:gd name="connsiteY101" fmla="*/ 27172 h 36230"/>
                <a:gd name="connsiteX102" fmla="*/ 22029 w 24669"/>
                <a:gd name="connsiteY102" fmla="*/ 27034 h 36230"/>
                <a:gd name="connsiteX103" fmla="*/ 22435 w 24669"/>
                <a:gd name="connsiteY103" fmla="*/ 27174 h 36230"/>
                <a:gd name="connsiteX104" fmla="*/ 22898 w 24669"/>
                <a:gd name="connsiteY104" fmla="*/ 26899 h 36230"/>
                <a:gd name="connsiteX105" fmla="*/ 22540 w 24669"/>
                <a:gd name="connsiteY105" fmla="*/ 26330 h 36230"/>
                <a:gd name="connsiteX106" fmla="*/ 21434 w 24669"/>
                <a:gd name="connsiteY106" fmla="*/ 26496 h 36230"/>
                <a:gd name="connsiteX107" fmla="*/ 21078 w 24669"/>
                <a:gd name="connsiteY107" fmla="*/ 26073 h 36230"/>
                <a:gd name="connsiteX108" fmla="*/ 21190 w 24669"/>
                <a:gd name="connsiteY108" fmla="*/ 26069 h 36230"/>
                <a:gd name="connsiteX109" fmla="*/ 21041 w 24669"/>
                <a:gd name="connsiteY109" fmla="*/ 25509 h 36230"/>
                <a:gd name="connsiteX110" fmla="*/ 21192 w 24669"/>
                <a:gd name="connsiteY110" fmla="*/ 25477 h 36230"/>
                <a:gd name="connsiteX111" fmla="*/ 21584 w 24669"/>
                <a:gd name="connsiteY111" fmla="*/ 25990 h 36230"/>
                <a:gd name="connsiteX112" fmla="*/ 22190 w 24669"/>
                <a:gd name="connsiteY112" fmla="*/ 26112 h 36230"/>
                <a:gd name="connsiteX113" fmla="*/ 22342 w 24669"/>
                <a:gd name="connsiteY113" fmla="*/ 25930 h 36230"/>
                <a:gd name="connsiteX114" fmla="*/ 22058 w 24669"/>
                <a:gd name="connsiteY114" fmla="*/ 25259 h 36230"/>
                <a:gd name="connsiteX115" fmla="*/ 21597 w 24669"/>
                <a:gd name="connsiteY115" fmla="*/ 25302 h 36230"/>
                <a:gd name="connsiteX116" fmla="*/ 21391 w 24669"/>
                <a:gd name="connsiteY116" fmla="*/ 24516 h 36230"/>
                <a:gd name="connsiteX117" fmla="*/ 21662 w 24669"/>
                <a:gd name="connsiteY117" fmla="*/ 24201 h 36230"/>
                <a:gd name="connsiteX118" fmla="*/ 21573 w 24669"/>
                <a:gd name="connsiteY118" fmla="*/ 23974 h 36230"/>
                <a:gd name="connsiteX119" fmla="*/ 21250 w 24669"/>
                <a:gd name="connsiteY119" fmla="*/ 23780 h 36230"/>
                <a:gd name="connsiteX120" fmla="*/ 21285 w 24669"/>
                <a:gd name="connsiteY120" fmla="*/ 23338 h 36230"/>
                <a:gd name="connsiteX121" fmla="*/ 20946 w 24669"/>
                <a:gd name="connsiteY121" fmla="*/ 23363 h 36230"/>
                <a:gd name="connsiteX122" fmla="*/ 20960 w 24669"/>
                <a:gd name="connsiteY122" fmla="*/ 23143 h 36230"/>
                <a:gd name="connsiteX123" fmla="*/ 20809 w 24669"/>
                <a:gd name="connsiteY123" fmla="*/ 23294 h 36230"/>
                <a:gd name="connsiteX124" fmla="*/ 20830 w 24669"/>
                <a:gd name="connsiteY124" fmla="*/ 22947 h 36230"/>
                <a:gd name="connsiteX125" fmla="*/ 20702 w 24669"/>
                <a:gd name="connsiteY125" fmla="*/ 22882 h 36230"/>
                <a:gd name="connsiteX126" fmla="*/ 20888 w 24669"/>
                <a:gd name="connsiteY126" fmla="*/ 22879 h 36230"/>
                <a:gd name="connsiteX127" fmla="*/ 20699 w 24669"/>
                <a:gd name="connsiteY127" fmla="*/ 22125 h 36230"/>
                <a:gd name="connsiteX128" fmla="*/ 20548 w 24669"/>
                <a:gd name="connsiteY128" fmla="*/ 21550 h 36230"/>
                <a:gd name="connsiteX129" fmla="*/ 20394 w 24669"/>
                <a:gd name="connsiteY129" fmla="*/ 20980 h 36230"/>
                <a:gd name="connsiteX130" fmla="*/ 20627 w 24669"/>
                <a:gd name="connsiteY130" fmla="*/ 21030 h 36230"/>
                <a:gd name="connsiteX131" fmla="*/ 20669 w 24669"/>
                <a:gd name="connsiteY131" fmla="*/ 21592 h 36230"/>
                <a:gd name="connsiteX132" fmla="*/ 20894 w 24669"/>
                <a:gd name="connsiteY132" fmla="*/ 21591 h 36230"/>
                <a:gd name="connsiteX133" fmla="*/ 21403 w 24669"/>
                <a:gd name="connsiteY133" fmla="*/ 21181 h 36230"/>
                <a:gd name="connsiteX134" fmla="*/ 21621 w 24669"/>
                <a:gd name="connsiteY134" fmla="*/ 20832 h 36230"/>
                <a:gd name="connsiteX135" fmla="*/ 21143 w 24669"/>
                <a:gd name="connsiteY135" fmla="*/ 21076 h 36230"/>
                <a:gd name="connsiteX136" fmla="*/ 20946 w 24669"/>
                <a:gd name="connsiteY136" fmla="*/ 20919 h 36230"/>
                <a:gd name="connsiteX137" fmla="*/ 20989 w 24669"/>
                <a:gd name="connsiteY137" fmla="*/ 21081 h 36230"/>
                <a:gd name="connsiteX138" fmla="*/ 20858 w 24669"/>
                <a:gd name="connsiteY138" fmla="*/ 20970 h 36230"/>
                <a:gd name="connsiteX139" fmla="*/ 21127 w 24669"/>
                <a:gd name="connsiteY139" fmla="*/ 20753 h 36230"/>
                <a:gd name="connsiteX140" fmla="*/ 20856 w 24669"/>
                <a:gd name="connsiteY140" fmla="*/ 20675 h 36230"/>
                <a:gd name="connsiteX141" fmla="*/ 21189 w 24669"/>
                <a:gd name="connsiteY141" fmla="*/ 20535 h 36230"/>
                <a:gd name="connsiteX142" fmla="*/ 20911 w 24669"/>
                <a:gd name="connsiteY142" fmla="*/ 20497 h 36230"/>
                <a:gd name="connsiteX143" fmla="*/ 21300 w 24669"/>
                <a:gd name="connsiteY143" fmla="*/ 20462 h 36230"/>
                <a:gd name="connsiteX144" fmla="*/ 21517 w 24669"/>
                <a:gd name="connsiteY144" fmla="*/ 20165 h 36230"/>
                <a:gd name="connsiteX145" fmla="*/ 21846 w 24669"/>
                <a:gd name="connsiteY145" fmla="*/ 20242 h 36230"/>
                <a:gd name="connsiteX146" fmla="*/ 21891 w 24669"/>
                <a:gd name="connsiteY146" fmla="*/ 19600 h 36230"/>
                <a:gd name="connsiteX147" fmla="*/ 21677 w 24669"/>
                <a:gd name="connsiteY147" fmla="*/ 19409 h 36230"/>
                <a:gd name="connsiteX148" fmla="*/ 20780 w 24669"/>
                <a:gd name="connsiteY148" fmla="*/ 19727 h 36230"/>
                <a:gd name="connsiteX149" fmla="*/ 20961 w 24669"/>
                <a:gd name="connsiteY149" fmla="*/ 19649 h 36230"/>
                <a:gd name="connsiteX150" fmla="*/ 20627 w 24669"/>
                <a:gd name="connsiteY150" fmla="*/ 19304 h 36230"/>
                <a:gd name="connsiteX151" fmla="*/ 20736 w 24669"/>
                <a:gd name="connsiteY151" fmla="*/ 19246 h 36230"/>
                <a:gd name="connsiteX152" fmla="*/ 20498 w 24669"/>
                <a:gd name="connsiteY152" fmla="*/ 19225 h 36230"/>
                <a:gd name="connsiteX153" fmla="*/ 20304 w 24669"/>
                <a:gd name="connsiteY153" fmla="*/ 19557 h 36230"/>
                <a:gd name="connsiteX154" fmla="*/ 20161 w 24669"/>
                <a:gd name="connsiteY154" fmla="*/ 19256 h 36230"/>
                <a:gd name="connsiteX155" fmla="*/ 20221 w 24669"/>
                <a:gd name="connsiteY155" fmla="*/ 19016 h 36230"/>
                <a:gd name="connsiteX156" fmla="*/ 20350 w 24669"/>
                <a:gd name="connsiteY156" fmla="*/ 19201 h 36230"/>
                <a:gd name="connsiteX157" fmla="*/ 20529 w 24669"/>
                <a:gd name="connsiteY157" fmla="*/ 18483 h 36230"/>
                <a:gd name="connsiteX158" fmla="*/ 21064 w 24669"/>
                <a:gd name="connsiteY158" fmla="*/ 18717 h 36230"/>
                <a:gd name="connsiteX159" fmla="*/ 21054 w 24669"/>
                <a:gd name="connsiteY159" fmla="*/ 18547 h 36230"/>
                <a:gd name="connsiteX160" fmla="*/ 20878 w 24669"/>
                <a:gd name="connsiteY160" fmla="*/ 18513 h 36230"/>
                <a:gd name="connsiteX161" fmla="*/ 21247 w 24669"/>
                <a:gd name="connsiteY161" fmla="*/ 18475 h 36230"/>
                <a:gd name="connsiteX162" fmla="*/ 21116 w 24669"/>
                <a:gd name="connsiteY162" fmla="*/ 18113 h 36230"/>
                <a:gd name="connsiteX163" fmla="*/ 21213 w 24669"/>
                <a:gd name="connsiteY163" fmla="*/ 18068 h 36230"/>
                <a:gd name="connsiteX164" fmla="*/ 21043 w 24669"/>
                <a:gd name="connsiteY164" fmla="*/ 18015 h 36230"/>
                <a:gd name="connsiteX165" fmla="*/ 21398 w 24669"/>
                <a:gd name="connsiteY165" fmla="*/ 17562 h 36230"/>
                <a:gd name="connsiteX166" fmla="*/ 21363 w 24669"/>
                <a:gd name="connsiteY166" fmla="*/ 16710 h 36230"/>
                <a:gd name="connsiteX167" fmla="*/ 21205 w 24669"/>
                <a:gd name="connsiteY167" fmla="*/ 16736 h 36230"/>
                <a:gd name="connsiteX168" fmla="*/ 21150 w 24669"/>
                <a:gd name="connsiteY168" fmla="*/ 17021 h 36230"/>
                <a:gd name="connsiteX169" fmla="*/ 20898 w 24669"/>
                <a:gd name="connsiteY169" fmla="*/ 16973 h 36230"/>
                <a:gd name="connsiteX170" fmla="*/ 20305 w 24669"/>
                <a:gd name="connsiteY170" fmla="*/ 17565 h 36230"/>
                <a:gd name="connsiteX171" fmla="*/ 20984 w 24669"/>
                <a:gd name="connsiteY171" fmla="*/ 16718 h 36230"/>
                <a:gd name="connsiteX172" fmla="*/ 20425 w 24669"/>
                <a:gd name="connsiteY172" fmla="*/ 16439 h 36230"/>
                <a:gd name="connsiteX173" fmla="*/ 20784 w 24669"/>
                <a:gd name="connsiteY173" fmla="*/ 16601 h 36230"/>
                <a:gd name="connsiteX174" fmla="*/ 20923 w 24669"/>
                <a:gd name="connsiteY174" fmla="*/ 16572 h 36230"/>
                <a:gd name="connsiteX175" fmla="*/ 20890 w 24669"/>
                <a:gd name="connsiteY175" fmla="*/ 15999 h 36230"/>
                <a:gd name="connsiteX176" fmla="*/ 21293 w 24669"/>
                <a:gd name="connsiteY176" fmla="*/ 15901 h 36230"/>
                <a:gd name="connsiteX177" fmla="*/ 21416 w 24669"/>
                <a:gd name="connsiteY177" fmla="*/ 16010 h 36230"/>
                <a:gd name="connsiteX178" fmla="*/ 21544 w 24669"/>
                <a:gd name="connsiteY178" fmla="*/ 15550 h 36230"/>
                <a:gd name="connsiteX179" fmla="*/ 21295 w 24669"/>
                <a:gd name="connsiteY179" fmla="*/ 15353 h 36230"/>
                <a:gd name="connsiteX180" fmla="*/ 21029 w 24669"/>
                <a:gd name="connsiteY180" fmla="*/ 15634 h 36230"/>
                <a:gd name="connsiteX181" fmla="*/ 20827 w 24669"/>
                <a:gd name="connsiteY181" fmla="*/ 15680 h 36230"/>
                <a:gd name="connsiteX182" fmla="*/ 21156 w 24669"/>
                <a:gd name="connsiteY182" fmla="*/ 15245 h 36230"/>
                <a:gd name="connsiteX183" fmla="*/ 20516 w 24669"/>
                <a:gd name="connsiteY183" fmla="*/ 15213 h 36230"/>
                <a:gd name="connsiteX184" fmla="*/ 20394 w 24669"/>
                <a:gd name="connsiteY184" fmla="*/ 15498 h 36230"/>
                <a:gd name="connsiteX185" fmla="*/ 20235 w 24669"/>
                <a:gd name="connsiteY185" fmla="*/ 15033 h 36230"/>
                <a:gd name="connsiteX186" fmla="*/ 21110 w 24669"/>
                <a:gd name="connsiteY186" fmla="*/ 14792 h 36230"/>
                <a:gd name="connsiteX187" fmla="*/ 21021 w 24669"/>
                <a:gd name="connsiteY187" fmla="*/ 14237 h 36230"/>
                <a:gd name="connsiteX188" fmla="*/ 20612 w 24669"/>
                <a:gd name="connsiteY188" fmla="*/ 14225 h 36230"/>
                <a:gd name="connsiteX189" fmla="*/ 20261 w 24669"/>
                <a:gd name="connsiteY189" fmla="*/ 13946 h 36230"/>
                <a:gd name="connsiteX190" fmla="*/ 19600 w 24669"/>
                <a:gd name="connsiteY190" fmla="*/ 14405 h 36230"/>
                <a:gd name="connsiteX191" fmla="*/ 19624 w 24669"/>
                <a:gd name="connsiteY191" fmla="*/ 14657 h 36230"/>
                <a:gd name="connsiteX192" fmla="*/ 19497 w 24669"/>
                <a:gd name="connsiteY192" fmla="*/ 14765 h 36230"/>
                <a:gd name="connsiteX193" fmla="*/ 19385 w 24669"/>
                <a:gd name="connsiteY193" fmla="*/ 14370 h 36230"/>
                <a:gd name="connsiteX194" fmla="*/ 19257 w 24669"/>
                <a:gd name="connsiteY194" fmla="*/ 14392 h 36230"/>
                <a:gd name="connsiteX195" fmla="*/ 19272 w 24669"/>
                <a:gd name="connsiteY195" fmla="*/ 14312 h 36230"/>
                <a:gd name="connsiteX196" fmla="*/ 18785 w 24669"/>
                <a:gd name="connsiteY196" fmla="*/ 13904 h 36230"/>
                <a:gd name="connsiteX197" fmla="*/ 18206 w 24669"/>
                <a:gd name="connsiteY197" fmla="*/ 14284 h 36230"/>
                <a:gd name="connsiteX198" fmla="*/ 18652 w 24669"/>
                <a:gd name="connsiteY198" fmla="*/ 13940 h 36230"/>
                <a:gd name="connsiteX199" fmla="*/ 18119 w 24669"/>
                <a:gd name="connsiteY199" fmla="*/ 13799 h 36230"/>
                <a:gd name="connsiteX200" fmla="*/ 18230 w 24669"/>
                <a:gd name="connsiteY200" fmla="*/ 13626 h 36230"/>
                <a:gd name="connsiteX201" fmla="*/ 18291 w 24669"/>
                <a:gd name="connsiteY201" fmla="*/ 13760 h 36230"/>
                <a:gd name="connsiteX202" fmla="*/ 18630 w 24669"/>
                <a:gd name="connsiteY202" fmla="*/ 13824 h 36230"/>
                <a:gd name="connsiteX203" fmla="*/ 18913 w 24669"/>
                <a:gd name="connsiteY203" fmla="*/ 13772 h 36230"/>
                <a:gd name="connsiteX204" fmla="*/ 19143 w 24669"/>
                <a:gd name="connsiteY204" fmla="*/ 14200 h 36230"/>
                <a:gd name="connsiteX205" fmla="*/ 19900 w 24669"/>
                <a:gd name="connsiteY205" fmla="*/ 13918 h 36230"/>
                <a:gd name="connsiteX206" fmla="*/ 19537 w 24669"/>
                <a:gd name="connsiteY206" fmla="*/ 13914 h 36230"/>
                <a:gd name="connsiteX207" fmla="*/ 19992 w 24669"/>
                <a:gd name="connsiteY207" fmla="*/ 13814 h 36230"/>
                <a:gd name="connsiteX208" fmla="*/ 19966 w 24669"/>
                <a:gd name="connsiteY208" fmla="*/ 13664 h 36230"/>
                <a:gd name="connsiteX209" fmla="*/ 20400 w 24669"/>
                <a:gd name="connsiteY209" fmla="*/ 13488 h 36230"/>
                <a:gd name="connsiteX210" fmla="*/ 20415 w 24669"/>
                <a:gd name="connsiteY210" fmla="*/ 13143 h 36230"/>
                <a:gd name="connsiteX211" fmla="*/ 19995 w 24669"/>
                <a:gd name="connsiteY211" fmla="*/ 13352 h 36230"/>
                <a:gd name="connsiteX212" fmla="*/ 19306 w 24669"/>
                <a:gd name="connsiteY212" fmla="*/ 13465 h 36230"/>
                <a:gd name="connsiteX213" fmla="*/ 19513 w 24669"/>
                <a:gd name="connsiteY213" fmla="*/ 13611 h 36230"/>
                <a:gd name="connsiteX214" fmla="*/ 18992 w 24669"/>
                <a:gd name="connsiteY214" fmla="*/ 13743 h 36230"/>
                <a:gd name="connsiteX215" fmla="*/ 19156 w 24669"/>
                <a:gd name="connsiteY215" fmla="*/ 13559 h 36230"/>
                <a:gd name="connsiteX216" fmla="*/ 18783 w 24669"/>
                <a:gd name="connsiteY216" fmla="*/ 13325 h 36230"/>
                <a:gd name="connsiteX217" fmla="*/ 18425 w 24669"/>
                <a:gd name="connsiteY217" fmla="*/ 13414 h 36230"/>
                <a:gd name="connsiteX218" fmla="*/ 18586 w 24669"/>
                <a:gd name="connsiteY218" fmla="*/ 13279 h 36230"/>
                <a:gd name="connsiteX219" fmla="*/ 18495 w 24669"/>
                <a:gd name="connsiteY219" fmla="*/ 13202 h 36230"/>
                <a:gd name="connsiteX220" fmla="*/ 18621 w 24669"/>
                <a:gd name="connsiteY220" fmla="*/ 13210 h 36230"/>
                <a:gd name="connsiteX221" fmla="*/ 18638 w 24669"/>
                <a:gd name="connsiteY221" fmla="*/ 13109 h 36230"/>
                <a:gd name="connsiteX222" fmla="*/ 18978 w 24669"/>
                <a:gd name="connsiteY222" fmla="*/ 13333 h 36230"/>
                <a:gd name="connsiteX223" fmla="*/ 19337 w 24669"/>
                <a:gd name="connsiteY223" fmla="*/ 12951 h 36230"/>
                <a:gd name="connsiteX224" fmla="*/ 18835 w 24669"/>
                <a:gd name="connsiteY224" fmla="*/ 12789 h 36230"/>
                <a:gd name="connsiteX225" fmla="*/ 19372 w 24669"/>
                <a:gd name="connsiteY225" fmla="*/ 12751 h 36230"/>
                <a:gd name="connsiteX226" fmla="*/ 20172 w 24669"/>
                <a:gd name="connsiteY226" fmla="*/ 12126 h 36230"/>
                <a:gd name="connsiteX227" fmla="*/ 19927 w 24669"/>
                <a:gd name="connsiteY227" fmla="*/ 11774 h 36230"/>
                <a:gd name="connsiteX228" fmla="*/ 20225 w 24669"/>
                <a:gd name="connsiteY228" fmla="*/ 11961 h 36230"/>
                <a:gd name="connsiteX229" fmla="*/ 20119 w 24669"/>
                <a:gd name="connsiteY229" fmla="*/ 11726 h 36230"/>
                <a:gd name="connsiteX230" fmla="*/ 20301 w 24669"/>
                <a:gd name="connsiteY230" fmla="*/ 11905 h 36230"/>
                <a:gd name="connsiteX231" fmla="*/ 20413 w 24669"/>
                <a:gd name="connsiteY231" fmla="*/ 11881 h 36230"/>
                <a:gd name="connsiteX232" fmla="*/ 20166 w 24669"/>
                <a:gd name="connsiteY232" fmla="*/ 11425 h 36230"/>
                <a:gd name="connsiteX233" fmla="*/ 20417 w 24669"/>
                <a:gd name="connsiteY233" fmla="*/ 11611 h 36230"/>
                <a:gd name="connsiteX234" fmla="*/ 20495 w 24669"/>
                <a:gd name="connsiteY234" fmla="*/ 11115 h 36230"/>
                <a:gd name="connsiteX235" fmla="*/ 20565 w 24669"/>
                <a:gd name="connsiteY235" fmla="*/ 10341 h 36230"/>
                <a:gd name="connsiteX236" fmla="*/ 20226 w 24669"/>
                <a:gd name="connsiteY236" fmla="*/ 10333 h 36230"/>
                <a:gd name="connsiteX237" fmla="*/ 20185 w 24669"/>
                <a:gd name="connsiteY237" fmla="*/ 10823 h 36230"/>
                <a:gd name="connsiteX238" fmla="*/ 20116 w 24669"/>
                <a:gd name="connsiteY238" fmla="*/ 10327 h 36230"/>
                <a:gd name="connsiteX239" fmla="*/ 19902 w 24669"/>
                <a:gd name="connsiteY239" fmla="*/ 10294 h 36230"/>
                <a:gd name="connsiteX240" fmla="*/ 19566 w 24669"/>
                <a:gd name="connsiteY240" fmla="*/ 10622 h 36230"/>
                <a:gd name="connsiteX241" fmla="*/ 19316 w 24669"/>
                <a:gd name="connsiteY241" fmla="*/ 11352 h 36230"/>
                <a:gd name="connsiteX242" fmla="*/ 18859 w 24669"/>
                <a:gd name="connsiteY242" fmla="*/ 11649 h 36230"/>
                <a:gd name="connsiteX243" fmla="*/ 18399 w 24669"/>
                <a:gd name="connsiteY243" fmla="*/ 11729 h 36230"/>
                <a:gd name="connsiteX244" fmla="*/ 18072 w 24669"/>
                <a:gd name="connsiteY244" fmla="*/ 12169 h 36230"/>
                <a:gd name="connsiteX245" fmla="*/ 17730 w 24669"/>
                <a:gd name="connsiteY245" fmla="*/ 12307 h 36230"/>
                <a:gd name="connsiteX246" fmla="*/ 18272 w 24669"/>
                <a:gd name="connsiteY246" fmla="*/ 11848 h 36230"/>
                <a:gd name="connsiteX247" fmla="*/ 18074 w 24669"/>
                <a:gd name="connsiteY247" fmla="*/ 11757 h 36230"/>
                <a:gd name="connsiteX248" fmla="*/ 18711 w 24669"/>
                <a:gd name="connsiteY248" fmla="*/ 11595 h 36230"/>
                <a:gd name="connsiteX249" fmla="*/ 19014 w 24669"/>
                <a:gd name="connsiteY249" fmla="*/ 11362 h 36230"/>
                <a:gd name="connsiteX250" fmla="*/ 18671 w 24669"/>
                <a:gd name="connsiteY250" fmla="*/ 11005 h 36230"/>
                <a:gd name="connsiteX251" fmla="*/ 18203 w 24669"/>
                <a:gd name="connsiteY251" fmla="*/ 10906 h 36230"/>
                <a:gd name="connsiteX252" fmla="*/ 18015 w 24669"/>
                <a:gd name="connsiteY252" fmla="*/ 11186 h 36230"/>
                <a:gd name="connsiteX253" fmla="*/ 18113 w 24669"/>
                <a:gd name="connsiteY253" fmla="*/ 10912 h 36230"/>
                <a:gd name="connsiteX254" fmla="*/ 17919 w 24669"/>
                <a:gd name="connsiteY254" fmla="*/ 10968 h 36230"/>
                <a:gd name="connsiteX255" fmla="*/ 17947 w 24669"/>
                <a:gd name="connsiteY255" fmla="*/ 10606 h 36230"/>
                <a:gd name="connsiteX256" fmla="*/ 17488 w 24669"/>
                <a:gd name="connsiteY256" fmla="*/ 10320 h 36230"/>
                <a:gd name="connsiteX257" fmla="*/ 17496 w 24669"/>
                <a:gd name="connsiteY257" fmla="*/ 10249 h 36230"/>
                <a:gd name="connsiteX258" fmla="*/ 17885 w 24669"/>
                <a:gd name="connsiteY258" fmla="*/ 10302 h 36230"/>
                <a:gd name="connsiteX259" fmla="*/ 18670 w 24669"/>
                <a:gd name="connsiteY259" fmla="*/ 10206 h 36230"/>
                <a:gd name="connsiteX260" fmla="*/ 18235 w 24669"/>
                <a:gd name="connsiteY260" fmla="*/ 10034 h 36230"/>
                <a:gd name="connsiteX261" fmla="*/ 17733 w 24669"/>
                <a:gd name="connsiteY261" fmla="*/ 9877 h 36230"/>
                <a:gd name="connsiteX262" fmla="*/ 18240 w 24669"/>
                <a:gd name="connsiteY262" fmla="*/ 9763 h 36230"/>
                <a:gd name="connsiteX263" fmla="*/ 18374 w 24669"/>
                <a:gd name="connsiteY263" fmla="*/ 10035 h 36230"/>
                <a:gd name="connsiteX264" fmla="*/ 18675 w 24669"/>
                <a:gd name="connsiteY264" fmla="*/ 10065 h 36230"/>
                <a:gd name="connsiteX265" fmla="*/ 19078 w 24669"/>
                <a:gd name="connsiteY265" fmla="*/ 10274 h 36230"/>
                <a:gd name="connsiteX266" fmla="*/ 19063 w 24669"/>
                <a:gd name="connsiteY266" fmla="*/ 10168 h 36230"/>
                <a:gd name="connsiteX267" fmla="*/ 19747 w 24669"/>
                <a:gd name="connsiteY267" fmla="*/ 9928 h 36230"/>
                <a:gd name="connsiteX268" fmla="*/ 20381 w 24669"/>
                <a:gd name="connsiteY268" fmla="*/ 9940 h 36230"/>
                <a:gd name="connsiteX269" fmla="*/ 19944 w 24669"/>
                <a:gd name="connsiteY269" fmla="*/ 9671 h 36230"/>
                <a:gd name="connsiteX270" fmla="*/ 19724 w 24669"/>
                <a:gd name="connsiteY270" fmla="*/ 9403 h 36230"/>
                <a:gd name="connsiteX271" fmla="*/ 19715 w 24669"/>
                <a:gd name="connsiteY271" fmla="*/ 9227 h 36230"/>
                <a:gd name="connsiteX272" fmla="*/ 19562 w 24669"/>
                <a:gd name="connsiteY272" fmla="*/ 9258 h 36230"/>
                <a:gd name="connsiteX273" fmla="*/ 19299 w 24669"/>
                <a:gd name="connsiteY273" fmla="*/ 8924 h 36230"/>
                <a:gd name="connsiteX274" fmla="*/ 19061 w 24669"/>
                <a:gd name="connsiteY274" fmla="*/ 8937 h 36230"/>
                <a:gd name="connsiteX275" fmla="*/ 19192 w 24669"/>
                <a:gd name="connsiteY275" fmla="*/ 8831 h 36230"/>
                <a:gd name="connsiteX276" fmla="*/ 19041 w 24669"/>
                <a:gd name="connsiteY276" fmla="*/ 8667 h 36230"/>
                <a:gd name="connsiteX277" fmla="*/ 18952 w 24669"/>
                <a:gd name="connsiteY277" fmla="*/ 8688 h 36230"/>
                <a:gd name="connsiteX278" fmla="*/ 18511 w 24669"/>
                <a:gd name="connsiteY278" fmla="*/ 8262 h 36230"/>
                <a:gd name="connsiteX279" fmla="*/ 18043 w 24669"/>
                <a:gd name="connsiteY279" fmla="*/ 8058 h 36230"/>
                <a:gd name="connsiteX280" fmla="*/ 17997 w 24669"/>
                <a:gd name="connsiteY280" fmla="*/ 8149 h 36230"/>
                <a:gd name="connsiteX281" fmla="*/ 17375 w 24669"/>
                <a:gd name="connsiteY281" fmla="*/ 7778 h 36230"/>
                <a:gd name="connsiteX282" fmla="*/ 17195 w 24669"/>
                <a:gd name="connsiteY282" fmla="*/ 7981 h 36230"/>
                <a:gd name="connsiteX283" fmla="*/ 17165 w 24669"/>
                <a:gd name="connsiteY283" fmla="*/ 7874 h 36230"/>
                <a:gd name="connsiteX284" fmla="*/ 17306 w 24669"/>
                <a:gd name="connsiteY284" fmla="*/ 7719 h 36230"/>
                <a:gd name="connsiteX285" fmla="*/ 17118 w 24669"/>
                <a:gd name="connsiteY285" fmla="*/ 7798 h 36230"/>
                <a:gd name="connsiteX286" fmla="*/ 17186 w 24669"/>
                <a:gd name="connsiteY286" fmla="*/ 7664 h 36230"/>
                <a:gd name="connsiteX287" fmla="*/ 16917 w 24669"/>
                <a:gd name="connsiteY287" fmla="*/ 7645 h 36230"/>
                <a:gd name="connsiteX288" fmla="*/ 16392 w 24669"/>
                <a:gd name="connsiteY288" fmla="*/ 7760 h 36230"/>
                <a:gd name="connsiteX289" fmla="*/ 16485 w 24669"/>
                <a:gd name="connsiteY289" fmla="*/ 7774 h 36230"/>
                <a:gd name="connsiteX290" fmla="*/ 16159 w 24669"/>
                <a:gd name="connsiteY290" fmla="*/ 8231 h 36230"/>
                <a:gd name="connsiteX291" fmla="*/ 16348 w 24669"/>
                <a:gd name="connsiteY291" fmla="*/ 7547 h 36230"/>
                <a:gd name="connsiteX292" fmla="*/ 16080 w 24669"/>
                <a:gd name="connsiteY292" fmla="*/ 7287 h 36230"/>
                <a:gd name="connsiteX293" fmla="*/ 15790 w 24669"/>
                <a:gd name="connsiteY293" fmla="*/ 6727 h 36230"/>
                <a:gd name="connsiteX294" fmla="*/ 15599 w 24669"/>
                <a:gd name="connsiteY294" fmla="*/ 6376 h 36230"/>
                <a:gd name="connsiteX295" fmla="*/ 15485 w 24669"/>
                <a:gd name="connsiteY295" fmla="*/ 6060 h 36230"/>
                <a:gd name="connsiteX296" fmla="*/ 15407 w 24669"/>
                <a:gd name="connsiteY296" fmla="*/ 6156 h 36230"/>
                <a:gd name="connsiteX297" fmla="*/ 15199 w 24669"/>
                <a:gd name="connsiteY297" fmla="*/ 5758 h 36230"/>
                <a:gd name="connsiteX298" fmla="*/ 15085 w 24669"/>
                <a:gd name="connsiteY298" fmla="*/ 5886 h 36230"/>
                <a:gd name="connsiteX299" fmla="*/ 15127 w 24669"/>
                <a:gd name="connsiteY299" fmla="*/ 5710 h 36230"/>
                <a:gd name="connsiteX300" fmla="*/ 14956 w 24669"/>
                <a:gd name="connsiteY300" fmla="*/ 5782 h 36230"/>
                <a:gd name="connsiteX301" fmla="*/ 14973 w 24669"/>
                <a:gd name="connsiteY301" fmla="*/ 5689 h 36230"/>
                <a:gd name="connsiteX302" fmla="*/ 14672 w 24669"/>
                <a:gd name="connsiteY302" fmla="*/ 5375 h 36230"/>
                <a:gd name="connsiteX303" fmla="*/ 14589 w 24669"/>
                <a:gd name="connsiteY303" fmla="*/ 5531 h 36230"/>
                <a:gd name="connsiteX304" fmla="*/ 14506 w 24669"/>
                <a:gd name="connsiteY304" fmla="*/ 5302 h 36230"/>
                <a:gd name="connsiteX305" fmla="*/ 14438 w 24669"/>
                <a:gd name="connsiteY305" fmla="*/ 5387 h 36230"/>
                <a:gd name="connsiteX306" fmla="*/ 14384 w 24669"/>
                <a:gd name="connsiteY306" fmla="*/ 5172 h 36230"/>
                <a:gd name="connsiteX307" fmla="*/ 14329 w 24669"/>
                <a:gd name="connsiteY307" fmla="*/ 5512 h 36230"/>
                <a:gd name="connsiteX308" fmla="*/ 13983 w 24669"/>
                <a:gd name="connsiteY308" fmla="*/ 5036 h 36230"/>
                <a:gd name="connsiteX309" fmla="*/ 14292 w 24669"/>
                <a:gd name="connsiteY309" fmla="*/ 5803 h 36230"/>
                <a:gd name="connsiteX310" fmla="*/ 13900 w 24669"/>
                <a:gd name="connsiteY310" fmla="*/ 5856 h 36230"/>
                <a:gd name="connsiteX311" fmla="*/ 14051 w 24669"/>
                <a:gd name="connsiteY311" fmla="*/ 5757 h 36230"/>
                <a:gd name="connsiteX312" fmla="*/ 13925 w 24669"/>
                <a:gd name="connsiteY312" fmla="*/ 5330 h 36230"/>
                <a:gd name="connsiteX313" fmla="*/ 13759 w 24669"/>
                <a:gd name="connsiteY313" fmla="*/ 5506 h 36230"/>
                <a:gd name="connsiteX314" fmla="*/ 13903 w 24669"/>
                <a:gd name="connsiteY314" fmla="*/ 5196 h 36230"/>
                <a:gd name="connsiteX315" fmla="*/ 13603 w 24669"/>
                <a:gd name="connsiteY315" fmla="*/ 5015 h 36230"/>
                <a:gd name="connsiteX316" fmla="*/ 13462 w 24669"/>
                <a:gd name="connsiteY316" fmla="*/ 5188 h 36230"/>
                <a:gd name="connsiteX317" fmla="*/ 13461 w 24669"/>
                <a:gd name="connsiteY317" fmla="*/ 5048 h 36230"/>
                <a:gd name="connsiteX318" fmla="*/ 13285 w 24669"/>
                <a:gd name="connsiteY318" fmla="*/ 5127 h 36230"/>
                <a:gd name="connsiteX319" fmla="*/ 13231 w 24669"/>
                <a:gd name="connsiteY319" fmla="*/ 4996 h 36230"/>
                <a:gd name="connsiteX320" fmla="*/ 13113 w 24669"/>
                <a:gd name="connsiteY320" fmla="*/ 5028 h 36230"/>
                <a:gd name="connsiteX321" fmla="*/ 13137 w 24669"/>
                <a:gd name="connsiteY321" fmla="*/ 4620 h 36230"/>
                <a:gd name="connsiteX322" fmla="*/ 12763 w 24669"/>
                <a:gd name="connsiteY322" fmla="*/ 4559 h 36230"/>
                <a:gd name="connsiteX323" fmla="*/ 12758 w 24669"/>
                <a:gd name="connsiteY323" fmla="*/ 4337 h 36230"/>
                <a:gd name="connsiteX324" fmla="*/ 12881 w 24669"/>
                <a:gd name="connsiteY324" fmla="*/ 4455 h 36230"/>
                <a:gd name="connsiteX325" fmla="*/ 13027 w 24669"/>
                <a:gd name="connsiteY325" fmla="*/ 3988 h 36230"/>
                <a:gd name="connsiteX326" fmla="*/ 12728 w 24669"/>
                <a:gd name="connsiteY326" fmla="*/ 3894 h 36230"/>
                <a:gd name="connsiteX327" fmla="*/ 12690 w 24669"/>
                <a:gd name="connsiteY327" fmla="*/ 3780 h 36230"/>
                <a:gd name="connsiteX328" fmla="*/ 12530 w 24669"/>
                <a:gd name="connsiteY328" fmla="*/ 3925 h 36230"/>
                <a:gd name="connsiteX329" fmla="*/ 12902 w 24669"/>
                <a:gd name="connsiteY329" fmla="*/ 3708 h 36230"/>
                <a:gd name="connsiteX330" fmla="*/ 12927 w 24669"/>
                <a:gd name="connsiteY330" fmla="*/ 3328 h 36230"/>
                <a:gd name="connsiteX331" fmla="*/ 12821 w 24669"/>
                <a:gd name="connsiteY331" fmla="*/ 3136 h 36230"/>
                <a:gd name="connsiteX332" fmla="*/ 12629 w 24669"/>
                <a:gd name="connsiteY332" fmla="*/ 3062 h 36230"/>
                <a:gd name="connsiteX333" fmla="*/ 12424 w 24669"/>
                <a:gd name="connsiteY333" fmla="*/ 2508 h 36230"/>
                <a:gd name="connsiteX334" fmla="*/ 11988 w 24669"/>
                <a:gd name="connsiteY334" fmla="*/ 2407 h 36230"/>
                <a:gd name="connsiteX335" fmla="*/ 12301 w 24669"/>
                <a:gd name="connsiteY335" fmla="*/ 2253 h 36230"/>
                <a:gd name="connsiteX336" fmla="*/ 12219 w 24669"/>
                <a:gd name="connsiteY336" fmla="*/ 2244 h 36230"/>
                <a:gd name="connsiteX337" fmla="*/ 12273 w 24669"/>
                <a:gd name="connsiteY337" fmla="*/ 1737 h 36230"/>
                <a:gd name="connsiteX338" fmla="*/ 12165 w 24669"/>
                <a:gd name="connsiteY338" fmla="*/ 1570 h 36230"/>
                <a:gd name="connsiteX339" fmla="*/ 12037 w 24669"/>
                <a:gd name="connsiteY339" fmla="*/ 1202 h 36230"/>
                <a:gd name="connsiteX340" fmla="*/ 12100 w 24669"/>
                <a:gd name="connsiteY340" fmla="*/ 1144 h 36230"/>
                <a:gd name="connsiteX341" fmla="*/ 12029 w 24669"/>
                <a:gd name="connsiteY341" fmla="*/ 1122 h 36230"/>
                <a:gd name="connsiteX342" fmla="*/ 12052 w 24669"/>
                <a:gd name="connsiteY342" fmla="*/ 1057 h 36230"/>
                <a:gd name="connsiteX343" fmla="*/ 12008 w 24669"/>
                <a:gd name="connsiteY343" fmla="*/ 1067 h 36230"/>
                <a:gd name="connsiteX344" fmla="*/ 12040 w 24669"/>
                <a:gd name="connsiteY344" fmla="*/ 777 h 36230"/>
                <a:gd name="connsiteX345" fmla="*/ 11865 w 24669"/>
                <a:gd name="connsiteY345" fmla="*/ 494 h 36230"/>
                <a:gd name="connsiteX346" fmla="*/ 11899 w 24669"/>
                <a:gd name="connsiteY346" fmla="*/ 185 h 36230"/>
                <a:gd name="connsiteX347" fmla="*/ 11584 w 24669"/>
                <a:gd name="connsiteY347" fmla="*/ 0 h 36230"/>
                <a:gd name="connsiteX348" fmla="*/ 11544 w 24669"/>
                <a:gd name="connsiteY348" fmla="*/ 0 h 36230"/>
                <a:gd name="connsiteX349" fmla="*/ 11118 w 24669"/>
                <a:gd name="connsiteY349" fmla="*/ 233 h 36230"/>
                <a:gd name="connsiteX350" fmla="*/ 11048 w 24669"/>
                <a:gd name="connsiteY350" fmla="*/ 543 h 36230"/>
                <a:gd name="connsiteX351" fmla="*/ 10832 w 24669"/>
                <a:gd name="connsiteY351" fmla="*/ 695 h 36230"/>
                <a:gd name="connsiteX352" fmla="*/ 10865 w 24669"/>
                <a:gd name="connsiteY352" fmla="*/ 782 h 36230"/>
                <a:gd name="connsiteX353" fmla="*/ 10535 w 24669"/>
                <a:gd name="connsiteY353" fmla="*/ 717 h 36230"/>
                <a:gd name="connsiteX354" fmla="*/ 10839 w 24669"/>
                <a:gd name="connsiteY354" fmla="*/ 845 h 36230"/>
                <a:gd name="connsiteX355" fmla="*/ 10549 w 24669"/>
                <a:gd name="connsiteY355" fmla="*/ 1019 h 36230"/>
                <a:gd name="connsiteX356" fmla="*/ 10557 w 24669"/>
                <a:gd name="connsiteY356" fmla="*/ 944 h 36230"/>
                <a:gd name="connsiteX357" fmla="*/ 10414 w 24669"/>
                <a:gd name="connsiteY357" fmla="*/ 800 h 36230"/>
                <a:gd name="connsiteX358" fmla="*/ 10328 w 24669"/>
                <a:gd name="connsiteY358" fmla="*/ 951 h 36230"/>
                <a:gd name="connsiteX359" fmla="*/ 9830 w 24669"/>
                <a:gd name="connsiteY359" fmla="*/ 788 h 36230"/>
                <a:gd name="connsiteX360" fmla="*/ 10061 w 24669"/>
                <a:gd name="connsiteY360" fmla="*/ 983 h 36230"/>
                <a:gd name="connsiteX361" fmla="*/ 9574 w 24669"/>
                <a:gd name="connsiteY361" fmla="*/ 1331 h 36230"/>
                <a:gd name="connsiteX362" fmla="*/ 9659 w 24669"/>
                <a:gd name="connsiteY362" fmla="*/ 1342 h 36230"/>
                <a:gd name="connsiteX363" fmla="*/ 9397 w 24669"/>
                <a:gd name="connsiteY363" fmla="*/ 1805 h 36230"/>
                <a:gd name="connsiteX364" fmla="*/ 9288 w 24669"/>
                <a:gd name="connsiteY364" fmla="*/ 1815 h 36230"/>
                <a:gd name="connsiteX365" fmla="*/ 9425 w 24669"/>
                <a:gd name="connsiteY365" fmla="*/ 1937 h 36230"/>
                <a:gd name="connsiteX366" fmla="*/ 8991 w 24669"/>
                <a:gd name="connsiteY366" fmla="*/ 2640 h 36230"/>
                <a:gd name="connsiteX367" fmla="*/ 8769 w 24669"/>
                <a:gd name="connsiteY367" fmla="*/ 2852 h 36230"/>
                <a:gd name="connsiteX368" fmla="*/ 8508 w 24669"/>
                <a:gd name="connsiteY368" fmla="*/ 3358 h 36230"/>
                <a:gd name="connsiteX369" fmla="*/ 8662 w 24669"/>
                <a:gd name="connsiteY369" fmla="*/ 3376 h 36230"/>
                <a:gd name="connsiteX370" fmla="*/ 8490 w 24669"/>
                <a:gd name="connsiteY370" fmla="*/ 3597 h 36230"/>
                <a:gd name="connsiteX371" fmla="*/ 8644 w 24669"/>
                <a:gd name="connsiteY371" fmla="*/ 3641 h 36230"/>
                <a:gd name="connsiteX372" fmla="*/ 8478 w 24669"/>
                <a:gd name="connsiteY372" fmla="*/ 3741 h 36230"/>
                <a:gd name="connsiteX373" fmla="*/ 8686 w 24669"/>
                <a:gd name="connsiteY373" fmla="*/ 3867 h 36230"/>
                <a:gd name="connsiteX374" fmla="*/ 8692 w 24669"/>
                <a:gd name="connsiteY374" fmla="*/ 3775 h 36230"/>
                <a:gd name="connsiteX375" fmla="*/ 8831 w 24669"/>
                <a:gd name="connsiteY375" fmla="*/ 4173 h 36230"/>
                <a:gd name="connsiteX376" fmla="*/ 8952 w 24669"/>
                <a:gd name="connsiteY376" fmla="*/ 4230 h 36230"/>
                <a:gd name="connsiteX377" fmla="*/ 9300 w 24669"/>
                <a:gd name="connsiteY377" fmla="*/ 3872 h 36230"/>
                <a:gd name="connsiteX378" fmla="*/ 9087 w 24669"/>
                <a:gd name="connsiteY378" fmla="*/ 4329 h 36230"/>
                <a:gd name="connsiteX379" fmla="*/ 8701 w 24669"/>
                <a:gd name="connsiteY379" fmla="*/ 4156 h 36230"/>
                <a:gd name="connsiteX380" fmla="*/ 8689 w 24669"/>
                <a:gd name="connsiteY380" fmla="*/ 4329 h 36230"/>
                <a:gd name="connsiteX381" fmla="*/ 8326 w 24669"/>
                <a:gd name="connsiteY381" fmla="*/ 3682 h 36230"/>
                <a:gd name="connsiteX382" fmla="*/ 8360 w 24669"/>
                <a:gd name="connsiteY382" fmla="*/ 4310 h 36230"/>
                <a:gd name="connsiteX383" fmla="*/ 8265 w 24669"/>
                <a:gd name="connsiteY383" fmla="*/ 4839 h 36230"/>
                <a:gd name="connsiteX384" fmla="*/ 8149 w 24669"/>
                <a:gd name="connsiteY384" fmla="*/ 4683 h 36230"/>
                <a:gd name="connsiteX385" fmla="*/ 8023 w 24669"/>
                <a:gd name="connsiteY385" fmla="*/ 5179 h 36230"/>
                <a:gd name="connsiteX386" fmla="*/ 7873 w 24669"/>
                <a:gd name="connsiteY386" fmla="*/ 5017 h 36230"/>
                <a:gd name="connsiteX387" fmla="*/ 7879 w 24669"/>
                <a:gd name="connsiteY387" fmla="*/ 5342 h 36230"/>
                <a:gd name="connsiteX388" fmla="*/ 7718 w 24669"/>
                <a:gd name="connsiteY388" fmla="*/ 5514 h 36230"/>
                <a:gd name="connsiteX389" fmla="*/ 7689 w 24669"/>
                <a:gd name="connsiteY389" fmla="*/ 5851 h 36230"/>
                <a:gd name="connsiteX390" fmla="*/ 7894 w 24669"/>
                <a:gd name="connsiteY390" fmla="*/ 6220 h 36230"/>
                <a:gd name="connsiteX391" fmla="*/ 7815 w 24669"/>
                <a:gd name="connsiteY391" fmla="*/ 6229 h 36230"/>
                <a:gd name="connsiteX392" fmla="*/ 7611 w 24669"/>
                <a:gd name="connsiteY392" fmla="*/ 6502 h 36230"/>
                <a:gd name="connsiteX393" fmla="*/ 7649 w 24669"/>
                <a:gd name="connsiteY393" fmla="*/ 6932 h 36230"/>
                <a:gd name="connsiteX394" fmla="*/ 7674 w 24669"/>
                <a:gd name="connsiteY394" fmla="*/ 7308 h 36230"/>
                <a:gd name="connsiteX395" fmla="*/ 7881 w 24669"/>
                <a:gd name="connsiteY395" fmla="*/ 7541 h 36230"/>
                <a:gd name="connsiteX396" fmla="*/ 7795 w 24669"/>
                <a:gd name="connsiteY396" fmla="*/ 7749 h 36230"/>
                <a:gd name="connsiteX397" fmla="*/ 8059 w 24669"/>
                <a:gd name="connsiteY397" fmla="*/ 7694 h 36230"/>
                <a:gd name="connsiteX398" fmla="*/ 7970 w 24669"/>
                <a:gd name="connsiteY398" fmla="*/ 7850 h 36230"/>
                <a:gd name="connsiteX399" fmla="*/ 7721 w 24669"/>
                <a:gd name="connsiteY399" fmla="*/ 7851 h 36230"/>
                <a:gd name="connsiteX400" fmla="*/ 7931 w 24669"/>
                <a:gd name="connsiteY400" fmla="*/ 7920 h 36230"/>
                <a:gd name="connsiteX401" fmla="*/ 7853 w 24669"/>
                <a:gd name="connsiteY401" fmla="*/ 8000 h 36230"/>
                <a:gd name="connsiteX402" fmla="*/ 7950 w 24669"/>
                <a:gd name="connsiteY402" fmla="*/ 8163 h 36230"/>
                <a:gd name="connsiteX403" fmla="*/ 8002 w 24669"/>
                <a:gd name="connsiteY403" fmla="*/ 7981 h 36230"/>
                <a:gd name="connsiteX404" fmla="*/ 8152 w 24669"/>
                <a:gd name="connsiteY404" fmla="*/ 8229 h 36230"/>
                <a:gd name="connsiteX405" fmla="*/ 7903 w 24669"/>
                <a:gd name="connsiteY405" fmla="*/ 8189 h 36230"/>
                <a:gd name="connsiteX406" fmla="*/ 7962 w 24669"/>
                <a:gd name="connsiteY406" fmla="*/ 8337 h 36230"/>
                <a:gd name="connsiteX407" fmla="*/ 8440 w 24669"/>
                <a:gd name="connsiteY407" fmla="*/ 8114 h 36230"/>
                <a:gd name="connsiteX408" fmla="*/ 8717 w 24669"/>
                <a:gd name="connsiteY408" fmla="*/ 8275 h 36230"/>
                <a:gd name="connsiteX409" fmla="*/ 8763 w 24669"/>
                <a:gd name="connsiteY409" fmla="*/ 8346 h 36230"/>
                <a:gd name="connsiteX410" fmla="*/ 8628 w 24669"/>
                <a:gd name="connsiteY410" fmla="*/ 8342 h 36230"/>
                <a:gd name="connsiteX411" fmla="*/ 8699 w 24669"/>
                <a:gd name="connsiteY411" fmla="*/ 8778 h 36230"/>
                <a:gd name="connsiteX412" fmla="*/ 9126 w 24669"/>
                <a:gd name="connsiteY412" fmla="*/ 8863 h 36230"/>
                <a:gd name="connsiteX413" fmla="*/ 8987 w 24669"/>
                <a:gd name="connsiteY413" fmla="*/ 8881 h 36230"/>
                <a:gd name="connsiteX414" fmla="*/ 8969 w 24669"/>
                <a:gd name="connsiteY414" fmla="*/ 8979 h 36230"/>
                <a:gd name="connsiteX415" fmla="*/ 8685 w 24669"/>
                <a:gd name="connsiteY415" fmla="*/ 8844 h 36230"/>
                <a:gd name="connsiteX416" fmla="*/ 8828 w 24669"/>
                <a:gd name="connsiteY416" fmla="*/ 9345 h 36230"/>
                <a:gd name="connsiteX417" fmla="*/ 9032 w 24669"/>
                <a:gd name="connsiteY417" fmla="*/ 9566 h 36230"/>
                <a:gd name="connsiteX418" fmla="*/ 8900 w 24669"/>
                <a:gd name="connsiteY418" fmla="*/ 9742 h 36230"/>
                <a:gd name="connsiteX419" fmla="*/ 8339 w 24669"/>
                <a:gd name="connsiteY419" fmla="*/ 9809 h 36230"/>
                <a:gd name="connsiteX420" fmla="*/ 7904 w 24669"/>
                <a:gd name="connsiteY420" fmla="*/ 10146 h 36230"/>
                <a:gd name="connsiteX421" fmla="*/ 7523 w 24669"/>
                <a:gd name="connsiteY421" fmla="*/ 10300 h 36230"/>
                <a:gd name="connsiteX422" fmla="*/ 7290 w 24669"/>
                <a:gd name="connsiteY422" fmla="*/ 10629 h 36230"/>
                <a:gd name="connsiteX423" fmla="*/ 7938 w 24669"/>
                <a:gd name="connsiteY423" fmla="*/ 10703 h 36230"/>
                <a:gd name="connsiteX424" fmla="*/ 8280 w 24669"/>
                <a:gd name="connsiteY424" fmla="*/ 10492 h 36230"/>
                <a:gd name="connsiteX425" fmla="*/ 8951 w 24669"/>
                <a:gd name="connsiteY425" fmla="*/ 10174 h 36230"/>
                <a:gd name="connsiteX426" fmla="*/ 8596 w 24669"/>
                <a:gd name="connsiteY426" fmla="*/ 10467 h 36230"/>
                <a:gd name="connsiteX427" fmla="*/ 8764 w 24669"/>
                <a:gd name="connsiteY427" fmla="*/ 10421 h 36230"/>
                <a:gd name="connsiteX428" fmla="*/ 8849 w 24669"/>
                <a:gd name="connsiteY428" fmla="*/ 10594 h 36230"/>
                <a:gd name="connsiteX429" fmla="*/ 8527 w 24669"/>
                <a:gd name="connsiteY429" fmla="*/ 10626 h 36230"/>
                <a:gd name="connsiteX430" fmla="*/ 8617 w 24669"/>
                <a:gd name="connsiteY430" fmla="*/ 10746 h 36230"/>
                <a:gd name="connsiteX431" fmla="*/ 8884 w 24669"/>
                <a:gd name="connsiteY431" fmla="*/ 10660 h 36230"/>
                <a:gd name="connsiteX432" fmla="*/ 8341 w 24669"/>
                <a:gd name="connsiteY432" fmla="*/ 11051 h 36230"/>
                <a:gd name="connsiteX433" fmla="*/ 8772 w 24669"/>
                <a:gd name="connsiteY433" fmla="*/ 10953 h 36230"/>
                <a:gd name="connsiteX434" fmla="*/ 8239 w 24669"/>
                <a:gd name="connsiteY434" fmla="*/ 11126 h 36230"/>
                <a:gd name="connsiteX435" fmla="*/ 8309 w 24669"/>
                <a:gd name="connsiteY435" fmla="*/ 11243 h 36230"/>
                <a:gd name="connsiteX436" fmla="*/ 8133 w 24669"/>
                <a:gd name="connsiteY436" fmla="*/ 11178 h 36230"/>
                <a:gd name="connsiteX437" fmla="*/ 8156 w 24669"/>
                <a:gd name="connsiteY437" fmla="*/ 11284 h 36230"/>
                <a:gd name="connsiteX438" fmla="*/ 7895 w 24669"/>
                <a:gd name="connsiteY438" fmla="*/ 11170 h 36230"/>
                <a:gd name="connsiteX439" fmla="*/ 7961 w 24669"/>
                <a:gd name="connsiteY439" fmla="*/ 11520 h 36230"/>
                <a:gd name="connsiteX440" fmla="*/ 8514 w 24669"/>
                <a:gd name="connsiteY440" fmla="*/ 11910 h 36230"/>
                <a:gd name="connsiteX441" fmla="*/ 8267 w 24669"/>
                <a:gd name="connsiteY441" fmla="*/ 11775 h 36230"/>
                <a:gd name="connsiteX442" fmla="*/ 7855 w 24669"/>
                <a:gd name="connsiteY442" fmla="*/ 11878 h 36230"/>
                <a:gd name="connsiteX443" fmla="*/ 8008 w 24669"/>
                <a:gd name="connsiteY443" fmla="*/ 12162 h 36230"/>
                <a:gd name="connsiteX444" fmla="*/ 7821 w 24669"/>
                <a:gd name="connsiteY444" fmla="*/ 11988 h 36230"/>
                <a:gd name="connsiteX445" fmla="*/ 7799 w 24669"/>
                <a:gd name="connsiteY445" fmla="*/ 12138 h 36230"/>
                <a:gd name="connsiteX446" fmla="*/ 7630 w 24669"/>
                <a:gd name="connsiteY446" fmla="*/ 11823 h 36230"/>
                <a:gd name="connsiteX447" fmla="*/ 7501 w 24669"/>
                <a:gd name="connsiteY447" fmla="*/ 11853 h 36230"/>
                <a:gd name="connsiteX448" fmla="*/ 7597 w 24669"/>
                <a:gd name="connsiteY448" fmla="*/ 11535 h 36230"/>
                <a:gd name="connsiteX449" fmla="*/ 6978 w 24669"/>
                <a:gd name="connsiteY449" fmla="*/ 11496 h 36230"/>
                <a:gd name="connsiteX450" fmla="*/ 6796 w 24669"/>
                <a:gd name="connsiteY450" fmla="*/ 11878 h 36230"/>
                <a:gd name="connsiteX451" fmla="*/ 7003 w 24669"/>
                <a:gd name="connsiteY451" fmla="*/ 12039 h 36230"/>
                <a:gd name="connsiteX452" fmla="*/ 6844 w 24669"/>
                <a:gd name="connsiteY452" fmla="*/ 12056 h 36230"/>
                <a:gd name="connsiteX453" fmla="*/ 6827 w 24669"/>
                <a:gd name="connsiteY453" fmla="*/ 12153 h 36230"/>
                <a:gd name="connsiteX454" fmla="*/ 7216 w 24669"/>
                <a:gd name="connsiteY454" fmla="*/ 12130 h 36230"/>
                <a:gd name="connsiteX455" fmla="*/ 6875 w 24669"/>
                <a:gd name="connsiteY455" fmla="*/ 12243 h 36230"/>
                <a:gd name="connsiteX456" fmla="*/ 7202 w 24669"/>
                <a:gd name="connsiteY456" fmla="*/ 12768 h 36230"/>
                <a:gd name="connsiteX457" fmla="*/ 6844 w 24669"/>
                <a:gd name="connsiteY457" fmla="*/ 12463 h 36230"/>
                <a:gd name="connsiteX458" fmla="*/ 7059 w 24669"/>
                <a:gd name="connsiteY458" fmla="*/ 12713 h 36230"/>
                <a:gd name="connsiteX459" fmla="*/ 6872 w 24669"/>
                <a:gd name="connsiteY459" fmla="*/ 12838 h 36230"/>
                <a:gd name="connsiteX460" fmla="*/ 7266 w 24669"/>
                <a:gd name="connsiteY460" fmla="*/ 13231 h 36230"/>
                <a:gd name="connsiteX461" fmla="*/ 7074 w 24669"/>
                <a:gd name="connsiteY461" fmla="*/ 13078 h 36230"/>
                <a:gd name="connsiteX462" fmla="*/ 7096 w 24669"/>
                <a:gd name="connsiteY462" fmla="*/ 13195 h 36230"/>
                <a:gd name="connsiteX463" fmla="*/ 6875 w 24669"/>
                <a:gd name="connsiteY463" fmla="*/ 13018 h 36230"/>
                <a:gd name="connsiteX464" fmla="*/ 6845 w 24669"/>
                <a:gd name="connsiteY464" fmla="*/ 13174 h 36230"/>
                <a:gd name="connsiteX465" fmla="*/ 7194 w 24669"/>
                <a:gd name="connsiteY465" fmla="*/ 13287 h 36230"/>
                <a:gd name="connsiteX466" fmla="*/ 7119 w 24669"/>
                <a:gd name="connsiteY466" fmla="*/ 13647 h 36230"/>
                <a:gd name="connsiteX467" fmla="*/ 7054 w 24669"/>
                <a:gd name="connsiteY467" fmla="*/ 13469 h 36230"/>
                <a:gd name="connsiteX468" fmla="*/ 6866 w 24669"/>
                <a:gd name="connsiteY468" fmla="*/ 13710 h 36230"/>
                <a:gd name="connsiteX469" fmla="*/ 7065 w 24669"/>
                <a:gd name="connsiteY469" fmla="*/ 13888 h 36230"/>
                <a:gd name="connsiteX470" fmla="*/ 6926 w 24669"/>
                <a:gd name="connsiteY470" fmla="*/ 14129 h 36230"/>
                <a:gd name="connsiteX471" fmla="*/ 6687 w 24669"/>
                <a:gd name="connsiteY471" fmla="*/ 14320 h 36230"/>
                <a:gd name="connsiteX472" fmla="*/ 6736 w 24669"/>
                <a:gd name="connsiteY472" fmla="*/ 14384 h 36230"/>
                <a:gd name="connsiteX473" fmla="*/ 6949 w 24669"/>
                <a:gd name="connsiteY473" fmla="*/ 14259 h 36230"/>
                <a:gd name="connsiteX474" fmla="*/ 6740 w 24669"/>
                <a:gd name="connsiteY474" fmla="*/ 14512 h 36230"/>
                <a:gd name="connsiteX475" fmla="*/ 6795 w 24669"/>
                <a:gd name="connsiteY475" fmla="*/ 14749 h 36230"/>
                <a:gd name="connsiteX476" fmla="*/ 6590 w 24669"/>
                <a:gd name="connsiteY476" fmla="*/ 14621 h 36230"/>
                <a:gd name="connsiteX477" fmla="*/ 6591 w 24669"/>
                <a:gd name="connsiteY477" fmla="*/ 14746 h 36230"/>
                <a:gd name="connsiteX478" fmla="*/ 6401 w 24669"/>
                <a:gd name="connsiteY478" fmla="*/ 14685 h 36230"/>
                <a:gd name="connsiteX479" fmla="*/ 6496 w 24669"/>
                <a:gd name="connsiteY479" fmla="*/ 14866 h 36230"/>
                <a:gd name="connsiteX480" fmla="*/ 6902 w 24669"/>
                <a:gd name="connsiteY480" fmla="*/ 14776 h 36230"/>
                <a:gd name="connsiteX481" fmla="*/ 6657 w 24669"/>
                <a:gd name="connsiteY481" fmla="*/ 15046 h 36230"/>
                <a:gd name="connsiteX482" fmla="*/ 6675 w 24669"/>
                <a:gd name="connsiteY482" fmla="*/ 15362 h 36230"/>
                <a:gd name="connsiteX483" fmla="*/ 6207 w 24669"/>
                <a:gd name="connsiteY483" fmla="*/ 15159 h 36230"/>
                <a:gd name="connsiteX484" fmla="*/ 6626 w 24669"/>
                <a:gd name="connsiteY484" fmla="*/ 15449 h 36230"/>
                <a:gd name="connsiteX485" fmla="*/ 6460 w 24669"/>
                <a:gd name="connsiteY485" fmla="*/ 15505 h 36230"/>
                <a:gd name="connsiteX486" fmla="*/ 6728 w 24669"/>
                <a:gd name="connsiteY486" fmla="*/ 15579 h 36230"/>
                <a:gd name="connsiteX487" fmla="*/ 6425 w 24669"/>
                <a:gd name="connsiteY487" fmla="*/ 15636 h 36230"/>
                <a:gd name="connsiteX488" fmla="*/ 6586 w 24669"/>
                <a:gd name="connsiteY488" fmla="*/ 15704 h 36230"/>
                <a:gd name="connsiteX489" fmla="*/ 6130 w 24669"/>
                <a:gd name="connsiteY489" fmla="*/ 15718 h 36230"/>
                <a:gd name="connsiteX490" fmla="*/ 6662 w 24669"/>
                <a:gd name="connsiteY490" fmla="*/ 15712 h 36230"/>
                <a:gd name="connsiteX491" fmla="*/ 6308 w 24669"/>
                <a:gd name="connsiteY491" fmla="*/ 16082 h 36230"/>
                <a:gd name="connsiteX492" fmla="*/ 6391 w 24669"/>
                <a:gd name="connsiteY492" fmla="*/ 16264 h 36230"/>
                <a:gd name="connsiteX493" fmla="*/ 5887 w 24669"/>
                <a:gd name="connsiteY493" fmla="*/ 16596 h 36230"/>
                <a:gd name="connsiteX494" fmla="*/ 5948 w 24669"/>
                <a:gd name="connsiteY494" fmla="*/ 16747 h 36230"/>
                <a:gd name="connsiteX495" fmla="*/ 5764 w 24669"/>
                <a:gd name="connsiteY495" fmla="*/ 17086 h 36230"/>
                <a:gd name="connsiteX496" fmla="*/ 5674 w 24669"/>
                <a:gd name="connsiteY496" fmla="*/ 17057 h 36230"/>
                <a:gd name="connsiteX497" fmla="*/ 5837 w 24669"/>
                <a:gd name="connsiteY497" fmla="*/ 17329 h 36230"/>
                <a:gd name="connsiteX498" fmla="*/ 5741 w 24669"/>
                <a:gd name="connsiteY498" fmla="*/ 17637 h 36230"/>
                <a:gd name="connsiteX499" fmla="*/ 5511 w 24669"/>
                <a:gd name="connsiteY499" fmla="*/ 17684 h 36230"/>
                <a:gd name="connsiteX500" fmla="*/ 5442 w 24669"/>
                <a:gd name="connsiteY500" fmla="*/ 17894 h 36230"/>
                <a:gd name="connsiteX501" fmla="*/ 5286 w 24669"/>
                <a:gd name="connsiteY501" fmla="*/ 17875 h 36230"/>
                <a:gd name="connsiteX502" fmla="*/ 4920 w 24669"/>
                <a:gd name="connsiteY502" fmla="*/ 18244 h 36230"/>
                <a:gd name="connsiteX503" fmla="*/ 4329 w 24669"/>
                <a:gd name="connsiteY503" fmla="*/ 18501 h 36230"/>
                <a:gd name="connsiteX504" fmla="*/ 4021 w 24669"/>
                <a:gd name="connsiteY504" fmla="*/ 18501 h 36230"/>
                <a:gd name="connsiteX505" fmla="*/ 3967 w 24669"/>
                <a:gd name="connsiteY505" fmla="*/ 18639 h 36230"/>
                <a:gd name="connsiteX506" fmla="*/ 3827 w 24669"/>
                <a:gd name="connsiteY506" fmla="*/ 18592 h 36230"/>
                <a:gd name="connsiteX507" fmla="*/ 3880 w 24669"/>
                <a:gd name="connsiteY507" fmla="*/ 18705 h 36230"/>
                <a:gd name="connsiteX508" fmla="*/ 3776 w 24669"/>
                <a:gd name="connsiteY508" fmla="*/ 18718 h 36230"/>
                <a:gd name="connsiteX509" fmla="*/ 3499 w 24669"/>
                <a:gd name="connsiteY509" fmla="*/ 18324 h 36230"/>
                <a:gd name="connsiteX510" fmla="*/ 3416 w 24669"/>
                <a:gd name="connsiteY510" fmla="*/ 18706 h 36230"/>
                <a:gd name="connsiteX511" fmla="*/ 3272 w 24669"/>
                <a:gd name="connsiteY511" fmla="*/ 18496 h 36230"/>
                <a:gd name="connsiteX512" fmla="*/ 3299 w 24669"/>
                <a:gd name="connsiteY512" fmla="*/ 18334 h 36230"/>
                <a:gd name="connsiteX513" fmla="*/ 3155 w 24669"/>
                <a:gd name="connsiteY513" fmla="*/ 18386 h 36230"/>
                <a:gd name="connsiteX514" fmla="*/ 2900 w 24669"/>
                <a:gd name="connsiteY514" fmla="*/ 18173 h 36230"/>
                <a:gd name="connsiteX515" fmla="*/ 2885 w 24669"/>
                <a:gd name="connsiteY515" fmla="*/ 18546 h 36230"/>
                <a:gd name="connsiteX516" fmla="*/ 2665 w 24669"/>
                <a:gd name="connsiteY516" fmla="*/ 18583 h 36230"/>
                <a:gd name="connsiteX517" fmla="*/ 2556 w 24669"/>
                <a:gd name="connsiteY517" fmla="*/ 18260 h 36230"/>
                <a:gd name="connsiteX518" fmla="*/ 2343 w 24669"/>
                <a:gd name="connsiteY518" fmla="*/ 18570 h 36230"/>
                <a:gd name="connsiteX519" fmla="*/ 2233 w 24669"/>
                <a:gd name="connsiteY519" fmla="*/ 18411 h 36230"/>
                <a:gd name="connsiteX520" fmla="*/ 2439 w 24669"/>
                <a:gd name="connsiteY520" fmla="*/ 18116 h 36230"/>
                <a:gd name="connsiteX521" fmla="*/ 1693 w 24669"/>
                <a:gd name="connsiteY521" fmla="*/ 18351 h 36230"/>
                <a:gd name="connsiteX522" fmla="*/ 1279 w 24669"/>
                <a:gd name="connsiteY522" fmla="*/ 18767 h 36230"/>
                <a:gd name="connsiteX523" fmla="*/ 1932 w 24669"/>
                <a:gd name="connsiteY523" fmla="*/ 19120 h 36230"/>
                <a:gd name="connsiteX524" fmla="*/ 1943 w 24669"/>
                <a:gd name="connsiteY524" fmla="*/ 19294 h 36230"/>
                <a:gd name="connsiteX525" fmla="*/ 1090 w 24669"/>
                <a:gd name="connsiteY525" fmla="*/ 19430 h 36230"/>
                <a:gd name="connsiteX526" fmla="*/ 1220 w 24669"/>
                <a:gd name="connsiteY526" fmla="*/ 19750 h 36230"/>
                <a:gd name="connsiteX527" fmla="*/ 870 w 24669"/>
                <a:gd name="connsiteY527" fmla="*/ 19481 h 36230"/>
                <a:gd name="connsiteX528" fmla="*/ 805 w 24669"/>
                <a:gd name="connsiteY528" fmla="*/ 19718 h 36230"/>
                <a:gd name="connsiteX529" fmla="*/ 580 w 24669"/>
                <a:gd name="connsiteY529" fmla="*/ 19838 h 36230"/>
                <a:gd name="connsiteX530" fmla="*/ 800 w 24669"/>
                <a:gd name="connsiteY530" fmla="*/ 20110 h 36230"/>
                <a:gd name="connsiteX531" fmla="*/ 773 w 24669"/>
                <a:gd name="connsiteY531" fmla="*/ 20186 h 36230"/>
                <a:gd name="connsiteX532" fmla="*/ 1933 w 24669"/>
                <a:gd name="connsiteY532" fmla="*/ 20139 h 36230"/>
                <a:gd name="connsiteX533" fmla="*/ 1483 w 24669"/>
                <a:gd name="connsiteY533" fmla="*/ 20328 h 36230"/>
                <a:gd name="connsiteX534" fmla="*/ 2023 w 24669"/>
                <a:gd name="connsiteY534" fmla="*/ 20530 h 36230"/>
                <a:gd name="connsiteX535" fmla="*/ 2520 w 24669"/>
                <a:gd name="connsiteY535" fmla="*/ 20412 h 36230"/>
                <a:gd name="connsiteX536" fmla="*/ 2494 w 24669"/>
                <a:gd name="connsiteY536" fmla="*/ 20593 h 36230"/>
                <a:gd name="connsiteX537" fmla="*/ 2710 w 24669"/>
                <a:gd name="connsiteY537" fmla="*/ 20652 h 36230"/>
                <a:gd name="connsiteX538" fmla="*/ 2344 w 24669"/>
                <a:gd name="connsiteY538" fmla="*/ 21109 h 36230"/>
                <a:gd name="connsiteX539" fmla="*/ 2166 w 24669"/>
                <a:gd name="connsiteY539" fmla="*/ 20842 h 36230"/>
                <a:gd name="connsiteX540" fmla="*/ 1821 w 24669"/>
                <a:gd name="connsiteY540" fmla="*/ 20777 h 36230"/>
                <a:gd name="connsiteX541" fmla="*/ 1616 w 24669"/>
                <a:gd name="connsiteY541" fmla="*/ 21086 h 36230"/>
                <a:gd name="connsiteX542" fmla="*/ 1653 w 24669"/>
                <a:gd name="connsiteY542" fmla="*/ 20759 h 36230"/>
                <a:gd name="connsiteX543" fmla="*/ 1028 w 24669"/>
                <a:gd name="connsiteY543" fmla="*/ 20848 h 36230"/>
                <a:gd name="connsiteX544" fmla="*/ 1386 w 24669"/>
                <a:gd name="connsiteY544" fmla="*/ 21167 h 36230"/>
                <a:gd name="connsiteX545" fmla="*/ 841 w 24669"/>
                <a:gd name="connsiteY545" fmla="*/ 21083 h 36230"/>
                <a:gd name="connsiteX546" fmla="*/ 1162 w 24669"/>
                <a:gd name="connsiteY546" fmla="*/ 21384 h 36230"/>
                <a:gd name="connsiteX547" fmla="*/ 1040 w 24669"/>
                <a:gd name="connsiteY547" fmla="*/ 21444 h 36230"/>
                <a:gd name="connsiteX548" fmla="*/ 585 w 24669"/>
                <a:gd name="connsiteY548" fmla="*/ 21228 h 36230"/>
                <a:gd name="connsiteX549" fmla="*/ 632 w 24669"/>
                <a:gd name="connsiteY549" fmla="*/ 21445 h 36230"/>
                <a:gd name="connsiteX550" fmla="*/ 480 w 24669"/>
                <a:gd name="connsiteY550" fmla="*/ 21424 h 36230"/>
                <a:gd name="connsiteX551" fmla="*/ 495 w 24669"/>
                <a:gd name="connsiteY551" fmla="*/ 21543 h 36230"/>
                <a:gd name="connsiteX552" fmla="*/ 311 w 24669"/>
                <a:gd name="connsiteY552" fmla="*/ 21495 h 36230"/>
                <a:gd name="connsiteX553" fmla="*/ 0 w 24669"/>
                <a:gd name="connsiteY553" fmla="*/ 21955 h 36230"/>
                <a:gd name="connsiteX554" fmla="*/ 92 w 24669"/>
                <a:gd name="connsiteY554" fmla="*/ 22640 h 36230"/>
                <a:gd name="connsiteX555" fmla="*/ 172 w 24669"/>
                <a:gd name="connsiteY555" fmla="*/ 22725 h 36230"/>
                <a:gd name="connsiteX556" fmla="*/ 942 w 24669"/>
                <a:gd name="connsiteY556" fmla="*/ 23088 h 36230"/>
                <a:gd name="connsiteX557" fmla="*/ 1579 w 24669"/>
                <a:gd name="connsiteY557" fmla="*/ 23420 h 36230"/>
                <a:gd name="connsiteX558" fmla="*/ 1479 w 24669"/>
                <a:gd name="connsiteY558" fmla="*/ 23585 h 36230"/>
                <a:gd name="connsiteX559" fmla="*/ 2212 w 24669"/>
                <a:gd name="connsiteY559" fmla="*/ 23971 h 36230"/>
                <a:gd name="connsiteX560" fmla="*/ 2687 w 24669"/>
                <a:gd name="connsiteY560" fmla="*/ 23945 h 36230"/>
                <a:gd name="connsiteX561" fmla="*/ 3158 w 24669"/>
                <a:gd name="connsiteY561" fmla="*/ 24727 h 36230"/>
                <a:gd name="connsiteX562" fmla="*/ 3134 w 24669"/>
                <a:gd name="connsiteY562" fmla="*/ 25302 h 36230"/>
                <a:gd name="connsiteX563" fmla="*/ 3132 w 24669"/>
                <a:gd name="connsiteY563" fmla="*/ 25873 h 36230"/>
                <a:gd name="connsiteX564" fmla="*/ 3632 w 24669"/>
                <a:gd name="connsiteY564" fmla="*/ 26164 h 36230"/>
                <a:gd name="connsiteX565" fmla="*/ 3495 w 24669"/>
                <a:gd name="connsiteY565" fmla="*/ 26266 h 36230"/>
                <a:gd name="connsiteX566" fmla="*/ 3350 w 24669"/>
                <a:gd name="connsiteY566" fmla="*/ 26040 h 36230"/>
                <a:gd name="connsiteX567" fmla="*/ 3050 w 24669"/>
                <a:gd name="connsiteY567" fmla="*/ 26060 h 36230"/>
                <a:gd name="connsiteX568" fmla="*/ 2779 w 24669"/>
                <a:gd name="connsiteY568" fmla="*/ 25900 h 36230"/>
                <a:gd name="connsiteX569" fmla="*/ 2578 w 24669"/>
                <a:gd name="connsiteY569" fmla="*/ 26102 h 36230"/>
                <a:gd name="connsiteX570" fmla="*/ 2318 w 24669"/>
                <a:gd name="connsiteY570" fmla="*/ 26049 h 36230"/>
                <a:gd name="connsiteX571" fmla="*/ 2136 w 24669"/>
                <a:gd name="connsiteY571" fmla="*/ 26602 h 36230"/>
                <a:gd name="connsiteX572" fmla="*/ 2331 w 24669"/>
                <a:gd name="connsiteY572" fmla="*/ 26922 h 36230"/>
                <a:gd name="connsiteX573" fmla="*/ 2876 w 24669"/>
                <a:gd name="connsiteY573" fmla="*/ 27509 h 36230"/>
                <a:gd name="connsiteX574" fmla="*/ 2802 w 24669"/>
                <a:gd name="connsiteY574" fmla="*/ 27584 h 36230"/>
                <a:gd name="connsiteX575" fmla="*/ 3109 w 24669"/>
                <a:gd name="connsiteY575" fmla="*/ 27773 h 36230"/>
                <a:gd name="connsiteX576" fmla="*/ 3426 w 24669"/>
                <a:gd name="connsiteY576" fmla="*/ 28370 h 36230"/>
                <a:gd name="connsiteX577" fmla="*/ 3713 w 24669"/>
                <a:gd name="connsiteY577" fmla="*/ 28874 h 36230"/>
                <a:gd name="connsiteX578" fmla="*/ 4467 w 24669"/>
                <a:gd name="connsiteY578" fmla="*/ 28045 h 36230"/>
                <a:gd name="connsiteX579" fmla="*/ 4888 w 24669"/>
                <a:gd name="connsiteY579" fmla="*/ 28122 h 36230"/>
                <a:gd name="connsiteX580" fmla="*/ 4435 w 24669"/>
                <a:gd name="connsiteY580" fmla="*/ 29041 h 36230"/>
                <a:gd name="connsiteX581" fmla="*/ 4575 w 24669"/>
                <a:gd name="connsiteY581" fmla="*/ 29655 h 36230"/>
                <a:gd name="connsiteX582" fmla="*/ 4360 w 24669"/>
                <a:gd name="connsiteY582" fmla="*/ 30394 h 36230"/>
                <a:gd name="connsiteX583" fmla="*/ 4902 w 24669"/>
                <a:gd name="connsiteY583" fmla="*/ 30653 h 36230"/>
                <a:gd name="connsiteX584" fmla="*/ 5294 w 24669"/>
                <a:gd name="connsiteY584" fmla="*/ 29834 h 36230"/>
                <a:gd name="connsiteX585" fmla="*/ 5776 w 24669"/>
                <a:gd name="connsiteY585" fmla="*/ 29835 h 36230"/>
                <a:gd name="connsiteX586" fmla="*/ 6023 w 24669"/>
                <a:gd name="connsiteY586" fmla="*/ 29562 h 36230"/>
                <a:gd name="connsiteX587" fmla="*/ 5555 w 24669"/>
                <a:gd name="connsiteY587" fmla="*/ 30066 h 36230"/>
                <a:gd name="connsiteX588" fmla="*/ 5166 w 24669"/>
                <a:gd name="connsiteY588" fmla="*/ 30522 h 36230"/>
                <a:gd name="connsiteX589" fmla="*/ 4803 w 24669"/>
                <a:gd name="connsiteY589" fmla="*/ 30921 h 36230"/>
                <a:gd name="connsiteX590" fmla="*/ 6155 w 24669"/>
                <a:gd name="connsiteY590" fmla="*/ 31447 h 36230"/>
                <a:gd name="connsiteX591" fmla="*/ 6174 w 24669"/>
                <a:gd name="connsiteY591" fmla="*/ 31550 h 36230"/>
                <a:gd name="connsiteX592" fmla="*/ 6434 w 24669"/>
                <a:gd name="connsiteY592" fmla="*/ 31587 h 36230"/>
                <a:gd name="connsiteX593" fmla="*/ 6925 w 24669"/>
                <a:gd name="connsiteY593" fmla="*/ 31919 h 36230"/>
                <a:gd name="connsiteX594" fmla="*/ 6999 w 24669"/>
                <a:gd name="connsiteY594" fmla="*/ 31648 h 36230"/>
                <a:gd name="connsiteX595" fmla="*/ 7121 w 24669"/>
                <a:gd name="connsiteY595" fmla="*/ 30034 h 36230"/>
                <a:gd name="connsiteX596" fmla="*/ 7389 w 24669"/>
                <a:gd name="connsiteY596" fmla="*/ 30290 h 36230"/>
                <a:gd name="connsiteX597" fmla="*/ 7402 w 24669"/>
                <a:gd name="connsiteY597" fmla="*/ 30858 h 36230"/>
                <a:gd name="connsiteX598" fmla="*/ 8066 w 24669"/>
                <a:gd name="connsiteY598" fmla="*/ 30676 h 36230"/>
                <a:gd name="connsiteX599" fmla="*/ 8482 w 24669"/>
                <a:gd name="connsiteY599" fmla="*/ 30262 h 36230"/>
                <a:gd name="connsiteX600" fmla="*/ 8261 w 24669"/>
                <a:gd name="connsiteY600" fmla="*/ 30764 h 36230"/>
                <a:gd name="connsiteX601" fmla="*/ 8869 w 24669"/>
                <a:gd name="connsiteY601" fmla="*/ 30520 h 36230"/>
                <a:gd name="connsiteX602" fmla="*/ 8818 w 24669"/>
                <a:gd name="connsiteY602" fmla="*/ 30817 h 36230"/>
                <a:gd name="connsiteX603" fmla="*/ 8380 w 24669"/>
                <a:gd name="connsiteY603" fmla="*/ 31681 h 36230"/>
                <a:gd name="connsiteX604" fmla="*/ 8230 w 24669"/>
                <a:gd name="connsiteY604" fmla="*/ 32413 h 36230"/>
                <a:gd name="connsiteX605" fmla="*/ 8834 w 24669"/>
                <a:gd name="connsiteY605" fmla="*/ 32393 h 36230"/>
                <a:gd name="connsiteX606" fmla="*/ 9155 w 24669"/>
                <a:gd name="connsiteY606" fmla="*/ 32001 h 36230"/>
                <a:gd name="connsiteX607" fmla="*/ 9650 w 24669"/>
                <a:gd name="connsiteY607" fmla="*/ 31418 h 36230"/>
                <a:gd name="connsiteX608" fmla="*/ 10097 w 24669"/>
                <a:gd name="connsiteY608" fmla="*/ 31216 h 36230"/>
                <a:gd name="connsiteX609" fmla="*/ 10359 w 24669"/>
                <a:gd name="connsiteY609" fmla="*/ 30669 h 36230"/>
                <a:gd name="connsiteX610" fmla="*/ 10859 w 24669"/>
                <a:gd name="connsiteY610" fmla="*/ 30166 h 36230"/>
                <a:gd name="connsiteX611" fmla="*/ 10837 w 24669"/>
                <a:gd name="connsiteY611" fmla="*/ 30798 h 36230"/>
                <a:gd name="connsiteX612" fmla="*/ 10391 w 24669"/>
                <a:gd name="connsiteY612" fmla="*/ 31475 h 36230"/>
                <a:gd name="connsiteX613" fmla="*/ 9922 w 24669"/>
                <a:gd name="connsiteY613" fmla="*/ 31952 h 36230"/>
                <a:gd name="connsiteX614" fmla="*/ 9571 w 24669"/>
                <a:gd name="connsiteY614" fmla="*/ 32845 h 36230"/>
                <a:gd name="connsiteX615" fmla="*/ 9987 w 24669"/>
                <a:gd name="connsiteY615" fmla="*/ 32781 h 36230"/>
                <a:gd name="connsiteX616" fmla="*/ 9922 w 24669"/>
                <a:gd name="connsiteY616" fmla="*/ 32932 h 36230"/>
                <a:gd name="connsiteX617" fmla="*/ 10793 w 24669"/>
                <a:gd name="connsiteY617" fmla="*/ 32057 h 36230"/>
                <a:gd name="connsiteX618" fmla="*/ 10613 w 24669"/>
                <a:gd name="connsiteY618" fmla="*/ 31568 h 36230"/>
                <a:gd name="connsiteX619" fmla="*/ 10815 w 24669"/>
                <a:gd name="connsiteY619" fmla="*/ 31147 h 36230"/>
                <a:gd name="connsiteX620" fmla="*/ 10720 w 24669"/>
                <a:gd name="connsiteY620" fmla="*/ 31617 h 36230"/>
                <a:gd name="connsiteX621" fmla="*/ 10936 w 24669"/>
                <a:gd name="connsiteY621" fmla="*/ 31771 h 36230"/>
                <a:gd name="connsiteX622" fmla="*/ 11635 w 24669"/>
                <a:gd name="connsiteY622" fmla="*/ 31536 h 36230"/>
                <a:gd name="connsiteX623" fmla="*/ 11111 w 24669"/>
                <a:gd name="connsiteY623" fmla="*/ 31809 h 36230"/>
                <a:gd name="connsiteX624" fmla="*/ 10911 w 24669"/>
                <a:gd name="connsiteY624" fmla="*/ 32241 h 36230"/>
                <a:gd name="connsiteX625" fmla="*/ 10339 w 24669"/>
                <a:gd name="connsiteY625" fmla="*/ 33257 h 36230"/>
                <a:gd name="connsiteX626" fmla="*/ 11683 w 24669"/>
                <a:gd name="connsiteY626" fmla="*/ 33247 h 36230"/>
                <a:gd name="connsiteX627" fmla="*/ 11842 w 24669"/>
                <a:gd name="connsiteY627" fmla="*/ 32472 h 36230"/>
                <a:gd name="connsiteX628" fmla="*/ 11791 w 24669"/>
                <a:gd name="connsiteY628" fmla="*/ 33151 h 36230"/>
                <a:gd name="connsiteX629" fmla="*/ 12360 w 24669"/>
                <a:gd name="connsiteY629" fmla="*/ 32601 h 36230"/>
                <a:gd name="connsiteX630" fmla="*/ 12587 w 24669"/>
                <a:gd name="connsiteY630" fmla="*/ 32006 h 36230"/>
                <a:gd name="connsiteX631" fmla="*/ 12539 w 24669"/>
                <a:gd name="connsiteY631" fmla="*/ 32858 h 36230"/>
                <a:gd name="connsiteX632" fmla="*/ 12473 w 24669"/>
                <a:gd name="connsiteY632" fmla="*/ 33023 h 36230"/>
                <a:gd name="connsiteX633" fmla="*/ 11696 w 24669"/>
                <a:gd name="connsiteY633" fmla="*/ 33488 h 36230"/>
                <a:gd name="connsiteX634" fmla="*/ 10857 w 24669"/>
                <a:gd name="connsiteY634" fmla="*/ 33370 h 36230"/>
                <a:gd name="connsiteX635" fmla="*/ 10470 w 24669"/>
                <a:gd name="connsiteY635" fmla="*/ 34162 h 36230"/>
                <a:gd name="connsiteX636" fmla="*/ 10941 w 24669"/>
                <a:gd name="connsiteY636" fmla="*/ 34482 h 36230"/>
                <a:gd name="connsiteX637" fmla="*/ 11370 w 24669"/>
                <a:gd name="connsiteY637" fmla="*/ 34300 h 36230"/>
                <a:gd name="connsiteX638" fmla="*/ 10980 w 24669"/>
                <a:gd name="connsiteY638" fmla="*/ 34642 h 36230"/>
                <a:gd name="connsiteX639" fmla="*/ 11814 w 24669"/>
                <a:gd name="connsiteY639" fmla="*/ 34551 h 36230"/>
                <a:gd name="connsiteX640" fmla="*/ 11751 w 24669"/>
                <a:gd name="connsiteY640" fmla="*/ 34288 h 36230"/>
                <a:gd name="connsiteX641" fmla="*/ 11872 w 24669"/>
                <a:gd name="connsiteY641" fmla="*/ 34439 h 36230"/>
                <a:gd name="connsiteX642" fmla="*/ 12304 w 24669"/>
                <a:gd name="connsiteY642" fmla="*/ 33923 h 36230"/>
                <a:gd name="connsiteX643" fmla="*/ 12916 w 24669"/>
                <a:gd name="connsiteY643" fmla="*/ 33656 h 36230"/>
                <a:gd name="connsiteX644" fmla="*/ 12870 w 24669"/>
                <a:gd name="connsiteY644" fmla="*/ 33997 h 36230"/>
                <a:gd name="connsiteX645" fmla="*/ 13531 w 24669"/>
                <a:gd name="connsiteY645" fmla="*/ 34114 h 36230"/>
                <a:gd name="connsiteX646" fmla="*/ 13960 w 24669"/>
                <a:gd name="connsiteY646" fmla="*/ 34229 h 36230"/>
                <a:gd name="connsiteX647" fmla="*/ 13617 w 24669"/>
                <a:gd name="connsiteY647" fmla="*/ 34313 h 36230"/>
                <a:gd name="connsiteX648" fmla="*/ 14236 w 24669"/>
                <a:gd name="connsiteY648" fmla="*/ 34628 h 36230"/>
                <a:gd name="connsiteX649" fmla="*/ 13638 w 24669"/>
                <a:gd name="connsiteY649" fmla="*/ 34877 h 36230"/>
                <a:gd name="connsiteX650" fmla="*/ 13635 w 24669"/>
                <a:gd name="connsiteY650" fmla="*/ 35502 h 36230"/>
                <a:gd name="connsiteX651" fmla="*/ 13892 w 24669"/>
                <a:gd name="connsiteY651" fmla="*/ 35459 h 36230"/>
                <a:gd name="connsiteX652" fmla="*/ 14042 w 24669"/>
                <a:gd name="connsiteY652" fmla="*/ 35382 h 36230"/>
                <a:gd name="connsiteX653" fmla="*/ 14038 w 24669"/>
                <a:gd name="connsiteY653" fmla="*/ 35908 h 36230"/>
                <a:gd name="connsiteX654" fmla="*/ 14554 w 24669"/>
                <a:gd name="connsiteY654" fmla="*/ 35357 h 36230"/>
                <a:gd name="connsiteX655" fmla="*/ 14417 w 24669"/>
                <a:gd name="connsiteY655" fmla="*/ 35937 h 36230"/>
                <a:gd name="connsiteX656" fmla="*/ 14972 w 24669"/>
                <a:gd name="connsiteY656" fmla="*/ 36035 h 36230"/>
                <a:gd name="connsiteX657" fmla="*/ 15246 w 24669"/>
                <a:gd name="connsiteY657" fmla="*/ 36230 h 36230"/>
                <a:gd name="connsiteX658" fmla="*/ 15246 w 24669"/>
                <a:gd name="connsiteY658" fmla="*/ 36230 h 3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Lst>
              <a:rect l="l" t="t" r="r" b="b"/>
              <a:pathLst>
                <a:path w="24669" h="36230">
                  <a:moveTo>
                    <a:pt x="15246" y="36230"/>
                  </a:moveTo>
                  <a:lnTo>
                    <a:pt x="15279" y="36230"/>
                  </a:lnTo>
                  <a:cubicBezTo>
                    <a:pt x="15295" y="36158"/>
                    <a:pt x="15311" y="36086"/>
                    <a:pt x="15328" y="36015"/>
                  </a:cubicBezTo>
                  <a:cubicBezTo>
                    <a:pt x="15344" y="36062"/>
                    <a:pt x="15376" y="36158"/>
                    <a:pt x="15392" y="36205"/>
                  </a:cubicBezTo>
                  <a:cubicBezTo>
                    <a:pt x="15462" y="36030"/>
                    <a:pt x="15531" y="35853"/>
                    <a:pt x="15614" y="35682"/>
                  </a:cubicBezTo>
                  <a:cubicBezTo>
                    <a:pt x="15637" y="35819"/>
                    <a:pt x="15590" y="35950"/>
                    <a:pt x="15527" y="36069"/>
                  </a:cubicBezTo>
                  <a:cubicBezTo>
                    <a:pt x="15797" y="35929"/>
                    <a:pt x="16107" y="36004"/>
                    <a:pt x="16398" y="35986"/>
                  </a:cubicBezTo>
                  <a:cubicBezTo>
                    <a:pt x="16597" y="35879"/>
                    <a:pt x="16755" y="35653"/>
                    <a:pt x="17007" y="35695"/>
                  </a:cubicBezTo>
                  <a:cubicBezTo>
                    <a:pt x="16991" y="35604"/>
                    <a:pt x="16998" y="35514"/>
                    <a:pt x="16987" y="35423"/>
                  </a:cubicBezTo>
                  <a:cubicBezTo>
                    <a:pt x="17150" y="35542"/>
                    <a:pt x="17347" y="35648"/>
                    <a:pt x="17558" y="35572"/>
                  </a:cubicBezTo>
                  <a:cubicBezTo>
                    <a:pt x="17845" y="35483"/>
                    <a:pt x="18086" y="35295"/>
                    <a:pt x="18345" y="35148"/>
                  </a:cubicBezTo>
                  <a:cubicBezTo>
                    <a:pt x="18314" y="34876"/>
                    <a:pt x="18129" y="34666"/>
                    <a:pt x="17896" y="34540"/>
                  </a:cubicBezTo>
                  <a:lnTo>
                    <a:pt x="18156" y="34565"/>
                  </a:lnTo>
                  <a:cubicBezTo>
                    <a:pt x="17627" y="34285"/>
                    <a:pt x="17041" y="34565"/>
                    <a:pt x="16485" y="34572"/>
                  </a:cubicBezTo>
                  <a:cubicBezTo>
                    <a:pt x="16123" y="34607"/>
                    <a:pt x="15815" y="34104"/>
                    <a:pt x="15461" y="34324"/>
                  </a:cubicBezTo>
                  <a:cubicBezTo>
                    <a:pt x="15216" y="34490"/>
                    <a:pt x="14909" y="34545"/>
                    <a:pt x="14623" y="34462"/>
                  </a:cubicBezTo>
                  <a:cubicBezTo>
                    <a:pt x="14902" y="34367"/>
                    <a:pt x="15266" y="34421"/>
                    <a:pt x="15454" y="34149"/>
                  </a:cubicBezTo>
                  <a:cubicBezTo>
                    <a:pt x="15112" y="33909"/>
                    <a:pt x="14708" y="33792"/>
                    <a:pt x="14302" y="33720"/>
                  </a:cubicBezTo>
                  <a:cubicBezTo>
                    <a:pt x="14299" y="33491"/>
                    <a:pt x="14264" y="33265"/>
                    <a:pt x="14241" y="33038"/>
                  </a:cubicBezTo>
                  <a:cubicBezTo>
                    <a:pt x="14312" y="33223"/>
                    <a:pt x="14340" y="33424"/>
                    <a:pt x="14431" y="33601"/>
                  </a:cubicBezTo>
                  <a:cubicBezTo>
                    <a:pt x="14534" y="33754"/>
                    <a:pt x="14732" y="33662"/>
                    <a:pt x="14878" y="33641"/>
                  </a:cubicBezTo>
                  <a:cubicBezTo>
                    <a:pt x="14942" y="33715"/>
                    <a:pt x="14996" y="33804"/>
                    <a:pt x="15080" y="33857"/>
                  </a:cubicBezTo>
                  <a:cubicBezTo>
                    <a:pt x="15348" y="33942"/>
                    <a:pt x="15659" y="33892"/>
                    <a:pt x="15899" y="34061"/>
                  </a:cubicBezTo>
                  <a:cubicBezTo>
                    <a:pt x="16167" y="34203"/>
                    <a:pt x="16448" y="34479"/>
                    <a:pt x="16779" y="34401"/>
                  </a:cubicBezTo>
                  <a:cubicBezTo>
                    <a:pt x="17143" y="34243"/>
                    <a:pt x="17564" y="34143"/>
                    <a:pt x="17953" y="34269"/>
                  </a:cubicBezTo>
                  <a:cubicBezTo>
                    <a:pt x="18173" y="34346"/>
                    <a:pt x="18412" y="34338"/>
                    <a:pt x="18632" y="34414"/>
                  </a:cubicBezTo>
                  <a:cubicBezTo>
                    <a:pt x="18637" y="34194"/>
                    <a:pt x="18788" y="33958"/>
                    <a:pt x="18651" y="33753"/>
                  </a:cubicBezTo>
                  <a:cubicBezTo>
                    <a:pt x="18564" y="33587"/>
                    <a:pt x="18466" y="33428"/>
                    <a:pt x="18360" y="33275"/>
                  </a:cubicBezTo>
                  <a:cubicBezTo>
                    <a:pt x="18516" y="33342"/>
                    <a:pt x="18640" y="33457"/>
                    <a:pt x="18735" y="33596"/>
                  </a:cubicBezTo>
                  <a:cubicBezTo>
                    <a:pt x="18806" y="33710"/>
                    <a:pt x="18957" y="33672"/>
                    <a:pt x="19072" y="33696"/>
                  </a:cubicBezTo>
                  <a:cubicBezTo>
                    <a:pt x="19081" y="33596"/>
                    <a:pt x="19090" y="33495"/>
                    <a:pt x="19107" y="33396"/>
                  </a:cubicBezTo>
                  <a:cubicBezTo>
                    <a:pt x="19170" y="33421"/>
                    <a:pt x="19233" y="33455"/>
                    <a:pt x="19303" y="33465"/>
                  </a:cubicBezTo>
                  <a:cubicBezTo>
                    <a:pt x="19443" y="33405"/>
                    <a:pt x="19551" y="33276"/>
                    <a:pt x="19709" y="33256"/>
                  </a:cubicBezTo>
                  <a:cubicBezTo>
                    <a:pt x="19871" y="33098"/>
                    <a:pt x="20070" y="32965"/>
                    <a:pt x="20191" y="32769"/>
                  </a:cubicBezTo>
                  <a:cubicBezTo>
                    <a:pt x="20319" y="32586"/>
                    <a:pt x="20130" y="32452"/>
                    <a:pt x="20032" y="32330"/>
                  </a:cubicBezTo>
                  <a:cubicBezTo>
                    <a:pt x="19898" y="32186"/>
                    <a:pt x="19819" y="32003"/>
                    <a:pt x="19688" y="31859"/>
                  </a:cubicBezTo>
                  <a:cubicBezTo>
                    <a:pt x="19504" y="31704"/>
                    <a:pt x="19246" y="31716"/>
                    <a:pt x="19033" y="31628"/>
                  </a:cubicBezTo>
                  <a:cubicBezTo>
                    <a:pt x="18839" y="31520"/>
                    <a:pt x="18663" y="31345"/>
                    <a:pt x="18422" y="31361"/>
                  </a:cubicBezTo>
                  <a:cubicBezTo>
                    <a:pt x="18157" y="31311"/>
                    <a:pt x="17892" y="31370"/>
                    <a:pt x="17630" y="31404"/>
                  </a:cubicBezTo>
                  <a:cubicBezTo>
                    <a:pt x="17273" y="31458"/>
                    <a:pt x="16932" y="31324"/>
                    <a:pt x="16589" y="31250"/>
                  </a:cubicBezTo>
                  <a:cubicBezTo>
                    <a:pt x="16464" y="31219"/>
                    <a:pt x="16378" y="31112"/>
                    <a:pt x="16276" y="31043"/>
                  </a:cubicBezTo>
                  <a:cubicBezTo>
                    <a:pt x="16009" y="30832"/>
                    <a:pt x="15702" y="30681"/>
                    <a:pt x="15428" y="30480"/>
                  </a:cubicBezTo>
                  <a:cubicBezTo>
                    <a:pt x="15233" y="30365"/>
                    <a:pt x="15339" y="30106"/>
                    <a:pt x="15368" y="29931"/>
                  </a:cubicBezTo>
                  <a:cubicBezTo>
                    <a:pt x="15525" y="30056"/>
                    <a:pt x="15638" y="30229"/>
                    <a:pt x="15797" y="30351"/>
                  </a:cubicBezTo>
                  <a:cubicBezTo>
                    <a:pt x="16161" y="30529"/>
                    <a:pt x="16582" y="30580"/>
                    <a:pt x="16915" y="30822"/>
                  </a:cubicBezTo>
                  <a:cubicBezTo>
                    <a:pt x="17374" y="31044"/>
                    <a:pt x="17901" y="30925"/>
                    <a:pt x="18388" y="30898"/>
                  </a:cubicBezTo>
                  <a:cubicBezTo>
                    <a:pt x="18597" y="30878"/>
                    <a:pt x="18544" y="30616"/>
                    <a:pt x="18573" y="30470"/>
                  </a:cubicBezTo>
                  <a:cubicBezTo>
                    <a:pt x="18738" y="30482"/>
                    <a:pt x="18902" y="30501"/>
                    <a:pt x="19067" y="30522"/>
                  </a:cubicBezTo>
                  <a:cubicBezTo>
                    <a:pt x="19075" y="30645"/>
                    <a:pt x="19055" y="30776"/>
                    <a:pt x="19106" y="30891"/>
                  </a:cubicBezTo>
                  <a:cubicBezTo>
                    <a:pt x="19170" y="30960"/>
                    <a:pt x="19263" y="30990"/>
                    <a:pt x="19345" y="31034"/>
                  </a:cubicBezTo>
                  <a:cubicBezTo>
                    <a:pt x="19325" y="30826"/>
                    <a:pt x="19381" y="30602"/>
                    <a:pt x="19316" y="30400"/>
                  </a:cubicBezTo>
                  <a:cubicBezTo>
                    <a:pt x="19165" y="30164"/>
                    <a:pt x="18894" y="30042"/>
                    <a:pt x="18676" y="29879"/>
                  </a:cubicBezTo>
                  <a:cubicBezTo>
                    <a:pt x="18608" y="29827"/>
                    <a:pt x="18507" y="29775"/>
                    <a:pt x="18512" y="29676"/>
                  </a:cubicBezTo>
                  <a:cubicBezTo>
                    <a:pt x="18505" y="29585"/>
                    <a:pt x="18561" y="29509"/>
                    <a:pt x="18609" y="29437"/>
                  </a:cubicBezTo>
                  <a:cubicBezTo>
                    <a:pt x="18844" y="29659"/>
                    <a:pt x="19109" y="29849"/>
                    <a:pt x="19397" y="29995"/>
                  </a:cubicBezTo>
                  <a:cubicBezTo>
                    <a:pt x="19497" y="30033"/>
                    <a:pt x="19527" y="30156"/>
                    <a:pt x="19625" y="30196"/>
                  </a:cubicBezTo>
                  <a:cubicBezTo>
                    <a:pt x="19714" y="30216"/>
                    <a:pt x="19805" y="30195"/>
                    <a:pt x="19894" y="30186"/>
                  </a:cubicBezTo>
                  <a:cubicBezTo>
                    <a:pt x="19904" y="30448"/>
                    <a:pt x="19831" y="30727"/>
                    <a:pt x="19912" y="30979"/>
                  </a:cubicBezTo>
                  <a:cubicBezTo>
                    <a:pt x="20127" y="31176"/>
                    <a:pt x="20435" y="31234"/>
                    <a:pt x="20716" y="31262"/>
                  </a:cubicBezTo>
                  <a:cubicBezTo>
                    <a:pt x="20816" y="30685"/>
                    <a:pt x="20833" y="30078"/>
                    <a:pt x="20663" y="29512"/>
                  </a:cubicBezTo>
                  <a:cubicBezTo>
                    <a:pt x="20604" y="29277"/>
                    <a:pt x="20414" y="29109"/>
                    <a:pt x="20335" y="28883"/>
                  </a:cubicBezTo>
                  <a:cubicBezTo>
                    <a:pt x="20195" y="28530"/>
                    <a:pt x="19896" y="28237"/>
                    <a:pt x="19869" y="27843"/>
                  </a:cubicBezTo>
                  <a:cubicBezTo>
                    <a:pt x="19854" y="27736"/>
                    <a:pt x="19764" y="27665"/>
                    <a:pt x="19699" y="27586"/>
                  </a:cubicBezTo>
                  <a:cubicBezTo>
                    <a:pt x="19735" y="27595"/>
                    <a:pt x="19771" y="27603"/>
                    <a:pt x="19808" y="27612"/>
                  </a:cubicBezTo>
                  <a:cubicBezTo>
                    <a:pt x="19719" y="27523"/>
                    <a:pt x="19637" y="27423"/>
                    <a:pt x="19606" y="27298"/>
                  </a:cubicBezTo>
                  <a:cubicBezTo>
                    <a:pt x="19707" y="27380"/>
                    <a:pt x="19826" y="27445"/>
                    <a:pt x="19907" y="27549"/>
                  </a:cubicBezTo>
                  <a:cubicBezTo>
                    <a:pt x="20002" y="27697"/>
                    <a:pt x="19995" y="27883"/>
                    <a:pt x="20065" y="28041"/>
                  </a:cubicBezTo>
                  <a:cubicBezTo>
                    <a:pt x="20154" y="28142"/>
                    <a:pt x="20274" y="28211"/>
                    <a:pt x="20379" y="28296"/>
                  </a:cubicBezTo>
                  <a:cubicBezTo>
                    <a:pt x="20357" y="28300"/>
                    <a:pt x="20314" y="28307"/>
                    <a:pt x="20293" y="28310"/>
                  </a:cubicBezTo>
                  <a:cubicBezTo>
                    <a:pt x="20431" y="28484"/>
                    <a:pt x="20562" y="28664"/>
                    <a:pt x="20714" y="28827"/>
                  </a:cubicBezTo>
                  <a:cubicBezTo>
                    <a:pt x="20884" y="29006"/>
                    <a:pt x="20917" y="29266"/>
                    <a:pt x="21067" y="29461"/>
                  </a:cubicBezTo>
                  <a:cubicBezTo>
                    <a:pt x="21147" y="29600"/>
                    <a:pt x="21264" y="29712"/>
                    <a:pt x="21386" y="29815"/>
                  </a:cubicBezTo>
                  <a:lnTo>
                    <a:pt x="21176" y="29783"/>
                  </a:lnTo>
                  <a:cubicBezTo>
                    <a:pt x="21209" y="29923"/>
                    <a:pt x="21236" y="30065"/>
                    <a:pt x="21280" y="30202"/>
                  </a:cubicBezTo>
                  <a:cubicBezTo>
                    <a:pt x="21338" y="30098"/>
                    <a:pt x="21404" y="30000"/>
                    <a:pt x="21488" y="29915"/>
                  </a:cubicBezTo>
                  <a:cubicBezTo>
                    <a:pt x="21485" y="29889"/>
                    <a:pt x="21481" y="29862"/>
                    <a:pt x="21479" y="29835"/>
                  </a:cubicBezTo>
                  <a:cubicBezTo>
                    <a:pt x="21527" y="29866"/>
                    <a:pt x="21574" y="29897"/>
                    <a:pt x="21622" y="29929"/>
                  </a:cubicBezTo>
                  <a:cubicBezTo>
                    <a:pt x="21519" y="29738"/>
                    <a:pt x="21463" y="29526"/>
                    <a:pt x="21434" y="29311"/>
                  </a:cubicBezTo>
                  <a:cubicBezTo>
                    <a:pt x="21559" y="29414"/>
                    <a:pt x="21663" y="29547"/>
                    <a:pt x="21809" y="29621"/>
                  </a:cubicBezTo>
                  <a:cubicBezTo>
                    <a:pt x="21916" y="29595"/>
                    <a:pt x="21982" y="29499"/>
                    <a:pt x="22045" y="29417"/>
                  </a:cubicBezTo>
                  <a:cubicBezTo>
                    <a:pt x="22068" y="29441"/>
                    <a:pt x="22091" y="29466"/>
                    <a:pt x="22114" y="29490"/>
                  </a:cubicBezTo>
                  <a:cubicBezTo>
                    <a:pt x="22156" y="29411"/>
                    <a:pt x="22197" y="29332"/>
                    <a:pt x="22241" y="29254"/>
                  </a:cubicBezTo>
                  <a:lnTo>
                    <a:pt x="22436" y="29648"/>
                  </a:lnTo>
                  <a:cubicBezTo>
                    <a:pt x="22506" y="29766"/>
                    <a:pt x="22396" y="29927"/>
                    <a:pt x="22504" y="30027"/>
                  </a:cubicBezTo>
                  <a:cubicBezTo>
                    <a:pt x="22598" y="30115"/>
                    <a:pt x="22606" y="30250"/>
                    <a:pt x="22665" y="30359"/>
                  </a:cubicBezTo>
                  <a:cubicBezTo>
                    <a:pt x="22717" y="30379"/>
                    <a:pt x="22773" y="30380"/>
                    <a:pt x="22827" y="30387"/>
                  </a:cubicBezTo>
                  <a:cubicBezTo>
                    <a:pt x="22877" y="30470"/>
                    <a:pt x="22938" y="30564"/>
                    <a:pt x="23051" y="30532"/>
                  </a:cubicBezTo>
                  <a:cubicBezTo>
                    <a:pt x="23324" y="30490"/>
                    <a:pt x="23655" y="30563"/>
                    <a:pt x="23865" y="30346"/>
                  </a:cubicBezTo>
                  <a:cubicBezTo>
                    <a:pt x="24028" y="30199"/>
                    <a:pt x="24227" y="30102"/>
                    <a:pt x="24396" y="29962"/>
                  </a:cubicBezTo>
                  <a:cubicBezTo>
                    <a:pt x="24499" y="29824"/>
                    <a:pt x="24560" y="29658"/>
                    <a:pt x="24669" y="29523"/>
                  </a:cubicBezTo>
                  <a:lnTo>
                    <a:pt x="24669" y="29458"/>
                  </a:lnTo>
                  <a:cubicBezTo>
                    <a:pt x="24510" y="29230"/>
                    <a:pt x="24295" y="29047"/>
                    <a:pt x="24139" y="28815"/>
                  </a:cubicBezTo>
                  <a:cubicBezTo>
                    <a:pt x="24025" y="28678"/>
                    <a:pt x="23962" y="28507"/>
                    <a:pt x="23847" y="28371"/>
                  </a:cubicBezTo>
                  <a:cubicBezTo>
                    <a:pt x="23740" y="28306"/>
                    <a:pt x="23596" y="28356"/>
                    <a:pt x="23481" y="28340"/>
                  </a:cubicBezTo>
                  <a:cubicBezTo>
                    <a:pt x="23451" y="28297"/>
                    <a:pt x="23422" y="28255"/>
                    <a:pt x="23393" y="28212"/>
                  </a:cubicBezTo>
                  <a:cubicBezTo>
                    <a:pt x="23534" y="28274"/>
                    <a:pt x="23689" y="28293"/>
                    <a:pt x="23843" y="28271"/>
                  </a:cubicBezTo>
                  <a:cubicBezTo>
                    <a:pt x="23726" y="28116"/>
                    <a:pt x="23620" y="27953"/>
                    <a:pt x="23503" y="27799"/>
                  </a:cubicBezTo>
                  <a:cubicBezTo>
                    <a:pt x="23399" y="27650"/>
                    <a:pt x="23162" y="27696"/>
                    <a:pt x="23075" y="27532"/>
                  </a:cubicBezTo>
                  <a:cubicBezTo>
                    <a:pt x="23022" y="27470"/>
                    <a:pt x="22993" y="27357"/>
                    <a:pt x="22894" y="27360"/>
                  </a:cubicBezTo>
                  <a:cubicBezTo>
                    <a:pt x="22659" y="27363"/>
                    <a:pt x="22439" y="27469"/>
                    <a:pt x="22248" y="27599"/>
                  </a:cubicBezTo>
                  <a:cubicBezTo>
                    <a:pt x="22248" y="27353"/>
                    <a:pt x="21973" y="27182"/>
                    <a:pt x="21746" y="27248"/>
                  </a:cubicBezTo>
                  <a:cubicBezTo>
                    <a:pt x="21734" y="27223"/>
                    <a:pt x="21723" y="27198"/>
                    <a:pt x="21713" y="27172"/>
                  </a:cubicBezTo>
                  <a:cubicBezTo>
                    <a:pt x="21817" y="27125"/>
                    <a:pt x="21919" y="27070"/>
                    <a:pt x="22029" y="27034"/>
                  </a:cubicBezTo>
                  <a:cubicBezTo>
                    <a:pt x="22169" y="27063"/>
                    <a:pt x="22291" y="27158"/>
                    <a:pt x="22435" y="27174"/>
                  </a:cubicBezTo>
                  <a:cubicBezTo>
                    <a:pt x="22590" y="27086"/>
                    <a:pt x="22754" y="27007"/>
                    <a:pt x="22898" y="26899"/>
                  </a:cubicBezTo>
                  <a:cubicBezTo>
                    <a:pt x="22878" y="26671"/>
                    <a:pt x="22689" y="26489"/>
                    <a:pt x="22540" y="26330"/>
                  </a:cubicBezTo>
                  <a:cubicBezTo>
                    <a:pt x="22168" y="26222"/>
                    <a:pt x="21771" y="26323"/>
                    <a:pt x="21434" y="26496"/>
                  </a:cubicBezTo>
                  <a:cubicBezTo>
                    <a:pt x="21345" y="26332"/>
                    <a:pt x="21235" y="26179"/>
                    <a:pt x="21078" y="26073"/>
                  </a:cubicBezTo>
                  <a:lnTo>
                    <a:pt x="21190" y="26069"/>
                  </a:lnTo>
                  <a:cubicBezTo>
                    <a:pt x="21131" y="25885"/>
                    <a:pt x="21097" y="25694"/>
                    <a:pt x="21041" y="25509"/>
                  </a:cubicBezTo>
                  <a:cubicBezTo>
                    <a:pt x="21091" y="25499"/>
                    <a:pt x="21141" y="25488"/>
                    <a:pt x="21192" y="25477"/>
                  </a:cubicBezTo>
                  <a:cubicBezTo>
                    <a:pt x="21254" y="25686"/>
                    <a:pt x="21357" y="25920"/>
                    <a:pt x="21584" y="25990"/>
                  </a:cubicBezTo>
                  <a:cubicBezTo>
                    <a:pt x="21788" y="26018"/>
                    <a:pt x="21990" y="26057"/>
                    <a:pt x="22190" y="26112"/>
                  </a:cubicBezTo>
                  <a:cubicBezTo>
                    <a:pt x="22228" y="26066"/>
                    <a:pt x="22304" y="25975"/>
                    <a:pt x="22342" y="25930"/>
                  </a:cubicBezTo>
                  <a:cubicBezTo>
                    <a:pt x="22248" y="25707"/>
                    <a:pt x="22191" y="25463"/>
                    <a:pt x="22058" y="25259"/>
                  </a:cubicBezTo>
                  <a:cubicBezTo>
                    <a:pt x="21942" y="25082"/>
                    <a:pt x="21740" y="25262"/>
                    <a:pt x="21597" y="25302"/>
                  </a:cubicBezTo>
                  <a:cubicBezTo>
                    <a:pt x="21450" y="25069"/>
                    <a:pt x="21389" y="24788"/>
                    <a:pt x="21391" y="24516"/>
                  </a:cubicBezTo>
                  <a:cubicBezTo>
                    <a:pt x="21380" y="24340"/>
                    <a:pt x="21545" y="24280"/>
                    <a:pt x="21662" y="24201"/>
                  </a:cubicBezTo>
                  <a:cubicBezTo>
                    <a:pt x="21634" y="24125"/>
                    <a:pt x="21620" y="24041"/>
                    <a:pt x="21573" y="23974"/>
                  </a:cubicBezTo>
                  <a:cubicBezTo>
                    <a:pt x="21484" y="23881"/>
                    <a:pt x="21343" y="23867"/>
                    <a:pt x="21250" y="23780"/>
                  </a:cubicBezTo>
                  <a:cubicBezTo>
                    <a:pt x="21250" y="23632"/>
                    <a:pt x="21289" y="23486"/>
                    <a:pt x="21285" y="23338"/>
                  </a:cubicBezTo>
                  <a:lnTo>
                    <a:pt x="20946" y="23363"/>
                  </a:lnTo>
                  <a:cubicBezTo>
                    <a:pt x="20950" y="23290"/>
                    <a:pt x="20955" y="23217"/>
                    <a:pt x="20960" y="23143"/>
                  </a:cubicBezTo>
                  <a:cubicBezTo>
                    <a:pt x="20910" y="23194"/>
                    <a:pt x="20860" y="23245"/>
                    <a:pt x="20809" y="23294"/>
                  </a:cubicBezTo>
                  <a:cubicBezTo>
                    <a:pt x="20810" y="23178"/>
                    <a:pt x="20815" y="23062"/>
                    <a:pt x="20830" y="22947"/>
                  </a:cubicBezTo>
                  <a:lnTo>
                    <a:pt x="20702" y="22882"/>
                  </a:lnTo>
                  <a:lnTo>
                    <a:pt x="20888" y="22879"/>
                  </a:lnTo>
                  <a:cubicBezTo>
                    <a:pt x="20805" y="22633"/>
                    <a:pt x="20715" y="22386"/>
                    <a:pt x="20699" y="22125"/>
                  </a:cubicBezTo>
                  <a:cubicBezTo>
                    <a:pt x="20679" y="21926"/>
                    <a:pt x="20581" y="21747"/>
                    <a:pt x="20548" y="21550"/>
                  </a:cubicBezTo>
                  <a:cubicBezTo>
                    <a:pt x="20518" y="21355"/>
                    <a:pt x="20451" y="21168"/>
                    <a:pt x="20394" y="20980"/>
                  </a:cubicBezTo>
                  <a:cubicBezTo>
                    <a:pt x="20471" y="20995"/>
                    <a:pt x="20551" y="21003"/>
                    <a:pt x="20627" y="21030"/>
                  </a:cubicBezTo>
                  <a:cubicBezTo>
                    <a:pt x="20688" y="21211"/>
                    <a:pt x="20701" y="21404"/>
                    <a:pt x="20669" y="21592"/>
                  </a:cubicBezTo>
                  <a:cubicBezTo>
                    <a:pt x="20744" y="21586"/>
                    <a:pt x="20819" y="21587"/>
                    <a:pt x="20894" y="21591"/>
                  </a:cubicBezTo>
                  <a:cubicBezTo>
                    <a:pt x="21028" y="21414"/>
                    <a:pt x="21196" y="21268"/>
                    <a:pt x="21403" y="21181"/>
                  </a:cubicBezTo>
                  <a:cubicBezTo>
                    <a:pt x="21550" y="21127"/>
                    <a:pt x="21583" y="20965"/>
                    <a:pt x="21621" y="20832"/>
                  </a:cubicBezTo>
                  <a:cubicBezTo>
                    <a:pt x="21413" y="20776"/>
                    <a:pt x="21273" y="20941"/>
                    <a:pt x="21143" y="21076"/>
                  </a:cubicBezTo>
                  <a:lnTo>
                    <a:pt x="20946" y="20919"/>
                  </a:lnTo>
                  <a:cubicBezTo>
                    <a:pt x="20960" y="20973"/>
                    <a:pt x="20974" y="21027"/>
                    <a:pt x="20989" y="21081"/>
                  </a:cubicBezTo>
                  <a:cubicBezTo>
                    <a:pt x="20944" y="21044"/>
                    <a:pt x="20901" y="21007"/>
                    <a:pt x="20858" y="20970"/>
                  </a:cubicBezTo>
                  <a:cubicBezTo>
                    <a:pt x="20949" y="20900"/>
                    <a:pt x="21039" y="20828"/>
                    <a:pt x="21127" y="20753"/>
                  </a:cubicBezTo>
                  <a:cubicBezTo>
                    <a:pt x="21038" y="20724"/>
                    <a:pt x="20948" y="20696"/>
                    <a:pt x="20856" y="20675"/>
                  </a:cubicBezTo>
                  <a:cubicBezTo>
                    <a:pt x="20968" y="20631"/>
                    <a:pt x="21078" y="20583"/>
                    <a:pt x="21189" y="20535"/>
                  </a:cubicBezTo>
                  <a:cubicBezTo>
                    <a:pt x="21097" y="20521"/>
                    <a:pt x="21004" y="20510"/>
                    <a:pt x="20911" y="20497"/>
                  </a:cubicBezTo>
                  <a:cubicBezTo>
                    <a:pt x="21037" y="20457"/>
                    <a:pt x="21169" y="20450"/>
                    <a:pt x="21300" y="20462"/>
                  </a:cubicBezTo>
                  <a:lnTo>
                    <a:pt x="21517" y="20165"/>
                  </a:lnTo>
                  <a:cubicBezTo>
                    <a:pt x="21445" y="20467"/>
                    <a:pt x="21784" y="20415"/>
                    <a:pt x="21846" y="20242"/>
                  </a:cubicBezTo>
                  <a:cubicBezTo>
                    <a:pt x="21933" y="20043"/>
                    <a:pt x="21916" y="19812"/>
                    <a:pt x="21891" y="19600"/>
                  </a:cubicBezTo>
                  <a:cubicBezTo>
                    <a:pt x="21873" y="19506"/>
                    <a:pt x="21796" y="19342"/>
                    <a:pt x="21677" y="19409"/>
                  </a:cubicBezTo>
                  <a:cubicBezTo>
                    <a:pt x="21389" y="19547"/>
                    <a:pt x="21116" y="19742"/>
                    <a:pt x="20780" y="19727"/>
                  </a:cubicBezTo>
                  <a:lnTo>
                    <a:pt x="20961" y="19649"/>
                  </a:lnTo>
                  <a:cubicBezTo>
                    <a:pt x="20853" y="19530"/>
                    <a:pt x="20739" y="19418"/>
                    <a:pt x="20627" y="19304"/>
                  </a:cubicBezTo>
                  <a:cubicBezTo>
                    <a:pt x="20654" y="19289"/>
                    <a:pt x="20709" y="19261"/>
                    <a:pt x="20736" y="19246"/>
                  </a:cubicBezTo>
                  <a:cubicBezTo>
                    <a:pt x="20657" y="19235"/>
                    <a:pt x="20578" y="19216"/>
                    <a:pt x="20498" y="19225"/>
                  </a:cubicBezTo>
                  <a:cubicBezTo>
                    <a:pt x="20417" y="19326"/>
                    <a:pt x="20367" y="19445"/>
                    <a:pt x="20304" y="19557"/>
                  </a:cubicBezTo>
                  <a:cubicBezTo>
                    <a:pt x="20253" y="19458"/>
                    <a:pt x="20189" y="19363"/>
                    <a:pt x="20161" y="19256"/>
                  </a:cubicBezTo>
                  <a:cubicBezTo>
                    <a:pt x="20165" y="19173"/>
                    <a:pt x="20200" y="19096"/>
                    <a:pt x="20221" y="19016"/>
                  </a:cubicBezTo>
                  <a:cubicBezTo>
                    <a:pt x="20264" y="19078"/>
                    <a:pt x="20306" y="19140"/>
                    <a:pt x="20350" y="19201"/>
                  </a:cubicBezTo>
                  <a:cubicBezTo>
                    <a:pt x="20537" y="19009"/>
                    <a:pt x="20508" y="18729"/>
                    <a:pt x="20529" y="18483"/>
                  </a:cubicBezTo>
                  <a:cubicBezTo>
                    <a:pt x="20708" y="18565"/>
                    <a:pt x="20845" y="18740"/>
                    <a:pt x="21064" y="18717"/>
                  </a:cubicBezTo>
                  <a:cubicBezTo>
                    <a:pt x="21061" y="18660"/>
                    <a:pt x="21059" y="18603"/>
                    <a:pt x="21054" y="18547"/>
                  </a:cubicBezTo>
                  <a:lnTo>
                    <a:pt x="20878" y="18513"/>
                  </a:lnTo>
                  <a:cubicBezTo>
                    <a:pt x="21000" y="18496"/>
                    <a:pt x="21126" y="18504"/>
                    <a:pt x="21247" y="18475"/>
                  </a:cubicBezTo>
                  <a:cubicBezTo>
                    <a:pt x="21322" y="18326"/>
                    <a:pt x="21236" y="18198"/>
                    <a:pt x="21116" y="18113"/>
                  </a:cubicBezTo>
                  <a:cubicBezTo>
                    <a:pt x="21140" y="18102"/>
                    <a:pt x="21189" y="18080"/>
                    <a:pt x="21213" y="18068"/>
                  </a:cubicBezTo>
                  <a:lnTo>
                    <a:pt x="21043" y="18015"/>
                  </a:lnTo>
                  <a:cubicBezTo>
                    <a:pt x="21272" y="17994"/>
                    <a:pt x="21418" y="17779"/>
                    <a:pt x="21398" y="17562"/>
                  </a:cubicBezTo>
                  <a:cubicBezTo>
                    <a:pt x="21432" y="17275"/>
                    <a:pt x="21496" y="16985"/>
                    <a:pt x="21363" y="16710"/>
                  </a:cubicBezTo>
                  <a:lnTo>
                    <a:pt x="21205" y="16736"/>
                  </a:lnTo>
                  <a:cubicBezTo>
                    <a:pt x="21187" y="16831"/>
                    <a:pt x="21171" y="16927"/>
                    <a:pt x="21150" y="17021"/>
                  </a:cubicBezTo>
                  <a:lnTo>
                    <a:pt x="20898" y="16973"/>
                  </a:lnTo>
                  <a:cubicBezTo>
                    <a:pt x="20722" y="17190"/>
                    <a:pt x="20540" y="17408"/>
                    <a:pt x="20305" y="17565"/>
                  </a:cubicBezTo>
                  <a:cubicBezTo>
                    <a:pt x="20572" y="17315"/>
                    <a:pt x="20736" y="16984"/>
                    <a:pt x="20984" y="16718"/>
                  </a:cubicBezTo>
                  <a:cubicBezTo>
                    <a:pt x="20772" y="16686"/>
                    <a:pt x="20582" y="16582"/>
                    <a:pt x="20425" y="16439"/>
                  </a:cubicBezTo>
                  <a:cubicBezTo>
                    <a:pt x="20550" y="16479"/>
                    <a:pt x="20666" y="16542"/>
                    <a:pt x="20784" y="16601"/>
                  </a:cubicBezTo>
                  <a:cubicBezTo>
                    <a:pt x="20830" y="16592"/>
                    <a:pt x="20876" y="16582"/>
                    <a:pt x="20923" y="16572"/>
                  </a:cubicBezTo>
                  <a:cubicBezTo>
                    <a:pt x="20923" y="16381"/>
                    <a:pt x="20917" y="16189"/>
                    <a:pt x="20890" y="15999"/>
                  </a:cubicBezTo>
                  <a:cubicBezTo>
                    <a:pt x="21031" y="16005"/>
                    <a:pt x="21171" y="15973"/>
                    <a:pt x="21293" y="15901"/>
                  </a:cubicBezTo>
                  <a:cubicBezTo>
                    <a:pt x="21334" y="15938"/>
                    <a:pt x="21374" y="15974"/>
                    <a:pt x="21416" y="16010"/>
                  </a:cubicBezTo>
                  <a:cubicBezTo>
                    <a:pt x="21418" y="15847"/>
                    <a:pt x="21627" y="15715"/>
                    <a:pt x="21544" y="15550"/>
                  </a:cubicBezTo>
                  <a:cubicBezTo>
                    <a:pt x="21501" y="15453"/>
                    <a:pt x="21418" y="15329"/>
                    <a:pt x="21295" y="15353"/>
                  </a:cubicBezTo>
                  <a:cubicBezTo>
                    <a:pt x="21146" y="15368"/>
                    <a:pt x="21091" y="15522"/>
                    <a:pt x="21029" y="15634"/>
                  </a:cubicBezTo>
                  <a:lnTo>
                    <a:pt x="20827" y="15680"/>
                  </a:lnTo>
                  <a:cubicBezTo>
                    <a:pt x="20985" y="15577"/>
                    <a:pt x="21071" y="15408"/>
                    <a:pt x="21156" y="15245"/>
                  </a:cubicBezTo>
                  <a:cubicBezTo>
                    <a:pt x="20947" y="15215"/>
                    <a:pt x="20697" y="15044"/>
                    <a:pt x="20516" y="15213"/>
                  </a:cubicBezTo>
                  <a:cubicBezTo>
                    <a:pt x="20425" y="15279"/>
                    <a:pt x="20415" y="15398"/>
                    <a:pt x="20394" y="15498"/>
                  </a:cubicBezTo>
                  <a:cubicBezTo>
                    <a:pt x="20341" y="15344"/>
                    <a:pt x="20287" y="15189"/>
                    <a:pt x="20235" y="15033"/>
                  </a:cubicBezTo>
                  <a:cubicBezTo>
                    <a:pt x="20552" y="15085"/>
                    <a:pt x="20836" y="14931"/>
                    <a:pt x="21110" y="14792"/>
                  </a:cubicBezTo>
                  <a:cubicBezTo>
                    <a:pt x="20973" y="14634"/>
                    <a:pt x="20998" y="14429"/>
                    <a:pt x="21021" y="14237"/>
                  </a:cubicBezTo>
                  <a:cubicBezTo>
                    <a:pt x="20884" y="14229"/>
                    <a:pt x="20746" y="14246"/>
                    <a:pt x="20612" y="14225"/>
                  </a:cubicBezTo>
                  <a:cubicBezTo>
                    <a:pt x="20485" y="14149"/>
                    <a:pt x="20416" y="13973"/>
                    <a:pt x="20261" y="13946"/>
                  </a:cubicBezTo>
                  <a:cubicBezTo>
                    <a:pt x="19996" y="14011"/>
                    <a:pt x="19777" y="14208"/>
                    <a:pt x="19600" y="14405"/>
                  </a:cubicBezTo>
                  <a:cubicBezTo>
                    <a:pt x="19531" y="14482"/>
                    <a:pt x="19596" y="14578"/>
                    <a:pt x="19624" y="14657"/>
                  </a:cubicBezTo>
                  <a:cubicBezTo>
                    <a:pt x="19581" y="14693"/>
                    <a:pt x="19538" y="14729"/>
                    <a:pt x="19497" y="14765"/>
                  </a:cubicBezTo>
                  <a:cubicBezTo>
                    <a:pt x="19445" y="14638"/>
                    <a:pt x="19400" y="14507"/>
                    <a:pt x="19385" y="14370"/>
                  </a:cubicBezTo>
                  <a:cubicBezTo>
                    <a:pt x="19342" y="14378"/>
                    <a:pt x="19299" y="14385"/>
                    <a:pt x="19257" y="14392"/>
                  </a:cubicBezTo>
                  <a:cubicBezTo>
                    <a:pt x="19261" y="14366"/>
                    <a:pt x="19266" y="14339"/>
                    <a:pt x="19272" y="14312"/>
                  </a:cubicBezTo>
                  <a:cubicBezTo>
                    <a:pt x="19063" y="14231"/>
                    <a:pt x="18954" y="14030"/>
                    <a:pt x="18785" y="13904"/>
                  </a:cubicBezTo>
                  <a:cubicBezTo>
                    <a:pt x="18578" y="14007"/>
                    <a:pt x="18402" y="14163"/>
                    <a:pt x="18206" y="14284"/>
                  </a:cubicBezTo>
                  <a:cubicBezTo>
                    <a:pt x="18288" y="14099"/>
                    <a:pt x="18467" y="14001"/>
                    <a:pt x="18652" y="13940"/>
                  </a:cubicBezTo>
                  <a:cubicBezTo>
                    <a:pt x="18511" y="13794"/>
                    <a:pt x="18310" y="13786"/>
                    <a:pt x="18119" y="13799"/>
                  </a:cubicBezTo>
                  <a:cubicBezTo>
                    <a:pt x="18158" y="13743"/>
                    <a:pt x="18195" y="13685"/>
                    <a:pt x="18230" y="13626"/>
                  </a:cubicBezTo>
                  <a:cubicBezTo>
                    <a:pt x="18250" y="13671"/>
                    <a:pt x="18270" y="13715"/>
                    <a:pt x="18291" y="13760"/>
                  </a:cubicBezTo>
                  <a:cubicBezTo>
                    <a:pt x="18409" y="13746"/>
                    <a:pt x="18525" y="13769"/>
                    <a:pt x="18630" y="13824"/>
                  </a:cubicBezTo>
                  <a:cubicBezTo>
                    <a:pt x="18726" y="13880"/>
                    <a:pt x="18826" y="13812"/>
                    <a:pt x="18913" y="13772"/>
                  </a:cubicBezTo>
                  <a:cubicBezTo>
                    <a:pt x="18942" y="13936"/>
                    <a:pt x="19048" y="14069"/>
                    <a:pt x="19143" y="14200"/>
                  </a:cubicBezTo>
                  <a:cubicBezTo>
                    <a:pt x="19415" y="14183"/>
                    <a:pt x="19695" y="14105"/>
                    <a:pt x="19900" y="13918"/>
                  </a:cubicBezTo>
                  <a:cubicBezTo>
                    <a:pt x="19775" y="13918"/>
                    <a:pt x="19660" y="13913"/>
                    <a:pt x="19537" y="13914"/>
                  </a:cubicBezTo>
                  <a:lnTo>
                    <a:pt x="19992" y="13814"/>
                  </a:lnTo>
                  <a:cubicBezTo>
                    <a:pt x="19983" y="13764"/>
                    <a:pt x="19975" y="13714"/>
                    <a:pt x="19966" y="13664"/>
                  </a:cubicBezTo>
                  <a:cubicBezTo>
                    <a:pt x="20110" y="13609"/>
                    <a:pt x="20258" y="13553"/>
                    <a:pt x="20400" y="13488"/>
                  </a:cubicBezTo>
                  <a:cubicBezTo>
                    <a:pt x="20383" y="13373"/>
                    <a:pt x="20392" y="13257"/>
                    <a:pt x="20415" y="13143"/>
                  </a:cubicBezTo>
                  <a:cubicBezTo>
                    <a:pt x="20254" y="13172"/>
                    <a:pt x="20114" y="13244"/>
                    <a:pt x="19995" y="13352"/>
                  </a:cubicBezTo>
                  <a:cubicBezTo>
                    <a:pt x="19781" y="13455"/>
                    <a:pt x="19537" y="13443"/>
                    <a:pt x="19306" y="13465"/>
                  </a:cubicBezTo>
                  <a:cubicBezTo>
                    <a:pt x="19376" y="13516"/>
                    <a:pt x="19435" y="13569"/>
                    <a:pt x="19513" y="13611"/>
                  </a:cubicBezTo>
                  <a:cubicBezTo>
                    <a:pt x="19338" y="13647"/>
                    <a:pt x="19164" y="13694"/>
                    <a:pt x="18992" y="13743"/>
                  </a:cubicBezTo>
                  <a:cubicBezTo>
                    <a:pt x="19074" y="13706"/>
                    <a:pt x="19201" y="13670"/>
                    <a:pt x="19156" y="13559"/>
                  </a:cubicBezTo>
                  <a:cubicBezTo>
                    <a:pt x="19071" y="13435"/>
                    <a:pt x="18913" y="13390"/>
                    <a:pt x="18783" y="13325"/>
                  </a:cubicBezTo>
                  <a:cubicBezTo>
                    <a:pt x="18658" y="13261"/>
                    <a:pt x="18538" y="13373"/>
                    <a:pt x="18425" y="13414"/>
                  </a:cubicBezTo>
                  <a:cubicBezTo>
                    <a:pt x="18478" y="13369"/>
                    <a:pt x="18532" y="13324"/>
                    <a:pt x="18586" y="13279"/>
                  </a:cubicBezTo>
                  <a:cubicBezTo>
                    <a:pt x="18555" y="13254"/>
                    <a:pt x="18525" y="13228"/>
                    <a:pt x="18495" y="13202"/>
                  </a:cubicBezTo>
                  <a:lnTo>
                    <a:pt x="18621" y="13210"/>
                  </a:lnTo>
                  <a:cubicBezTo>
                    <a:pt x="18627" y="13177"/>
                    <a:pt x="18632" y="13143"/>
                    <a:pt x="18638" y="13109"/>
                  </a:cubicBezTo>
                  <a:cubicBezTo>
                    <a:pt x="18743" y="13196"/>
                    <a:pt x="18852" y="13279"/>
                    <a:pt x="18978" y="13333"/>
                  </a:cubicBezTo>
                  <a:cubicBezTo>
                    <a:pt x="19157" y="13288"/>
                    <a:pt x="19351" y="13165"/>
                    <a:pt x="19337" y="12951"/>
                  </a:cubicBezTo>
                  <a:cubicBezTo>
                    <a:pt x="19206" y="12822"/>
                    <a:pt x="19000" y="12844"/>
                    <a:pt x="18835" y="12789"/>
                  </a:cubicBezTo>
                  <a:cubicBezTo>
                    <a:pt x="19014" y="12775"/>
                    <a:pt x="19194" y="12774"/>
                    <a:pt x="19372" y="12751"/>
                  </a:cubicBezTo>
                  <a:cubicBezTo>
                    <a:pt x="19660" y="12571"/>
                    <a:pt x="19897" y="12325"/>
                    <a:pt x="20172" y="12126"/>
                  </a:cubicBezTo>
                  <a:cubicBezTo>
                    <a:pt x="20084" y="12013"/>
                    <a:pt x="20000" y="11897"/>
                    <a:pt x="19927" y="11774"/>
                  </a:cubicBezTo>
                  <a:cubicBezTo>
                    <a:pt x="20028" y="11834"/>
                    <a:pt x="20128" y="11896"/>
                    <a:pt x="20225" y="11961"/>
                  </a:cubicBezTo>
                  <a:cubicBezTo>
                    <a:pt x="20189" y="11883"/>
                    <a:pt x="20153" y="11805"/>
                    <a:pt x="20119" y="11726"/>
                  </a:cubicBezTo>
                  <a:cubicBezTo>
                    <a:pt x="20183" y="11782"/>
                    <a:pt x="20243" y="11843"/>
                    <a:pt x="20301" y="11905"/>
                  </a:cubicBezTo>
                  <a:cubicBezTo>
                    <a:pt x="20338" y="11898"/>
                    <a:pt x="20375" y="11890"/>
                    <a:pt x="20413" y="11881"/>
                  </a:cubicBezTo>
                  <a:cubicBezTo>
                    <a:pt x="20295" y="11751"/>
                    <a:pt x="20142" y="11620"/>
                    <a:pt x="20166" y="11425"/>
                  </a:cubicBezTo>
                  <a:cubicBezTo>
                    <a:pt x="20247" y="11490"/>
                    <a:pt x="20320" y="11569"/>
                    <a:pt x="20417" y="11611"/>
                  </a:cubicBezTo>
                  <a:cubicBezTo>
                    <a:pt x="20554" y="11482"/>
                    <a:pt x="20494" y="11280"/>
                    <a:pt x="20495" y="11115"/>
                  </a:cubicBezTo>
                  <a:cubicBezTo>
                    <a:pt x="20533" y="10859"/>
                    <a:pt x="20555" y="10599"/>
                    <a:pt x="20565" y="10341"/>
                  </a:cubicBezTo>
                  <a:cubicBezTo>
                    <a:pt x="20478" y="10243"/>
                    <a:pt x="20335" y="10333"/>
                    <a:pt x="20226" y="10333"/>
                  </a:cubicBezTo>
                  <a:cubicBezTo>
                    <a:pt x="20212" y="10497"/>
                    <a:pt x="20200" y="10660"/>
                    <a:pt x="20185" y="10823"/>
                  </a:cubicBezTo>
                  <a:cubicBezTo>
                    <a:pt x="20143" y="10661"/>
                    <a:pt x="20138" y="10492"/>
                    <a:pt x="20116" y="10327"/>
                  </a:cubicBezTo>
                  <a:cubicBezTo>
                    <a:pt x="20090" y="10234"/>
                    <a:pt x="19967" y="10265"/>
                    <a:pt x="19902" y="10294"/>
                  </a:cubicBezTo>
                  <a:cubicBezTo>
                    <a:pt x="19768" y="10371"/>
                    <a:pt x="19595" y="10452"/>
                    <a:pt x="19566" y="10622"/>
                  </a:cubicBezTo>
                  <a:cubicBezTo>
                    <a:pt x="19529" y="10880"/>
                    <a:pt x="19455" y="11130"/>
                    <a:pt x="19316" y="11352"/>
                  </a:cubicBezTo>
                  <a:cubicBezTo>
                    <a:pt x="19130" y="11392"/>
                    <a:pt x="19018" y="11560"/>
                    <a:pt x="18859" y="11649"/>
                  </a:cubicBezTo>
                  <a:cubicBezTo>
                    <a:pt x="18718" y="11724"/>
                    <a:pt x="18550" y="11701"/>
                    <a:pt x="18399" y="11729"/>
                  </a:cubicBezTo>
                  <a:cubicBezTo>
                    <a:pt x="18271" y="11861"/>
                    <a:pt x="18198" y="12036"/>
                    <a:pt x="18072" y="12169"/>
                  </a:cubicBezTo>
                  <a:cubicBezTo>
                    <a:pt x="17977" y="12252"/>
                    <a:pt x="17846" y="12271"/>
                    <a:pt x="17730" y="12307"/>
                  </a:cubicBezTo>
                  <a:cubicBezTo>
                    <a:pt x="17894" y="12135"/>
                    <a:pt x="18093" y="12004"/>
                    <a:pt x="18272" y="11848"/>
                  </a:cubicBezTo>
                  <a:lnTo>
                    <a:pt x="18074" y="11757"/>
                  </a:lnTo>
                  <a:cubicBezTo>
                    <a:pt x="18279" y="11679"/>
                    <a:pt x="18485" y="11583"/>
                    <a:pt x="18711" y="11595"/>
                  </a:cubicBezTo>
                  <a:cubicBezTo>
                    <a:pt x="18850" y="11604"/>
                    <a:pt x="18996" y="11504"/>
                    <a:pt x="19014" y="11362"/>
                  </a:cubicBezTo>
                  <a:cubicBezTo>
                    <a:pt x="18979" y="11189"/>
                    <a:pt x="18802" y="11101"/>
                    <a:pt x="18671" y="11005"/>
                  </a:cubicBezTo>
                  <a:cubicBezTo>
                    <a:pt x="18536" y="10906"/>
                    <a:pt x="18364" y="10900"/>
                    <a:pt x="18203" y="10906"/>
                  </a:cubicBezTo>
                  <a:cubicBezTo>
                    <a:pt x="18143" y="11002"/>
                    <a:pt x="18082" y="11096"/>
                    <a:pt x="18015" y="11186"/>
                  </a:cubicBezTo>
                  <a:cubicBezTo>
                    <a:pt x="18045" y="11094"/>
                    <a:pt x="18079" y="11003"/>
                    <a:pt x="18113" y="10912"/>
                  </a:cubicBezTo>
                  <a:lnTo>
                    <a:pt x="17919" y="10968"/>
                  </a:lnTo>
                  <a:cubicBezTo>
                    <a:pt x="17964" y="10854"/>
                    <a:pt x="18020" y="10722"/>
                    <a:pt x="17947" y="10606"/>
                  </a:cubicBezTo>
                  <a:cubicBezTo>
                    <a:pt x="17869" y="10421"/>
                    <a:pt x="17654" y="10390"/>
                    <a:pt x="17488" y="10320"/>
                  </a:cubicBezTo>
                  <a:cubicBezTo>
                    <a:pt x="17490" y="10296"/>
                    <a:pt x="17493" y="10273"/>
                    <a:pt x="17496" y="10249"/>
                  </a:cubicBezTo>
                  <a:cubicBezTo>
                    <a:pt x="17615" y="10314"/>
                    <a:pt x="17753" y="10365"/>
                    <a:pt x="17885" y="10302"/>
                  </a:cubicBezTo>
                  <a:cubicBezTo>
                    <a:pt x="18141" y="10156"/>
                    <a:pt x="18484" y="10503"/>
                    <a:pt x="18670" y="10206"/>
                  </a:cubicBezTo>
                  <a:cubicBezTo>
                    <a:pt x="18521" y="10160"/>
                    <a:pt x="18362" y="10130"/>
                    <a:pt x="18235" y="10034"/>
                  </a:cubicBezTo>
                  <a:cubicBezTo>
                    <a:pt x="18091" y="9920"/>
                    <a:pt x="17901" y="9928"/>
                    <a:pt x="17733" y="9877"/>
                  </a:cubicBezTo>
                  <a:cubicBezTo>
                    <a:pt x="17904" y="9853"/>
                    <a:pt x="18078" y="9829"/>
                    <a:pt x="18240" y="9763"/>
                  </a:cubicBezTo>
                  <a:cubicBezTo>
                    <a:pt x="18281" y="9855"/>
                    <a:pt x="18297" y="9967"/>
                    <a:pt x="18374" y="10035"/>
                  </a:cubicBezTo>
                  <a:cubicBezTo>
                    <a:pt x="18470" y="10072"/>
                    <a:pt x="18577" y="10037"/>
                    <a:pt x="18675" y="10065"/>
                  </a:cubicBezTo>
                  <a:cubicBezTo>
                    <a:pt x="18815" y="10122"/>
                    <a:pt x="18946" y="10200"/>
                    <a:pt x="19078" y="10274"/>
                  </a:cubicBezTo>
                  <a:cubicBezTo>
                    <a:pt x="19072" y="10240"/>
                    <a:pt x="19067" y="10204"/>
                    <a:pt x="19063" y="10168"/>
                  </a:cubicBezTo>
                  <a:cubicBezTo>
                    <a:pt x="19316" y="10172"/>
                    <a:pt x="19508" y="9978"/>
                    <a:pt x="19747" y="9928"/>
                  </a:cubicBezTo>
                  <a:cubicBezTo>
                    <a:pt x="19955" y="9870"/>
                    <a:pt x="20173" y="9900"/>
                    <a:pt x="20381" y="9940"/>
                  </a:cubicBezTo>
                  <a:cubicBezTo>
                    <a:pt x="20303" y="9762"/>
                    <a:pt x="20120" y="9702"/>
                    <a:pt x="19944" y="9671"/>
                  </a:cubicBezTo>
                  <a:cubicBezTo>
                    <a:pt x="20012" y="9524"/>
                    <a:pt x="19886" y="9359"/>
                    <a:pt x="19724" y="9403"/>
                  </a:cubicBezTo>
                  <a:cubicBezTo>
                    <a:pt x="19722" y="9359"/>
                    <a:pt x="19717" y="9271"/>
                    <a:pt x="19715" y="9227"/>
                  </a:cubicBezTo>
                  <a:cubicBezTo>
                    <a:pt x="19663" y="9237"/>
                    <a:pt x="19612" y="9248"/>
                    <a:pt x="19562" y="9258"/>
                  </a:cubicBezTo>
                  <a:cubicBezTo>
                    <a:pt x="19481" y="9142"/>
                    <a:pt x="19384" y="9037"/>
                    <a:pt x="19299" y="8924"/>
                  </a:cubicBezTo>
                  <a:cubicBezTo>
                    <a:pt x="19219" y="8931"/>
                    <a:pt x="19140" y="8935"/>
                    <a:pt x="19061" y="8937"/>
                  </a:cubicBezTo>
                  <a:cubicBezTo>
                    <a:pt x="19104" y="8903"/>
                    <a:pt x="19148" y="8867"/>
                    <a:pt x="19192" y="8831"/>
                  </a:cubicBezTo>
                  <a:cubicBezTo>
                    <a:pt x="19140" y="8778"/>
                    <a:pt x="19089" y="8723"/>
                    <a:pt x="19041" y="8667"/>
                  </a:cubicBezTo>
                  <a:lnTo>
                    <a:pt x="18952" y="8688"/>
                  </a:lnTo>
                  <a:cubicBezTo>
                    <a:pt x="18937" y="8452"/>
                    <a:pt x="18709" y="8330"/>
                    <a:pt x="18511" y="8262"/>
                  </a:cubicBezTo>
                  <a:cubicBezTo>
                    <a:pt x="18351" y="8206"/>
                    <a:pt x="18193" y="8139"/>
                    <a:pt x="18043" y="8058"/>
                  </a:cubicBezTo>
                  <a:cubicBezTo>
                    <a:pt x="18027" y="8089"/>
                    <a:pt x="18012" y="8119"/>
                    <a:pt x="17997" y="8149"/>
                  </a:cubicBezTo>
                  <a:cubicBezTo>
                    <a:pt x="17816" y="7983"/>
                    <a:pt x="17577" y="7910"/>
                    <a:pt x="17375" y="7778"/>
                  </a:cubicBezTo>
                  <a:lnTo>
                    <a:pt x="17195" y="7981"/>
                  </a:lnTo>
                  <a:cubicBezTo>
                    <a:pt x="17185" y="7946"/>
                    <a:pt x="17175" y="7910"/>
                    <a:pt x="17165" y="7874"/>
                  </a:cubicBezTo>
                  <a:cubicBezTo>
                    <a:pt x="17212" y="7823"/>
                    <a:pt x="17259" y="7771"/>
                    <a:pt x="17306" y="7719"/>
                  </a:cubicBezTo>
                  <a:cubicBezTo>
                    <a:pt x="17242" y="7744"/>
                    <a:pt x="17180" y="7771"/>
                    <a:pt x="17118" y="7798"/>
                  </a:cubicBezTo>
                  <a:cubicBezTo>
                    <a:pt x="17140" y="7754"/>
                    <a:pt x="17163" y="7709"/>
                    <a:pt x="17186" y="7664"/>
                  </a:cubicBezTo>
                  <a:cubicBezTo>
                    <a:pt x="17090" y="7717"/>
                    <a:pt x="16989" y="7731"/>
                    <a:pt x="16917" y="7645"/>
                  </a:cubicBezTo>
                  <a:cubicBezTo>
                    <a:pt x="16734" y="7578"/>
                    <a:pt x="16530" y="7622"/>
                    <a:pt x="16392" y="7760"/>
                  </a:cubicBezTo>
                  <a:cubicBezTo>
                    <a:pt x="16415" y="7763"/>
                    <a:pt x="16462" y="7770"/>
                    <a:pt x="16485" y="7774"/>
                  </a:cubicBezTo>
                  <a:cubicBezTo>
                    <a:pt x="16345" y="7902"/>
                    <a:pt x="16245" y="8063"/>
                    <a:pt x="16159" y="8231"/>
                  </a:cubicBezTo>
                  <a:cubicBezTo>
                    <a:pt x="16123" y="7976"/>
                    <a:pt x="16391" y="7801"/>
                    <a:pt x="16348" y="7547"/>
                  </a:cubicBezTo>
                  <a:cubicBezTo>
                    <a:pt x="16339" y="7401"/>
                    <a:pt x="16174" y="7366"/>
                    <a:pt x="16080" y="7287"/>
                  </a:cubicBezTo>
                  <a:cubicBezTo>
                    <a:pt x="15887" y="7174"/>
                    <a:pt x="15790" y="6945"/>
                    <a:pt x="15790" y="6727"/>
                  </a:cubicBezTo>
                  <a:cubicBezTo>
                    <a:pt x="15791" y="6582"/>
                    <a:pt x="15626" y="6512"/>
                    <a:pt x="15599" y="6376"/>
                  </a:cubicBezTo>
                  <a:cubicBezTo>
                    <a:pt x="15574" y="6266"/>
                    <a:pt x="15530" y="6163"/>
                    <a:pt x="15485" y="6060"/>
                  </a:cubicBezTo>
                  <a:cubicBezTo>
                    <a:pt x="15458" y="6092"/>
                    <a:pt x="15432" y="6124"/>
                    <a:pt x="15407" y="6156"/>
                  </a:cubicBezTo>
                  <a:cubicBezTo>
                    <a:pt x="15380" y="6005"/>
                    <a:pt x="15310" y="5864"/>
                    <a:pt x="15199" y="5758"/>
                  </a:cubicBezTo>
                  <a:cubicBezTo>
                    <a:pt x="15160" y="5801"/>
                    <a:pt x="15123" y="5844"/>
                    <a:pt x="15085" y="5886"/>
                  </a:cubicBezTo>
                  <a:cubicBezTo>
                    <a:pt x="15098" y="5827"/>
                    <a:pt x="15112" y="5769"/>
                    <a:pt x="15127" y="5710"/>
                  </a:cubicBezTo>
                  <a:lnTo>
                    <a:pt x="14956" y="5782"/>
                  </a:lnTo>
                  <a:cubicBezTo>
                    <a:pt x="14961" y="5751"/>
                    <a:pt x="14967" y="5720"/>
                    <a:pt x="14973" y="5689"/>
                  </a:cubicBezTo>
                  <a:cubicBezTo>
                    <a:pt x="14861" y="5596"/>
                    <a:pt x="14771" y="5481"/>
                    <a:pt x="14672" y="5375"/>
                  </a:cubicBezTo>
                  <a:cubicBezTo>
                    <a:pt x="14645" y="5427"/>
                    <a:pt x="14617" y="5479"/>
                    <a:pt x="14589" y="5531"/>
                  </a:cubicBezTo>
                  <a:cubicBezTo>
                    <a:pt x="14561" y="5455"/>
                    <a:pt x="14534" y="5378"/>
                    <a:pt x="14506" y="5302"/>
                  </a:cubicBezTo>
                  <a:cubicBezTo>
                    <a:pt x="14483" y="5331"/>
                    <a:pt x="14460" y="5359"/>
                    <a:pt x="14438" y="5387"/>
                  </a:cubicBezTo>
                  <a:cubicBezTo>
                    <a:pt x="14421" y="5315"/>
                    <a:pt x="14404" y="5243"/>
                    <a:pt x="14384" y="5172"/>
                  </a:cubicBezTo>
                  <a:cubicBezTo>
                    <a:pt x="14367" y="5286"/>
                    <a:pt x="14347" y="5399"/>
                    <a:pt x="14329" y="5512"/>
                  </a:cubicBezTo>
                  <a:cubicBezTo>
                    <a:pt x="14318" y="5302"/>
                    <a:pt x="14211" y="5076"/>
                    <a:pt x="13983" y="5036"/>
                  </a:cubicBezTo>
                  <a:cubicBezTo>
                    <a:pt x="13960" y="5328"/>
                    <a:pt x="14085" y="5603"/>
                    <a:pt x="14292" y="5803"/>
                  </a:cubicBezTo>
                  <a:cubicBezTo>
                    <a:pt x="14160" y="5815"/>
                    <a:pt x="14030" y="5834"/>
                    <a:pt x="13900" y="5856"/>
                  </a:cubicBezTo>
                  <a:cubicBezTo>
                    <a:pt x="13949" y="5821"/>
                    <a:pt x="13999" y="5788"/>
                    <a:pt x="14051" y="5757"/>
                  </a:cubicBezTo>
                  <a:cubicBezTo>
                    <a:pt x="13998" y="5618"/>
                    <a:pt x="13962" y="5474"/>
                    <a:pt x="13925" y="5330"/>
                  </a:cubicBezTo>
                  <a:cubicBezTo>
                    <a:pt x="13870" y="5389"/>
                    <a:pt x="13814" y="5448"/>
                    <a:pt x="13759" y="5506"/>
                  </a:cubicBezTo>
                  <a:cubicBezTo>
                    <a:pt x="13809" y="5405"/>
                    <a:pt x="13875" y="5308"/>
                    <a:pt x="13903" y="5196"/>
                  </a:cubicBezTo>
                  <a:cubicBezTo>
                    <a:pt x="13829" y="5100"/>
                    <a:pt x="13706" y="5067"/>
                    <a:pt x="13603" y="5015"/>
                  </a:cubicBezTo>
                  <a:lnTo>
                    <a:pt x="13462" y="5188"/>
                  </a:lnTo>
                  <a:cubicBezTo>
                    <a:pt x="13461" y="5141"/>
                    <a:pt x="13461" y="5095"/>
                    <a:pt x="13461" y="5048"/>
                  </a:cubicBezTo>
                  <a:cubicBezTo>
                    <a:pt x="13402" y="5073"/>
                    <a:pt x="13343" y="5100"/>
                    <a:pt x="13285" y="5127"/>
                  </a:cubicBezTo>
                  <a:cubicBezTo>
                    <a:pt x="13267" y="5084"/>
                    <a:pt x="13249" y="5040"/>
                    <a:pt x="13231" y="4996"/>
                  </a:cubicBezTo>
                  <a:cubicBezTo>
                    <a:pt x="13192" y="5008"/>
                    <a:pt x="13152" y="5018"/>
                    <a:pt x="13113" y="5028"/>
                  </a:cubicBezTo>
                  <a:cubicBezTo>
                    <a:pt x="13158" y="4898"/>
                    <a:pt x="13307" y="4728"/>
                    <a:pt x="13137" y="4620"/>
                  </a:cubicBezTo>
                  <a:cubicBezTo>
                    <a:pt x="13059" y="4429"/>
                    <a:pt x="12888" y="4644"/>
                    <a:pt x="12763" y="4559"/>
                  </a:cubicBezTo>
                  <a:cubicBezTo>
                    <a:pt x="12721" y="4492"/>
                    <a:pt x="12748" y="4410"/>
                    <a:pt x="12758" y="4337"/>
                  </a:cubicBezTo>
                  <a:cubicBezTo>
                    <a:pt x="12799" y="4377"/>
                    <a:pt x="12840" y="4416"/>
                    <a:pt x="12881" y="4455"/>
                  </a:cubicBezTo>
                  <a:cubicBezTo>
                    <a:pt x="12947" y="4309"/>
                    <a:pt x="13050" y="4155"/>
                    <a:pt x="13027" y="3988"/>
                  </a:cubicBezTo>
                  <a:cubicBezTo>
                    <a:pt x="12940" y="3927"/>
                    <a:pt x="12828" y="3920"/>
                    <a:pt x="12728" y="3894"/>
                  </a:cubicBezTo>
                  <a:cubicBezTo>
                    <a:pt x="12715" y="3856"/>
                    <a:pt x="12702" y="3818"/>
                    <a:pt x="12690" y="3780"/>
                  </a:cubicBezTo>
                  <a:cubicBezTo>
                    <a:pt x="12638" y="3830"/>
                    <a:pt x="12585" y="3879"/>
                    <a:pt x="12530" y="3925"/>
                  </a:cubicBezTo>
                  <a:cubicBezTo>
                    <a:pt x="12569" y="3747"/>
                    <a:pt x="12740" y="3692"/>
                    <a:pt x="12902" y="3708"/>
                  </a:cubicBezTo>
                  <a:cubicBezTo>
                    <a:pt x="12910" y="3582"/>
                    <a:pt x="12918" y="3455"/>
                    <a:pt x="12927" y="3328"/>
                  </a:cubicBezTo>
                  <a:cubicBezTo>
                    <a:pt x="12886" y="3268"/>
                    <a:pt x="12851" y="3203"/>
                    <a:pt x="12821" y="3136"/>
                  </a:cubicBezTo>
                  <a:cubicBezTo>
                    <a:pt x="12757" y="3110"/>
                    <a:pt x="12694" y="3085"/>
                    <a:pt x="12629" y="3062"/>
                  </a:cubicBezTo>
                  <a:cubicBezTo>
                    <a:pt x="12764" y="2849"/>
                    <a:pt x="12539" y="2667"/>
                    <a:pt x="12424" y="2508"/>
                  </a:cubicBezTo>
                  <a:cubicBezTo>
                    <a:pt x="12327" y="2355"/>
                    <a:pt x="12134" y="2439"/>
                    <a:pt x="11988" y="2407"/>
                  </a:cubicBezTo>
                  <a:cubicBezTo>
                    <a:pt x="12091" y="2353"/>
                    <a:pt x="12196" y="2304"/>
                    <a:pt x="12301" y="2253"/>
                  </a:cubicBezTo>
                  <a:cubicBezTo>
                    <a:pt x="12273" y="2251"/>
                    <a:pt x="12246" y="2247"/>
                    <a:pt x="12219" y="2244"/>
                  </a:cubicBezTo>
                  <a:cubicBezTo>
                    <a:pt x="12270" y="2076"/>
                    <a:pt x="12175" y="1892"/>
                    <a:pt x="12273" y="1737"/>
                  </a:cubicBezTo>
                  <a:cubicBezTo>
                    <a:pt x="12322" y="1658"/>
                    <a:pt x="12208" y="1619"/>
                    <a:pt x="12165" y="1570"/>
                  </a:cubicBezTo>
                  <a:cubicBezTo>
                    <a:pt x="12191" y="1431"/>
                    <a:pt x="12185" y="1270"/>
                    <a:pt x="12037" y="1202"/>
                  </a:cubicBezTo>
                  <a:cubicBezTo>
                    <a:pt x="12058" y="1183"/>
                    <a:pt x="12078" y="1164"/>
                    <a:pt x="12100" y="1144"/>
                  </a:cubicBezTo>
                  <a:cubicBezTo>
                    <a:pt x="12082" y="1138"/>
                    <a:pt x="12046" y="1128"/>
                    <a:pt x="12029" y="1122"/>
                  </a:cubicBezTo>
                  <a:cubicBezTo>
                    <a:pt x="12036" y="1101"/>
                    <a:pt x="12044" y="1079"/>
                    <a:pt x="12052" y="1057"/>
                  </a:cubicBezTo>
                  <a:cubicBezTo>
                    <a:pt x="12041" y="1060"/>
                    <a:pt x="12019" y="1064"/>
                    <a:pt x="12008" y="1067"/>
                  </a:cubicBezTo>
                  <a:cubicBezTo>
                    <a:pt x="12037" y="974"/>
                    <a:pt x="12065" y="874"/>
                    <a:pt x="12040" y="777"/>
                  </a:cubicBezTo>
                  <a:cubicBezTo>
                    <a:pt x="12019" y="663"/>
                    <a:pt x="11916" y="593"/>
                    <a:pt x="11865" y="494"/>
                  </a:cubicBezTo>
                  <a:cubicBezTo>
                    <a:pt x="11859" y="390"/>
                    <a:pt x="11910" y="290"/>
                    <a:pt x="11899" y="185"/>
                  </a:cubicBezTo>
                  <a:cubicBezTo>
                    <a:pt x="11803" y="108"/>
                    <a:pt x="11688" y="63"/>
                    <a:pt x="11584" y="0"/>
                  </a:cubicBezTo>
                  <a:lnTo>
                    <a:pt x="11544" y="0"/>
                  </a:lnTo>
                  <a:cubicBezTo>
                    <a:pt x="11404" y="81"/>
                    <a:pt x="11256" y="148"/>
                    <a:pt x="11118" y="233"/>
                  </a:cubicBezTo>
                  <a:cubicBezTo>
                    <a:pt x="11014" y="301"/>
                    <a:pt x="11044" y="439"/>
                    <a:pt x="11048" y="543"/>
                  </a:cubicBezTo>
                  <a:cubicBezTo>
                    <a:pt x="10970" y="585"/>
                    <a:pt x="10899" y="638"/>
                    <a:pt x="10832" y="695"/>
                  </a:cubicBezTo>
                  <a:cubicBezTo>
                    <a:pt x="10841" y="717"/>
                    <a:pt x="10857" y="761"/>
                    <a:pt x="10865" y="782"/>
                  </a:cubicBezTo>
                  <a:lnTo>
                    <a:pt x="10535" y="717"/>
                  </a:lnTo>
                  <a:cubicBezTo>
                    <a:pt x="10634" y="767"/>
                    <a:pt x="10734" y="811"/>
                    <a:pt x="10839" y="845"/>
                  </a:cubicBezTo>
                  <a:cubicBezTo>
                    <a:pt x="10743" y="904"/>
                    <a:pt x="10647" y="965"/>
                    <a:pt x="10549" y="1019"/>
                  </a:cubicBezTo>
                  <a:cubicBezTo>
                    <a:pt x="10551" y="995"/>
                    <a:pt x="10554" y="970"/>
                    <a:pt x="10557" y="944"/>
                  </a:cubicBezTo>
                  <a:cubicBezTo>
                    <a:pt x="10503" y="903"/>
                    <a:pt x="10462" y="847"/>
                    <a:pt x="10414" y="800"/>
                  </a:cubicBezTo>
                  <a:cubicBezTo>
                    <a:pt x="10382" y="849"/>
                    <a:pt x="10355" y="900"/>
                    <a:pt x="10328" y="951"/>
                  </a:cubicBezTo>
                  <a:cubicBezTo>
                    <a:pt x="10178" y="853"/>
                    <a:pt x="10025" y="723"/>
                    <a:pt x="9830" y="788"/>
                  </a:cubicBezTo>
                  <a:cubicBezTo>
                    <a:pt x="9905" y="855"/>
                    <a:pt x="9981" y="922"/>
                    <a:pt x="10061" y="983"/>
                  </a:cubicBezTo>
                  <a:cubicBezTo>
                    <a:pt x="9860" y="1037"/>
                    <a:pt x="9708" y="1180"/>
                    <a:pt x="9574" y="1331"/>
                  </a:cubicBezTo>
                  <a:cubicBezTo>
                    <a:pt x="9602" y="1335"/>
                    <a:pt x="9630" y="1339"/>
                    <a:pt x="9659" y="1342"/>
                  </a:cubicBezTo>
                  <a:cubicBezTo>
                    <a:pt x="9450" y="1405"/>
                    <a:pt x="9435" y="1630"/>
                    <a:pt x="9397" y="1805"/>
                  </a:cubicBezTo>
                  <a:cubicBezTo>
                    <a:pt x="9360" y="1809"/>
                    <a:pt x="9324" y="1812"/>
                    <a:pt x="9288" y="1815"/>
                  </a:cubicBezTo>
                  <a:cubicBezTo>
                    <a:pt x="9333" y="1856"/>
                    <a:pt x="9379" y="1897"/>
                    <a:pt x="9425" y="1937"/>
                  </a:cubicBezTo>
                  <a:cubicBezTo>
                    <a:pt x="9100" y="1984"/>
                    <a:pt x="8986" y="2350"/>
                    <a:pt x="8991" y="2640"/>
                  </a:cubicBezTo>
                  <a:cubicBezTo>
                    <a:pt x="8912" y="2703"/>
                    <a:pt x="8809" y="2753"/>
                    <a:pt x="8769" y="2852"/>
                  </a:cubicBezTo>
                  <a:cubicBezTo>
                    <a:pt x="8713" y="3036"/>
                    <a:pt x="8616" y="3201"/>
                    <a:pt x="8508" y="3358"/>
                  </a:cubicBezTo>
                  <a:cubicBezTo>
                    <a:pt x="8559" y="3365"/>
                    <a:pt x="8610" y="3370"/>
                    <a:pt x="8662" y="3376"/>
                  </a:cubicBezTo>
                  <a:cubicBezTo>
                    <a:pt x="8605" y="3451"/>
                    <a:pt x="8548" y="3525"/>
                    <a:pt x="8490" y="3597"/>
                  </a:cubicBezTo>
                  <a:lnTo>
                    <a:pt x="8644" y="3641"/>
                  </a:lnTo>
                  <a:lnTo>
                    <a:pt x="8478" y="3741"/>
                  </a:lnTo>
                  <a:cubicBezTo>
                    <a:pt x="8548" y="3782"/>
                    <a:pt x="8618" y="3824"/>
                    <a:pt x="8686" y="3867"/>
                  </a:cubicBezTo>
                  <a:cubicBezTo>
                    <a:pt x="8688" y="3844"/>
                    <a:pt x="8691" y="3798"/>
                    <a:pt x="8692" y="3775"/>
                  </a:cubicBezTo>
                  <a:cubicBezTo>
                    <a:pt x="8784" y="3890"/>
                    <a:pt x="8949" y="4019"/>
                    <a:pt x="8831" y="4173"/>
                  </a:cubicBezTo>
                  <a:lnTo>
                    <a:pt x="8952" y="4230"/>
                  </a:lnTo>
                  <a:cubicBezTo>
                    <a:pt x="9052" y="4097"/>
                    <a:pt x="9163" y="3970"/>
                    <a:pt x="9300" y="3872"/>
                  </a:cubicBezTo>
                  <a:cubicBezTo>
                    <a:pt x="9188" y="4003"/>
                    <a:pt x="9103" y="4155"/>
                    <a:pt x="9087" y="4329"/>
                  </a:cubicBezTo>
                  <a:cubicBezTo>
                    <a:pt x="8938" y="4323"/>
                    <a:pt x="8810" y="4254"/>
                    <a:pt x="8701" y="4156"/>
                  </a:cubicBezTo>
                  <a:cubicBezTo>
                    <a:pt x="8697" y="4214"/>
                    <a:pt x="8693" y="4272"/>
                    <a:pt x="8689" y="4329"/>
                  </a:cubicBezTo>
                  <a:cubicBezTo>
                    <a:pt x="8577" y="4109"/>
                    <a:pt x="8486" y="3874"/>
                    <a:pt x="8326" y="3682"/>
                  </a:cubicBezTo>
                  <a:cubicBezTo>
                    <a:pt x="8307" y="3892"/>
                    <a:pt x="8293" y="4107"/>
                    <a:pt x="8360" y="4310"/>
                  </a:cubicBezTo>
                  <a:cubicBezTo>
                    <a:pt x="8232" y="4455"/>
                    <a:pt x="8281" y="4663"/>
                    <a:pt x="8265" y="4839"/>
                  </a:cubicBezTo>
                  <a:cubicBezTo>
                    <a:pt x="8225" y="4788"/>
                    <a:pt x="8187" y="4736"/>
                    <a:pt x="8149" y="4683"/>
                  </a:cubicBezTo>
                  <a:cubicBezTo>
                    <a:pt x="8170" y="4862"/>
                    <a:pt x="8079" y="5018"/>
                    <a:pt x="8023" y="5179"/>
                  </a:cubicBezTo>
                  <a:cubicBezTo>
                    <a:pt x="7974" y="5124"/>
                    <a:pt x="7925" y="5069"/>
                    <a:pt x="7873" y="5017"/>
                  </a:cubicBezTo>
                  <a:cubicBezTo>
                    <a:pt x="7875" y="5125"/>
                    <a:pt x="7891" y="5234"/>
                    <a:pt x="7879" y="5342"/>
                  </a:cubicBezTo>
                  <a:cubicBezTo>
                    <a:pt x="7855" y="5421"/>
                    <a:pt x="7774" y="5461"/>
                    <a:pt x="7718" y="5514"/>
                  </a:cubicBezTo>
                  <a:cubicBezTo>
                    <a:pt x="7703" y="5626"/>
                    <a:pt x="7685" y="5738"/>
                    <a:pt x="7689" y="5851"/>
                  </a:cubicBezTo>
                  <a:cubicBezTo>
                    <a:pt x="7700" y="5998"/>
                    <a:pt x="7803" y="6113"/>
                    <a:pt x="7894" y="6220"/>
                  </a:cubicBezTo>
                  <a:cubicBezTo>
                    <a:pt x="7867" y="6224"/>
                    <a:pt x="7841" y="6226"/>
                    <a:pt x="7815" y="6229"/>
                  </a:cubicBezTo>
                  <a:cubicBezTo>
                    <a:pt x="7787" y="6348"/>
                    <a:pt x="7683" y="6414"/>
                    <a:pt x="7611" y="6502"/>
                  </a:cubicBezTo>
                  <a:cubicBezTo>
                    <a:pt x="7570" y="6644"/>
                    <a:pt x="7643" y="6790"/>
                    <a:pt x="7649" y="6932"/>
                  </a:cubicBezTo>
                  <a:cubicBezTo>
                    <a:pt x="7671" y="7056"/>
                    <a:pt x="7644" y="7185"/>
                    <a:pt x="7674" y="7308"/>
                  </a:cubicBezTo>
                  <a:cubicBezTo>
                    <a:pt x="7737" y="7390"/>
                    <a:pt x="7869" y="7424"/>
                    <a:pt x="7881" y="7541"/>
                  </a:cubicBezTo>
                  <a:cubicBezTo>
                    <a:pt x="7898" y="7622"/>
                    <a:pt x="7832" y="7685"/>
                    <a:pt x="7795" y="7749"/>
                  </a:cubicBezTo>
                  <a:cubicBezTo>
                    <a:pt x="7883" y="7732"/>
                    <a:pt x="7970" y="7713"/>
                    <a:pt x="8059" y="7694"/>
                  </a:cubicBezTo>
                  <a:cubicBezTo>
                    <a:pt x="8029" y="7747"/>
                    <a:pt x="8000" y="7799"/>
                    <a:pt x="7970" y="7850"/>
                  </a:cubicBezTo>
                  <a:lnTo>
                    <a:pt x="7721" y="7851"/>
                  </a:lnTo>
                  <a:cubicBezTo>
                    <a:pt x="7790" y="7876"/>
                    <a:pt x="7860" y="7899"/>
                    <a:pt x="7931" y="7920"/>
                  </a:cubicBezTo>
                  <a:cubicBezTo>
                    <a:pt x="7905" y="7947"/>
                    <a:pt x="7879" y="7974"/>
                    <a:pt x="7853" y="8000"/>
                  </a:cubicBezTo>
                  <a:cubicBezTo>
                    <a:pt x="7886" y="8055"/>
                    <a:pt x="7918" y="8109"/>
                    <a:pt x="7950" y="8163"/>
                  </a:cubicBezTo>
                  <a:cubicBezTo>
                    <a:pt x="7965" y="8102"/>
                    <a:pt x="7983" y="8041"/>
                    <a:pt x="8002" y="7981"/>
                  </a:cubicBezTo>
                  <a:cubicBezTo>
                    <a:pt x="8044" y="8068"/>
                    <a:pt x="8105" y="8145"/>
                    <a:pt x="8152" y="8229"/>
                  </a:cubicBezTo>
                  <a:cubicBezTo>
                    <a:pt x="8069" y="8217"/>
                    <a:pt x="7986" y="8204"/>
                    <a:pt x="7903" y="8189"/>
                  </a:cubicBezTo>
                  <a:cubicBezTo>
                    <a:pt x="7922" y="8239"/>
                    <a:pt x="7942" y="8288"/>
                    <a:pt x="7962" y="8337"/>
                  </a:cubicBezTo>
                  <a:cubicBezTo>
                    <a:pt x="8159" y="8383"/>
                    <a:pt x="8340" y="8275"/>
                    <a:pt x="8440" y="8114"/>
                  </a:cubicBezTo>
                  <a:cubicBezTo>
                    <a:pt x="8547" y="8135"/>
                    <a:pt x="8690" y="8144"/>
                    <a:pt x="8717" y="8275"/>
                  </a:cubicBezTo>
                  <a:cubicBezTo>
                    <a:pt x="8732" y="8299"/>
                    <a:pt x="8747" y="8323"/>
                    <a:pt x="8763" y="8346"/>
                  </a:cubicBezTo>
                  <a:lnTo>
                    <a:pt x="8628" y="8342"/>
                  </a:lnTo>
                  <a:cubicBezTo>
                    <a:pt x="8651" y="8487"/>
                    <a:pt x="8677" y="8632"/>
                    <a:pt x="8699" y="8778"/>
                  </a:cubicBezTo>
                  <a:cubicBezTo>
                    <a:pt x="8851" y="8697"/>
                    <a:pt x="8996" y="8777"/>
                    <a:pt x="9126" y="8863"/>
                  </a:cubicBezTo>
                  <a:cubicBezTo>
                    <a:pt x="9079" y="8870"/>
                    <a:pt x="9033" y="8875"/>
                    <a:pt x="8987" y="8881"/>
                  </a:cubicBezTo>
                  <a:cubicBezTo>
                    <a:pt x="8980" y="8914"/>
                    <a:pt x="8974" y="8946"/>
                    <a:pt x="8969" y="8979"/>
                  </a:cubicBezTo>
                  <a:cubicBezTo>
                    <a:pt x="8896" y="8896"/>
                    <a:pt x="8801" y="8829"/>
                    <a:pt x="8685" y="8844"/>
                  </a:cubicBezTo>
                  <a:cubicBezTo>
                    <a:pt x="8764" y="9001"/>
                    <a:pt x="8825" y="9168"/>
                    <a:pt x="8828" y="9345"/>
                  </a:cubicBezTo>
                  <a:cubicBezTo>
                    <a:pt x="8823" y="9465"/>
                    <a:pt x="8950" y="9509"/>
                    <a:pt x="9032" y="9566"/>
                  </a:cubicBezTo>
                  <a:cubicBezTo>
                    <a:pt x="8991" y="9627"/>
                    <a:pt x="8958" y="9697"/>
                    <a:pt x="8900" y="9742"/>
                  </a:cubicBezTo>
                  <a:cubicBezTo>
                    <a:pt x="8715" y="9777"/>
                    <a:pt x="8518" y="9736"/>
                    <a:pt x="8339" y="9809"/>
                  </a:cubicBezTo>
                  <a:cubicBezTo>
                    <a:pt x="8157" y="9871"/>
                    <a:pt x="8073" y="10065"/>
                    <a:pt x="7904" y="10146"/>
                  </a:cubicBezTo>
                  <a:cubicBezTo>
                    <a:pt x="7783" y="10210"/>
                    <a:pt x="7640" y="10229"/>
                    <a:pt x="7523" y="10300"/>
                  </a:cubicBezTo>
                  <a:cubicBezTo>
                    <a:pt x="7424" y="10393"/>
                    <a:pt x="7364" y="10517"/>
                    <a:pt x="7290" y="10629"/>
                  </a:cubicBezTo>
                  <a:cubicBezTo>
                    <a:pt x="7451" y="10842"/>
                    <a:pt x="7722" y="10735"/>
                    <a:pt x="7938" y="10703"/>
                  </a:cubicBezTo>
                  <a:cubicBezTo>
                    <a:pt x="8077" y="10682"/>
                    <a:pt x="8174" y="10574"/>
                    <a:pt x="8280" y="10492"/>
                  </a:cubicBezTo>
                  <a:cubicBezTo>
                    <a:pt x="8471" y="10331"/>
                    <a:pt x="8697" y="10196"/>
                    <a:pt x="8951" y="10174"/>
                  </a:cubicBezTo>
                  <a:cubicBezTo>
                    <a:pt x="8826" y="10263"/>
                    <a:pt x="8701" y="10354"/>
                    <a:pt x="8596" y="10467"/>
                  </a:cubicBezTo>
                  <a:lnTo>
                    <a:pt x="8764" y="10421"/>
                  </a:lnTo>
                  <a:cubicBezTo>
                    <a:pt x="8789" y="10480"/>
                    <a:pt x="8818" y="10538"/>
                    <a:pt x="8849" y="10594"/>
                  </a:cubicBezTo>
                  <a:lnTo>
                    <a:pt x="8527" y="10626"/>
                  </a:lnTo>
                  <a:cubicBezTo>
                    <a:pt x="8556" y="10667"/>
                    <a:pt x="8583" y="10709"/>
                    <a:pt x="8617" y="10746"/>
                  </a:cubicBezTo>
                  <a:cubicBezTo>
                    <a:pt x="8710" y="10732"/>
                    <a:pt x="8795" y="10691"/>
                    <a:pt x="8884" y="10660"/>
                  </a:cubicBezTo>
                  <a:cubicBezTo>
                    <a:pt x="8737" y="10835"/>
                    <a:pt x="8510" y="10904"/>
                    <a:pt x="8341" y="11051"/>
                  </a:cubicBezTo>
                  <a:cubicBezTo>
                    <a:pt x="8483" y="11016"/>
                    <a:pt x="8625" y="10965"/>
                    <a:pt x="8772" y="10953"/>
                  </a:cubicBezTo>
                  <a:cubicBezTo>
                    <a:pt x="8617" y="11067"/>
                    <a:pt x="8435" y="11146"/>
                    <a:pt x="8239" y="11126"/>
                  </a:cubicBezTo>
                  <a:cubicBezTo>
                    <a:pt x="8262" y="11165"/>
                    <a:pt x="8286" y="11204"/>
                    <a:pt x="8309" y="11243"/>
                  </a:cubicBezTo>
                  <a:cubicBezTo>
                    <a:pt x="8250" y="11222"/>
                    <a:pt x="8191" y="11200"/>
                    <a:pt x="8133" y="11178"/>
                  </a:cubicBezTo>
                  <a:cubicBezTo>
                    <a:pt x="8140" y="11214"/>
                    <a:pt x="8148" y="11249"/>
                    <a:pt x="8156" y="11284"/>
                  </a:cubicBezTo>
                  <a:cubicBezTo>
                    <a:pt x="8071" y="11243"/>
                    <a:pt x="7978" y="11210"/>
                    <a:pt x="7895" y="11170"/>
                  </a:cubicBezTo>
                  <a:cubicBezTo>
                    <a:pt x="7909" y="11288"/>
                    <a:pt x="7888" y="11419"/>
                    <a:pt x="7961" y="11520"/>
                  </a:cubicBezTo>
                  <a:cubicBezTo>
                    <a:pt x="8107" y="11706"/>
                    <a:pt x="8407" y="11683"/>
                    <a:pt x="8514" y="11910"/>
                  </a:cubicBezTo>
                  <a:cubicBezTo>
                    <a:pt x="8432" y="11865"/>
                    <a:pt x="8360" y="11794"/>
                    <a:pt x="8267" y="11775"/>
                  </a:cubicBezTo>
                  <a:cubicBezTo>
                    <a:pt x="8126" y="11785"/>
                    <a:pt x="7992" y="11848"/>
                    <a:pt x="7855" y="11878"/>
                  </a:cubicBezTo>
                  <a:cubicBezTo>
                    <a:pt x="7908" y="11972"/>
                    <a:pt x="7960" y="12066"/>
                    <a:pt x="8008" y="12162"/>
                  </a:cubicBezTo>
                  <a:lnTo>
                    <a:pt x="7821" y="11988"/>
                  </a:lnTo>
                  <a:cubicBezTo>
                    <a:pt x="7813" y="12038"/>
                    <a:pt x="7806" y="12088"/>
                    <a:pt x="7799" y="12138"/>
                  </a:cubicBezTo>
                  <a:cubicBezTo>
                    <a:pt x="7748" y="12030"/>
                    <a:pt x="7703" y="11918"/>
                    <a:pt x="7630" y="11823"/>
                  </a:cubicBezTo>
                  <a:cubicBezTo>
                    <a:pt x="7586" y="11829"/>
                    <a:pt x="7543" y="11843"/>
                    <a:pt x="7501" y="11853"/>
                  </a:cubicBezTo>
                  <a:cubicBezTo>
                    <a:pt x="7534" y="11747"/>
                    <a:pt x="7565" y="11642"/>
                    <a:pt x="7597" y="11535"/>
                  </a:cubicBezTo>
                  <a:cubicBezTo>
                    <a:pt x="7401" y="11434"/>
                    <a:pt x="7186" y="11461"/>
                    <a:pt x="6978" y="11496"/>
                  </a:cubicBezTo>
                  <a:cubicBezTo>
                    <a:pt x="6922" y="11626"/>
                    <a:pt x="6865" y="11755"/>
                    <a:pt x="6796" y="11878"/>
                  </a:cubicBezTo>
                  <a:cubicBezTo>
                    <a:pt x="6864" y="11932"/>
                    <a:pt x="6934" y="11985"/>
                    <a:pt x="7003" y="12039"/>
                  </a:cubicBezTo>
                  <a:cubicBezTo>
                    <a:pt x="6950" y="12044"/>
                    <a:pt x="6897" y="12050"/>
                    <a:pt x="6844" y="12056"/>
                  </a:cubicBezTo>
                  <a:cubicBezTo>
                    <a:pt x="6838" y="12088"/>
                    <a:pt x="6832" y="12121"/>
                    <a:pt x="6827" y="12153"/>
                  </a:cubicBezTo>
                  <a:cubicBezTo>
                    <a:pt x="6956" y="12138"/>
                    <a:pt x="7086" y="12127"/>
                    <a:pt x="7216" y="12130"/>
                  </a:cubicBezTo>
                  <a:lnTo>
                    <a:pt x="6875" y="12243"/>
                  </a:lnTo>
                  <a:cubicBezTo>
                    <a:pt x="7007" y="12403"/>
                    <a:pt x="7125" y="12575"/>
                    <a:pt x="7202" y="12768"/>
                  </a:cubicBezTo>
                  <a:cubicBezTo>
                    <a:pt x="7112" y="12636"/>
                    <a:pt x="7010" y="12499"/>
                    <a:pt x="6844" y="12463"/>
                  </a:cubicBezTo>
                  <a:cubicBezTo>
                    <a:pt x="6911" y="12550"/>
                    <a:pt x="6985" y="12632"/>
                    <a:pt x="7059" y="12713"/>
                  </a:cubicBezTo>
                  <a:lnTo>
                    <a:pt x="6872" y="12838"/>
                  </a:lnTo>
                  <a:cubicBezTo>
                    <a:pt x="6959" y="13025"/>
                    <a:pt x="7237" y="13009"/>
                    <a:pt x="7266" y="13231"/>
                  </a:cubicBezTo>
                  <a:cubicBezTo>
                    <a:pt x="7201" y="13181"/>
                    <a:pt x="7138" y="13130"/>
                    <a:pt x="7074" y="13078"/>
                  </a:cubicBezTo>
                  <a:cubicBezTo>
                    <a:pt x="7081" y="13118"/>
                    <a:pt x="7088" y="13156"/>
                    <a:pt x="7096" y="13195"/>
                  </a:cubicBezTo>
                  <a:cubicBezTo>
                    <a:pt x="7029" y="13129"/>
                    <a:pt x="6958" y="13064"/>
                    <a:pt x="6875" y="13018"/>
                  </a:cubicBezTo>
                  <a:cubicBezTo>
                    <a:pt x="6864" y="13071"/>
                    <a:pt x="6854" y="13122"/>
                    <a:pt x="6845" y="13174"/>
                  </a:cubicBezTo>
                  <a:cubicBezTo>
                    <a:pt x="6938" y="13274"/>
                    <a:pt x="7060" y="13422"/>
                    <a:pt x="7194" y="13287"/>
                  </a:cubicBezTo>
                  <a:cubicBezTo>
                    <a:pt x="7334" y="13402"/>
                    <a:pt x="7251" y="13571"/>
                    <a:pt x="7119" y="13647"/>
                  </a:cubicBezTo>
                  <a:cubicBezTo>
                    <a:pt x="7097" y="13588"/>
                    <a:pt x="7076" y="13528"/>
                    <a:pt x="7054" y="13469"/>
                  </a:cubicBezTo>
                  <a:cubicBezTo>
                    <a:pt x="6980" y="13535"/>
                    <a:pt x="6848" y="13590"/>
                    <a:pt x="6866" y="13710"/>
                  </a:cubicBezTo>
                  <a:cubicBezTo>
                    <a:pt x="6908" y="13791"/>
                    <a:pt x="6992" y="13837"/>
                    <a:pt x="7065" y="13888"/>
                  </a:cubicBezTo>
                  <a:cubicBezTo>
                    <a:pt x="7002" y="13958"/>
                    <a:pt x="6965" y="14044"/>
                    <a:pt x="6926" y="14129"/>
                  </a:cubicBezTo>
                  <a:cubicBezTo>
                    <a:pt x="6879" y="14225"/>
                    <a:pt x="6774" y="14269"/>
                    <a:pt x="6687" y="14320"/>
                  </a:cubicBezTo>
                  <a:cubicBezTo>
                    <a:pt x="6703" y="14342"/>
                    <a:pt x="6719" y="14363"/>
                    <a:pt x="6736" y="14384"/>
                  </a:cubicBezTo>
                  <a:cubicBezTo>
                    <a:pt x="6806" y="14342"/>
                    <a:pt x="6877" y="14300"/>
                    <a:pt x="6949" y="14259"/>
                  </a:cubicBezTo>
                  <a:cubicBezTo>
                    <a:pt x="6884" y="14347"/>
                    <a:pt x="6813" y="14431"/>
                    <a:pt x="6740" y="14512"/>
                  </a:cubicBezTo>
                  <a:cubicBezTo>
                    <a:pt x="6759" y="14591"/>
                    <a:pt x="6779" y="14670"/>
                    <a:pt x="6795" y="14749"/>
                  </a:cubicBezTo>
                  <a:cubicBezTo>
                    <a:pt x="6726" y="14708"/>
                    <a:pt x="6658" y="14665"/>
                    <a:pt x="6590" y="14621"/>
                  </a:cubicBezTo>
                  <a:cubicBezTo>
                    <a:pt x="6590" y="14663"/>
                    <a:pt x="6591" y="14705"/>
                    <a:pt x="6591" y="14746"/>
                  </a:cubicBezTo>
                  <a:lnTo>
                    <a:pt x="6401" y="14685"/>
                  </a:lnTo>
                  <a:cubicBezTo>
                    <a:pt x="6434" y="14745"/>
                    <a:pt x="6465" y="14806"/>
                    <a:pt x="6496" y="14866"/>
                  </a:cubicBezTo>
                  <a:lnTo>
                    <a:pt x="6902" y="14776"/>
                  </a:lnTo>
                  <a:cubicBezTo>
                    <a:pt x="6809" y="14854"/>
                    <a:pt x="6704" y="14930"/>
                    <a:pt x="6657" y="15046"/>
                  </a:cubicBezTo>
                  <a:cubicBezTo>
                    <a:pt x="6599" y="15146"/>
                    <a:pt x="6652" y="15260"/>
                    <a:pt x="6675" y="15362"/>
                  </a:cubicBezTo>
                  <a:cubicBezTo>
                    <a:pt x="6535" y="15261"/>
                    <a:pt x="6379" y="15184"/>
                    <a:pt x="6207" y="15159"/>
                  </a:cubicBezTo>
                  <a:cubicBezTo>
                    <a:pt x="6349" y="15253"/>
                    <a:pt x="6497" y="15338"/>
                    <a:pt x="6626" y="15449"/>
                  </a:cubicBezTo>
                  <a:lnTo>
                    <a:pt x="6460" y="15505"/>
                  </a:lnTo>
                  <a:cubicBezTo>
                    <a:pt x="6547" y="15531"/>
                    <a:pt x="6639" y="15554"/>
                    <a:pt x="6728" y="15579"/>
                  </a:cubicBezTo>
                  <a:lnTo>
                    <a:pt x="6425" y="15636"/>
                  </a:lnTo>
                  <a:lnTo>
                    <a:pt x="6586" y="15704"/>
                  </a:lnTo>
                  <a:cubicBezTo>
                    <a:pt x="6434" y="15712"/>
                    <a:pt x="6282" y="15711"/>
                    <a:pt x="6130" y="15718"/>
                  </a:cubicBezTo>
                  <a:cubicBezTo>
                    <a:pt x="6303" y="15818"/>
                    <a:pt x="6504" y="15853"/>
                    <a:pt x="6662" y="15712"/>
                  </a:cubicBezTo>
                  <a:cubicBezTo>
                    <a:pt x="6574" y="15861"/>
                    <a:pt x="6467" y="16002"/>
                    <a:pt x="6308" y="16082"/>
                  </a:cubicBezTo>
                  <a:cubicBezTo>
                    <a:pt x="6337" y="16142"/>
                    <a:pt x="6375" y="16199"/>
                    <a:pt x="6391" y="16264"/>
                  </a:cubicBezTo>
                  <a:cubicBezTo>
                    <a:pt x="6274" y="16434"/>
                    <a:pt x="6059" y="16496"/>
                    <a:pt x="5887" y="16596"/>
                  </a:cubicBezTo>
                  <a:cubicBezTo>
                    <a:pt x="5907" y="16647"/>
                    <a:pt x="5927" y="16697"/>
                    <a:pt x="5948" y="16747"/>
                  </a:cubicBezTo>
                  <a:cubicBezTo>
                    <a:pt x="5870" y="16850"/>
                    <a:pt x="5804" y="16963"/>
                    <a:pt x="5764" y="17086"/>
                  </a:cubicBezTo>
                  <a:cubicBezTo>
                    <a:pt x="5734" y="17076"/>
                    <a:pt x="5703" y="17067"/>
                    <a:pt x="5674" y="17057"/>
                  </a:cubicBezTo>
                  <a:cubicBezTo>
                    <a:pt x="5732" y="17142"/>
                    <a:pt x="5879" y="17209"/>
                    <a:pt x="5837" y="17329"/>
                  </a:cubicBezTo>
                  <a:cubicBezTo>
                    <a:pt x="5810" y="17433"/>
                    <a:pt x="5772" y="17534"/>
                    <a:pt x="5741" y="17637"/>
                  </a:cubicBezTo>
                  <a:cubicBezTo>
                    <a:pt x="5665" y="17652"/>
                    <a:pt x="5582" y="17649"/>
                    <a:pt x="5511" y="17684"/>
                  </a:cubicBezTo>
                  <a:cubicBezTo>
                    <a:pt x="5465" y="17744"/>
                    <a:pt x="5461" y="17824"/>
                    <a:pt x="5442" y="17894"/>
                  </a:cubicBezTo>
                  <a:lnTo>
                    <a:pt x="5286" y="17875"/>
                  </a:lnTo>
                  <a:cubicBezTo>
                    <a:pt x="5171" y="18005"/>
                    <a:pt x="5067" y="18148"/>
                    <a:pt x="4920" y="18244"/>
                  </a:cubicBezTo>
                  <a:cubicBezTo>
                    <a:pt x="4755" y="18400"/>
                    <a:pt x="4509" y="18373"/>
                    <a:pt x="4329" y="18501"/>
                  </a:cubicBezTo>
                  <a:cubicBezTo>
                    <a:pt x="4237" y="18579"/>
                    <a:pt x="4121" y="18530"/>
                    <a:pt x="4021" y="18501"/>
                  </a:cubicBezTo>
                  <a:lnTo>
                    <a:pt x="3967" y="18639"/>
                  </a:lnTo>
                  <a:cubicBezTo>
                    <a:pt x="3920" y="18624"/>
                    <a:pt x="3874" y="18608"/>
                    <a:pt x="3827" y="18592"/>
                  </a:cubicBezTo>
                  <a:cubicBezTo>
                    <a:pt x="3845" y="18630"/>
                    <a:pt x="3862" y="18667"/>
                    <a:pt x="3880" y="18705"/>
                  </a:cubicBezTo>
                  <a:cubicBezTo>
                    <a:pt x="3845" y="18710"/>
                    <a:pt x="3811" y="18714"/>
                    <a:pt x="3776" y="18718"/>
                  </a:cubicBezTo>
                  <a:cubicBezTo>
                    <a:pt x="3707" y="18572"/>
                    <a:pt x="3661" y="18394"/>
                    <a:pt x="3499" y="18324"/>
                  </a:cubicBezTo>
                  <a:cubicBezTo>
                    <a:pt x="3469" y="18451"/>
                    <a:pt x="3443" y="18579"/>
                    <a:pt x="3416" y="18706"/>
                  </a:cubicBezTo>
                  <a:cubicBezTo>
                    <a:pt x="3382" y="18627"/>
                    <a:pt x="3336" y="18555"/>
                    <a:pt x="3272" y="18496"/>
                  </a:cubicBezTo>
                  <a:cubicBezTo>
                    <a:pt x="3280" y="18442"/>
                    <a:pt x="3289" y="18388"/>
                    <a:pt x="3299" y="18334"/>
                  </a:cubicBezTo>
                  <a:cubicBezTo>
                    <a:pt x="3252" y="18353"/>
                    <a:pt x="3205" y="18375"/>
                    <a:pt x="3155" y="18386"/>
                  </a:cubicBezTo>
                  <a:cubicBezTo>
                    <a:pt x="3052" y="18338"/>
                    <a:pt x="3001" y="18218"/>
                    <a:pt x="2900" y="18173"/>
                  </a:cubicBezTo>
                  <a:cubicBezTo>
                    <a:pt x="2706" y="18228"/>
                    <a:pt x="2838" y="18426"/>
                    <a:pt x="2885" y="18546"/>
                  </a:cubicBezTo>
                  <a:lnTo>
                    <a:pt x="2665" y="18583"/>
                  </a:lnTo>
                  <a:cubicBezTo>
                    <a:pt x="2629" y="18475"/>
                    <a:pt x="2590" y="18369"/>
                    <a:pt x="2556" y="18260"/>
                  </a:cubicBezTo>
                  <a:cubicBezTo>
                    <a:pt x="2489" y="18366"/>
                    <a:pt x="2429" y="18479"/>
                    <a:pt x="2343" y="18570"/>
                  </a:cubicBezTo>
                  <a:cubicBezTo>
                    <a:pt x="2297" y="18525"/>
                    <a:pt x="2253" y="18473"/>
                    <a:pt x="2233" y="18411"/>
                  </a:cubicBezTo>
                  <a:cubicBezTo>
                    <a:pt x="2281" y="18300"/>
                    <a:pt x="2364" y="18210"/>
                    <a:pt x="2439" y="18116"/>
                  </a:cubicBezTo>
                  <a:cubicBezTo>
                    <a:pt x="2195" y="18183"/>
                    <a:pt x="1862" y="18124"/>
                    <a:pt x="1693" y="18351"/>
                  </a:cubicBezTo>
                  <a:cubicBezTo>
                    <a:pt x="1572" y="18507"/>
                    <a:pt x="1410" y="18622"/>
                    <a:pt x="1279" y="18767"/>
                  </a:cubicBezTo>
                  <a:cubicBezTo>
                    <a:pt x="1461" y="18939"/>
                    <a:pt x="1667" y="19115"/>
                    <a:pt x="1932" y="19120"/>
                  </a:cubicBezTo>
                  <a:cubicBezTo>
                    <a:pt x="1932" y="19178"/>
                    <a:pt x="1935" y="19236"/>
                    <a:pt x="1943" y="19294"/>
                  </a:cubicBezTo>
                  <a:cubicBezTo>
                    <a:pt x="1650" y="19220"/>
                    <a:pt x="1345" y="19264"/>
                    <a:pt x="1090" y="19430"/>
                  </a:cubicBezTo>
                  <a:cubicBezTo>
                    <a:pt x="1133" y="19537"/>
                    <a:pt x="1177" y="19643"/>
                    <a:pt x="1220" y="19750"/>
                  </a:cubicBezTo>
                  <a:cubicBezTo>
                    <a:pt x="1106" y="19674"/>
                    <a:pt x="1038" y="19436"/>
                    <a:pt x="870" y="19481"/>
                  </a:cubicBezTo>
                  <a:cubicBezTo>
                    <a:pt x="768" y="19521"/>
                    <a:pt x="789" y="19633"/>
                    <a:pt x="805" y="19718"/>
                  </a:cubicBezTo>
                  <a:cubicBezTo>
                    <a:pt x="728" y="19753"/>
                    <a:pt x="647" y="19785"/>
                    <a:pt x="580" y="19838"/>
                  </a:cubicBezTo>
                  <a:cubicBezTo>
                    <a:pt x="565" y="19977"/>
                    <a:pt x="685" y="20065"/>
                    <a:pt x="800" y="20110"/>
                  </a:cubicBezTo>
                  <a:cubicBezTo>
                    <a:pt x="790" y="20136"/>
                    <a:pt x="781" y="20161"/>
                    <a:pt x="773" y="20186"/>
                  </a:cubicBezTo>
                  <a:cubicBezTo>
                    <a:pt x="1154" y="20370"/>
                    <a:pt x="1543" y="20096"/>
                    <a:pt x="1933" y="20139"/>
                  </a:cubicBezTo>
                  <a:cubicBezTo>
                    <a:pt x="1783" y="20203"/>
                    <a:pt x="1632" y="20262"/>
                    <a:pt x="1483" y="20328"/>
                  </a:cubicBezTo>
                  <a:cubicBezTo>
                    <a:pt x="1652" y="20421"/>
                    <a:pt x="1827" y="20518"/>
                    <a:pt x="2023" y="20530"/>
                  </a:cubicBezTo>
                  <a:cubicBezTo>
                    <a:pt x="2196" y="20532"/>
                    <a:pt x="2360" y="20471"/>
                    <a:pt x="2520" y="20412"/>
                  </a:cubicBezTo>
                  <a:cubicBezTo>
                    <a:pt x="2511" y="20472"/>
                    <a:pt x="2502" y="20533"/>
                    <a:pt x="2494" y="20593"/>
                  </a:cubicBezTo>
                  <a:cubicBezTo>
                    <a:pt x="2567" y="20609"/>
                    <a:pt x="2641" y="20623"/>
                    <a:pt x="2710" y="20652"/>
                  </a:cubicBezTo>
                  <a:cubicBezTo>
                    <a:pt x="2714" y="20876"/>
                    <a:pt x="2544" y="21041"/>
                    <a:pt x="2344" y="21109"/>
                  </a:cubicBezTo>
                  <a:cubicBezTo>
                    <a:pt x="2288" y="21018"/>
                    <a:pt x="2241" y="20919"/>
                    <a:pt x="2166" y="20842"/>
                  </a:cubicBezTo>
                  <a:cubicBezTo>
                    <a:pt x="2075" y="20754"/>
                    <a:pt x="1931" y="20793"/>
                    <a:pt x="1821" y="20777"/>
                  </a:cubicBezTo>
                  <a:cubicBezTo>
                    <a:pt x="1761" y="20886"/>
                    <a:pt x="1691" y="20989"/>
                    <a:pt x="1616" y="21086"/>
                  </a:cubicBezTo>
                  <a:cubicBezTo>
                    <a:pt x="1628" y="20981"/>
                    <a:pt x="1703" y="20861"/>
                    <a:pt x="1653" y="20759"/>
                  </a:cubicBezTo>
                  <a:cubicBezTo>
                    <a:pt x="1464" y="20575"/>
                    <a:pt x="1220" y="20775"/>
                    <a:pt x="1028" y="20848"/>
                  </a:cubicBezTo>
                  <a:cubicBezTo>
                    <a:pt x="1147" y="20954"/>
                    <a:pt x="1271" y="21056"/>
                    <a:pt x="1386" y="21167"/>
                  </a:cubicBezTo>
                  <a:cubicBezTo>
                    <a:pt x="1204" y="21134"/>
                    <a:pt x="1023" y="21108"/>
                    <a:pt x="841" y="21083"/>
                  </a:cubicBezTo>
                  <a:cubicBezTo>
                    <a:pt x="947" y="21185"/>
                    <a:pt x="1050" y="21289"/>
                    <a:pt x="1162" y="21384"/>
                  </a:cubicBezTo>
                  <a:lnTo>
                    <a:pt x="1040" y="21444"/>
                  </a:lnTo>
                  <a:cubicBezTo>
                    <a:pt x="921" y="21315"/>
                    <a:pt x="762" y="21234"/>
                    <a:pt x="585" y="21228"/>
                  </a:cubicBezTo>
                  <a:cubicBezTo>
                    <a:pt x="599" y="21301"/>
                    <a:pt x="615" y="21373"/>
                    <a:pt x="632" y="21445"/>
                  </a:cubicBezTo>
                  <a:lnTo>
                    <a:pt x="480" y="21424"/>
                  </a:lnTo>
                  <a:cubicBezTo>
                    <a:pt x="485" y="21464"/>
                    <a:pt x="490" y="21503"/>
                    <a:pt x="495" y="21543"/>
                  </a:cubicBezTo>
                  <a:lnTo>
                    <a:pt x="311" y="21495"/>
                  </a:lnTo>
                  <a:cubicBezTo>
                    <a:pt x="216" y="21654"/>
                    <a:pt x="115" y="21809"/>
                    <a:pt x="0" y="21955"/>
                  </a:cubicBezTo>
                  <a:cubicBezTo>
                    <a:pt x="48" y="22182"/>
                    <a:pt x="23" y="22418"/>
                    <a:pt x="92" y="22640"/>
                  </a:cubicBezTo>
                  <a:cubicBezTo>
                    <a:pt x="102" y="22680"/>
                    <a:pt x="137" y="22706"/>
                    <a:pt x="172" y="22725"/>
                  </a:cubicBezTo>
                  <a:cubicBezTo>
                    <a:pt x="425" y="22854"/>
                    <a:pt x="716" y="22910"/>
                    <a:pt x="942" y="23088"/>
                  </a:cubicBezTo>
                  <a:cubicBezTo>
                    <a:pt x="1136" y="23232"/>
                    <a:pt x="1359" y="23326"/>
                    <a:pt x="1579" y="23420"/>
                  </a:cubicBezTo>
                  <a:cubicBezTo>
                    <a:pt x="1546" y="23475"/>
                    <a:pt x="1512" y="23530"/>
                    <a:pt x="1479" y="23585"/>
                  </a:cubicBezTo>
                  <a:cubicBezTo>
                    <a:pt x="1691" y="23768"/>
                    <a:pt x="1960" y="23860"/>
                    <a:pt x="2212" y="23971"/>
                  </a:cubicBezTo>
                  <a:cubicBezTo>
                    <a:pt x="2367" y="24041"/>
                    <a:pt x="2529" y="23950"/>
                    <a:pt x="2687" y="23945"/>
                  </a:cubicBezTo>
                  <a:cubicBezTo>
                    <a:pt x="2881" y="24181"/>
                    <a:pt x="3032" y="24450"/>
                    <a:pt x="3158" y="24727"/>
                  </a:cubicBezTo>
                  <a:cubicBezTo>
                    <a:pt x="3246" y="24911"/>
                    <a:pt x="3148" y="25114"/>
                    <a:pt x="3134" y="25302"/>
                  </a:cubicBezTo>
                  <a:cubicBezTo>
                    <a:pt x="3095" y="25490"/>
                    <a:pt x="3119" y="25683"/>
                    <a:pt x="3132" y="25873"/>
                  </a:cubicBezTo>
                  <a:cubicBezTo>
                    <a:pt x="3315" y="25939"/>
                    <a:pt x="3480" y="26044"/>
                    <a:pt x="3632" y="26164"/>
                  </a:cubicBezTo>
                  <a:lnTo>
                    <a:pt x="3495" y="26266"/>
                  </a:lnTo>
                  <a:cubicBezTo>
                    <a:pt x="3451" y="26189"/>
                    <a:pt x="3415" y="26103"/>
                    <a:pt x="3350" y="26040"/>
                  </a:cubicBezTo>
                  <a:cubicBezTo>
                    <a:pt x="3254" y="25992"/>
                    <a:pt x="3146" y="26036"/>
                    <a:pt x="3050" y="26060"/>
                  </a:cubicBezTo>
                  <a:cubicBezTo>
                    <a:pt x="2968" y="25999"/>
                    <a:pt x="2891" y="25890"/>
                    <a:pt x="2779" y="25900"/>
                  </a:cubicBezTo>
                  <a:cubicBezTo>
                    <a:pt x="2704" y="25960"/>
                    <a:pt x="2655" y="26045"/>
                    <a:pt x="2578" y="26102"/>
                  </a:cubicBezTo>
                  <a:cubicBezTo>
                    <a:pt x="2489" y="26098"/>
                    <a:pt x="2404" y="26069"/>
                    <a:pt x="2318" y="26049"/>
                  </a:cubicBezTo>
                  <a:cubicBezTo>
                    <a:pt x="2233" y="26223"/>
                    <a:pt x="2138" y="26403"/>
                    <a:pt x="2136" y="26602"/>
                  </a:cubicBezTo>
                  <a:cubicBezTo>
                    <a:pt x="2132" y="26738"/>
                    <a:pt x="2264" y="26820"/>
                    <a:pt x="2331" y="26922"/>
                  </a:cubicBezTo>
                  <a:cubicBezTo>
                    <a:pt x="2501" y="27126"/>
                    <a:pt x="2582" y="27443"/>
                    <a:pt x="2876" y="27509"/>
                  </a:cubicBezTo>
                  <a:cubicBezTo>
                    <a:pt x="2851" y="27534"/>
                    <a:pt x="2826" y="27559"/>
                    <a:pt x="2802" y="27584"/>
                  </a:cubicBezTo>
                  <a:cubicBezTo>
                    <a:pt x="2904" y="27647"/>
                    <a:pt x="3016" y="27697"/>
                    <a:pt x="3109" y="27773"/>
                  </a:cubicBezTo>
                  <a:cubicBezTo>
                    <a:pt x="3265" y="27942"/>
                    <a:pt x="3196" y="28256"/>
                    <a:pt x="3426" y="28370"/>
                  </a:cubicBezTo>
                  <a:cubicBezTo>
                    <a:pt x="3617" y="28467"/>
                    <a:pt x="3635" y="28697"/>
                    <a:pt x="3713" y="28874"/>
                  </a:cubicBezTo>
                  <a:cubicBezTo>
                    <a:pt x="4129" y="28809"/>
                    <a:pt x="4371" y="28425"/>
                    <a:pt x="4467" y="28045"/>
                  </a:cubicBezTo>
                  <a:lnTo>
                    <a:pt x="4888" y="28122"/>
                  </a:lnTo>
                  <a:cubicBezTo>
                    <a:pt x="4756" y="28437"/>
                    <a:pt x="4539" y="28715"/>
                    <a:pt x="4435" y="29041"/>
                  </a:cubicBezTo>
                  <a:cubicBezTo>
                    <a:pt x="4362" y="29263"/>
                    <a:pt x="4579" y="29441"/>
                    <a:pt x="4575" y="29655"/>
                  </a:cubicBezTo>
                  <a:cubicBezTo>
                    <a:pt x="4503" y="29901"/>
                    <a:pt x="4339" y="30125"/>
                    <a:pt x="4360" y="30394"/>
                  </a:cubicBezTo>
                  <a:cubicBezTo>
                    <a:pt x="4500" y="30546"/>
                    <a:pt x="4715" y="30587"/>
                    <a:pt x="4902" y="30653"/>
                  </a:cubicBezTo>
                  <a:cubicBezTo>
                    <a:pt x="5032" y="30380"/>
                    <a:pt x="5124" y="30085"/>
                    <a:pt x="5294" y="29834"/>
                  </a:cubicBezTo>
                  <a:cubicBezTo>
                    <a:pt x="5424" y="29666"/>
                    <a:pt x="5621" y="29949"/>
                    <a:pt x="5776" y="29835"/>
                  </a:cubicBezTo>
                  <a:cubicBezTo>
                    <a:pt x="5865" y="29750"/>
                    <a:pt x="5940" y="29652"/>
                    <a:pt x="6023" y="29562"/>
                  </a:cubicBezTo>
                  <a:cubicBezTo>
                    <a:pt x="5926" y="29778"/>
                    <a:pt x="5766" y="29956"/>
                    <a:pt x="5555" y="30066"/>
                  </a:cubicBezTo>
                  <a:cubicBezTo>
                    <a:pt x="5364" y="30158"/>
                    <a:pt x="5283" y="30361"/>
                    <a:pt x="5166" y="30522"/>
                  </a:cubicBezTo>
                  <a:cubicBezTo>
                    <a:pt x="5056" y="30665"/>
                    <a:pt x="4901" y="30768"/>
                    <a:pt x="4803" y="30921"/>
                  </a:cubicBezTo>
                  <a:cubicBezTo>
                    <a:pt x="5229" y="31143"/>
                    <a:pt x="5641" y="31504"/>
                    <a:pt x="6155" y="31447"/>
                  </a:cubicBezTo>
                  <a:cubicBezTo>
                    <a:pt x="6161" y="31481"/>
                    <a:pt x="6167" y="31515"/>
                    <a:pt x="6174" y="31550"/>
                  </a:cubicBezTo>
                  <a:lnTo>
                    <a:pt x="6434" y="31587"/>
                  </a:lnTo>
                  <a:cubicBezTo>
                    <a:pt x="6548" y="31763"/>
                    <a:pt x="6745" y="31833"/>
                    <a:pt x="6925" y="31919"/>
                  </a:cubicBezTo>
                  <a:cubicBezTo>
                    <a:pt x="6937" y="31825"/>
                    <a:pt x="6965" y="31735"/>
                    <a:pt x="6999" y="31648"/>
                  </a:cubicBezTo>
                  <a:cubicBezTo>
                    <a:pt x="7217" y="31143"/>
                    <a:pt x="7194" y="30569"/>
                    <a:pt x="7121" y="30034"/>
                  </a:cubicBezTo>
                  <a:cubicBezTo>
                    <a:pt x="7232" y="30090"/>
                    <a:pt x="7373" y="30150"/>
                    <a:pt x="7389" y="30290"/>
                  </a:cubicBezTo>
                  <a:cubicBezTo>
                    <a:pt x="7408" y="30479"/>
                    <a:pt x="7399" y="30669"/>
                    <a:pt x="7402" y="30858"/>
                  </a:cubicBezTo>
                  <a:cubicBezTo>
                    <a:pt x="7630" y="30828"/>
                    <a:pt x="7867" y="30804"/>
                    <a:pt x="8066" y="30676"/>
                  </a:cubicBezTo>
                  <a:cubicBezTo>
                    <a:pt x="8258" y="30601"/>
                    <a:pt x="8355" y="30411"/>
                    <a:pt x="8482" y="30262"/>
                  </a:cubicBezTo>
                  <a:cubicBezTo>
                    <a:pt x="8410" y="30430"/>
                    <a:pt x="8333" y="30596"/>
                    <a:pt x="8261" y="30764"/>
                  </a:cubicBezTo>
                  <a:cubicBezTo>
                    <a:pt x="8465" y="30688"/>
                    <a:pt x="8676" y="30624"/>
                    <a:pt x="8869" y="30520"/>
                  </a:cubicBezTo>
                  <a:cubicBezTo>
                    <a:pt x="8860" y="30620"/>
                    <a:pt x="8894" y="30738"/>
                    <a:pt x="8818" y="30817"/>
                  </a:cubicBezTo>
                  <a:cubicBezTo>
                    <a:pt x="8613" y="31067"/>
                    <a:pt x="8400" y="31345"/>
                    <a:pt x="8380" y="31681"/>
                  </a:cubicBezTo>
                  <a:cubicBezTo>
                    <a:pt x="8347" y="31928"/>
                    <a:pt x="8279" y="32169"/>
                    <a:pt x="8230" y="32413"/>
                  </a:cubicBezTo>
                  <a:cubicBezTo>
                    <a:pt x="8430" y="32410"/>
                    <a:pt x="8636" y="32432"/>
                    <a:pt x="8834" y="32393"/>
                  </a:cubicBezTo>
                  <a:cubicBezTo>
                    <a:pt x="8981" y="32303"/>
                    <a:pt x="9050" y="32132"/>
                    <a:pt x="9155" y="32001"/>
                  </a:cubicBezTo>
                  <a:cubicBezTo>
                    <a:pt x="9286" y="31774"/>
                    <a:pt x="9592" y="31695"/>
                    <a:pt x="9650" y="31418"/>
                  </a:cubicBezTo>
                  <a:cubicBezTo>
                    <a:pt x="9800" y="31356"/>
                    <a:pt x="9966" y="31316"/>
                    <a:pt x="10097" y="31216"/>
                  </a:cubicBezTo>
                  <a:cubicBezTo>
                    <a:pt x="10255" y="31074"/>
                    <a:pt x="10233" y="30832"/>
                    <a:pt x="10359" y="30669"/>
                  </a:cubicBezTo>
                  <a:cubicBezTo>
                    <a:pt x="10503" y="30482"/>
                    <a:pt x="10639" y="30272"/>
                    <a:pt x="10859" y="30166"/>
                  </a:cubicBezTo>
                  <a:cubicBezTo>
                    <a:pt x="10868" y="30377"/>
                    <a:pt x="10845" y="30587"/>
                    <a:pt x="10837" y="30798"/>
                  </a:cubicBezTo>
                  <a:cubicBezTo>
                    <a:pt x="10571" y="30933"/>
                    <a:pt x="10567" y="31266"/>
                    <a:pt x="10391" y="31475"/>
                  </a:cubicBezTo>
                  <a:cubicBezTo>
                    <a:pt x="10249" y="31648"/>
                    <a:pt x="10057" y="31773"/>
                    <a:pt x="9922" y="31952"/>
                  </a:cubicBezTo>
                  <a:cubicBezTo>
                    <a:pt x="9810" y="32252"/>
                    <a:pt x="9690" y="32548"/>
                    <a:pt x="9571" y="32845"/>
                  </a:cubicBezTo>
                  <a:cubicBezTo>
                    <a:pt x="9710" y="32827"/>
                    <a:pt x="9848" y="32806"/>
                    <a:pt x="9987" y="32781"/>
                  </a:cubicBezTo>
                  <a:cubicBezTo>
                    <a:pt x="9965" y="32832"/>
                    <a:pt x="9943" y="32882"/>
                    <a:pt x="9922" y="32932"/>
                  </a:cubicBezTo>
                  <a:cubicBezTo>
                    <a:pt x="10399" y="32919"/>
                    <a:pt x="10638" y="32443"/>
                    <a:pt x="10793" y="32057"/>
                  </a:cubicBezTo>
                  <a:cubicBezTo>
                    <a:pt x="10870" y="31861"/>
                    <a:pt x="10678" y="31729"/>
                    <a:pt x="10613" y="31568"/>
                  </a:cubicBezTo>
                  <a:cubicBezTo>
                    <a:pt x="10601" y="31404"/>
                    <a:pt x="10708" y="31260"/>
                    <a:pt x="10815" y="31147"/>
                  </a:cubicBezTo>
                  <a:cubicBezTo>
                    <a:pt x="10760" y="31297"/>
                    <a:pt x="10681" y="31452"/>
                    <a:pt x="10720" y="31617"/>
                  </a:cubicBezTo>
                  <a:cubicBezTo>
                    <a:pt x="10750" y="31704"/>
                    <a:pt x="10835" y="31802"/>
                    <a:pt x="10936" y="31771"/>
                  </a:cubicBezTo>
                  <a:cubicBezTo>
                    <a:pt x="11173" y="31706"/>
                    <a:pt x="11398" y="31603"/>
                    <a:pt x="11635" y="31536"/>
                  </a:cubicBezTo>
                  <a:cubicBezTo>
                    <a:pt x="11522" y="31741"/>
                    <a:pt x="11290" y="31718"/>
                    <a:pt x="11111" y="31809"/>
                  </a:cubicBezTo>
                  <a:cubicBezTo>
                    <a:pt x="11024" y="31942"/>
                    <a:pt x="11001" y="32108"/>
                    <a:pt x="10911" y="32241"/>
                  </a:cubicBezTo>
                  <a:cubicBezTo>
                    <a:pt x="10744" y="32594"/>
                    <a:pt x="10442" y="32875"/>
                    <a:pt x="10339" y="33257"/>
                  </a:cubicBezTo>
                  <a:cubicBezTo>
                    <a:pt x="10786" y="33206"/>
                    <a:pt x="11234" y="33220"/>
                    <a:pt x="11683" y="33247"/>
                  </a:cubicBezTo>
                  <a:cubicBezTo>
                    <a:pt x="11771" y="32996"/>
                    <a:pt x="11832" y="32738"/>
                    <a:pt x="11842" y="32472"/>
                  </a:cubicBezTo>
                  <a:cubicBezTo>
                    <a:pt x="11957" y="32702"/>
                    <a:pt x="11861" y="32930"/>
                    <a:pt x="11791" y="33151"/>
                  </a:cubicBezTo>
                  <a:cubicBezTo>
                    <a:pt x="12108" y="33131"/>
                    <a:pt x="12152" y="32771"/>
                    <a:pt x="12360" y="32601"/>
                  </a:cubicBezTo>
                  <a:cubicBezTo>
                    <a:pt x="12541" y="32458"/>
                    <a:pt x="12517" y="32205"/>
                    <a:pt x="12587" y="32006"/>
                  </a:cubicBezTo>
                  <a:cubicBezTo>
                    <a:pt x="12578" y="32290"/>
                    <a:pt x="12530" y="32573"/>
                    <a:pt x="12539" y="32858"/>
                  </a:cubicBezTo>
                  <a:cubicBezTo>
                    <a:pt x="12539" y="32918"/>
                    <a:pt x="12533" y="32990"/>
                    <a:pt x="12473" y="33023"/>
                  </a:cubicBezTo>
                  <a:cubicBezTo>
                    <a:pt x="12216" y="33181"/>
                    <a:pt x="11954" y="33332"/>
                    <a:pt x="11696" y="33488"/>
                  </a:cubicBezTo>
                  <a:cubicBezTo>
                    <a:pt x="11410" y="33541"/>
                    <a:pt x="11126" y="33457"/>
                    <a:pt x="10857" y="33370"/>
                  </a:cubicBezTo>
                  <a:cubicBezTo>
                    <a:pt x="11095" y="33703"/>
                    <a:pt x="10679" y="33967"/>
                    <a:pt x="10470" y="34162"/>
                  </a:cubicBezTo>
                  <a:cubicBezTo>
                    <a:pt x="10535" y="34363"/>
                    <a:pt x="10737" y="34481"/>
                    <a:pt x="10941" y="34482"/>
                  </a:cubicBezTo>
                  <a:cubicBezTo>
                    <a:pt x="11095" y="34454"/>
                    <a:pt x="11228" y="34361"/>
                    <a:pt x="11370" y="34300"/>
                  </a:cubicBezTo>
                  <a:cubicBezTo>
                    <a:pt x="11277" y="34451"/>
                    <a:pt x="11124" y="34546"/>
                    <a:pt x="10980" y="34642"/>
                  </a:cubicBezTo>
                  <a:cubicBezTo>
                    <a:pt x="11264" y="34674"/>
                    <a:pt x="11538" y="34606"/>
                    <a:pt x="11814" y="34551"/>
                  </a:cubicBezTo>
                  <a:cubicBezTo>
                    <a:pt x="11793" y="34464"/>
                    <a:pt x="11771" y="34376"/>
                    <a:pt x="11751" y="34288"/>
                  </a:cubicBezTo>
                  <a:cubicBezTo>
                    <a:pt x="11791" y="34338"/>
                    <a:pt x="11831" y="34389"/>
                    <a:pt x="11872" y="34439"/>
                  </a:cubicBezTo>
                  <a:cubicBezTo>
                    <a:pt x="12011" y="34263"/>
                    <a:pt x="12132" y="34070"/>
                    <a:pt x="12304" y="33923"/>
                  </a:cubicBezTo>
                  <a:cubicBezTo>
                    <a:pt x="12499" y="33811"/>
                    <a:pt x="12746" y="33817"/>
                    <a:pt x="12916" y="33656"/>
                  </a:cubicBezTo>
                  <a:cubicBezTo>
                    <a:pt x="12895" y="33769"/>
                    <a:pt x="12882" y="33883"/>
                    <a:pt x="12870" y="33997"/>
                  </a:cubicBezTo>
                  <a:cubicBezTo>
                    <a:pt x="13088" y="34025"/>
                    <a:pt x="13351" y="33959"/>
                    <a:pt x="13531" y="34114"/>
                  </a:cubicBezTo>
                  <a:cubicBezTo>
                    <a:pt x="13656" y="34196"/>
                    <a:pt x="13818" y="34190"/>
                    <a:pt x="13960" y="34229"/>
                  </a:cubicBezTo>
                  <a:cubicBezTo>
                    <a:pt x="13843" y="34256"/>
                    <a:pt x="13730" y="34277"/>
                    <a:pt x="13617" y="34313"/>
                  </a:cubicBezTo>
                  <a:cubicBezTo>
                    <a:pt x="13767" y="34504"/>
                    <a:pt x="14013" y="34567"/>
                    <a:pt x="14236" y="34628"/>
                  </a:cubicBezTo>
                  <a:cubicBezTo>
                    <a:pt x="14054" y="34750"/>
                    <a:pt x="13848" y="34821"/>
                    <a:pt x="13638" y="34877"/>
                  </a:cubicBezTo>
                  <a:cubicBezTo>
                    <a:pt x="13603" y="35083"/>
                    <a:pt x="13660" y="35294"/>
                    <a:pt x="13635" y="35502"/>
                  </a:cubicBezTo>
                  <a:cubicBezTo>
                    <a:pt x="13712" y="35449"/>
                    <a:pt x="13801" y="35423"/>
                    <a:pt x="13892" y="35459"/>
                  </a:cubicBezTo>
                  <a:cubicBezTo>
                    <a:pt x="13942" y="35434"/>
                    <a:pt x="13991" y="35408"/>
                    <a:pt x="14042" y="35382"/>
                  </a:cubicBezTo>
                  <a:cubicBezTo>
                    <a:pt x="13941" y="35550"/>
                    <a:pt x="13914" y="35748"/>
                    <a:pt x="14038" y="35908"/>
                  </a:cubicBezTo>
                  <a:cubicBezTo>
                    <a:pt x="14238" y="35753"/>
                    <a:pt x="14424" y="35577"/>
                    <a:pt x="14554" y="35357"/>
                  </a:cubicBezTo>
                  <a:cubicBezTo>
                    <a:pt x="14551" y="35561"/>
                    <a:pt x="14442" y="35742"/>
                    <a:pt x="14417" y="35937"/>
                  </a:cubicBezTo>
                  <a:cubicBezTo>
                    <a:pt x="14540" y="36121"/>
                    <a:pt x="14787" y="36016"/>
                    <a:pt x="14972" y="36035"/>
                  </a:cubicBezTo>
                  <a:cubicBezTo>
                    <a:pt x="15104" y="36017"/>
                    <a:pt x="15167" y="36152"/>
                    <a:pt x="15246" y="36230"/>
                  </a:cubicBezTo>
                  <a:lnTo>
                    <a:pt x="15246" y="36230"/>
                  </a:ln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9" name="Svalbard">
              <a:extLst>
                <a:ext uri="{FF2B5EF4-FFF2-40B4-BE49-F238E27FC236}">
                  <a16:creationId xmlns:a16="http://schemas.microsoft.com/office/drawing/2014/main" id="{3BD93495-CB24-E41A-9795-9676D00622F1}"/>
                </a:ext>
              </a:extLst>
            </p:cNvPr>
            <p:cNvSpPr>
              <a:spLocks/>
            </p:cNvSpPr>
            <p:nvPr/>
          </p:nvSpPr>
          <p:spPr bwMode="auto">
            <a:xfrm>
              <a:off x="6077025" y="1220849"/>
              <a:ext cx="395746" cy="482488"/>
            </a:xfrm>
            <a:custGeom>
              <a:avLst/>
              <a:gdLst/>
              <a:ahLst/>
              <a:cxnLst/>
              <a:rect l="l" t="t" r="r" b="b"/>
              <a:pathLst>
                <a:path w="398901" h="486334">
                  <a:moveTo>
                    <a:pt x="276864" y="302365"/>
                  </a:moveTo>
                  <a:lnTo>
                    <a:pt x="296900" y="302365"/>
                  </a:lnTo>
                  <a:lnTo>
                    <a:pt x="304186" y="313294"/>
                  </a:lnTo>
                  <a:lnTo>
                    <a:pt x="298722" y="335152"/>
                  </a:lnTo>
                  <a:lnTo>
                    <a:pt x="338794" y="362474"/>
                  </a:lnTo>
                  <a:lnTo>
                    <a:pt x="338794" y="366117"/>
                  </a:lnTo>
                  <a:lnTo>
                    <a:pt x="287793" y="413475"/>
                  </a:lnTo>
                  <a:lnTo>
                    <a:pt x="280507" y="408011"/>
                  </a:lnTo>
                  <a:lnTo>
                    <a:pt x="287793" y="384331"/>
                  </a:lnTo>
                  <a:lnTo>
                    <a:pt x="280507" y="384331"/>
                  </a:lnTo>
                  <a:lnTo>
                    <a:pt x="265935" y="386153"/>
                  </a:lnTo>
                  <a:lnTo>
                    <a:pt x="249542" y="391617"/>
                  </a:lnTo>
                  <a:lnTo>
                    <a:pt x="242256" y="391617"/>
                  </a:lnTo>
                  <a:lnTo>
                    <a:pt x="242256" y="389796"/>
                  </a:lnTo>
                  <a:lnTo>
                    <a:pt x="260471" y="340616"/>
                  </a:lnTo>
                  <a:lnTo>
                    <a:pt x="245899" y="322401"/>
                  </a:lnTo>
                  <a:lnTo>
                    <a:pt x="242256" y="318758"/>
                  </a:lnTo>
                  <a:lnTo>
                    <a:pt x="245899" y="318758"/>
                  </a:lnTo>
                  <a:close/>
                  <a:moveTo>
                    <a:pt x="250457" y="250806"/>
                  </a:moveTo>
                  <a:lnTo>
                    <a:pt x="270487" y="250806"/>
                  </a:lnTo>
                  <a:lnTo>
                    <a:pt x="277777" y="261741"/>
                  </a:lnTo>
                  <a:lnTo>
                    <a:pt x="282335" y="294523"/>
                  </a:lnTo>
                  <a:lnTo>
                    <a:pt x="245904" y="304539"/>
                  </a:lnTo>
                  <a:lnTo>
                    <a:pt x="234066" y="289064"/>
                  </a:lnTo>
                  <a:cubicBezTo>
                    <a:pt x="232846" y="280864"/>
                    <a:pt x="231636" y="272659"/>
                    <a:pt x="230416" y="264459"/>
                  </a:cubicBezTo>
                  <a:close/>
                  <a:moveTo>
                    <a:pt x="139341" y="60109"/>
                  </a:moveTo>
                  <a:lnTo>
                    <a:pt x="169396" y="81967"/>
                  </a:lnTo>
                  <a:lnTo>
                    <a:pt x="183056" y="117485"/>
                  </a:lnTo>
                  <a:lnTo>
                    <a:pt x="204914" y="136611"/>
                  </a:lnTo>
                  <a:lnTo>
                    <a:pt x="204914" y="177593"/>
                  </a:lnTo>
                  <a:lnTo>
                    <a:pt x="240433" y="202184"/>
                  </a:lnTo>
                  <a:lnTo>
                    <a:pt x="267755" y="224041"/>
                  </a:lnTo>
                  <a:lnTo>
                    <a:pt x="267755" y="240434"/>
                  </a:lnTo>
                  <a:lnTo>
                    <a:pt x="221308" y="240434"/>
                  </a:lnTo>
                  <a:lnTo>
                    <a:pt x="199450" y="303275"/>
                  </a:lnTo>
                  <a:lnTo>
                    <a:pt x="198541" y="303585"/>
                  </a:lnTo>
                  <a:lnTo>
                    <a:pt x="198541" y="329688"/>
                  </a:lnTo>
                  <a:lnTo>
                    <a:pt x="187613" y="333331"/>
                  </a:lnTo>
                  <a:lnTo>
                    <a:pt x="182149" y="389796"/>
                  </a:lnTo>
                  <a:lnTo>
                    <a:pt x="182149" y="391618"/>
                  </a:lnTo>
                  <a:lnTo>
                    <a:pt x="169398" y="395261"/>
                  </a:lnTo>
                  <a:lnTo>
                    <a:pt x="174863" y="400724"/>
                  </a:lnTo>
                  <a:lnTo>
                    <a:pt x="174863" y="402546"/>
                  </a:lnTo>
                  <a:lnTo>
                    <a:pt x="173041" y="402546"/>
                  </a:lnTo>
                  <a:lnTo>
                    <a:pt x="163934" y="411653"/>
                  </a:lnTo>
                  <a:lnTo>
                    <a:pt x="163934" y="446262"/>
                  </a:lnTo>
                  <a:lnTo>
                    <a:pt x="153005" y="459013"/>
                  </a:lnTo>
                  <a:lnTo>
                    <a:pt x="153005" y="484513"/>
                  </a:lnTo>
                  <a:lnTo>
                    <a:pt x="136611" y="486334"/>
                  </a:lnTo>
                  <a:lnTo>
                    <a:pt x="134789" y="486334"/>
                  </a:lnTo>
                  <a:lnTo>
                    <a:pt x="118397" y="455369"/>
                  </a:lnTo>
                  <a:lnTo>
                    <a:pt x="118397" y="451726"/>
                  </a:lnTo>
                  <a:lnTo>
                    <a:pt x="134789" y="440797"/>
                  </a:lnTo>
                  <a:lnTo>
                    <a:pt x="91074" y="428047"/>
                  </a:lnTo>
                  <a:lnTo>
                    <a:pt x="89253" y="424404"/>
                  </a:lnTo>
                  <a:lnTo>
                    <a:pt x="80145" y="386153"/>
                  </a:lnTo>
                  <a:lnTo>
                    <a:pt x="80145" y="384332"/>
                  </a:lnTo>
                  <a:lnTo>
                    <a:pt x="89253" y="384332"/>
                  </a:lnTo>
                  <a:lnTo>
                    <a:pt x="96539" y="386153"/>
                  </a:lnTo>
                  <a:lnTo>
                    <a:pt x="109289" y="386153"/>
                  </a:lnTo>
                  <a:lnTo>
                    <a:pt x="118397" y="389796"/>
                  </a:lnTo>
                  <a:lnTo>
                    <a:pt x="123861" y="389796"/>
                  </a:lnTo>
                  <a:lnTo>
                    <a:pt x="98360" y="371581"/>
                  </a:lnTo>
                  <a:lnTo>
                    <a:pt x="98360" y="367938"/>
                  </a:lnTo>
                  <a:lnTo>
                    <a:pt x="102003" y="367938"/>
                  </a:lnTo>
                  <a:lnTo>
                    <a:pt x="147540" y="355188"/>
                  </a:lnTo>
                  <a:lnTo>
                    <a:pt x="147540" y="344259"/>
                  </a:lnTo>
                  <a:lnTo>
                    <a:pt x="78325" y="362474"/>
                  </a:lnTo>
                  <a:lnTo>
                    <a:pt x="73688" y="334655"/>
                  </a:lnTo>
                  <a:lnTo>
                    <a:pt x="71036" y="333330"/>
                  </a:lnTo>
                  <a:lnTo>
                    <a:pt x="73768" y="314204"/>
                  </a:lnTo>
                  <a:lnTo>
                    <a:pt x="92894" y="314204"/>
                  </a:lnTo>
                  <a:lnTo>
                    <a:pt x="117483" y="289614"/>
                  </a:lnTo>
                  <a:lnTo>
                    <a:pt x="144806" y="278685"/>
                  </a:lnTo>
                  <a:lnTo>
                    <a:pt x="142074" y="254095"/>
                  </a:lnTo>
                  <a:lnTo>
                    <a:pt x="128412" y="267756"/>
                  </a:lnTo>
                  <a:lnTo>
                    <a:pt x="109288" y="265023"/>
                  </a:lnTo>
                  <a:lnTo>
                    <a:pt x="117483" y="232237"/>
                  </a:lnTo>
                  <a:lnTo>
                    <a:pt x="101091" y="237702"/>
                  </a:lnTo>
                  <a:lnTo>
                    <a:pt x="101091" y="273220"/>
                  </a:lnTo>
                  <a:lnTo>
                    <a:pt x="81965" y="300543"/>
                  </a:lnTo>
                  <a:lnTo>
                    <a:pt x="68304" y="292346"/>
                  </a:lnTo>
                  <a:lnTo>
                    <a:pt x="51911" y="273220"/>
                  </a:lnTo>
                  <a:lnTo>
                    <a:pt x="57376" y="262291"/>
                  </a:lnTo>
                  <a:lnTo>
                    <a:pt x="38250" y="251363"/>
                  </a:lnTo>
                  <a:lnTo>
                    <a:pt x="13660" y="218576"/>
                  </a:lnTo>
                  <a:lnTo>
                    <a:pt x="40982" y="210379"/>
                  </a:lnTo>
                  <a:lnTo>
                    <a:pt x="30053" y="183058"/>
                  </a:lnTo>
                  <a:lnTo>
                    <a:pt x="16392" y="191255"/>
                  </a:lnTo>
                  <a:lnTo>
                    <a:pt x="10929" y="180326"/>
                  </a:lnTo>
                  <a:lnTo>
                    <a:pt x="0" y="133878"/>
                  </a:lnTo>
                  <a:lnTo>
                    <a:pt x="16392" y="114753"/>
                  </a:lnTo>
                  <a:lnTo>
                    <a:pt x="27321" y="90162"/>
                  </a:lnTo>
                  <a:lnTo>
                    <a:pt x="40982" y="109288"/>
                  </a:lnTo>
                  <a:lnTo>
                    <a:pt x="46447" y="95627"/>
                  </a:lnTo>
                  <a:lnTo>
                    <a:pt x="81965" y="87430"/>
                  </a:lnTo>
                  <a:lnTo>
                    <a:pt x="54644" y="128414"/>
                  </a:lnTo>
                  <a:lnTo>
                    <a:pt x="76501" y="136611"/>
                  </a:lnTo>
                  <a:lnTo>
                    <a:pt x="103823" y="95627"/>
                  </a:lnTo>
                  <a:lnTo>
                    <a:pt x="131145" y="177593"/>
                  </a:lnTo>
                  <a:lnTo>
                    <a:pt x="131145" y="133878"/>
                  </a:lnTo>
                  <a:lnTo>
                    <a:pt x="120217" y="95627"/>
                  </a:lnTo>
                  <a:close/>
                  <a:moveTo>
                    <a:pt x="221308" y="0"/>
                  </a:moveTo>
                  <a:lnTo>
                    <a:pt x="254095" y="35518"/>
                  </a:lnTo>
                  <a:lnTo>
                    <a:pt x="289613" y="62841"/>
                  </a:lnTo>
                  <a:lnTo>
                    <a:pt x="275952" y="2732"/>
                  </a:lnTo>
                  <a:lnTo>
                    <a:pt x="336060" y="27323"/>
                  </a:lnTo>
                  <a:lnTo>
                    <a:pt x="393437" y="46447"/>
                  </a:lnTo>
                  <a:lnTo>
                    <a:pt x="398901" y="81967"/>
                  </a:lnTo>
                  <a:lnTo>
                    <a:pt x="366115" y="122949"/>
                  </a:lnTo>
                  <a:lnTo>
                    <a:pt x="366115" y="147539"/>
                  </a:lnTo>
                  <a:lnTo>
                    <a:pt x="316936" y="172129"/>
                  </a:lnTo>
                  <a:lnTo>
                    <a:pt x="284149" y="147539"/>
                  </a:lnTo>
                  <a:lnTo>
                    <a:pt x="240434" y="155735"/>
                  </a:lnTo>
                  <a:lnTo>
                    <a:pt x="218576" y="128414"/>
                  </a:lnTo>
                  <a:lnTo>
                    <a:pt x="265024" y="109288"/>
                  </a:lnTo>
                  <a:lnTo>
                    <a:pt x="259559" y="95627"/>
                  </a:lnTo>
                  <a:lnTo>
                    <a:pt x="204914" y="109288"/>
                  </a:lnTo>
                  <a:lnTo>
                    <a:pt x="172128" y="62841"/>
                  </a:lnTo>
                  <a:lnTo>
                    <a:pt x="191253" y="43715"/>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0" name="Iceland">
              <a:extLst>
                <a:ext uri="{FF2B5EF4-FFF2-40B4-BE49-F238E27FC236}">
                  <a16:creationId xmlns:a16="http://schemas.microsoft.com/office/drawing/2014/main" id="{762B5B32-019B-F418-295D-AC345865F71A}"/>
                </a:ext>
              </a:extLst>
            </p:cNvPr>
            <p:cNvSpPr>
              <a:spLocks/>
            </p:cNvSpPr>
            <p:nvPr/>
          </p:nvSpPr>
          <p:spPr bwMode="auto">
            <a:xfrm>
              <a:off x="5245778" y="2467723"/>
              <a:ext cx="262024" cy="178900"/>
            </a:xfrm>
            <a:custGeom>
              <a:avLst/>
              <a:gdLst>
                <a:gd name="T0" fmla="*/ 110 w 145"/>
                <a:gd name="T1" fmla="*/ 0 h 99"/>
                <a:gd name="T2" fmla="*/ 129 w 145"/>
                <a:gd name="T3" fmla="*/ 4 h 99"/>
                <a:gd name="T4" fmla="*/ 131 w 145"/>
                <a:gd name="T5" fmla="*/ 6 h 99"/>
                <a:gd name="T6" fmla="*/ 129 w 145"/>
                <a:gd name="T7" fmla="*/ 15 h 99"/>
                <a:gd name="T8" fmla="*/ 138 w 145"/>
                <a:gd name="T9" fmla="*/ 28 h 99"/>
                <a:gd name="T10" fmla="*/ 142 w 145"/>
                <a:gd name="T11" fmla="*/ 35 h 99"/>
                <a:gd name="T12" fmla="*/ 145 w 145"/>
                <a:gd name="T13" fmla="*/ 41 h 99"/>
                <a:gd name="T14" fmla="*/ 142 w 145"/>
                <a:gd name="T15" fmla="*/ 52 h 99"/>
                <a:gd name="T16" fmla="*/ 137 w 145"/>
                <a:gd name="T17" fmla="*/ 59 h 99"/>
                <a:gd name="T18" fmla="*/ 128 w 145"/>
                <a:gd name="T19" fmla="*/ 72 h 99"/>
                <a:gd name="T20" fmla="*/ 122 w 145"/>
                <a:gd name="T21" fmla="*/ 68 h 99"/>
                <a:gd name="T22" fmla="*/ 98 w 145"/>
                <a:gd name="T23" fmla="*/ 83 h 99"/>
                <a:gd name="T24" fmla="*/ 77 w 145"/>
                <a:gd name="T25" fmla="*/ 99 h 99"/>
                <a:gd name="T26" fmla="*/ 45 w 145"/>
                <a:gd name="T27" fmla="*/ 84 h 99"/>
                <a:gd name="T28" fmla="*/ 33 w 145"/>
                <a:gd name="T29" fmla="*/ 86 h 99"/>
                <a:gd name="T30" fmla="*/ 24 w 145"/>
                <a:gd name="T31" fmla="*/ 78 h 99"/>
                <a:gd name="T32" fmla="*/ 25 w 145"/>
                <a:gd name="T33" fmla="*/ 77 h 99"/>
                <a:gd name="T34" fmla="*/ 36 w 145"/>
                <a:gd name="T35" fmla="*/ 70 h 99"/>
                <a:gd name="T36" fmla="*/ 31 w 145"/>
                <a:gd name="T37" fmla="*/ 71 h 99"/>
                <a:gd name="T38" fmla="*/ 34 w 145"/>
                <a:gd name="T39" fmla="*/ 65 h 99"/>
                <a:gd name="T40" fmla="*/ 25 w 145"/>
                <a:gd name="T41" fmla="*/ 55 h 99"/>
                <a:gd name="T42" fmla="*/ 15 w 145"/>
                <a:gd name="T43" fmla="*/ 56 h 99"/>
                <a:gd name="T44" fmla="*/ 9 w 145"/>
                <a:gd name="T45" fmla="*/ 55 h 99"/>
                <a:gd name="T46" fmla="*/ 36 w 145"/>
                <a:gd name="T47" fmla="*/ 47 h 99"/>
                <a:gd name="T48" fmla="*/ 33 w 145"/>
                <a:gd name="T49" fmla="*/ 44 h 99"/>
                <a:gd name="T50" fmla="*/ 27 w 145"/>
                <a:gd name="T51" fmla="*/ 46 h 99"/>
                <a:gd name="T52" fmla="*/ 36 w 145"/>
                <a:gd name="T53" fmla="*/ 35 h 99"/>
                <a:gd name="T54" fmla="*/ 22 w 145"/>
                <a:gd name="T55" fmla="*/ 31 h 99"/>
                <a:gd name="T56" fmla="*/ 6 w 145"/>
                <a:gd name="T57" fmla="*/ 35 h 99"/>
                <a:gd name="T58" fmla="*/ 0 w 145"/>
                <a:gd name="T59" fmla="*/ 34 h 99"/>
                <a:gd name="T60" fmla="*/ 3 w 145"/>
                <a:gd name="T61" fmla="*/ 28 h 99"/>
                <a:gd name="T62" fmla="*/ 5 w 145"/>
                <a:gd name="T63" fmla="*/ 25 h 99"/>
                <a:gd name="T64" fmla="*/ 6 w 145"/>
                <a:gd name="T65" fmla="*/ 24 h 99"/>
                <a:gd name="T66" fmla="*/ 11 w 145"/>
                <a:gd name="T67" fmla="*/ 22 h 99"/>
                <a:gd name="T68" fmla="*/ 9 w 145"/>
                <a:gd name="T69" fmla="*/ 16 h 99"/>
                <a:gd name="T70" fmla="*/ 12 w 145"/>
                <a:gd name="T71" fmla="*/ 15 h 99"/>
                <a:gd name="T72" fmla="*/ 13 w 145"/>
                <a:gd name="T73" fmla="*/ 13 h 99"/>
                <a:gd name="T74" fmla="*/ 28 w 145"/>
                <a:gd name="T75" fmla="*/ 15 h 99"/>
                <a:gd name="T76" fmla="*/ 22 w 145"/>
                <a:gd name="T77" fmla="*/ 10 h 99"/>
                <a:gd name="T78" fmla="*/ 19 w 145"/>
                <a:gd name="T79" fmla="*/ 9 h 99"/>
                <a:gd name="T80" fmla="*/ 18 w 145"/>
                <a:gd name="T81" fmla="*/ 7 h 99"/>
                <a:gd name="T82" fmla="*/ 28 w 145"/>
                <a:gd name="T83" fmla="*/ 3 h 99"/>
                <a:gd name="T84" fmla="*/ 40 w 145"/>
                <a:gd name="T85" fmla="*/ 21 h 99"/>
                <a:gd name="T86" fmla="*/ 39 w 145"/>
                <a:gd name="T87" fmla="*/ 27 h 99"/>
                <a:gd name="T88" fmla="*/ 45 w 145"/>
                <a:gd name="T89" fmla="*/ 40 h 99"/>
                <a:gd name="T90" fmla="*/ 49 w 145"/>
                <a:gd name="T91" fmla="*/ 28 h 99"/>
                <a:gd name="T92" fmla="*/ 55 w 145"/>
                <a:gd name="T93" fmla="*/ 31 h 99"/>
                <a:gd name="T94" fmla="*/ 56 w 145"/>
                <a:gd name="T95" fmla="*/ 13 h 99"/>
                <a:gd name="T96" fmla="*/ 67 w 145"/>
                <a:gd name="T97" fmla="*/ 16 h 99"/>
                <a:gd name="T98" fmla="*/ 76 w 145"/>
                <a:gd name="T99" fmla="*/ 10 h 99"/>
                <a:gd name="T100" fmla="*/ 77 w 145"/>
                <a:gd name="T101" fmla="*/ 12 h 99"/>
                <a:gd name="T102" fmla="*/ 82 w 145"/>
                <a:gd name="T103" fmla="*/ 12 h 99"/>
                <a:gd name="T104" fmla="*/ 91 w 145"/>
                <a:gd name="T105" fmla="*/ 18 h 99"/>
                <a:gd name="T106" fmla="*/ 107 w 145"/>
                <a:gd name="T107" fmla="*/ 12 h 99"/>
                <a:gd name="T108" fmla="*/ 104 w 145"/>
                <a:gd name="T109" fmla="*/ 1 h 99"/>
                <a:gd name="T110" fmla="*/ 108 w 145"/>
                <a:gd name="T111"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 h="99">
                  <a:moveTo>
                    <a:pt x="108" y="0"/>
                  </a:moveTo>
                  <a:lnTo>
                    <a:pt x="110" y="0"/>
                  </a:lnTo>
                  <a:lnTo>
                    <a:pt x="119" y="12"/>
                  </a:lnTo>
                  <a:lnTo>
                    <a:pt x="129" y="4"/>
                  </a:lnTo>
                  <a:lnTo>
                    <a:pt x="131" y="4"/>
                  </a:lnTo>
                  <a:lnTo>
                    <a:pt x="131" y="6"/>
                  </a:lnTo>
                  <a:lnTo>
                    <a:pt x="126" y="15"/>
                  </a:lnTo>
                  <a:lnTo>
                    <a:pt x="129" y="15"/>
                  </a:lnTo>
                  <a:lnTo>
                    <a:pt x="129" y="27"/>
                  </a:lnTo>
                  <a:lnTo>
                    <a:pt x="138" y="28"/>
                  </a:lnTo>
                  <a:lnTo>
                    <a:pt x="139" y="28"/>
                  </a:lnTo>
                  <a:lnTo>
                    <a:pt x="142" y="35"/>
                  </a:lnTo>
                  <a:lnTo>
                    <a:pt x="142" y="40"/>
                  </a:lnTo>
                  <a:lnTo>
                    <a:pt x="145" y="41"/>
                  </a:lnTo>
                  <a:lnTo>
                    <a:pt x="145" y="43"/>
                  </a:lnTo>
                  <a:lnTo>
                    <a:pt x="142" y="52"/>
                  </a:lnTo>
                  <a:lnTo>
                    <a:pt x="134" y="58"/>
                  </a:lnTo>
                  <a:lnTo>
                    <a:pt x="137" y="59"/>
                  </a:lnTo>
                  <a:lnTo>
                    <a:pt x="137" y="61"/>
                  </a:lnTo>
                  <a:lnTo>
                    <a:pt x="128" y="72"/>
                  </a:lnTo>
                  <a:lnTo>
                    <a:pt x="126" y="72"/>
                  </a:lnTo>
                  <a:lnTo>
                    <a:pt x="122" y="68"/>
                  </a:lnTo>
                  <a:lnTo>
                    <a:pt x="108" y="81"/>
                  </a:lnTo>
                  <a:lnTo>
                    <a:pt x="98" y="83"/>
                  </a:lnTo>
                  <a:lnTo>
                    <a:pt x="79" y="99"/>
                  </a:lnTo>
                  <a:lnTo>
                    <a:pt x="77" y="99"/>
                  </a:lnTo>
                  <a:lnTo>
                    <a:pt x="61" y="95"/>
                  </a:lnTo>
                  <a:lnTo>
                    <a:pt x="45" y="84"/>
                  </a:lnTo>
                  <a:lnTo>
                    <a:pt x="37" y="84"/>
                  </a:lnTo>
                  <a:lnTo>
                    <a:pt x="33" y="86"/>
                  </a:lnTo>
                  <a:lnTo>
                    <a:pt x="25" y="86"/>
                  </a:lnTo>
                  <a:lnTo>
                    <a:pt x="24" y="78"/>
                  </a:lnTo>
                  <a:lnTo>
                    <a:pt x="24" y="77"/>
                  </a:lnTo>
                  <a:lnTo>
                    <a:pt x="25" y="77"/>
                  </a:lnTo>
                  <a:lnTo>
                    <a:pt x="36" y="74"/>
                  </a:lnTo>
                  <a:lnTo>
                    <a:pt x="36" y="70"/>
                  </a:lnTo>
                  <a:lnTo>
                    <a:pt x="33" y="71"/>
                  </a:lnTo>
                  <a:lnTo>
                    <a:pt x="31" y="71"/>
                  </a:lnTo>
                  <a:lnTo>
                    <a:pt x="31" y="70"/>
                  </a:lnTo>
                  <a:lnTo>
                    <a:pt x="34" y="65"/>
                  </a:lnTo>
                  <a:lnTo>
                    <a:pt x="33" y="65"/>
                  </a:lnTo>
                  <a:lnTo>
                    <a:pt x="25" y="55"/>
                  </a:lnTo>
                  <a:lnTo>
                    <a:pt x="19" y="55"/>
                  </a:lnTo>
                  <a:lnTo>
                    <a:pt x="15" y="56"/>
                  </a:lnTo>
                  <a:lnTo>
                    <a:pt x="9" y="56"/>
                  </a:lnTo>
                  <a:lnTo>
                    <a:pt x="9" y="55"/>
                  </a:lnTo>
                  <a:lnTo>
                    <a:pt x="24" y="47"/>
                  </a:lnTo>
                  <a:lnTo>
                    <a:pt x="36" y="47"/>
                  </a:lnTo>
                  <a:lnTo>
                    <a:pt x="36" y="44"/>
                  </a:lnTo>
                  <a:lnTo>
                    <a:pt x="33" y="44"/>
                  </a:lnTo>
                  <a:lnTo>
                    <a:pt x="31" y="46"/>
                  </a:lnTo>
                  <a:lnTo>
                    <a:pt x="27" y="46"/>
                  </a:lnTo>
                  <a:lnTo>
                    <a:pt x="27" y="44"/>
                  </a:lnTo>
                  <a:lnTo>
                    <a:pt x="36" y="35"/>
                  </a:lnTo>
                  <a:lnTo>
                    <a:pt x="27" y="31"/>
                  </a:lnTo>
                  <a:lnTo>
                    <a:pt x="22" y="31"/>
                  </a:lnTo>
                  <a:lnTo>
                    <a:pt x="13" y="32"/>
                  </a:lnTo>
                  <a:lnTo>
                    <a:pt x="6" y="35"/>
                  </a:lnTo>
                  <a:lnTo>
                    <a:pt x="0" y="35"/>
                  </a:lnTo>
                  <a:lnTo>
                    <a:pt x="0" y="34"/>
                  </a:lnTo>
                  <a:lnTo>
                    <a:pt x="3" y="29"/>
                  </a:lnTo>
                  <a:lnTo>
                    <a:pt x="3" y="28"/>
                  </a:lnTo>
                  <a:lnTo>
                    <a:pt x="9" y="29"/>
                  </a:lnTo>
                  <a:lnTo>
                    <a:pt x="5" y="25"/>
                  </a:lnTo>
                  <a:lnTo>
                    <a:pt x="5" y="24"/>
                  </a:lnTo>
                  <a:lnTo>
                    <a:pt x="6" y="24"/>
                  </a:lnTo>
                  <a:lnTo>
                    <a:pt x="13" y="27"/>
                  </a:lnTo>
                  <a:lnTo>
                    <a:pt x="11" y="22"/>
                  </a:lnTo>
                  <a:lnTo>
                    <a:pt x="12" y="21"/>
                  </a:lnTo>
                  <a:lnTo>
                    <a:pt x="9" y="16"/>
                  </a:lnTo>
                  <a:lnTo>
                    <a:pt x="13" y="15"/>
                  </a:lnTo>
                  <a:lnTo>
                    <a:pt x="12" y="15"/>
                  </a:lnTo>
                  <a:lnTo>
                    <a:pt x="12" y="13"/>
                  </a:lnTo>
                  <a:lnTo>
                    <a:pt x="13" y="13"/>
                  </a:lnTo>
                  <a:lnTo>
                    <a:pt x="28" y="22"/>
                  </a:lnTo>
                  <a:lnTo>
                    <a:pt x="28" y="15"/>
                  </a:lnTo>
                  <a:lnTo>
                    <a:pt x="22" y="12"/>
                  </a:lnTo>
                  <a:lnTo>
                    <a:pt x="22" y="10"/>
                  </a:lnTo>
                  <a:lnTo>
                    <a:pt x="25" y="10"/>
                  </a:lnTo>
                  <a:lnTo>
                    <a:pt x="19" y="9"/>
                  </a:lnTo>
                  <a:lnTo>
                    <a:pt x="18" y="9"/>
                  </a:lnTo>
                  <a:lnTo>
                    <a:pt x="18" y="7"/>
                  </a:lnTo>
                  <a:lnTo>
                    <a:pt x="19" y="3"/>
                  </a:lnTo>
                  <a:lnTo>
                    <a:pt x="28" y="3"/>
                  </a:lnTo>
                  <a:lnTo>
                    <a:pt x="43" y="18"/>
                  </a:lnTo>
                  <a:lnTo>
                    <a:pt x="40" y="21"/>
                  </a:lnTo>
                  <a:lnTo>
                    <a:pt x="43" y="25"/>
                  </a:lnTo>
                  <a:lnTo>
                    <a:pt x="39" y="27"/>
                  </a:lnTo>
                  <a:lnTo>
                    <a:pt x="43" y="29"/>
                  </a:lnTo>
                  <a:lnTo>
                    <a:pt x="45" y="40"/>
                  </a:lnTo>
                  <a:lnTo>
                    <a:pt x="48" y="35"/>
                  </a:lnTo>
                  <a:lnTo>
                    <a:pt x="49" y="28"/>
                  </a:lnTo>
                  <a:lnTo>
                    <a:pt x="51" y="28"/>
                  </a:lnTo>
                  <a:lnTo>
                    <a:pt x="55" y="31"/>
                  </a:lnTo>
                  <a:lnTo>
                    <a:pt x="55" y="13"/>
                  </a:lnTo>
                  <a:lnTo>
                    <a:pt x="56" y="13"/>
                  </a:lnTo>
                  <a:lnTo>
                    <a:pt x="67" y="25"/>
                  </a:lnTo>
                  <a:lnTo>
                    <a:pt x="67" y="16"/>
                  </a:lnTo>
                  <a:lnTo>
                    <a:pt x="68" y="16"/>
                  </a:lnTo>
                  <a:lnTo>
                    <a:pt x="76" y="10"/>
                  </a:lnTo>
                  <a:lnTo>
                    <a:pt x="77" y="10"/>
                  </a:lnTo>
                  <a:lnTo>
                    <a:pt x="77" y="12"/>
                  </a:lnTo>
                  <a:lnTo>
                    <a:pt x="83" y="24"/>
                  </a:lnTo>
                  <a:lnTo>
                    <a:pt x="82" y="12"/>
                  </a:lnTo>
                  <a:lnTo>
                    <a:pt x="83" y="12"/>
                  </a:lnTo>
                  <a:lnTo>
                    <a:pt x="91" y="18"/>
                  </a:lnTo>
                  <a:lnTo>
                    <a:pt x="95" y="12"/>
                  </a:lnTo>
                  <a:lnTo>
                    <a:pt x="107" y="12"/>
                  </a:lnTo>
                  <a:lnTo>
                    <a:pt x="104" y="3"/>
                  </a:lnTo>
                  <a:lnTo>
                    <a:pt x="104" y="1"/>
                  </a:lnTo>
                  <a:lnTo>
                    <a:pt x="105" y="1"/>
                  </a:lnTo>
                  <a:lnTo>
                    <a:pt x="10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1" name="Portugal">
              <a:extLst>
                <a:ext uri="{FF2B5EF4-FFF2-40B4-BE49-F238E27FC236}">
                  <a16:creationId xmlns:a16="http://schemas.microsoft.com/office/drawing/2014/main" id="{59109D86-F1E4-E3B3-1751-8679C84ED489}"/>
                </a:ext>
              </a:extLst>
            </p:cNvPr>
            <p:cNvSpPr>
              <a:spLocks/>
            </p:cNvSpPr>
            <p:nvPr/>
          </p:nvSpPr>
          <p:spPr bwMode="auto">
            <a:xfrm>
              <a:off x="5607191" y="3494134"/>
              <a:ext cx="77705" cy="155407"/>
            </a:xfrm>
            <a:custGeom>
              <a:avLst/>
              <a:gdLst>
                <a:gd name="T0" fmla="*/ 18 w 43"/>
                <a:gd name="T1" fmla="*/ 0 h 86"/>
                <a:gd name="T2" fmla="*/ 20 w 43"/>
                <a:gd name="T3" fmla="*/ 4 h 86"/>
                <a:gd name="T4" fmla="*/ 28 w 43"/>
                <a:gd name="T5" fmla="*/ 4 h 86"/>
                <a:gd name="T6" fmla="*/ 31 w 43"/>
                <a:gd name="T7" fmla="*/ 3 h 86"/>
                <a:gd name="T8" fmla="*/ 40 w 43"/>
                <a:gd name="T9" fmla="*/ 3 h 86"/>
                <a:gd name="T10" fmla="*/ 40 w 43"/>
                <a:gd name="T11" fmla="*/ 4 h 86"/>
                <a:gd name="T12" fmla="*/ 43 w 43"/>
                <a:gd name="T13" fmla="*/ 9 h 86"/>
                <a:gd name="T14" fmla="*/ 43 w 43"/>
                <a:gd name="T15" fmla="*/ 10 h 86"/>
                <a:gd name="T16" fmla="*/ 36 w 43"/>
                <a:gd name="T17" fmla="*/ 19 h 86"/>
                <a:gd name="T18" fmla="*/ 34 w 43"/>
                <a:gd name="T19" fmla="*/ 32 h 86"/>
                <a:gd name="T20" fmla="*/ 34 w 43"/>
                <a:gd name="T21" fmla="*/ 38 h 86"/>
                <a:gd name="T22" fmla="*/ 28 w 43"/>
                <a:gd name="T23" fmla="*/ 43 h 86"/>
                <a:gd name="T24" fmla="*/ 33 w 43"/>
                <a:gd name="T25" fmla="*/ 53 h 86"/>
                <a:gd name="T26" fmla="*/ 30 w 43"/>
                <a:gd name="T27" fmla="*/ 62 h 86"/>
                <a:gd name="T28" fmla="*/ 34 w 43"/>
                <a:gd name="T29" fmla="*/ 69 h 86"/>
                <a:gd name="T30" fmla="*/ 33 w 43"/>
                <a:gd name="T31" fmla="*/ 69 h 86"/>
                <a:gd name="T32" fmla="*/ 27 w 43"/>
                <a:gd name="T33" fmla="*/ 77 h 86"/>
                <a:gd name="T34" fmla="*/ 28 w 43"/>
                <a:gd name="T35" fmla="*/ 83 h 86"/>
                <a:gd name="T36" fmla="*/ 22 w 43"/>
                <a:gd name="T37" fmla="*/ 83 h 86"/>
                <a:gd name="T38" fmla="*/ 20 w 43"/>
                <a:gd name="T39" fmla="*/ 84 h 86"/>
                <a:gd name="T40" fmla="*/ 15 w 43"/>
                <a:gd name="T41" fmla="*/ 84 h 86"/>
                <a:gd name="T42" fmla="*/ 12 w 43"/>
                <a:gd name="T43" fmla="*/ 86 h 86"/>
                <a:gd name="T44" fmla="*/ 8 w 43"/>
                <a:gd name="T45" fmla="*/ 86 h 86"/>
                <a:gd name="T46" fmla="*/ 9 w 43"/>
                <a:gd name="T47" fmla="*/ 62 h 86"/>
                <a:gd name="T48" fmla="*/ 5 w 43"/>
                <a:gd name="T49" fmla="*/ 63 h 86"/>
                <a:gd name="T50" fmla="*/ 3 w 43"/>
                <a:gd name="T51" fmla="*/ 63 h 86"/>
                <a:gd name="T52" fmla="*/ 0 w 43"/>
                <a:gd name="T53" fmla="*/ 57 h 86"/>
                <a:gd name="T54" fmla="*/ 9 w 43"/>
                <a:gd name="T55" fmla="*/ 20 h 86"/>
                <a:gd name="T56" fmla="*/ 8 w 43"/>
                <a:gd name="T57" fmla="*/ 6 h 86"/>
                <a:gd name="T58" fmla="*/ 18 w 43"/>
                <a:gd name="T5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86">
                  <a:moveTo>
                    <a:pt x="18" y="0"/>
                  </a:moveTo>
                  <a:lnTo>
                    <a:pt x="20" y="4"/>
                  </a:lnTo>
                  <a:lnTo>
                    <a:pt x="28" y="4"/>
                  </a:lnTo>
                  <a:lnTo>
                    <a:pt x="31" y="3"/>
                  </a:lnTo>
                  <a:lnTo>
                    <a:pt x="40" y="3"/>
                  </a:lnTo>
                  <a:lnTo>
                    <a:pt x="40" y="4"/>
                  </a:lnTo>
                  <a:lnTo>
                    <a:pt x="43" y="9"/>
                  </a:lnTo>
                  <a:lnTo>
                    <a:pt x="43" y="10"/>
                  </a:lnTo>
                  <a:lnTo>
                    <a:pt x="36" y="19"/>
                  </a:lnTo>
                  <a:lnTo>
                    <a:pt x="34" y="32"/>
                  </a:lnTo>
                  <a:lnTo>
                    <a:pt x="34" y="38"/>
                  </a:lnTo>
                  <a:lnTo>
                    <a:pt x="28" y="43"/>
                  </a:lnTo>
                  <a:lnTo>
                    <a:pt x="33" y="53"/>
                  </a:lnTo>
                  <a:lnTo>
                    <a:pt x="30" y="62"/>
                  </a:lnTo>
                  <a:lnTo>
                    <a:pt x="34" y="69"/>
                  </a:lnTo>
                  <a:lnTo>
                    <a:pt x="33" y="69"/>
                  </a:lnTo>
                  <a:lnTo>
                    <a:pt x="27" y="77"/>
                  </a:lnTo>
                  <a:lnTo>
                    <a:pt x="28" y="83"/>
                  </a:lnTo>
                  <a:lnTo>
                    <a:pt x="22" y="83"/>
                  </a:lnTo>
                  <a:lnTo>
                    <a:pt x="20" y="84"/>
                  </a:lnTo>
                  <a:lnTo>
                    <a:pt x="15" y="84"/>
                  </a:lnTo>
                  <a:lnTo>
                    <a:pt x="12" y="86"/>
                  </a:lnTo>
                  <a:lnTo>
                    <a:pt x="8" y="86"/>
                  </a:lnTo>
                  <a:lnTo>
                    <a:pt x="9" y="62"/>
                  </a:lnTo>
                  <a:lnTo>
                    <a:pt x="5" y="63"/>
                  </a:lnTo>
                  <a:lnTo>
                    <a:pt x="3" y="63"/>
                  </a:lnTo>
                  <a:lnTo>
                    <a:pt x="0" y="57"/>
                  </a:lnTo>
                  <a:lnTo>
                    <a:pt x="9" y="20"/>
                  </a:lnTo>
                  <a:lnTo>
                    <a:pt x="8" y="6"/>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2" name="Spain">
              <a:extLst>
                <a:ext uri="{FF2B5EF4-FFF2-40B4-BE49-F238E27FC236}">
                  <a16:creationId xmlns:a16="http://schemas.microsoft.com/office/drawing/2014/main" id="{34A6280F-BDEF-ADA9-DBEA-237A7BE61AD1}"/>
                </a:ext>
              </a:extLst>
            </p:cNvPr>
            <p:cNvSpPr>
              <a:spLocks/>
            </p:cNvSpPr>
            <p:nvPr/>
          </p:nvSpPr>
          <p:spPr bwMode="auto">
            <a:xfrm>
              <a:off x="5610805" y="3441730"/>
              <a:ext cx="296358" cy="236726"/>
            </a:xfrm>
            <a:custGeom>
              <a:avLst/>
              <a:gdLst>
                <a:gd name="T0" fmla="*/ 19 w 164"/>
                <a:gd name="T1" fmla="*/ 0 h 131"/>
                <a:gd name="T2" fmla="*/ 47 w 164"/>
                <a:gd name="T3" fmla="*/ 3 h 131"/>
                <a:gd name="T4" fmla="*/ 81 w 164"/>
                <a:gd name="T5" fmla="*/ 5 h 131"/>
                <a:gd name="T6" fmla="*/ 98 w 164"/>
                <a:gd name="T7" fmla="*/ 6 h 131"/>
                <a:gd name="T8" fmla="*/ 126 w 164"/>
                <a:gd name="T9" fmla="*/ 20 h 131"/>
                <a:gd name="T10" fmla="*/ 139 w 164"/>
                <a:gd name="T11" fmla="*/ 20 h 131"/>
                <a:gd name="T12" fmla="*/ 142 w 164"/>
                <a:gd name="T13" fmla="*/ 21 h 131"/>
                <a:gd name="T14" fmla="*/ 161 w 164"/>
                <a:gd name="T15" fmla="*/ 23 h 131"/>
                <a:gd name="T16" fmla="*/ 161 w 164"/>
                <a:gd name="T17" fmla="*/ 35 h 131"/>
                <a:gd name="T18" fmla="*/ 118 w 164"/>
                <a:gd name="T19" fmla="*/ 76 h 131"/>
                <a:gd name="T20" fmla="*/ 124 w 164"/>
                <a:gd name="T21" fmla="*/ 85 h 131"/>
                <a:gd name="T22" fmla="*/ 123 w 164"/>
                <a:gd name="T23" fmla="*/ 89 h 131"/>
                <a:gd name="T24" fmla="*/ 112 w 164"/>
                <a:gd name="T25" fmla="*/ 106 h 131"/>
                <a:gd name="T26" fmla="*/ 96 w 164"/>
                <a:gd name="T27" fmla="*/ 119 h 131"/>
                <a:gd name="T28" fmla="*/ 65 w 164"/>
                <a:gd name="T29" fmla="*/ 121 h 131"/>
                <a:gd name="T30" fmla="*/ 50 w 164"/>
                <a:gd name="T31" fmla="*/ 131 h 131"/>
                <a:gd name="T32" fmla="*/ 35 w 164"/>
                <a:gd name="T33" fmla="*/ 115 h 131"/>
                <a:gd name="T34" fmla="*/ 23 w 164"/>
                <a:gd name="T35" fmla="*/ 106 h 131"/>
                <a:gd name="T36" fmla="*/ 29 w 164"/>
                <a:gd name="T37" fmla="*/ 98 h 131"/>
                <a:gd name="T38" fmla="*/ 26 w 164"/>
                <a:gd name="T39" fmla="*/ 89 h 131"/>
                <a:gd name="T40" fmla="*/ 25 w 164"/>
                <a:gd name="T41" fmla="*/ 72 h 131"/>
                <a:gd name="T42" fmla="*/ 31 w 164"/>
                <a:gd name="T43" fmla="*/ 61 h 131"/>
                <a:gd name="T44" fmla="*/ 40 w 164"/>
                <a:gd name="T45" fmla="*/ 38 h 131"/>
                <a:gd name="T46" fmla="*/ 29 w 164"/>
                <a:gd name="T47" fmla="*/ 33 h 131"/>
                <a:gd name="T48" fmla="*/ 18 w 164"/>
                <a:gd name="T49" fmla="*/ 35 h 131"/>
                <a:gd name="T50" fmla="*/ 16 w 164"/>
                <a:gd name="T51" fmla="*/ 30 h 131"/>
                <a:gd name="T52" fmla="*/ 6 w 164"/>
                <a:gd name="T53" fmla="*/ 36 h 131"/>
                <a:gd name="T54" fmla="*/ 7 w 164"/>
                <a:gd name="T55" fmla="*/ 27 h 131"/>
                <a:gd name="T56" fmla="*/ 6 w 164"/>
                <a:gd name="T57" fmla="*/ 26 h 131"/>
                <a:gd name="T58" fmla="*/ 6 w 164"/>
                <a:gd name="T59" fmla="*/ 20 h 131"/>
                <a:gd name="T60" fmla="*/ 0 w 164"/>
                <a:gd name="T61" fmla="*/ 12 h 131"/>
                <a:gd name="T62" fmla="*/ 12 w 164"/>
                <a:gd name="T63" fmla="*/ 8 h 131"/>
                <a:gd name="T64" fmla="*/ 15 w 164"/>
                <a:gd name="T6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4" h="131">
                  <a:moveTo>
                    <a:pt x="15" y="0"/>
                  </a:moveTo>
                  <a:lnTo>
                    <a:pt x="19" y="0"/>
                  </a:lnTo>
                  <a:lnTo>
                    <a:pt x="31" y="2"/>
                  </a:lnTo>
                  <a:lnTo>
                    <a:pt x="47" y="3"/>
                  </a:lnTo>
                  <a:lnTo>
                    <a:pt x="65" y="3"/>
                  </a:lnTo>
                  <a:lnTo>
                    <a:pt x="81" y="5"/>
                  </a:lnTo>
                  <a:lnTo>
                    <a:pt x="93" y="6"/>
                  </a:lnTo>
                  <a:lnTo>
                    <a:pt x="98" y="6"/>
                  </a:lnTo>
                  <a:lnTo>
                    <a:pt x="112" y="17"/>
                  </a:lnTo>
                  <a:lnTo>
                    <a:pt x="126" y="20"/>
                  </a:lnTo>
                  <a:lnTo>
                    <a:pt x="132" y="17"/>
                  </a:lnTo>
                  <a:lnTo>
                    <a:pt x="139" y="20"/>
                  </a:lnTo>
                  <a:lnTo>
                    <a:pt x="141" y="23"/>
                  </a:lnTo>
                  <a:lnTo>
                    <a:pt x="142" y="21"/>
                  </a:lnTo>
                  <a:lnTo>
                    <a:pt x="148" y="24"/>
                  </a:lnTo>
                  <a:lnTo>
                    <a:pt x="161" y="23"/>
                  </a:lnTo>
                  <a:lnTo>
                    <a:pt x="164" y="26"/>
                  </a:lnTo>
                  <a:lnTo>
                    <a:pt x="161" y="35"/>
                  </a:lnTo>
                  <a:lnTo>
                    <a:pt x="132" y="52"/>
                  </a:lnTo>
                  <a:lnTo>
                    <a:pt x="118" y="76"/>
                  </a:lnTo>
                  <a:lnTo>
                    <a:pt x="118" y="82"/>
                  </a:lnTo>
                  <a:lnTo>
                    <a:pt x="124" y="85"/>
                  </a:lnTo>
                  <a:lnTo>
                    <a:pt x="124" y="86"/>
                  </a:lnTo>
                  <a:lnTo>
                    <a:pt x="123" y="89"/>
                  </a:lnTo>
                  <a:lnTo>
                    <a:pt x="117" y="95"/>
                  </a:lnTo>
                  <a:lnTo>
                    <a:pt x="112" y="106"/>
                  </a:lnTo>
                  <a:lnTo>
                    <a:pt x="105" y="107"/>
                  </a:lnTo>
                  <a:lnTo>
                    <a:pt x="96" y="119"/>
                  </a:lnTo>
                  <a:lnTo>
                    <a:pt x="95" y="119"/>
                  </a:lnTo>
                  <a:lnTo>
                    <a:pt x="65" y="121"/>
                  </a:lnTo>
                  <a:lnTo>
                    <a:pt x="52" y="131"/>
                  </a:lnTo>
                  <a:lnTo>
                    <a:pt x="50" y="131"/>
                  </a:lnTo>
                  <a:lnTo>
                    <a:pt x="43" y="128"/>
                  </a:lnTo>
                  <a:lnTo>
                    <a:pt x="35" y="115"/>
                  </a:lnTo>
                  <a:lnTo>
                    <a:pt x="25" y="112"/>
                  </a:lnTo>
                  <a:lnTo>
                    <a:pt x="23" y="106"/>
                  </a:lnTo>
                  <a:lnTo>
                    <a:pt x="23" y="104"/>
                  </a:lnTo>
                  <a:lnTo>
                    <a:pt x="29" y="98"/>
                  </a:lnTo>
                  <a:lnTo>
                    <a:pt x="26" y="91"/>
                  </a:lnTo>
                  <a:lnTo>
                    <a:pt x="26" y="89"/>
                  </a:lnTo>
                  <a:lnTo>
                    <a:pt x="29" y="82"/>
                  </a:lnTo>
                  <a:lnTo>
                    <a:pt x="25" y="72"/>
                  </a:lnTo>
                  <a:lnTo>
                    <a:pt x="31" y="66"/>
                  </a:lnTo>
                  <a:lnTo>
                    <a:pt x="31" y="61"/>
                  </a:lnTo>
                  <a:lnTo>
                    <a:pt x="32" y="48"/>
                  </a:lnTo>
                  <a:lnTo>
                    <a:pt x="40" y="38"/>
                  </a:lnTo>
                  <a:lnTo>
                    <a:pt x="37" y="33"/>
                  </a:lnTo>
                  <a:lnTo>
                    <a:pt x="29" y="33"/>
                  </a:lnTo>
                  <a:lnTo>
                    <a:pt x="25" y="35"/>
                  </a:lnTo>
                  <a:lnTo>
                    <a:pt x="18" y="35"/>
                  </a:lnTo>
                  <a:lnTo>
                    <a:pt x="18" y="33"/>
                  </a:lnTo>
                  <a:lnTo>
                    <a:pt x="16" y="30"/>
                  </a:lnTo>
                  <a:lnTo>
                    <a:pt x="7" y="36"/>
                  </a:lnTo>
                  <a:lnTo>
                    <a:pt x="6" y="36"/>
                  </a:lnTo>
                  <a:lnTo>
                    <a:pt x="6" y="35"/>
                  </a:lnTo>
                  <a:lnTo>
                    <a:pt x="7" y="27"/>
                  </a:lnTo>
                  <a:lnTo>
                    <a:pt x="6" y="27"/>
                  </a:lnTo>
                  <a:lnTo>
                    <a:pt x="6" y="26"/>
                  </a:lnTo>
                  <a:lnTo>
                    <a:pt x="4" y="23"/>
                  </a:lnTo>
                  <a:lnTo>
                    <a:pt x="6" y="20"/>
                  </a:lnTo>
                  <a:lnTo>
                    <a:pt x="0" y="14"/>
                  </a:lnTo>
                  <a:lnTo>
                    <a:pt x="0" y="12"/>
                  </a:lnTo>
                  <a:lnTo>
                    <a:pt x="4" y="8"/>
                  </a:lnTo>
                  <a:lnTo>
                    <a:pt x="12" y="8"/>
                  </a:lnTo>
                  <a:lnTo>
                    <a:pt x="15" y="2"/>
                  </a:lnTo>
                  <a:lnTo>
                    <a:pt x="1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3" name="France">
              <a:extLst>
                <a:ext uri="{FF2B5EF4-FFF2-40B4-BE49-F238E27FC236}">
                  <a16:creationId xmlns:a16="http://schemas.microsoft.com/office/drawing/2014/main" id="{3FCFF279-F084-BE54-6967-306F7D7C9D92}"/>
                </a:ext>
              </a:extLst>
            </p:cNvPr>
            <p:cNvSpPr>
              <a:spLocks/>
            </p:cNvSpPr>
            <p:nvPr/>
          </p:nvSpPr>
          <p:spPr bwMode="auto">
            <a:xfrm>
              <a:off x="5715614" y="3185127"/>
              <a:ext cx="301780" cy="303587"/>
            </a:xfrm>
            <a:custGeom>
              <a:avLst/>
              <a:gdLst>
                <a:gd name="T0" fmla="*/ 99 w 167"/>
                <a:gd name="T1" fmla="*/ 6 h 168"/>
                <a:gd name="T2" fmla="*/ 118 w 167"/>
                <a:gd name="T3" fmla="*/ 21 h 168"/>
                <a:gd name="T4" fmla="*/ 124 w 167"/>
                <a:gd name="T5" fmla="*/ 19 h 168"/>
                <a:gd name="T6" fmla="*/ 127 w 167"/>
                <a:gd name="T7" fmla="*/ 27 h 168"/>
                <a:gd name="T8" fmla="*/ 143 w 167"/>
                <a:gd name="T9" fmla="*/ 31 h 168"/>
                <a:gd name="T10" fmla="*/ 167 w 167"/>
                <a:gd name="T11" fmla="*/ 42 h 168"/>
                <a:gd name="T12" fmla="*/ 160 w 167"/>
                <a:gd name="T13" fmla="*/ 61 h 168"/>
                <a:gd name="T14" fmla="*/ 160 w 167"/>
                <a:gd name="T15" fmla="*/ 70 h 168"/>
                <a:gd name="T16" fmla="*/ 140 w 167"/>
                <a:gd name="T17" fmla="*/ 92 h 168"/>
                <a:gd name="T18" fmla="*/ 145 w 167"/>
                <a:gd name="T19" fmla="*/ 92 h 168"/>
                <a:gd name="T20" fmla="*/ 151 w 167"/>
                <a:gd name="T21" fmla="*/ 94 h 168"/>
                <a:gd name="T22" fmla="*/ 154 w 167"/>
                <a:gd name="T23" fmla="*/ 104 h 168"/>
                <a:gd name="T24" fmla="*/ 154 w 167"/>
                <a:gd name="T25" fmla="*/ 113 h 168"/>
                <a:gd name="T26" fmla="*/ 154 w 167"/>
                <a:gd name="T27" fmla="*/ 114 h 168"/>
                <a:gd name="T28" fmla="*/ 152 w 167"/>
                <a:gd name="T29" fmla="*/ 122 h 168"/>
                <a:gd name="T30" fmla="*/ 161 w 167"/>
                <a:gd name="T31" fmla="*/ 134 h 168"/>
                <a:gd name="T32" fmla="*/ 143 w 167"/>
                <a:gd name="T33" fmla="*/ 154 h 168"/>
                <a:gd name="T34" fmla="*/ 127 w 167"/>
                <a:gd name="T35" fmla="*/ 148 h 168"/>
                <a:gd name="T36" fmla="*/ 105 w 167"/>
                <a:gd name="T37" fmla="*/ 153 h 168"/>
                <a:gd name="T38" fmla="*/ 105 w 167"/>
                <a:gd name="T39" fmla="*/ 166 h 168"/>
                <a:gd name="T40" fmla="*/ 93 w 167"/>
                <a:gd name="T41" fmla="*/ 168 h 168"/>
                <a:gd name="T42" fmla="*/ 74 w 167"/>
                <a:gd name="T43" fmla="*/ 160 h 168"/>
                <a:gd name="T44" fmla="*/ 53 w 167"/>
                <a:gd name="T45" fmla="*/ 160 h 168"/>
                <a:gd name="T46" fmla="*/ 40 w 167"/>
                <a:gd name="T47" fmla="*/ 148 h 168"/>
                <a:gd name="T48" fmla="*/ 50 w 167"/>
                <a:gd name="T49" fmla="*/ 126 h 168"/>
                <a:gd name="T50" fmla="*/ 47 w 167"/>
                <a:gd name="T51" fmla="*/ 123 h 168"/>
                <a:gd name="T52" fmla="*/ 48 w 167"/>
                <a:gd name="T53" fmla="*/ 105 h 168"/>
                <a:gd name="T54" fmla="*/ 40 w 167"/>
                <a:gd name="T55" fmla="*/ 92 h 168"/>
                <a:gd name="T56" fmla="*/ 35 w 167"/>
                <a:gd name="T57" fmla="*/ 79 h 168"/>
                <a:gd name="T58" fmla="*/ 31 w 167"/>
                <a:gd name="T59" fmla="*/ 77 h 168"/>
                <a:gd name="T60" fmla="*/ 29 w 167"/>
                <a:gd name="T61" fmla="*/ 73 h 168"/>
                <a:gd name="T62" fmla="*/ 5 w 167"/>
                <a:gd name="T63" fmla="*/ 67 h 168"/>
                <a:gd name="T64" fmla="*/ 1 w 167"/>
                <a:gd name="T65" fmla="*/ 61 h 168"/>
                <a:gd name="T66" fmla="*/ 3 w 167"/>
                <a:gd name="T67" fmla="*/ 59 h 168"/>
                <a:gd name="T68" fmla="*/ 4 w 167"/>
                <a:gd name="T69" fmla="*/ 57 h 168"/>
                <a:gd name="T70" fmla="*/ 1 w 167"/>
                <a:gd name="T71" fmla="*/ 52 h 168"/>
                <a:gd name="T72" fmla="*/ 19 w 167"/>
                <a:gd name="T73" fmla="*/ 46 h 168"/>
                <a:gd name="T74" fmla="*/ 43 w 167"/>
                <a:gd name="T75" fmla="*/ 51 h 168"/>
                <a:gd name="T76" fmla="*/ 38 w 167"/>
                <a:gd name="T77" fmla="*/ 28 h 168"/>
                <a:gd name="T78" fmla="*/ 47 w 167"/>
                <a:gd name="T79" fmla="*/ 30 h 168"/>
                <a:gd name="T80" fmla="*/ 65 w 167"/>
                <a:gd name="T81" fmla="*/ 34 h 168"/>
                <a:gd name="T82" fmla="*/ 84 w 167"/>
                <a:gd name="T83" fmla="*/ 18 h 168"/>
                <a:gd name="T84" fmla="*/ 86 w 167"/>
                <a:gd name="T85" fmla="*/ 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7" h="168">
                  <a:moveTo>
                    <a:pt x="99" y="0"/>
                  </a:moveTo>
                  <a:lnTo>
                    <a:pt x="99" y="6"/>
                  </a:lnTo>
                  <a:lnTo>
                    <a:pt x="115" y="15"/>
                  </a:lnTo>
                  <a:lnTo>
                    <a:pt x="118" y="21"/>
                  </a:lnTo>
                  <a:lnTo>
                    <a:pt x="121" y="21"/>
                  </a:lnTo>
                  <a:lnTo>
                    <a:pt x="124" y="19"/>
                  </a:lnTo>
                  <a:lnTo>
                    <a:pt x="127" y="19"/>
                  </a:lnTo>
                  <a:lnTo>
                    <a:pt x="127" y="27"/>
                  </a:lnTo>
                  <a:lnTo>
                    <a:pt x="137" y="30"/>
                  </a:lnTo>
                  <a:lnTo>
                    <a:pt x="143" y="31"/>
                  </a:lnTo>
                  <a:lnTo>
                    <a:pt x="149" y="37"/>
                  </a:lnTo>
                  <a:lnTo>
                    <a:pt x="167" y="42"/>
                  </a:lnTo>
                  <a:lnTo>
                    <a:pt x="167" y="43"/>
                  </a:lnTo>
                  <a:lnTo>
                    <a:pt x="160" y="61"/>
                  </a:lnTo>
                  <a:lnTo>
                    <a:pt x="161" y="70"/>
                  </a:lnTo>
                  <a:lnTo>
                    <a:pt x="160" y="70"/>
                  </a:lnTo>
                  <a:lnTo>
                    <a:pt x="152" y="73"/>
                  </a:lnTo>
                  <a:lnTo>
                    <a:pt x="140" y="92"/>
                  </a:lnTo>
                  <a:lnTo>
                    <a:pt x="140" y="97"/>
                  </a:lnTo>
                  <a:lnTo>
                    <a:pt x="145" y="92"/>
                  </a:lnTo>
                  <a:lnTo>
                    <a:pt x="151" y="92"/>
                  </a:lnTo>
                  <a:lnTo>
                    <a:pt x="151" y="94"/>
                  </a:lnTo>
                  <a:lnTo>
                    <a:pt x="154" y="102"/>
                  </a:lnTo>
                  <a:lnTo>
                    <a:pt x="154" y="104"/>
                  </a:lnTo>
                  <a:lnTo>
                    <a:pt x="151" y="104"/>
                  </a:lnTo>
                  <a:lnTo>
                    <a:pt x="154" y="113"/>
                  </a:lnTo>
                  <a:lnTo>
                    <a:pt x="155" y="114"/>
                  </a:lnTo>
                  <a:lnTo>
                    <a:pt x="154" y="114"/>
                  </a:lnTo>
                  <a:lnTo>
                    <a:pt x="151" y="120"/>
                  </a:lnTo>
                  <a:lnTo>
                    <a:pt x="152" y="122"/>
                  </a:lnTo>
                  <a:lnTo>
                    <a:pt x="154" y="134"/>
                  </a:lnTo>
                  <a:lnTo>
                    <a:pt x="161" y="134"/>
                  </a:lnTo>
                  <a:lnTo>
                    <a:pt x="161" y="141"/>
                  </a:lnTo>
                  <a:lnTo>
                    <a:pt x="143" y="154"/>
                  </a:lnTo>
                  <a:lnTo>
                    <a:pt x="142" y="154"/>
                  </a:lnTo>
                  <a:lnTo>
                    <a:pt x="127" y="148"/>
                  </a:lnTo>
                  <a:lnTo>
                    <a:pt x="115" y="147"/>
                  </a:lnTo>
                  <a:lnTo>
                    <a:pt x="105" y="153"/>
                  </a:lnTo>
                  <a:lnTo>
                    <a:pt x="103" y="159"/>
                  </a:lnTo>
                  <a:lnTo>
                    <a:pt x="105" y="166"/>
                  </a:lnTo>
                  <a:lnTo>
                    <a:pt x="96" y="166"/>
                  </a:lnTo>
                  <a:lnTo>
                    <a:pt x="93" y="168"/>
                  </a:lnTo>
                  <a:lnTo>
                    <a:pt x="88" y="168"/>
                  </a:lnTo>
                  <a:lnTo>
                    <a:pt x="74" y="160"/>
                  </a:lnTo>
                  <a:lnTo>
                    <a:pt x="69" y="163"/>
                  </a:lnTo>
                  <a:lnTo>
                    <a:pt x="53" y="160"/>
                  </a:lnTo>
                  <a:lnTo>
                    <a:pt x="40" y="150"/>
                  </a:lnTo>
                  <a:lnTo>
                    <a:pt x="40" y="148"/>
                  </a:lnTo>
                  <a:lnTo>
                    <a:pt x="45" y="144"/>
                  </a:lnTo>
                  <a:lnTo>
                    <a:pt x="50" y="126"/>
                  </a:lnTo>
                  <a:lnTo>
                    <a:pt x="47" y="125"/>
                  </a:lnTo>
                  <a:lnTo>
                    <a:pt x="47" y="123"/>
                  </a:lnTo>
                  <a:lnTo>
                    <a:pt x="50" y="108"/>
                  </a:lnTo>
                  <a:lnTo>
                    <a:pt x="48" y="105"/>
                  </a:lnTo>
                  <a:lnTo>
                    <a:pt x="47" y="95"/>
                  </a:lnTo>
                  <a:lnTo>
                    <a:pt x="40" y="92"/>
                  </a:lnTo>
                  <a:lnTo>
                    <a:pt x="37" y="86"/>
                  </a:lnTo>
                  <a:lnTo>
                    <a:pt x="35" y="79"/>
                  </a:lnTo>
                  <a:lnTo>
                    <a:pt x="35" y="77"/>
                  </a:lnTo>
                  <a:lnTo>
                    <a:pt x="31" y="77"/>
                  </a:lnTo>
                  <a:lnTo>
                    <a:pt x="31" y="76"/>
                  </a:lnTo>
                  <a:lnTo>
                    <a:pt x="29" y="73"/>
                  </a:lnTo>
                  <a:lnTo>
                    <a:pt x="11" y="67"/>
                  </a:lnTo>
                  <a:lnTo>
                    <a:pt x="5" y="67"/>
                  </a:lnTo>
                  <a:lnTo>
                    <a:pt x="1" y="62"/>
                  </a:lnTo>
                  <a:lnTo>
                    <a:pt x="1" y="61"/>
                  </a:lnTo>
                  <a:lnTo>
                    <a:pt x="4" y="61"/>
                  </a:lnTo>
                  <a:lnTo>
                    <a:pt x="3" y="59"/>
                  </a:lnTo>
                  <a:lnTo>
                    <a:pt x="3" y="58"/>
                  </a:lnTo>
                  <a:lnTo>
                    <a:pt x="4" y="57"/>
                  </a:lnTo>
                  <a:lnTo>
                    <a:pt x="0" y="57"/>
                  </a:lnTo>
                  <a:lnTo>
                    <a:pt x="1" y="52"/>
                  </a:lnTo>
                  <a:lnTo>
                    <a:pt x="17" y="46"/>
                  </a:lnTo>
                  <a:lnTo>
                    <a:pt x="19" y="46"/>
                  </a:lnTo>
                  <a:lnTo>
                    <a:pt x="29" y="51"/>
                  </a:lnTo>
                  <a:lnTo>
                    <a:pt x="43" y="51"/>
                  </a:lnTo>
                  <a:lnTo>
                    <a:pt x="38" y="30"/>
                  </a:lnTo>
                  <a:lnTo>
                    <a:pt x="38" y="28"/>
                  </a:lnTo>
                  <a:lnTo>
                    <a:pt x="47" y="28"/>
                  </a:lnTo>
                  <a:lnTo>
                    <a:pt x="47" y="30"/>
                  </a:lnTo>
                  <a:lnTo>
                    <a:pt x="50" y="34"/>
                  </a:lnTo>
                  <a:lnTo>
                    <a:pt x="65" y="34"/>
                  </a:lnTo>
                  <a:lnTo>
                    <a:pt x="66" y="28"/>
                  </a:lnTo>
                  <a:lnTo>
                    <a:pt x="84" y="18"/>
                  </a:lnTo>
                  <a:lnTo>
                    <a:pt x="86" y="5"/>
                  </a:lnTo>
                  <a:lnTo>
                    <a:pt x="86" y="3"/>
                  </a:lnTo>
                  <a:lnTo>
                    <a:pt x="9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4" name="Ireland">
              <a:extLst>
                <a:ext uri="{FF2B5EF4-FFF2-40B4-BE49-F238E27FC236}">
                  <a16:creationId xmlns:a16="http://schemas.microsoft.com/office/drawing/2014/main" id="{77666843-1646-4A13-EC19-E3D8EBE0EBAF}"/>
                </a:ext>
              </a:extLst>
            </p:cNvPr>
            <p:cNvSpPr>
              <a:spLocks noEditPoints="1"/>
            </p:cNvSpPr>
            <p:nvPr/>
          </p:nvSpPr>
          <p:spPr bwMode="auto">
            <a:xfrm>
              <a:off x="5583698" y="3022491"/>
              <a:ext cx="104809" cy="149986"/>
            </a:xfrm>
            <a:custGeom>
              <a:avLst/>
              <a:gdLst>
                <a:gd name="T0" fmla="*/ 19 w 58"/>
                <a:gd name="T1" fmla="*/ 56 h 83"/>
                <a:gd name="T2" fmla="*/ 13 w 58"/>
                <a:gd name="T3" fmla="*/ 59 h 83"/>
                <a:gd name="T4" fmla="*/ 21 w 58"/>
                <a:gd name="T5" fmla="*/ 58 h 83"/>
                <a:gd name="T6" fmla="*/ 19 w 58"/>
                <a:gd name="T7" fmla="*/ 56 h 83"/>
                <a:gd name="T8" fmla="*/ 37 w 58"/>
                <a:gd name="T9" fmla="*/ 0 h 83"/>
                <a:gd name="T10" fmla="*/ 38 w 58"/>
                <a:gd name="T11" fmla="*/ 7 h 83"/>
                <a:gd name="T12" fmla="*/ 31 w 58"/>
                <a:gd name="T13" fmla="*/ 18 h 83"/>
                <a:gd name="T14" fmla="*/ 35 w 58"/>
                <a:gd name="T15" fmla="*/ 23 h 83"/>
                <a:gd name="T16" fmla="*/ 50 w 58"/>
                <a:gd name="T17" fmla="*/ 18 h 83"/>
                <a:gd name="T18" fmla="*/ 52 w 58"/>
                <a:gd name="T19" fmla="*/ 18 h 83"/>
                <a:gd name="T20" fmla="*/ 56 w 58"/>
                <a:gd name="T21" fmla="*/ 28 h 83"/>
                <a:gd name="T22" fmla="*/ 56 w 58"/>
                <a:gd name="T23" fmla="*/ 29 h 83"/>
                <a:gd name="T24" fmla="*/ 55 w 58"/>
                <a:gd name="T25" fmla="*/ 31 h 83"/>
                <a:gd name="T26" fmla="*/ 58 w 58"/>
                <a:gd name="T27" fmla="*/ 38 h 83"/>
                <a:gd name="T28" fmla="*/ 58 w 58"/>
                <a:gd name="T29" fmla="*/ 52 h 83"/>
                <a:gd name="T30" fmla="*/ 53 w 58"/>
                <a:gd name="T31" fmla="*/ 69 h 83"/>
                <a:gd name="T32" fmla="*/ 37 w 58"/>
                <a:gd name="T33" fmla="*/ 69 h 83"/>
                <a:gd name="T34" fmla="*/ 15 w 58"/>
                <a:gd name="T35" fmla="*/ 83 h 83"/>
                <a:gd name="T36" fmla="*/ 9 w 58"/>
                <a:gd name="T37" fmla="*/ 83 h 83"/>
                <a:gd name="T38" fmla="*/ 10 w 58"/>
                <a:gd name="T39" fmla="*/ 80 h 83"/>
                <a:gd name="T40" fmla="*/ 4 w 58"/>
                <a:gd name="T41" fmla="*/ 81 h 83"/>
                <a:gd name="T42" fmla="*/ 3 w 58"/>
                <a:gd name="T43" fmla="*/ 80 h 83"/>
                <a:gd name="T44" fmla="*/ 4 w 58"/>
                <a:gd name="T45" fmla="*/ 80 h 83"/>
                <a:gd name="T46" fmla="*/ 7 w 58"/>
                <a:gd name="T47" fmla="*/ 77 h 83"/>
                <a:gd name="T48" fmla="*/ 1 w 58"/>
                <a:gd name="T49" fmla="*/ 77 h 83"/>
                <a:gd name="T50" fmla="*/ 1 w 58"/>
                <a:gd name="T51" fmla="*/ 75 h 83"/>
                <a:gd name="T52" fmla="*/ 6 w 58"/>
                <a:gd name="T53" fmla="*/ 71 h 83"/>
                <a:gd name="T54" fmla="*/ 0 w 58"/>
                <a:gd name="T55" fmla="*/ 69 h 83"/>
                <a:gd name="T56" fmla="*/ 0 w 58"/>
                <a:gd name="T57" fmla="*/ 68 h 83"/>
                <a:gd name="T58" fmla="*/ 1 w 58"/>
                <a:gd name="T59" fmla="*/ 68 h 83"/>
                <a:gd name="T60" fmla="*/ 6 w 58"/>
                <a:gd name="T61" fmla="*/ 66 h 83"/>
                <a:gd name="T62" fmla="*/ 10 w 58"/>
                <a:gd name="T63" fmla="*/ 61 h 83"/>
                <a:gd name="T64" fmla="*/ 7 w 58"/>
                <a:gd name="T65" fmla="*/ 61 h 83"/>
                <a:gd name="T66" fmla="*/ 7 w 58"/>
                <a:gd name="T67" fmla="*/ 59 h 83"/>
                <a:gd name="T68" fmla="*/ 18 w 58"/>
                <a:gd name="T69" fmla="*/ 47 h 83"/>
                <a:gd name="T70" fmla="*/ 7 w 58"/>
                <a:gd name="T71" fmla="*/ 44 h 83"/>
                <a:gd name="T72" fmla="*/ 7 w 58"/>
                <a:gd name="T73" fmla="*/ 43 h 83"/>
                <a:gd name="T74" fmla="*/ 4 w 58"/>
                <a:gd name="T75" fmla="*/ 38 h 83"/>
                <a:gd name="T76" fmla="*/ 10 w 58"/>
                <a:gd name="T77" fmla="*/ 34 h 83"/>
                <a:gd name="T78" fmla="*/ 4 w 58"/>
                <a:gd name="T79" fmla="*/ 29 h 83"/>
                <a:gd name="T80" fmla="*/ 3 w 58"/>
                <a:gd name="T81" fmla="*/ 29 h 83"/>
                <a:gd name="T82" fmla="*/ 3 w 58"/>
                <a:gd name="T83" fmla="*/ 28 h 83"/>
                <a:gd name="T84" fmla="*/ 7 w 58"/>
                <a:gd name="T85" fmla="*/ 28 h 83"/>
                <a:gd name="T86" fmla="*/ 6 w 58"/>
                <a:gd name="T87" fmla="*/ 26 h 83"/>
                <a:gd name="T88" fmla="*/ 9 w 58"/>
                <a:gd name="T89" fmla="*/ 22 h 83"/>
                <a:gd name="T90" fmla="*/ 9 w 58"/>
                <a:gd name="T91" fmla="*/ 20 h 83"/>
                <a:gd name="T92" fmla="*/ 16 w 58"/>
                <a:gd name="T93" fmla="*/ 20 h 83"/>
                <a:gd name="T94" fmla="*/ 19 w 58"/>
                <a:gd name="T95" fmla="*/ 22 h 83"/>
                <a:gd name="T96" fmla="*/ 24 w 58"/>
                <a:gd name="T97" fmla="*/ 22 h 83"/>
                <a:gd name="T98" fmla="*/ 28 w 58"/>
                <a:gd name="T99" fmla="*/ 16 h 83"/>
                <a:gd name="T100" fmla="*/ 21 w 58"/>
                <a:gd name="T101" fmla="*/ 15 h 83"/>
                <a:gd name="T102" fmla="*/ 21 w 58"/>
                <a:gd name="T103" fmla="*/ 13 h 83"/>
                <a:gd name="T104" fmla="*/ 30 w 58"/>
                <a:gd name="T105" fmla="*/ 3 h 83"/>
                <a:gd name="T106" fmla="*/ 37 w 58"/>
                <a:gd name="T10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83">
                  <a:moveTo>
                    <a:pt x="19" y="56"/>
                  </a:moveTo>
                  <a:lnTo>
                    <a:pt x="13" y="59"/>
                  </a:lnTo>
                  <a:lnTo>
                    <a:pt x="21" y="58"/>
                  </a:lnTo>
                  <a:lnTo>
                    <a:pt x="19" y="56"/>
                  </a:lnTo>
                  <a:close/>
                  <a:moveTo>
                    <a:pt x="37" y="0"/>
                  </a:moveTo>
                  <a:lnTo>
                    <a:pt x="38" y="7"/>
                  </a:lnTo>
                  <a:lnTo>
                    <a:pt x="31" y="18"/>
                  </a:lnTo>
                  <a:lnTo>
                    <a:pt x="35" y="23"/>
                  </a:lnTo>
                  <a:lnTo>
                    <a:pt x="50" y="18"/>
                  </a:lnTo>
                  <a:lnTo>
                    <a:pt x="52" y="18"/>
                  </a:lnTo>
                  <a:lnTo>
                    <a:pt x="56" y="28"/>
                  </a:lnTo>
                  <a:lnTo>
                    <a:pt x="56" y="29"/>
                  </a:lnTo>
                  <a:lnTo>
                    <a:pt x="55" y="31"/>
                  </a:lnTo>
                  <a:lnTo>
                    <a:pt x="58" y="38"/>
                  </a:lnTo>
                  <a:lnTo>
                    <a:pt x="58" y="52"/>
                  </a:lnTo>
                  <a:lnTo>
                    <a:pt x="53" y="69"/>
                  </a:lnTo>
                  <a:lnTo>
                    <a:pt x="37" y="69"/>
                  </a:lnTo>
                  <a:lnTo>
                    <a:pt x="15" y="83"/>
                  </a:lnTo>
                  <a:lnTo>
                    <a:pt x="9" y="83"/>
                  </a:lnTo>
                  <a:lnTo>
                    <a:pt x="10" y="80"/>
                  </a:lnTo>
                  <a:lnTo>
                    <a:pt x="4" y="81"/>
                  </a:lnTo>
                  <a:lnTo>
                    <a:pt x="3" y="80"/>
                  </a:lnTo>
                  <a:lnTo>
                    <a:pt x="4" y="80"/>
                  </a:lnTo>
                  <a:lnTo>
                    <a:pt x="7" y="77"/>
                  </a:lnTo>
                  <a:lnTo>
                    <a:pt x="1" y="77"/>
                  </a:lnTo>
                  <a:lnTo>
                    <a:pt x="1" y="75"/>
                  </a:lnTo>
                  <a:lnTo>
                    <a:pt x="6" y="71"/>
                  </a:lnTo>
                  <a:lnTo>
                    <a:pt x="0" y="69"/>
                  </a:lnTo>
                  <a:lnTo>
                    <a:pt x="0" y="68"/>
                  </a:lnTo>
                  <a:lnTo>
                    <a:pt x="1" y="68"/>
                  </a:lnTo>
                  <a:lnTo>
                    <a:pt x="6" y="66"/>
                  </a:lnTo>
                  <a:lnTo>
                    <a:pt x="10" y="61"/>
                  </a:lnTo>
                  <a:lnTo>
                    <a:pt x="7" y="61"/>
                  </a:lnTo>
                  <a:lnTo>
                    <a:pt x="7" y="59"/>
                  </a:lnTo>
                  <a:lnTo>
                    <a:pt x="18" y="47"/>
                  </a:lnTo>
                  <a:lnTo>
                    <a:pt x="7" y="44"/>
                  </a:lnTo>
                  <a:lnTo>
                    <a:pt x="7" y="43"/>
                  </a:lnTo>
                  <a:lnTo>
                    <a:pt x="4" y="38"/>
                  </a:lnTo>
                  <a:lnTo>
                    <a:pt x="10" y="34"/>
                  </a:lnTo>
                  <a:lnTo>
                    <a:pt x="4" y="29"/>
                  </a:lnTo>
                  <a:lnTo>
                    <a:pt x="3" y="29"/>
                  </a:lnTo>
                  <a:lnTo>
                    <a:pt x="3" y="28"/>
                  </a:lnTo>
                  <a:lnTo>
                    <a:pt x="7" y="28"/>
                  </a:lnTo>
                  <a:lnTo>
                    <a:pt x="6" y="26"/>
                  </a:lnTo>
                  <a:lnTo>
                    <a:pt x="9" y="22"/>
                  </a:lnTo>
                  <a:lnTo>
                    <a:pt x="9" y="20"/>
                  </a:lnTo>
                  <a:lnTo>
                    <a:pt x="16" y="20"/>
                  </a:lnTo>
                  <a:lnTo>
                    <a:pt x="19" y="22"/>
                  </a:lnTo>
                  <a:lnTo>
                    <a:pt x="24" y="22"/>
                  </a:lnTo>
                  <a:lnTo>
                    <a:pt x="28" y="16"/>
                  </a:lnTo>
                  <a:lnTo>
                    <a:pt x="21" y="15"/>
                  </a:lnTo>
                  <a:lnTo>
                    <a:pt x="21" y="13"/>
                  </a:lnTo>
                  <a:lnTo>
                    <a:pt x="30" y="3"/>
                  </a:lnTo>
                  <a:lnTo>
                    <a:pt x="3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5" name="Austria">
              <a:extLst>
                <a:ext uri="{FF2B5EF4-FFF2-40B4-BE49-F238E27FC236}">
                  <a16:creationId xmlns:a16="http://schemas.microsoft.com/office/drawing/2014/main" id="{6DF10C75-C8E5-E154-4DBC-249FF734BB80}"/>
                </a:ext>
              </a:extLst>
            </p:cNvPr>
            <p:cNvSpPr>
              <a:spLocks/>
            </p:cNvSpPr>
            <p:nvPr/>
          </p:nvSpPr>
          <p:spPr bwMode="auto">
            <a:xfrm>
              <a:off x="6049920" y="3261023"/>
              <a:ext cx="182514" cy="90353"/>
            </a:xfrm>
            <a:custGeom>
              <a:avLst/>
              <a:gdLst>
                <a:gd name="T0" fmla="*/ 72 w 101"/>
                <a:gd name="T1" fmla="*/ 0 h 50"/>
                <a:gd name="T2" fmla="*/ 74 w 101"/>
                <a:gd name="T3" fmla="*/ 0 h 50"/>
                <a:gd name="T4" fmla="*/ 95 w 101"/>
                <a:gd name="T5" fmla="*/ 4 h 50"/>
                <a:gd name="T6" fmla="*/ 101 w 101"/>
                <a:gd name="T7" fmla="*/ 19 h 50"/>
                <a:gd name="T8" fmla="*/ 99 w 101"/>
                <a:gd name="T9" fmla="*/ 25 h 50"/>
                <a:gd name="T10" fmla="*/ 99 w 101"/>
                <a:gd name="T11" fmla="*/ 26 h 50"/>
                <a:gd name="T12" fmla="*/ 93 w 101"/>
                <a:gd name="T13" fmla="*/ 26 h 50"/>
                <a:gd name="T14" fmla="*/ 92 w 101"/>
                <a:gd name="T15" fmla="*/ 38 h 50"/>
                <a:gd name="T16" fmla="*/ 92 w 101"/>
                <a:gd name="T17" fmla="*/ 40 h 50"/>
                <a:gd name="T18" fmla="*/ 87 w 101"/>
                <a:gd name="T19" fmla="*/ 43 h 50"/>
                <a:gd name="T20" fmla="*/ 67 w 101"/>
                <a:gd name="T21" fmla="*/ 50 h 50"/>
                <a:gd name="T22" fmla="*/ 55 w 101"/>
                <a:gd name="T23" fmla="*/ 50 h 50"/>
                <a:gd name="T24" fmla="*/ 40 w 101"/>
                <a:gd name="T25" fmla="*/ 46 h 50"/>
                <a:gd name="T26" fmla="*/ 34 w 101"/>
                <a:gd name="T27" fmla="*/ 38 h 50"/>
                <a:gd name="T28" fmla="*/ 12 w 101"/>
                <a:gd name="T29" fmla="*/ 43 h 50"/>
                <a:gd name="T30" fmla="*/ 3 w 101"/>
                <a:gd name="T31" fmla="*/ 40 h 50"/>
                <a:gd name="T32" fmla="*/ 1 w 101"/>
                <a:gd name="T33" fmla="*/ 40 h 50"/>
                <a:gd name="T34" fmla="*/ 0 w 101"/>
                <a:gd name="T35" fmla="*/ 31 h 50"/>
                <a:gd name="T36" fmla="*/ 0 w 101"/>
                <a:gd name="T37" fmla="*/ 29 h 50"/>
                <a:gd name="T38" fmla="*/ 4 w 101"/>
                <a:gd name="T39" fmla="*/ 28 h 50"/>
                <a:gd name="T40" fmla="*/ 10 w 101"/>
                <a:gd name="T41" fmla="*/ 32 h 50"/>
                <a:gd name="T42" fmla="*/ 13 w 101"/>
                <a:gd name="T43" fmla="*/ 28 h 50"/>
                <a:gd name="T44" fmla="*/ 15 w 101"/>
                <a:gd name="T45" fmla="*/ 28 h 50"/>
                <a:gd name="T46" fmla="*/ 22 w 101"/>
                <a:gd name="T47" fmla="*/ 31 h 50"/>
                <a:gd name="T48" fmla="*/ 37 w 101"/>
                <a:gd name="T49" fmla="*/ 25 h 50"/>
                <a:gd name="T50" fmla="*/ 43 w 101"/>
                <a:gd name="T51" fmla="*/ 28 h 50"/>
                <a:gd name="T52" fmla="*/ 46 w 101"/>
                <a:gd name="T53" fmla="*/ 26 h 50"/>
                <a:gd name="T54" fmla="*/ 44 w 101"/>
                <a:gd name="T55" fmla="*/ 16 h 50"/>
                <a:gd name="T56" fmla="*/ 44 w 101"/>
                <a:gd name="T57" fmla="*/ 15 h 50"/>
                <a:gd name="T58" fmla="*/ 56 w 101"/>
                <a:gd name="T59" fmla="*/ 6 h 50"/>
                <a:gd name="T60" fmla="*/ 59 w 101"/>
                <a:gd name="T61" fmla="*/ 6 h 50"/>
                <a:gd name="T62" fmla="*/ 64 w 101"/>
                <a:gd name="T63" fmla="*/ 7 h 50"/>
                <a:gd name="T64" fmla="*/ 67 w 101"/>
                <a:gd name="T65" fmla="*/ 7 h 50"/>
                <a:gd name="T66" fmla="*/ 72 w 101"/>
                <a:gd name="T6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50">
                  <a:moveTo>
                    <a:pt x="72" y="0"/>
                  </a:moveTo>
                  <a:lnTo>
                    <a:pt x="74" y="0"/>
                  </a:lnTo>
                  <a:lnTo>
                    <a:pt x="95" y="4"/>
                  </a:lnTo>
                  <a:lnTo>
                    <a:pt x="101" y="19"/>
                  </a:lnTo>
                  <a:lnTo>
                    <a:pt x="99" y="25"/>
                  </a:lnTo>
                  <a:lnTo>
                    <a:pt x="99" y="26"/>
                  </a:lnTo>
                  <a:lnTo>
                    <a:pt x="93" y="26"/>
                  </a:lnTo>
                  <a:lnTo>
                    <a:pt x="92" y="38"/>
                  </a:lnTo>
                  <a:lnTo>
                    <a:pt x="92" y="40"/>
                  </a:lnTo>
                  <a:lnTo>
                    <a:pt x="87" y="43"/>
                  </a:lnTo>
                  <a:lnTo>
                    <a:pt x="67" y="50"/>
                  </a:lnTo>
                  <a:lnTo>
                    <a:pt x="55" y="50"/>
                  </a:lnTo>
                  <a:lnTo>
                    <a:pt x="40" y="46"/>
                  </a:lnTo>
                  <a:lnTo>
                    <a:pt x="34" y="38"/>
                  </a:lnTo>
                  <a:lnTo>
                    <a:pt x="12" y="43"/>
                  </a:lnTo>
                  <a:lnTo>
                    <a:pt x="3" y="40"/>
                  </a:lnTo>
                  <a:lnTo>
                    <a:pt x="1" y="40"/>
                  </a:lnTo>
                  <a:lnTo>
                    <a:pt x="0" y="31"/>
                  </a:lnTo>
                  <a:lnTo>
                    <a:pt x="0" y="29"/>
                  </a:lnTo>
                  <a:lnTo>
                    <a:pt x="4" y="28"/>
                  </a:lnTo>
                  <a:lnTo>
                    <a:pt x="10" y="32"/>
                  </a:lnTo>
                  <a:lnTo>
                    <a:pt x="13" y="28"/>
                  </a:lnTo>
                  <a:lnTo>
                    <a:pt x="15" y="28"/>
                  </a:lnTo>
                  <a:lnTo>
                    <a:pt x="22" y="31"/>
                  </a:lnTo>
                  <a:lnTo>
                    <a:pt x="37" y="25"/>
                  </a:lnTo>
                  <a:lnTo>
                    <a:pt x="43" y="28"/>
                  </a:lnTo>
                  <a:lnTo>
                    <a:pt x="46" y="26"/>
                  </a:lnTo>
                  <a:lnTo>
                    <a:pt x="44" y="16"/>
                  </a:lnTo>
                  <a:lnTo>
                    <a:pt x="44" y="15"/>
                  </a:lnTo>
                  <a:lnTo>
                    <a:pt x="56" y="6"/>
                  </a:lnTo>
                  <a:lnTo>
                    <a:pt x="59" y="6"/>
                  </a:lnTo>
                  <a:lnTo>
                    <a:pt x="64" y="7"/>
                  </a:lnTo>
                  <a:lnTo>
                    <a:pt x="67" y="7"/>
                  </a:lnTo>
                  <a:lnTo>
                    <a:pt x="7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6" name="Belgium">
              <a:extLst>
                <a:ext uri="{FF2B5EF4-FFF2-40B4-BE49-F238E27FC236}">
                  <a16:creationId xmlns:a16="http://schemas.microsoft.com/office/drawing/2014/main" id="{6F12657E-4207-7829-2FA6-D82A06A49B6C}"/>
                </a:ext>
              </a:extLst>
            </p:cNvPr>
            <p:cNvSpPr>
              <a:spLocks/>
            </p:cNvSpPr>
            <p:nvPr/>
          </p:nvSpPr>
          <p:spPr bwMode="auto">
            <a:xfrm>
              <a:off x="5890898" y="3174285"/>
              <a:ext cx="83124" cy="66862"/>
            </a:xfrm>
            <a:custGeom>
              <a:avLst/>
              <a:gdLst>
                <a:gd name="T0" fmla="*/ 9 w 46"/>
                <a:gd name="T1" fmla="*/ 0 h 37"/>
                <a:gd name="T2" fmla="*/ 11 w 46"/>
                <a:gd name="T3" fmla="*/ 0 h 37"/>
                <a:gd name="T4" fmla="*/ 15 w 46"/>
                <a:gd name="T5" fmla="*/ 3 h 37"/>
                <a:gd name="T6" fmla="*/ 18 w 46"/>
                <a:gd name="T7" fmla="*/ 3 h 37"/>
                <a:gd name="T8" fmla="*/ 21 w 46"/>
                <a:gd name="T9" fmla="*/ 2 h 37"/>
                <a:gd name="T10" fmla="*/ 26 w 46"/>
                <a:gd name="T11" fmla="*/ 2 h 37"/>
                <a:gd name="T12" fmla="*/ 29 w 46"/>
                <a:gd name="T13" fmla="*/ 0 h 37"/>
                <a:gd name="T14" fmla="*/ 32 w 46"/>
                <a:gd name="T15" fmla="*/ 0 h 37"/>
                <a:gd name="T16" fmla="*/ 37 w 46"/>
                <a:gd name="T17" fmla="*/ 5 h 37"/>
                <a:gd name="T18" fmla="*/ 39 w 46"/>
                <a:gd name="T19" fmla="*/ 5 h 37"/>
                <a:gd name="T20" fmla="*/ 39 w 46"/>
                <a:gd name="T21" fmla="*/ 12 h 37"/>
                <a:gd name="T22" fmla="*/ 43 w 46"/>
                <a:gd name="T23" fmla="*/ 14 h 37"/>
                <a:gd name="T24" fmla="*/ 46 w 46"/>
                <a:gd name="T25" fmla="*/ 20 h 37"/>
                <a:gd name="T26" fmla="*/ 45 w 46"/>
                <a:gd name="T27" fmla="*/ 25 h 37"/>
                <a:gd name="T28" fmla="*/ 39 w 46"/>
                <a:gd name="T29" fmla="*/ 31 h 37"/>
                <a:gd name="T30" fmla="*/ 40 w 46"/>
                <a:gd name="T31" fmla="*/ 37 h 37"/>
                <a:gd name="T32" fmla="*/ 39 w 46"/>
                <a:gd name="T33" fmla="*/ 37 h 37"/>
                <a:gd name="T34" fmla="*/ 30 w 46"/>
                <a:gd name="T35" fmla="*/ 34 h 37"/>
                <a:gd name="T36" fmla="*/ 29 w 46"/>
                <a:gd name="T37" fmla="*/ 34 h 37"/>
                <a:gd name="T38" fmla="*/ 29 w 46"/>
                <a:gd name="T39" fmla="*/ 27 h 37"/>
                <a:gd name="T40" fmla="*/ 27 w 46"/>
                <a:gd name="T41" fmla="*/ 27 h 37"/>
                <a:gd name="T42" fmla="*/ 26 w 46"/>
                <a:gd name="T43" fmla="*/ 28 h 37"/>
                <a:gd name="T44" fmla="*/ 23 w 46"/>
                <a:gd name="T45" fmla="*/ 28 h 37"/>
                <a:gd name="T46" fmla="*/ 21 w 46"/>
                <a:gd name="T47" fmla="*/ 30 h 37"/>
                <a:gd name="T48" fmla="*/ 20 w 46"/>
                <a:gd name="T49" fmla="*/ 30 h 37"/>
                <a:gd name="T50" fmla="*/ 20 w 46"/>
                <a:gd name="T51" fmla="*/ 28 h 37"/>
                <a:gd name="T52" fmla="*/ 17 w 46"/>
                <a:gd name="T53" fmla="*/ 22 h 37"/>
                <a:gd name="T54" fmla="*/ 2 w 46"/>
                <a:gd name="T55" fmla="*/ 12 h 37"/>
                <a:gd name="T56" fmla="*/ 0 w 46"/>
                <a:gd name="T57" fmla="*/ 12 h 37"/>
                <a:gd name="T58" fmla="*/ 0 w 46"/>
                <a:gd name="T59" fmla="*/ 6 h 37"/>
                <a:gd name="T60" fmla="*/ 2 w 46"/>
                <a:gd name="T61" fmla="*/ 6 h 37"/>
                <a:gd name="T62" fmla="*/ 9 w 46"/>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7">
                  <a:moveTo>
                    <a:pt x="9" y="0"/>
                  </a:moveTo>
                  <a:lnTo>
                    <a:pt x="11" y="0"/>
                  </a:lnTo>
                  <a:lnTo>
                    <a:pt x="15" y="3"/>
                  </a:lnTo>
                  <a:lnTo>
                    <a:pt x="18" y="3"/>
                  </a:lnTo>
                  <a:lnTo>
                    <a:pt x="21" y="2"/>
                  </a:lnTo>
                  <a:lnTo>
                    <a:pt x="26" y="2"/>
                  </a:lnTo>
                  <a:lnTo>
                    <a:pt x="29" y="0"/>
                  </a:lnTo>
                  <a:lnTo>
                    <a:pt x="32" y="0"/>
                  </a:lnTo>
                  <a:lnTo>
                    <a:pt x="37" y="5"/>
                  </a:lnTo>
                  <a:lnTo>
                    <a:pt x="39" y="5"/>
                  </a:lnTo>
                  <a:lnTo>
                    <a:pt x="39" y="12"/>
                  </a:lnTo>
                  <a:lnTo>
                    <a:pt x="43" y="14"/>
                  </a:lnTo>
                  <a:lnTo>
                    <a:pt x="46" y="20"/>
                  </a:lnTo>
                  <a:lnTo>
                    <a:pt x="45" y="25"/>
                  </a:lnTo>
                  <a:lnTo>
                    <a:pt x="39" y="31"/>
                  </a:lnTo>
                  <a:lnTo>
                    <a:pt x="40" y="37"/>
                  </a:lnTo>
                  <a:lnTo>
                    <a:pt x="39" y="37"/>
                  </a:lnTo>
                  <a:lnTo>
                    <a:pt x="30" y="34"/>
                  </a:lnTo>
                  <a:lnTo>
                    <a:pt x="29" y="34"/>
                  </a:lnTo>
                  <a:lnTo>
                    <a:pt x="29" y="27"/>
                  </a:lnTo>
                  <a:lnTo>
                    <a:pt x="27" y="27"/>
                  </a:lnTo>
                  <a:lnTo>
                    <a:pt x="26" y="28"/>
                  </a:lnTo>
                  <a:lnTo>
                    <a:pt x="23" y="28"/>
                  </a:lnTo>
                  <a:lnTo>
                    <a:pt x="21" y="30"/>
                  </a:lnTo>
                  <a:lnTo>
                    <a:pt x="20" y="30"/>
                  </a:lnTo>
                  <a:lnTo>
                    <a:pt x="20" y="28"/>
                  </a:lnTo>
                  <a:lnTo>
                    <a:pt x="17" y="22"/>
                  </a:lnTo>
                  <a:lnTo>
                    <a:pt x="2" y="12"/>
                  </a:lnTo>
                  <a:lnTo>
                    <a:pt x="0" y="12"/>
                  </a:lnTo>
                  <a:lnTo>
                    <a:pt x="0" y="6"/>
                  </a:lnTo>
                  <a:lnTo>
                    <a:pt x="2" y="6"/>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7" name="Poland">
              <a:extLst>
                <a:ext uri="{FF2B5EF4-FFF2-40B4-BE49-F238E27FC236}">
                  <a16:creationId xmlns:a16="http://schemas.microsoft.com/office/drawing/2014/main" id="{F65D46F4-7F22-52B5-BC73-8BA7D86E60B8}"/>
                </a:ext>
              </a:extLst>
            </p:cNvPr>
            <p:cNvSpPr>
              <a:spLocks/>
            </p:cNvSpPr>
            <p:nvPr/>
          </p:nvSpPr>
          <p:spPr bwMode="auto">
            <a:xfrm>
              <a:off x="6160151" y="3038754"/>
              <a:ext cx="234918" cy="222269"/>
            </a:xfrm>
            <a:custGeom>
              <a:avLst/>
              <a:gdLst>
                <a:gd name="T0" fmla="*/ 51 w 130"/>
                <a:gd name="T1" fmla="*/ 0 h 123"/>
                <a:gd name="T2" fmla="*/ 59 w 130"/>
                <a:gd name="T3" fmla="*/ 0 h 123"/>
                <a:gd name="T4" fmla="*/ 59 w 130"/>
                <a:gd name="T5" fmla="*/ 1 h 123"/>
                <a:gd name="T6" fmla="*/ 60 w 130"/>
                <a:gd name="T7" fmla="*/ 4 h 123"/>
                <a:gd name="T8" fmla="*/ 60 w 130"/>
                <a:gd name="T9" fmla="*/ 6 h 123"/>
                <a:gd name="T10" fmla="*/ 57 w 130"/>
                <a:gd name="T11" fmla="*/ 4 h 123"/>
                <a:gd name="T12" fmla="*/ 60 w 130"/>
                <a:gd name="T13" fmla="*/ 11 h 123"/>
                <a:gd name="T14" fmla="*/ 71 w 130"/>
                <a:gd name="T15" fmla="*/ 9 h 123"/>
                <a:gd name="T16" fmla="*/ 89 w 130"/>
                <a:gd name="T17" fmla="*/ 10 h 123"/>
                <a:gd name="T18" fmla="*/ 114 w 130"/>
                <a:gd name="T19" fmla="*/ 10 h 123"/>
                <a:gd name="T20" fmla="*/ 123 w 130"/>
                <a:gd name="T21" fmla="*/ 17 h 123"/>
                <a:gd name="T22" fmla="*/ 124 w 130"/>
                <a:gd name="T23" fmla="*/ 20 h 123"/>
                <a:gd name="T24" fmla="*/ 127 w 130"/>
                <a:gd name="T25" fmla="*/ 47 h 123"/>
                <a:gd name="T26" fmla="*/ 120 w 130"/>
                <a:gd name="T27" fmla="*/ 56 h 123"/>
                <a:gd name="T28" fmla="*/ 123 w 130"/>
                <a:gd name="T29" fmla="*/ 62 h 123"/>
                <a:gd name="T30" fmla="*/ 123 w 130"/>
                <a:gd name="T31" fmla="*/ 71 h 123"/>
                <a:gd name="T32" fmla="*/ 130 w 130"/>
                <a:gd name="T33" fmla="*/ 90 h 123"/>
                <a:gd name="T34" fmla="*/ 130 w 130"/>
                <a:gd name="T35" fmla="*/ 92 h 123"/>
                <a:gd name="T36" fmla="*/ 117 w 130"/>
                <a:gd name="T37" fmla="*/ 106 h 123"/>
                <a:gd name="T38" fmla="*/ 112 w 130"/>
                <a:gd name="T39" fmla="*/ 115 h 123"/>
                <a:gd name="T40" fmla="*/ 112 w 130"/>
                <a:gd name="T41" fmla="*/ 123 h 123"/>
                <a:gd name="T42" fmla="*/ 108 w 130"/>
                <a:gd name="T43" fmla="*/ 123 h 123"/>
                <a:gd name="T44" fmla="*/ 94 w 130"/>
                <a:gd name="T45" fmla="*/ 115 h 123"/>
                <a:gd name="T46" fmla="*/ 93 w 130"/>
                <a:gd name="T47" fmla="*/ 115 h 123"/>
                <a:gd name="T48" fmla="*/ 90 w 130"/>
                <a:gd name="T49" fmla="*/ 117 h 123"/>
                <a:gd name="T50" fmla="*/ 87 w 130"/>
                <a:gd name="T51" fmla="*/ 117 h 123"/>
                <a:gd name="T52" fmla="*/ 83 w 130"/>
                <a:gd name="T53" fmla="*/ 118 h 123"/>
                <a:gd name="T54" fmla="*/ 80 w 130"/>
                <a:gd name="T55" fmla="*/ 118 h 123"/>
                <a:gd name="T56" fmla="*/ 77 w 130"/>
                <a:gd name="T57" fmla="*/ 120 h 123"/>
                <a:gd name="T58" fmla="*/ 75 w 130"/>
                <a:gd name="T59" fmla="*/ 120 h 123"/>
                <a:gd name="T60" fmla="*/ 69 w 130"/>
                <a:gd name="T61" fmla="*/ 114 h 123"/>
                <a:gd name="T62" fmla="*/ 63 w 130"/>
                <a:gd name="T63" fmla="*/ 115 h 123"/>
                <a:gd name="T64" fmla="*/ 56 w 130"/>
                <a:gd name="T65" fmla="*/ 111 h 123"/>
                <a:gd name="T66" fmla="*/ 46 w 130"/>
                <a:gd name="T67" fmla="*/ 103 h 123"/>
                <a:gd name="T68" fmla="*/ 46 w 130"/>
                <a:gd name="T69" fmla="*/ 97 h 123"/>
                <a:gd name="T70" fmla="*/ 37 w 130"/>
                <a:gd name="T71" fmla="*/ 96 h 123"/>
                <a:gd name="T72" fmla="*/ 34 w 130"/>
                <a:gd name="T73" fmla="*/ 100 h 123"/>
                <a:gd name="T74" fmla="*/ 22 w 130"/>
                <a:gd name="T75" fmla="*/ 89 h 123"/>
                <a:gd name="T76" fmla="*/ 13 w 130"/>
                <a:gd name="T77" fmla="*/ 84 h 123"/>
                <a:gd name="T78" fmla="*/ 7 w 130"/>
                <a:gd name="T79" fmla="*/ 87 h 123"/>
                <a:gd name="T80" fmla="*/ 7 w 130"/>
                <a:gd name="T81" fmla="*/ 86 h 123"/>
                <a:gd name="T82" fmla="*/ 8 w 130"/>
                <a:gd name="T83" fmla="*/ 75 h 123"/>
                <a:gd name="T84" fmla="*/ 6 w 130"/>
                <a:gd name="T85" fmla="*/ 71 h 123"/>
                <a:gd name="T86" fmla="*/ 3 w 130"/>
                <a:gd name="T87" fmla="*/ 47 h 123"/>
                <a:gd name="T88" fmla="*/ 0 w 130"/>
                <a:gd name="T89" fmla="*/ 46 h 123"/>
                <a:gd name="T90" fmla="*/ 0 w 130"/>
                <a:gd name="T91" fmla="*/ 44 h 123"/>
                <a:gd name="T92" fmla="*/ 1 w 130"/>
                <a:gd name="T93" fmla="*/ 34 h 123"/>
                <a:gd name="T94" fmla="*/ 0 w 130"/>
                <a:gd name="T95" fmla="*/ 25 h 123"/>
                <a:gd name="T96" fmla="*/ 0 w 130"/>
                <a:gd name="T97" fmla="*/ 23 h 123"/>
                <a:gd name="T98" fmla="*/ 4 w 130"/>
                <a:gd name="T99" fmla="*/ 25 h 123"/>
                <a:gd name="T100" fmla="*/ 4 w 130"/>
                <a:gd name="T101" fmla="*/ 23 h 123"/>
                <a:gd name="T102" fmla="*/ 1 w 130"/>
                <a:gd name="T103" fmla="*/ 23 h 123"/>
                <a:gd name="T104" fmla="*/ 1 w 130"/>
                <a:gd name="T105" fmla="*/ 22 h 123"/>
                <a:gd name="T106" fmla="*/ 3 w 130"/>
                <a:gd name="T107" fmla="*/ 19 h 123"/>
                <a:gd name="T108" fmla="*/ 40 w 130"/>
                <a:gd name="T109" fmla="*/ 1 h 123"/>
                <a:gd name="T110" fmla="*/ 47 w 130"/>
                <a:gd name="T111" fmla="*/ 1 h 123"/>
                <a:gd name="T112" fmla="*/ 51 w 130"/>
                <a:gd name="T11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23">
                  <a:moveTo>
                    <a:pt x="51" y="0"/>
                  </a:moveTo>
                  <a:lnTo>
                    <a:pt x="59" y="0"/>
                  </a:lnTo>
                  <a:lnTo>
                    <a:pt x="59" y="1"/>
                  </a:lnTo>
                  <a:lnTo>
                    <a:pt x="60" y="4"/>
                  </a:lnTo>
                  <a:lnTo>
                    <a:pt x="60" y="6"/>
                  </a:lnTo>
                  <a:lnTo>
                    <a:pt x="57" y="4"/>
                  </a:lnTo>
                  <a:lnTo>
                    <a:pt x="60" y="11"/>
                  </a:lnTo>
                  <a:lnTo>
                    <a:pt x="71" y="9"/>
                  </a:lnTo>
                  <a:lnTo>
                    <a:pt x="89" y="10"/>
                  </a:lnTo>
                  <a:lnTo>
                    <a:pt x="114" y="10"/>
                  </a:lnTo>
                  <a:lnTo>
                    <a:pt x="123" y="17"/>
                  </a:lnTo>
                  <a:lnTo>
                    <a:pt x="124" y="20"/>
                  </a:lnTo>
                  <a:lnTo>
                    <a:pt x="127" y="47"/>
                  </a:lnTo>
                  <a:lnTo>
                    <a:pt x="120" y="56"/>
                  </a:lnTo>
                  <a:lnTo>
                    <a:pt x="123" y="62"/>
                  </a:lnTo>
                  <a:lnTo>
                    <a:pt x="123" y="71"/>
                  </a:lnTo>
                  <a:lnTo>
                    <a:pt x="130" y="90"/>
                  </a:lnTo>
                  <a:lnTo>
                    <a:pt x="130" y="92"/>
                  </a:lnTo>
                  <a:lnTo>
                    <a:pt x="117" y="106"/>
                  </a:lnTo>
                  <a:lnTo>
                    <a:pt x="112" y="115"/>
                  </a:lnTo>
                  <a:lnTo>
                    <a:pt x="112" y="123"/>
                  </a:lnTo>
                  <a:lnTo>
                    <a:pt x="108" y="123"/>
                  </a:lnTo>
                  <a:lnTo>
                    <a:pt x="94" y="115"/>
                  </a:lnTo>
                  <a:lnTo>
                    <a:pt x="93" y="115"/>
                  </a:lnTo>
                  <a:lnTo>
                    <a:pt x="90" y="117"/>
                  </a:lnTo>
                  <a:lnTo>
                    <a:pt x="87" y="117"/>
                  </a:lnTo>
                  <a:lnTo>
                    <a:pt x="83" y="118"/>
                  </a:lnTo>
                  <a:lnTo>
                    <a:pt x="80" y="118"/>
                  </a:lnTo>
                  <a:lnTo>
                    <a:pt x="77" y="120"/>
                  </a:lnTo>
                  <a:lnTo>
                    <a:pt x="75" y="120"/>
                  </a:lnTo>
                  <a:lnTo>
                    <a:pt x="69" y="114"/>
                  </a:lnTo>
                  <a:lnTo>
                    <a:pt x="63" y="115"/>
                  </a:lnTo>
                  <a:lnTo>
                    <a:pt x="56" y="111"/>
                  </a:lnTo>
                  <a:lnTo>
                    <a:pt x="46" y="103"/>
                  </a:lnTo>
                  <a:lnTo>
                    <a:pt x="46" y="97"/>
                  </a:lnTo>
                  <a:lnTo>
                    <a:pt x="37" y="96"/>
                  </a:lnTo>
                  <a:lnTo>
                    <a:pt x="34" y="100"/>
                  </a:lnTo>
                  <a:lnTo>
                    <a:pt x="22" y="89"/>
                  </a:lnTo>
                  <a:lnTo>
                    <a:pt x="13" y="84"/>
                  </a:lnTo>
                  <a:lnTo>
                    <a:pt x="7" y="87"/>
                  </a:lnTo>
                  <a:lnTo>
                    <a:pt x="7" y="86"/>
                  </a:lnTo>
                  <a:lnTo>
                    <a:pt x="8" y="75"/>
                  </a:lnTo>
                  <a:lnTo>
                    <a:pt x="6" y="71"/>
                  </a:lnTo>
                  <a:lnTo>
                    <a:pt x="3" y="47"/>
                  </a:lnTo>
                  <a:lnTo>
                    <a:pt x="0" y="46"/>
                  </a:lnTo>
                  <a:lnTo>
                    <a:pt x="0" y="44"/>
                  </a:lnTo>
                  <a:lnTo>
                    <a:pt x="1" y="34"/>
                  </a:lnTo>
                  <a:lnTo>
                    <a:pt x="0" y="25"/>
                  </a:lnTo>
                  <a:lnTo>
                    <a:pt x="0" y="23"/>
                  </a:lnTo>
                  <a:lnTo>
                    <a:pt x="4" y="25"/>
                  </a:lnTo>
                  <a:lnTo>
                    <a:pt x="4" y="23"/>
                  </a:lnTo>
                  <a:lnTo>
                    <a:pt x="1" y="23"/>
                  </a:lnTo>
                  <a:lnTo>
                    <a:pt x="1" y="22"/>
                  </a:lnTo>
                  <a:lnTo>
                    <a:pt x="3" y="19"/>
                  </a:lnTo>
                  <a:lnTo>
                    <a:pt x="40" y="1"/>
                  </a:lnTo>
                  <a:lnTo>
                    <a:pt x="47" y="1"/>
                  </a:lnTo>
                  <a:lnTo>
                    <a:pt x="5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8" name="Sardinia (Italy)">
              <a:extLst>
                <a:ext uri="{FF2B5EF4-FFF2-40B4-BE49-F238E27FC236}">
                  <a16:creationId xmlns:a16="http://schemas.microsoft.com/office/drawing/2014/main" id="{09F43F3F-CB12-BFE0-5AE6-5B9998E9BACA}"/>
                </a:ext>
              </a:extLst>
            </p:cNvPr>
            <p:cNvSpPr>
              <a:spLocks/>
            </p:cNvSpPr>
            <p:nvPr/>
          </p:nvSpPr>
          <p:spPr bwMode="auto">
            <a:xfrm>
              <a:off x="6021007" y="3517627"/>
              <a:ext cx="34334" cy="77705"/>
            </a:xfrm>
            <a:custGeom>
              <a:avLst/>
              <a:gdLst>
                <a:gd name="T0" fmla="*/ 11 w 19"/>
                <a:gd name="T1" fmla="*/ 0 h 43"/>
                <a:gd name="T2" fmla="*/ 13 w 19"/>
                <a:gd name="T3" fmla="*/ 0 h 43"/>
                <a:gd name="T4" fmla="*/ 17 w 19"/>
                <a:gd name="T5" fmla="*/ 3 h 43"/>
                <a:gd name="T6" fmla="*/ 19 w 19"/>
                <a:gd name="T7" fmla="*/ 10 h 43"/>
                <a:gd name="T8" fmla="*/ 19 w 19"/>
                <a:gd name="T9" fmla="*/ 34 h 43"/>
                <a:gd name="T10" fmla="*/ 17 w 19"/>
                <a:gd name="T11" fmla="*/ 37 h 43"/>
                <a:gd name="T12" fmla="*/ 17 w 19"/>
                <a:gd name="T13" fmla="*/ 39 h 43"/>
                <a:gd name="T14" fmla="*/ 16 w 19"/>
                <a:gd name="T15" fmla="*/ 39 h 43"/>
                <a:gd name="T16" fmla="*/ 14 w 19"/>
                <a:gd name="T17" fmla="*/ 37 h 43"/>
                <a:gd name="T18" fmla="*/ 13 w 19"/>
                <a:gd name="T19" fmla="*/ 37 h 43"/>
                <a:gd name="T20" fmla="*/ 8 w 19"/>
                <a:gd name="T21" fmla="*/ 43 h 43"/>
                <a:gd name="T22" fmla="*/ 7 w 19"/>
                <a:gd name="T23" fmla="*/ 43 h 43"/>
                <a:gd name="T24" fmla="*/ 2 w 19"/>
                <a:gd name="T25" fmla="*/ 36 h 43"/>
                <a:gd name="T26" fmla="*/ 2 w 19"/>
                <a:gd name="T27" fmla="*/ 25 h 43"/>
                <a:gd name="T28" fmla="*/ 0 w 19"/>
                <a:gd name="T29" fmla="*/ 7 h 43"/>
                <a:gd name="T30" fmla="*/ 0 w 19"/>
                <a:gd name="T31" fmla="*/ 6 h 43"/>
                <a:gd name="T32" fmla="*/ 4 w 19"/>
                <a:gd name="T33" fmla="*/ 7 h 43"/>
                <a:gd name="T34" fmla="*/ 11 w 19"/>
                <a:gd name="T3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43">
                  <a:moveTo>
                    <a:pt x="11" y="0"/>
                  </a:moveTo>
                  <a:lnTo>
                    <a:pt x="13" y="0"/>
                  </a:lnTo>
                  <a:lnTo>
                    <a:pt x="17" y="3"/>
                  </a:lnTo>
                  <a:lnTo>
                    <a:pt x="19" y="10"/>
                  </a:lnTo>
                  <a:lnTo>
                    <a:pt x="19" y="34"/>
                  </a:lnTo>
                  <a:lnTo>
                    <a:pt x="17" y="37"/>
                  </a:lnTo>
                  <a:lnTo>
                    <a:pt x="17" y="39"/>
                  </a:lnTo>
                  <a:lnTo>
                    <a:pt x="16" y="39"/>
                  </a:lnTo>
                  <a:lnTo>
                    <a:pt x="14" y="37"/>
                  </a:lnTo>
                  <a:lnTo>
                    <a:pt x="13" y="37"/>
                  </a:lnTo>
                  <a:lnTo>
                    <a:pt x="8" y="43"/>
                  </a:lnTo>
                  <a:lnTo>
                    <a:pt x="7" y="43"/>
                  </a:lnTo>
                  <a:lnTo>
                    <a:pt x="2" y="36"/>
                  </a:lnTo>
                  <a:lnTo>
                    <a:pt x="2" y="25"/>
                  </a:lnTo>
                  <a:lnTo>
                    <a:pt x="0" y="7"/>
                  </a:lnTo>
                  <a:lnTo>
                    <a:pt x="0" y="6"/>
                  </a:lnTo>
                  <a:lnTo>
                    <a:pt x="4" y="7"/>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9" name="Sicily (Italy)">
              <a:extLst>
                <a:ext uri="{FF2B5EF4-FFF2-40B4-BE49-F238E27FC236}">
                  <a16:creationId xmlns:a16="http://schemas.microsoft.com/office/drawing/2014/main" id="{87A5D737-006F-F82B-D4F2-F525CD2E305B}"/>
                </a:ext>
              </a:extLst>
            </p:cNvPr>
            <p:cNvSpPr>
              <a:spLocks/>
            </p:cNvSpPr>
            <p:nvPr/>
          </p:nvSpPr>
          <p:spPr bwMode="auto">
            <a:xfrm>
              <a:off x="6122202" y="3611594"/>
              <a:ext cx="74090" cy="48791"/>
            </a:xfrm>
            <a:custGeom>
              <a:avLst/>
              <a:gdLst>
                <a:gd name="T0" fmla="*/ 7 w 41"/>
                <a:gd name="T1" fmla="*/ 0 h 27"/>
                <a:gd name="T2" fmla="*/ 16 w 41"/>
                <a:gd name="T3" fmla="*/ 4 h 27"/>
                <a:gd name="T4" fmla="*/ 21 w 41"/>
                <a:gd name="T5" fmla="*/ 4 h 27"/>
                <a:gd name="T6" fmla="*/ 28 w 41"/>
                <a:gd name="T7" fmla="*/ 1 h 27"/>
                <a:gd name="T8" fmla="*/ 37 w 41"/>
                <a:gd name="T9" fmla="*/ 0 h 27"/>
                <a:gd name="T10" fmla="*/ 41 w 41"/>
                <a:gd name="T11" fmla="*/ 0 h 27"/>
                <a:gd name="T12" fmla="*/ 41 w 41"/>
                <a:gd name="T13" fmla="*/ 1 h 27"/>
                <a:gd name="T14" fmla="*/ 34 w 41"/>
                <a:gd name="T15" fmla="*/ 15 h 27"/>
                <a:gd name="T16" fmla="*/ 35 w 41"/>
                <a:gd name="T17" fmla="*/ 21 h 27"/>
                <a:gd name="T18" fmla="*/ 34 w 41"/>
                <a:gd name="T19" fmla="*/ 25 h 27"/>
                <a:gd name="T20" fmla="*/ 34 w 41"/>
                <a:gd name="T21" fmla="*/ 27 h 27"/>
                <a:gd name="T22" fmla="*/ 28 w 41"/>
                <a:gd name="T23" fmla="*/ 27 h 27"/>
                <a:gd name="T24" fmla="*/ 24 w 41"/>
                <a:gd name="T25" fmla="*/ 22 h 27"/>
                <a:gd name="T26" fmla="*/ 1 w 41"/>
                <a:gd name="T27" fmla="*/ 12 h 27"/>
                <a:gd name="T28" fmla="*/ 0 w 41"/>
                <a:gd name="T29" fmla="*/ 6 h 27"/>
                <a:gd name="T30" fmla="*/ 1 w 41"/>
                <a:gd name="T31" fmla="*/ 1 h 27"/>
                <a:gd name="T32" fmla="*/ 7 w 41"/>
                <a:gd name="T3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27">
                  <a:moveTo>
                    <a:pt x="7" y="0"/>
                  </a:moveTo>
                  <a:lnTo>
                    <a:pt x="16" y="4"/>
                  </a:lnTo>
                  <a:lnTo>
                    <a:pt x="21" y="4"/>
                  </a:lnTo>
                  <a:lnTo>
                    <a:pt x="28" y="1"/>
                  </a:lnTo>
                  <a:lnTo>
                    <a:pt x="37" y="0"/>
                  </a:lnTo>
                  <a:lnTo>
                    <a:pt x="41" y="0"/>
                  </a:lnTo>
                  <a:lnTo>
                    <a:pt x="41" y="1"/>
                  </a:lnTo>
                  <a:lnTo>
                    <a:pt x="34" y="15"/>
                  </a:lnTo>
                  <a:lnTo>
                    <a:pt x="35" y="21"/>
                  </a:lnTo>
                  <a:lnTo>
                    <a:pt x="34" y="25"/>
                  </a:lnTo>
                  <a:lnTo>
                    <a:pt x="34" y="27"/>
                  </a:lnTo>
                  <a:lnTo>
                    <a:pt x="28" y="27"/>
                  </a:lnTo>
                  <a:lnTo>
                    <a:pt x="24" y="22"/>
                  </a:lnTo>
                  <a:lnTo>
                    <a:pt x="1" y="12"/>
                  </a:lnTo>
                  <a:lnTo>
                    <a:pt x="0" y="6"/>
                  </a:lnTo>
                  <a:lnTo>
                    <a:pt x="1" y="1"/>
                  </a:lnTo>
                  <a:lnTo>
                    <a:pt x="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0" name="Italy">
              <a:extLst>
                <a:ext uri="{FF2B5EF4-FFF2-40B4-BE49-F238E27FC236}">
                  <a16:creationId xmlns:a16="http://schemas.microsoft.com/office/drawing/2014/main" id="{68724D84-4974-6F98-69D3-415683C6772A}"/>
                </a:ext>
              </a:extLst>
            </p:cNvPr>
            <p:cNvSpPr>
              <a:spLocks/>
            </p:cNvSpPr>
            <p:nvPr/>
          </p:nvSpPr>
          <p:spPr bwMode="auto">
            <a:xfrm>
              <a:off x="5984866" y="3327884"/>
              <a:ext cx="278288" cy="294552"/>
            </a:xfrm>
            <a:custGeom>
              <a:avLst/>
              <a:gdLst>
                <a:gd name="T0" fmla="*/ 71 w 154"/>
                <a:gd name="T1" fmla="*/ 0 h 163"/>
                <a:gd name="T2" fmla="*/ 76 w 154"/>
                <a:gd name="T3" fmla="*/ 9 h 163"/>
                <a:gd name="T4" fmla="*/ 92 w 154"/>
                <a:gd name="T5" fmla="*/ 12 h 163"/>
                <a:gd name="T6" fmla="*/ 91 w 154"/>
                <a:gd name="T7" fmla="*/ 13 h 163"/>
                <a:gd name="T8" fmla="*/ 91 w 154"/>
                <a:gd name="T9" fmla="*/ 16 h 163"/>
                <a:gd name="T10" fmla="*/ 95 w 154"/>
                <a:gd name="T11" fmla="*/ 28 h 163"/>
                <a:gd name="T12" fmla="*/ 94 w 154"/>
                <a:gd name="T13" fmla="*/ 29 h 163"/>
                <a:gd name="T14" fmla="*/ 91 w 154"/>
                <a:gd name="T15" fmla="*/ 29 h 163"/>
                <a:gd name="T16" fmla="*/ 83 w 154"/>
                <a:gd name="T17" fmla="*/ 26 h 163"/>
                <a:gd name="T18" fmla="*/ 74 w 154"/>
                <a:gd name="T19" fmla="*/ 38 h 163"/>
                <a:gd name="T20" fmla="*/ 76 w 154"/>
                <a:gd name="T21" fmla="*/ 41 h 163"/>
                <a:gd name="T22" fmla="*/ 76 w 154"/>
                <a:gd name="T23" fmla="*/ 55 h 163"/>
                <a:gd name="T24" fmla="*/ 98 w 154"/>
                <a:gd name="T25" fmla="*/ 83 h 163"/>
                <a:gd name="T26" fmla="*/ 111 w 154"/>
                <a:gd name="T27" fmla="*/ 96 h 163"/>
                <a:gd name="T28" fmla="*/ 114 w 154"/>
                <a:gd name="T29" fmla="*/ 95 h 163"/>
                <a:gd name="T30" fmla="*/ 120 w 154"/>
                <a:gd name="T31" fmla="*/ 93 h 163"/>
                <a:gd name="T32" fmla="*/ 122 w 154"/>
                <a:gd name="T33" fmla="*/ 95 h 163"/>
                <a:gd name="T34" fmla="*/ 123 w 154"/>
                <a:gd name="T35" fmla="*/ 96 h 163"/>
                <a:gd name="T36" fmla="*/ 147 w 154"/>
                <a:gd name="T37" fmla="*/ 115 h 163"/>
                <a:gd name="T38" fmla="*/ 154 w 154"/>
                <a:gd name="T39" fmla="*/ 127 h 163"/>
                <a:gd name="T40" fmla="*/ 151 w 154"/>
                <a:gd name="T41" fmla="*/ 132 h 163"/>
                <a:gd name="T42" fmla="*/ 137 w 154"/>
                <a:gd name="T43" fmla="*/ 120 h 163"/>
                <a:gd name="T44" fmla="*/ 129 w 154"/>
                <a:gd name="T45" fmla="*/ 132 h 163"/>
                <a:gd name="T46" fmla="*/ 137 w 154"/>
                <a:gd name="T47" fmla="*/ 145 h 163"/>
                <a:gd name="T48" fmla="*/ 129 w 154"/>
                <a:gd name="T49" fmla="*/ 155 h 163"/>
                <a:gd name="T50" fmla="*/ 117 w 154"/>
                <a:gd name="T51" fmla="*/ 163 h 163"/>
                <a:gd name="T52" fmla="*/ 119 w 154"/>
                <a:gd name="T53" fmla="*/ 151 h 163"/>
                <a:gd name="T54" fmla="*/ 123 w 154"/>
                <a:gd name="T55" fmla="*/ 148 h 163"/>
                <a:gd name="T56" fmla="*/ 114 w 154"/>
                <a:gd name="T57" fmla="*/ 130 h 163"/>
                <a:gd name="T58" fmla="*/ 113 w 154"/>
                <a:gd name="T59" fmla="*/ 129 h 163"/>
                <a:gd name="T60" fmla="*/ 105 w 154"/>
                <a:gd name="T61" fmla="*/ 118 h 163"/>
                <a:gd name="T62" fmla="*/ 91 w 154"/>
                <a:gd name="T63" fmla="*/ 108 h 163"/>
                <a:gd name="T64" fmla="*/ 64 w 154"/>
                <a:gd name="T65" fmla="*/ 89 h 163"/>
                <a:gd name="T66" fmla="*/ 49 w 154"/>
                <a:gd name="T67" fmla="*/ 75 h 163"/>
                <a:gd name="T68" fmla="*/ 27 w 154"/>
                <a:gd name="T69" fmla="*/ 52 h 163"/>
                <a:gd name="T70" fmla="*/ 12 w 154"/>
                <a:gd name="T71" fmla="*/ 62 h 163"/>
                <a:gd name="T72" fmla="*/ 11 w 154"/>
                <a:gd name="T73" fmla="*/ 56 h 163"/>
                <a:gd name="T74" fmla="*/ 5 w 154"/>
                <a:gd name="T75" fmla="*/ 55 h 163"/>
                <a:gd name="T76" fmla="*/ 0 w 154"/>
                <a:gd name="T77" fmla="*/ 43 h 163"/>
                <a:gd name="T78" fmla="*/ 3 w 154"/>
                <a:gd name="T79" fmla="*/ 35 h 163"/>
                <a:gd name="T80" fmla="*/ 3 w 154"/>
                <a:gd name="T81" fmla="*/ 23 h 163"/>
                <a:gd name="T82" fmla="*/ 22 w 154"/>
                <a:gd name="T83" fmla="*/ 13 h 163"/>
                <a:gd name="T84" fmla="*/ 30 w 154"/>
                <a:gd name="T85" fmla="*/ 22 h 163"/>
                <a:gd name="T86" fmla="*/ 34 w 154"/>
                <a:gd name="T87" fmla="*/ 12 h 163"/>
                <a:gd name="T88" fmla="*/ 43 w 154"/>
                <a:gd name="T89" fmla="*/ 9 h 163"/>
                <a:gd name="T90" fmla="*/ 48 w 154"/>
                <a:gd name="T91" fmla="*/ 4 h 163"/>
                <a:gd name="T92" fmla="*/ 55 w 154"/>
                <a:gd name="T93" fmla="*/ 3 h 163"/>
                <a:gd name="T94" fmla="*/ 63 w 154"/>
                <a:gd name="T95" fmla="*/ 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63">
                  <a:moveTo>
                    <a:pt x="67" y="0"/>
                  </a:moveTo>
                  <a:lnTo>
                    <a:pt x="71" y="0"/>
                  </a:lnTo>
                  <a:lnTo>
                    <a:pt x="71" y="1"/>
                  </a:lnTo>
                  <a:lnTo>
                    <a:pt x="76" y="9"/>
                  </a:lnTo>
                  <a:lnTo>
                    <a:pt x="91" y="12"/>
                  </a:lnTo>
                  <a:lnTo>
                    <a:pt x="92" y="12"/>
                  </a:lnTo>
                  <a:lnTo>
                    <a:pt x="92" y="13"/>
                  </a:lnTo>
                  <a:lnTo>
                    <a:pt x="91" y="13"/>
                  </a:lnTo>
                  <a:lnTo>
                    <a:pt x="89" y="16"/>
                  </a:lnTo>
                  <a:lnTo>
                    <a:pt x="91" y="16"/>
                  </a:lnTo>
                  <a:lnTo>
                    <a:pt x="92" y="23"/>
                  </a:lnTo>
                  <a:lnTo>
                    <a:pt x="95" y="28"/>
                  </a:lnTo>
                  <a:lnTo>
                    <a:pt x="95" y="29"/>
                  </a:lnTo>
                  <a:lnTo>
                    <a:pt x="94" y="29"/>
                  </a:lnTo>
                  <a:lnTo>
                    <a:pt x="91" y="31"/>
                  </a:lnTo>
                  <a:lnTo>
                    <a:pt x="91" y="29"/>
                  </a:lnTo>
                  <a:lnTo>
                    <a:pt x="89" y="26"/>
                  </a:lnTo>
                  <a:lnTo>
                    <a:pt x="83" y="26"/>
                  </a:lnTo>
                  <a:lnTo>
                    <a:pt x="74" y="34"/>
                  </a:lnTo>
                  <a:lnTo>
                    <a:pt x="74" y="38"/>
                  </a:lnTo>
                  <a:lnTo>
                    <a:pt x="76" y="40"/>
                  </a:lnTo>
                  <a:lnTo>
                    <a:pt x="76" y="41"/>
                  </a:lnTo>
                  <a:lnTo>
                    <a:pt x="74" y="47"/>
                  </a:lnTo>
                  <a:lnTo>
                    <a:pt x="76" y="55"/>
                  </a:lnTo>
                  <a:lnTo>
                    <a:pt x="89" y="65"/>
                  </a:lnTo>
                  <a:lnTo>
                    <a:pt x="98" y="83"/>
                  </a:lnTo>
                  <a:lnTo>
                    <a:pt x="104" y="92"/>
                  </a:lnTo>
                  <a:lnTo>
                    <a:pt x="111" y="96"/>
                  </a:lnTo>
                  <a:lnTo>
                    <a:pt x="113" y="96"/>
                  </a:lnTo>
                  <a:lnTo>
                    <a:pt x="114" y="95"/>
                  </a:lnTo>
                  <a:lnTo>
                    <a:pt x="119" y="95"/>
                  </a:lnTo>
                  <a:lnTo>
                    <a:pt x="120" y="93"/>
                  </a:lnTo>
                  <a:lnTo>
                    <a:pt x="122" y="93"/>
                  </a:lnTo>
                  <a:lnTo>
                    <a:pt x="122" y="95"/>
                  </a:lnTo>
                  <a:lnTo>
                    <a:pt x="123" y="95"/>
                  </a:lnTo>
                  <a:lnTo>
                    <a:pt x="123" y="96"/>
                  </a:lnTo>
                  <a:lnTo>
                    <a:pt x="122" y="102"/>
                  </a:lnTo>
                  <a:lnTo>
                    <a:pt x="147" y="115"/>
                  </a:lnTo>
                  <a:lnTo>
                    <a:pt x="154" y="126"/>
                  </a:lnTo>
                  <a:lnTo>
                    <a:pt x="154" y="127"/>
                  </a:lnTo>
                  <a:lnTo>
                    <a:pt x="153" y="132"/>
                  </a:lnTo>
                  <a:lnTo>
                    <a:pt x="151" y="132"/>
                  </a:lnTo>
                  <a:lnTo>
                    <a:pt x="146" y="124"/>
                  </a:lnTo>
                  <a:lnTo>
                    <a:pt x="137" y="120"/>
                  </a:lnTo>
                  <a:lnTo>
                    <a:pt x="132" y="123"/>
                  </a:lnTo>
                  <a:lnTo>
                    <a:pt x="129" y="132"/>
                  </a:lnTo>
                  <a:lnTo>
                    <a:pt x="137" y="138"/>
                  </a:lnTo>
                  <a:lnTo>
                    <a:pt x="137" y="145"/>
                  </a:lnTo>
                  <a:lnTo>
                    <a:pt x="131" y="148"/>
                  </a:lnTo>
                  <a:lnTo>
                    <a:pt x="129" y="155"/>
                  </a:lnTo>
                  <a:lnTo>
                    <a:pt x="123" y="163"/>
                  </a:lnTo>
                  <a:lnTo>
                    <a:pt x="117" y="163"/>
                  </a:lnTo>
                  <a:lnTo>
                    <a:pt x="116" y="158"/>
                  </a:lnTo>
                  <a:lnTo>
                    <a:pt x="119" y="151"/>
                  </a:lnTo>
                  <a:lnTo>
                    <a:pt x="119" y="149"/>
                  </a:lnTo>
                  <a:lnTo>
                    <a:pt x="123" y="148"/>
                  </a:lnTo>
                  <a:lnTo>
                    <a:pt x="116" y="129"/>
                  </a:lnTo>
                  <a:lnTo>
                    <a:pt x="114" y="130"/>
                  </a:lnTo>
                  <a:lnTo>
                    <a:pt x="113" y="130"/>
                  </a:lnTo>
                  <a:lnTo>
                    <a:pt x="113" y="129"/>
                  </a:lnTo>
                  <a:lnTo>
                    <a:pt x="108" y="126"/>
                  </a:lnTo>
                  <a:lnTo>
                    <a:pt x="105" y="118"/>
                  </a:lnTo>
                  <a:lnTo>
                    <a:pt x="100" y="118"/>
                  </a:lnTo>
                  <a:lnTo>
                    <a:pt x="91" y="108"/>
                  </a:lnTo>
                  <a:lnTo>
                    <a:pt x="82" y="108"/>
                  </a:lnTo>
                  <a:lnTo>
                    <a:pt x="64" y="89"/>
                  </a:lnTo>
                  <a:lnTo>
                    <a:pt x="58" y="87"/>
                  </a:lnTo>
                  <a:lnTo>
                    <a:pt x="49" y="75"/>
                  </a:lnTo>
                  <a:lnTo>
                    <a:pt x="45" y="59"/>
                  </a:lnTo>
                  <a:lnTo>
                    <a:pt x="27" y="52"/>
                  </a:lnTo>
                  <a:lnTo>
                    <a:pt x="20" y="61"/>
                  </a:lnTo>
                  <a:lnTo>
                    <a:pt x="12" y="62"/>
                  </a:lnTo>
                  <a:lnTo>
                    <a:pt x="11" y="62"/>
                  </a:lnTo>
                  <a:lnTo>
                    <a:pt x="11" y="56"/>
                  </a:lnTo>
                  <a:lnTo>
                    <a:pt x="5" y="56"/>
                  </a:lnTo>
                  <a:lnTo>
                    <a:pt x="5" y="55"/>
                  </a:lnTo>
                  <a:lnTo>
                    <a:pt x="2" y="43"/>
                  </a:lnTo>
                  <a:lnTo>
                    <a:pt x="0" y="43"/>
                  </a:lnTo>
                  <a:lnTo>
                    <a:pt x="0" y="41"/>
                  </a:lnTo>
                  <a:lnTo>
                    <a:pt x="3" y="35"/>
                  </a:lnTo>
                  <a:lnTo>
                    <a:pt x="0" y="25"/>
                  </a:lnTo>
                  <a:lnTo>
                    <a:pt x="3" y="23"/>
                  </a:lnTo>
                  <a:lnTo>
                    <a:pt x="15" y="22"/>
                  </a:lnTo>
                  <a:lnTo>
                    <a:pt x="22" y="13"/>
                  </a:lnTo>
                  <a:lnTo>
                    <a:pt x="22" y="15"/>
                  </a:lnTo>
                  <a:lnTo>
                    <a:pt x="30" y="22"/>
                  </a:lnTo>
                  <a:lnTo>
                    <a:pt x="33" y="12"/>
                  </a:lnTo>
                  <a:lnTo>
                    <a:pt x="34" y="12"/>
                  </a:lnTo>
                  <a:lnTo>
                    <a:pt x="43" y="15"/>
                  </a:lnTo>
                  <a:lnTo>
                    <a:pt x="43" y="9"/>
                  </a:lnTo>
                  <a:lnTo>
                    <a:pt x="48" y="9"/>
                  </a:lnTo>
                  <a:lnTo>
                    <a:pt x="48" y="4"/>
                  </a:lnTo>
                  <a:lnTo>
                    <a:pt x="51" y="4"/>
                  </a:lnTo>
                  <a:lnTo>
                    <a:pt x="55" y="3"/>
                  </a:lnTo>
                  <a:lnTo>
                    <a:pt x="58" y="1"/>
                  </a:lnTo>
                  <a:lnTo>
                    <a:pt x="63" y="1"/>
                  </a:lnTo>
                  <a:lnTo>
                    <a:pt x="6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1" name="Croatia">
              <a:extLst>
                <a:ext uri="{FF2B5EF4-FFF2-40B4-BE49-F238E27FC236}">
                  <a16:creationId xmlns:a16="http://schemas.microsoft.com/office/drawing/2014/main" id="{BC5FBD37-35BF-A2A8-0825-C83128D079B5}"/>
                </a:ext>
              </a:extLst>
            </p:cNvPr>
            <p:cNvSpPr>
              <a:spLocks/>
            </p:cNvSpPr>
            <p:nvPr/>
          </p:nvSpPr>
          <p:spPr bwMode="auto">
            <a:xfrm>
              <a:off x="6145695" y="3340534"/>
              <a:ext cx="142758" cy="139145"/>
            </a:xfrm>
            <a:custGeom>
              <a:avLst/>
              <a:gdLst>
                <a:gd name="T0" fmla="*/ 36 w 79"/>
                <a:gd name="T1" fmla="*/ 0 h 77"/>
                <a:gd name="T2" fmla="*/ 37 w 79"/>
                <a:gd name="T3" fmla="*/ 0 h 77"/>
                <a:gd name="T4" fmla="*/ 58 w 79"/>
                <a:gd name="T5" fmla="*/ 18 h 77"/>
                <a:gd name="T6" fmla="*/ 67 w 79"/>
                <a:gd name="T7" fmla="*/ 15 h 77"/>
                <a:gd name="T8" fmla="*/ 68 w 79"/>
                <a:gd name="T9" fmla="*/ 15 h 77"/>
                <a:gd name="T10" fmla="*/ 71 w 79"/>
                <a:gd name="T11" fmla="*/ 24 h 77"/>
                <a:gd name="T12" fmla="*/ 79 w 79"/>
                <a:gd name="T13" fmla="*/ 28 h 77"/>
                <a:gd name="T14" fmla="*/ 79 w 79"/>
                <a:gd name="T15" fmla="*/ 30 h 77"/>
                <a:gd name="T16" fmla="*/ 76 w 79"/>
                <a:gd name="T17" fmla="*/ 31 h 77"/>
                <a:gd name="T18" fmla="*/ 74 w 79"/>
                <a:gd name="T19" fmla="*/ 34 h 77"/>
                <a:gd name="T20" fmla="*/ 73 w 79"/>
                <a:gd name="T21" fmla="*/ 34 h 77"/>
                <a:gd name="T22" fmla="*/ 71 w 79"/>
                <a:gd name="T23" fmla="*/ 36 h 77"/>
                <a:gd name="T24" fmla="*/ 70 w 79"/>
                <a:gd name="T25" fmla="*/ 36 h 77"/>
                <a:gd name="T26" fmla="*/ 67 w 79"/>
                <a:gd name="T27" fmla="*/ 30 h 77"/>
                <a:gd name="T28" fmla="*/ 45 w 79"/>
                <a:gd name="T29" fmla="*/ 25 h 77"/>
                <a:gd name="T30" fmla="*/ 37 w 79"/>
                <a:gd name="T31" fmla="*/ 31 h 77"/>
                <a:gd name="T32" fmla="*/ 36 w 79"/>
                <a:gd name="T33" fmla="*/ 31 h 77"/>
                <a:gd name="T34" fmla="*/ 36 w 79"/>
                <a:gd name="T35" fmla="*/ 30 h 77"/>
                <a:gd name="T36" fmla="*/ 31 w 79"/>
                <a:gd name="T37" fmla="*/ 25 h 77"/>
                <a:gd name="T38" fmla="*/ 28 w 79"/>
                <a:gd name="T39" fmla="*/ 31 h 77"/>
                <a:gd name="T40" fmla="*/ 33 w 79"/>
                <a:gd name="T41" fmla="*/ 36 h 77"/>
                <a:gd name="T42" fmla="*/ 49 w 79"/>
                <a:gd name="T43" fmla="*/ 61 h 77"/>
                <a:gd name="T44" fmla="*/ 65 w 79"/>
                <a:gd name="T45" fmla="*/ 73 h 77"/>
                <a:gd name="T46" fmla="*/ 65 w 79"/>
                <a:gd name="T47" fmla="*/ 74 h 77"/>
                <a:gd name="T48" fmla="*/ 62 w 79"/>
                <a:gd name="T49" fmla="*/ 77 h 77"/>
                <a:gd name="T50" fmla="*/ 61 w 79"/>
                <a:gd name="T51" fmla="*/ 77 h 77"/>
                <a:gd name="T52" fmla="*/ 57 w 79"/>
                <a:gd name="T53" fmla="*/ 73 h 77"/>
                <a:gd name="T54" fmla="*/ 46 w 79"/>
                <a:gd name="T55" fmla="*/ 70 h 77"/>
                <a:gd name="T56" fmla="*/ 46 w 79"/>
                <a:gd name="T57" fmla="*/ 68 h 77"/>
                <a:gd name="T58" fmla="*/ 51 w 79"/>
                <a:gd name="T59" fmla="*/ 68 h 77"/>
                <a:gd name="T60" fmla="*/ 43 w 79"/>
                <a:gd name="T61" fmla="*/ 62 h 77"/>
                <a:gd name="T62" fmla="*/ 33 w 79"/>
                <a:gd name="T63" fmla="*/ 61 h 77"/>
                <a:gd name="T64" fmla="*/ 21 w 79"/>
                <a:gd name="T65" fmla="*/ 49 h 77"/>
                <a:gd name="T66" fmla="*/ 21 w 79"/>
                <a:gd name="T67" fmla="*/ 48 h 77"/>
                <a:gd name="T68" fmla="*/ 24 w 79"/>
                <a:gd name="T69" fmla="*/ 45 h 77"/>
                <a:gd name="T70" fmla="*/ 19 w 79"/>
                <a:gd name="T71" fmla="*/ 42 h 77"/>
                <a:gd name="T72" fmla="*/ 16 w 79"/>
                <a:gd name="T73" fmla="*/ 31 h 77"/>
                <a:gd name="T74" fmla="*/ 14 w 79"/>
                <a:gd name="T75" fmla="*/ 28 h 77"/>
                <a:gd name="T76" fmla="*/ 12 w 79"/>
                <a:gd name="T77" fmla="*/ 28 h 77"/>
                <a:gd name="T78" fmla="*/ 8 w 79"/>
                <a:gd name="T79" fmla="*/ 36 h 77"/>
                <a:gd name="T80" fmla="*/ 6 w 79"/>
                <a:gd name="T81" fmla="*/ 37 h 77"/>
                <a:gd name="T82" fmla="*/ 5 w 79"/>
                <a:gd name="T83" fmla="*/ 36 h 77"/>
                <a:gd name="T84" fmla="*/ 3 w 79"/>
                <a:gd name="T85" fmla="*/ 36 h 77"/>
                <a:gd name="T86" fmla="*/ 0 w 79"/>
                <a:gd name="T87" fmla="*/ 30 h 77"/>
                <a:gd name="T88" fmla="*/ 2 w 79"/>
                <a:gd name="T89" fmla="*/ 22 h 77"/>
                <a:gd name="T90" fmla="*/ 12 w 79"/>
                <a:gd name="T91" fmla="*/ 18 h 77"/>
                <a:gd name="T92" fmla="*/ 21 w 79"/>
                <a:gd name="T93" fmla="*/ 19 h 77"/>
                <a:gd name="T94" fmla="*/ 25 w 79"/>
                <a:gd name="T95" fmla="*/ 8 h 77"/>
                <a:gd name="T96" fmla="*/ 34 w 79"/>
                <a:gd name="T97" fmla="*/ 3 h 77"/>
                <a:gd name="T98" fmla="*/ 36 w 79"/>
                <a:gd name="T9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77">
                  <a:moveTo>
                    <a:pt x="36" y="0"/>
                  </a:moveTo>
                  <a:lnTo>
                    <a:pt x="37" y="0"/>
                  </a:lnTo>
                  <a:lnTo>
                    <a:pt x="58" y="18"/>
                  </a:lnTo>
                  <a:lnTo>
                    <a:pt x="67" y="15"/>
                  </a:lnTo>
                  <a:lnTo>
                    <a:pt x="68" y="15"/>
                  </a:lnTo>
                  <a:lnTo>
                    <a:pt x="71" y="24"/>
                  </a:lnTo>
                  <a:lnTo>
                    <a:pt x="79" y="28"/>
                  </a:lnTo>
                  <a:lnTo>
                    <a:pt x="79" y="30"/>
                  </a:lnTo>
                  <a:lnTo>
                    <a:pt x="76" y="31"/>
                  </a:lnTo>
                  <a:lnTo>
                    <a:pt x="74" y="34"/>
                  </a:lnTo>
                  <a:lnTo>
                    <a:pt x="73" y="34"/>
                  </a:lnTo>
                  <a:lnTo>
                    <a:pt x="71" y="36"/>
                  </a:lnTo>
                  <a:lnTo>
                    <a:pt x="70" y="36"/>
                  </a:lnTo>
                  <a:lnTo>
                    <a:pt x="67" y="30"/>
                  </a:lnTo>
                  <a:lnTo>
                    <a:pt x="45" y="25"/>
                  </a:lnTo>
                  <a:lnTo>
                    <a:pt x="37" y="31"/>
                  </a:lnTo>
                  <a:lnTo>
                    <a:pt x="36" y="31"/>
                  </a:lnTo>
                  <a:lnTo>
                    <a:pt x="36" y="30"/>
                  </a:lnTo>
                  <a:lnTo>
                    <a:pt x="31" y="25"/>
                  </a:lnTo>
                  <a:lnTo>
                    <a:pt x="28" y="31"/>
                  </a:lnTo>
                  <a:lnTo>
                    <a:pt x="33" y="36"/>
                  </a:lnTo>
                  <a:lnTo>
                    <a:pt x="49" y="61"/>
                  </a:lnTo>
                  <a:lnTo>
                    <a:pt x="65" y="73"/>
                  </a:lnTo>
                  <a:lnTo>
                    <a:pt x="65" y="74"/>
                  </a:lnTo>
                  <a:lnTo>
                    <a:pt x="62" y="77"/>
                  </a:lnTo>
                  <a:lnTo>
                    <a:pt x="61" y="77"/>
                  </a:lnTo>
                  <a:lnTo>
                    <a:pt x="57" y="73"/>
                  </a:lnTo>
                  <a:lnTo>
                    <a:pt x="46" y="70"/>
                  </a:lnTo>
                  <a:lnTo>
                    <a:pt x="46" y="68"/>
                  </a:lnTo>
                  <a:lnTo>
                    <a:pt x="51" y="68"/>
                  </a:lnTo>
                  <a:lnTo>
                    <a:pt x="43" y="62"/>
                  </a:lnTo>
                  <a:lnTo>
                    <a:pt x="33" y="61"/>
                  </a:lnTo>
                  <a:lnTo>
                    <a:pt x="21" y="49"/>
                  </a:lnTo>
                  <a:lnTo>
                    <a:pt x="21" y="48"/>
                  </a:lnTo>
                  <a:lnTo>
                    <a:pt x="24" y="45"/>
                  </a:lnTo>
                  <a:lnTo>
                    <a:pt x="19" y="42"/>
                  </a:lnTo>
                  <a:lnTo>
                    <a:pt x="16" y="31"/>
                  </a:lnTo>
                  <a:lnTo>
                    <a:pt x="14" y="28"/>
                  </a:lnTo>
                  <a:lnTo>
                    <a:pt x="12" y="28"/>
                  </a:lnTo>
                  <a:lnTo>
                    <a:pt x="8" y="36"/>
                  </a:lnTo>
                  <a:lnTo>
                    <a:pt x="6" y="37"/>
                  </a:lnTo>
                  <a:lnTo>
                    <a:pt x="5" y="36"/>
                  </a:lnTo>
                  <a:lnTo>
                    <a:pt x="3" y="36"/>
                  </a:lnTo>
                  <a:lnTo>
                    <a:pt x="0" y="30"/>
                  </a:lnTo>
                  <a:lnTo>
                    <a:pt x="2" y="22"/>
                  </a:lnTo>
                  <a:lnTo>
                    <a:pt x="12" y="18"/>
                  </a:lnTo>
                  <a:lnTo>
                    <a:pt x="21" y="19"/>
                  </a:lnTo>
                  <a:lnTo>
                    <a:pt x="25" y="8"/>
                  </a:lnTo>
                  <a:lnTo>
                    <a:pt x="34" y="3"/>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2" name="Switzerland">
              <a:extLst>
                <a:ext uri="{FF2B5EF4-FFF2-40B4-BE49-F238E27FC236}">
                  <a16:creationId xmlns:a16="http://schemas.microsoft.com/office/drawing/2014/main" id="{6C426E57-50AD-5A1A-5313-877467F7C009}"/>
                </a:ext>
              </a:extLst>
            </p:cNvPr>
            <p:cNvSpPr>
              <a:spLocks/>
            </p:cNvSpPr>
            <p:nvPr/>
          </p:nvSpPr>
          <p:spPr bwMode="auto">
            <a:xfrm>
              <a:off x="5966795" y="3308008"/>
              <a:ext cx="106617" cy="65054"/>
            </a:xfrm>
            <a:custGeom>
              <a:avLst/>
              <a:gdLst>
                <a:gd name="T0" fmla="*/ 21 w 59"/>
                <a:gd name="T1" fmla="*/ 0 h 36"/>
                <a:gd name="T2" fmla="*/ 37 w 59"/>
                <a:gd name="T3" fmla="*/ 0 h 36"/>
                <a:gd name="T4" fmla="*/ 46 w 59"/>
                <a:gd name="T5" fmla="*/ 3 h 36"/>
                <a:gd name="T6" fmla="*/ 49 w 59"/>
                <a:gd name="T7" fmla="*/ 12 h 36"/>
                <a:gd name="T8" fmla="*/ 58 w 59"/>
                <a:gd name="T9" fmla="*/ 15 h 36"/>
                <a:gd name="T10" fmla="*/ 59 w 59"/>
                <a:gd name="T11" fmla="*/ 15 h 36"/>
                <a:gd name="T12" fmla="*/ 59 w 59"/>
                <a:gd name="T13" fmla="*/ 20 h 36"/>
                <a:gd name="T14" fmla="*/ 58 w 59"/>
                <a:gd name="T15" fmla="*/ 21 h 36"/>
                <a:gd name="T16" fmla="*/ 55 w 59"/>
                <a:gd name="T17" fmla="*/ 21 h 36"/>
                <a:gd name="T18" fmla="*/ 55 w 59"/>
                <a:gd name="T19" fmla="*/ 27 h 36"/>
                <a:gd name="T20" fmla="*/ 44 w 59"/>
                <a:gd name="T21" fmla="*/ 24 h 36"/>
                <a:gd name="T22" fmla="*/ 40 w 59"/>
                <a:gd name="T23" fmla="*/ 34 h 36"/>
                <a:gd name="T24" fmla="*/ 32 w 59"/>
                <a:gd name="T25" fmla="*/ 27 h 36"/>
                <a:gd name="T26" fmla="*/ 25 w 59"/>
                <a:gd name="T27" fmla="*/ 34 h 36"/>
                <a:gd name="T28" fmla="*/ 22 w 59"/>
                <a:gd name="T29" fmla="*/ 34 h 36"/>
                <a:gd name="T30" fmla="*/ 18 w 59"/>
                <a:gd name="T31" fmla="*/ 36 h 36"/>
                <a:gd name="T32" fmla="*/ 13 w 59"/>
                <a:gd name="T33" fmla="*/ 36 h 36"/>
                <a:gd name="T34" fmla="*/ 13 w 59"/>
                <a:gd name="T35" fmla="*/ 34 h 36"/>
                <a:gd name="T36" fmla="*/ 10 w 59"/>
                <a:gd name="T37" fmla="*/ 26 h 36"/>
                <a:gd name="T38" fmla="*/ 6 w 59"/>
                <a:gd name="T39" fmla="*/ 26 h 36"/>
                <a:gd name="T40" fmla="*/ 1 w 59"/>
                <a:gd name="T41" fmla="*/ 30 h 36"/>
                <a:gd name="T42" fmla="*/ 0 w 59"/>
                <a:gd name="T43" fmla="*/ 24 h 36"/>
                <a:gd name="T44" fmla="*/ 13 w 59"/>
                <a:gd name="T45" fmla="*/ 3 h 36"/>
                <a:gd name="T46" fmla="*/ 21 w 59"/>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36">
                  <a:moveTo>
                    <a:pt x="21" y="0"/>
                  </a:moveTo>
                  <a:lnTo>
                    <a:pt x="37" y="0"/>
                  </a:lnTo>
                  <a:lnTo>
                    <a:pt x="46" y="3"/>
                  </a:lnTo>
                  <a:lnTo>
                    <a:pt x="49" y="12"/>
                  </a:lnTo>
                  <a:lnTo>
                    <a:pt x="58" y="15"/>
                  </a:lnTo>
                  <a:lnTo>
                    <a:pt x="59" y="15"/>
                  </a:lnTo>
                  <a:lnTo>
                    <a:pt x="59" y="20"/>
                  </a:lnTo>
                  <a:lnTo>
                    <a:pt x="58" y="21"/>
                  </a:lnTo>
                  <a:lnTo>
                    <a:pt x="55" y="21"/>
                  </a:lnTo>
                  <a:lnTo>
                    <a:pt x="55" y="27"/>
                  </a:lnTo>
                  <a:lnTo>
                    <a:pt x="44" y="24"/>
                  </a:lnTo>
                  <a:lnTo>
                    <a:pt x="40" y="34"/>
                  </a:lnTo>
                  <a:lnTo>
                    <a:pt x="32" y="27"/>
                  </a:lnTo>
                  <a:lnTo>
                    <a:pt x="25" y="34"/>
                  </a:lnTo>
                  <a:lnTo>
                    <a:pt x="22" y="34"/>
                  </a:lnTo>
                  <a:lnTo>
                    <a:pt x="18" y="36"/>
                  </a:lnTo>
                  <a:lnTo>
                    <a:pt x="13" y="36"/>
                  </a:lnTo>
                  <a:lnTo>
                    <a:pt x="13" y="34"/>
                  </a:lnTo>
                  <a:lnTo>
                    <a:pt x="10" y="26"/>
                  </a:lnTo>
                  <a:lnTo>
                    <a:pt x="6" y="26"/>
                  </a:lnTo>
                  <a:lnTo>
                    <a:pt x="1" y="30"/>
                  </a:lnTo>
                  <a:lnTo>
                    <a:pt x="0" y="24"/>
                  </a:lnTo>
                  <a:lnTo>
                    <a:pt x="13" y="3"/>
                  </a:lnTo>
                  <a:lnTo>
                    <a:pt x="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3" name="Latvia">
              <a:extLst>
                <a:ext uri="{FF2B5EF4-FFF2-40B4-BE49-F238E27FC236}">
                  <a16:creationId xmlns:a16="http://schemas.microsoft.com/office/drawing/2014/main" id="{C3D6DE69-7F9C-C481-CD8F-BDC3E8662864}"/>
                </a:ext>
              </a:extLst>
            </p:cNvPr>
            <p:cNvSpPr>
              <a:spLocks/>
            </p:cNvSpPr>
            <p:nvPr/>
          </p:nvSpPr>
          <p:spPr bwMode="auto">
            <a:xfrm>
              <a:off x="6317365" y="2901418"/>
              <a:ext cx="178900" cy="106617"/>
            </a:xfrm>
            <a:custGeom>
              <a:avLst/>
              <a:gdLst>
                <a:gd name="T0" fmla="*/ 59 w 99"/>
                <a:gd name="T1" fmla="*/ 0 h 59"/>
                <a:gd name="T2" fmla="*/ 71 w 99"/>
                <a:gd name="T3" fmla="*/ 6 h 59"/>
                <a:gd name="T4" fmla="*/ 77 w 99"/>
                <a:gd name="T5" fmla="*/ 12 h 59"/>
                <a:gd name="T6" fmla="*/ 83 w 99"/>
                <a:gd name="T7" fmla="*/ 10 h 59"/>
                <a:gd name="T8" fmla="*/ 89 w 99"/>
                <a:gd name="T9" fmla="*/ 12 h 59"/>
                <a:gd name="T10" fmla="*/ 93 w 99"/>
                <a:gd name="T11" fmla="*/ 18 h 59"/>
                <a:gd name="T12" fmla="*/ 93 w 99"/>
                <a:gd name="T13" fmla="*/ 19 h 59"/>
                <a:gd name="T14" fmla="*/ 92 w 99"/>
                <a:gd name="T15" fmla="*/ 27 h 59"/>
                <a:gd name="T16" fmla="*/ 95 w 99"/>
                <a:gd name="T17" fmla="*/ 30 h 59"/>
                <a:gd name="T18" fmla="*/ 99 w 99"/>
                <a:gd name="T19" fmla="*/ 36 h 59"/>
                <a:gd name="T20" fmla="*/ 99 w 99"/>
                <a:gd name="T21" fmla="*/ 47 h 59"/>
                <a:gd name="T22" fmla="*/ 95 w 99"/>
                <a:gd name="T23" fmla="*/ 47 h 59"/>
                <a:gd name="T24" fmla="*/ 89 w 99"/>
                <a:gd name="T25" fmla="*/ 55 h 59"/>
                <a:gd name="T26" fmla="*/ 89 w 99"/>
                <a:gd name="T27" fmla="*/ 56 h 59"/>
                <a:gd name="T28" fmla="*/ 85 w 99"/>
                <a:gd name="T29" fmla="*/ 55 h 59"/>
                <a:gd name="T30" fmla="*/ 80 w 99"/>
                <a:gd name="T31" fmla="*/ 59 h 59"/>
                <a:gd name="T32" fmla="*/ 79 w 99"/>
                <a:gd name="T33" fmla="*/ 59 h 59"/>
                <a:gd name="T34" fmla="*/ 74 w 99"/>
                <a:gd name="T35" fmla="*/ 56 h 59"/>
                <a:gd name="T36" fmla="*/ 64 w 99"/>
                <a:gd name="T37" fmla="*/ 47 h 59"/>
                <a:gd name="T38" fmla="*/ 58 w 99"/>
                <a:gd name="T39" fmla="*/ 46 h 59"/>
                <a:gd name="T40" fmla="*/ 53 w 99"/>
                <a:gd name="T41" fmla="*/ 40 h 59"/>
                <a:gd name="T42" fmla="*/ 47 w 99"/>
                <a:gd name="T43" fmla="*/ 43 h 59"/>
                <a:gd name="T44" fmla="*/ 46 w 99"/>
                <a:gd name="T45" fmla="*/ 43 h 59"/>
                <a:gd name="T46" fmla="*/ 39 w 99"/>
                <a:gd name="T47" fmla="*/ 42 h 59"/>
                <a:gd name="T48" fmla="*/ 19 w 99"/>
                <a:gd name="T49" fmla="*/ 40 h 59"/>
                <a:gd name="T50" fmla="*/ 10 w 99"/>
                <a:gd name="T51" fmla="*/ 44 h 59"/>
                <a:gd name="T52" fmla="*/ 6 w 99"/>
                <a:gd name="T53" fmla="*/ 47 h 59"/>
                <a:gd name="T54" fmla="*/ 6 w 99"/>
                <a:gd name="T55" fmla="*/ 49 h 59"/>
                <a:gd name="T56" fmla="*/ 4 w 99"/>
                <a:gd name="T57" fmla="*/ 49 h 59"/>
                <a:gd name="T58" fmla="*/ 2 w 99"/>
                <a:gd name="T59" fmla="*/ 46 h 59"/>
                <a:gd name="T60" fmla="*/ 0 w 99"/>
                <a:gd name="T61" fmla="*/ 46 h 59"/>
                <a:gd name="T62" fmla="*/ 0 w 99"/>
                <a:gd name="T63" fmla="*/ 44 h 59"/>
                <a:gd name="T64" fmla="*/ 2 w 99"/>
                <a:gd name="T65" fmla="*/ 33 h 59"/>
                <a:gd name="T66" fmla="*/ 10 w 99"/>
                <a:gd name="T67" fmla="*/ 13 h 59"/>
                <a:gd name="T68" fmla="*/ 22 w 99"/>
                <a:gd name="T69" fmla="*/ 7 h 59"/>
                <a:gd name="T70" fmla="*/ 33 w 99"/>
                <a:gd name="T71" fmla="*/ 24 h 59"/>
                <a:gd name="T72" fmla="*/ 42 w 99"/>
                <a:gd name="T73" fmla="*/ 27 h 59"/>
                <a:gd name="T74" fmla="*/ 45 w 99"/>
                <a:gd name="T75" fmla="*/ 21 h 59"/>
                <a:gd name="T76" fmla="*/ 46 w 99"/>
                <a:gd name="T77" fmla="*/ 6 h 59"/>
                <a:gd name="T78" fmla="*/ 46 w 99"/>
                <a:gd name="T79" fmla="*/ 4 h 59"/>
                <a:gd name="T80" fmla="*/ 59 w 99"/>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9" h="59">
                  <a:moveTo>
                    <a:pt x="59" y="0"/>
                  </a:moveTo>
                  <a:lnTo>
                    <a:pt x="71" y="6"/>
                  </a:lnTo>
                  <a:lnTo>
                    <a:pt x="77" y="12"/>
                  </a:lnTo>
                  <a:lnTo>
                    <a:pt x="83" y="10"/>
                  </a:lnTo>
                  <a:lnTo>
                    <a:pt x="89" y="12"/>
                  </a:lnTo>
                  <a:lnTo>
                    <a:pt x="93" y="18"/>
                  </a:lnTo>
                  <a:lnTo>
                    <a:pt x="93" y="19"/>
                  </a:lnTo>
                  <a:lnTo>
                    <a:pt x="92" y="27"/>
                  </a:lnTo>
                  <a:lnTo>
                    <a:pt x="95" y="30"/>
                  </a:lnTo>
                  <a:lnTo>
                    <a:pt x="99" y="36"/>
                  </a:lnTo>
                  <a:lnTo>
                    <a:pt x="99" y="47"/>
                  </a:lnTo>
                  <a:lnTo>
                    <a:pt x="95" y="47"/>
                  </a:lnTo>
                  <a:lnTo>
                    <a:pt x="89" y="55"/>
                  </a:lnTo>
                  <a:lnTo>
                    <a:pt x="89" y="56"/>
                  </a:lnTo>
                  <a:lnTo>
                    <a:pt x="85" y="55"/>
                  </a:lnTo>
                  <a:lnTo>
                    <a:pt x="80" y="59"/>
                  </a:lnTo>
                  <a:lnTo>
                    <a:pt x="79" y="59"/>
                  </a:lnTo>
                  <a:lnTo>
                    <a:pt x="74" y="56"/>
                  </a:lnTo>
                  <a:lnTo>
                    <a:pt x="64" y="47"/>
                  </a:lnTo>
                  <a:lnTo>
                    <a:pt x="58" y="46"/>
                  </a:lnTo>
                  <a:lnTo>
                    <a:pt x="53" y="40"/>
                  </a:lnTo>
                  <a:lnTo>
                    <a:pt x="47" y="43"/>
                  </a:lnTo>
                  <a:lnTo>
                    <a:pt x="46" y="43"/>
                  </a:lnTo>
                  <a:lnTo>
                    <a:pt x="39" y="42"/>
                  </a:lnTo>
                  <a:lnTo>
                    <a:pt x="19" y="40"/>
                  </a:lnTo>
                  <a:lnTo>
                    <a:pt x="10" y="44"/>
                  </a:lnTo>
                  <a:lnTo>
                    <a:pt x="6" y="47"/>
                  </a:lnTo>
                  <a:lnTo>
                    <a:pt x="6" y="49"/>
                  </a:lnTo>
                  <a:lnTo>
                    <a:pt x="4" y="49"/>
                  </a:lnTo>
                  <a:lnTo>
                    <a:pt x="2" y="46"/>
                  </a:lnTo>
                  <a:lnTo>
                    <a:pt x="0" y="46"/>
                  </a:lnTo>
                  <a:lnTo>
                    <a:pt x="0" y="44"/>
                  </a:lnTo>
                  <a:lnTo>
                    <a:pt x="2" y="33"/>
                  </a:lnTo>
                  <a:lnTo>
                    <a:pt x="10" y="13"/>
                  </a:lnTo>
                  <a:lnTo>
                    <a:pt x="22" y="7"/>
                  </a:lnTo>
                  <a:lnTo>
                    <a:pt x="33" y="24"/>
                  </a:lnTo>
                  <a:lnTo>
                    <a:pt x="42" y="27"/>
                  </a:lnTo>
                  <a:lnTo>
                    <a:pt x="45" y="21"/>
                  </a:lnTo>
                  <a:lnTo>
                    <a:pt x="46" y="6"/>
                  </a:lnTo>
                  <a:lnTo>
                    <a:pt x="46" y="4"/>
                  </a:lnTo>
                  <a:lnTo>
                    <a:pt x="5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4" name="Lithuania">
              <a:extLst>
                <a:ext uri="{FF2B5EF4-FFF2-40B4-BE49-F238E27FC236}">
                  <a16:creationId xmlns:a16="http://schemas.microsoft.com/office/drawing/2014/main" id="{CF998250-84A5-7A82-E428-8DA9019AC000}"/>
                </a:ext>
              </a:extLst>
            </p:cNvPr>
            <p:cNvSpPr>
              <a:spLocks/>
            </p:cNvSpPr>
            <p:nvPr/>
          </p:nvSpPr>
          <p:spPr bwMode="auto">
            <a:xfrm>
              <a:off x="6317365" y="2971894"/>
              <a:ext cx="144565" cy="106617"/>
            </a:xfrm>
            <a:custGeom>
              <a:avLst/>
              <a:gdLst>
                <a:gd name="T0" fmla="*/ 18 w 80"/>
                <a:gd name="T1" fmla="*/ 0 h 59"/>
                <a:gd name="T2" fmla="*/ 39 w 80"/>
                <a:gd name="T3" fmla="*/ 1 h 59"/>
                <a:gd name="T4" fmla="*/ 46 w 80"/>
                <a:gd name="T5" fmla="*/ 3 h 59"/>
                <a:gd name="T6" fmla="*/ 53 w 80"/>
                <a:gd name="T7" fmla="*/ 0 h 59"/>
                <a:gd name="T8" fmla="*/ 55 w 80"/>
                <a:gd name="T9" fmla="*/ 0 h 59"/>
                <a:gd name="T10" fmla="*/ 59 w 80"/>
                <a:gd name="T11" fmla="*/ 5 h 59"/>
                <a:gd name="T12" fmla="*/ 64 w 80"/>
                <a:gd name="T13" fmla="*/ 7 h 59"/>
                <a:gd name="T14" fmla="*/ 74 w 80"/>
                <a:gd name="T15" fmla="*/ 16 h 59"/>
                <a:gd name="T16" fmla="*/ 80 w 80"/>
                <a:gd name="T17" fmla="*/ 19 h 59"/>
                <a:gd name="T18" fmla="*/ 80 w 80"/>
                <a:gd name="T19" fmla="*/ 20 h 59"/>
                <a:gd name="T20" fmla="*/ 76 w 80"/>
                <a:gd name="T21" fmla="*/ 22 h 59"/>
                <a:gd name="T22" fmla="*/ 76 w 80"/>
                <a:gd name="T23" fmla="*/ 25 h 59"/>
                <a:gd name="T24" fmla="*/ 80 w 80"/>
                <a:gd name="T25" fmla="*/ 26 h 59"/>
                <a:gd name="T26" fmla="*/ 79 w 80"/>
                <a:gd name="T27" fmla="*/ 31 h 59"/>
                <a:gd name="T28" fmla="*/ 77 w 80"/>
                <a:gd name="T29" fmla="*/ 31 h 59"/>
                <a:gd name="T30" fmla="*/ 68 w 80"/>
                <a:gd name="T31" fmla="*/ 35 h 59"/>
                <a:gd name="T32" fmla="*/ 65 w 80"/>
                <a:gd name="T33" fmla="*/ 47 h 59"/>
                <a:gd name="T34" fmla="*/ 68 w 80"/>
                <a:gd name="T35" fmla="*/ 51 h 59"/>
                <a:gd name="T36" fmla="*/ 68 w 80"/>
                <a:gd name="T37" fmla="*/ 53 h 59"/>
                <a:gd name="T38" fmla="*/ 67 w 80"/>
                <a:gd name="T39" fmla="*/ 53 h 59"/>
                <a:gd name="T40" fmla="*/ 65 w 80"/>
                <a:gd name="T41" fmla="*/ 54 h 59"/>
                <a:gd name="T42" fmla="*/ 65 w 80"/>
                <a:gd name="T43" fmla="*/ 53 h 59"/>
                <a:gd name="T44" fmla="*/ 61 w 80"/>
                <a:gd name="T45" fmla="*/ 50 h 59"/>
                <a:gd name="T46" fmla="*/ 55 w 80"/>
                <a:gd name="T47" fmla="*/ 53 h 59"/>
                <a:gd name="T48" fmla="*/ 55 w 80"/>
                <a:gd name="T49" fmla="*/ 57 h 59"/>
                <a:gd name="T50" fmla="*/ 47 w 80"/>
                <a:gd name="T51" fmla="*/ 57 h 59"/>
                <a:gd name="T52" fmla="*/ 43 w 80"/>
                <a:gd name="T53" fmla="*/ 59 h 59"/>
                <a:gd name="T54" fmla="*/ 36 w 80"/>
                <a:gd name="T55" fmla="*/ 59 h 59"/>
                <a:gd name="T56" fmla="*/ 36 w 80"/>
                <a:gd name="T57" fmla="*/ 57 h 59"/>
                <a:gd name="T58" fmla="*/ 34 w 80"/>
                <a:gd name="T59" fmla="*/ 54 h 59"/>
                <a:gd name="T60" fmla="*/ 25 w 80"/>
                <a:gd name="T61" fmla="*/ 47 h 59"/>
                <a:gd name="T62" fmla="*/ 27 w 80"/>
                <a:gd name="T63" fmla="*/ 38 h 59"/>
                <a:gd name="T64" fmla="*/ 25 w 80"/>
                <a:gd name="T65" fmla="*/ 34 h 59"/>
                <a:gd name="T66" fmla="*/ 16 w 80"/>
                <a:gd name="T67" fmla="*/ 32 h 59"/>
                <a:gd name="T68" fmla="*/ 4 w 80"/>
                <a:gd name="T69" fmla="*/ 28 h 59"/>
                <a:gd name="T70" fmla="*/ 4 w 80"/>
                <a:gd name="T71" fmla="*/ 26 h 59"/>
                <a:gd name="T72" fmla="*/ 0 w 80"/>
                <a:gd name="T73" fmla="*/ 5 h 59"/>
                <a:gd name="T74" fmla="*/ 2 w 80"/>
                <a:gd name="T75" fmla="*/ 5 h 59"/>
                <a:gd name="T76" fmla="*/ 6 w 80"/>
                <a:gd name="T77" fmla="*/ 8 h 59"/>
                <a:gd name="T78" fmla="*/ 9 w 80"/>
                <a:gd name="T79" fmla="*/ 4 h 59"/>
                <a:gd name="T80" fmla="*/ 18 w 80"/>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 h="59">
                  <a:moveTo>
                    <a:pt x="18" y="0"/>
                  </a:moveTo>
                  <a:lnTo>
                    <a:pt x="39" y="1"/>
                  </a:lnTo>
                  <a:lnTo>
                    <a:pt x="46" y="3"/>
                  </a:lnTo>
                  <a:lnTo>
                    <a:pt x="53" y="0"/>
                  </a:lnTo>
                  <a:lnTo>
                    <a:pt x="55" y="0"/>
                  </a:lnTo>
                  <a:lnTo>
                    <a:pt x="59" y="5"/>
                  </a:lnTo>
                  <a:lnTo>
                    <a:pt x="64" y="7"/>
                  </a:lnTo>
                  <a:lnTo>
                    <a:pt x="74" y="16"/>
                  </a:lnTo>
                  <a:lnTo>
                    <a:pt x="80" y="19"/>
                  </a:lnTo>
                  <a:lnTo>
                    <a:pt x="80" y="20"/>
                  </a:lnTo>
                  <a:lnTo>
                    <a:pt x="76" y="22"/>
                  </a:lnTo>
                  <a:lnTo>
                    <a:pt x="76" y="25"/>
                  </a:lnTo>
                  <a:lnTo>
                    <a:pt x="80" y="26"/>
                  </a:lnTo>
                  <a:lnTo>
                    <a:pt x="79" y="31"/>
                  </a:lnTo>
                  <a:lnTo>
                    <a:pt x="77" y="31"/>
                  </a:lnTo>
                  <a:lnTo>
                    <a:pt x="68" y="35"/>
                  </a:lnTo>
                  <a:lnTo>
                    <a:pt x="65" y="47"/>
                  </a:lnTo>
                  <a:lnTo>
                    <a:pt x="68" y="51"/>
                  </a:lnTo>
                  <a:lnTo>
                    <a:pt x="68" y="53"/>
                  </a:lnTo>
                  <a:lnTo>
                    <a:pt x="67" y="53"/>
                  </a:lnTo>
                  <a:lnTo>
                    <a:pt x="65" y="54"/>
                  </a:lnTo>
                  <a:lnTo>
                    <a:pt x="65" y="53"/>
                  </a:lnTo>
                  <a:lnTo>
                    <a:pt x="61" y="50"/>
                  </a:lnTo>
                  <a:lnTo>
                    <a:pt x="55" y="53"/>
                  </a:lnTo>
                  <a:lnTo>
                    <a:pt x="55" y="57"/>
                  </a:lnTo>
                  <a:lnTo>
                    <a:pt x="47" y="57"/>
                  </a:lnTo>
                  <a:lnTo>
                    <a:pt x="43" y="59"/>
                  </a:lnTo>
                  <a:lnTo>
                    <a:pt x="36" y="59"/>
                  </a:lnTo>
                  <a:lnTo>
                    <a:pt x="36" y="57"/>
                  </a:lnTo>
                  <a:lnTo>
                    <a:pt x="34" y="54"/>
                  </a:lnTo>
                  <a:lnTo>
                    <a:pt x="25" y="47"/>
                  </a:lnTo>
                  <a:lnTo>
                    <a:pt x="27" y="38"/>
                  </a:lnTo>
                  <a:lnTo>
                    <a:pt x="25" y="34"/>
                  </a:lnTo>
                  <a:lnTo>
                    <a:pt x="16" y="32"/>
                  </a:lnTo>
                  <a:lnTo>
                    <a:pt x="4" y="28"/>
                  </a:lnTo>
                  <a:lnTo>
                    <a:pt x="4" y="26"/>
                  </a:lnTo>
                  <a:lnTo>
                    <a:pt x="0" y="5"/>
                  </a:lnTo>
                  <a:lnTo>
                    <a:pt x="2" y="5"/>
                  </a:lnTo>
                  <a:lnTo>
                    <a:pt x="6" y="8"/>
                  </a:lnTo>
                  <a:lnTo>
                    <a:pt x="9" y="4"/>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5" name="Czech Republic">
              <a:extLst>
                <a:ext uri="{FF2B5EF4-FFF2-40B4-BE49-F238E27FC236}">
                  <a16:creationId xmlns:a16="http://schemas.microsoft.com/office/drawing/2014/main" id="{6F4353CA-FD74-2102-27D3-F01259037122}"/>
                </a:ext>
              </a:extLst>
            </p:cNvPr>
            <p:cNvSpPr>
              <a:spLocks/>
            </p:cNvSpPr>
            <p:nvPr/>
          </p:nvSpPr>
          <p:spPr bwMode="auto">
            <a:xfrm>
              <a:off x="6107745" y="3183320"/>
              <a:ext cx="166250" cy="90353"/>
            </a:xfrm>
            <a:custGeom>
              <a:avLst/>
              <a:gdLst>
                <a:gd name="T0" fmla="*/ 30 w 92"/>
                <a:gd name="T1" fmla="*/ 0 h 50"/>
                <a:gd name="T2" fmla="*/ 36 w 92"/>
                <a:gd name="T3" fmla="*/ 6 h 50"/>
                <a:gd name="T4" fmla="*/ 42 w 92"/>
                <a:gd name="T5" fmla="*/ 3 h 50"/>
                <a:gd name="T6" fmla="*/ 52 w 92"/>
                <a:gd name="T7" fmla="*/ 9 h 50"/>
                <a:gd name="T8" fmla="*/ 63 w 92"/>
                <a:gd name="T9" fmla="*/ 19 h 50"/>
                <a:gd name="T10" fmla="*/ 66 w 92"/>
                <a:gd name="T11" fmla="*/ 16 h 50"/>
                <a:gd name="T12" fmla="*/ 75 w 92"/>
                <a:gd name="T13" fmla="*/ 17 h 50"/>
                <a:gd name="T14" fmla="*/ 76 w 92"/>
                <a:gd name="T15" fmla="*/ 22 h 50"/>
                <a:gd name="T16" fmla="*/ 86 w 92"/>
                <a:gd name="T17" fmla="*/ 31 h 50"/>
                <a:gd name="T18" fmla="*/ 92 w 92"/>
                <a:gd name="T19" fmla="*/ 35 h 50"/>
                <a:gd name="T20" fmla="*/ 86 w 92"/>
                <a:gd name="T21" fmla="*/ 38 h 50"/>
                <a:gd name="T22" fmla="*/ 83 w 92"/>
                <a:gd name="T23" fmla="*/ 46 h 50"/>
                <a:gd name="T24" fmla="*/ 63 w 92"/>
                <a:gd name="T25" fmla="*/ 49 h 50"/>
                <a:gd name="T26" fmla="*/ 42 w 92"/>
                <a:gd name="T27" fmla="*/ 43 h 50"/>
                <a:gd name="T28" fmla="*/ 35 w 92"/>
                <a:gd name="T29" fmla="*/ 50 h 50"/>
                <a:gd name="T30" fmla="*/ 24 w 92"/>
                <a:gd name="T31" fmla="*/ 49 h 50"/>
                <a:gd name="T32" fmla="*/ 8 w 92"/>
                <a:gd name="T33" fmla="*/ 34 h 50"/>
                <a:gd name="T34" fmla="*/ 0 w 92"/>
                <a:gd name="T35" fmla="*/ 17 h 50"/>
                <a:gd name="T36" fmla="*/ 5 w 92"/>
                <a:gd name="T37" fmla="*/ 20 h 50"/>
                <a:gd name="T38" fmla="*/ 29 w 92"/>
                <a:gd name="T39" fmla="*/ 6 h 50"/>
                <a:gd name="T40" fmla="*/ 30 w 92"/>
                <a:gd name="T4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0">
                  <a:moveTo>
                    <a:pt x="30" y="0"/>
                  </a:moveTo>
                  <a:lnTo>
                    <a:pt x="36" y="6"/>
                  </a:lnTo>
                  <a:lnTo>
                    <a:pt x="42" y="3"/>
                  </a:lnTo>
                  <a:lnTo>
                    <a:pt x="52" y="9"/>
                  </a:lnTo>
                  <a:lnTo>
                    <a:pt x="63" y="19"/>
                  </a:lnTo>
                  <a:lnTo>
                    <a:pt x="66" y="16"/>
                  </a:lnTo>
                  <a:lnTo>
                    <a:pt x="75" y="17"/>
                  </a:lnTo>
                  <a:lnTo>
                    <a:pt x="76" y="22"/>
                  </a:lnTo>
                  <a:lnTo>
                    <a:pt x="86" y="31"/>
                  </a:lnTo>
                  <a:lnTo>
                    <a:pt x="92" y="35"/>
                  </a:lnTo>
                  <a:lnTo>
                    <a:pt x="86" y="38"/>
                  </a:lnTo>
                  <a:lnTo>
                    <a:pt x="83" y="46"/>
                  </a:lnTo>
                  <a:lnTo>
                    <a:pt x="63" y="49"/>
                  </a:lnTo>
                  <a:lnTo>
                    <a:pt x="42" y="43"/>
                  </a:lnTo>
                  <a:lnTo>
                    <a:pt x="35" y="50"/>
                  </a:lnTo>
                  <a:lnTo>
                    <a:pt x="24" y="49"/>
                  </a:lnTo>
                  <a:lnTo>
                    <a:pt x="8" y="34"/>
                  </a:lnTo>
                  <a:lnTo>
                    <a:pt x="0" y="17"/>
                  </a:lnTo>
                  <a:lnTo>
                    <a:pt x="5" y="20"/>
                  </a:lnTo>
                  <a:lnTo>
                    <a:pt x="29" y="6"/>
                  </a:lnTo>
                  <a:lnTo>
                    <a:pt x="3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6" name="Corsica (France)">
              <a:extLst>
                <a:ext uri="{FF2B5EF4-FFF2-40B4-BE49-F238E27FC236}">
                  <a16:creationId xmlns:a16="http://schemas.microsoft.com/office/drawing/2014/main" id="{81F3B332-E2A5-7A55-CAE7-260AC434FB3B}"/>
                </a:ext>
              </a:extLst>
            </p:cNvPr>
            <p:cNvSpPr>
              <a:spLocks/>
            </p:cNvSpPr>
            <p:nvPr/>
          </p:nvSpPr>
          <p:spPr bwMode="auto">
            <a:xfrm>
              <a:off x="6028235" y="3463415"/>
              <a:ext cx="23493" cy="56019"/>
            </a:xfrm>
            <a:custGeom>
              <a:avLst/>
              <a:gdLst>
                <a:gd name="T0" fmla="*/ 10 w 13"/>
                <a:gd name="T1" fmla="*/ 0 h 31"/>
                <a:gd name="T2" fmla="*/ 12 w 13"/>
                <a:gd name="T3" fmla="*/ 0 h 31"/>
                <a:gd name="T4" fmla="*/ 13 w 13"/>
                <a:gd name="T5" fmla="*/ 15 h 31"/>
                <a:gd name="T6" fmla="*/ 10 w 13"/>
                <a:gd name="T7" fmla="*/ 30 h 31"/>
                <a:gd name="T8" fmla="*/ 9 w 13"/>
                <a:gd name="T9" fmla="*/ 31 h 31"/>
                <a:gd name="T10" fmla="*/ 9 w 13"/>
                <a:gd name="T11" fmla="*/ 30 h 31"/>
                <a:gd name="T12" fmla="*/ 1 w 13"/>
                <a:gd name="T13" fmla="*/ 23 h 31"/>
                <a:gd name="T14" fmla="*/ 0 w 13"/>
                <a:gd name="T15" fmla="*/ 11 h 31"/>
                <a:gd name="T16" fmla="*/ 1 w 13"/>
                <a:gd name="T17" fmla="*/ 8 h 31"/>
                <a:gd name="T18" fmla="*/ 9 w 13"/>
                <a:gd name="T19" fmla="*/ 5 h 31"/>
                <a:gd name="T20" fmla="*/ 10 w 13"/>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1">
                  <a:moveTo>
                    <a:pt x="10" y="0"/>
                  </a:moveTo>
                  <a:lnTo>
                    <a:pt x="12" y="0"/>
                  </a:lnTo>
                  <a:lnTo>
                    <a:pt x="13" y="15"/>
                  </a:lnTo>
                  <a:lnTo>
                    <a:pt x="10" y="30"/>
                  </a:lnTo>
                  <a:lnTo>
                    <a:pt x="9" y="31"/>
                  </a:lnTo>
                  <a:lnTo>
                    <a:pt x="9" y="30"/>
                  </a:lnTo>
                  <a:lnTo>
                    <a:pt x="1" y="23"/>
                  </a:lnTo>
                  <a:lnTo>
                    <a:pt x="0" y="11"/>
                  </a:lnTo>
                  <a:lnTo>
                    <a:pt x="1" y="8"/>
                  </a:lnTo>
                  <a:lnTo>
                    <a:pt x="9" y="5"/>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7" name="Kaliningrad (Russia)">
              <a:extLst>
                <a:ext uri="{FF2B5EF4-FFF2-40B4-BE49-F238E27FC236}">
                  <a16:creationId xmlns:a16="http://schemas.microsoft.com/office/drawing/2014/main" id="{EA08E5B6-F3AA-58C5-5A14-2531A04E7F6F}"/>
                </a:ext>
              </a:extLst>
            </p:cNvPr>
            <p:cNvSpPr>
              <a:spLocks/>
            </p:cNvSpPr>
            <p:nvPr/>
          </p:nvSpPr>
          <p:spPr bwMode="auto">
            <a:xfrm>
              <a:off x="6288452" y="3018878"/>
              <a:ext cx="79511" cy="39755"/>
            </a:xfrm>
            <a:custGeom>
              <a:avLst/>
              <a:gdLst>
                <a:gd name="T0" fmla="*/ 20 w 44"/>
                <a:gd name="T1" fmla="*/ 0 h 22"/>
                <a:gd name="T2" fmla="*/ 22 w 44"/>
                <a:gd name="T3" fmla="*/ 0 h 22"/>
                <a:gd name="T4" fmla="*/ 32 w 44"/>
                <a:gd name="T5" fmla="*/ 5 h 22"/>
                <a:gd name="T6" fmla="*/ 41 w 44"/>
                <a:gd name="T7" fmla="*/ 6 h 22"/>
                <a:gd name="T8" fmla="*/ 44 w 44"/>
                <a:gd name="T9" fmla="*/ 12 h 22"/>
                <a:gd name="T10" fmla="*/ 43 w 44"/>
                <a:gd name="T11" fmla="*/ 21 h 22"/>
                <a:gd name="T12" fmla="*/ 43 w 44"/>
                <a:gd name="T13" fmla="*/ 22 h 22"/>
                <a:gd name="T14" fmla="*/ 18 w 44"/>
                <a:gd name="T15" fmla="*/ 22 h 22"/>
                <a:gd name="T16" fmla="*/ 0 w 44"/>
                <a:gd name="T17" fmla="*/ 21 h 22"/>
                <a:gd name="T18" fmla="*/ 0 w 44"/>
                <a:gd name="T19" fmla="*/ 20 h 22"/>
                <a:gd name="T20" fmla="*/ 4 w 44"/>
                <a:gd name="T21" fmla="*/ 8 h 22"/>
                <a:gd name="T22" fmla="*/ 15 w 44"/>
                <a:gd name="T23" fmla="*/ 3 h 22"/>
                <a:gd name="T24" fmla="*/ 16 w 44"/>
                <a:gd name="T25" fmla="*/ 3 h 22"/>
                <a:gd name="T26" fmla="*/ 16 w 44"/>
                <a:gd name="T27" fmla="*/ 5 h 22"/>
                <a:gd name="T28" fmla="*/ 15 w 44"/>
                <a:gd name="T29" fmla="*/ 6 h 22"/>
                <a:gd name="T30" fmla="*/ 19 w 44"/>
                <a:gd name="T31" fmla="*/ 8 h 22"/>
                <a:gd name="T32" fmla="*/ 20 w 44"/>
                <a:gd name="T33" fmla="*/ 2 h 22"/>
                <a:gd name="T34" fmla="*/ 20 w 4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22">
                  <a:moveTo>
                    <a:pt x="20" y="0"/>
                  </a:moveTo>
                  <a:lnTo>
                    <a:pt x="22" y="0"/>
                  </a:lnTo>
                  <a:lnTo>
                    <a:pt x="32" y="5"/>
                  </a:lnTo>
                  <a:lnTo>
                    <a:pt x="41" y="6"/>
                  </a:lnTo>
                  <a:lnTo>
                    <a:pt x="44" y="12"/>
                  </a:lnTo>
                  <a:lnTo>
                    <a:pt x="43" y="21"/>
                  </a:lnTo>
                  <a:lnTo>
                    <a:pt x="43" y="22"/>
                  </a:lnTo>
                  <a:lnTo>
                    <a:pt x="18" y="22"/>
                  </a:lnTo>
                  <a:lnTo>
                    <a:pt x="0" y="21"/>
                  </a:lnTo>
                  <a:lnTo>
                    <a:pt x="0" y="20"/>
                  </a:lnTo>
                  <a:lnTo>
                    <a:pt x="4" y="8"/>
                  </a:lnTo>
                  <a:lnTo>
                    <a:pt x="15" y="3"/>
                  </a:lnTo>
                  <a:lnTo>
                    <a:pt x="16" y="3"/>
                  </a:lnTo>
                  <a:lnTo>
                    <a:pt x="16" y="5"/>
                  </a:lnTo>
                  <a:lnTo>
                    <a:pt x="15" y="6"/>
                  </a:lnTo>
                  <a:lnTo>
                    <a:pt x="19" y="8"/>
                  </a:lnTo>
                  <a:lnTo>
                    <a:pt x="20" y="2"/>
                  </a:lnTo>
                  <a:lnTo>
                    <a:pt x="2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8" name="Luxembourg">
              <a:extLst>
                <a:ext uri="{FF2B5EF4-FFF2-40B4-BE49-F238E27FC236}">
                  <a16:creationId xmlns:a16="http://schemas.microsoft.com/office/drawing/2014/main" id="{BB6931AE-FDBB-B784-DF9C-B76ECC50E0A9}"/>
                </a:ext>
              </a:extLst>
            </p:cNvPr>
            <p:cNvSpPr>
              <a:spLocks/>
            </p:cNvSpPr>
            <p:nvPr/>
          </p:nvSpPr>
          <p:spPr bwMode="auto">
            <a:xfrm>
              <a:off x="5957760" y="3217654"/>
              <a:ext cx="19879" cy="27107"/>
            </a:xfrm>
            <a:custGeom>
              <a:avLst/>
              <a:gdLst>
                <a:gd name="T0" fmla="*/ 6 w 11"/>
                <a:gd name="T1" fmla="*/ 0 h 15"/>
                <a:gd name="T2" fmla="*/ 8 w 11"/>
                <a:gd name="T3" fmla="*/ 1 h 15"/>
                <a:gd name="T4" fmla="*/ 11 w 11"/>
                <a:gd name="T5" fmla="*/ 9 h 15"/>
                <a:gd name="T6" fmla="*/ 9 w 11"/>
                <a:gd name="T7" fmla="*/ 13 h 15"/>
                <a:gd name="T8" fmla="*/ 9 w 11"/>
                <a:gd name="T9" fmla="*/ 15 h 15"/>
                <a:gd name="T10" fmla="*/ 2 w 11"/>
                <a:gd name="T11" fmla="*/ 13 h 15"/>
                <a:gd name="T12" fmla="*/ 0 w 11"/>
                <a:gd name="T13" fmla="*/ 7 h 15"/>
                <a:gd name="T14" fmla="*/ 0 w 11"/>
                <a:gd name="T15" fmla="*/ 6 h 15"/>
                <a:gd name="T16" fmla="*/ 6 w 1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5">
                  <a:moveTo>
                    <a:pt x="6" y="0"/>
                  </a:moveTo>
                  <a:lnTo>
                    <a:pt x="8" y="1"/>
                  </a:lnTo>
                  <a:lnTo>
                    <a:pt x="11" y="9"/>
                  </a:lnTo>
                  <a:lnTo>
                    <a:pt x="9" y="13"/>
                  </a:lnTo>
                  <a:lnTo>
                    <a:pt x="9" y="15"/>
                  </a:lnTo>
                  <a:lnTo>
                    <a:pt x="2" y="13"/>
                  </a:lnTo>
                  <a:lnTo>
                    <a:pt x="0" y="7"/>
                  </a:lnTo>
                  <a:lnTo>
                    <a:pt x="0" y="6"/>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9" name="Hungary">
              <a:extLst>
                <a:ext uri="{FF2B5EF4-FFF2-40B4-BE49-F238E27FC236}">
                  <a16:creationId xmlns:a16="http://schemas.microsoft.com/office/drawing/2014/main" id="{D8158179-0CF2-9DCB-AE66-5E8923614685}"/>
                </a:ext>
              </a:extLst>
            </p:cNvPr>
            <p:cNvSpPr>
              <a:spLocks/>
            </p:cNvSpPr>
            <p:nvPr/>
          </p:nvSpPr>
          <p:spPr bwMode="auto">
            <a:xfrm>
              <a:off x="6205327" y="3277287"/>
              <a:ext cx="160829" cy="97581"/>
            </a:xfrm>
            <a:custGeom>
              <a:avLst/>
              <a:gdLst>
                <a:gd name="T0" fmla="*/ 61 w 89"/>
                <a:gd name="T1" fmla="*/ 0 h 54"/>
                <a:gd name="T2" fmla="*/ 65 w 89"/>
                <a:gd name="T3" fmla="*/ 0 h 54"/>
                <a:gd name="T4" fmla="*/ 68 w 89"/>
                <a:gd name="T5" fmla="*/ 1 h 54"/>
                <a:gd name="T6" fmla="*/ 72 w 89"/>
                <a:gd name="T7" fmla="*/ 1 h 54"/>
                <a:gd name="T8" fmla="*/ 75 w 89"/>
                <a:gd name="T9" fmla="*/ 3 h 54"/>
                <a:gd name="T10" fmla="*/ 80 w 89"/>
                <a:gd name="T11" fmla="*/ 3 h 54"/>
                <a:gd name="T12" fmla="*/ 89 w 89"/>
                <a:gd name="T13" fmla="*/ 11 h 54"/>
                <a:gd name="T14" fmla="*/ 89 w 89"/>
                <a:gd name="T15" fmla="*/ 13 h 54"/>
                <a:gd name="T16" fmla="*/ 78 w 89"/>
                <a:gd name="T17" fmla="*/ 19 h 54"/>
                <a:gd name="T18" fmla="*/ 66 w 89"/>
                <a:gd name="T19" fmla="*/ 43 h 54"/>
                <a:gd name="T20" fmla="*/ 66 w 89"/>
                <a:gd name="T21" fmla="*/ 44 h 54"/>
                <a:gd name="T22" fmla="*/ 55 w 89"/>
                <a:gd name="T23" fmla="*/ 47 h 54"/>
                <a:gd name="T24" fmla="*/ 47 w 89"/>
                <a:gd name="T25" fmla="*/ 47 h 54"/>
                <a:gd name="T26" fmla="*/ 35 w 89"/>
                <a:gd name="T27" fmla="*/ 51 h 54"/>
                <a:gd name="T28" fmla="*/ 25 w 89"/>
                <a:gd name="T29" fmla="*/ 54 h 54"/>
                <a:gd name="T30" fmla="*/ 24 w 89"/>
                <a:gd name="T31" fmla="*/ 54 h 54"/>
                <a:gd name="T32" fmla="*/ 0 w 89"/>
                <a:gd name="T33" fmla="*/ 34 h 54"/>
                <a:gd name="T34" fmla="*/ 0 w 89"/>
                <a:gd name="T35" fmla="*/ 32 h 54"/>
                <a:gd name="T36" fmla="*/ 4 w 89"/>
                <a:gd name="T37" fmla="*/ 29 h 54"/>
                <a:gd name="T38" fmla="*/ 6 w 89"/>
                <a:gd name="T39" fmla="*/ 16 h 54"/>
                <a:gd name="T40" fmla="*/ 13 w 89"/>
                <a:gd name="T41" fmla="*/ 16 h 54"/>
                <a:gd name="T42" fmla="*/ 13 w 89"/>
                <a:gd name="T43" fmla="*/ 8 h 54"/>
                <a:gd name="T44" fmla="*/ 15 w 89"/>
                <a:gd name="T45" fmla="*/ 8 h 54"/>
                <a:gd name="T46" fmla="*/ 15 w 89"/>
                <a:gd name="T47" fmla="*/ 10 h 54"/>
                <a:gd name="T48" fmla="*/ 24 w 89"/>
                <a:gd name="T49" fmla="*/ 16 h 54"/>
                <a:gd name="T50" fmla="*/ 31 w 89"/>
                <a:gd name="T51" fmla="*/ 14 h 54"/>
                <a:gd name="T52" fmla="*/ 34 w 89"/>
                <a:gd name="T53" fmla="*/ 10 h 54"/>
                <a:gd name="T54" fmla="*/ 35 w 89"/>
                <a:gd name="T55" fmla="*/ 10 h 54"/>
                <a:gd name="T56" fmla="*/ 50 w 89"/>
                <a:gd name="T57" fmla="*/ 7 h 54"/>
                <a:gd name="T58" fmla="*/ 61 w 89"/>
                <a:gd name="T5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54">
                  <a:moveTo>
                    <a:pt x="61" y="0"/>
                  </a:moveTo>
                  <a:lnTo>
                    <a:pt x="65" y="0"/>
                  </a:lnTo>
                  <a:lnTo>
                    <a:pt x="68" y="1"/>
                  </a:lnTo>
                  <a:lnTo>
                    <a:pt x="72" y="1"/>
                  </a:lnTo>
                  <a:lnTo>
                    <a:pt x="75" y="3"/>
                  </a:lnTo>
                  <a:lnTo>
                    <a:pt x="80" y="3"/>
                  </a:lnTo>
                  <a:lnTo>
                    <a:pt x="89" y="11"/>
                  </a:lnTo>
                  <a:lnTo>
                    <a:pt x="89" y="13"/>
                  </a:lnTo>
                  <a:lnTo>
                    <a:pt x="78" y="19"/>
                  </a:lnTo>
                  <a:lnTo>
                    <a:pt x="66" y="43"/>
                  </a:lnTo>
                  <a:lnTo>
                    <a:pt x="66" y="44"/>
                  </a:lnTo>
                  <a:lnTo>
                    <a:pt x="55" y="47"/>
                  </a:lnTo>
                  <a:lnTo>
                    <a:pt x="47" y="47"/>
                  </a:lnTo>
                  <a:lnTo>
                    <a:pt x="35" y="51"/>
                  </a:lnTo>
                  <a:lnTo>
                    <a:pt x="25" y="54"/>
                  </a:lnTo>
                  <a:lnTo>
                    <a:pt x="24" y="54"/>
                  </a:lnTo>
                  <a:lnTo>
                    <a:pt x="0" y="34"/>
                  </a:lnTo>
                  <a:lnTo>
                    <a:pt x="0" y="32"/>
                  </a:lnTo>
                  <a:lnTo>
                    <a:pt x="4" y="29"/>
                  </a:lnTo>
                  <a:lnTo>
                    <a:pt x="6" y="16"/>
                  </a:lnTo>
                  <a:lnTo>
                    <a:pt x="13" y="16"/>
                  </a:lnTo>
                  <a:lnTo>
                    <a:pt x="13" y="8"/>
                  </a:lnTo>
                  <a:lnTo>
                    <a:pt x="15" y="8"/>
                  </a:lnTo>
                  <a:lnTo>
                    <a:pt x="15" y="10"/>
                  </a:lnTo>
                  <a:lnTo>
                    <a:pt x="24" y="16"/>
                  </a:lnTo>
                  <a:lnTo>
                    <a:pt x="31" y="14"/>
                  </a:lnTo>
                  <a:lnTo>
                    <a:pt x="34" y="10"/>
                  </a:lnTo>
                  <a:lnTo>
                    <a:pt x="35" y="10"/>
                  </a:lnTo>
                  <a:lnTo>
                    <a:pt x="50" y="7"/>
                  </a:lnTo>
                  <a:lnTo>
                    <a:pt x="6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0" name="Romania">
              <a:extLst>
                <a:ext uri="{FF2B5EF4-FFF2-40B4-BE49-F238E27FC236}">
                  <a16:creationId xmlns:a16="http://schemas.microsoft.com/office/drawing/2014/main" id="{F5D288B9-4A8F-7AD3-80CB-85CD4341FDB9}"/>
                </a:ext>
              </a:extLst>
            </p:cNvPr>
            <p:cNvSpPr>
              <a:spLocks/>
            </p:cNvSpPr>
            <p:nvPr/>
          </p:nvSpPr>
          <p:spPr bwMode="auto">
            <a:xfrm>
              <a:off x="6301102" y="3288129"/>
              <a:ext cx="225883" cy="157215"/>
            </a:xfrm>
            <a:custGeom>
              <a:avLst/>
              <a:gdLst>
                <a:gd name="T0" fmla="*/ 86 w 125"/>
                <a:gd name="T1" fmla="*/ 0 h 87"/>
                <a:gd name="T2" fmla="*/ 88 w 125"/>
                <a:gd name="T3" fmla="*/ 0 h 87"/>
                <a:gd name="T4" fmla="*/ 95 w 125"/>
                <a:gd name="T5" fmla="*/ 8 h 87"/>
                <a:gd name="T6" fmla="*/ 104 w 125"/>
                <a:gd name="T7" fmla="*/ 28 h 87"/>
                <a:gd name="T8" fmla="*/ 107 w 125"/>
                <a:gd name="T9" fmla="*/ 53 h 87"/>
                <a:gd name="T10" fmla="*/ 111 w 125"/>
                <a:gd name="T11" fmla="*/ 56 h 87"/>
                <a:gd name="T12" fmla="*/ 113 w 125"/>
                <a:gd name="T13" fmla="*/ 56 h 87"/>
                <a:gd name="T14" fmla="*/ 114 w 125"/>
                <a:gd name="T15" fmla="*/ 54 h 87"/>
                <a:gd name="T16" fmla="*/ 120 w 125"/>
                <a:gd name="T17" fmla="*/ 54 h 87"/>
                <a:gd name="T18" fmla="*/ 122 w 125"/>
                <a:gd name="T19" fmla="*/ 53 h 87"/>
                <a:gd name="T20" fmla="*/ 125 w 125"/>
                <a:gd name="T21" fmla="*/ 53 h 87"/>
                <a:gd name="T22" fmla="*/ 125 w 125"/>
                <a:gd name="T23" fmla="*/ 54 h 87"/>
                <a:gd name="T24" fmla="*/ 123 w 125"/>
                <a:gd name="T25" fmla="*/ 66 h 87"/>
                <a:gd name="T26" fmla="*/ 117 w 125"/>
                <a:gd name="T27" fmla="*/ 72 h 87"/>
                <a:gd name="T28" fmla="*/ 116 w 125"/>
                <a:gd name="T29" fmla="*/ 72 h 87"/>
                <a:gd name="T30" fmla="*/ 116 w 125"/>
                <a:gd name="T31" fmla="*/ 71 h 87"/>
                <a:gd name="T32" fmla="*/ 117 w 125"/>
                <a:gd name="T33" fmla="*/ 66 h 87"/>
                <a:gd name="T34" fmla="*/ 116 w 125"/>
                <a:gd name="T35" fmla="*/ 65 h 87"/>
                <a:gd name="T36" fmla="*/ 113 w 125"/>
                <a:gd name="T37" fmla="*/ 84 h 87"/>
                <a:gd name="T38" fmla="*/ 89 w 125"/>
                <a:gd name="T39" fmla="*/ 78 h 87"/>
                <a:gd name="T40" fmla="*/ 70 w 125"/>
                <a:gd name="T41" fmla="*/ 87 h 87"/>
                <a:gd name="T42" fmla="*/ 39 w 125"/>
                <a:gd name="T43" fmla="*/ 84 h 87"/>
                <a:gd name="T44" fmla="*/ 37 w 125"/>
                <a:gd name="T45" fmla="*/ 84 h 87"/>
                <a:gd name="T46" fmla="*/ 34 w 125"/>
                <a:gd name="T47" fmla="*/ 81 h 87"/>
                <a:gd name="T48" fmla="*/ 36 w 125"/>
                <a:gd name="T49" fmla="*/ 78 h 87"/>
                <a:gd name="T50" fmla="*/ 34 w 125"/>
                <a:gd name="T51" fmla="*/ 78 h 87"/>
                <a:gd name="T52" fmla="*/ 30 w 125"/>
                <a:gd name="T53" fmla="*/ 72 h 87"/>
                <a:gd name="T54" fmla="*/ 31 w 125"/>
                <a:gd name="T55" fmla="*/ 71 h 87"/>
                <a:gd name="T56" fmla="*/ 31 w 125"/>
                <a:gd name="T57" fmla="*/ 69 h 87"/>
                <a:gd name="T58" fmla="*/ 28 w 125"/>
                <a:gd name="T59" fmla="*/ 71 h 87"/>
                <a:gd name="T60" fmla="*/ 18 w 125"/>
                <a:gd name="T61" fmla="*/ 65 h 87"/>
                <a:gd name="T62" fmla="*/ 16 w 125"/>
                <a:gd name="T63" fmla="*/ 65 h 87"/>
                <a:gd name="T64" fmla="*/ 16 w 125"/>
                <a:gd name="T65" fmla="*/ 59 h 87"/>
                <a:gd name="T66" fmla="*/ 13 w 125"/>
                <a:gd name="T67" fmla="*/ 57 h 87"/>
                <a:gd name="T68" fmla="*/ 12 w 125"/>
                <a:gd name="T69" fmla="*/ 57 h 87"/>
                <a:gd name="T70" fmla="*/ 8 w 125"/>
                <a:gd name="T71" fmla="*/ 45 h 87"/>
                <a:gd name="T72" fmla="*/ 0 w 125"/>
                <a:gd name="T73" fmla="*/ 41 h 87"/>
                <a:gd name="T74" fmla="*/ 2 w 125"/>
                <a:gd name="T75" fmla="*/ 40 h 87"/>
                <a:gd name="T76" fmla="*/ 12 w 125"/>
                <a:gd name="T77" fmla="*/ 37 h 87"/>
                <a:gd name="T78" fmla="*/ 24 w 125"/>
                <a:gd name="T79" fmla="*/ 13 h 87"/>
                <a:gd name="T80" fmla="*/ 34 w 125"/>
                <a:gd name="T81" fmla="*/ 5 h 87"/>
                <a:gd name="T82" fmla="*/ 58 w 125"/>
                <a:gd name="T83" fmla="*/ 4 h 87"/>
                <a:gd name="T84" fmla="*/ 64 w 125"/>
                <a:gd name="T85" fmla="*/ 8 h 87"/>
                <a:gd name="T86" fmla="*/ 86 w 125"/>
                <a:gd name="T8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 h="87">
                  <a:moveTo>
                    <a:pt x="86" y="0"/>
                  </a:moveTo>
                  <a:lnTo>
                    <a:pt x="88" y="0"/>
                  </a:lnTo>
                  <a:lnTo>
                    <a:pt x="95" y="8"/>
                  </a:lnTo>
                  <a:lnTo>
                    <a:pt x="104" y="28"/>
                  </a:lnTo>
                  <a:lnTo>
                    <a:pt x="107" y="53"/>
                  </a:lnTo>
                  <a:lnTo>
                    <a:pt x="111" y="56"/>
                  </a:lnTo>
                  <a:lnTo>
                    <a:pt x="113" y="56"/>
                  </a:lnTo>
                  <a:lnTo>
                    <a:pt x="114" y="54"/>
                  </a:lnTo>
                  <a:lnTo>
                    <a:pt x="120" y="54"/>
                  </a:lnTo>
                  <a:lnTo>
                    <a:pt x="122" y="53"/>
                  </a:lnTo>
                  <a:lnTo>
                    <a:pt x="125" y="53"/>
                  </a:lnTo>
                  <a:lnTo>
                    <a:pt x="125" y="54"/>
                  </a:lnTo>
                  <a:lnTo>
                    <a:pt x="123" y="66"/>
                  </a:lnTo>
                  <a:lnTo>
                    <a:pt x="117" y="72"/>
                  </a:lnTo>
                  <a:lnTo>
                    <a:pt x="116" y="72"/>
                  </a:lnTo>
                  <a:lnTo>
                    <a:pt x="116" y="71"/>
                  </a:lnTo>
                  <a:lnTo>
                    <a:pt x="117" y="66"/>
                  </a:lnTo>
                  <a:lnTo>
                    <a:pt x="116" y="65"/>
                  </a:lnTo>
                  <a:lnTo>
                    <a:pt x="113" y="84"/>
                  </a:lnTo>
                  <a:lnTo>
                    <a:pt x="89" y="78"/>
                  </a:lnTo>
                  <a:lnTo>
                    <a:pt x="70" y="87"/>
                  </a:lnTo>
                  <a:lnTo>
                    <a:pt x="39" y="84"/>
                  </a:lnTo>
                  <a:lnTo>
                    <a:pt x="37" y="84"/>
                  </a:lnTo>
                  <a:lnTo>
                    <a:pt x="34" y="81"/>
                  </a:lnTo>
                  <a:lnTo>
                    <a:pt x="36" y="78"/>
                  </a:lnTo>
                  <a:lnTo>
                    <a:pt x="34" y="78"/>
                  </a:lnTo>
                  <a:lnTo>
                    <a:pt x="30" y="72"/>
                  </a:lnTo>
                  <a:lnTo>
                    <a:pt x="31" y="71"/>
                  </a:lnTo>
                  <a:lnTo>
                    <a:pt x="31" y="69"/>
                  </a:lnTo>
                  <a:lnTo>
                    <a:pt x="28" y="71"/>
                  </a:lnTo>
                  <a:lnTo>
                    <a:pt x="18" y="65"/>
                  </a:lnTo>
                  <a:lnTo>
                    <a:pt x="16" y="65"/>
                  </a:lnTo>
                  <a:lnTo>
                    <a:pt x="16" y="59"/>
                  </a:lnTo>
                  <a:lnTo>
                    <a:pt x="13" y="57"/>
                  </a:lnTo>
                  <a:lnTo>
                    <a:pt x="12" y="57"/>
                  </a:lnTo>
                  <a:lnTo>
                    <a:pt x="8" y="45"/>
                  </a:lnTo>
                  <a:lnTo>
                    <a:pt x="0" y="41"/>
                  </a:lnTo>
                  <a:lnTo>
                    <a:pt x="2" y="40"/>
                  </a:lnTo>
                  <a:lnTo>
                    <a:pt x="12" y="37"/>
                  </a:lnTo>
                  <a:lnTo>
                    <a:pt x="24" y="13"/>
                  </a:lnTo>
                  <a:lnTo>
                    <a:pt x="34" y="5"/>
                  </a:lnTo>
                  <a:lnTo>
                    <a:pt x="58" y="4"/>
                  </a:lnTo>
                  <a:lnTo>
                    <a:pt x="64" y="8"/>
                  </a:lnTo>
                  <a:lnTo>
                    <a:pt x="8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1" name="Slovenia">
              <a:extLst>
                <a:ext uri="{FF2B5EF4-FFF2-40B4-BE49-F238E27FC236}">
                  <a16:creationId xmlns:a16="http://schemas.microsoft.com/office/drawing/2014/main" id="{658743EB-F635-2301-2D5F-FD4CE3164FFB}"/>
                </a:ext>
              </a:extLst>
            </p:cNvPr>
            <p:cNvSpPr>
              <a:spLocks/>
            </p:cNvSpPr>
            <p:nvPr/>
          </p:nvSpPr>
          <p:spPr bwMode="auto">
            <a:xfrm>
              <a:off x="6140273" y="3335113"/>
              <a:ext cx="72283" cy="45177"/>
            </a:xfrm>
            <a:custGeom>
              <a:avLst/>
              <a:gdLst>
                <a:gd name="T0" fmla="*/ 36 w 40"/>
                <a:gd name="T1" fmla="*/ 0 h 25"/>
                <a:gd name="T2" fmla="*/ 37 w 40"/>
                <a:gd name="T3" fmla="*/ 0 h 25"/>
                <a:gd name="T4" fmla="*/ 40 w 40"/>
                <a:gd name="T5" fmla="*/ 3 h 25"/>
                <a:gd name="T6" fmla="*/ 40 w 40"/>
                <a:gd name="T7" fmla="*/ 5 h 25"/>
                <a:gd name="T8" fmla="*/ 39 w 40"/>
                <a:gd name="T9" fmla="*/ 8 h 25"/>
                <a:gd name="T10" fmla="*/ 30 w 40"/>
                <a:gd name="T11" fmla="*/ 12 h 25"/>
                <a:gd name="T12" fmla="*/ 25 w 40"/>
                <a:gd name="T13" fmla="*/ 24 h 25"/>
                <a:gd name="T14" fmla="*/ 15 w 40"/>
                <a:gd name="T15" fmla="*/ 22 h 25"/>
                <a:gd name="T16" fmla="*/ 8 w 40"/>
                <a:gd name="T17" fmla="*/ 25 h 25"/>
                <a:gd name="T18" fmla="*/ 8 w 40"/>
                <a:gd name="T19" fmla="*/ 24 h 25"/>
                <a:gd name="T20" fmla="*/ 5 w 40"/>
                <a:gd name="T21" fmla="*/ 19 h 25"/>
                <a:gd name="T22" fmla="*/ 3 w 40"/>
                <a:gd name="T23" fmla="*/ 14 h 25"/>
                <a:gd name="T24" fmla="*/ 0 w 40"/>
                <a:gd name="T25" fmla="*/ 14 h 25"/>
                <a:gd name="T26" fmla="*/ 0 w 40"/>
                <a:gd name="T27" fmla="*/ 12 h 25"/>
                <a:gd name="T28" fmla="*/ 5 w 40"/>
                <a:gd name="T29" fmla="*/ 8 h 25"/>
                <a:gd name="T30" fmla="*/ 17 w 40"/>
                <a:gd name="T31" fmla="*/ 8 h 25"/>
                <a:gd name="T32" fmla="*/ 36 w 40"/>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25">
                  <a:moveTo>
                    <a:pt x="36" y="0"/>
                  </a:moveTo>
                  <a:lnTo>
                    <a:pt x="37" y="0"/>
                  </a:lnTo>
                  <a:lnTo>
                    <a:pt x="40" y="3"/>
                  </a:lnTo>
                  <a:lnTo>
                    <a:pt x="40" y="5"/>
                  </a:lnTo>
                  <a:lnTo>
                    <a:pt x="39" y="8"/>
                  </a:lnTo>
                  <a:lnTo>
                    <a:pt x="30" y="12"/>
                  </a:lnTo>
                  <a:lnTo>
                    <a:pt x="25" y="24"/>
                  </a:lnTo>
                  <a:lnTo>
                    <a:pt x="15" y="22"/>
                  </a:lnTo>
                  <a:lnTo>
                    <a:pt x="8" y="25"/>
                  </a:lnTo>
                  <a:lnTo>
                    <a:pt x="8" y="24"/>
                  </a:lnTo>
                  <a:lnTo>
                    <a:pt x="5" y="19"/>
                  </a:lnTo>
                  <a:lnTo>
                    <a:pt x="3" y="14"/>
                  </a:lnTo>
                  <a:lnTo>
                    <a:pt x="0" y="14"/>
                  </a:lnTo>
                  <a:lnTo>
                    <a:pt x="0" y="12"/>
                  </a:lnTo>
                  <a:lnTo>
                    <a:pt x="5" y="8"/>
                  </a:lnTo>
                  <a:lnTo>
                    <a:pt x="17" y="8"/>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2" name="Bosnia &amp; Herzegovina">
              <a:extLst>
                <a:ext uri="{FF2B5EF4-FFF2-40B4-BE49-F238E27FC236}">
                  <a16:creationId xmlns:a16="http://schemas.microsoft.com/office/drawing/2014/main" id="{391F262E-483E-F4E7-960D-8829D7E27339}"/>
                </a:ext>
              </a:extLst>
            </p:cNvPr>
            <p:cNvSpPr>
              <a:spLocks/>
            </p:cNvSpPr>
            <p:nvPr/>
          </p:nvSpPr>
          <p:spPr bwMode="auto">
            <a:xfrm>
              <a:off x="6194485" y="3383904"/>
              <a:ext cx="95775" cy="90353"/>
            </a:xfrm>
            <a:custGeom>
              <a:avLst/>
              <a:gdLst>
                <a:gd name="T0" fmla="*/ 4 w 53"/>
                <a:gd name="T1" fmla="*/ 0 h 50"/>
                <a:gd name="T2" fmla="*/ 6 w 53"/>
                <a:gd name="T3" fmla="*/ 0 h 50"/>
                <a:gd name="T4" fmla="*/ 9 w 53"/>
                <a:gd name="T5" fmla="*/ 4 h 50"/>
                <a:gd name="T6" fmla="*/ 16 w 53"/>
                <a:gd name="T7" fmla="*/ 0 h 50"/>
                <a:gd name="T8" fmla="*/ 21 w 53"/>
                <a:gd name="T9" fmla="*/ 0 h 50"/>
                <a:gd name="T10" fmla="*/ 25 w 53"/>
                <a:gd name="T11" fmla="*/ 1 h 50"/>
                <a:gd name="T12" fmla="*/ 30 w 53"/>
                <a:gd name="T13" fmla="*/ 1 h 50"/>
                <a:gd name="T14" fmla="*/ 32 w 53"/>
                <a:gd name="T15" fmla="*/ 3 h 50"/>
                <a:gd name="T16" fmla="*/ 37 w 53"/>
                <a:gd name="T17" fmla="*/ 4 h 50"/>
                <a:gd name="T18" fmla="*/ 40 w 53"/>
                <a:gd name="T19" fmla="*/ 4 h 50"/>
                <a:gd name="T20" fmla="*/ 44 w 53"/>
                <a:gd name="T21" fmla="*/ 10 h 50"/>
                <a:gd name="T22" fmla="*/ 46 w 53"/>
                <a:gd name="T23" fmla="*/ 9 h 50"/>
                <a:gd name="T24" fmla="*/ 50 w 53"/>
                <a:gd name="T25" fmla="*/ 10 h 50"/>
                <a:gd name="T26" fmla="*/ 52 w 53"/>
                <a:gd name="T27" fmla="*/ 10 h 50"/>
                <a:gd name="T28" fmla="*/ 46 w 53"/>
                <a:gd name="T29" fmla="*/ 19 h 50"/>
                <a:gd name="T30" fmla="*/ 53 w 53"/>
                <a:gd name="T31" fmla="*/ 24 h 50"/>
                <a:gd name="T32" fmla="*/ 53 w 53"/>
                <a:gd name="T33" fmla="*/ 25 h 50"/>
                <a:gd name="T34" fmla="*/ 52 w 53"/>
                <a:gd name="T35" fmla="*/ 27 h 50"/>
                <a:gd name="T36" fmla="*/ 49 w 53"/>
                <a:gd name="T37" fmla="*/ 28 h 50"/>
                <a:gd name="T38" fmla="*/ 52 w 53"/>
                <a:gd name="T39" fmla="*/ 32 h 50"/>
                <a:gd name="T40" fmla="*/ 50 w 53"/>
                <a:gd name="T41" fmla="*/ 32 h 50"/>
                <a:gd name="T42" fmla="*/ 47 w 53"/>
                <a:gd name="T43" fmla="*/ 35 h 50"/>
                <a:gd name="T44" fmla="*/ 44 w 53"/>
                <a:gd name="T45" fmla="*/ 35 h 50"/>
                <a:gd name="T46" fmla="*/ 46 w 53"/>
                <a:gd name="T47" fmla="*/ 37 h 50"/>
                <a:gd name="T48" fmla="*/ 46 w 53"/>
                <a:gd name="T49" fmla="*/ 38 h 50"/>
                <a:gd name="T50" fmla="*/ 44 w 53"/>
                <a:gd name="T51" fmla="*/ 38 h 50"/>
                <a:gd name="T52" fmla="*/ 40 w 53"/>
                <a:gd name="T53" fmla="*/ 35 h 50"/>
                <a:gd name="T54" fmla="*/ 38 w 53"/>
                <a:gd name="T55" fmla="*/ 37 h 50"/>
                <a:gd name="T56" fmla="*/ 41 w 53"/>
                <a:gd name="T57" fmla="*/ 41 h 50"/>
                <a:gd name="T58" fmla="*/ 37 w 53"/>
                <a:gd name="T59" fmla="*/ 44 h 50"/>
                <a:gd name="T60" fmla="*/ 38 w 53"/>
                <a:gd name="T61" fmla="*/ 50 h 50"/>
                <a:gd name="T62" fmla="*/ 37 w 53"/>
                <a:gd name="T63" fmla="*/ 50 h 50"/>
                <a:gd name="T64" fmla="*/ 21 w 53"/>
                <a:gd name="T65" fmla="*/ 37 h 50"/>
                <a:gd name="T66" fmla="*/ 4 w 53"/>
                <a:gd name="T67" fmla="*/ 12 h 50"/>
                <a:gd name="T68" fmla="*/ 0 w 53"/>
                <a:gd name="T69" fmla="*/ 9 h 50"/>
                <a:gd name="T70" fmla="*/ 0 w 53"/>
                <a:gd name="T71" fmla="*/ 7 h 50"/>
                <a:gd name="T72" fmla="*/ 4 w 53"/>
                <a:gd name="T7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50">
                  <a:moveTo>
                    <a:pt x="4" y="0"/>
                  </a:moveTo>
                  <a:lnTo>
                    <a:pt x="6" y="0"/>
                  </a:lnTo>
                  <a:lnTo>
                    <a:pt x="9" y="4"/>
                  </a:lnTo>
                  <a:lnTo>
                    <a:pt x="16" y="0"/>
                  </a:lnTo>
                  <a:lnTo>
                    <a:pt x="21" y="0"/>
                  </a:lnTo>
                  <a:lnTo>
                    <a:pt x="25" y="1"/>
                  </a:lnTo>
                  <a:lnTo>
                    <a:pt x="30" y="1"/>
                  </a:lnTo>
                  <a:lnTo>
                    <a:pt x="32" y="3"/>
                  </a:lnTo>
                  <a:lnTo>
                    <a:pt x="37" y="4"/>
                  </a:lnTo>
                  <a:lnTo>
                    <a:pt x="40" y="4"/>
                  </a:lnTo>
                  <a:lnTo>
                    <a:pt x="44" y="10"/>
                  </a:lnTo>
                  <a:lnTo>
                    <a:pt x="46" y="9"/>
                  </a:lnTo>
                  <a:lnTo>
                    <a:pt x="50" y="10"/>
                  </a:lnTo>
                  <a:lnTo>
                    <a:pt x="52" y="10"/>
                  </a:lnTo>
                  <a:lnTo>
                    <a:pt x="46" y="19"/>
                  </a:lnTo>
                  <a:lnTo>
                    <a:pt x="53" y="24"/>
                  </a:lnTo>
                  <a:lnTo>
                    <a:pt x="53" y="25"/>
                  </a:lnTo>
                  <a:lnTo>
                    <a:pt x="52" y="27"/>
                  </a:lnTo>
                  <a:lnTo>
                    <a:pt x="49" y="28"/>
                  </a:lnTo>
                  <a:lnTo>
                    <a:pt x="52" y="32"/>
                  </a:lnTo>
                  <a:lnTo>
                    <a:pt x="50" y="32"/>
                  </a:lnTo>
                  <a:lnTo>
                    <a:pt x="47" y="35"/>
                  </a:lnTo>
                  <a:lnTo>
                    <a:pt x="44" y="35"/>
                  </a:lnTo>
                  <a:lnTo>
                    <a:pt x="46" y="37"/>
                  </a:lnTo>
                  <a:lnTo>
                    <a:pt x="46" y="38"/>
                  </a:lnTo>
                  <a:lnTo>
                    <a:pt x="44" y="38"/>
                  </a:lnTo>
                  <a:lnTo>
                    <a:pt x="40" y="35"/>
                  </a:lnTo>
                  <a:lnTo>
                    <a:pt x="38" y="37"/>
                  </a:lnTo>
                  <a:lnTo>
                    <a:pt x="41" y="41"/>
                  </a:lnTo>
                  <a:lnTo>
                    <a:pt x="37" y="44"/>
                  </a:lnTo>
                  <a:lnTo>
                    <a:pt x="38" y="50"/>
                  </a:lnTo>
                  <a:lnTo>
                    <a:pt x="37" y="50"/>
                  </a:lnTo>
                  <a:lnTo>
                    <a:pt x="21" y="37"/>
                  </a:lnTo>
                  <a:lnTo>
                    <a:pt x="4" y="12"/>
                  </a:lnTo>
                  <a:lnTo>
                    <a:pt x="0" y="9"/>
                  </a:lnTo>
                  <a:lnTo>
                    <a:pt x="0" y="7"/>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3" name="Serbia">
              <a:extLst>
                <a:ext uri="{FF2B5EF4-FFF2-40B4-BE49-F238E27FC236}">
                  <a16:creationId xmlns:a16="http://schemas.microsoft.com/office/drawing/2014/main" id="{3755B53C-CEA4-BB9E-69AF-45564FABED0F}"/>
                </a:ext>
              </a:extLst>
            </p:cNvPr>
            <p:cNvSpPr>
              <a:spLocks/>
            </p:cNvSpPr>
            <p:nvPr/>
          </p:nvSpPr>
          <p:spPr bwMode="auto">
            <a:xfrm>
              <a:off x="6266768" y="3360412"/>
              <a:ext cx="99389" cy="135531"/>
            </a:xfrm>
            <a:custGeom>
              <a:avLst/>
              <a:gdLst>
                <a:gd name="T0" fmla="*/ 13 w 55"/>
                <a:gd name="T1" fmla="*/ 0 h 75"/>
                <a:gd name="T2" fmla="*/ 21 w 55"/>
                <a:gd name="T3" fmla="*/ 0 h 75"/>
                <a:gd name="T4" fmla="*/ 27 w 55"/>
                <a:gd name="T5" fmla="*/ 5 h 75"/>
                <a:gd name="T6" fmla="*/ 32 w 55"/>
                <a:gd name="T7" fmla="*/ 16 h 75"/>
                <a:gd name="T8" fmla="*/ 37 w 55"/>
                <a:gd name="T9" fmla="*/ 17 h 75"/>
                <a:gd name="T10" fmla="*/ 37 w 55"/>
                <a:gd name="T11" fmla="*/ 23 h 75"/>
                <a:gd name="T12" fmla="*/ 47 w 55"/>
                <a:gd name="T13" fmla="*/ 29 h 75"/>
                <a:gd name="T14" fmla="*/ 49 w 55"/>
                <a:gd name="T15" fmla="*/ 26 h 75"/>
                <a:gd name="T16" fmla="*/ 50 w 55"/>
                <a:gd name="T17" fmla="*/ 26 h 75"/>
                <a:gd name="T18" fmla="*/ 50 w 55"/>
                <a:gd name="T19" fmla="*/ 28 h 75"/>
                <a:gd name="T20" fmla="*/ 53 w 55"/>
                <a:gd name="T21" fmla="*/ 29 h 75"/>
                <a:gd name="T22" fmla="*/ 53 w 55"/>
                <a:gd name="T23" fmla="*/ 31 h 75"/>
                <a:gd name="T24" fmla="*/ 52 w 55"/>
                <a:gd name="T25" fmla="*/ 31 h 75"/>
                <a:gd name="T26" fmla="*/ 50 w 55"/>
                <a:gd name="T27" fmla="*/ 32 h 75"/>
                <a:gd name="T28" fmla="*/ 53 w 55"/>
                <a:gd name="T29" fmla="*/ 37 h 75"/>
                <a:gd name="T30" fmla="*/ 55 w 55"/>
                <a:gd name="T31" fmla="*/ 37 h 75"/>
                <a:gd name="T32" fmla="*/ 55 w 55"/>
                <a:gd name="T33" fmla="*/ 38 h 75"/>
                <a:gd name="T34" fmla="*/ 53 w 55"/>
                <a:gd name="T35" fmla="*/ 38 h 75"/>
                <a:gd name="T36" fmla="*/ 50 w 55"/>
                <a:gd name="T37" fmla="*/ 40 h 75"/>
                <a:gd name="T38" fmla="*/ 49 w 55"/>
                <a:gd name="T39" fmla="*/ 44 h 75"/>
                <a:gd name="T40" fmla="*/ 50 w 55"/>
                <a:gd name="T41" fmla="*/ 48 h 75"/>
                <a:gd name="T42" fmla="*/ 55 w 55"/>
                <a:gd name="T43" fmla="*/ 56 h 75"/>
                <a:gd name="T44" fmla="*/ 55 w 55"/>
                <a:gd name="T45" fmla="*/ 57 h 75"/>
                <a:gd name="T46" fmla="*/ 50 w 55"/>
                <a:gd name="T47" fmla="*/ 66 h 75"/>
                <a:gd name="T48" fmla="*/ 50 w 55"/>
                <a:gd name="T49" fmla="*/ 69 h 75"/>
                <a:gd name="T50" fmla="*/ 46 w 55"/>
                <a:gd name="T51" fmla="*/ 69 h 75"/>
                <a:gd name="T52" fmla="*/ 43 w 55"/>
                <a:gd name="T53" fmla="*/ 68 h 75"/>
                <a:gd name="T54" fmla="*/ 35 w 55"/>
                <a:gd name="T55" fmla="*/ 68 h 75"/>
                <a:gd name="T56" fmla="*/ 27 w 55"/>
                <a:gd name="T57" fmla="*/ 75 h 75"/>
                <a:gd name="T58" fmla="*/ 25 w 55"/>
                <a:gd name="T59" fmla="*/ 75 h 75"/>
                <a:gd name="T60" fmla="*/ 25 w 55"/>
                <a:gd name="T61" fmla="*/ 74 h 75"/>
                <a:gd name="T62" fmla="*/ 19 w 55"/>
                <a:gd name="T63" fmla="*/ 68 h 75"/>
                <a:gd name="T64" fmla="*/ 15 w 55"/>
                <a:gd name="T65" fmla="*/ 66 h 75"/>
                <a:gd name="T66" fmla="*/ 15 w 55"/>
                <a:gd name="T67" fmla="*/ 60 h 75"/>
                <a:gd name="T68" fmla="*/ 16 w 55"/>
                <a:gd name="T69" fmla="*/ 60 h 75"/>
                <a:gd name="T70" fmla="*/ 18 w 55"/>
                <a:gd name="T71" fmla="*/ 62 h 75"/>
                <a:gd name="T72" fmla="*/ 19 w 55"/>
                <a:gd name="T73" fmla="*/ 59 h 75"/>
                <a:gd name="T74" fmla="*/ 6 w 55"/>
                <a:gd name="T75" fmla="*/ 50 h 75"/>
                <a:gd name="T76" fmla="*/ 6 w 55"/>
                <a:gd name="T77" fmla="*/ 47 h 75"/>
                <a:gd name="T78" fmla="*/ 7 w 55"/>
                <a:gd name="T79" fmla="*/ 47 h 75"/>
                <a:gd name="T80" fmla="*/ 10 w 55"/>
                <a:gd name="T81" fmla="*/ 45 h 75"/>
                <a:gd name="T82" fmla="*/ 7 w 55"/>
                <a:gd name="T83" fmla="*/ 40 h 75"/>
                <a:gd name="T84" fmla="*/ 12 w 55"/>
                <a:gd name="T85" fmla="*/ 38 h 75"/>
                <a:gd name="T86" fmla="*/ 6 w 55"/>
                <a:gd name="T87" fmla="*/ 34 h 75"/>
                <a:gd name="T88" fmla="*/ 4 w 55"/>
                <a:gd name="T89" fmla="*/ 34 h 75"/>
                <a:gd name="T90" fmla="*/ 4 w 55"/>
                <a:gd name="T91" fmla="*/ 32 h 75"/>
                <a:gd name="T92" fmla="*/ 9 w 55"/>
                <a:gd name="T93" fmla="*/ 25 h 75"/>
                <a:gd name="T94" fmla="*/ 6 w 55"/>
                <a:gd name="T95" fmla="*/ 23 h 75"/>
                <a:gd name="T96" fmla="*/ 6 w 55"/>
                <a:gd name="T97" fmla="*/ 22 h 75"/>
                <a:gd name="T98" fmla="*/ 7 w 55"/>
                <a:gd name="T99" fmla="*/ 19 h 75"/>
                <a:gd name="T100" fmla="*/ 10 w 55"/>
                <a:gd name="T101" fmla="*/ 17 h 75"/>
                <a:gd name="T102" fmla="*/ 3 w 55"/>
                <a:gd name="T103" fmla="*/ 14 h 75"/>
                <a:gd name="T104" fmla="*/ 0 w 55"/>
                <a:gd name="T105" fmla="*/ 4 h 75"/>
                <a:gd name="T106" fmla="*/ 13 w 55"/>
                <a:gd name="T10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75">
                  <a:moveTo>
                    <a:pt x="13" y="0"/>
                  </a:moveTo>
                  <a:lnTo>
                    <a:pt x="21" y="0"/>
                  </a:lnTo>
                  <a:lnTo>
                    <a:pt x="27" y="5"/>
                  </a:lnTo>
                  <a:lnTo>
                    <a:pt x="32" y="16"/>
                  </a:lnTo>
                  <a:lnTo>
                    <a:pt x="37" y="17"/>
                  </a:lnTo>
                  <a:lnTo>
                    <a:pt x="37" y="23"/>
                  </a:lnTo>
                  <a:lnTo>
                    <a:pt x="47" y="29"/>
                  </a:lnTo>
                  <a:lnTo>
                    <a:pt x="49" y="26"/>
                  </a:lnTo>
                  <a:lnTo>
                    <a:pt x="50" y="26"/>
                  </a:lnTo>
                  <a:lnTo>
                    <a:pt x="50" y="28"/>
                  </a:lnTo>
                  <a:lnTo>
                    <a:pt x="53" y="29"/>
                  </a:lnTo>
                  <a:lnTo>
                    <a:pt x="53" y="31"/>
                  </a:lnTo>
                  <a:lnTo>
                    <a:pt x="52" y="31"/>
                  </a:lnTo>
                  <a:lnTo>
                    <a:pt x="50" y="32"/>
                  </a:lnTo>
                  <a:lnTo>
                    <a:pt x="53" y="37"/>
                  </a:lnTo>
                  <a:lnTo>
                    <a:pt x="55" y="37"/>
                  </a:lnTo>
                  <a:lnTo>
                    <a:pt x="55" y="38"/>
                  </a:lnTo>
                  <a:lnTo>
                    <a:pt x="53" y="38"/>
                  </a:lnTo>
                  <a:lnTo>
                    <a:pt x="50" y="40"/>
                  </a:lnTo>
                  <a:lnTo>
                    <a:pt x="49" y="44"/>
                  </a:lnTo>
                  <a:lnTo>
                    <a:pt x="50" y="48"/>
                  </a:lnTo>
                  <a:lnTo>
                    <a:pt x="55" y="56"/>
                  </a:lnTo>
                  <a:lnTo>
                    <a:pt x="55" y="57"/>
                  </a:lnTo>
                  <a:lnTo>
                    <a:pt x="50" y="66"/>
                  </a:lnTo>
                  <a:lnTo>
                    <a:pt x="50" y="69"/>
                  </a:lnTo>
                  <a:lnTo>
                    <a:pt x="46" y="69"/>
                  </a:lnTo>
                  <a:lnTo>
                    <a:pt x="43" y="68"/>
                  </a:lnTo>
                  <a:lnTo>
                    <a:pt x="35" y="68"/>
                  </a:lnTo>
                  <a:lnTo>
                    <a:pt x="27" y="75"/>
                  </a:lnTo>
                  <a:lnTo>
                    <a:pt x="25" y="75"/>
                  </a:lnTo>
                  <a:lnTo>
                    <a:pt x="25" y="74"/>
                  </a:lnTo>
                  <a:lnTo>
                    <a:pt x="19" y="68"/>
                  </a:lnTo>
                  <a:lnTo>
                    <a:pt x="15" y="66"/>
                  </a:lnTo>
                  <a:lnTo>
                    <a:pt x="15" y="60"/>
                  </a:lnTo>
                  <a:lnTo>
                    <a:pt x="16" y="60"/>
                  </a:lnTo>
                  <a:lnTo>
                    <a:pt x="18" y="62"/>
                  </a:lnTo>
                  <a:lnTo>
                    <a:pt x="19" y="59"/>
                  </a:lnTo>
                  <a:lnTo>
                    <a:pt x="6" y="50"/>
                  </a:lnTo>
                  <a:lnTo>
                    <a:pt x="6" y="47"/>
                  </a:lnTo>
                  <a:lnTo>
                    <a:pt x="7" y="47"/>
                  </a:lnTo>
                  <a:lnTo>
                    <a:pt x="10" y="45"/>
                  </a:lnTo>
                  <a:lnTo>
                    <a:pt x="7" y="40"/>
                  </a:lnTo>
                  <a:lnTo>
                    <a:pt x="12" y="38"/>
                  </a:lnTo>
                  <a:lnTo>
                    <a:pt x="6" y="34"/>
                  </a:lnTo>
                  <a:lnTo>
                    <a:pt x="4" y="34"/>
                  </a:lnTo>
                  <a:lnTo>
                    <a:pt x="4" y="32"/>
                  </a:lnTo>
                  <a:lnTo>
                    <a:pt x="9" y="25"/>
                  </a:lnTo>
                  <a:lnTo>
                    <a:pt x="6" y="23"/>
                  </a:lnTo>
                  <a:lnTo>
                    <a:pt x="6" y="22"/>
                  </a:lnTo>
                  <a:lnTo>
                    <a:pt x="7" y="19"/>
                  </a:lnTo>
                  <a:lnTo>
                    <a:pt x="10" y="17"/>
                  </a:lnTo>
                  <a:lnTo>
                    <a:pt x="3" y="14"/>
                  </a:lnTo>
                  <a:lnTo>
                    <a:pt x="0" y="4"/>
                  </a:lnTo>
                  <a:lnTo>
                    <a:pt x="1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4" name="Belarus">
              <a:extLst>
                <a:ext uri="{FF2B5EF4-FFF2-40B4-BE49-F238E27FC236}">
                  <a16:creationId xmlns:a16="http://schemas.microsoft.com/office/drawing/2014/main" id="{4EEBC315-856E-893A-A360-49795FC6D719}"/>
                </a:ext>
              </a:extLst>
            </p:cNvPr>
            <p:cNvSpPr>
              <a:spLocks/>
            </p:cNvSpPr>
            <p:nvPr/>
          </p:nvSpPr>
          <p:spPr bwMode="auto">
            <a:xfrm>
              <a:off x="6373385" y="2984542"/>
              <a:ext cx="231304" cy="193357"/>
            </a:xfrm>
            <a:custGeom>
              <a:avLst/>
              <a:gdLst>
                <a:gd name="T0" fmla="*/ 68 w 128"/>
                <a:gd name="T1" fmla="*/ 0 h 107"/>
                <a:gd name="T2" fmla="*/ 82 w 128"/>
                <a:gd name="T3" fmla="*/ 3 h 107"/>
                <a:gd name="T4" fmla="*/ 85 w 128"/>
                <a:gd name="T5" fmla="*/ 6 h 107"/>
                <a:gd name="T6" fmla="*/ 94 w 128"/>
                <a:gd name="T7" fmla="*/ 6 h 107"/>
                <a:gd name="T8" fmla="*/ 104 w 128"/>
                <a:gd name="T9" fmla="*/ 13 h 107"/>
                <a:gd name="T10" fmla="*/ 105 w 128"/>
                <a:gd name="T11" fmla="*/ 22 h 107"/>
                <a:gd name="T12" fmla="*/ 102 w 128"/>
                <a:gd name="T13" fmla="*/ 31 h 107"/>
                <a:gd name="T14" fmla="*/ 114 w 128"/>
                <a:gd name="T15" fmla="*/ 47 h 107"/>
                <a:gd name="T16" fmla="*/ 120 w 128"/>
                <a:gd name="T17" fmla="*/ 52 h 107"/>
                <a:gd name="T18" fmla="*/ 125 w 128"/>
                <a:gd name="T19" fmla="*/ 56 h 107"/>
                <a:gd name="T20" fmla="*/ 128 w 128"/>
                <a:gd name="T21" fmla="*/ 62 h 107"/>
                <a:gd name="T22" fmla="*/ 119 w 128"/>
                <a:gd name="T23" fmla="*/ 68 h 107"/>
                <a:gd name="T24" fmla="*/ 108 w 128"/>
                <a:gd name="T25" fmla="*/ 68 h 107"/>
                <a:gd name="T26" fmla="*/ 114 w 128"/>
                <a:gd name="T27" fmla="*/ 89 h 107"/>
                <a:gd name="T28" fmla="*/ 104 w 128"/>
                <a:gd name="T29" fmla="*/ 92 h 107"/>
                <a:gd name="T30" fmla="*/ 99 w 128"/>
                <a:gd name="T31" fmla="*/ 104 h 107"/>
                <a:gd name="T32" fmla="*/ 97 w 128"/>
                <a:gd name="T33" fmla="*/ 107 h 107"/>
                <a:gd name="T34" fmla="*/ 91 w 128"/>
                <a:gd name="T35" fmla="*/ 105 h 107"/>
                <a:gd name="T36" fmla="*/ 83 w 128"/>
                <a:gd name="T37" fmla="*/ 107 h 107"/>
                <a:gd name="T38" fmla="*/ 76 w 128"/>
                <a:gd name="T39" fmla="*/ 105 h 107"/>
                <a:gd name="T40" fmla="*/ 67 w 128"/>
                <a:gd name="T41" fmla="*/ 102 h 107"/>
                <a:gd name="T42" fmla="*/ 59 w 128"/>
                <a:gd name="T43" fmla="*/ 105 h 107"/>
                <a:gd name="T44" fmla="*/ 55 w 128"/>
                <a:gd name="T45" fmla="*/ 102 h 107"/>
                <a:gd name="T46" fmla="*/ 51 w 128"/>
                <a:gd name="T47" fmla="*/ 98 h 107"/>
                <a:gd name="T48" fmla="*/ 19 w 128"/>
                <a:gd name="T49" fmla="*/ 95 h 107"/>
                <a:gd name="T50" fmla="*/ 3 w 128"/>
                <a:gd name="T51" fmla="*/ 101 h 107"/>
                <a:gd name="T52" fmla="*/ 0 w 128"/>
                <a:gd name="T53" fmla="*/ 86 h 107"/>
                <a:gd name="T54" fmla="*/ 5 w 128"/>
                <a:gd name="T55" fmla="*/ 50 h 107"/>
                <a:gd name="T56" fmla="*/ 22 w 128"/>
                <a:gd name="T57" fmla="*/ 46 h 107"/>
                <a:gd name="T58" fmla="*/ 30 w 128"/>
                <a:gd name="T59" fmla="*/ 41 h 107"/>
                <a:gd name="T60" fmla="*/ 34 w 128"/>
                <a:gd name="T61" fmla="*/ 44 h 107"/>
                <a:gd name="T62" fmla="*/ 36 w 128"/>
                <a:gd name="T63" fmla="*/ 27 h 107"/>
                <a:gd name="T64" fmla="*/ 48 w 128"/>
                <a:gd name="T65" fmla="*/ 19 h 107"/>
                <a:gd name="T66" fmla="*/ 43 w 128"/>
                <a:gd name="T67" fmla="*/ 15 h 107"/>
                <a:gd name="T68" fmla="*/ 52 w 128"/>
                <a:gd name="T69" fmla="*/ 7 h 107"/>
                <a:gd name="T70" fmla="*/ 64 w 128"/>
                <a:gd name="T7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107">
                  <a:moveTo>
                    <a:pt x="64" y="0"/>
                  </a:moveTo>
                  <a:lnTo>
                    <a:pt x="68" y="0"/>
                  </a:lnTo>
                  <a:lnTo>
                    <a:pt x="68" y="1"/>
                  </a:lnTo>
                  <a:lnTo>
                    <a:pt x="82" y="3"/>
                  </a:lnTo>
                  <a:lnTo>
                    <a:pt x="85" y="4"/>
                  </a:lnTo>
                  <a:lnTo>
                    <a:pt x="85" y="6"/>
                  </a:lnTo>
                  <a:lnTo>
                    <a:pt x="83" y="9"/>
                  </a:lnTo>
                  <a:lnTo>
                    <a:pt x="94" y="6"/>
                  </a:lnTo>
                  <a:lnTo>
                    <a:pt x="104" y="12"/>
                  </a:lnTo>
                  <a:lnTo>
                    <a:pt x="104" y="13"/>
                  </a:lnTo>
                  <a:lnTo>
                    <a:pt x="102" y="19"/>
                  </a:lnTo>
                  <a:lnTo>
                    <a:pt x="105" y="22"/>
                  </a:lnTo>
                  <a:lnTo>
                    <a:pt x="105" y="24"/>
                  </a:lnTo>
                  <a:lnTo>
                    <a:pt x="102" y="31"/>
                  </a:lnTo>
                  <a:lnTo>
                    <a:pt x="110" y="43"/>
                  </a:lnTo>
                  <a:lnTo>
                    <a:pt x="114" y="47"/>
                  </a:lnTo>
                  <a:lnTo>
                    <a:pt x="116" y="52"/>
                  </a:lnTo>
                  <a:lnTo>
                    <a:pt x="120" y="52"/>
                  </a:lnTo>
                  <a:lnTo>
                    <a:pt x="125" y="53"/>
                  </a:lnTo>
                  <a:lnTo>
                    <a:pt x="125" y="56"/>
                  </a:lnTo>
                  <a:lnTo>
                    <a:pt x="128" y="58"/>
                  </a:lnTo>
                  <a:lnTo>
                    <a:pt x="128" y="62"/>
                  </a:lnTo>
                  <a:lnTo>
                    <a:pt x="120" y="68"/>
                  </a:lnTo>
                  <a:lnTo>
                    <a:pt x="119" y="68"/>
                  </a:lnTo>
                  <a:lnTo>
                    <a:pt x="111" y="65"/>
                  </a:lnTo>
                  <a:lnTo>
                    <a:pt x="108" y="68"/>
                  </a:lnTo>
                  <a:lnTo>
                    <a:pt x="111" y="71"/>
                  </a:lnTo>
                  <a:lnTo>
                    <a:pt x="114" y="89"/>
                  </a:lnTo>
                  <a:lnTo>
                    <a:pt x="114" y="90"/>
                  </a:lnTo>
                  <a:lnTo>
                    <a:pt x="104" y="92"/>
                  </a:lnTo>
                  <a:lnTo>
                    <a:pt x="101" y="95"/>
                  </a:lnTo>
                  <a:lnTo>
                    <a:pt x="99" y="104"/>
                  </a:lnTo>
                  <a:lnTo>
                    <a:pt x="99" y="105"/>
                  </a:lnTo>
                  <a:lnTo>
                    <a:pt x="97" y="107"/>
                  </a:lnTo>
                  <a:lnTo>
                    <a:pt x="94" y="105"/>
                  </a:lnTo>
                  <a:lnTo>
                    <a:pt x="91" y="105"/>
                  </a:lnTo>
                  <a:lnTo>
                    <a:pt x="88" y="107"/>
                  </a:lnTo>
                  <a:lnTo>
                    <a:pt x="83" y="107"/>
                  </a:lnTo>
                  <a:lnTo>
                    <a:pt x="79" y="101"/>
                  </a:lnTo>
                  <a:lnTo>
                    <a:pt x="76" y="105"/>
                  </a:lnTo>
                  <a:lnTo>
                    <a:pt x="74" y="105"/>
                  </a:lnTo>
                  <a:lnTo>
                    <a:pt x="67" y="102"/>
                  </a:lnTo>
                  <a:lnTo>
                    <a:pt x="61" y="105"/>
                  </a:lnTo>
                  <a:lnTo>
                    <a:pt x="59" y="105"/>
                  </a:lnTo>
                  <a:lnTo>
                    <a:pt x="58" y="102"/>
                  </a:lnTo>
                  <a:lnTo>
                    <a:pt x="55" y="102"/>
                  </a:lnTo>
                  <a:lnTo>
                    <a:pt x="55" y="101"/>
                  </a:lnTo>
                  <a:lnTo>
                    <a:pt x="51" y="98"/>
                  </a:lnTo>
                  <a:lnTo>
                    <a:pt x="36" y="93"/>
                  </a:lnTo>
                  <a:lnTo>
                    <a:pt x="19" y="95"/>
                  </a:lnTo>
                  <a:lnTo>
                    <a:pt x="16" y="98"/>
                  </a:lnTo>
                  <a:lnTo>
                    <a:pt x="3" y="101"/>
                  </a:lnTo>
                  <a:lnTo>
                    <a:pt x="3" y="92"/>
                  </a:lnTo>
                  <a:lnTo>
                    <a:pt x="0" y="86"/>
                  </a:lnTo>
                  <a:lnTo>
                    <a:pt x="8" y="76"/>
                  </a:lnTo>
                  <a:lnTo>
                    <a:pt x="5" y="50"/>
                  </a:lnTo>
                  <a:lnTo>
                    <a:pt x="22" y="49"/>
                  </a:lnTo>
                  <a:lnTo>
                    <a:pt x="22" y="46"/>
                  </a:lnTo>
                  <a:lnTo>
                    <a:pt x="28" y="41"/>
                  </a:lnTo>
                  <a:lnTo>
                    <a:pt x="30" y="41"/>
                  </a:lnTo>
                  <a:lnTo>
                    <a:pt x="34" y="46"/>
                  </a:lnTo>
                  <a:lnTo>
                    <a:pt x="34" y="44"/>
                  </a:lnTo>
                  <a:lnTo>
                    <a:pt x="33" y="40"/>
                  </a:lnTo>
                  <a:lnTo>
                    <a:pt x="36" y="27"/>
                  </a:lnTo>
                  <a:lnTo>
                    <a:pt x="46" y="24"/>
                  </a:lnTo>
                  <a:lnTo>
                    <a:pt x="48" y="19"/>
                  </a:lnTo>
                  <a:lnTo>
                    <a:pt x="43" y="19"/>
                  </a:lnTo>
                  <a:lnTo>
                    <a:pt x="43" y="15"/>
                  </a:lnTo>
                  <a:lnTo>
                    <a:pt x="45" y="15"/>
                  </a:lnTo>
                  <a:lnTo>
                    <a:pt x="52" y="7"/>
                  </a:lnTo>
                  <a:lnTo>
                    <a:pt x="58" y="7"/>
                  </a:lnTo>
                  <a:lnTo>
                    <a:pt x="6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5" name="Moldova">
              <a:extLst>
                <a:ext uri="{FF2B5EF4-FFF2-40B4-BE49-F238E27FC236}">
                  <a16:creationId xmlns:a16="http://schemas.microsoft.com/office/drawing/2014/main" id="{8702F4F7-868E-A36D-B843-9AB0943B5647}"/>
                </a:ext>
              </a:extLst>
            </p:cNvPr>
            <p:cNvSpPr>
              <a:spLocks/>
            </p:cNvSpPr>
            <p:nvPr/>
          </p:nvSpPr>
          <p:spPr bwMode="auto">
            <a:xfrm>
              <a:off x="6456509" y="3279094"/>
              <a:ext cx="81319" cy="106617"/>
            </a:xfrm>
            <a:custGeom>
              <a:avLst/>
              <a:gdLst>
                <a:gd name="T0" fmla="*/ 11 w 45"/>
                <a:gd name="T1" fmla="*/ 0 h 59"/>
                <a:gd name="T2" fmla="*/ 22 w 45"/>
                <a:gd name="T3" fmla="*/ 6 h 59"/>
                <a:gd name="T4" fmla="*/ 27 w 45"/>
                <a:gd name="T5" fmla="*/ 6 h 59"/>
                <a:gd name="T6" fmla="*/ 34 w 45"/>
                <a:gd name="T7" fmla="*/ 9 h 59"/>
                <a:gd name="T8" fmla="*/ 34 w 45"/>
                <a:gd name="T9" fmla="*/ 18 h 59"/>
                <a:gd name="T10" fmla="*/ 39 w 45"/>
                <a:gd name="T11" fmla="*/ 21 h 59"/>
                <a:gd name="T12" fmla="*/ 42 w 45"/>
                <a:gd name="T13" fmla="*/ 30 h 59"/>
                <a:gd name="T14" fmla="*/ 45 w 45"/>
                <a:gd name="T15" fmla="*/ 33 h 59"/>
                <a:gd name="T16" fmla="*/ 45 w 45"/>
                <a:gd name="T17" fmla="*/ 40 h 59"/>
                <a:gd name="T18" fmla="*/ 34 w 45"/>
                <a:gd name="T19" fmla="*/ 40 h 59"/>
                <a:gd name="T20" fmla="*/ 31 w 45"/>
                <a:gd name="T21" fmla="*/ 48 h 59"/>
                <a:gd name="T22" fmla="*/ 27 w 45"/>
                <a:gd name="T23" fmla="*/ 53 h 59"/>
                <a:gd name="T24" fmla="*/ 25 w 45"/>
                <a:gd name="T25" fmla="*/ 56 h 59"/>
                <a:gd name="T26" fmla="*/ 25 w 45"/>
                <a:gd name="T27" fmla="*/ 58 h 59"/>
                <a:gd name="T28" fmla="*/ 19 w 45"/>
                <a:gd name="T29" fmla="*/ 59 h 59"/>
                <a:gd name="T30" fmla="*/ 19 w 45"/>
                <a:gd name="T31" fmla="*/ 58 h 59"/>
                <a:gd name="T32" fmla="*/ 16 w 45"/>
                <a:gd name="T33" fmla="*/ 33 h 59"/>
                <a:gd name="T34" fmla="*/ 8 w 45"/>
                <a:gd name="T35" fmla="*/ 13 h 59"/>
                <a:gd name="T36" fmla="*/ 0 w 45"/>
                <a:gd name="T37" fmla="*/ 6 h 59"/>
                <a:gd name="T38" fmla="*/ 0 w 45"/>
                <a:gd name="T39" fmla="*/ 5 h 59"/>
                <a:gd name="T40" fmla="*/ 3 w 45"/>
                <a:gd name="T41" fmla="*/ 2 h 59"/>
                <a:gd name="T42" fmla="*/ 5 w 45"/>
                <a:gd name="T43" fmla="*/ 2 h 59"/>
                <a:gd name="T44" fmla="*/ 11 w 45"/>
                <a:gd name="T4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59">
                  <a:moveTo>
                    <a:pt x="11" y="0"/>
                  </a:moveTo>
                  <a:lnTo>
                    <a:pt x="22" y="6"/>
                  </a:lnTo>
                  <a:lnTo>
                    <a:pt x="27" y="6"/>
                  </a:lnTo>
                  <a:lnTo>
                    <a:pt x="34" y="9"/>
                  </a:lnTo>
                  <a:lnTo>
                    <a:pt x="34" y="18"/>
                  </a:lnTo>
                  <a:lnTo>
                    <a:pt x="39" y="21"/>
                  </a:lnTo>
                  <a:lnTo>
                    <a:pt x="42" y="30"/>
                  </a:lnTo>
                  <a:lnTo>
                    <a:pt x="45" y="33"/>
                  </a:lnTo>
                  <a:lnTo>
                    <a:pt x="45" y="40"/>
                  </a:lnTo>
                  <a:lnTo>
                    <a:pt x="34" y="40"/>
                  </a:lnTo>
                  <a:lnTo>
                    <a:pt x="31" y="48"/>
                  </a:lnTo>
                  <a:lnTo>
                    <a:pt x="27" y="53"/>
                  </a:lnTo>
                  <a:lnTo>
                    <a:pt x="25" y="56"/>
                  </a:lnTo>
                  <a:lnTo>
                    <a:pt x="25" y="58"/>
                  </a:lnTo>
                  <a:lnTo>
                    <a:pt x="19" y="59"/>
                  </a:lnTo>
                  <a:lnTo>
                    <a:pt x="19" y="58"/>
                  </a:lnTo>
                  <a:lnTo>
                    <a:pt x="16" y="33"/>
                  </a:lnTo>
                  <a:lnTo>
                    <a:pt x="8" y="13"/>
                  </a:lnTo>
                  <a:lnTo>
                    <a:pt x="0" y="6"/>
                  </a:lnTo>
                  <a:lnTo>
                    <a:pt x="0" y="5"/>
                  </a:lnTo>
                  <a:lnTo>
                    <a:pt x="3" y="2"/>
                  </a:lnTo>
                  <a:lnTo>
                    <a:pt x="5" y="2"/>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6" name="Ukraine">
              <a:extLst>
                <a:ext uri="{FF2B5EF4-FFF2-40B4-BE49-F238E27FC236}">
                  <a16:creationId xmlns:a16="http://schemas.microsoft.com/office/drawing/2014/main" id="{A7497FF3-A3F1-5145-035A-20AC80728670}"/>
                </a:ext>
              </a:extLst>
            </p:cNvPr>
            <p:cNvSpPr>
              <a:spLocks noEditPoints="1"/>
            </p:cNvSpPr>
            <p:nvPr/>
          </p:nvSpPr>
          <p:spPr bwMode="auto">
            <a:xfrm>
              <a:off x="6346278" y="3134530"/>
              <a:ext cx="431888" cy="287324"/>
            </a:xfrm>
            <a:custGeom>
              <a:avLst/>
              <a:gdLst>
                <a:gd name="T0" fmla="*/ 156 w 239"/>
                <a:gd name="T1" fmla="*/ 126 h 159"/>
                <a:gd name="T2" fmla="*/ 159 w 239"/>
                <a:gd name="T3" fmla="*/ 125 h 159"/>
                <a:gd name="T4" fmla="*/ 156 w 239"/>
                <a:gd name="T5" fmla="*/ 1 h 159"/>
                <a:gd name="T6" fmla="*/ 160 w 239"/>
                <a:gd name="T7" fmla="*/ 16 h 159"/>
                <a:gd name="T8" fmla="*/ 171 w 239"/>
                <a:gd name="T9" fmla="*/ 24 h 159"/>
                <a:gd name="T10" fmla="*/ 177 w 239"/>
                <a:gd name="T11" fmla="*/ 39 h 159"/>
                <a:gd name="T12" fmla="*/ 189 w 239"/>
                <a:gd name="T13" fmla="*/ 43 h 159"/>
                <a:gd name="T14" fmla="*/ 202 w 239"/>
                <a:gd name="T15" fmla="*/ 40 h 159"/>
                <a:gd name="T16" fmla="*/ 221 w 239"/>
                <a:gd name="T17" fmla="*/ 52 h 159"/>
                <a:gd name="T18" fmla="*/ 239 w 239"/>
                <a:gd name="T19" fmla="*/ 58 h 159"/>
                <a:gd name="T20" fmla="*/ 239 w 239"/>
                <a:gd name="T21" fmla="*/ 65 h 159"/>
                <a:gd name="T22" fmla="*/ 235 w 239"/>
                <a:gd name="T23" fmla="*/ 70 h 159"/>
                <a:gd name="T24" fmla="*/ 233 w 239"/>
                <a:gd name="T25" fmla="*/ 76 h 159"/>
                <a:gd name="T26" fmla="*/ 233 w 239"/>
                <a:gd name="T27" fmla="*/ 93 h 159"/>
                <a:gd name="T28" fmla="*/ 223 w 239"/>
                <a:gd name="T29" fmla="*/ 92 h 159"/>
                <a:gd name="T30" fmla="*/ 214 w 239"/>
                <a:gd name="T31" fmla="*/ 101 h 159"/>
                <a:gd name="T32" fmla="*/ 175 w 239"/>
                <a:gd name="T33" fmla="*/ 125 h 159"/>
                <a:gd name="T34" fmla="*/ 172 w 239"/>
                <a:gd name="T35" fmla="*/ 122 h 159"/>
                <a:gd name="T36" fmla="*/ 168 w 239"/>
                <a:gd name="T37" fmla="*/ 130 h 159"/>
                <a:gd name="T38" fmla="*/ 165 w 239"/>
                <a:gd name="T39" fmla="*/ 129 h 159"/>
                <a:gd name="T40" fmla="*/ 168 w 239"/>
                <a:gd name="T41" fmla="*/ 135 h 159"/>
                <a:gd name="T42" fmla="*/ 175 w 239"/>
                <a:gd name="T43" fmla="*/ 141 h 159"/>
                <a:gd name="T44" fmla="*/ 186 w 239"/>
                <a:gd name="T45" fmla="*/ 138 h 159"/>
                <a:gd name="T46" fmla="*/ 190 w 239"/>
                <a:gd name="T47" fmla="*/ 147 h 159"/>
                <a:gd name="T48" fmla="*/ 177 w 239"/>
                <a:gd name="T49" fmla="*/ 145 h 159"/>
                <a:gd name="T50" fmla="*/ 149 w 239"/>
                <a:gd name="T51" fmla="*/ 145 h 159"/>
                <a:gd name="T52" fmla="*/ 153 w 239"/>
                <a:gd name="T53" fmla="*/ 130 h 159"/>
                <a:gd name="T54" fmla="*/ 128 w 239"/>
                <a:gd name="T55" fmla="*/ 125 h 159"/>
                <a:gd name="T56" fmla="*/ 125 w 239"/>
                <a:gd name="T57" fmla="*/ 119 h 159"/>
                <a:gd name="T58" fmla="*/ 114 w 239"/>
                <a:gd name="T59" fmla="*/ 120 h 159"/>
                <a:gd name="T60" fmla="*/ 110 w 239"/>
                <a:gd name="T61" fmla="*/ 129 h 159"/>
                <a:gd name="T62" fmla="*/ 100 w 239"/>
                <a:gd name="T63" fmla="*/ 139 h 159"/>
                <a:gd name="T64" fmla="*/ 88 w 239"/>
                <a:gd name="T65" fmla="*/ 141 h 159"/>
                <a:gd name="T66" fmla="*/ 80 w 239"/>
                <a:gd name="T67" fmla="*/ 139 h 159"/>
                <a:gd name="T68" fmla="*/ 86 w 239"/>
                <a:gd name="T69" fmla="*/ 132 h 159"/>
                <a:gd name="T70" fmla="*/ 94 w 239"/>
                <a:gd name="T71" fmla="*/ 119 h 159"/>
                <a:gd name="T72" fmla="*/ 101 w 239"/>
                <a:gd name="T73" fmla="*/ 110 h 159"/>
                <a:gd name="T74" fmla="*/ 94 w 239"/>
                <a:gd name="T75" fmla="*/ 90 h 159"/>
                <a:gd name="T76" fmla="*/ 72 w 239"/>
                <a:gd name="T77" fmla="*/ 82 h 159"/>
                <a:gd name="T78" fmla="*/ 39 w 239"/>
                <a:gd name="T79" fmla="*/ 95 h 159"/>
                <a:gd name="T80" fmla="*/ 33 w 239"/>
                <a:gd name="T81" fmla="*/ 90 h 159"/>
                <a:gd name="T82" fmla="*/ 0 w 239"/>
                <a:gd name="T83" fmla="*/ 82 h 159"/>
                <a:gd name="T84" fmla="*/ 8 w 239"/>
                <a:gd name="T85" fmla="*/ 62 h 159"/>
                <a:gd name="T86" fmla="*/ 18 w 239"/>
                <a:gd name="T87" fmla="*/ 18 h 159"/>
                <a:gd name="T88" fmla="*/ 34 w 239"/>
                <a:gd name="T89" fmla="*/ 10 h 159"/>
                <a:gd name="T90" fmla="*/ 70 w 239"/>
                <a:gd name="T91" fmla="*/ 18 h 159"/>
                <a:gd name="T92" fmla="*/ 82 w 239"/>
                <a:gd name="T93" fmla="*/ 18 h 159"/>
                <a:gd name="T94" fmla="*/ 95 w 239"/>
                <a:gd name="T95" fmla="*/ 16 h 159"/>
                <a:gd name="T96" fmla="*/ 106 w 239"/>
                <a:gd name="T97" fmla="*/ 21 h 159"/>
                <a:gd name="T98" fmla="*/ 113 w 239"/>
                <a:gd name="T99" fmla="*/ 21 h 159"/>
                <a:gd name="T100" fmla="*/ 122 w 239"/>
                <a:gd name="T101" fmla="*/ 7 h 159"/>
                <a:gd name="T102" fmla="*/ 132 w 239"/>
                <a:gd name="T103" fmla="*/ 7 h 159"/>
                <a:gd name="T104" fmla="*/ 149 w 239"/>
                <a:gd name="T105"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9" h="159">
                  <a:moveTo>
                    <a:pt x="159" y="125"/>
                  </a:moveTo>
                  <a:lnTo>
                    <a:pt x="159" y="126"/>
                  </a:lnTo>
                  <a:lnTo>
                    <a:pt x="156" y="126"/>
                  </a:lnTo>
                  <a:lnTo>
                    <a:pt x="159" y="130"/>
                  </a:lnTo>
                  <a:lnTo>
                    <a:pt x="162" y="129"/>
                  </a:lnTo>
                  <a:lnTo>
                    <a:pt x="159" y="125"/>
                  </a:lnTo>
                  <a:close/>
                  <a:moveTo>
                    <a:pt x="149" y="0"/>
                  </a:moveTo>
                  <a:lnTo>
                    <a:pt x="155" y="0"/>
                  </a:lnTo>
                  <a:lnTo>
                    <a:pt x="156" y="1"/>
                  </a:lnTo>
                  <a:lnTo>
                    <a:pt x="163" y="12"/>
                  </a:lnTo>
                  <a:lnTo>
                    <a:pt x="163" y="15"/>
                  </a:lnTo>
                  <a:lnTo>
                    <a:pt x="160" y="16"/>
                  </a:lnTo>
                  <a:lnTo>
                    <a:pt x="162" y="22"/>
                  </a:lnTo>
                  <a:lnTo>
                    <a:pt x="168" y="25"/>
                  </a:lnTo>
                  <a:lnTo>
                    <a:pt x="171" y="24"/>
                  </a:lnTo>
                  <a:lnTo>
                    <a:pt x="172" y="24"/>
                  </a:lnTo>
                  <a:lnTo>
                    <a:pt x="177" y="28"/>
                  </a:lnTo>
                  <a:lnTo>
                    <a:pt x="177" y="39"/>
                  </a:lnTo>
                  <a:lnTo>
                    <a:pt x="180" y="40"/>
                  </a:lnTo>
                  <a:lnTo>
                    <a:pt x="187" y="40"/>
                  </a:lnTo>
                  <a:lnTo>
                    <a:pt x="189" y="43"/>
                  </a:lnTo>
                  <a:lnTo>
                    <a:pt x="192" y="43"/>
                  </a:lnTo>
                  <a:lnTo>
                    <a:pt x="200" y="40"/>
                  </a:lnTo>
                  <a:lnTo>
                    <a:pt x="202" y="40"/>
                  </a:lnTo>
                  <a:lnTo>
                    <a:pt x="211" y="49"/>
                  </a:lnTo>
                  <a:lnTo>
                    <a:pt x="215" y="49"/>
                  </a:lnTo>
                  <a:lnTo>
                    <a:pt x="221" y="52"/>
                  </a:lnTo>
                  <a:lnTo>
                    <a:pt x="224" y="52"/>
                  </a:lnTo>
                  <a:lnTo>
                    <a:pt x="238" y="58"/>
                  </a:lnTo>
                  <a:lnTo>
                    <a:pt x="239" y="58"/>
                  </a:lnTo>
                  <a:lnTo>
                    <a:pt x="239" y="59"/>
                  </a:lnTo>
                  <a:lnTo>
                    <a:pt x="238" y="59"/>
                  </a:lnTo>
                  <a:lnTo>
                    <a:pt x="239" y="65"/>
                  </a:lnTo>
                  <a:lnTo>
                    <a:pt x="238" y="68"/>
                  </a:lnTo>
                  <a:lnTo>
                    <a:pt x="238" y="70"/>
                  </a:lnTo>
                  <a:lnTo>
                    <a:pt x="235" y="70"/>
                  </a:lnTo>
                  <a:lnTo>
                    <a:pt x="238" y="73"/>
                  </a:lnTo>
                  <a:lnTo>
                    <a:pt x="238" y="74"/>
                  </a:lnTo>
                  <a:lnTo>
                    <a:pt x="233" y="76"/>
                  </a:lnTo>
                  <a:lnTo>
                    <a:pt x="233" y="83"/>
                  </a:lnTo>
                  <a:lnTo>
                    <a:pt x="236" y="83"/>
                  </a:lnTo>
                  <a:lnTo>
                    <a:pt x="233" y="93"/>
                  </a:lnTo>
                  <a:lnTo>
                    <a:pt x="233" y="95"/>
                  </a:lnTo>
                  <a:lnTo>
                    <a:pt x="226" y="95"/>
                  </a:lnTo>
                  <a:lnTo>
                    <a:pt x="223" y="92"/>
                  </a:lnTo>
                  <a:lnTo>
                    <a:pt x="218" y="96"/>
                  </a:lnTo>
                  <a:lnTo>
                    <a:pt x="215" y="98"/>
                  </a:lnTo>
                  <a:lnTo>
                    <a:pt x="214" y="101"/>
                  </a:lnTo>
                  <a:lnTo>
                    <a:pt x="214" y="108"/>
                  </a:lnTo>
                  <a:lnTo>
                    <a:pt x="180" y="119"/>
                  </a:lnTo>
                  <a:lnTo>
                    <a:pt x="175" y="125"/>
                  </a:lnTo>
                  <a:lnTo>
                    <a:pt x="174" y="125"/>
                  </a:lnTo>
                  <a:lnTo>
                    <a:pt x="174" y="123"/>
                  </a:lnTo>
                  <a:lnTo>
                    <a:pt x="172" y="122"/>
                  </a:lnTo>
                  <a:lnTo>
                    <a:pt x="169" y="126"/>
                  </a:lnTo>
                  <a:lnTo>
                    <a:pt x="169" y="130"/>
                  </a:lnTo>
                  <a:lnTo>
                    <a:pt x="168" y="130"/>
                  </a:lnTo>
                  <a:lnTo>
                    <a:pt x="165" y="128"/>
                  </a:lnTo>
                  <a:lnTo>
                    <a:pt x="163" y="129"/>
                  </a:lnTo>
                  <a:lnTo>
                    <a:pt x="165" y="129"/>
                  </a:lnTo>
                  <a:lnTo>
                    <a:pt x="165" y="130"/>
                  </a:lnTo>
                  <a:lnTo>
                    <a:pt x="163" y="133"/>
                  </a:lnTo>
                  <a:lnTo>
                    <a:pt x="168" y="135"/>
                  </a:lnTo>
                  <a:lnTo>
                    <a:pt x="169" y="135"/>
                  </a:lnTo>
                  <a:lnTo>
                    <a:pt x="171" y="141"/>
                  </a:lnTo>
                  <a:lnTo>
                    <a:pt x="175" y="141"/>
                  </a:lnTo>
                  <a:lnTo>
                    <a:pt x="178" y="139"/>
                  </a:lnTo>
                  <a:lnTo>
                    <a:pt x="183" y="139"/>
                  </a:lnTo>
                  <a:lnTo>
                    <a:pt x="186" y="138"/>
                  </a:lnTo>
                  <a:lnTo>
                    <a:pt x="192" y="138"/>
                  </a:lnTo>
                  <a:lnTo>
                    <a:pt x="192" y="139"/>
                  </a:lnTo>
                  <a:lnTo>
                    <a:pt x="190" y="147"/>
                  </a:lnTo>
                  <a:lnTo>
                    <a:pt x="186" y="147"/>
                  </a:lnTo>
                  <a:lnTo>
                    <a:pt x="183" y="145"/>
                  </a:lnTo>
                  <a:lnTo>
                    <a:pt x="177" y="145"/>
                  </a:lnTo>
                  <a:lnTo>
                    <a:pt x="156" y="159"/>
                  </a:lnTo>
                  <a:lnTo>
                    <a:pt x="149" y="157"/>
                  </a:lnTo>
                  <a:lnTo>
                    <a:pt x="149" y="145"/>
                  </a:lnTo>
                  <a:lnTo>
                    <a:pt x="137" y="141"/>
                  </a:lnTo>
                  <a:lnTo>
                    <a:pt x="137" y="139"/>
                  </a:lnTo>
                  <a:lnTo>
                    <a:pt x="153" y="130"/>
                  </a:lnTo>
                  <a:lnTo>
                    <a:pt x="152" y="129"/>
                  </a:lnTo>
                  <a:lnTo>
                    <a:pt x="128" y="126"/>
                  </a:lnTo>
                  <a:lnTo>
                    <a:pt x="128" y="125"/>
                  </a:lnTo>
                  <a:lnTo>
                    <a:pt x="129" y="123"/>
                  </a:lnTo>
                  <a:lnTo>
                    <a:pt x="125" y="120"/>
                  </a:lnTo>
                  <a:lnTo>
                    <a:pt x="125" y="119"/>
                  </a:lnTo>
                  <a:lnTo>
                    <a:pt x="132" y="119"/>
                  </a:lnTo>
                  <a:lnTo>
                    <a:pt x="129" y="116"/>
                  </a:lnTo>
                  <a:lnTo>
                    <a:pt x="114" y="120"/>
                  </a:lnTo>
                  <a:lnTo>
                    <a:pt x="112" y="126"/>
                  </a:lnTo>
                  <a:lnTo>
                    <a:pt x="109" y="125"/>
                  </a:lnTo>
                  <a:lnTo>
                    <a:pt x="110" y="129"/>
                  </a:lnTo>
                  <a:lnTo>
                    <a:pt x="101" y="136"/>
                  </a:lnTo>
                  <a:lnTo>
                    <a:pt x="100" y="135"/>
                  </a:lnTo>
                  <a:lnTo>
                    <a:pt x="100" y="139"/>
                  </a:lnTo>
                  <a:lnTo>
                    <a:pt x="97" y="139"/>
                  </a:lnTo>
                  <a:lnTo>
                    <a:pt x="95" y="141"/>
                  </a:lnTo>
                  <a:lnTo>
                    <a:pt x="88" y="141"/>
                  </a:lnTo>
                  <a:lnTo>
                    <a:pt x="86" y="142"/>
                  </a:lnTo>
                  <a:lnTo>
                    <a:pt x="85" y="142"/>
                  </a:lnTo>
                  <a:lnTo>
                    <a:pt x="80" y="139"/>
                  </a:lnTo>
                  <a:lnTo>
                    <a:pt x="80" y="138"/>
                  </a:lnTo>
                  <a:lnTo>
                    <a:pt x="85" y="136"/>
                  </a:lnTo>
                  <a:lnTo>
                    <a:pt x="86" y="132"/>
                  </a:lnTo>
                  <a:lnTo>
                    <a:pt x="91" y="128"/>
                  </a:lnTo>
                  <a:lnTo>
                    <a:pt x="94" y="120"/>
                  </a:lnTo>
                  <a:lnTo>
                    <a:pt x="94" y="119"/>
                  </a:lnTo>
                  <a:lnTo>
                    <a:pt x="104" y="119"/>
                  </a:lnTo>
                  <a:lnTo>
                    <a:pt x="104" y="113"/>
                  </a:lnTo>
                  <a:lnTo>
                    <a:pt x="101" y="110"/>
                  </a:lnTo>
                  <a:lnTo>
                    <a:pt x="98" y="102"/>
                  </a:lnTo>
                  <a:lnTo>
                    <a:pt x="94" y="99"/>
                  </a:lnTo>
                  <a:lnTo>
                    <a:pt x="94" y="90"/>
                  </a:lnTo>
                  <a:lnTo>
                    <a:pt x="88" y="87"/>
                  </a:lnTo>
                  <a:lnTo>
                    <a:pt x="83" y="87"/>
                  </a:lnTo>
                  <a:lnTo>
                    <a:pt x="72" y="82"/>
                  </a:lnTo>
                  <a:lnTo>
                    <a:pt x="66" y="82"/>
                  </a:lnTo>
                  <a:lnTo>
                    <a:pt x="63" y="86"/>
                  </a:lnTo>
                  <a:lnTo>
                    <a:pt x="39" y="95"/>
                  </a:lnTo>
                  <a:lnTo>
                    <a:pt x="37" y="95"/>
                  </a:lnTo>
                  <a:lnTo>
                    <a:pt x="37" y="93"/>
                  </a:lnTo>
                  <a:lnTo>
                    <a:pt x="33" y="90"/>
                  </a:lnTo>
                  <a:lnTo>
                    <a:pt x="9" y="92"/>
                  </a:lnTo>
                  <a:lnTo>
                    <a:pt x="0" y="83"/>
                  </a:lnTo>
                  <a:lnTo>
                    <a:pt x="0" y="82"/>
                  </a:lnTo>
                  <a:lnTo>
                    <a:pt x="5" y="68"/>
                  </a:lnTo>
                  <a:lnTo>
                    <a:pt x="8" y="68"/>
                  </a:lnTo>
                  <a:lnTo>
                    <a:pt x="8" y="62"/>
                  </a:lnTo>
                  <a:lnTo>
                    <a:pt x="12" y="52"/>
                  </a:lnTo>
                  <a:lnTo>
                    <a:pt x="26" y="37"/>
                  </a:lnTo>
                  <a:lnTo>
                    <a:pt x="18" y="18"/>
                  </a:lnTo>
                  <a:lnTo>
                    <a:pt x="18" y="16"/>
                  </a:lnTo>
                  <a:lnTo>
                    <a:pt x="31" y="13"/>
                  </a:lnTo>
                  <a:lnTo>
                    <a:pt x="34" y="10"/>
                  </a:lnTo>
                  <a:lnTo>
                    <a:pt x="52" y="9"/>
                  </a:lnTo>
                  <a:lnTo>
                    <a:pt x="67" y="13"/>
                  </a:lnTo>
                  <a:lnTo>
                    <a:pt x="70" y="18"/>
                  </a:lnTo>
                  <a:lnTo>
                    <a:pt x="74" y="18"/>
                  </a:lnTo>
                  <a:lnTo>
                    <a:pt x="76" y="21"/>
                  </a:lnTo>
                  <a:lnTo>
                    <a:pt x="82" y="18"/>
                  </a:lnTo>
                  <a:lnTo>
                    <a:pt x="89" y="21"/>
                  </a:lnTo>
                  <a:lnTo>
                    <a:pt x="94" y="16"/>
                  </a:lnTo>
                  <a:lnTo>
                    <a:pt x="95" y="16"/>
                  </a:lnTo>
                  <a:lnTo>
                    <a:pt x="100" y="22"/>
                  </a:lnTo>
                  <a:lnTo>
                    <a:pt x="103" y="22"/>
                  </a:lnTo>
                  <a:lnTo>
                    <a:pt x="106" y="21"/>
                  </a:lnTo>
                  <a:lnTo>
                    <a:pt x="109" y="21"/>
                  </a:lnTo>
                  <a:lnTo>
                    <a:pt x="112" y="22"/>
                  </a:lnTo>
                  <a:lnTo>
                    <a:pt x="113" y="21"/>
                  </a:lnTo>
                  <a:lnTo>
                    <a:pt x="114" y="12"/>
                  </a:lnTo>
                  <a:lnTo>
                    <a:pt x="119" y="7"/>
                  </a:lnTo>
                  <a:lnTo>
                    <a:pt x="122" y="7"/>
                  </a:lnTo>
                  <a:lnTo>
                    <a:pt x="126" y="6"/>
                  </a:lnTo>
                  <a:lnTo>
                    <a:pt x="129" y="6"/>
                  </a:lnTo>
                  <a:lnTo>
                    <a:pt x="132" y="7"/>
                  </a:lnTo>
                  <a:lnTo>
                    <a:pt x="137" y="1"/>
                  </a:lnTo>
                  <a:lnTo>
                    <a:pt x="144" y="1"/>
                  </a:lnTo>
                  <a:lnTo>
                    <a:pt x="14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7" name="Albania">
              <a:extLst>
                <a:ext uri="{FF2B5EF4-FFF2-40B4-BE49-F238E27FC236}">
                  <a16:creationId xmlns:a16="http://schemas.microsoft.com/office/drawing/2014/main" id="{20EBCF12-DEA2-91FA-551B-AF520D5F0F4C}"/>
                </a:ext>
              </a:extLst>
            </p:cNvPr>
            <p:cNvSpPr>
              <a:spLocks/>
            </p:cNvSpPr>
            <p:nvPr/>
          </p:nvSpPr>
          <p:spPr bwMode="auto">
            <a:xfrm>
              <a:off x="6279416" y="3474256"/>
              <a:ext cx="45177" cy="97581"/>
            </a:xfrm>
            <a:custGeom>
              <a:avLst/>
              <a:gdLst>
                <a:gd name="T0" fmla="*/ 6 w 25"/>
                <a:gd name="T1" fmla="*/ 0 h 54"/>
                <a:gd name="T2" fmla="*/ 12 w 25"/>
                <a:gd name="T3" fmla="*/ 3 h 54"/>
                <a:gd name="T4" fmla="*/ 20 w 25"/>
                <a:gd name="T5" fmla="*/ 11 h 54"/>
                <a:gd name="T6" fmla="*/ 18 w 25"/>
                <a:gd name="T7" fmla="*/ 24 h 54"/>
                <a:gd name="T8" fmla="*/ 24 w 25"/>
                <a:gd name="T9" fmla="*/ 33 h 54"/>
                <a:gd name="T10" fmla="*/ 25 w 25"/>
                <a:gd name="T11" fmla="*/ 37 h 54"/>
                <a:gd name="T12" fmla="*/ 25 w 25"/>
                <a:gd name="T13" fmla="*/ 39 h 54"/>
                <a:gd name="T14" fmla="*/ 14 w 25"/>
                <a:gd name="T15" fmla="*/ 54 h 54"/>
                <a:gd name="T16" fmla="*/ 12 w 25"/>
                <a:gd name="T17" fmla="*/ 54 h 54"/>
                <a:gd name="T18" fmla="*/ 0 w 25"/>
                <a:gd name="T19" fmla="*/ 40 h 54"/>
                <a:gd name="T20" fmla="*/ 0 w 25"/>
                <a:gd name="T21" fmla="*/ 39 h 54"/>
                <a:gd name="T22" fmla="*/ 2 w 25"/>
                <a:gd name="T23" fmla="*/ 39 h 54"/>
                <a:gd name="T24" fmla="*/ 2 w 25"/>
                <a:gd name="T25" fmla="*/ 24 h 54"/>
                <a:gd name="T26" fmla="*/ 5 w 25"/>
                <a:gd name="T27" fmla="*/ 17 h 54"/>
                <a:gd name="T28" fmla="*/ 0 w 25"/>
                <a:gd name="T29" fmla="*/ 15 h 54"/>
                <a:gd name="T30" fmla="*/ 3 w 25"/>
                <a:gd name="T31" fmla="*/ 5 h 54"/>
                <a:gd name="T32" fmla="*/ 6 w 25"/>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4">
                  <a:moveTo>
                    <a:pt x="6" y="0"/>
                  </a:moveTo>
                  <a:lnTo>
                    <a:pt x="12" y="3"/>
                  </a:lnTo>
                  <a:lnTo>
                    <a:pt x="20" y="11"/>
                  </a:lnTo>
                  <a:lnTo>
                    <a:pt x="18" y="24"/>
                  </a:lnTo>
                  <a:lnTo>
                    <a:pt x="24" y="33"/>
                  </a:lnTo>
                  <a:lnTo>
                    <a:pt x="25" y="37"/>
                  </a:lnTo>
                  <a:lnTo>
                    <a:pt x="25" y="39"/>
                  </a:lnTo>
                  <a:lnTo>
                    <a:pt x="14" y="54"/>
                  </a:lnTo>
                  <a:lnTo>
                    <a:pt x="12" y="54"/>
                  </a:lnTo>
                  <a:lnTo>
                    <a:pt x="0" y="40"/>
                  </a:lnTo>
                  <a:lnTo>
                    <a:pt x="0" y="39"/>
                  </a:lnTo>
                  <a:lnTo>
                    <a:pt x="2" y="39"/>
                  </a:lnTo>
                  <a:lnTo>
                    <a:pt x="2" y="24"/>
                  </a:lnTo>
                  <a:lnTo>
                    <a:pt x="5" y="17"/>
                  </a:lnTo>
                  <a:lnTo>
                    <a:pt x="0" y="15"/>
                  </a:lnTo>
                  <a:lnTo>
                    <a:pt x="3" y="5"/>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8" name="Bulgaria">
              <a:extLst>
                <a:ext uri="{FF2B5EF4-FFF2-40B4-BE49-F238E27FC236}">
                  <a16:creationId xmlns:a16="http://schemas.microsoft.com/office/drawing/2014/main" id="{55EDDC5B-311D-A058-AC7B-F616051DB575}"/>
                </a:ext>
              </a:extLst>
            </p:cNvPr>
            <p:cNvSpPr>
              <a:spLocks/>
            </p:cNvSpPr>
            <p:nvPr/>
          </p:nvSpPr>
          <p:spPr bwMode="auto">
            <a:xfrm>
              <a:off x="6351698" y="3427272"/>
              <a:ext cx="153601" cy="95775"/>
            </a:xfrm>
            <a:custGeom>
              <a:avLst/>
              <a:gdLst>
                <a:gd name="T0" fmla="*/ 6 w 85"/>
                <a:gd name="T1" fmla="*/ 0 h 53"/>
                <a:gd name="T2" fmla="*/ 9 w 85"/>
                <a:gd name="T3" fmla="*/ 0 h 53"/>
                <a:gd name="T4" fmla="*/ 11 w 85"/>
                <a:gd name="T5" fmla="*/ 1 h 53"/>
                <a:gd name="T6" fmla="*/ 9 w 85"/>
                <a:gd name="T7" fmla="*/ 4 h 53"/>
                <a:gd name="T8" fmla="*/ 11 w 85"/>
                <a:gd name="T9" fmla="*/ 7 h 53"/>
                <a:gd name="T10" fmla="*/ 42 w 85"/>
                <a:gd name="T11" fmla="*/ 8 h 53"/>
                <a:gd name="T12" fmla="*/ 61 w 85"/>
                <a:gd name="T13" fmla="*/ 1 h 53"/>
                <a:gd name="T14" fmla="*/ 85 w 85"/>
                <a:gd name="T15" fmla="*/ 7 h 53"/>
                <a:gd name="T16" fmla="*/ 82 w 85"/>
                <a:gd name="T17" fmla="*/ 14 h 53"/>
                <a:gd name="T18" fmla="*/ 76 w 85"/>
                <a:gd name="T19" fmla="*/ 19 h 53"/>
                <a:gd name="T20" fmla="*/ 74 w 85"/>
                <a:gd name="T21" fmla="*/ 26 h 53"/>
                <a:gd name="T22" fmla="*/ 70 w 85"/>
                <a:gd name="T23" fmla="*/ 31 h 53"/>
                <a:gd name="T24" fmla="*/ 76 w 85"/>
                <a:gd name="T25" fmla="*/ 40 h 53"/>
                <a:gd name="T26" fmla="*/ 76 w 85"/>
                <a:gd name="T27" fmla="*/ 41 h 53"/>
                <a:gd name="T28" fmla="*/ 73 w 85"/>
                <a:gd name="T29" fmla="*/ 41 h 53"/>
                <a:gd name="T30" fmla="*/ 70 w 85"/>
                <a:gd name="T31" fmla="*/ 40 h 53"/>
                <a:gd name="T32" fmla="*/ 64 w 85"/>
                <a:gd name="T33" fmla="*/ 40 h 53"/>
                <a:gd name="T34" fmla="*/ 54 w 85"/>
                <a:gd name="T35" fmla="*/ 44 h 53"/>
                <a:gd name="T36" fmla="*/ 52 w 85"/>
                <a:gd name="T37" fmla="*/ 44 h 53"/>
                <a:gd name="T38" fmla="*/ 52 w 85"/>
                <a:gd name="T39" fmla="*/ 49 h 53"/>
                <a:gd name="T40" fmla="*/ 48 w 85"/>
                <a:gd name="T41" fmla="*/ 50 h 53"/>
                <a:gd name="T42" fmla="*/ 43 w 85"/>
                <a:gd name="T43" fmla="*/ 53 h 53"/>
                <a:gd name="T44" fmla="*/ 42 w 85"/>
                <a:gd name="T45" fmla="*/ 53 h 53"/>
                <a:gd name="T46" fmla="*/ 28 w 85"/>
                <a:gd name="T47" fmla="*/ 47 h 53"/>
                <a:gd name="T48" fmla="*/ 9 w 85"/>
                <a:gd name="T49" fmla="*/ 51 h 53"/>
                <a:gd name="T50" fmla="*/ 9 w 85"/>
                <a:gd name="T51" fmla="*/ 50 h 53"/>
                <a:gd name="T52" fmla="*/ 6 w 85"/>
                <a:gd name="T53" fmla="*/ 40 h 53"/>
                <a:gd name="T54" fmla="*/ 2 w 85"/>
                <a:gd name="T55" fmla="*/ 35 h 53"/>
                <a:gd name="T56" fmla="*/ 2 w 85"/>
                <a:gd name="T57" fmla="*/ 28 h 53"/>
                <a:gd name="T58" fmla="*/ 6 w 85"/>
                <a:gd name="T59" fmla="*/ 20 h 53"/>
                <a:gd name="T60" fmla="*/ 2 w 85"/>
                <a:gd name="T61" fmla="*/ 13 h 53"/>
                <a:gd name="T62" fmla="*/ 0 w 85"/>
                <a:gd name="T63" fmla="*/ 7 h 53"/>
                <a:gd name="T64" fmla="*/ 2 w 85"/>
                <a:gd name="T65" fmla="*/ 1 h 53"/>
                <a:gd name="T66" fmla="*/ 6 w 85"/>
                <a:gd name="T6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53">
                  <a:moveTo>
                    <a:pt x="6" y="0"/>
                  </a:moveTo>
                  <a:lnTo>
                    <a:pt x="9" y="0"/>
                  </a:lnTo>
                  <a:lnTo>
                    <a:pt x="11" y="1"/>
                  </a:lnTo>
                  <a:lnTo>
                    <a:pt x="9" y="4"/>
                  </a:lnTo>
                  <a:lnTo>
                    <a:pt x="11" y="7"/>
                  </a:lnTo>
                  <a:lnTo>
                    <a:pt x="42" y="8"/>
                  </a:lnTo>
                  <a:lnTo>
                    <a:pt x="61" y="1"/>
                  </a:lnTo>
                  <a:lnTo>
                    <a:pt x="85" y="7"/>
                  </a:lnTo>
                  <a:lnTo>
                    <a:pt x="82" y="14"/>
                  </a:lnTo>
                  <a:lnTo>
                    <a:pt x="76" y="19"/>
                  </a:lnTo>
                  <a:lnTo>
                    <a:pt x="74" y="26"/>
                  </a:lnTo>
                  <a:lnTo>
                    <a:pt x="70" y="31"/>
                  </a:lnTo>
                  <a:lnTo>
                    <a:pt x="76" y="40"/>
                  </a:lnTo>
                  <a:lnTo>
                    <a:pt x="76" y="41"/>
                  </a:lnTo>
                  <a:lnTo>
                    <a:pt x="73" y="41"/>
                  </a:lnTo>
                  <a:lnTo>
                    <a:pt x="70" y="40"/>
                  </a:lnTo>
                  <a:lnTo>
                    <a:pt x="64" y="40"/>
                  </a:lnTo>
                  <a:lnTo>
                    <a:pt x="54" y="44"/>
                  </a:lnTo>
                  <a:lnTo>
                    <a:pt x="52" y="44"/>
                  </a:lnTo>
                  <a:lnTo>
                    <a:pt x="52" y="49"/>
                  </a:lnTo>
                  <a:lnTo>
                    <a:pt x="48" y="50"/>
                  </a:lnTo>
                  <a:lnTo>
                    <a:pt x="43" y="53"/>
                  </a:lnTo>
                  <a:lnTo>
                    <a:pt x="42" y="53"/>
                  </a:lnTo>
                  <a:lnTo>
                    <a:pt x="28" y="47"/>
                  </a:lnTo>
                  <a:lnTo>
                    <a:pt x="9" y="51"/>
                  </a:lnTo>
                  <a:lnTo>
                    <a:pt x="9" y="50"/>
                  </a:lnTo>
                  <a:lnTo>
                    <a:pt x="6" y="40"/>
                  </a:lnTo>
                  <a:lnTo>
                    <a:pt x="2" y="35"/>
                  </a:lnTo>
                  <a:lnTo>
                    <a:pt x="2" y="28"/>
                  </a:lnTo>
                  <a:lnTo>
                    <a:pt x="6" y="20"/>
                  </a:lnTo>
                  <a:lnTo>
                    <a:pt x="2" y="13"/>
                  </a:lnTo>
                  <a:lnTo>
                    <a:pt x="0" y="7"/>
                  </a:lnTo>
                  <a:lnTo>
                    <a:pt x="2" y="1"/>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9" name="Cyprus">
              <a:extLst>
                <a:ext uri="{FF2B5EF4-FFF2-40B4-BE49-F238E27FC236}">
                  <a16:creationId xmlns:a16="http://schemas.microsoft.com/office/drawing/2014/main" id="{1C7E67F0-5BC7-9CC9-4BC5-707A3637ADDD}"/>
                </a:ext>
              </a:extLst>
            </p:cNvPr>
            <p:cNvSpPr>
              <a:spLocks/>
            </p:cNvSpPr>
            <p:nvPr/>
          </p:nvSpPr>
          <p:spPr bwMode="auto">
            <a:xfrm>
              <a:off x="6588424" y="3685683"/>
              <a:ext cx="56019" cy="36141"/>
            </a:xfrm>
            <a:custGeom>
              <a:avLst/>
              <a:gdLst>
                <a:gd name="T0" fmla="*/ 31 w 31"/>
                <a:gd name="T1" fmla="*/ 0 h 20"/>
                <a:gd name="T2" fmla="*/ 31 w 31"/>
                <a:gd name="T3" fmla="*/ 2 h 20"/>
                <a:gd name="T4" fmla="*/ 25 w 31"/>
                <a:gd name="T5" fmla="*/ 14 h 20"/>
                <a:gd name="T6" fmla="*/ 12 w 31"/>
                <a:gd name="T7" fmla="*/ 20 h 20"/>
                <a:gd name="T8" fmla="*/ 10 w 31"/>
                <a:gd name="T9" fmla="*/ 20 h 20"/>
                <a:gd name="T10" fmla="*/ 4 w 31"/>
                <a:gd name="T11" fmla="*/ 18 h 20"/>
                <a:gd name="T12" fmla="*/ 0 w 31"/>
                <a:gd name="T13" fmla="*/ 12 h 20"/>
                <a:gd name="T14" fmla="*/ 1 w 31"/>
                <a:gd name="T15" fmla="*/ 12 h 20"/>
                <a:gd name="T16" fmla="*/ 10 w 31"/>
                <a:gd name="T17" fmla="*/ 6 h 20"/>
                <a:gd name="T18" fmla="*/ 23 w 31"/>
                <a:gd name="T19" fmla="*/ 5 h 20"/>
                <a:gd name="T20" fmla="*/ 31 w 31"/>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0">
                  <a:moveTo>
                    <a:pt x="31" y="0"/>
                  </a:moveTo>
                  <a:lnTo>
                    <a:pt x="31" y="2"/>
                  </a:lnTo>
                  <a:lnTo>
                    <a:pt x="25" y="14"/>
                  </a:lnTo>
                  <a:lnTo>
                    <a:pt x="12" y="20"/>
                  </a:lnTo>
                  <a:lnTo>
                    <a:pt x="10" y="20"/>
                  </a:lnTo>
                  <a:lnTo>
                    <a:pt x="4" y="18"/>
                  </a:lnTo>
                  <a:lnTo>
                    <a:pt x="0" y="12"/>
                  </a:lnTo>
                  <a:lnTo>
                    <a:pt x="1" y="12"/>
                  </a:lnTo>
                  <a:lnTo>
                    <a:pt x="10" y="6"/>
                  </a:lnTo>
                  <a:lnTo>
                    <a:pt x="23" y="5"/>
                  </a:lnTo>
                  <a:lnTo>
                    <a:pt x="3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0" name="Kosovo">
              <a:extLst>
                <a:ext uri="{FF2B5EF4-FFF2-40B4-BE49-F238E27FC236}">
                  <a16:creationId xmlns:a16="http://schemas.microsoft.com/office/drawing/2014/main" id="{6BEE0170-87A8-A9E7-2C2A-B0EA34B9B26B}"/>
                </a:ext>
              </a:extLst>
            </p:cNvPr>
            <p:cNvSpPr>
              <a:spLocks/>
            </p:cNvSpPr>
            <p:nvPr/>
          </p:nvSpPr>
          <p:spPr bwMode="auto">
            <a:xfrm>
              <a:off x="6293873" y="3457993"/>
              <a:ext cx="39755" cy="37948"/>
            </a:xfrm>
            <a:custGeom>
              <a:avLst/>
              <a:gdLst>
                <a:gd name="T0" fmla="*/ 9 w 22"/>
                <a:gd name="T1" fmla="*/ 0 h 21"/>
                <a:gd name="T2" fmla="*/ 15 w 22"/>
                <a:gd name="T3" fmla="*/ 0 h 21"/>
                <a:gd name="T4" fmla="*/ 15 w 22"/>
                <a:gd name="T5" fmla="*/ 2 h 21"/>
                <a:gd name="T6" fmla="*/ 17 w 22"/>
                <a:gd name="T7" fmla="*/ 8 h 21"/>
                <a:gd name="T8" fmla="*/ 22 w 22"/>
                <a:gd name="T9" fmla="*/ 8 h 21"/>
                <a:gd name="T10" fmla="*/ 22 w 22"/>
                <a:gd name="T11" fmla="*/ 14 h 21"/>
                <a:gd name="T12" fmla="*/ 12 w 22"/>
                <a:gd name="T13" fmla="*/ 21 h 21"/>
                <a:gd name="T14" fmla="*/ 10 w 22"/>
                <a:gd name="T15" fmla="*/ 21 h 21"/>
                <a:gd name="T16" fmla="*/ 10 w 22"/>
                <a:gd name="T17" fmla="*/ 20 h 21"/>
                <a:gd name="T18" fmla="*/ 4 w 22"/>
                <a:gd name="T19" fmla="*/ 14 h 21"/>
                <a:gd name="T20" fmla="*/ 0 w 22"/>
                <a:gd name="T21" fmla="*/ 12 h 21"/>
                <a:gd name="T22" fmla="*/ 0 w 22"/>
                <a:gd name="T23" fmla="*/ 6 h 21"/>
                <a:gd name="T24" fmla="*/ 1 w 22"/>
                <a:gd name="T25" fmla="*/ 6 h 21"/>
                <a:gd name="T26" fmla="*/ 3 w 22"/>
                <a:gd name="T27" fmla="*/ 8 h 21"/>
                <a:gd name="T28" fmla="*/ 4 w 22"/>
                <a:gd name="T29" fmla="*/ 5 h 21"/>
                <a:gd name="T30" fmla="*/ 9 w 22"/>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1">
                  <a:moveTo>
                    <a:pt x="9" y="0"/>
                  </a:moveTo>
                  <a:lnTo>
                    <a:pt x="15" y="0"/>
                  </a:lnTo>
                  <a:lnTo>
                    <a:pt x="15" y="2"/>
                  </a:lnTo>
                  <a:lnTo>
                    <a:pt x="17" y="8"/>
                  </a:lnTo>
                  <a:lnTo>
                    <a:pt x="22" y="8"/>
                  </a:lnTo>
                  <a:lnTo>
                    <a:pt x="22" y="14"/>
                  </a:lnTo>
                  <a:lnTo>
                    <a:pt x="12" y="21"/>
                  </a:lnTo>
                  <a:lnTo>
                    <a:pt x="10" y="21"/>
                  </a:lnTo>
                  <a:lnTo>
                    <a:pt x="10" y="20"/>
                  </a:lnTo>
                  <a:lnTo>
                    <a:pt x="4" y="14"/>
                  </a:lnTo>
                  <a:lnTo>
                    <a:pt x="0" y="12"/>
                  </a:lnTo>
                  <a:lnTo>
                    <a:pt x="0" y="6"/>
                  </a:lnTo>
                  <a:lnTo>
                    <a:pt x="1" y="6"/>
                  </a:lnTo>
                  <a:lnTo>
                    <a:pt x="3" y="8"/>
                  </a:lnTo>
                  <a:lnTo>
                    <a:pt x="4" y="5"/>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1" name="Macedonia">
              <a:extLst>
                <a:ext uri="{FF2B5EF4-FFF2-40B4-BE49-F238E27FC236}">
                  <a16:creationId xmlns:a16="http://schemas.microsoft.com/office/drawing/2014/main" id="{21CB7BA4-3259-E821-2B36-070014A25F96}"/>
                </a:ext>
              </a:extLst>
            </p:cNvPr>
            <p:cNvSpPr>
              <a:spLocks/>
            </p:cNvSpPr>
            <p:nvPr/>
          </p:nvSpPr>
          <p:spPr bwMode="auto">
            <a:xfrm>
              <a:off x="6310137" y="3479677"/>
              <a:ext cx="61440" cy="54212"/>
            </a:xfrm>
            <a:custGeom>
              <a:avLst/>
              <a:gdLst>
                <a:gd name="T0" fmla="*/ 11 w 34"/>
                <a:gd name="T1" fmla="*/ 0 h 30"/>
                <a:gd name="T2" fmla="*/ 25 w 34"/>
                <a:gd name="T3" fmla="*/ 2 h 30"/>
                <a:gd name="T4" fmla="*/ 26 w 34"/>
                <a:gd name="T5" fmla="*/ 2 h 30"/>
                <a:gd name="T6" fmla="*/ 26 w 34"/>
                <a:gd name="T7" fmla="*/ 5 h 30"/>
                <a:gd name="T8" fmla="*/ 31 w 34"/>
                <a:gd name="T9" fmla="*/ 9 h 30"/>
                <a:gd name="T10" fmla="*/ 34 w 34"/>
                <a:gd name="T11" fmla="*/ 21 h 30"/>
                <a:gd name="T12" fmla="*/ 32 w 34"/>
                <a:gd name="T13" fmla="*/ 21 h 30"/>
                <a:gd name="T14" fmla="*/ 7 w 34"/>
                <a:gd name="T15" fmla="*/ 30 h 30"/>
                <a:gd name="T16" fmla="*/ 6 w 34"/>
                <a:gd name="T17" fmla="*/ 30 h 30"/>
                <a:gd name="T18" fmla="*/ 0 w 34"/>
                <a:gd name="T19" fmla="*/ 21 h 30"/>
                <a:gd name="T20" fmla="*/ 1 w 34"/>
                <a:gd name="T21" fmla="*/ 8 h 30"/>
                <a:gd name="T22" fmla="*/ 11 w 34"/>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0">
                  <a:moveTo>
                    <a:pt x="11" y="0"/>
                  </a:moveTo>
                  <a:lnTo>
                    <a:pt x="25" y="2"/>
                  </a:lnTo>
                  <a:lnTo>
                    <a:pt x="26" y="2"/>
                  </a:lnTo>
                  <a:lnTo>
                    <a:pt x="26" y="5"/>
                  </a:lnTo>
                  <a:lnTo>
                    <a:pt x="31" y="9"/>
                  </a:lnTo>
                  <a:lnTo>
                    <a:pt x="34" y="21"/>
                  </a:lnTo>
                  <a:lnTo>
                    <a:pt x="32" y="21"/>
                  </a:lnTo>
                  <a:lnTo>
                    <a:pt x="7" y="30"/>
                  </a:lnTo>
                  <a:lnTo>
                    <a:pt x="6" y="30"/>
                  </a:lnTo>
                  <a:lnTo>
                    <a:pt x="0" y="21"/>
                  </a:lnTo>
                  <a:lnTo>
                    <a:pt x="1" y="8"/>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2" name="Slovakia">
              <a:extLst>
                <a:ext uri="{FF2B5EF4-FFF2-40B4-BE49-F238E27FC236}">
                  <a16:creationId xmlns:a16="http://schemas.microsoft.com/office/drawing/2014/main" id="{17BDE872-5311-D1B9-B5F1-C4F17F142302}"/>
                </a:ext>
              </a:extLst>
            </p:cNvPr>
            <p:cNvSpPr>
              <a:spLocks/>
            </p:cNvSpPr>
            <p:nvPr/>
          </p:nvSpPr>
          <p:spPr bwMode="auto">
            <a:xfrm>
              <a:off x="6221590" y="3241146"/>
              <a:ext cx="133723" cy="65054"/>
            </a:xfrm>
            <a:custGeom>
              <a:avLst/>
              <a:gdLst>
                <a:gd name="T0" fmla="*/ 35 w 74"/>
                <a:gd name="T1" fmla="*/ 0 h 36"/>
                <a:gd name="T2" fmla="*/ 41 w 74"/>
                <a:gd name="T3" fmla="*/ 6 h 36"/>
                <a:gd name="T4" fmla="*/ 60 w 74"/>
                <a:gd name="T5" fmla="*/ 3 h 36"/>
                <a:gd name="T6" fmla="*/ 74 w 74"/>
                <a:gd name="T7" fmla="*/ 9 h 36"/>
                <a:gd name="T8" fmla="*/ 71 w 74"/>
                <a:gd name="T9" fmla="*/ 23 h 36"/>
                <a:gd name="T10" fmla="*/ 52 w 74"/>
                <a:gd name="T11" fmla="*/ 21 h 36"/>
                <a:gd name="T12" fmla="*/ 41 w 74"/>
                <a:gd name="T13" fmla="*/ 28 h 36"/>
                <a:gd name="T14" fmla="*/ 26 w 74"/>
                <a:gd name="T15" fmla="*/ 30 h 36"/>
                <a:gd name="T16" fmla="*/ 22 w 74"/>
                <a:gd name="T17" fmla="*/ 36 h 36"/>
                <a:gd name="T18" fmla="*/ 13 w 74"/>
                <a:gd name="T19" fmla="*/ 36 h 36"/>
                <a:gd name="T20" fmla="*/ 4 w 74"/>
                <a:gd name="T21" fmla="*/ 30 h 36"/>
                <a:gd name="T22" fmla="*/ 0 w 74"/>
                <a:gd name="T23" fmla="*/ 17 h 36"/>
                <a:gd name="T24" fmla="*/ 20 w 74"/>
                <a:gd name="T25" fmla="*/ 14 h 36"/>
                <a:gd name="T26" fmla="*/ 23 w 74"/>
                <a:gd name="T27" fmla="*/ 6 h 36"/>
                <a:gd name="T28" fmla="*/ 35 w 7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6">
                  <a:moveTo>
                    <a:pt x="35" y="0"/>
                  </a:moveTo>
                  <a:lnTo>
                    <a:pt x="41" y="6"/>
                  </a:lnTo>
                  <a:lnTo>
                    <a:pt x="60" y="3"/>
                  </a:lnTo>
                  <a:lnTo>
                    <a:pt x="74" y="9"/>
                  </a:lnTo>
                  <a:lnTo>
                    <a:pt x="71" y="23"/>
                  </a:lnTo>
                  <a:lnTo>
                    <a:pt x="52" y="21"/>
                  </a:lnTo>
                  <a:lnTo>
                    <a:pt x="41" y="28"/>
                  </a:lnTo>
                  <a:lnTo>
                    <a:pt x="26" y="30"/>
                  </a:lnTo>
                  <a:lnTo>
                    <a:pt x="22" y="36"/>
                  </a:lnTo>
                  <a:lnTo>
                    <a:pt x="13" y="36"/>
                  </a:lnTo>
                  <a:lnTo>
                    <a:pt x="4" y="30"/>
                  </a:lnTo>
                  <a:lnTo>
                    <a:pt x="0" y="17"/>
                  </a:lnTo>
                  <a:lnTo>
                    <a:pt x="20" y="14"/>
                  </a:lnTo>
                  <a:lnTo>
                    <a:pt x="23" y="6"/>
                  </a:lnTo>
                  <a:lnTo>
                    <a:pt x="3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3" name="Montenegro">
              <a:extLst>
                <a:ext uri="{FF2B5EF4-FFF2-40B4-BE49-F238E27FC236}">
                  <a16:creationId xmlns:a16="http://schemas.microsoft.com/office/drawing/2014/main" id="{C6A91CA5-16BD-33D4-3B84-549BF2880BEF}"/>
                </a:ext>
              </a:extLst>
            </p:cNvPr>
            <p:cNvSpPr>
              <a:spLocks/>
            </p:cNvSpPr>
            <p:nvPr/>
          </p:nvSpPr>
          <p:spPr bwMode="auto">
            <a:xfrm>
              <a:off x="6255925" y="3445344"/>
              <a:ext cx="48791" cy="56019"/>
            </a:xfrm>
            <a:custGeom>
              <a:avLst/>
              <a:gdLst>
                <a:gd name="T0" fmla="*/ 6 w 27"/>
                <a:gd name="T1" fmla="*/ 0 h 31"/>
                <a:gd name="T2" fmla="*/ 9 w 27"/>
                <a:gd name="T3" fmla="*/ 1 h 31"/>
                <a:gd name="T4" fmla="*/ 9 w 27"/>
                <a:gd name="T5" fmla="*/ 0 h 31"/>
                <a:gd name="T6" fmla="*/ 13 w 27"/>
                <a:gd name="T7" fmla="*/ 0 h 31"/>
                <a:gd name="T8" fmla="*/ 13 w 27"/>
                <a:gd name="T9" fmla="*/ 1 h 31"/>
                <a:gd name="T10" fmla="*/ 27 w 27"/>
                <a:gd name="T11" fmla="*/ 12 h 31"/>
                <a:gd name="T12" fmla="*/ 25 w 27"/>
                <a:gd name="T13" fmla="*/ 16 h 31"/>
                <a:gd name="T14" fmla="*/ 24 w 27"/>
                <a:gd name="T15" fmla="*/ 16 h 31"/>
                <a:gd name="T16" fmla="*/ 22 w 27"/>
                <a:gd name="T17" fmla="*/ 15 h 31"/>
                <a:gd name="T18" fmla="*/ 22 w 27"/>
                <a:gd name="T19" fmla="*/ 19 h 31"/>
                <a:gd name="T20" fmla="*/ 19 w 27"/>
                <a:gd name="T21" fmla="*/ 18 h 31"/>
                <a:gd name="T22" fmla="*/ 16 w 27"/>
                <a:gd name="T23" fmla="*/ 21 h 31"/>
                <a:gd name="T24" fmla="*/ 15 w 27"/>
                <a:gd name="T25" fmla="*/ 31 h 31"/>
                <a:gd name="T26" fmla="*/ 13 w 27"/>
                <a:gd name="T27" fmla="*/ 31 h 31"/>
                <a:gd name="T28" fmla="*/ 0 w 27"/>
                <a:gd name="T29" fmla="*/ 19 h 31"/>
                <a:gd name="T30" fmla="*/ 0 w 27"/>
                <a:gd name="T31" fmla="*/ 18 h 31"/>
                <a:gd name="T32" fmla="*/ 3 w 27"/>
                <a:gd name="T33" fmla="*/ 16 h 31"/>
                <a:gd name="T34" fmla="*/ 1 w 27"/>
                <a:gd name="T35" fmla="*/ 10 h 31"/>
                <a:gd name="T36" fmla="*/ 1 w 27"/>
                <a:gd name="T37" fmla="*/ 9 h 31"/>
                <a:gd name="T38" fmla="*/ 6 w 27"/>
                <a:gd name="T39" fmla="*/ 7 h 31"/>
                <a:gd name="T40" fmla="*/ 3 w 27"/>
                <a:gd name="T41" fmla="*/ 3 h 31"/>
                <a:gd name="T42" fmla="*/ 3 w 27"/>
                <a:gd name="T43" fmla="*/ 1 h 31"/>
                <a:gd name="T44" fmla="*/ 6 w 27"/>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
                  <a:moveTo>
                    <a:pt x="6" y="0"/>
                  </a:moveTo>
                  <a:lnTo>
                    <a:pt x="9" y="1"/>
                  </a:lnTo>
                  <a:lnTo>
                    <a:pt x="9" y="0"/>
                  </a:lnTo>
                  <a:lnTo>
                    <a:pt x="13" y="0"/>
                  </a:lnTo>
                  <a:lnTo>
                    <a:pt x="13" y="1"/>
                  </a:lnTo>
                  <a:lnTo>
                    <a:pt x="27" y="12"/>
                  </a:lnTo>
                  <a:lnTo>
                    <a:pt x="25" y="16"/>
                  </a:lnTo>
                  <a:lnTo>
                    <a:pt x="24" y="16"/>
                  </a:lnTo>
                  <a:lnTo>
                    <a:pt x="22" y="15"/>
                  </a:lnTo>
                  <a:lnTo>
                    <a:pt x="22" y="19"/>
                  </a:lnTo>
                  <a:lnTo>
                    <a:pt x="19" y="18"/>
                  </a:lnTo>
                  <a:lnTo>
                    <a:pt x="16" y="21"/>
                  </a:lnTo>
                  <a:lnTo>
                    <a:pt x="15" y="31"/>
                  </a:lnTo>
                  <a:lnTo>
                    <a:pt x="13" y="31"/>
                  </a:lnTo>
                  <a:lnTo>
                    <a:pt x="0" y="19"/>
                  </a:lnTo>
                  <a:lnTo>
                    <a:pt x="0" y="18"/>
                  </a:lnTo>
                  <a:lnTo>
                    <a:pt x="3" y="16"/>
                  </a:lnTo>
                  <a:lnTo>
                    <a:pt x="1" y="10"/>
                  </a:lnTo>
                  <a:lnTo>
                    <a:pt x="1" y="9"/>
                  </a:lnTo>
                  <a:lnTo>
                    <a:pt x="6" y="7"/>
                  </a:lnTo>
                  <a:lnTo>
                    <a:pt x="3" y="3"/>
                  </a:lnTo>
                  <a:lnTo>
                    <a:pt x="3" y="1"/>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4" name="Palma">
              <a:extLst>
                <a:ext uri="{FF2B5EF4-FFF2-40B4-BE49-F238E27FC236}">
                  <a16:creationId xmlns:a16="http://schemas.microsoft.com/office/drawing/2014/main" id="{AB8A3770-1059-885B-EC8E-733A9602E548}"/>
                </a:ext>
              </a:extLst>
            </p:cNvPr>
            <p:cNvSpPr>
              <a:spLocks/>
            </p:cNvSpPr>
            <p:nvPr/>
          </p:nvSpPr>
          <p:spPr bwMode="auto">
            <a:xfrm>
              <a:off x="5883670" y="3560996"/>
              <a:ext cx="27107" cy="23493"/>
            </a:xfrm>
            <a:custGeom>
              <a:avLst/>
              <a:gdLst>
                <a:gd name="T0" fmla="*/ 10 w 15"/>
                <a:gd name="T1" fmla="*/ 0 h 13"/>
                <a:gd name="T2" fmla="*/ 12 w 15"/>
                <a:gd name="T3" fmla="*/ 0 h 13"/>
                <a:gd name="T4" fmla="*/ 12 w 15"/>
                <a:gd name="T5" fmla="*/ 3 h 13"/>
                <a:gd name="T6" fmla="*/ 15 w 15"/>
                <a:gd name="T7" fmla="*/ 4 h 13"/>
                <a:gd name="T8" fmla="*/ 15 w 15"/>
                <a:gd name="T9" fmla="*/ 6 h 13"/>
                <a:gd name="T10" fmla="*/ 10 w 15"/>
                <a:gd name="T11" fmla="*/ 12 h 13"/>
                <a:gd name="T12" fmla="*/ 10 w 15"/>
                <a:gd name="T13" fmla="*/ 13 h 13"/>
                <a:gd name="T14" fmla="*/ 1 w 15"/>
                <a:gd name="T15" fmla="*/ 7 h 13"/>
                <a:gd name="T16" fmla="*/ 0 w 15"/>
                <a:gd name="T17" fmla="*/ 7 h 13"/>
                <a:gd name="T18" fmla="*/ 0 w 15"/>
                <a:gd name="T19" fmla="*/ 6 h 13"/>
                <a:gd name="T20" fmla="*/ 1 w 15"/>
                <a:gd name="T21" fmla="*/ 6 h 13"/>
                <a:gd name="T22" fmla="*/ 10 w 15"/>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3">
                  <a:moveTo>
                    <a:pt x="10" y="0"/>
                  </a:moveTo>
                  <a:lnTo>
                    <a:pt x="12" y="0"/>
                  </a:lnTo>
                  <a:lnTo>
                    <a:pt x="12" y="3"/>
                  </a:lnTo>
                  <a:lnTo>
                    <a:pt x="15" y="4"/>
                  </a:lnTo>
                  <a:lnTo>
                    <a:pt x="15" y="6"/>
                  </a:lnTo>
                  <a:lnTo>
                    <a:pt x="10" y="12"/>
                  </a:lnTo>
                  <a:lnTo>
                    <a:pt x="10" y="13"/>
                  </a:lnTo>
                  <a:lnTo>
                    <a:pt x="1" y="7"/>
                  </a:lnTo>
                  <a:lnTo>
                    <a:pt x="0" y="7"/>
                  </a:lnTo>
                  <a:lnTo>
                    <a:pt x="0" y="6"/>
                  </a:lnTo>
                  <a:lnTo>
                    <a:pt x="1" y="6"/>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5" name="Armenia">
              <a:extLst>
                <a:ext uri="{FF2B5EF4-FFF2-40B4-BE49-F238E27FC236}">
                  <a16:creationId xmlns:a16="http://schemas.microsoft.com/office/drawing/2014/main" id="{E4F72A08-8170-7E5F-72AA-780531430544}"/>
                </a:ext>
              </a:extLst>
            </p:cNvPr>
            <p:cNvSpPr>
              <a:spLocks/>
            </p:cNvSpPr>
            <p:nvPr/>
          </p:nvSpPr>
          <p:spPr bwMode="auto">
            <a:xfrm>
              <a:off x="6850449" y="3517627"/>
              <a:ext cx="77705" cy="77705"/>
            </a:xfrm>
            <a:custGeom>
              <a:avLst/>
              <a:gdLst>
                <a:gd name="T0" fmla="*/ 19 w 43"/>
                <a:gd name="T1" fmla="*/ 0 h 43"/>
                <a:gd name="T2" fmla="*/ 22 w 43"/>
                <a:gd name="T3" fmla="*/ 0 h 43"/>
                <a:gd name="T4" fmla="*/ 25 w 43"/>
                <a:gd name="T5" fmla="*/ 4 h 43"/>
                <a:gd name="T6" fmla="*/ 28 w 43"/>
                <a:gd name="T7" fmla="*/ 6 h 43"/>
                <a:gd name="T8" fmla="*/ 30 w 43"/>
                <a:gd name="T9" fmla="*/ 6 h 43"/>
                <a:gd name="T10" fmla="*/ 28 w 43"/>
                <a:gd name="T11" fmla="*/ 13 h 43"/>
                <a:gd name="T12" fmla="*/ 34 w 43"/>
                <a:gd name="T13" fmla="*/ 18 h 43"/>
                <a:gd name="T14" fmla="*/ 33 w 43"/>
                <a:gd name="T15" fmla="*/ 24 h 43"/>
                <a:gd name="T16" fmla="*/ 37 w 43"/>
                <a:gd name="T17" fmla="*/ 28 h 43"/>
                <a:gd name="T18" fmla="*/ 42 w 43"/>
                <a:gd name="T19" fmla="*/ 28 h 43"/>
                <a:gd name="T20" fmla="*/ 42 w 43"/>
                <a:gd name="T21" fmla="*/ 37 h 43"/>
                <a:gd name="T22" fmla="*/ 40 w 43"/>
                <a:gd name="T23" fmla="*/ 37 h 43"/>
                <a:gd name="T24" fmla="*/ 43 w 43"/>
                <a:gd name="T25" fmla="*/ 42 h 43"/>
                <a:gd name="T26" fmla="*/ 43 w 43"/>
                <a:gd name="T27" fmla="*/ 43 h 43"/>
                <a:gd name="T28" fmla="*/ 34 w 43"/>
                <a:gd name="T29" fmla="*/ 43 h 43"/>
                <a:gd name="T30" fmla="*/ 31 w 43"/>
                <a:gd name="T31" fmla="*/ 31 h 43"/>
                <a:gd name="T32" fmla="*/ 27 w 43"/>
                <a:gd name="T33" fmla="*/ 31 h 43"/>
                <a:gd name="T34" fmla="*/ 22 w 43"/>
                <a:gd name="T35" fmla="*/ 28 h 43"/>
                <a:gd name="T36" fmla="*/ 18 w 43"/>
                <a:gd name="T37" fmla="*/ 30 h 43"/>
                <a:gd name="T38" fmla="*/ 16 w 43"/>
                <a:gd name="T39" fmla="*/ 30 h 43"/>
                <a:gd name="T40" fmla="*/ 15 w 43"/>
                <a:gd name="T41" fmla="*/ 27 h 43"/>
                <a:gd name="T42" fmla="*/ 6 w 43"/>
                <a:gd name="T43" fmla="*/ 21 h 43"/>
                <a:gd name="T44" fmla="*/ 0 w 43"/>
                <a:gd name="T45" fmla="*/ 6 h 43"/>
                <a:gd name="T46" fmla="*/ 2 w 43"/>
                <a:gd name="T47" fmla="*/ 6 h 43"/>
                <a:gd name="T48" fmla="*/ 19 w 43"/>
                <a:gd name="T4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43">
                  <a:moveTo>
                    <a:pt x="19" y="0"/>
                  </a:moveTo>
                  <a:lnTo>
                    <a:pt x="22" y="0"/>
                  </a:lnTo>
                  <a:lnTo>
                    <a:pt x="25" y="4"/>
                  </a:lnTo>
                  <a:lnTo>
                    <a:pt x="28" y="6"/>
                  </a:lnTo>
                  <a:lnTo>
                    <a:pt x="30" y="6"/>
                  </a:lnTo>
                  <a:lnTo>
                    <a:pt x="28" y="13"/>
                  </a:lnTo>
                  <a:lnTo>
                    <a:pt x="34" y="18"/>
                  </a:lnTo>
                  <a:lnTo>
                    <a:pt x="33" y="24"/>
                  </a:lnTo>
                  <a:lnTo>
                    <a:pt x="37" y="28"/>
                  </a:lnTo>
                  <a:lnTo>
                    <a:pt x="42" y="28"/>
                  </a:lnTo>
                  <a:lnTo>
                    <a:pt x="42" y="37"/>
                  </a:lnTo>
                  <a:lnTo>
                    <a:pt x="40" y="37"/>
                  </a:lnTo>
                  <a:lnTo>
                    <a:pt x="43" y="42"/>
                  </a:lnTo>
                  <a:lnTo>
                    <a:pt x="43" y="43"/>
                  </a:lnTo>
                  <a:lnTo>
                    <a:pt x="34" y="43"/>
                  </a:lnTo>
                  <a:lnTo>
                    <a:pt x="31" y="31"/>
                  </a:lnTo>
                  <a:lnTo>
                    <a:pt x="27" y="31"/>
                  </a:lnTo>
                  <a:lnTo>
                    <a:pt x="22" y="28"/>
                  </a:lnTo>
                  <a:lnTo>
                    <a:pt x="18" y="30"/>
                  </a:lnTo>
                  <a:lnTo>
                    <a:pt x="16" y="30"/>
                  </a:lnTo>
                  <a:lnTo>
                    <a:pt x="15" y="27"/>
                  </a:lnTo>
                  <a:lnTo>
                    <a:pt x="6" y="21"/>
                  </a:lnTo>
                  <a:lnTo>
                    <a:pt x="0" y="6"/>
                  </a:lnTo>
                  <a:lnTo>
                    <a:pt x="2" y="6"/>
                  </a:lnTo>
                  <a:lnTo>
                    <a:pt x="1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6" name="Azerbaijan - West">
              <a:extLst>
                <a:ext uri="{FF2B5EF4-FFF2-40B4-BE49-F238E27FC236}">
                  <a16:creationId xmlns:a16="http://schemas.microsoft.com/office/drawing/2014/main" id="{BEDC1F57-1DD4-E269-BB94-A6663C2073C2}"/>
                </a:ext>
              </a:extLst>
            </p:cNvPr>
            <p:cNvSpPr>
              <a:spLocks/>
            </p:cNvSpPr>
            <p:nvPr/>
          </p:nvSpPr>
          <p:spPr bwMode="auto">
            <a:xfrm>
              <a:off x="6879361" y="3566417"/>
              <a:ext cx="36141" cy="28913"/>
            </a:xfrm>
            <a:custGeom>
              <a:avLst/>
              <a:gdLst>
                <a:gd name="T0" fmla="*/ 5 w 20"/>
                <a:gd name="T1" fmla="*/ 0 h 16"/>
                <a:gd name="T2" fmla="*/ 6 w 20"/>
                <a:gd name="T3" fmla="*/ 0 h 16"/>
                <a:gd name="T4" fmla="*/ 11 w 20"/>
                <a:gd name="T5" fmla="*/ 3 h 16"/>
                <a:gd name="T6" fmla="*/ 17 w 20"/>
                <a:gd name="T7" fmla="*/ 3 h 16"/>
                <a:gd name="T8" fmla="*/ 20 w 20"/>
                <a:gd name="T9" fmla="*/ 15 h 16"/>
                <a:gd name="T10" fmla="*/ 20 w 20"/>
                <a:gd name="T11" fmla="*/ 16 h 16"/>
                <a:gd name="T12" fmla="*/ 11 w 20"/>
                <a:gd name="T13" fmla="*/ 16 h 16"/>
                <a:gd name="T14" fmla="*/ 11 w 20"/>
                <a:gd name="T15" fmla="*/ 15 h 16"/>
                <a:gd name="T16" fmla="*/ 0 w 20"/>
                <a:gd name="T17" fmla="*/ 3 h 16"/>
                <a:gd name="T18" fmla="*/ 0 w 20"/>
                <a:gd name="T19" fmla="*/ 1 h 16"/>
                <a:gd name="T20" fmla="*/ 2 w 20"/>
                <a:gd name="T21" fmla="*/ 1 h 16"/>
                <a:gd name="T22" fmla="*/ 5 w 20"/>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6">
                  <a:moveTo>
                    <a:pt x="5" y="0"/>
                  </a:moveTo>
                  <a:lnTo>
                    <a:pt x="6" y="0"/>
                  </a:lnTo>
                  <a:lnTo>
                    <a:pt x="11" y="3"/>
                  </a:lnTo>
                  <a:lnTo>
                    <a:pt x="17" y="3"/>
                  </a:lnTo>
                  <a:lnTo>
                    <a:pt x="20" y="15"/>
                  </a:lnTo>
                  <a:lnTo>
                    <a:pt x="20" y="16"/>
                  </a:lnTo>
                  <a:lnTo>
                    <a:pt x="11" y="16"/>
                  </a:lnTo>
                  <a:lnTo>
                    <a:pt x="11" y="15"/>
                  </a:lnTo>
                  <a:lnTo>
                    <a:pt x="0" y="3"/>
                  </a:lnTo>
                  <a:lnTo>
                    <a:pt x="0" y="1"/>
                  </a:lnTo>
                  <a:lnTo>
                    <a:pt x="2" y="1"/>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7" name="Azerbaijan - East">
              <a:extLst>
                <a:ext uri="{FF2B5EF4-FFF2-40B4-BE49-F238E27FC236}">
                  <a16:creationId xmlns:a16="http://schemas.microsoft.com/office/drawing/2014/main" id="{6603A5B7-EDE6-A6F4-E4A9-D5E9957DCB24}"/>
                </a:ext>
              </a:extLst>
            </p:cNvPr>
            <p:cNvSpPr>
              <a:spLocks/>
            </p:cNvSpPr>
            <p:nvPr/>
          </p:nvSpPr>
          <p:spPr bwMode="auto">
            <a:xfrm>
              <a:off x="6888396" y="3495942"/>
              <a:ext cx="124688" cy="112038"/>
            </a:xfrm>
            <a:custGeom>
              <a:avLst/>
              <a:gdLst>
                <a:gd name="T0" fmla="*/ 19 w 69"/>
                <a:gd name="T1" fmla="*/ 0 h 62"/>
                <a:gd name="T2" fmla="*/ 29 w 69"/>
                <a:gd name="T3" fmla="*/ 6 h 62"/>
                <a:gd name="T4" fmla="*/ 31 w 69"/>
                <a:gd name="T5" fmla="*/ 12 h 62"/>
                <a:gd name="T6" fmla="*/ 38 w 69"/>
                <a:gd name="T7" fmla="*/ 12 h 62"/>
                <a:gd name="T8" fmla="*/ 44 w 69"/>
                <a:gd name="T9" fmla="*/ 3 h 62"/>
                <a:gd name="T10" fmla="*/ 46 w 69"/>
                <a:gd name="T11" fmla="*/ 3 h 62"/>
                <a:gd name="T12" fmla="*/ 52 w 69"/>
                <a:gd name="T13" fmla="*/ 9 h 62"/>
                <a:gd name="T14" fmla="*/ 61 w 69"/>
                <a:gd name="T15" fmla="*/ 24 h 62"/>
                <a:gd name="T16" fmla="*/ 68 w 69"/>
                <a:gd name="T17" fmla="*/ 25 h 62"/>
                <a:gd name="T18" fmla="*/ 69 w 69"/>
                <a:gd name="T19" fmla="*/ 30 h 62"/>
                <a:gd name="T20" fmla="*/ 69 w 69"/>
                <a:gd name="T21" fmla="*/ 31 h 62"/>
                <a:gd name="T22" fmla="*/ 64 w 69"/>
                <a:gd name="T23" fmla="*/ 30 h 62"/>
                <a:gd name="T24" fmla="*/ 61 w 69"/>
                <a:gd name="T25" fmla="*/ 33 h 62"/>
                <a:gd name="T26" fmla="*/ 56 w 69"/>
                <a:gd name="T27" fmla="*/ 52 h 62"/>
                <a:gd name="T28" fmla="*/ 55 w 69"/>
                <a:gd name="T29" fmla="*/ 52 h 62"/>
                <a:gd name="T30" fmla="*/ 52 w 69"/>
                <a:gd name="T31" fmla="*/ 51 h 62"/>
                <a:gd name="T32" fmla="*/ 52 w 69"/>
                <a:gd name="T33" fmla="*/ 61 h 62"/>
                <a:gd name="T34" fmla="*/ 50 w 69"/>
                <a:gd name="T35" fmla="*/ 61 h 62"/>
                <a:gd name="T36" fmla="*/ 50 w 69"/>
                <a:gd name="T37" fmla="*/ 62 h 62"/>
                <a:gd name="T38" fmla="*/ 38 w 69"/>
                <a:gd name="T39" fmla="*/ 55 h 62"/>
                <a:gd name="T40" fmla="*/ 43 w 69"/>
                <a:gd name="T41" fmla="*/ 52 h 62"/>
                <a:gd name="T42" fmla="*/ 40 w 69"/>
                <a:gd name="T43" fmla="*/ 43 h 62"/>
                <a:gd name="T44" fmla="*/ 37 w 69"/>
                <a:gd name="T45" fmla="*/ 43 h 62"/>
                <a:gd name="T46" fmla="*/ 28 w 69"/>
                <a:gd name="T47" fmla="*/ 46 h 62"/>
                <a:gd name="T48" fmla="*/ 22 w 69"/>
                <a:gd name="T49" fmla="*/ 55 h 62"/>
                <a:gd name="T50" fmla="*/ 21 w 69"/>
                <a:gd name="T51" fmla="*/ 55 h 62"/>
                <a:gd name="T52" fmla="*/ 18 w 69"/>
                <a:gd name="T53" fmla="*/ 49 h 62"/>
                <a:gd name="T54" fmla="*/ 18 w 69"/>
                <a:gd name="T55" fmla="*/ 48 h 62"/>
                <a:gd name="T56" fmla="*/ 19 w 69"/>
                <a:gd name="T57" fmla="*/ 48 h 62"/>
                <a:gd name="T58" fmla="*/ 19 w 69"/>
                <a:gd name="T59" fmla="*/ 42 h 62"/>
                <a:gd name="T60" fmla="*/ 16 w 69"/>
                <a:gd name="T61" fmla="*/ 42 h 62"/>
                <a:gd name="T62" fmla="*/ 10 w 69"/>
                <a:gd name="T63" fmla="*/ 36 h 62"/>
                <a:gd name="T64" fmla="*/ 12 w 69"/>
                <a:gd name="T65" fmla="*/ 30 h 62"/>
                <a:gd name="T66" fmla="*/ 6 w 69"/>
                <a:gd name="T67" fmla="*/ 25 h 62"/>
                <a:gd name="T68" fmla="*/ 7 w 69"/>
                <a:gd name="T69" fmla="*/ 18 h 62"/>
                <a:gd name="T70" fmla="*/ 3 w 69"/>
                <a:gd name="T71" fmla="*/ 18 h 62"/>
                <a:gd name="T72" fmla="*/ 3 w 69"/>
                <a:gd name="T73" fmla="*/ 16 h 62"/>
                <a:gd name="T74" fmla="*/ 0 w 69"/>
                <a:gd name="T75" fmla="*/ 12 h 62"/>
                <a:gd name="T76" fmla="*/ 4 w 69"/>
                <a:gd name="T77" fmla="*/ 9 h 62"/>
                <a:gd name="T78" fmla="*/ 6 w 69"/>
                <a:gd name="T79" fmla="*/ 9 h 62"/>
                <a:gd name="T80" fmla="*/ 21 w 69"/>
                <a:gd name="T81" fmla="*/ 13 h 62"/>
                <a:gd name="T82" fmla="*/ 21 w 69"/>
                <a:gd name="T83" fmla="*/ 12 h 62"/>
                <a:gd name="T84" fmla="*/ 16 w 69"/>
                <a:gd name="T85" fmla="*/ 6 h 62"/>
                <a:gd name="T86" fmla="*/ 19 w 69"/>
                <a:gd name="T87" fmla="*/ 2 h 62"/>
                <a:gd name="T88" fmla="*/ 19 w 69"/>
                <a:gd name="T8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62">
                  <a:moveTo>
                    <a:pt x="19" y="0"/>
                  </a:moveTo>
                  <a:lnTo>
                    <a:pt x="29" y="6"/>
                  </a:lnTo>
                  <a:lnTo>
                    <a:pt x="31" y="12"/>
                  </a:lnTo>
                  <a:lnTo>
                    <a:pt x="38" y="12"/>
                  </a:lnTo>
                  <a:lnTo>
                    <a:pt x="44" y="3"/>
                  </a:lnTo>
                  <a:lnTo>
                    <a:pt x="46" y="3"/>
                  </a:lnTo>
                  <a:lnTo>
                    <a:pt x="52" y="9"/>
                  </a:lnTo>
                  <a:lnTo>
                    <a:pt x="61" y="24"/>
                  </a:lnTo>
                  <a:lnTo>
                    <a:pt x="68" y="25"/>
                  </a:lnTo>
                  <a:lnTo>
                    <a:pt x="69" y="30"/>
                  </a:lnTo>
                  <a:lnTo>
                    <a:pt x="69" y="31"/>
                  </a:lnTo>
                  <a:lnTo>
                    <a:pt x="64" y="30"/>
                  </a:lnTo>
                  <a:lnTo>
                    <a:pt x="61" y="33"/>
                  </a:lnTo>
                  <a:lnTo>
                    <a:pt x="56" y="52"/>
                  </a:lnTo>
                  <a:lnTo>
                    <a:pt x="55" y="52"/>
                  </a:lnTo>
                  <a:lnTo>
                    <a:pt x="52" y="51"/>
                  </a:lnTo>
                  <a:lnTo>
                    <a:pt x="52" y="61"/>
                  </a:lnTo>
                  <a:lnTo>
                    <a:pt x="50" y="61"/>
                  </a:lnTo>
                  <a:lnTo>
                    <a:pt x="50" y="62"/>
                  </a:lnTo>
                  <a:lnTo>
                    <a:pt x="38" y="55"/>
                  </a:lnTo>
                  <a:lnTo>
                    <a:pt x="43" y="52"/>
                  </a:lnTo>
                  <a:lnTo>
                    <a:pt x="40" y="43"/>
                  </a:lnTo>
                  <a:lnTo>
                    <a:pt x="37" y="43"/>
                  </a:lnTo>
                  <a:lnTo>
                    <a:pt x="28" y="46"/>
                  </a:lnTo>
                  <a:lnTo>
                    <a:pt x="22" y="55"/>
                  </a:lnTo>
                  <a:lnTo>
                    <a:pt x="21" y="55"/>
                  </a:lnTo>
                  <a:lnTo>
                    <a:pt x="18" y="49"/>
                  </a:lnTo>
                  <a:lnTo>
                    <a:pt x="18" y="48"/>
                  </a:lnTo>
                  <a:lnTo>
                    <a:pt x="19" y="48"/>
                  </a:lnTo>
                  <a:lnTo>
                    <a:pt x="19" y="42"/>
                  </a:lnTo>
                  <a:lnTo>
                    <a:pt x="16" y="42"/>
                  </a:lnTo>
                  <a:lnTo>
                    <a:pt x="10" y="36"/>
                  </a:lnTo>
                  <a:lnTo>
                    <a:pt x="12" y="30"/>
                  </a:lnTo>
                  <a:lnTo>
                    <a:pt x="6" y="25"/>
                  </a:lnTo>
                  <a:lnTo>
                    <a:pt x="7" y="18"/>
                  </a:lnTo>
                  <a:lnTo>
                    <a:pt x="3" y="18"/>
                  </a:lnTo>
                  <a:lnTo>
                    <a:pt x="3" y="16"/>
                  </a:lnTo>
                  <a:lnTo>
                    <a:pt x="0" y="12"/>
                  </a:lnTo>
                  <a:lnTo>
                    <a:pt x="4" y="9"/>
                  </a:lnTo>
                  <a:lnTo>
                    <a:pt x="6" y="9"/>
                  </a:lnTo>
                  <a:lnTo>
                    <a:pt x="21" y="13"/>
                  </a:lnTo>
                  <a:lnTo>
                    <a:pt x="21" y="12"/>
                  </a:lnTo>
                  <a:lnTo>
                    <a:pt x="16" y="6"/>
                  </a:lnTo>
                  <a:lnTo>
                    <a:pt x="19" y="2"/>
                  </a:lnTo>
                  <a:lnTo>
                    <a:pt x="1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8" name="Denmark">
              <a:extLst>
                <a:ext uri="{FF2B5EF4-FFF2-40B4-BE49-F238E27FC236}">
                  <a16:creationId xmlns:a16="http://schemas.microsoft.com/office/drawing/2014/main" id="{BFA1B4FC-345C-DEF7-BDA3-0F60A5D67198}"/>
                </a:ext>
              </a:extLst>
            </p:cNvPr>
            <p:cNvSpPr>
              <a:spLocks/>
            </p:cNvSpPr>
            <p:nvPr/>
          </p:nvSpPr>
          <p:spPr bwMode="auto">
            <a:xfrm>
              <a:off x="6015586" y="2914068"/>
              <a:ext cx="112038" cy="137336"/>
            </a:xfrm>
            <a:custGeom>
              <a:avLst/>
              <a:gdLst/>
              <a:ahLst/>
              <a:cxnLst/>
              <a:rect l="l" t="t" r="r" b="b"/>
              <a:pathLst>
                <a:path w="112931" h="138431">
                  <a:moveTo>
                    <a:pt x="78324" y="120216"/>
                  </a:moveTo>
                  <a:lnTo>
                    <a:pt x="87431" y="122038"/>
                  </a:lnTo>
                  <a:lnTo>
                    <a:pt x="87431" y="125681"/>
                  </a:lnTo>
                  <a:lnTo>
                    <a:pt x="91074" y="132967"/>
                  </a:lnTo>
                  <a:lnTo>
                    <a:pt x="91074" y="136610"/>
                  </a:lnTo>
                  <a:lnTo>
                    <a:pt x="72859" y="131145"/>
                  </a:lnTo>
                  <a:lnTo>
                    <a:pt x="72859" y="122038"/>
                  </a:lnTo>
                  <a:close/>
                  <a:moveTo>
                    <a:pt x="61929" y="92894"/>
                  </a:moveTo>
                  <a:lnTo>
                    <a:pt x="63751" y="92894"/>
                  </a:lnTo>
                  <a:lnTo>
                    <a:pt x="69215" y="105645"/>
                  </a:lnTo>
                  <a:lnTo>
                    <a:pt x="69215" y="116574"/>
                  </a:lnTo>
                  <a:lnTo>
                    <a:pt x="69216" y="116574"/>
                  </a:lnTo>
                  <a:lnTo>
                    <a:pt x="67395" y="131147"/>
                  </a:lnTo>
                  <a:lnTo>
                    <a:pt x="67395" y="132968"/>
                  </a:lnTo>
                  <a:lnTo>
                    <a:pt x="63752" y="132968"/>
                  </a:lnTo>
                  <a:lnTo>
                    <a:pt x="63752" y="131147"/>
                  </a:lnTo>
                  <a:lnTo>
                    <a:pt x="61930" y="125682"/>
                  </a:lnTo>
                  <a:lnTo>
                    <a:pt x="67395" y="116574"/>
                  </a:lnTo>
                  <a:lnTo>
                    <a:pt x="61929" y="116574"/>
                  </a:lnTo>
                  <a:lnTo>
                    <a:pt x="56465" y="120217"/>
                  </a:lnTo>
                  <a:lnTo>
                    <a:pt x="47358" y="120217"/>
                  </a:lnTo>
                  <a:lnTo>
                    <a:pt x="47358" y="116574"/>
                  </a:lnTo>
                  <a:lnTo>
                    <a:pt x="40072" y="98359"/>
                  </a:lnTo>
                  <a:lnTo>
                    <a:pt x="41894" y="98359"/>
                  </a:lnTo>
                  <a:lnTo>
                    <a:pt x="47358" y="94716"/>
                  </a:lnTo>
                  <a:close/>
                  <a:moveTo>
                    <a:pt x="103824" y="71036"/>
                  </a:moveTo>
                  <a:lnTo>
                    <a:pt x="112931" y="89251"/>
                  </a:lnTo>
                  <a:lnTo>
                    <a:pt x="112931" y="92894"/>
                  </a:lnTo>
                  <a:lnTo>
                    <a:pt x="103824" y="98358"/>
                  </a:lnTo>
                  <a:lnTo>
                    <a:pt x="107467" y="109287"/>
                  </a:lnTo>
                  <a:lnTo>
                    <a:pt x="107467" y="111108"/>
                  </a:lnTo>
                  <a:lnTo>
                    <a:pt x="102002" y="111108"/>
                  </a:lnTo>
                  <a:lnTo>
                    <a:pt x="102002" y="120216"/>
                  </a:lnTo>
                  <a:lnTo>
                    <a:pt x="98360" y="122037"/>
                  </a:lnTo>
                  <a:lnTo>
                    <a:pt x="98355" y="122036"/>
                  </a:lnTo>
                  <a:lnTo>
                    <a:pt x="98360" y="122038"/>
                  </a:lnTo>
                  <a:lnTo>
                    <a:pt x="98360" y="125681"/>
                  </a:lnTo>
                  <a:lnTo>
                    <a:pt x="96539" y="136610"/>
                  </a:lnTo>
                  <a:lnTo>
                    <a:pt x="96539" y="138431"/>
                  </a:lnTo>
                  <a:lnTo>
                    <a:pt x="92896" y="138431"/>
                  </a:lnTo>
                  <a:lnTo>
                    <a:pt x="91074" y="122038"/>
                  </a:lnTo>
                  <a:lnTo>
                    <a:pt x="91074" y="120823"/>
                  </a:lnTo>
                  <a:lnTo>
                    <a:pt x="87431" y="120216"/>
                  </a:lnTo>
                  <a:lnTo>
                    <a:pt x="87431" y="114751"/>
                  </a:lnTo>
                  <a:lnTo>
                    <a:pt x="78324" y="111108"/>
                  </a:lnTo>
                  <a:lnTo>
                    <a:pt x="74681" y="94715"/>
                  </a:lnTo>
                  <a:lnTo>
                    <a:pt x="69216" y="89251"/>
                  </a:lnTo>
                  <a:lnTo>
                    <a:pt x="83788" y="81965"/>
                  </a:lnTo>
                  <a:lnTo>
                    <a:pt x="80145" y="78322"/>
                  </a:lnTo>
                  <a:lnTo>
                    <a:pt x="80145" y="76501"/>
                  </a:lnTo>
                  <a:lnTo>
                    <a:pt x="91074" y="76501"/>
                  </a:lnTo>
                  <a:lnTo>
                    <a:pt x="91074" y="83786"/>
                  </a:lnTo>
                  <a:lnTo>
                    <a:pt x="92895" y="81965"/>
                  </a:lnTo>
                  <a:lnTo>
                    <a:pt x="92895" y="76501"/>
                  </a:lnTo>
                  <a:close/>
                  <a:moveTo>
                    <a:pt x="56466" y="0"/>
                  </a:moveTo>
                  <a:lnTo>
                    <a:pt x="58287" y="0"/>
                  </a:lnTo>
                  <a:lnTo>
                    <a:pt x="58287" y="21858"/>
                  </a:lnTo>
                  <a:lnTo>
                    <a:pt x="51002" y="49180"/>
                  </a:lnTo>
                  <a:lnTo>
                    <a:pt x="56466" y="49180"/>
                  </a:lnTo>
                  <a:lnTo>
                    <a:pt x="52823" y="58287"/>
                  </a:lnTo>
                  <a:lnTo>
                    <a:pt x="58287" y="58287"/>
                  </a:lnTo>
                  <a:lnTo>
                    <a:pt x="61930" y="54644"/>
                  </a:lnTo>
                  <a:lnTo>
                    <a:pt x="67395" y="54644"/>
                  </a:lnTo>
                  <a:lnTo>
                    <a:pt x="67395" y="58287"/>
                  </a:lnTo>
                  <a:lnTo>
                    <a:pt x="69216" y="58287"/>
                  </a:lnTo>
                  <a:lnTo>
                    <a:pt x="69216" y="65573"/>
                  </a:lnTo>
                  <a:lnTo>
                    <a:pt x="67395" y="65573"/>
                  </a:lnTo>
                  <a:lnTo>
                    <a:pt x="58287" y="72859"/>
                  </a:lnTo>
                  <a:lnTo>
                    <a:pt x="56466" y="71038"/>
                  </a:lnTo>
                  <a:lnTo>
                    <a:pt x="56466" y="78324"/>
                  </a:lnTo>
                  <a:lnTo>
                    <a:pt x="52823" y="78324"/>
                  </a:lnTo>
                  <a:lnTo>
                    <a:pt x="45537" y="83788"/>
                  </a:lnTo>
                  <a:lnTo>
                    <a:pt x="45537" y="89253"/>
                  </a:lnTo>
                  <a:lnTo>
                    <a:pt x="40073" y="89253"/>
                  </a:lnTo>
                  <a:lnTo>
                    <a:pt x="40073" y="94717"/>
                  </a:lnTo>
                  <a:lnTo>
                    <a:pt x="34608" y="114753"/>
                  </a:lnTo>
                  <a:lnTo>
                    <a:pt x="40073" y="125682"/>
                  </a:lnTo>
                  <a:lnTo>
                    <a:pt x="14572" y="125682"/>
                  </a:lnTo>
                  <a:lnTo>
                    <a:pt x="14572" y="122039"/>
                  </a:lnTo>
                  <a:lnTo>
                    <a:pt x="12751" y="122039"/>
                  </a:lnTo>
                  <a:lnTo>
                    <a:pt x="12751" y="105646"/>
                  </a:lnTo>
                  <a:lnTo>
                    <a:pt x="1822" y="98360"/>
                  </a:lnTo>
                  <a:lnTo>
                    <a:pt x="0" y="94717"/>
                  </a:lnTo>
                  <a:lnTo>
                    <a:pt x="0" y="60109"/>
                  </a:lnTo>
                  <a:lnTo>
                    <a:pt x="5465" y="3825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9" name="Germany">
              <a:extLst>
                <a:ext uri="{FF2B5EF4-FFF2-40B4-BE49-F238E27FC236}">
                  <a16:creationId xmlns:a16="http://schemas.microsoft.com/office/drawing/2014/main" id="{139DF647-0B47-1A57-E531-9FDF6EB82AA8}"/>
                </a:ext>
              </a:extLst>
            </p:cNvPr>
            <p:cNvSpPr>
              <a:spLocks/>
            </p:cNvSpPr>
            <p:nvPr/>
          </p:nvSpPr>
          <p:spPr bwMode="auto">
            <a:xfrm>
              <a:off x="5966795" y="3035140"/>
              <a:ext cx="211427" cy="287324"/>
            </a:xfrm>
            <a:custGeom>
              <a:avLst/>
              <a:gdLst/>
              <a:ahLst/>
              <a:cxnLst/>
              <a:rect l="l" t="t" r="r" b="b"/>
              <a:pathLst>
                <a:path w="213112" h="289614">
                  <a:moveTo>
                    <a:pt x="61930" y="0"/>
                  </a:moveTo>
                  <a:lnTo>
                    <a:pt x="85609" y="0"/>
                  </a:lnTo>
                  <a:lnTo>
                    <a:pt x="91073" y="3643"/>
                  </a:lnTo>
                  <a:lnTo>
                    <a:pt x="94716" y="5464"/>
                  </a:lnTo>
                  <a:lnTo>
                    <a:pt x="94716" y="16393"/>
                  </a:lnTo>
                  <a:lnTo>
                    <a:pt x="96538" y="21858"/>
                  </a:lnTo>
                  <a:lnTo>
                    <a:pt x="122038" y="21858"/>
                  </a:lnTo>
                  <a:lnTo>
                    <a:pt x="122038" y="23679"/>
                  </a:lnTo>
                  <a:lnTo>
                    <a:pt x="112931" y="38251"/>
                  </a:lnTo>
                  <a:lnTo>
                    <a:pt x="129324" y="38251"/>
                  </a:lnTo>
                  <a:lnTo>
                    <a:pt x="156646" y="20036"/>
                  </a:lnTo>
                  <a:lnTo>
                    <a:pt x="158468" y="20036"/>
                  </a:lnTo>
                  <a:lnTo>
                    <a:pt x="156646" y="23679"/>
                  </a:lnTo>
                  <a:lnTo>
                    <a:pt x="163932" y="21858"/>
                  </a:lnTo>
                  <a:lnTo>
                    <a:pt x="167575" y="21858"/>
                  </a:lnTo>
                  <a:lnTo>
                    <a:pt x="167575" y="21858"/>
                  </a:lnTo>
                  <a:lnTo>
                    <a:pt x="169397" y="16394"/>
                  </a:lnTo>
                  <a:lnTo>
                    <a:pt x="169397" y="14572"/>
                  </a:lnTo>
                  <a:lnTo>
                    <a:pt x="169397" y="10929"/>
                  </a:lnTo>
                  <a:lnTo>
                    <a:pt x="180326" y="14572"/>
                  </a:lnTo>
                  <a:lnTo>
                    <a:pt x="183969" y="14572"/>
                  </a:lnTo>
                  <a:lnTo>
                    <a:pt x="183969" y="27323"/>
                  </a:lnTo>
                  <a:lnTo>
                    <a:pt x="180326" y="27323"/>
                  </a:lnTo>
                  <a:lnTo>
                    <a:pt x="169854" y="23832"/>
                  </a:lnTo>
                  <a:lnTo>
                    <a:pt x="194898" y="45537"/>
                  </a:lnTo>
                  <a:lnTo>
                    <a:pt x="200362" y="65573"/>
                  </a:lnTo>
                  <a:lnTo>
                    <a:pt x="196719" y="83788"/>
                  </a:lnTo>
                  <a:lnTo>
                    <a:pt x="202183" y="89252"/>
                  </a:lnTo>
                  <a:lnTo>
                    <a:pt x="207648" y="129325"/>
                  </a:lnTo>
                  <a:lnTo>
                    <a:pt x="213112" y="140253"/>
                  </a:lnTo>
                  <a:lnTo>
                    <a:pt x="207648" y="162111"/>
                  </a:lnTo>
                  <a:lnTo>
                    <a:pt x="196719" y="151182"/>
                  </a:lnTo>
                  <a:lnTo>
                    <a:pt x="196719" y="160290"/>
                  </a:lnTo>
                  <a:lnTo>
                    <a:pt x="194898" y="160290"/>
                  </a:lnTo>
                  <a:lnTo>
                    <a:pt x="151182" y="185790"/>
                  </a:lnTo>
                  <a:lnTo>
                    <a:pt x="147539" y="183969"/>
                  </a:lnTo>
                  <a:lnTo>
                    <a:pt x="158468" y="211291"/>
                  </a:lnTo>
                  <a:lnTo>
                    <a:pt x="189433" y="238613"/>
                  </a:lnTo>
                  <a:lnTo>
                    <a:pt x="167575" y="256828"/>
                  </a:lnTo>
                  <a:lnTo>
                    <a:pt x="169397" y="278685"/>
                  </a:lnTo>
                  <a:lnTo>
                    <a:pt x="167575" y="278685"/>
                  </a:lnTo>
                  <a:lnTo>
                    <a:pt x="163932" y="280507"/>
                  </a:lnTo>
                  <a:lnTo>
                    <a:pt x="162111" y="280507"/>
                  </a:lnTo>
                  <a:lnTo>
                    <a:pt x="151182" y="275042"/>
                  </a:lnTo>
                  <a:lnTo>
                    <a:pt x="123860" y="285971"/>
                  </a:lnTo>
                  <a:lnTo>
                    <a:pt x="111109" y="280507"/>
                  </a:lnTo>
                  <a:lnTo>
                    <a:pt x="105645" y="289614"/>
                  </a:lnTo>
                  <a:lnTo>
                    <a:pt x="102002" y="289614"/>
                  </a:lnTo>
                  <a:lnTo>
                    <a:pt x="91073" y="280507"/>
                  </a:lnTo>
                  <a:lnTo>
                    <a:pt x="83787" y="284150"/>
                  </a:lnTo>
                  <a:lnTo>
                    <a:pt x="67394" y="278685"/>
                  </a:lnTo>
                  <a:lnTo>
                    <a:pt x="38251" y="278685"/>
                  </a:lnTo>
                  <a:lnTo>
                    <a:pt x="38251" y="262292"/>
                  </a:lnTo>
                  <a:lnTo>
                    <a:pt x="49179" y="229506"/>
                  </a:lnTo>
                  <a:lnTo>
                    <a:pt x="18214" y="222220"/>
                  </a:lnTo>
                  <a:lnTo>
                    <a:pt x="5464" y="211291"/>
                  </a:lnTo>
                  <a:lnTo>
                    <a:pt x="5464" y="207648"/>
                  </a:lnTo>
                  <a:lnTo>
                    <a:pt x="7286" y="202183"/>
                  </a:lnTo>
                  <a:lnTo>
                    <a:pt x="1821" y="185790"/>
                  </a:lnTo>
                  <a:lnTo>
                    <a:pt x="5464" y="176683"/>
                  </a:lnTo>
                  <a:lnTo>
                    <a:pt x="0" y="165754"/>
                  </a:lnTo>
                  <a:lnTo>
                    <a:pt x="0" y="118396"/>
                  </a:lnTo>
                  <a:lnTo>
                    <a:pt x="12750" y="118396"/>
                  </a:lnTo>
                  <a:lnTo>
                    <a:pt x="23679" y="105645"/>
                  </a:lnTo>
                  <a:lnTo>
                    <a:pt x="16393" y="94717"/>
                  </a:lnTo>
                  <a:lnTo>
                    <a:pt x="12750" y="92895"/>
                  </a:lnTo>
                  <a:lnTo>
                    <a:pt x="16393" y="92895"/>
                  </a:lnTo>
                  <a:lnTo>
                    <a:pt x="21857" y="87431"/>
                  </a:lnTo>
                  <a:lnTo>
                    <a:pt x="27322" y="67395"/>
                  </a:lnTo>
                  <a:lnTo>
                    <a:pt x="34608" y="67395"/>
                  </a:lnTo>
                  <a:lnTo>
                    <a:pt x="27322" y="61930"/>
                  </a:lnTo>
                  <a:lnTo>
                    <a:pt x="27322" y="60109"/>
                  </a:lnTo>
                  <a:lnTo>
                    <a:pt x="29143" y="51001"/>
                  </a:lnTo>
                  <a:lnTo>
                    <a:pt x="32786" y="51001"/>
                  </a:lnTo>
                  <a:lnTo>
                    <a:pt x="43715" y="49180"/>
                  </a:lnTo>
                  <a:lnTo>
                    <a:pt x="51001" y="51001"/>
                  </a:lnTo>
                  <a:lnTo>
                    <a:pt x="54644" y="60109"/>
                  </a:lnTo>
                  <a:lnTo>
                    <a:pt x="58287" y="56466"/>
                  </a:lnTo>
                  <a:lnTo>
                    <a:pt x="61930" y="56466"/>
                  </a:lnTo>
                  <a:lnTo>
                    <a:pt x="61930" y="45537"/>
                  </a:lnTo>
                  <a:lnTo>
                    <a:pt x="72859" y="43715"/>
                  </a:lnTo>
                  <a:lnTo>
                    <a:pt x="61930" y="23679"/>
                  </a:lnTo>
                  <a:lnTo>
                    <a:pt x="63751" y="23679"/>
                  </a:lnTo>
                  <a:lnTo>
                    <a:pt x="69216" y="1639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0" name="Netherlands">
              <a:extLst>
                <a:ext uri="{FF2B5EF4-FFF2-40B4-BE49-F238E27FC236}">
                  <a16:creationId xmlns:a16="http://schemas.microsoft.com/office/drawing/2014/main" id="{9012BF08-2828-6543-82D2-59D35AE8B4D8}"/>
                </a:ext>
              </a:extLst>
            </p:cNvPr>
            <p:cNvSpPr>
              <a:spLocks/>
            </p:cNvSpPr>
            <p:nvPr/>
          </p:nvSpPr>
          <p:spPr bwMode="auto">
            <a:xfrm>
              <a:off x="5907161" y="3094774"/>
              <a:ext cx="86739" cy="106617"/>
            </a:xfrm>
            <a:custGeom>
              <a:avLst/>
              <a:gdLst/>
              <a:ahLst/>
              <a:cxnLst/>
              <a:rect l="l" t="t" r="r" b="b"/>
              <a:pathLst>
                <a:path w="87430" h="107467">
                  <a:moveTo>
                    <a:pt x="38252" y="7286"/>
                  </a:moveTo>
                  <a:lnTo>
                    <a:pt x="43716" y="7286"/>
                  </a:lnTo>
                  <a:lnTo>
                    <a:pt x="43716" y="10929"/>
                  </a:lnTo>
                  <a:lnTo>
                    <a:pt x="32787" y="21858"/>
                  </a:lnTo>
                  <a:lnTo>
                    <a:pt x="30965" y="21858"/>
                  </a:lnTo>
                  <a:lnTo>
                    <a:pt x="38252" y="10929"/>
                  </a:lnTo>
                  <a:close/>
                  <a:moveTo>
                    <a:pt x="78323" y="0"/>
                  </a:moveTo>
                  <a:lnTo>
                    <a:pt x="87430" y="7286"/>
                  </a:lnTo>
                  <a:lnTo>
                    <a:pt x="87430" y="10929"/>
                  </a:lnTo>
                  <a:lnTo>
                    <a:pt x="83787" y="29144"/>
                  </a:lnTo>
                  <a:lnTo>
                    <a:pt x="78323" y="34608"/>
                  </a:lnTo>
                  <a:lnTo>
                    <a:pt x="87430" y="45537"/>
                  </a:lnTo>
                  <a:lnTo>
                    <a:pt x="76501" y="61930"/>
                  </a:lnTo>
                  <a:lnTo>
                    <a:pt x="61930" y="61930"/>
                  </a:lnTo>
                  <a:lnTo>
                    <a:pt x="61930" y="107467"/>
                  </a:lnTo>
                  <a:lnTo>
                    <a:pt x="60108" y="107467"/>
                  </a:lnTo>
                  <a:lnTo>
                    <a:pt x="54644" y="102003"/>
                  </a:lnTo>
                  <a:lnTo>
                    <a:pt x="51001" y="102003"/>
                  </a:lnTo>
                  <a:lnTo>
                    <a:pt x="51001" y="89252"/>
                  </a:lnTo>
                  <a:lnTo>
                    <a:pt x="38251" y="83788"/>
                  </a:lnTo>
                  <a:lnTo>
                    <a:pt x="32786" y="83788"/>
                  </a:lnTo>
                  <a:lnTo>
                    <a:pt x="27322" y="85609"/>
                  </a:lnTo>
                  <a:lnTo>
                    <a:pt x="21857" y="85609"/>
                  </a:lnTo>
                  <a:lnTo>
                    <a:pt x="16393" y="89252"/>
                  </a:lnTo>
                  <a:lnTo>
                    <a:pt x="10929" y="89252"/>
                  </a:lnTo>
                  <a:lnTo>
                    <a:pt x="0" y="83788"/>
                  </a:lnTo>
                  <a:lnTo>
                    <a:pt x="0" y="80145"/>
                  </a:lnTo>
                  <a:lnTo>
                    <a:pt x="16393" y="80145"/>
                  </a:lnTo>
                  <a:lnTo>
                    <a:pt x="14571" y="78324"/>
                  </a:lnTo>
                  <a:lnTo>
                    <a:pt x="10929" y="78324"/>
                  </a:lnTo>
                  <a:lnTo>
                    <a:pt x="10929" y="74681"/>
                  </a:lnTo>
                  <a:lnTo>
                    <a:pt x="14571" y="74681"/>
                  </a:lnTo>
                  <a:lnTo>
                    <a:pt x="30965" y="69216"/>
                  </a:lnTo>
                  <a:lnTo>
                    <a:pt x="21857" y="69216"/>
                  </a:lnTo>
                  <a:lnTo>
                    <a:pt x="20036" y="61930"/>
                  </a:lnTo>
                  <a:lnTo>
                    <a:pt x="16393" y="61930"/>
                  </a:lnTo>
                  <a:lnTo>
                    <a:pt x="20036" y="58287"/>
                  </a:lnTo>
                  <a:lnTo>
                    <a:pt x="38251" y="21858"/>
                  </a:lnTo>
                  <a:lnTo>
                    <a:pt x="41894" y="21858"/>
                  </a:lnTo>
                  <a:lnTo>
                    <a:pt x="43715" y="29144"/>
                  </a:lnTo>
                  <a:lnTo>
                    <a:pt x="41894" y="34608"/>
                  </a:lnTo>
                  <a:lnTo>
                    <a:pt x="41894" y="40073"/>
                  </a:lnTo>
                  <a:lnTo>
                    <a:pt x="45537" y="41894"/>
                  </a:lnTo>
                  <a:lnTo>
                    <a:pt x="45537" y="38251"/>
                  </a:lnTo>
                  <a:lnTo>
                    <a:pt x="49180" y="23679"/>
                  </a:lnTo>
                  <a:lnTo>
                    <a:pt x="45537" y="23679"/>
                  </a:lnTo>
                  <a:lnTo>
                    <a:pt x="45537" y="21858"/>
                  </a:lnTo>
                  <a:lnTo>
                    <a:pt x="49180" y="7286"/>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1" name="Norway Mainland">
              <a:extLst>
                <a:ext uri="{FF2B5EF4-FFF2-40B4-BE49-F238E27FC236}">
                  <a16:creationId xmlns:a16="http://schemas.microsoft.com/office/drawing/2014/main" id="{28583308-37D2-5F11-037E-4FC06EEB7529}"/>
                </a:ext>
              </a:extLst>
            </p:cNvPr>
            <p:cNvSpPr>
              <a:spLocks noEditPoints="1"/>
            </p:cNvSpPr>
            <p:nvPr/>
          </p:nvSpPr>
          <p:spPr bwMode="auto">
            <a:xfrm>
              <a:off x="5943304" y="2169558"/>
              <a:ext cx="614401" cy="731861"/>
            </a:xfrm>
            <a:custGeom>
              <a:avLst/>
              <a:gdLst>
                <a:gd name="T0" fmla="*/ 295 w 340"/>
                <a:gd name="T1" fmla="*/ 0 h 405"/>
                <a:gd name="T2" fmla="*/ 305 w 340"/>
                <a:gd name="T3" fmla="*/ 14 h 405"/>
                <a:gd name="T4" fmla="*/ 306 w 340"/>
                <a:gd name="T5" fmla="*/ 20 h 405"/>
                <a:gd name="T6" fmla="*/ 318 w 340"/>
                <a:gd name="T7" fmla="*/ 9 h 405"/>
                <a:gd name="T8" fmla="*/ 340 w 340"/>
                <a:gd name="T9" fmla="*/ 28 h 405"/>
                <a:gd name="T10" fmla="*/ 315 w 340"/>
                <a:gd name="T11" fmla="*/ 39 h 405"/>
                <a:gd name="T12" fmla="*/ 326 w 340"/>
                <a:gd name="T13" fmla="*/ 55 h 405"/>
                <a:gd name="T14" fmla="*/ 339 w 340"/>
                <a:gd name="T15" fmla="*/ 61 h 405"/>
                <a:gd name="T16" fmla="*/ 314 w 340"/>
                <a:gd name="T17" fmla="*/ 80 h 405"/>
                <a:gd name="T18" fmla="*/ 317 w 340"/>
                <a:gd name="T19" fmla="*/ 55 h 405"/>
                <a:gd name="T20" fmla="*/ 257 w 340"/>
                <a:gd name="T21" fmla="*/ 94 h 405"/>
                <a:gd name="T22" fmla="*/ 228 w 340"/>
                <a:gd name="T23" fmla="*/ 91 h 405"/>
                <a:gd name="T24" fmla="*/ 204 w 340"/>
                <a:gd name="T25" fmla="*/ 79 h 405"/>
                <a:gd name="T26" fmla="*/ 197 w 340"/>
                <a:gd name="T27" fmla="*/ 101 h 405"/>
                <a:gd name="T28" fmla="*/ 174 w 340"/>
                <a:gd name="T29" fmla="*/ 98 h 405"/>
                <a:gd name="T30" fmla="*/ 146 w 340"/>
                <a:gd name="T31" fmla="*/ 138 h 405"/>
                <a:gd name="T32" fmla="*/ 124 w 340"/>
                <a:gd name="T33" fmla="*/ 208 h 405"/>
                <a:gd name="T34" fmla="*/ 105 w 340"/>
                <a:gd name="T35" fmla="*/ 245 h 405"/>
                <a:gd name="T36" fmla="*/ 94 w 340"/>
                <a:gd name="T37" fmla="*/ 309 h 405"/>
                <a:gd name="T38" fmla="*/ 97 w 340"/>
                <a:gd name="T39" fmla="*/ 355 h 405"/>
                <a:gd name="T40" fmla="*/ 81 w 340"/>
                <a:gd name="T41" fmla="*/ 386 h 405"/>
                <a:gd name="T42" fmla="*/ 72 w 340"/>
                <a:gd name="T43" fmla="*/ 368 h 405"/>
                <a:gd name="T44" fmla="*/ 68 w 340"/>
                <a:gd name="T45" fmla="*/ 381 h 405"/>
                <a:gd name="T46" fmla="*/ 22 w 340"/>
                <a:gd name="T47" fmla="*/ 399 h 405"/>
                <a:gd name="T48" fmla="*/ 13 w 340"/>
                <a:gd name="T49" fmla="*/ 383 h 405"/>
                <a:gd name="T50" fmla="*/ 3 w 340"/>
                <a:gd name="T51" fmla="*/ 369 h 405"/>
                <a:gd name="T52" fmla="*/ 20 w 340"/>
                <a:gd name="T53" fmla="*/ 344 h 405"/>
                <a:gd name="T54" fmla="*/ 8 w 340"/>
                <a:gd name="T55" fmla="*/ 359 h 405"/>
                <a:gd name="T56" fmla="*/ 5 w 340"/>
                <a:gd name="T57" fmla="*/ 353 h 405"/>
                <a:gd name="T58" fmla="*/ 8 w 340"/>
                <a:gd name="T59" fmla="*/ 340 h 405"/>
                <a:gd name="T60" fmla="*/ 1 w 340"/>
                <a:gd name="T61" fmla="*/ 335 h 405"/>
                <a:gd name="T62" fmla="*/ 23 w 340"/>
                <a:gd name="T63" fmla="*/ 326 h 405"/>
                <a:gd name="T64" fmla="*/ 31 w 340"/>
                <a:gd name="T65" fmla="*/ 323 h 405"/>
                <a:gd name="T66" fmla="*/ 19 w 340"/>
                <a:gd name="T67" fmla="*/ 326 h 405"/>
                <a:gd name="T68" fmla="*/ 1 w 340"/>
                <a:gd name="T69" fmla="*/ 309 h 405"/>
                <a:gd name="T70" fmla="*/ 14 w 340"/>
                <a:gd name="T71" fmla="*/ 301 h 405"/>
                <a:gd name="T72" fmla="*/ 20 w 340"/>
                <a:gd name="T73" fmla="*/ 289 h 405"/>
                <a:gd name="T74" fmla="*/ 26 w 340"/>
                <a:gd name="T75" fmla="*/ 279 h 405"/>
                <a:gd name="T76" fmla="*/ 54 w 340"/>
                <a:gd name="T77" fmla="*/ 260 h 405"/>
                <a:gd name="T78" fmla="*/ 63 w 340"/>
                <a:gd name="T79" fmla="*/ 255 h 405"/>
                <a:gd name="T80" fmla="*/ 62 w 340"/>
                <a:gd name="T81" fmla="*/ 248 h 405"/>
                <a:gd name="T82" fmla="*/ 80 w 340"/>
                <a:gd name="T83" fmla="*/ 226 h 405"/>
                <a:gd name="T84" fmla="*/ 84 w 340"/>
                <a:gd name="T85" fmla="*/ 215 h 405"/>
                <a:gd name="T86" fmla="*/ 93 w 340"/>
                <a:gd name="T87" fmla="*/ 205 h 405"/>
                <a:gd name="T88" fmla="*/ 100 w 340"/>
                <a:gd name="T89" fmla="*/ 193 h 405"/>
                <a:gd name="T90" fmla="*/ 99 w 340"/>
                <a:gd name="T91" fmla="*/ 184 h 405"/>
                <a:gd name="T92" fmla="*/ 106 w 340"/>
                <a:gd name="T93" fmla="*/ 165 h 405"/>
                <a:gd name="T94" fmla="*/ 126 w 340"/>
                <a:gd name="T95" fmla="*/ 132 h 405"/>
                <a:gd name="T96" fmla="*/ 137 w 340"/>
                <a:gd name="T97" fmla="*/ 126 h 405"/>
                <a:gd name="T98" fmla="*/ 149 w 340"/>
                <a:gd name="T99" fmla="*/ 116 h 405"/>
                <a:gd name="T100" fmla="*/ 158 w 340"/>
                <a:gd name="T101" fmla="*/ 104 h 405"/>
                <a:gd name="T102" fmla="*/ 151 w 340"/>
                <a:gd name="T103" fmla="*/ 97 h 405"/>
                <a:gd name="T104" fmla="*/ 171 w 340"/>
                <a:gd name="T105" fmla="*/ 73 h 405"/>
                <a:gd name="T106" fmla="*/ 179 w 340"/>
                <a:gd name="T107" fmla="*/ 70 h 405"/>
                <a:gd name="T108" fmla="*/ 185 w 340"/>
                <a:gd name="T109" fmla="*/ 54 h 405"/>
                <a:gd name="T110" fmla="*/ 200 w 340"/>
                <a:gd name="T111" fmla="*/ 46 h 405"/>
                <a:gd name="T112" fmla="*/ 206 w 340"/>
                <a:gd name="T113" fmla="*/ 49 h 405"/>
                <a:gd name="T114" fmla="*/ 216 w 340"/>
                <a:gd name="T115" fmla="*/ 40 h 405"/>
                <a:gd name="T116" fmla="*/ 222 w 340"/>
                <a:gd name="T117" fmla="*/ 31 h 405"/>
                <a:gd name="T118" fmla="*/ 238 w 340"/>
                <a:gd name="T119" fmla="*/ 43 h 405"/>
                <a:gd name="T120" fmla="*/ 253 w 340"/>
                <a:gd name="T121" fmla="*/ 11 h 405"/>
                <a:gd name="T122" fmla="*/ 274 w 340"/>
                <a:gd name="T123" fmla="*/ 11 h 405"/>
                <a:gd name="T124" fmla="*/ 283 w 340"/>
                <a:gd name="T125" fmla="*/ 2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0" h="405">
                  <a:moveTo>
                    <a:pt x="105" y="183"/>
                  </a:moveTo>
                  <a:lnTo>
                    <a:pt x="103" y="184"/>
                  </a:lnTo>
                  <a:lnTo>
                    <a:pt x="106" y="186"/>
                  </a:lnTo>
                  <a:lnTo>
                    <a:pt x="105" y="183"/>
                  </a:lnTo>
                  <a:close/>
                  <a:moveTo>
                    <a:pt x="295" y="0"/>
                  </a:moveTo>
                  <a:lnTo>
                    <a:pt x="296" y="0"/>
                  </a:lnTo>
                  <a:lnTo>
                    <a:pt x="306" y="6"/>
                  </a:lnTo>
                  <a:lnTo>
                    <a:pt x="308" y="6"/>
                  </a:lnTo>
                  <a:lnTo>
                    <a:pt x="306" y="14"/>
                  </a:lnTo>
                  <a:lnTo>
                    <a:pt x="305" y="14"/>
                  </a:lnTo>
                  <a:lnTo>
                    <a:pt x="300" y="15"/>
                  </a:lnTo>
                  <a:lnTo>
                    <a:pt x="302" y="17"/>
                  </a:lnTo>
                  <a:lnTo>
                    <a:pt x="302" y="18"/>
                  </a:lnTo>
                  <a:lnTo>
                    <a:pt x="300" y="20"/>
                  </a:lnTo>
                  <a:lnTo>
                    <a:pt x="306" y="20"/>
                  </a:lnTo>
                  <a:lnTo>
                    <a:pt x="302" y="25"/>
                  </a:lnTo>
                  <a:lnTo>
                    <a:pt x="308" y="25"/>
                  </a:lnTo>
                  <a:lnTo>
                    <a:pt x="308" y="14"/>
                  </a:lnTo>
                  <a:lnTo>
                    <a:pt x="317" y="9"/>
                  </a:lnTo>
                  <a:lnTo>
                    <a:pt x="318" y="9"/>
                  </a:lnTo>
                  <a:lnTo>
                    <a:pt x="318" y="17"/>
                  </a:lnTo>
                  <a:lnTo>
                    <a:pt x="326" y="15"/>
                  </a:lnTo>
                  <a:lnTo>
                    <a:pt x="327" y="15"/>
                  </a:lnTo>
                  <a:lnTo>
                    <a:pt x="340" y="27"/>
                  </a:lnTo>
                  <a:lnTo>
                    <a:pt x="340" y="28"/>
                  </a:lnTo>
                  <a:lnTo>
                    <a:pt x="329" y="42"/>
                  </a:lnTo>
                  <a:lnTo>
                    <a:pt x="324" y="42"/>
                  </a:lnTo>
                  <a:lnTo>
                    <a:pt x="321" y="40"/>
                  </a:lnTo>
                  <a:lnTo>
                    <a:pt x="318" y="40"/>
                  </a:lnTo>
                  <a:lnTo>
                    <a:pt x="315" y="39"/>
                  </a:lnTo>
                  <a:lnTo>
                    <a:pt x="312" y="39"/>
                  </a:lnTo>
                  <a:lnTo>
                    <a:pt x="326" y="48"/>
                  </a:lnTo>
                  <a:lnTo>
                    <a:pt x="326" y="49"/>
                  </a:lnTo>
                  <a:lnTo>
                    <a:pt x="323" y="55"/>
                  </a:lnTo>
                  <a:lnTo>
                    <a:pt x="326" y="55"/>
                  </a:lnTo>
                  <a:lnTo>
                    <a:pt x="329" y="54"/>
                  </a:lnTo>
                  <a:lnTo>
                    <a:pt x="332" y="54"/>
                  </a:lnTo>
                  <a:lnTo>
                    <a:pt x="335" y="52"/>
                  </a:lnTo>
                  <a:lnTo>
                    <a:pt x="339" y="52"/>
                  </a:lnTo>
                  <a:lnTo>
                    <a:pt x="339" y="61"/>
                  </a:lnTo>
                  <a:lnTo>
                    <a:pt x="337" y="61"/>
                  </a:lnTo>
                  <a:lnTo>
                    <a:pt x="330" y="60"/>
                  </a:lnTo>
                  <a:lnTo>
                    <a:pt x="329" y="66"/>
                  </a:lnTo>
                  <a:lnTo>
                    <a:pt x="315" y="80"/>
                  </a:lnTo>
                  <a:lnTo>
                    <a:pt x="314" y="80"/>
                  </a:lnTo>
                  <a:lnTo>
                    <a:pt x="314" y="79"/>
                  </a:lnTo>
                  <a:lnTo>
                    <a:pt x="312" y="74"/>
                  </a:lnTo>
                  <a:lnTo>
                    <a:pt x="312" y="73"/>
                  </a:lnTo>
                  <a:lnTo>
                    <a:pt x="318" y="66"/>
                  </a:lnTo>
                  <a:lnTo>
                    <a:pt x="317" y="55"/>
                  </a:lnTo>
                  <a:lnTo>
                    <a:pt x="302" y="42"/>
                  </a:lnTo>
                  <a:lnTo>
                    <a:pt x="275" y="52"/>
                  </a:lnTo>
                  <a:lnTo>
                    <a:pt x="274" y="60"/>
                  </a:lnTo>
                  <a:lnTo>
                    <a:pt x="272" y="82"/>
                  </a:lnTo>
                  <a:lnTo>
                    <a:pt x="257" y="94"/>
                  </a:lnTo>
                  <a:lnTo>
                    <a:pt x="249" y="86"/>
                  </a:lnTo>
                  <a:lnTo>
                    <a:pt x="243" y="94"/>
                  </a:lnTo>
                  <a:lnTo>
                    <a:pt x="241" y="94"/>
                  </a:lnTo>
                  <a:lnTo>
                    <a:pt x="229" y="91"/>
                  </a:lnTo>
                  <a:lnTo>
                    <a:pt x="228" y="91"/>
                  </a:lnTo>
                  <a:lnTo>
                    <a:pt x="213" y="70"/>
                  </a:lnTo>
                  <a:lnTo>
                    <a:pt x="210" y="71"/>
                  </a:lnTo>
                  <a:lnTo>
                    <a:pt x="211" y="74"/>
                  </a:lnTo>
                  <a:lnTo>
                    <a:pt x="211" y="76"/>
                  </a:lnTo>
                  <a:lnTo>
                    <a:pt x="204" y="79"/>
                  </a:lnTo>
                  <a:lnTo>
                    <a:pt x="198" y="80"/>
                  </a:lnTo>
                  <a:lnTo>
                    <a:pt x="200" y="85"/>
                  </a:lnTo>
                  <a:lnTo>
                    <a:pt x="197" y="94"/>
                  </a:lnTo>
                  <a:lnTo>
                    <a:pt x="200" y="100"/>
                  </a:lnTo>
                  <a:lnTo>
                    <a:pt x="197" y="101"/>
                  </a:lnTo>
                  <a:lnTo>
                    <a:pt x="194" y="101"/>
                  </a:lnTo>
                  <a:lnTo>
                    <a:pt x="189" y="100"/>
                  </a:lnTo>
                  <a:lnTo>
                    <a:pt x="182" y="100"/>
                  </a:lnTo>
                  <a:lnTo>
                    <a:pt x="177" y="98"/>
                  </a:lnTo>
                  <a:lnTo>
                    <a:pt x="174" y="98"/>
                  </a:lnTo>
                  <a:lnTo>
                    <a:pt x="170" y="117"/>
                  </a:lnTo>
                  <a:lnTo>
                    <a:pt x="169" y="119"/>
                  </a:lnTo>
                  <a:lnTo>
                    <a:pt x="163" y="114"/>
                  </a:lnTo>
                  <a:lnTo>
                    <a:pt x="154" y="122"/>
                  </a:lnTo>
                  <a:lnTo>
                    <a:pt x="146" y="138"/>
                  </a:lnTo>
                  <a:lnTo>
                    <a:pt x="149" y="149"/>
                  </a:lnTo>
                  <a:lnTo>
                    <a:pt x="137" y="166"/>
                  </a:lnTo>
                  <a:lnTo>
                    <a:pt x="134" y="177"/>
                  </a:lnTo>
                  <a:lnTo>
                    <a:pt x="127" y="181"/>
                  </a:lnTo>
                  <a:lnTo>
                    <a:pt x="124" y="208"/>
                  </a:lnTo>
                  <a:lnTo>
                    <a:pt x="115" y="224"/>
                  </a:lnTo>
                  <a:lnTo>
                    <a:pt x="121" y="233"/>
                  </a:lnTo>
                  <a:lnTo>
                    <a:pt x="121" y="240"/>
                  </a:lnTo>
                  <a:lnTo>
                    <a:pt x="120" y="242"/>
                  </a:lnTo>
                  <a:lnTo>
                    <a:pt x="105" y="245"/>
                  </a:lnTo>
                  <a:lnTo>
                    <a:pt x="94" y="254"/>
                  </a:lnTo>
                  <a:lnTo>
                    <a:pt x="93" y="263"/>
                  </a:lnTo>
                  <a:lnTo>
                    <a:pt x="96" y="272"/>
                  </a:lnTo>
                  <a:lnTo>
                    <a:pt x="93" y="286"/>
                  </a:lnTo>
                  <a:lnTo>
                    <a:pt x="94" y="309"/>
                  </a:lnTo>
                  <a:lnTo>
                    <a:pt x="102" y="321"/>
                  </a:lnTo>
                  <a:lnTo>
                    <a:pt x="94" y="331"/>
                  </a:lnTo>
                  <a:lnTo>
                    <a:pt x="99" y="341"/>
                  </a:lnTo>
                  <a:lnTo>
                    <a:pt x="97" y="353"/>
                  </a:lnTo>
                  <a:lnTo>
                    <a:pt x="97" y="355"/>
                  </a:lnTo>
                  <a:lnTo>
                    <a:pt x="90" y="359"/>
                  </a:lnTo>
                  <a:lnTo>
                    <a:pt x="87" y="368"/>
                  </a:lnTo>
                  <a:lnTo>
                    <a:pt x="88" y="374"/>
                  </a:lnTo>
                  <a:lnTo>
                    <a:pt x="86" y="384"/>
                  </a:lnTo>
                  <a:lnTo>
                    <a:pt x="81" y="386"/>
                  </a:lnTo>
                  <a:lnTo>
                    <a:pt x="80" y="380"/>
                  </a:lnTo>
                  <a:lnTo>
                    <a:pt x="74" y="377"/>
                  </a:lnTo>
                  <a:lnTo>
                    <a:pt x="74" y="375"/>
                  </a:lnTo>
                  <a:lnTo>
                    <a:pt x="72" y="359"/>
                  </a:lnTo>
                  <a:lnTo>
                    <a:pt x="72" y="368"/>
                  </a:lnTo>
                  <a:lnTo>
                    <a:pt x="69" y="366"/>
                  </a:lnTo>
                  <a:lnTo>
                    <a:pt x="72" y="374"/>
                  </a:lnTo>
                  <a:lnTo>
                    <a:pt x="72" y="375"/>
                  </a:lnTo>
                  <a:lnTo>
                    <a:pt x="71" y="375"/>
                  </a:lnTo>
                  <a:lnTo>
                    <a:pt x="68" y="381"/>
                  </a:lnTo>
                  <a:lnTo>
                    <a:pt x="60" y="380"/>
                  </a:lnTo>
                  <a:lnTo>
                    <a:pt x="54" y="392"/>
                  </a:lnTo>
                  <a:lnTo>
                    <a:pt x="35" y="405"/>
                  </a:lnTo>
                  <a:lnTo>
                    <a:pt x="20" y="405"/>
                  </a:lnTo>
                  <a:lnTo>
                    <a:pt x="22" y="399"/>
                  </a:lnTo>
                  <a:lnTo>
                    <a:pt x="17" y="401"/>
                  </a:lnTo>
                  <a:lnTo>
                    <a:pt x="7" y="390"/>
                  </a:lnTo>
                  <a:lnTo>
                    <a:pt x="7" y="389"/>
                  </a:lnTo>
                  <a:lnTo>
                    <a:pt x="8" y="381"/>
                  </a:lnTo>
                  <a:lnTo>
                    <a:pt x="13" y="383"/>
                  </a:lnTo>
                  <a:lnTo>
                    <a:pt x="17" y="369"/>
                  </a:lnTo>
                  <a:lnTo>
                    <a:pt x="5" y="374"/>
                  </a:lnTo>
                  <a:lnTo>
                    <a:pt x="4" y="374"/>
                  </a:lnTo>
                  <a:lnTo>
                    <a:pt x="3" y="371"/>
                  </a:lnTo>
                  <a:lnTo>
                    <a:pt x="3" y="369"/>
                  </a:lnTo>
                  <a:lnTo>
                    <a:pt x="4" y="369"/>
                  </a:lnTo>
                  <a:lnTo>
                    <a:pt x="16" y="362"/>
                  </a:lnTo>
                  <a:lnTo>
                    <a:pt x="10" y="361"/>
                  </a:lnTo>
                  <a:lnTo>
                    <a:pt x="10" y="359"/>
                  </a:lnTo>
                  <a:lnTo>
                    <a:pt x="20" y="344"/>
                  </a:lnTo>
                  <a:lnTo>
                    <a:pt x="22" y="344"/>
                  </a:lnTo>
                  <a:lnTo>
                    <a:pt x="22" y="347"/>
                  </a:lnTo>
                  <a:lnTo>
                    <a:pt x="25" y="343"/>
                  </a:lnTo>
                  <a:lnTo>
                    <a:pt x="19" y="343"/>
                  </a:lnTo>
                  <a:lnTo>
                    <a:pt x="8" y="359"/>
                  </a:lnTo>
                  <a:lnTo>
                    <a:pt x="7" y="359"/>
                  </a:lnTo>
                  <a:lnTo>
                    <a:pt x="5" y="356"/>
                  </a:lnTo>
                  <a:lnTo>
                    <a:pt x="8" y="353"/>
                  </a:lnTo>
                  <a:lnTo>
                    <a:pt x="7" y="350"/>
                  </a:lnTo>
                  <a:lnTo>
                    <a:pt x="5" y="353"/>
                  </a:lnTo>
                  <a:lnTo>
                    <a:pt x="4" y="353"/>
                  </a:lnTo>
                  <a:lnTo>
                    <a:pt x="4" y="352"/>
                  </a:lnTo>
                  <a:lnTo>
                    <a:pt x="3" y="347"/>
                  </a:lnTo>
                  <a:lnTo>
                    <a:pt x="3" y="346"/>
                  </a:lnTo>
                  <a:lnTo>
                    <a:pt x="8" y="340"/>
                  </a:lnTo>
                  <a:lnTo>
                    <a:pt x="4" y="341"/>
                  </a:lnTo>
                  <a:lnTo>
                    <a:pt x="3" y="341"/>
                  </a:lnTo>
                  <a:lnTo>
                    <a:pt x="3" y="340"/>
                  </a:lnTo>
                  <a:lnTo>
                    <a:pt x="0" y="335"/>
                  </a:lnTo>
                  <a:lnTo>
                    <a:pt x="1" y="335"/>
                  </a:lnTo>
                  <a:lnTo>
                    <a:pt x="4" y="337"/>
                  </a:lnTo>
                  <a:lnTo>
                    <a:pt x="4" y="334"/>
                  </a:lnTo>
                  <a:lnTo>
                    <a:pt x="1" y="332"/>
                  </a:lnTo>
                  <a:lnTo>
                    <a:pt x="1" y="331"/>
                  </a:lnTo>
                  <a:lnTo>
                    <a:pt x="23" y="326"/>
                  </a:lnTo>
                  <a:lnTo>
                    <a:pt x="26" y="332"/>
                  </a:lnTo>
                  <a:lnTo>
                    <a:pt x="28" y="331"/>
                  </a:lnTo>
                  <a:lnTo>
                    <a:pt x="28" y="326"/>
                  </a:lnTo>
                  <a:lnTo>
                    <a:pt x="31" y="325"/>
                  </a:lnTo>
                  <a:lnTo>
                    <a:pt x="31" y="323"/>
                  </a:lnTo>
                  <a:lnTo>
                    <a:pt x="32" y="319"/>
                  </a:lnTo>
                  <a:lnTo>
                    <a:pt x="28" y="325"/>
                  </a:lnTo>
                  <a:lnTo>
                    <a:pt x="20" y="325"/>
                  </a:lnTo>
                  <a:lnTo>
                    <a:pt x="20" y="322"/>
                  </a:lnTo>
                  <a:lnTo>
                    <a:pt x="19" y="326"/>
                  </a:lnTo>
                  <a:lnTo>
                    <a:pt x="1" y="326"/>
                  </a:lnTo>
                  <a:lnTo>
                    <a:pt x="1" y="319"/>
                  </a:lnTo>
                  <a:lnTo>
                    <a:pt x="4" y="313"/>
                  </a:lnTo>
                  <a:lnTo>
                    <a:pt x="1" y="310"/>
                  </a:lnTo>
                  <a:lnTo>
                    <a:pt x="1" y="309"/>
                  </a:lnTo>
                  <a:lnTo>
                    <a:pt x="13" y="306"/>
                  </a:lnTo>
                  <a:lnTo>
                    <a:pt x="3" y="306"/>
                  </a:lnTo>
                  <a:lnTo>
                    <a:pt x="3" y="298"/>
                  </a:lnTo>
                  <a:lnTo>
                    <a:pt x="4" y="298"/>
                  </a:lnTo>
                  <a:lnTo>
                    <a:pt x="14" y="301"/>
                  </a:lnTo>
                  <a:lnTo>
                    <a:pt x="13" y="298"/>
                  </a:lnTo>
                  <a:lnTo>
                    <a:pt x="17" y="292"/>
                  </a:lnTo>
                  <a:lnTo>
                    <a:pt x="19" y="292"/>
                  </a:lnTo>
                  <a:lnTo>
                    <a:pt x="20" y="295"/>
                  </a:lnTo>
                  <a:lnTo>
                    <a:pt x="20" y="289"/>
                  </a:lnTo>
                  <a:lnTo>
                    <a:pt x="19" y="288"/>
                  </a:lnTo>
                  <a:lnTo>
                    <a:pt x="19" y="286"/>
                  </a:lnTo>
                  <a:lnTo>
                    <a:pt x="34" y="286"/>
                  </a:lnTo>
                  <a:lnTo>
                    <a:pt x="34" y="283"/>
                  </a:lnTo>
                  <a:lnTo>
                    <a:pt x="26" y="279"/>
                  </a:lnTo>
                  <a:lnTo>
                    <a:pt x="26" y="278"/>
                  </a:lnTo>
                  <a:lnTo>
                    <a:pt x="34" y="273"/>
                  </a:lnTo>
                  <a:lnTo>
                    <a:pt x="47" y="261"/>
                  </a:lnTo>
                  <a:lnTo>
                    <a:pt x="54" y="258"/>
                  </a:lnTo>
                  <a:lnTo>
                    <a:pt x="54" y="260"/>
                  </a:lnTo>
                  <a:lnTo>
                    <a:pt x="56" y="264"/>
                  </a:lnTo>
                  <a:lnTo>
                    <a:pt x="57" y="263"/>
                  </a:lnTo>
                  <a:lnTo>
                    <a:pt x="56" y="258"/>
                  </a:lnTo>
                  <a:lnTo>
                    <a:pt x="62" y="255"/>
                  </a:lnTo>
                  <a:lnTo>
                    <a:pt x="63" y="255"/>
                  </a:lnTo>
                  <a:lnTo>
                    <a:pt x="68" y="261"/>
                  </a:lnTo>
                  <a:lnTo>
                    <a:pt x="77" y="254"/>
                  </a:lnTo>
                  <a:lnTo>
                    <a:pt x="68" y="258"/>
                  </a:lnTo>
                  <a:lnTo>
                    <a:pt x="62" y="249"/>
                  </a:lnTo>
                  <a:lnTo>
                    <a:pt x="62" y="248"/>
                  </a:lnTo>
                  <a:lnTo>
                    <a:pt x="66" y="245"/>
                  </a:lnTo>
                  <a:lnTo>
                    <a:pt x="66" y="240"/>
                  </a:lnTo>
                  <a:lnTo>
                    <a:pt x="78" y="227"/>
                  </a:lnTo>
                  <a:lnTo>
                    <a:pt x="78" y="226"/>
                  </a:lnTo>
                  <a:lnTo>
                    <a:pt x="80" y="226"/>
                  </a:lnTo>
                  <a:lnTo>
                    <a:pt x="84" y="229"/>
                  </a:lnTo>
                  <a:lnTo>
                    <a:pt x="84" y="223"/>
                  </a:lnTo>
                  <a:lnTo>
                    <a:pt x="83" y="221"/>
                  </a:lnTo>
                  <a:lnTo>
                    <a:pt x="83" y="217"/>
                  </a:lnTo>
                  <a:lnTo>
                    <a:pt x="84" y="215"/>
                  </a:lnTo>
                  <a:lnTo>
                    <a:pt x="96" y="208"/>
                  </a:lnTo>
                  <a:lnTo>
                    <a:pt x="96" y="205"/>
                  </a:lnTo>
                  <a:lnTo>
                    <a:pt x="94" y="206"/>
                  </a:lnTo>
                  <a:lnTo>
                    <a:pt x="93" y="206"/>
                  </a:lnTo>
                  <a:lnTo>
                    <a:pt x="93" y="205"/>
                  </a:lnTo>
                  <a:lnTo>
                    <a:pt x="96" y="196"/>
                  </a:lnTo>
                  <a:lnTo>
                    <a:pt x="99" y="199"/>
                  </a:lnTo>
                  <a:lnTo>
                    <a:pt x="97" y="194"/>
                  </a:lnTo>
                  <a:lnTo>
                    <a:pt x="97" y="193"/>
                  </a:lnTo>
                  <a:lnTo>
                    <a:pt x="100" y="193"/>
                  </a:lnTo>
                  <a:lnTo>
                    <a:pt x="102" y="186"/>
                  </a:lnTo>
                  <a:lnTo>
                    <a:pt x="102" y="184"/>
                  </a:lnTo>
                  <a:lnTo>
                    <a:pt x="100" y="186"/>
                  </a:lnTo>
                  <a:lnTo>
                    <a:pt x="99" y="186"/>
                  </a:lnTo>
                  <a:lnTo>
                    <a:pt x="99" y="184"/>
                  </a:lnTo>
                  <a:lnTo>
                    <a:pt x="109" y="174"/>
                  </a:lnTo>
                  <a:lnTo>
                    <a:pt x="106" y="168"/>
                  </a:lnTo>
                  <a:lnTo>
                    <a:pt x="106" y="166"/>
                  </a:lnTo>
                  <a:lnTo>
                    <a:pt x="111" y="165"/>
                  </a:lnTo>
                  <a:lnTo>
                    <a:pt x="106" y="165"/>
                  </a:lnTo>
                  <a:lnTo>
                    <a:pt x="106" y="163"/>
                  </a:lnTo>
                  <a:lnTo>
                    <a:pt x="109" y="160"/>
                  </a:lnTo>
                  <a:lnTo>
                    <a:pt x="121" y="150"/>
                  </a:lnTo>
                  <a:lnTo>
                    <a:pt x="126" y="134"/>
                  </a:lnTo>
                  <a:lnTo>
                    <a:pt x="126" y="132"/>
                  </a:lnTo>
                  <a:lnTo>
                    <a:pt x="134" y="131"/>
                  </a:lnTo>
                  <a:lnTo>
                    <a:pt x="133" y="131"/>
                  </a:lnTo>
                  <a:lnTo>
                    <a:pt x="133" y="129"/>
                  </a:lnTo>
                  <a:lnTo>
                    <a:pt x="134" y="129"/>
                  </a:lnTo>
                  <a:lnTo>
                    <a:pt x="137" y="126"/>
                  </a:lnTo>
                  <a:lnTo>
                    <a:pt x="136" y="120"/>
                  </a:lnTo>
                  <a:lnTo>
                    <a:pt x="142" y="110"/>
                  </a:lnTo>
                  <a:lnTo>
                    <a:pt x="143" y="110"/>
                  </a:lnTo>
                  <a:lnTo>
                    <a:pt x="146" y="119"/>
                  </a:lnTo>
                  <a:lnTo>
                    <a:pt x="149" y="116"/>
                  </a:lnTo>
                  <a:lnTo>
                    <a:pt x="148" y="104"/>
                  </a:lnTo>
                  <a:lnTo>
                    <a:pt x="148" y="103"/>
                  </a:lnTo>
                  <a:lnTo>
                    <a:pt x="151" y="103"/>
                  </a:lnTo>
                  <a:lnTo>
                    <a:pt x="152" y="104"/>
                  </a:lnTo>
                  <a:lnTo>
                    <a:pt x="158" y="104"/>
                  </a:lnTo>
                  <a:lnTo>
                    <a:pt x="160" y="106"/>
                  </a:lnTo>
                  <a:lnTo>
                    <a:pt x="161" y="106"/>
                  </a:lnTo>
                  <a:lnTo>
                    <a:pt x="164" y="101"/>
                  </a:lnTo>
                  <a:lnTo>
                    <a:pt x="151" y="98"/>
                  </a:lnTo>
                  <a:lnTo>
                    <a:pt x="151" y="97"/>
                  </a:lnTo>
                  <a:lnTo>
                    <a:pt x="166" y="89"/>
                  </a:lnTo>
                  <a:lnTo>
                    <a:pt x="166" y="85"/>
                  </a:lnTo>
                  <a:lnTo>
                    <a:pt x="167" y="85"/>
                  </a:lnTo>
                  <a:lnTo>
                    <a:pt x="164" y="80"/>
                  </a:lnTo>
                  <a:lnTo>
                    <a:pt x="171" y="73"/>
                  </a:lnTo>
                  <a:lnTo>
                    <a:pt x="170" y="71"/>
                  </a:lnTo>
                  <a:lnTo>
                    <a:pt x="173" y="63"/>
                  </a:lnTo>
                  <a:lnTo>
                    <a:pt x="174" y="63"/>
                  </a:lnTo>
                  <a:lnTo>
                    <a:pt x="174" y="68"/>
                  </a:lnTo>
                  <a:lnTo>
                    <a:pt x="179" y="70"/>
                  </a:lnTo>
                  <a:lnTo>
                    <a:pt x="180" y="68"/>
                  </a:lnTo>
                  <a:lnTo>
                    <a:pt x="176" y="61"/>
                  </a:lnTo>
                  <a:lnTo>
                    <a:pt x="180" y="61"/>
                  </a:lnTo>
                  <a:lnTo>
                    <a:pt x="183" y="64"/>
                  </a:lnTo>
                  <a:lnTo>
                    <a:pt x="185" y="54"/>
                  </a:lnTo>
                  <a:lnTo>
                    <a:pt x="185" y="52"/>
                  </a:lnTo>
                  <a:lnTo>
                    <a:pt x="192" y="52"/>
                  </a:lnTo>
                  <a:lnTo>
                    <a:pt x="192" y="57"/>
                  </a:lnTo>
                  <a:lnTo>
                    <a:pt x="194" y="54"/>
                  </a:lnTo>
                  <a:lnTo>
                    <a:pt x="200" y="46"/>
                  </a:lnTo>
                  <a:lnTo>
                    <a:pt x="201" y="46"/>
                  </a:lnTo>
                  <a:lnTo>
                    <a:pt x="201" y="66"/>
                  </a:lnTo>
                  <a:lnTo>
                    <a:pt x="204" y="60"/>
                  </a:lnTo>
                  <a:lnTo>
                    <a:pt x="204" y="54"/>
                  </a:lnTo>
                  <a:lnTo>
                    <a:pt x="206" y="49"/>
                  </a:lnTo>
                  <a:lnTo>
                    <a:pt x="213" y="46"/>
                  </a:lnTo>
                  <a:lnTo>
                    <a:pt x="213" y="43"/>
                  </a:lnTo>
                  <a:lnTo>
                    <a:pt x="222" y="52"/>
                  </a:lnTo>
                  <a:lnTo>
                    <a:pt x="222" y="42"/>
                  </a:lnTo>
                  <a:lnTo>
                    <a:pt x="216" y="40"/>
                  </a:lnTo>
                  <a:lnTo>
                    <a:pt x="216" y="31"/>
                  </a:lnTo>
                  <a:lnTo>
                    <a:pt x="217" y="33"/>
                  </a:lnTo>
                  <a:lnTo>
                    <a:pt x="219" y="36"/>
                  </a:lnTo>
                  <a:lnTo>
                    <a:pt x="220" y="33"/>
                  </a:lnTo>
                  <a:lnTo>
                    <a:pt x="222" y="31"/>
                  </a:lnTo>
                  <a:lnTo>
                    <a:pt x="222" y="33"/>
                  </a:lnTo>
                  <a:lnTo>
                    <a:pt x="228" y="39"/>
                  </a:lnTo>
                  <a:lnTo>
                    <a:pt x="235" y="36"/>
                  </a:lnTo>
                  <a:lnTo>
                    <a:pt x="235" y="40"/>
                  </a:lnTo>
                  <a:lnTo>
                    <a:pt x="238" y="43"/>
                  </a:lnTo>
                  <a:lnTo>
                    <a:pt x="238" y="36"/>
                  </a:lnTo>
                  <a:lnTo>
                    <a:pt x="256" y="18"/>
                  </a:lnTo>
                  <a:lnTo>
                    <a:pt x="252" y="12"/>
                  </a:lnTo>
                  <a:lnTo>
                    <a:pt x="252" y="11"/>
                  </a:lnTo>
                  <a:lnTo>
                    <a:pt x="253" y="11"/>
                  </a:lnTo>
                  <a:lnTo>
                    <a:pt x="260" y="6"/>
                  </a:lnTo>
                  <a:lnTo>
                    <a:pt x="262" y="6"/>
                  </a:lnTo>
                  <a:lnTo>
                    <a:pt x="265" y="12"/>
                  </a:lnTo>
                  <a:lnTo>
                    <a:pt x="272" y="11"/>
                  </a:lnTo>
                  <a:lnTo>
                    <a:pt x="274" y="11"/>
                  </a:lnTo>
                  <a:lnTo>
                    <a:pt x="265" y="27"/>
                  </a:lnTo>
                  <a:lnTo>
                    <a:pt x="260" y="39"/>
                  </a:lnTo>
                  <a:lnTo>
                    <a:pt x="262" y="40"/>
                  </a:lnTo>
                  <a:lnTo>
                    <a:pt x="283" y="8"/>
                  </a:lnTo>
                  <a:lnTo>
                    <a:pt x="283" y="28"/>
                  </a:lnTo>
                  <a:lnTo>
                    <a:pt x="289" y="25"/>
                  </a:lnTo>
                  <a:lnTo>
                    <a:pt x="29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2" name="Norway Offshore">
              <a:extLst>
                <a:ext uri="{FF2B5EF4-FFF2-40B4-BE49-F238E27FC236}">
                  <a16:creationId xmlns:a16="http://schemas.microsoft.com/office/drawing/2014/main" id="{3B1A5E9B-BA03-545A-591D-2C88C2D91056}"/>
                </a:ext>
              </a:extLst>
            </p:cNvPr>
            <p:cNvSpPr>
              <a:spLocks/>
            </p:cNvSpPr>
            <p:nvPr/>
          </p:nvSpPr>
          <p:spPr bwMode="auto">
            <a:xfrm>
              <a:off x="5961374" y="2169558"/>
              <a:ext cx="482486" cy="536698"/>
            </a:xfrm>
            <a:custGeom>
              <a:avLst/>
              <a:gdLst/>
              <a:ahLst/>
              <a:cxnLst/>
              <a:rect l="l" t="t" r="r" b="b"/>
              <a:pathLst>
                <a:path w="486332" h="540976">
                  <a:moveTo>
                    <a:pt x="7286" y="530047"/>
                  </a:moveTo>
                  <a:lnTo>
                    <a:pt x="7286" y="531869"/>
                  </a:lnTo>
                  <a:lnTo>
                    <a:pt x="5464" y="537333"/>
                  </a:lnTo>
                  <a:lnTo>
                    <a:pt x="5464" y="540976"/>
                  </a:lnTo>
                  <a:lnTo>
                    <a:pt x="1821" y="540976"/>
                  </a:lnTo>
                  <a:lnTo>
                    <a:pt x="1821" y="537333"/>
                  </a:lnTo>
                  <a:lnTo>
                    <a:pt x="0" y="531869"/>
                  </a:lnTo>
                  <a:lnTo>
                    <a:pt x="1821" y="531869"/>
                  </a:lnTo>
                  <a:close/>
                  <a:moveTo>
                    <a:pt x="234968" y="151181"/>
                  </a:moveTo>
                  <a:lnTo>
                    <a:pt x="236790" y="151181"/>
                  </a:lnTo>
                  <a:lnTo>
                    <a:pt x="242254" y="165753"/>
                  </a:lnTo>
                  <a:lnTo>
                    <a:pt x="242254" y="167574"/>
                  </a:lnTo>
                  <a:lnTo>
                    <a:pt x="247719" y="154824"/>
                  </a:lnTo>
                  <a:lnTo>
                    <a:pt x="251362" y="154824"/>
                  </a:lnTo>
                  <a:lnTo>
                    <a:pt x="258648" y="160289"/>
                  </a:lnTo>
                  <a:lnTo>
                    <a:pt x="258648" y="173039"/>
                  </a:lnTo>
                  <a:lnTo>
                    <a:pt x="236790" y="193075"/>
                  </a:lnTo>
                  <a:lnTo>
                    <a:pt x="236790" y="194897"/>
                  </a:lnTo>
                  <a:lnTo>
                    <a:pt x="234968" y="194897"/>
                  </a:lnTo>
                  <a:lnTo>
                    <a:pt x="234968" y="193075"/>
                  </a:lnTo>
                  <a:lnTo>
                    <a:pt x="231325" y="183968"/>
                  </a:lnTo>
                  <a:lnTo>
                    <a:pt x="205825" y="200361"/>
                  </a:lnTo>
                  <a:lnTo>
                    <a:pt x="202182" y="200361"/>
                  </a:lnTo>
                  <a:lnTo>
                    <a:pt x="205825" y="196718"/>
                  </a:lnTo>
                  <a:lnTo>
                    <a:pt x="225861" y="178503"/>
                  </a:lnTo>
                  <a:close/>
                  <a:moveTo>
                    <a:pt x="218576" y="145717"/>
                  </a:moveTo>
                  <a:lnTo>
                    <a:pt x="220397" y="145717"/>
                  </a:lnTo>
                  <a:lnTo>
                    <a:pt x="225862" y="167575"/>
                  </a:lnTo>
                  <a:lnTo>
                    <a:pt x="225862" y="171218"/>
                  </a:lnTo>
                  <a:lnTo>
                    <a:pt x="205825" y="171218"/>
                  </a:lnTo>
                  <a:lnTo>
                    <a:pt x="205825" y="167575"/>
                  </a:lnTo>
                  <a:lnTo>
                    <a:pt x="218576" y="156646"/>
                  </a:lnTo>
                  <a:close/>
                  <a:moveTo>
                    <a:pt x="247720" y="127503"/>
                  </a:moveTo>
                  <a:lnTo>
                    <a:pt x="251363" y="127503"/>
                  </a:lnTo>
                  <a:lnTo>
                    <a:pt x="251363" y="129325"/>
                  </a:lnTo>
                  <a:lnTo>
                    <a:pt x="242255" y="145718"/>
                  </a:lnTo>
                  <a:lnTo>
                    <a:pt x="242255" y="149361"/>
                  </a:lnTo>
                  <a:lnTo>
                    <a:pt x="240433" y="149361"/>
                  </a:lnTo>
                  <a:lnTo>
                    <a:pt x="234969" y="145718"/>
                  </a:lnTo>
                  <a:lnTo>
                    <a:pt x="231326" y="145718"/>
                  </a:lnTo>
                  <a:lnTo>
                    <a:pt x="231326" y="143897"/>
                  </a:lnTo>
                  <a:lnTo>
                    <a:pt x="236790" y="132968"/>
                  </a:lnTo>
                  <a:close/>
                  <a:moveTo>
                    <a:pt x="278683" y="109288"/>
                  </a:moveTo>
                  <a:lnTo>
                    <a:pt x="280505" y="109288"/>
                  </a:lnTo>
                  <a:lnTo>
                    <a:pt x="291433" y="122038"/>
                  </a:lnTo>
                  <a:lnTo>
                    <a:pt x="293255" y="122038"/>
                  </a:lnTo>
                  <a:lnTo>
                    <a:pt x="291433" y="134788"/>
                  </a:lnTo>
                  <a:lnTo>
                    <a:pt x="289612" y="134788"/>
                  </a:lnTo>
                  <a:lnTo>
                    <a:pt x="289612" y="138431"/>
                  </a:lnTo>
                  <a:lnTo>
                    <a:pt x="267755" y="145717"/>
                  </a:lnTo>
                  <a:lnTo>
                    <a:pt x="264112" y="145717"/>
                  </a:lnTo>
                  <a:lnTo>
                    <a:pt x="267755" y="134788"/>
                  </a:lnTo>
                  <a:lnTo>
                    <a:pt x="264112" y="132967"/>
                  </a:lnTo>
                  <a:lnTo>
                    <a:pt x="267755" y="122038"/>
                  </a:lnTo>
                  <a:close/>
                  <a:moveTo>
                    <a:pt x="309649" y="94716"/>
                  </a:moveTo>
                  <a:lnTo>
                    <a:pt x="315114" y="94716"/>
                  </a:lnTo>
                  <a:lnTo>
                    <a:pt x="315114" y="98359"/>
                  </a:lnTo>
                  <a:lnTo>
                    <a:pt x="302363" y="111110"/>
                  </a:lnTo>
                  <a:lnTo>
                    <a:pt x="293256" y="111110"/>
                  </a:lnTo>
                  <a:lnTo>
                    <a:pt x="293256" y="109289"/>
                  </a:lnTo>
                  <a:lnTo>
                    <a:pt x="296899" y="100181"/>
                  </a:lnTo>
                  <a:lnTo>
                    <a:pt x="296899" y="98359"/>
                  </a:lnTo>
                  <a:lnTo>
                    <a:pt x="302363" y="98359"/>
                  </a:lnTo>
                  <a:close/>
                  <a:moveTo>
                    <a:pt x="313293" y="76502"/>
                  </a:moveTo>
                  <a:lnTo>
                    <a:pt x="318757" y="76502"/>
                  </a:lnTo>
                  <a:lnTo>
                    <a:pt x="324222" y="78324"/>
                  </a:lnTo>
                  <a:lnTo>
                    <a:pt x="331508" y="78324"/>
                  </a:lnTo>
                  <a:lnTo>
                    <a:pt x="331508" y="81967"/>
                  </a:lnTo>
                  <a:lnTo>
                    <a:pt x="324222" y="92896"/>
                  </a:lnTo>
                  <a:lnTo>
                    <a:pt x="320579" y="94717"/>
                  </a:lnTo>
                  <a:lnTo>
                    <a:pt x="320579" y="92896"/>
                  </a:lnTo>
                  <a:close/>
                  <a:moveTo>
                    <a:pt x="357007" y="61930"/>
                  </a:moveTo>
                  <a:lnTo>
                    <a:pt x="358829" y="61930"/>
                  </a:lnTo>
                  <a:lnTo>
                    <a:pt x="358829" y="76502"/>
                  </a:lnTo>
                  <a:lnTo>
                    <a:pt x="357007" y="76502"/>
                  </a:lnTo>
                  <a:lnTo>
                    <a:pt x="351543" y="72859"/>
                  </a:lnTo>
                  <a:close/>
                  <a:moveTo>
                    <a:pt x="329685" y="61930"/>
                  </a:moveTo>
                  <a:lnTo>
                    <a:pt x="331506" y="61930"/>
                  </a:lnTo>
                  <a:lnTo>
                    <a:pt x="335149" y="67395"/>
                  </a:lnTo>
                  <a:lnTo>
                    <a:pt x="342436" y="72859"/>
                  </a:lnTo>
                  <a:lnTo>
                    <a:pt x="342436" y="76502"/>
                  </a:lnTo>
                  <a:lnTo>
                    <a:pt x="331506" y="76502"/>
                  </a:lnTo>
                  <a:lnTo>
                    <a:pt x="331506" y="72859"/>
                  </a:lnTo>
                  <a:close/>
                  <a:moveTo>
                    <a:pt x="397080" y="54644"/>
                  </a:moveTo>
                  <a:lnTo>
                    <a:pt x="408009" y="54644"/>
                  </a:lnTo>
                  <a:lnTo>
                    <a:pt x="409831" y="61930"/>
                  </a:lnTo>
                  <a:lnTo>
                    <a:pt x="404366" y="65573"/>
                  </a:lnTo>
                  <a:lnTo>
                    <a:pt x="397080" y="56466"/>
                  </a:lnTo>
                  <a:close/>
                  <a:moveTo>
                    <a:pt x="420759" y="38250"/>
                  </a:moveTo>
                  <a:lnTo>
                    <a:pt x="424402" y="38250"/>
                  </a:lnTo>
                  <a:lnTo>
                    <a:pt x="426224" y="45536"/>
                  </a:lnTo>
                  <a:lnTo>
                    <a:pt x="429867" y="45536"/>
                  </a:lnTo>
                  <a:lnTo>
                    <a:pt x="429867" y="49179"/>
                  </a:lnTo>
                  <a:lnTo>
                    <a:pt x="426224" y="49179"/>
                  </a:lnTo>
                  <a:lnTo>
                    <a:pt x="420759" y="56465"/>
                  </a:lnTo>
                  <a:lnTo>
                    <a:pt x="413473" y="60108"/>
                  </a:lnTo>
                  <a:lnTo>
                    <a:pt x="409830" y="60108"/>
                  </a:lnTo>
                  <a:lnTo>
                    <a:pt x="408009" y="49179"/>
                  </a:lnTo>
                  <a:lnTo>
                    <a:pt x="408009" y="45536"/>
                  </a:lnTo>
                  <a:lnTo>
                    <a:pt x="409830" y="45536"/>
                  </a:lnTo>
                  <a:close/>
                  <a:moveTo>
                    <a:pt x="393437" y="32786"/>
                  </a:moveTo>
                  <a:lnTo>
                    <a:pt x="404365" y="32786"/>
                  </a:lnTo>
                  <a:lnTo>
                    <a:pt x="409829" y="36429"/>
                  </a:lnTo>
                  <a:lnTo>
                    <a:pt x="415294" y="36429"/>
                  </a:lnTo>
                  <a:lnTo>
                    <a:pt x="393437" y="49180"/>
                  </a:lnTo>
                  <a:lnTo>
                    <a:pt x="386151" y="38251"/>
                  </a:lnTo>
                  <a:close/>
                  <a:moveTo>
                    <a:pt x="426223" y="30964"/>
                  </a:moveTo>
                  <a:lnTo>
                    <a:pt x="429866" y="30964"/>
                  </a:lnTo>
                  <a:lnTo>
                    <a:pt x="435330" y="32786"/>
                  </a:lnTo>
                  <a:lnTo>
                    <a:pt x="437152" y="32786"/>
                  </a:lnTo>
                  <a:lnTo>
                    <a:pt x="435330" y="43715"/>
                  </a:lnTo>
                  <a:lnTo>
                    <a:pt x="431687" y="43715"/>
                  </a:lnTo>
                  <a:close/>
                  <a:moveTo>
                    <a:pt x="477225" y="0"/>
                  </a:moveTo>
                  <a:lnTo>
                    <a:pt x="480868" y="3643"/>
                  </a:lnTo>
                  <a:lnTo>
                    <a:pt x="486332" y="10929"/>
                  </a:lnTo>
                  <a:lnTo>
                    <a:pt x="486332" y="14572"/>
                  </a:lnTo>
                  <a:lnTo>
                    <a:pt x="482689" y="14572"/>
                  </a:lnTo>
                  <a:lnTo>
                    <a:pt x="464474" y="9108"/>
                  </a:lnTo>
                  <a:lnTo>
                    <a:pt x="464474" y="5465"/>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3" name="Jan Mayen">
              <a:extLst>
                <a:ext uri="{FF2B5EF4-FFF2-40B4-BE49-F238E27FC236}">
                  <a16:creationId xmlns:a16="http://schemas.microsoft.com/office/drawing/2014/main" id="{8F1C4664-E359-3D6A-041D-0502A34FBDFD}"/>
                </a:ext>
              </a:extLst>
            </p:cNvPr>
            <p:cNvSpPr>
              <a:spLocks/>
            </p:cNvSpPr>
            <p:nvPr/>
          </p:nvSpPr>
          <p:spPr bwMode="auto">
            <a:xfrm>
              <a:off x="5610805" y="2164136"/>
              <a:ext cx="28913" cy="27107"/>
            </a:xfrm>
            <a:custGeom>
              <a:avLst/>
              <a:gdLst>
                <a:gd name="T0" fmla="*/ 16 w 16"/>
                <a:gd name="T1" fmla="*/ 0 h 15"/>
                <a:gd name="T2" fmla="*/ 13 w 16"/>
                <a:gd name="T3" fmla="*/ 8 h 15"/>
                <a:gd name="T4" fmla="*/ 1 w 16"/>
                <a:gd name="T5" fmla="*/ 15 h 15"/>
                <a:gd name="T6" fmla="*/ 0 w 16"/>
                <a:gd name="T7" fmla="*/ 15 h 15"/>
                <a:gd name="T8" fmla="*/ 0 w 16"/>
                <a:gd name="T9" fmla="*/ 14 h 15"/>
                <a:gd name="T10" fmla="*/ 9 w 16"/>
                <a:gd name="T11" fmla="*/ 3 h 15"/>
                <a:gd name="T12" fmla="*/ 16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16" y="0"/>
                  </a:moveTo>
                  <a:lnTo>
                    <a:pt x="13" y="8"/>
                  </a:lnTo>
                  <a:lnTo>
                    <a:pt x="1" y="15"/>
                  </a:lnTo>
                  <a:lnTo>
                    <a:pt x="0" y="15"/>
                  </a:lnTo>
                  <a:lnTo>
                    <a:pt x="0" y="14"/>
                  </a:lnTo>
                  <a:lnTo>
                    <a:pt x="9" y="3"/>
                  </a:lnTo>
                  <a:lnTo>
                    <a:pt x="1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4" name="European Island">
              <a:extLst>
                <a:ext uri="{FF2B5EF4-FFF2-40B4-BE49-F238E27FC236}">
                  <a16:creationId xmlns:a16="http://schemas.microsoft.com/office/drawing/2014/main" id="{AF1202EB-47B4-9381-6469-18D14F9185AA}"/>
                </a:ext>
              </a:extLst>
            </p:cNvPr>
            <p:cNvSpPr>
              <a:spLocks/>
            </p:cNvSpPr>
            <p:nvPr/>
          </p:nvSpPr>
          <p:spPr bwMode="auto">
            <a:xfrm>
              <a:off x="6272189" y="1900305"/>
              <a:ext cx="10843" cy="14457"/>
            </a:xfrm>
            <a:custGeom>
              <a:avLst/>
              <a:gdLst>
                <a:gd name="T0" fmla="*/ 3 w 6"/>
                <a:gd name="T1" fmla="*/ 0 h 8"/>
                <a:gd name="T2" fmla="*/ 6 w 6"/>
                <a:gd name="T3" fmla="*/ 0 h 8"/>
                <a:gd name="T4" fmla="*/ 6 w 6"/>
                <a:gd name="T5" fmla="*/ 1 h 8"/>
                <a:gd name="T6" fmla="*/ 3 w 6"/>
                <a:gd name="T7" fmla="*/ 7 h 8"/>
                <a:gd name="T8" fmla="*/ 3 w 6"/>
                <a:gd name="T9" fmla="*/ 8 h 8"/>
                <a:gd name="T10" fmla="*/ 1 w 6"/>
                <a:gd name="T11" fmla="*/ 7 h 8"/>
                <a:gd name="T12" fmla="*/ 0 w 6"/>
                <a:gd name="T13" fmla="*/ 1 h 8"/>
                <a:gd name="T14" fmla="*/ 1 w 6"/>
                <a:gd name="T15" fmla="*/ 1 h 8"/>
                <a:gd name="T16" fmla="*/ 3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3" y="0"/>
                  </a:moveTo>
                  <a:lnTo>
                    <a:pt x="6" y="0"/>
                  </a:lnTo>
                  <a:lnTo>
                    <a:pt x="6" y="1"/>
                  </a:lnTo>
                  <a:lnTo>
                    <a:pt x="3" y="7"/>
                  </a:lnTo>
                  <a:lnTo>
                    <a:pt x="3" y="8"/>
                  </a:lnTo>
                  <a:lnTo>
                    <a:pt x="1" y="7"/>
                  </a:lnTo>
                  <a:lnTo>
                    <a:pt x="0" y="1"/>
                  </a:lnTo>
                  <a:lnTo>
                    <a:pt x="1" y="1"/>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5" name="Finland">
              <a:extLst>
                <a:ext uri="{FF2B5EF4-FFF2-40B4-BE49-F238E27FC236}">
                  <a16:creationId xmlns:a16="http://schemas.microsoft.com/office/drawing/2014/main" id="{46ED5DD9-6E0B-F049-EF93-2F0AF626748B}"/>
                </a:ext>
              </a:extLst>
            </p:cNvPr>
            <p:cNvSpPr>
              <a:spLocks/>
            </p:cNvSpPr>
            <p:nvPr/>
          </p:nvSpPr>
          <p:spPr bwMode="auto">
            <a:xfrm>
              <a:off x="6311944" y="2241840"/>
              <a:ext cx="256602" cy="574646"/>
            </a:xfrm>
            <a:custGeom>
              <a:avLst/>
              <a:gdLst/>
              <a:ahLst/>
              <a:cxnLst/>
              <a:rect l="l" t="t" r="r" b="b"/>
              <a:pathLst>
                <a:path w="258648" h="579227">
                  <a:moveTo>
                    <a:pt x="51001" y="559191"/>
                  </a:moveTo>
                  <a:lnTo>
                    <a:pt x="51001" y="562834"/>
                  </a:lnTo>
                  <a:lnTo>
                    <a:pt x="49180" y="573764"/>
                  </a:lnTo>
                  <a:lnTo>
                    <a:pt x="45537" y="575585"/>
                  </a:lnTo>
                  <a:lnTo>
                    <a:pt x="40072" y="575585"/>
                  </a:lnTo>
                  <a:lnTo>
                    <a:pt x="40072" y="573764"/>
                  </a:lnTo>
                  <a:close/>
                  <a:moveTo>
                    <a:pt x="178504" y="0"/>
                  </a:moveTo>
                  <a:lnTo>
                    <a:pt x="207647" y="25501"/>
                  </a:lnTo>
                  <a:lnTo>
                    <a:pt x="207647" y="27322"/>
                  </a:lnTo>
                  <a:lnTo>
                    <a:pt x="211290" y="47358"/>
                  </a:lnTo>
                  <a:lnTo>
                    <a:pt x="207647" y="49180"/>
                  </a:lnTo>
                  <a:lnTo>
                    <a:pt x="200361" y="61930"/>
                  </a:lnTo>
                  <a:lnTo>
                    <a:pt x="202183" y="71037"/>
                  </a:lnTo>
                  <a:lnTo>
                    <a:pt x="202183" y="72859"/>
                  </a:lnTo>
                  <a:lnTo>
                    <a:pt x="191254" y="83788"/>
                  </a:lnTo>
                  <a:lnTo>
                    <a:pt x="194897" y="83788"/>
                  </a:lnTo>
                  <a:lnTo>
                    <a:pt x="194897" y="87431"/>
                  </a:lnTo>
                  <a:lnTo>
                    <a:pt x="191254" y="114753"/>
                  </a:lnTo>
                  <a:lnTo>
                    <a:pt x="211290" y="132967"/>
                  </a:lnTo>
                  <a:lnTo>
                    <a:pt x="227683" y="165754"/>
                  </a:lnTo>
                  <a:lnTo>
                    <a:pt x="207647" y="205826"/>
                  </a:lnTo>
                  <a:lnTo>
                    <a:pt x="229505" y="273220"/>
                  </a:lnTo>
                  <a:lnTo>
                    <a:pt x="222219" y="302364"/>
                  </a:lnTo>
                  <a:lnTo>
                    <a:pt x="222219" y="324222"/>
                  </a:lnTo>
                  <a:lnTo>
                    <a:pt x="227683" y="327864"/>
                  </a:lnTo>
                  <a:lnTo>
                    <a:pt x="229505" y="346079"/>
                  </a:lnTo>
                  <a:lnTo>
                    <a:pt x="240434" y="357008"/>
                  </a:lnTo>
                  <a:lnTo>
                    <a:pt x="240434" y="358829"/>
                  </a:lnTo>
                  <a:lnTo>
                    <a:pt x="233148" y="389794"/>
                  </a:lnTo>
                  <a:lnTo>
                    <a:pt x="242255" y="406188"/>
                  </a:lnTo>
                  <a:lnTo>
                    <a:pt x="258648" y="422581"/>
                  </a:lnTo>
                  <a:lnTo>
                    <a:pt x="258648" y="440796"/>
                  </a:lnTo>
                  <a:lnTo>
                    <a:pt x="222219" y="497261"/>
                  </a:lnTo>
                  <a:lnTo>
                    <a:pt x="167575" y="548262"/>
                  </a:lnTo>
                  <a:lnTo>
                    <a:pt x="123860" y="553727"/>
                  </a:lnTo>
                  <a:lnTo>
                    <a:pt x="89252" y="573763"/>
                  </a:lnTo>
                  <a:lnTo>
                    <a:pt x="67394" y="579227"/>
                  </a:lnTo>
                  <a:lnTo>
                    <a:pt x="65573" y="573763"/>
                  </a:lnTo>
                  <a:lnTo>
                    <a:pt x="60109" y="575584"/>
                  </a:lnTo>
                  <a:lnTo>
                    <a:pt x="56466" y="575584"/>
                  </a:lnTo>
                  <a:lnTo>
                    <a:pt x="51001" y="559191"/>
                  </a:lnTo>
                  <a:lnTo>
                    <a:pt x="45537" y="562834"/>
                  </a:lnTo>
                  <a:lnTo>
                    <a:pt x="16393" y="546441"/>
                  </a:lnTo>
                  <a:lnTo>
                    <a:pt x="16393" y="542798"/>
                  </a:lnTo>
                  <a:lnTo>
                    <a:pt x="18215" y="537333"/>
                  </a:lnTo>
                  <a:lnTo>
                    <a:pt x="12751" y="526405"/>
                  </a:lnTo>
                  <a:lnTo>
                    <a:pt x="18215" y="515476"/>
                  </a:lnTo>
                  <a:lnTo>
                    <a:pt x="18215" y="500904"/>
                  </a:lnTo>
                  <a:lnTo>
                    <a:pt x="21858" y="500904"/>
                  </a:lnTo>
                  <a:lnTo>
                    <a:pt x="12751" y="475403"/>
                  </a:lnTo>
                  <a:lnTo>
                    <a:pt x="12751" y="464475"/>
                  </a:lnTo>
                  <a:lnTo>
                    <a:pt x="9108" y="442617"/>
                  </a:lnTo>
                  <a:lnTo>
                    <a:pt x="16393" y="424402"/>
                  </a:lnTo>
                  <a:lnTo>
                    <a:pt x="23679" y="424402"/>
                  </a:lnTo>
                  <a:lnTo>
                    <a:pt x="27322" y="413473"/>
                  </a:lnTo>
                  <a:lnTo>
                    <a:pt x="27322" y="411652"/>
                  </a:lnTo>
                  <a:lnTo>
                    <a:pt x="38251" y="411652"/>
                  </a:lnTo>
                  <a:lnTo>
                    <a:pt x="51001" y="397080"/>
                  </a:lnTo>
                  <a:lnTo>
                    <a:pt x="91073" y="344258"/>
                  </a:lnTo>
                  <a:lnTo>
                    <a:pt x="96538" y="327864"/>
                  </a:lnTo>
                  <a:lnTo>
                    <a:pt x="116574" y="318757"/>
                  </a:lnTo>
                  <a:lnTo>
                    <a:pt x="111110" y="291435"/>
                  </a:lnTo>
                  <a:lnTo>
                    <a:pt x="81966" y="265935"/>
                  </a:lnTo>
                  <a:lnTo>
                    <a:pt x="72859" y="240434"/>
                  </a:lnTo>
                  <a:lnTo>
                    <a:pt x="78323" y="216755"/>
                  </a:lnTo>
                  <a:lnTo>
                    <a:pt x="67394" y="193076"/>
                  </a:lnTo>
                  <a:lnTo>
                    <a:pt x="71037" y="140253"/>
                  </a:lnTo>
                  <a:lnTo>
                    <a:pt x="54644" y="116574"/>
                  </a:lnTo>
                  <a:lnTo>
                    <a:pt x="0" y="71037"/>
                  </a:lnTo>
                  <a:lnTo>
                    <a:pt x="0" y="67394"/>
                  </a:lnTo>
                  <a:lnTo>
                    <a:pt x="10929" y="61930"/>
                  </a:lnTo>
                  <a:lnTo>
                    <a:pt x="9108" y="56466"/>
                  </a:lnTo>
                  <a:lnTo>
                    <a:pt x="9108" y="54644"/>
                  </a:lnTo>
                  <a:lnTo>
                    <a:pt x="10929" y="54644"/>
                  </a:lnTo>
                  <a:lnTo>
                    <a:pt x="16393" y="51001"/>
                  </a:lnTo>
                  <a:lnTo>
                    <a:pt x="45537" y="89252"/>
                  </a:lnTo>
                  <a:lnTo>
                    <a:pt x="67394" y="94716"/>
                  </a:lnTo>
                  <a:lnTo>
                    <a:pt x="81966" y="81966"/>
                  </a:lnTo>
                  <a:lnTo>
                    <a:pt x="83788" y="81966"/>
                  </a:lnTo>
                  <a:lnTo>
                    <a:pt x="96538" y="94716"/>
                  </a:lnTo>
                  <a:lnTo>
                    <a:pt x="122038" y="72859"/>
                  </a:lnTo>
                  <a:lnTo>
                    <a:pt x="123860" y="36429"/>
                  </a:lnTo>
                  <a:lnTo>
                    <a:pt x="129324" y="20036"/>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6" name="Sweden Mainland">
              <a:extLst>
                <a:ext uri="{FF2B5EF4-FFF2-40B4-BE49-F238E27FC236}">
                  <a16:creationId xmlns:a16="http://schemas.microsoft.com/office/drawing/2014/main" id="{4731D504-AA00-3A8F-0073-9486873DA5D6}"/>
                </a:ext>
              </a:extLst>
            </p:cNvPr>
            <p:cNvSpPr>
              <a:spLocks noEditPoints="1"/>
            </p:cNvSpPr>
            <p:nvPr/>
          </p:nvSpPr>
          <p:spPr bwMode="auto">
            <a:xfrm>
              <a:off x="6087869" y="2308701"/>
              <a:ext cx="307200" cy="708369"/>
            </a:xfrm>
            <a:custGeom>
              <a:avLst/>
              <a:gdLst>
                <a:gd name="T0" fmla="*/ 74 w 170"/>
                <a:gd name="T1" fmla="*/ 273 h 392"/>
                <a:gd name="T2" fmla="*/ 126 w 170"/>
                <a:gd name="T3" fmla="*/ 0 h 392"/>
                <a:gd name="T4" fmla="*/ 163 w 170"/>
                <a:gd name="T5" fmla="*/ 69 h 392"/>
                <a:gd name="T6" fmla="*/ 170 w 170"/>
                <a:gd name="T7" fmla="*/ 109 h 392"/>
                <a:gd name="T8" fmla="*/ 167 w 170"/>
                <a:gd name="T9" fmla="*/ 115 h 392"/>
                <a:gd name="T10" fmla="*/ 157 w 170"/>
                <a:gd name="T11" fmla="*/ 112 h 392"/>
                <a:gd name="T12" fmla="*/ 149 w 170"/>
                <a:gd name="T13" fmla="*/ 110 h 392"/>
                <a:gd name="T14" fmla="*/ 142 w 170"/>
                <a:gd name="T15" fmla="*/ 117 h 392"/>
                <a:gd name="T16" fmla="*/ 137 w 170"/>
                <a:gd name="T17" fmla="*/ 134 h 392"/>
                <a:gd name="T18" fmla="*/ 123 w 170"/>
                <a:gd name="T19" fmla="*/ 175 h 392"/>
                <a:gd name="T20" fmla="*/ 90 w 170"/>
                <a:gd name="T21" fmla="*/ 203 h 392"/>
                <a:gd name="T22" fmla="*/ 87 w 170"/>
                <a:gd name="T23" fmla="*/ 208 h 392"/>
                <a:gd name="T24" fmla="*/ 81 w 170"/>
                <a:gd name="T25" fmla="*/ 211 h 392"/>
                <a:gd name="T26" fmla="*/ 78 w 170"/>
                <a:gd name="T27" fmla="*/ 235 h 392"/>
                <a:gd name="T28" fmla="*/ 84 w 170"/>
                <a:gd name="T29" fmla="*/ 261 h 392"/>
                <a:gd name="T30" fmla="*/ 94 w 170"/>
                <a:gd name="T31" fmla="*/ 272 h 392"/>
                <a:gd name="T32" fmla="*/ 97 w 170"/>
                <a:gd name="T33" fmla="*/ 291 h 392"/>
                <a:gd name="T34" fmla="*/ 77 w 170"/>
                <a:gd name="T35" fmla="*/ 291 h 392"/>
                <a:gd name="T36" fmla="*/ 86 w 170"/>
                <a:gd name="T37" fmla="*/ 297 h 392"/>
                <a:gd name="T38" fmla="*/ 97 w 170"/>
                <a:gd name="T39" fmla="*/ 297 h 392"/>
                <a:gd name="T40" fmla="*/ 89 w 170"/>
                <a:gd name="T41" fmla="*/ 307 h 392"/>
                <a:gd name="T42" fmla="*/ 77 w 170"/>
                <a:gd name="T43" fmla="*/ 313 h 392"/>
                <a:gd name="T44" fmla="*/ 74 w 170"/>
                <a:gd name="T45" fmla="*/ 315 h 392"/>
                <a:gd name="T46" fmla="*/ 74 w 170"/>
                <a:gd name="T47" fmla="*/ 321 h 392"/>
                <a:gd name="T48" fmla="*/ 71 w 170"/>
                <a:gd name="T49" fmla="*/ 332 h 392"/>
                <a:gd name="T50" fmla="*/ 62 w 170"/>
                <a:gd name="T51" fmla="*/ 374 h 392"/>
                <a:gd name="T52" fmla="*/ 20 w 170"/>
                <a:gd name="T53" fmla="*/ 392 h 392"/>
                <a:gd name="T54" fmla="*/ 16 w 170"/>
                <a:gd name="T55" fmla="*/ 374 h 392"/>
                <a:gd name="T56" fmla="*/ 20 w 170"/>
                <a:gd name="T57" fmla="*/ 371 h 392"/>
                <a:gd name="T58" fmla="*/ 22 w 170"/>
                <a:gd name="T59" fmla="*/ 364 h 392"/>
                <a:gd name="T60" fmla="*/ 7 w 170"/>
                <a:gd name="T61" fmla="*/ 335 h 392"/>
                <a:gd name="T62" fmla="*/ 3 w 170"/>
                <a:gd name="T63" fmla="*/ 327 h 392"/>
                <a:gd name="T64" fmla="*/ 0 w 170"/>
                <a:gd name="T65" fmla="*/ 318 h 392"/>
                <a:gd name="T66" fmla="*/ 1 w 170"/>
                <a:gd name="T67" fmla="*/ 303 h 392"/>
                <a:gd name="T68" fmla="*/ 7 w 170"/>
                <a:gd name="T69" fmla="*/ 297 h 392"/>
                <a:gd name="T70" fmla="*/ 16 w 170"/>
                <a:gd name="T71" fmla="*/ 276 h 392"/>
                <a:gd name="T72" fmla="*/ 20 w 170"/>
                <a:gd name="T73" fmla="*/ 244 h 392"/>
                <a:gd name="T74" fmla="*/ 16 w 170"/>
                <a:gd name="T75" fmla="*/ 195 h 392"/>
                <a:gd name="T76" fmla="*/ 25 w 170"/>
                <a:gd name="T77" fmla="*/ 168 h 392"/>
                <a:gd name="T78" fmla="*/ 34 w 170"/>
                <a:gd name="T79" fmla="*/ 149 h 392"/>
                <a:gd name="T80" fmla="*/ 46 w 170"/>
                <a:gd name="T81" fmla="*/ 104 h 392"/>
                <a:gd name="T82" fmla="*/ 56 w 170"/>
                <a:gd name="T83" fmla="*/ 88 h 392"/>
                <a:gd name="T84" fmla="*/ 72 w 170"/>
                <a:gd name="T85" fmla="*/ 43 h 392"/>
                <a:gd name="T86" fmla="*/ 93 w 170"/>
                <a:gd name="T87" fmla="*/ 21 h 392"/>
                <a:gd name="T88" fmla="*/ 102 w 170"/>
                <a:gd name="T89" fmla="*/ 21 h 392"/>
                <a:gd name="T90" fmla="*/ 118 w 170"/>
                <a:gd name="T91" fmla="*/ 23 h 392"/>
                <a:gd name="T92" fmla="*/ 118 w 170"/>
                <a:gd name="T93" fmla="*/ 8 h 392"/>
                <a:gd name="T94" fmla="*/ 121 w 170"/>
                <a:gd name="T95"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392">
                  <a:moveTo>
                    <a:pt x="77" y="269"/>
                  </a:moveTo>
                  <a:lnTo>
                    <a:pt x="69" y="273"/>
                  </a:lnTo>
                  <a:lnTo>
                    <a:pt x="74" y="273"/>
                  </a:lnTo>
                  <a:lnTo>
                    <a:pt x="77" y="269"/>
                  </a:lnTo>
                  <a:close/>
                  <a:moveTo>
                    <a:pt x="121" y="0"/>
                  </a:moveTo>
                  <a:lnTo>
                    <a:pt x="126" y="0"/>
                  </a:lnTo>
                  <a:lnTo>
                    <a:pt x="155" y="27"/>
                  </a:lnTo>
                  <a:lnTo>
                    <a:pt x="164" y="40"/>
                  </a:lnTo>
                  <a:lnTo>
                    <a:pt x="163" y="69"/>
                  </a:lnTo>
                  <a:lnTo>
                    <a:pt x="169" y="82"/>
                  </a:lnTo>
                  <a:lnTo>
                    <a:pt x="166" y="95"/>
                  </a:lnTo>
                  <a:lnTo>
                    <a:pt x="170" y="109"/>
                  </a:lnTo>
                  <a:lnTo>
                    <a:pt x="169" y="113"/>
                  </a:lnTo>
                  <a:lnTo>
                    <a:pt x="169" y="115"/>
                  </a:lnTo>
                  <a:lnTo>
                    <a:pt x="167" y="115"/>
                  </a:lnTo>
                  <a:lnTo>
                    <a:pt x="164" y="113"/>
                  </a:lnTo>
                  <a:lnTo>
                    <a:pt x="161" y="113"/>
                  </a:lnTo>
                  <a:lnTo>
                    <a:pt x="157" y="112"/>
                  </a:lnTo>
                  <a:lnTo>
                    <a:pt x="154" y="112"/>
                  </a:lnTo>
                  <a:lnTo>
                    <a:pt x="151" y="110"/>
                  </a:lnTo>
                  <a:lnTo>
                    <a:pt x="149" y="110"/>
                  </a:lnTo>
                  <a:lnTo>
                    <a:pt x="146" y="119"/>
                  </a:lnTo>
                  <a:lnTo>
                    <a:pt x="145" y="119"/>
                  </a:lnTo>
                  <a:lnTo>
                    <a:pt x="142" y="117"/>
                  </a:lnTo>
                  <a:lnTo>
                    <a:pt x="143" y="120"/>
                  </a:lnTo>
                  <a:lnTo>
                    <a:pt x="136" y="126"/>
                  </a:lnTo>
                  <a:lnTo>
                    <a:pt x="137" y="134"/>
                  </a:lnTo>
                  <a:lnTo>
                    <a:pt x="131" y="143"/>
                  </a:lnTo>
                  <a:lnTo>
                    <a:pt x="137" y="156"/>
                  </a:lnTo>
                  <a:lnTo>
                    <a:pt x="123" y="175"/>
                  </a:lnTo>
                  <a:lnTo>
                    <a:pt x="100" y="189"/>
                  </a:lnTo>
                  <a:lnTo>
                    <a:pt x="94" y="198"/>
                  </a:lnTo>
                  <a:lnTo>
                    <a:pt x="90" y="203"/>
                  </a:lnTo>
                  <a:lnTo>
                    <a:pt x="89" y="203"/>
                  </a:lnTo>
                  <a:lnTo>
                    <a:pt x="87" y="202"/>
                  </a:lnTo>
                  <a:lnTo>
                    <a:pt x="87" y="208"/>
                  </a:lnTo>
                  <a:lnTo>
                    <a:pt x="86" y="212"/>
                  </a:lnTo>
                  <a:lnTo>
                    <a:pt x="84" y="212"/>
                  </a:lnTo>
                  <a:lnTo>
                    <a:pt x="81" y="211"/>
                  </a:lnTo>
                  <a:lnTo>
                    <a:pt x="84" y="218"/>
                  </a:lnTo>
                  <a:lnTo>
                    <a:pt x="81" y="235"/>
                  </a:lnTo>
                  <a:lnTo>
                    <a:pt x="78" y="235"/>
                  </a:lnTo>
                  <a:lnTo>
                    <a:pt x="78" y="266"/>
                  </a:lnTo>
                  <a:lnTo>
                    <a:pt x="83" y="261"/>
                  </a:lnTo>
                  <a:lnTo>
                    <a:pt x="84" y="261"/>
                  </a:lnTo>
                  <a:lnTo>
                    <a:pt x="96" y="270"/>
                  </a:lnTo>
                  <a:lnTo>
                    <a:pt x="96" y="272"/>
                  </a:lnTo>
                  <a:lnTo>
                    <a:pt x="94" y="272"/>
                  </a:lnTo>
                  <a:lnTo>
                    <a:pt x="100" y="281"/>
                  </a:lnTo>
                  <a:lnTo>
                    <a:pt x="100" y="282"/>
                  </a:lnTo>
                  <a:lnTo>
                    <a:pt x="97" y="291"/>
                  </a:lnTo>
                  <a:lnTo>
                    <a:pt x="96" y="291"/>
                  </a:lnTo>
                  <a:lnTo>
                    <a:pt x="87" y="295"/>
                  </a:lnTo>
                  <a:lnTo>
                    <a:pt x="77" y="291"/>
                  </a:lnTo>
                  <a:lnTo>
                    <a:pt x="69" y="292"/>
                  </a:lnTo>
                  <a:lnTo>
                    <a:pt x="80" y="297"/>
                  </a:lnTo>
                  <a:lnTo>
                    <a:pt x="86" y="297"/>
                  </a:lnTo>
                  <a:lnTo>
                    <a:pt x="90" y="295"/>
                  </a:lnTo>
                  <a:lnTo>
                    <a:pt x="97" y="295"/>
                  </a:lnTo>
                  <a:lnTo>
                    <a:pt x="97" y="297"/>
                  </a:lnTo>
                  <a:lnTo>
                    <a:pt x="93" y="298"/>
                  </a:lnTo>
                  <a:lnTo>
                    <a:pt x="93" y="301"/>
                  </a:lnTo>
                  <a:lnTo>
                    <a:pt x="89" y="307"/>
                  </a:lnTo>
                  <a:lnTo>
                    <a:pt x="87" y="307"/>
                  </a:lnTo>
                  <a:lnTo>
                    <a:pt x="83" y="304"/>
                  </a:lnTo>
                  <a:lnTo>
                    <a:pt x="77" y="313"/>
                  </a:lnTo>
                  <a:lnTo>
                    <a:pt x="75" y="313"/>
                  </a:lnTo>
                  <a:lnTo>
                    <a:pt x="69" y="315"/>
                  </a:lnTo>
                  <a:lnTo>
                    <a:pt x="74" y="315"/>
                  </a:lnTo>
                  <a:lnTo>
                    <a:pt x="74" y="316"/>
                  </a:lnTo>
                  <a:lnTo>
                    <a:pt x="69" y="318"/>
                  </a:lnTo>
                  <a:lnTo>
                    <a:pt x="74" y="321"/>
                  </a:lnTo>
                  <a:lnTo>
                    <a:pt x="74" y="322"/>
                  </a:lnTo>
                  <a:lnTo>
                    <a:pt x="72" y="331"/>
                  </a:lnTo>
                  <a:lnTo>
                    <a:pt x="71" y="332"/>
                  </a:lnTo>
                  <a:lnTo>
                    <a:pt x="72" y="343"/>
                  </a:lnTo>
                  <a:lnTo>
                    <a:pt x="63" y="374"/>
                  </a:lnTo>
                  <a:lnTo>
                    <a:pt x="62" y="374"/>
                  </a:lnTo>
                  <a:lnTo>
                    <a:pt x="43" y="377"/>
                  </a:lnTo>
                  <a:lnTo>
                    <a:pt x="40" y="392"/>
                  </a:lnTo>
                  <a:lnTo>
                    <a:pt x="20" y="392"/>
                  </a:lnTo>
                  <a:lnTo>
                    <a:pt x="20" y="390"/>
                  </a:lnTo>
                  <a:lnTo>
                    <a:pt x="23" y="386"/>
                  </a:lnTo>
                  <a:lnTo>
                    <a:pt x="16" y="374"/>
                  </a:lnTo>
                  <a:lnTo>
                    <a:pt x="16" y="372"/>
                  </a:lnTo>
                  <a:lnTo>
                    <a:pt x="17" y="372"/>
                  </a:lnTo>
                  <a:lnTo>
                    <a:pt x="20" y="371"/>
                  </a:lnTo>
                  <a:lnTo>
                    <a:pt x="19" y="368"/>
                  </a:lnTo>
                  <a:lnTo>
                    <a:pt x="19" y="367"/>
                  </a:lnTo>
                  <a:lnTo>
                    <a:pt x="22" y="364"/>
                  </a:lnTo>
                  <a:lnTo>
                    <a:pt x="8" y="344"/>
                  </a:lnTo>
                  <a:lnTo>
                    <a:pt x="8" y="335"/>
                  </a:lnTo>
                  <a:lnTo>
                    <a:pt x="7" y="335"/>
                  </a:lnTo>
                  <a:lnTo>
                    <a:pt x="7" y="328"/>
                  </a:lnTo>
                  <a:lnTo>
                    <a:pt x="3" y="328"/>
                  </a:lnTo>
                  <a:lnTo>
                    <a:pt x="3" y="327"/>
                  </a:lnTo>
                  <a:lnTo>
                    <a:pt x="6" y="322"/>
                  </a:lnTo>
                  <a:lnTo>
                    <a:pt x="3" y="324"/>
                  </a:lnTo>
                  <a:lnTo>
                    <a:pt x="0" y="318"/>
                  </a:lnTo>
                  <a:lnTo>
                    <a:pt x="0" y="301"/>
                  </a:lnTo>
                  <a:lnTo>
                    <a:pt x="1" y="301"/>
                  </a:lnTo>
                  <a:lnTo>
                    <a:pt x="1" y="303"/>
                  </a:lnTo>
                  <a:lnTo>
                    <a:pt x="3" y="307"/>
                  </a:lnTo>
                  <a:lnTo>
                    <a:pt x="4" y="306"/>
                  </a:lnTo>
                  <a:lnTo>
                    <a:pt x="7" y="297"/>
                  </a:lnTo>
                  <a:lnTo>
                    <a:pt x="6" y="291"/>
                  </a:lnTo>
                  <a:lnTo>
                    <a:pt x="8" y="282"/>
                  </a:lnTo>
                  <a:lnTo>
                    <a:pt x="16" y="276"/>
                  </a:lnTo>
                  <a:lnTo>
                    <a:pt x="17" y="264"/>
                  </a:lnTo>
                  <a:lnTo>
                    <a:pt x="13" y="254"/>
                  </a:lnTo>
                  <a:lnTo>
                    <a:pt x="20" y="244"/>
                  </a:lnTo>
                  <a:lnTo>
                    <a:pt x="13" y="232"/>
                  </a:lnTo>
                  <a:lnTo>
                    <a:pt x="11" y="209"/>
                  </a:lnTo>
                  <a:lnTo>
                    <a:pt x="16" y="195"/>
                  </a:lnTo>
                  <a:lnTo>
                    <a:pt x="11" y="186"/>
                  </a:lnTo>
                  <a:lnTo>
                    <a:pt x="13" y="177"/>
                  </a:lnTo>
                  <a:lnTo>
                    <a:pt x="25" y="168"/>
                  </a:lnTo>
                  <a:lnTo>
                    <a:pt x="40" y="163"/>
                  </a:lnTo>
                  <a:lnTo>
                    <a:pt x="40" y="156"/>
                  </a:lnTo>
                  <a:lnTo>
                    <a:pt x="34" y="149"/>
                  </a:lnTo>
                  <a:lnTo>
                    <a:pt x="34" y="147"/>
                  </a:lnTo>
                  <a:lnTo>
                    <a:pt x="43" y="131"/>
                  </a:lnTo>
                  <a:lnTo>
                    <a:pt x="46" y="104"/>
                  </a:lnTo>
                  <a:lnTo>
                    <a:pt x="46" y="103"/>
                  </a:lnTo>
                  <a:lnTo>
                    <a:pt x="53" y="100"/>
                  </a:lnTo>
                  <a:lnTo>
                    <a:pt x="56" y="88"/>
                  </a:lnTo>
                  <a:lnTo>
                    <a:pt x="68" y="72"/>
                  </a:lnTo>
                  <a:lnTo>
                    <a:pt x="65" y="61"/>
                  </a:lnTo>
                  <a:lnTo>
                    <a:pt x="72" y="43"/>
                  </a:lnTo>
                  <a:lnTo>
                    <a:pt x="83" y="36"/>
                  </a:lnTo>
                  <a:lnTo>
                    <a:pt x="89" y="39"/>
                  </a:lnTo>
                  <a:lnTo>
                    <a:pt x="93" y="21"/>
                  </a:lnTo>
                  <a:lnTo>
                    <a:pt x="93" y="20"/>
                  </a:lnTo>
                  <a:lnTo>
                    <a:pt x="97" y="20"/>
                  </a:lnTo>
                  <a:lnTo>
                    <a:pt x="102" y="21"/>
                  </a:lnTo>
                  <a:lnTo>
                    <a:pt x="109" y="21"/>
                  </a:lnTo>
                  <a:lnTo>
                    <a:pt x="114" y="23"/>
                  </a:lnTo>
                  <a:lnTo>
                    <a:pt x="118" y="23"/>
                  </a:lnTo>
                  <a:lnTo>
                    <a:pt x="115" y="18"/>
                  </a:lnTo>
                  <a:lnTo>
                    <a:pt x="115" y="17"/>
                  </a:lnTo>
                  <a:lnTo>
                    <a:pt x="118" y="8"/>
                  </a:lnTo>
                  <a:lnTo>
                    <a:pt x="117" y="2"/>
                  </a:lnTo>
                  <a:lnTo>
                    <a:pt x="120" y="2"/>
                  </a:lnTo>
                  <a:lnTo>
                    <a:pt x="1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7" name="Sweden Offshore">
              <a:extLst>
                <a:ext uri="{FF2B5EF4-FFF2-40B4-BE49-F238E27FC236}">
                  <a16:creationId xmlns:a16="http://schemas.microsoft.com/office/drawing/2014/main" id="{B4995C79-4C1C-45BB-2ADE-195973657ABF}"/>
                </a:ext>
              </a:extLst>
            </p:cNvPr>
            <p:cNvSpPr>
              <a:spLocks/>
            </p:cNvSpPr>
            <p:nvPr/>
          </p:nvSpPr>
          <p:spPr bwMode="auto">
            <a:xfrm>
              <a:off x="6170992" y="2794801"/>
              <a:ext cx="128301" cy="238534"/>
            </a:xfrm>
            <a:custGeom>
              <a:avLst/>
              <a:gdLst/>
              <a:ahLst/>
              <a:cxnLst/>
              <a:rect l="l" t="t" r="r" b="b"/>
              <a:pathLst>
                <a:path w="129324" h="240435">
                  <a:moveTo>
                    <a:pt x="0" y="225863"/>
                  </a:moveTo>
                  <a:lnTo>
                    <a:pt x="1822" y="225863"/>
                  </a:lnTo>
                  <a:lnTo>
                    <a:pt x="9108" y="236792"/>
                  </a:lnTo>
                  <a:lnTo>
                    <a:pt x="12751" y="240435"/>
                  </a:lnTo>
                  <a:lnTo>
                    <a:pt x="9108" y="240435"/>
                  </a:lnTo>
                  <a:lnTo>
                    <a:pt x="0" y="236792"/>
                  </a:lnTo>
                  <a:close/>
                  <a:moveTo>
                    <a:pt x="51003" y="151182"/>
                  </a:moveTo>
                  <a:lnTo>
                    <a:pt x="52824" y="153003"/>
                  </a:lnTo>
                  <a:lnTo>
                    <a:pt x="40073" y="185789"/>
                  </a:lnTo>
                  <a:lnTo>
                    <a:pt x="40073" y="187611"/>
                  </a:lnTo>
                  <a:lnTo>
                    <a:pt x="36430" y="185789"/>
                  </a:lnTo>
                  <a:lnTo>
                    <a:pt x="40073" y="169396"/>
                  </a:lnTo>
                  <a:lnTo>
                    <a:pt x="51003" y="153003"/>
                  </a:lnTo>
                  <a:close/>
                  <a:moveTo>
                    <a:pt x="92896" y="112932"/>
                  </a:moveTo>
                  <a:lnTo>
                    <a:pt x="102004" y="112932"/>
                  </a:lnTo>
                  <a:lnTo>
                    <a:pt x="103825" y="114753"/>
                  </a:lnTo>
                  <a:lnTo>
                    <a:pt x="98361" y="123861"/>
                  </a:lnTo>
                  <a:lnTo>
                    <a:pt x="102004" y="136611"/>
                  </a:lnTo>
                  <a:lnTo>
                    <a:pt x="81967" y="156647"/>
                  </a:lnTo>
                  <a:lnTo>
                    <a:pt x="80145" y="156647"/>
                  </a:lnTo>
                  <a:lnTo>
                    <a:pt x="81967" y="129325"/>
                  </a:lnTo>
                  <a:close/>
                  <a:moveTo>
                    <a:pt x="120217" y="0"/>
                  </a:moveTo>
                  <a:lnTo>
                    <a:pt x="129324" y="0"/>
                  </a:lnTo>
                  <a:lnTo>
                    <a:pt x="129324" y="18215"/>
                  </a:lnTo>
                  <a:lnTo>
                    <a:pt x="120217" y="12750"/>
                  </a:lnTo>
                  <a:lnTo>
                    <a:pt x="118395" y="1275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8" name="Estonia">
              <a:extLst>
                <a:ext uri="{FF2B5EF4-FFF2-40B4-BE49-F238E27FC236}">
                  <a16:creationId xmlns:a16="http://schemas.microsoft.com/office/drawing/2014/main" id="{5D1AB43F-716A-F239-500D-5D7EABB00500}"/>
                </a:ext>
              </a:extLst>
            </p:cNvPr>
            <p:cNvSpPr>
              <a:spLocks/>
            </p:cNvSpPr>
            <p:nvPr/>
          </p:nvSpPr>
          <p:spPr bwMode="auto">
            <a:xfrm>
              <a:off x="6340856" y="2823714"/>
              <a:ext cx="155409" cy="101195"/>
            </a:xfrm>
            <a:custGeom>
              <a:avLst/>
              <a:gdLst/>
              <a:ahLst/>
              <a:cxnLst/>
              <a:rect l="l" t="t" r="r" b="b"/>
              <a:pathLst>
                <a:path w="156648" h="102002">
                  <a:moveTo>
                    <a:pt x="27322" y="54644"/>
                  </a:moveTo>
                  <a:lnTo>
                    <a:pt x="32786" y="61930"/>
                  </a:lnTo>
                  <a:lnTo>
                    <a:pt x="10929" y="67394"/>
                  </a:lnTo>
                  <a:lnTo>
                    <a:pt x="5465" y="83787"/>
                  </a:lnTo>
                  <a:lnTo>
                    <a:pt x="5465" y="72859"/>
                  </a:lnTo>
                  <a:lnTo>
                    <a:pt x="0" y="67394"/>
                  </a:lnTo>
                  <a:lnTo>
                    <a:pt x="0" y="60108"/>
                  </a:lnTo>
                  <a:close/>
                  <a:moveTo>
                    <a:pt x="20037" y="34608"/>
                  </a:moveTo>
                  <a:lnTo>
                    <a:pt x="21858" y="34608"/>
                  </a:lnTo>
                  <a:lnTo>
                    <a:pt x="25501" y="43716"/>
                  </a:lnTo>
                  <a:lnTo>
                    <a:pt x="14572" y="51002"/>
                  </a:lnTo>
                  <a:lnTo>
                    <a:pt x="10929" y="51002"/>
                  </a:lnTo>
                  <a:lnTo>
                    <a:pt x="3643" y="40073"/>
                  </a:lnTo>
                  <a:close/>
                  <a:moveTo>
                    <a:pt x="145719" y="0"/>
                  </a:moveTo>
                  <a:lnTo>
                    <a:pt x="149362" y="0"/>
                  </a:lnTo>
                  <a:lnTo>
                    <a:pt x="154827" y="5464"/>
                  </a:lnTo>
                  <a:lnTo>
                    <a:pt x="156648" y="18215"/>
                  </a:lnTo>
                  <a:lnTo>
                    <a:pt x="145719" y="34608"/>
                  </a:lnTo>
                  <a:lnTo>
                    <a:pt x="127505" y="40072"/>
                  </a:lnTo>
                  <a:lnTo>
                    <a:pt x="132969" y="65573"/>
                  </a:lnTo>
                  <a:lnTo>
                    <a:pt x="136612" y="65573"/>
                  </a:lnTo>
                  <a:lnTo>
                    <a:pt x="138434" y="76502"/>
                  </a:lnTo>
                  <a:lnTo>
                    <a:pt x="143898" y="80145"/>
                  </a:lnTo>
                  <a:lnTo>
                    <a:pt x="145719" y="85609"/>
                  </a:lnTo>
                  <a:lnTo>
                    <a:pt x="145719" y="89252"/>
                  </a:lnTo>
                  <a:lnTo>
                    <a:pt x="138434" y="96538"/>
                  </a:lnTo>
                  <a:lnTo>
                    <a:pt x="138434" y="102002"/>
                  </a:lnTo>
                  <a:lnTo>
                    <a:pt x="136612" y="102002"/>
                  </a:lnTo>
                  <a:lnTo>
                    <a:pt x="127505" y="100181"/>
                  </a:lnTo>
                  <a:lnTo>
                    <a:pt x="122040" y="100181"/>
                  </a:lnTo>
                  <a:lnTo>
                    <a:pt x="120219" y="102002"/>
                  </a:lnTo>
                  <a:lnTo>
                    <a:pt x="114754" y="102002"/>
                  </a:lnTo>
                  <a:lnTo>
                    <a:pt x="103826" y="89252"/>
                  </a:lnTo>
                  <a:lnTo>
                    <a:pt x="83789" y="80145"/>
                  </a:lnTo>
                  <a:lnTo>
                    <a:pt x="60110" y="89252"/>
                  </a:lnTo>
                  <a:lnTo>
                    <a:pt x="61932" y="67394"/>
                  </a:lnTo>
                  <a:lnTo>
                    <a:pt x="43717" y="67394"/>
                  </a:lnTo>
                  <a:lnTo>
                    <a:pt x="38253" y="54644"/>
                  </a:lnTo>
                  <a:lnTo>
                    <a:pt x="38253" y="51001"/>
                  </a:lnTo>
                  <a:lnTo>
                    <a:pt x="43717" y="49180"/>
                  </a:lnTo>
                  <a:lnTo>
                    <a:pt x="36431" y="45537"/>
                  </a:lnTo>
                  <a:lnTo>
                    <a:pt x="36431" y="43715"/>
                  </a:lnTo>
                  <a:lnTo>
                    <a:pt x="38253" y="27322"/>
                  </a:lnTo>
                  <a:lnTo>
                    <a:pt x="89254" y="5464"/>
                  </a:lnTo>
                  <a:lnTo>
                    <a:pt x="140255" y="16393"/>
                  </a:lnTo>
                  <a:lnTo>
                    <a:pt x="143898" y="1275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9" name="Greece">
              <a:extLst>
                <a:ext uri="{FF2B5EF4-FFF2-40B4-BE49-F238E27FC236}">
                  <a16:creationId xmlns:a16="http://schemas.microsoft.com/office/drawing/2014/main" id="{7BDC4B23-477A-A71C-5383-0F4F42781C23}"/>
                </a:ext>
              </a:extLst>
            </p:cNvPr>
            <p:cNvSpPr>
              <a:spLocks/>
            </p:cNvSpPr>
            <p:nvPr/>
          </p:nvSpPr>
          <p:spPr bwMode="auto">
            <a:xfrm>
              <a:off x="6290258" y="3504977"/>
              <a:ext cx="206006" cy="207813"/>
            </a:xfrm>
            <a:custGeom>
              <a:avLst/>
              <a:gdLst/>
              <a:ahLst/>
              <a:cxnLst/>
              <a:rect l="l" t="t" r="r" b="b"/>
              <a:pathLst>
                <a:path w="207648" h="209470">
                  <a:moveTo>
                    <a:pt x="98359" y="185790"/>
                  </a:moveTo>
                  <a:lnTo>
                    <a:pt x="109288" y="185790"/>
                  </a:lnTo>
                  <a:lnTo>
                    <a:pt x="109288" y="187612"/>
                  </a:lnTo>
                  <a:lnTo>
                    <a:pt x="112931" y="193076"/>
                  </a:lnTo>
                  <a:lnTo>
                    <a:pt x="129324" y="193076"/>
                  </a:lnTo>
                  <a:lnTo>
                    <a:pt x="151182" y="198541"/>
                  </a:lnTo>
                  <a:lnTo>
                    <a:pt x="156646" y="196719"/>
                  </a:lnTo>
                  <a:lnTo>
                    <a:pt x="160289" y="196719"/>
                  </a:lnTo>
                  <a:lnTo>
                    <a:pt x="160289" y="198541"/>
                  </a:lnTo>
                  <a:lnTo>
                    <a:pt x="156646" y="207649"/>
                  </a:lnTo>
                  <a:lnTo>
                    <a:pt x="140253" y="207649"/>
                  </a:lnTo>
                  <a:lnTo>
                    <a:pt x="134788" y="209470"/>
                  </a:lnTo>
                  <a:lnTo>
                    <a:pt x="122038" y="209470"/>
                  </a:lnTo>
                  <a:lnTo>
                    <a:pt x="112931" y="202184"/>
                  </a:lnTo>
                  <a:lnTo>
                    <a:pt x="92894" y="202184"/>
                  </a:lnTo>
                  <a:lnTo>
                    <a:pt x="92894" y="198541"/>
                  </a:lnTo>
                  <a:lnTo>
                    <a:pt x="98359" y="187612"/>
                  </a:lnTo>
                  <a:close/>
                  <a:moveTo>
                    <a:pt x="205827" y="162111"/>
                  </a:moveTo>
                  <a:lnTo>
                    <a:pt x="207648" y="162111"/>
                  </a:lnTo>
                  <a:lnTo>
                    <a:pt x="207648" y="163933"/>
                  </a:lnTo>
                  <a:lnTo>
                    <a:pt x="202184" y="174862"/>
                  </a:lnTo>
                  <a:lnTo>
                    <a:pt x="194897" y="180326"/>
                  </a:lnTo>
                  <a:lnTo>
                    <a:pt x="191254" y="180326"/>
                  </a:lnTo>
                  <a:lnTo>
                    <a:pt x="191254" y="169397"/>
                  </a:lnTo>
                  <a:close/>
                  <a:moveTo>
                    <a:pt x="122038" y="114753"/>
                  </a:moveTo>
                  <a:lnTo>
                    <a:pt x="123860" y="114753"/>
                  </a:lnTo>
                  <a:lnTo>
                    <a:pt x="129324" y="118396"/>
                  </a:lnTo>
                  <a:lnTo>
                    <a:pt x="129324" y="129325"/>
                  </a:lnTo>
                  <a:lnTo>
                    <a:pt x="127503" y="129325"/>
                  </a:lnTo>
                  <a:lnTo>
                    <a:pt x="122038" y="118396"/>
                  </a:lnTo>
                  <a:close/>
                  <a:moveTo>
                    <a:pt x="25500" y="102002"/>
                  </a:moveTo>
                  <a:lnTo>
                    <a:pt x="25500" y="103823"/>
                  </a:lnTo>
                  <a:lnTo>
                    <a:pt x="27322" y="114753"/>
                  </a:lnTo>
                  <a:lnTo>
                    <a:pt x="25500" y="114753"/>
                  </a:lnTo>
                  <a:lnTo>
                    <a:pt x="16393" y="109288"/>
                  </a:lnTo>
                  <a:lnTo>
                    <a:pt x="16393" y="107467"/>
                  </a:lnTo>
                  <a:lnTo>
                    <a:pt x="21857" y="103823"/>
                  </a:lnTo>
                  <a:close/>
                  <a:moveTo>
                    <a:pt x="145718" y="96538"/>
                  </a:moveTo>
                  <a:lnTo>
                    <a:pt x="149361" y="96538"/>
                  </a:lnTo>
                  <a:lnTo>
                    <a:pt x="156647" y="98359"/>
                  </a:lnTo>
                  <a:lnTo>
                    <a:pt x="156647" y="102003"/>
                  </a:lnTo>
                  <a:lnTo>
                    <a:pt x="151183" y="109289"/>
                  </a:lnTo>
                  <a:lnTo>
                    <a:pt x="149361" y="109289"/>
                  </a:lnTo>
                  <a:close/>
                  <a:moveTo>
                    <a:pt x="89252" y="83787"/>
                  </a:moveTo>
                  <a:lnTo>
                    <a:pt x="92895" y="83787"/>
                  </a:lnTo>
                  <a:lnTo>
                    <a:pt x="111109" y="96537"/>
                  </a:lnTo>
                  <a:lnTo>
                    <a:pt x="118395" y="112931"/>
                  </a:lnTo>
                  <a:lnTo>
                    <a:pt x="118395" y="118395"/>
                  </a:lnTo>
                  <a:lnTo>
                    <a:pt x="112931" y="118395"/>
                  </a:lnTo>
                  <a:lnTo>
                    <a:pt x="109288" y="109288"/>
                  </a:lnTo>
                  <a:lnTo>
                    <a:pt x="81966" y="91073"/>
                  </a:lnTo>
                  <a:close/>
                  <a:moveTo>
                    <a:pt x="160291" y="74681"/>
                  </a:moveTo>
                  <a:lnTo>
                    <a:pt x="165755" y="83788"/>
                  </a:lnTo>
                  <a:lnTo>
                    <a:pt x="165755" y="85610"/>
                  </a:lnTo>
                  <a:lnTo>
                    <a:pt x="149361" y="83788"/>
                  </a:lnTo>
                  <a:lnTo>
                    <a:pt x="145718" y="83788"/>
                  </a:lnTo>
                  <a:lnTo>
                    <a:pt x="145718" y="80145"/>
                  </a:lnTo>
                  <a:close/>
                  <a:moveTo>
                    <a:pt x="0" y="63752"/>
                  </a:moveTo>
                  <a:lnTo>
                    <a:pt x="5464" y="63752"/>
                  </a:lnTo>
                  <a:lnTo>
                    <a:pt x="10929" y="74681"/>
                  </a:lnTo>
                  <a:lnTo>
                    <a:pt x="9107" y="74681"/>
                  </a:lnTo>
                  <a:lnTo>
                    <a:pt x="0" y="67395"/>
                  </a:lnTo>
                  <a:close/>
                  <a:moveTo>
                    <a:pt x="127503" y="56466"/>
                  </a:moveTo>
                  <a:lnTo>
                    <a:pt x="138432" y="56466"/>
                  </a:lnTo>
                  <a:lnTo>
                    <a:pt x="138432" y="58288"/>
                  </a:lnTo>
                  <a:lnTo>
                    <a:pt x="134789" y="58288"/>
                  </a:lnTo>
                  <a:lnTo>
                    <a:pt x="127503" y="61931"/>
                  </a:lnTo>
                  <a:close/>
                  <a:moveTo>
                    <a:pt x="122039" y="29143"/>
                  </a:moveTo>
                  <a:lnTo>
                    <a:pt x="122039" y="36429"/>
                  </a:lnTo>
                  <a:lnTo>
                    <a:pt x="118396" y="36429"/>
                  </a:lnTo>
                  <a:lnTo>
                    <a:pt x="112931" y="34607"/>
                  </a:lnTo>
                  <a:lnTo>
                    <a:pt x="112931" y="30964"/>
                  </a:lnTo>
                  <a:close/>
                  <a:moveTo>
                    <a:pt x="154825" y="0"/>
                  </a:moveTo>
                  <a:lnTo>
                    <a:pt x="160290" y="0"/>
                  </a:lnTo>
                  <a:lnTo>
                    <a:pt x="165754" y="7286"/>
                  </a:lnTo>
                  <a:lnTo>
                    <a:pt x="165754" y="10929"/>
                  </a:lnTo>
                  <a:lnTo>
                    <a:pt x="154825" y="30965"/>
                  </a:lnTo>
                  <a:lnTo>
                    <a:pt x="154825" y="34608"/>
                  </a:lnTo>
                  <a:lnTo>
                    <a:pt x="151182" y="34608"/>
                  </a:lnTo>
                  <a:lnTo>
                    <a:pt x="127503" y="25501"/>
                  </a:lnTo>
                  <a:lnTo>
                    <a:pt x="112932" y="25501"/>
                  </a:lnTo>
                  <a:lnTo>
                    <a:pt x="98360" y="36429"/>
                  </a:lnTo>
                  <a:lnTo>
                    <a:pt x="111110" y="47358"/>
                  </a:lnTo>
                  <a:lnTo>
                    <a:pt x="111110" y="51001"/>
                  </a:lnTo>
                  <a:lnTo>
                    <a:pt x="100181" y="47358"/>
                  </a:lnTo>
                  <a:lnTo>
                    <a:pt x="105646" y="56466"/>
                  </a:lnTo>
                  <a:lnTo>
                    <a:pt x="103824" y="56466"/>
                  </a:lnTo>
                  <a:lnTo>
                    <a:pt x="103824" y="58287"/>
                  </a:lnTo>
                  <a:lnTo>
                    <a:pt x="92895" y="51001"/>
                  </a:lnTo>
                  <a:lnTo>
                    <a:pt x="94717" y="56466"/>
                  </a:lnTo>
                  <a:lnTo>
                    <a:pt x="94717" y="58287"/>
                  </a:lnTo>
                  <a:lnTo>
                    <a:pt x="92895" y="58287"/>
                  </a:lnTo>
                  <a:lnTo>
                    <a:pt x="76502" y="41894"/>
                  </a:lnTo>
                  <a:lnTo>
                    <a:pt x="72859" y="41894"/>
                  </a:lnTo>
                  <a:lnTo>
                    <a:pt x="76502" y="40072"/>
                  </a:lnTo>
                  <a:lnTo>
                    <a:pt x="72859" y="40072"/>
                  </a:lnTo>
                  <a:lnTo>
                    <a:pt x="72859" y="41894"/>
                  </a:lnTo>
                  <a:lnTo>
                    <a:pt x="72859" y="56466"/>
                  </a:lnTo>
                  <a:lnTo>
                    <a:pt x="87431" y="78323"/>
                  </a:lnTo>
                  <a:lnTo>
                    <a:pt x="87431" y="80145"/>
                  </a:lnTo>
                  <a:lnTo>
                    <a:pt x="83788" y="80145"/>
                  </a:lnTo>
                  <a:lnTo>
                    <a:pt x="78324" y="78323"/>
                  </a:lnTo>
                  <a:lnTo>
                    <a:pt x="81967" y="85609"/>
                  </a:lnTo>
                  <a:lnTo>
                    <a:pt x="81967" y="89252"/>
                  </a:lnTo>
                  <a:lnTo>
                    <a:pt x="72859" y="89252"/>
                  </a:lnTo>
                  <a:lnTo>
                    <a:pt x="103824" y="109289"/>
                  </a:lnTo>
                  <a:lnTo>
                    <a:pt x="105646" y="109289"/>
                  </a:lnTo>
                  <a:lnTo>
                    <a:pt x="105646" y="129325"/>
                  </a:lnTo>
                  <a:lnTo>
                    <a:pt x="94717" y="118396"/>
                  </a:lnTo>
                  <a:lnTo>
                    <a:pt x="83788" y="115968"/>
                  </a:lnTo>
                  <a:lnTo>
                    <a:pt x="83788" y="118396"/>
                  </a:lnTo>
                  <a:lnTo>
                    <a:pt x="92895" y="131146"/>
                  </a:lnTo>
                  <a:lnTo>
                    <a:pt x="92895" y="134789"/>
                  </a:lnTo>
                  <a:lnTo>
                    <a:pt x="83788" y="140254"/>
                  </a:lnTo>
                  <a:lnTo>
                    <a:pt x="81966" y="140254"/>
                  </a:lnTo>
                  <a:lnTo>
                    <a:pt x="76502" y="134789"/>
                  </a:lnTo>
                  <a:lnTo>
                    <a:pt x="83788" y="163933"/>
                  </a:lnTo>
                  <a:lnTo>
                    <a:pt x="81966" y="163933"/>
                  </a:lnTo>
                  <a:lnTo>
                    <a:pt x="72859" y="156647"/>
                  </a:lnTo>
                  <a:lnTo>
                    <a:pt x="65573" y="163933"/>
                  </a:lnTo>
                  <a:lnTo>
                    <a:pt x="61930" y="163933"/>
                  </a:lnTo>
                  <a:lnTo>
                    <a:pt x="56466" y="147540"/>
                  </a:lnTo>
                  <a:lnTo>
                    <a:pt x="51001" y="156647"/>
                  </a:lnTo>
                  <a:lnTo>
                    <a:pt x="45537" y="151183"/>
                  </a:lnTo>
                  <a:lnTo>
                    <a:pt x="45537" y="136611"/>
                  </a:lnTo>
                  <a:lnTo>
                    <a:pt x="34608" y="123860"/>
                  </a:lnTo>
                  <a:lnTo>
                    <a:pt x="34608" y="120218"/>
                  </a:lnTo>
                  <a:lnTo>
                    <a:pt x="40073" y="109289"/>
                  </a:lnTo>
                  <a:lnTo>
                    <a:pt x="56466" y="107467"/>
                  </a:lnTo>
                  <a:lnTo>
                    <a:pt x="79149" y="113516"/>
                  </a:lnTo>
                  <a:lnTo>
                    <a:pt x="81967" y="109289"/>
                  </a:lnTo>
                  <a:lnTo>
                    <a:pt x="71038" y="103824"/>
                  </a:lnTo>
                  <a:lnTo>
                    <a:pt x="56466" y="103824"/>
                  </a:lnTo>
                  <a:lnTo>
                    <a:pt x="49180" y="107467"/>
                  </a:lnTo>
                  <a:lnTo>
                    <a:pt x="34608" y="107467"/>
                  </a:lnTo>
                  <a:lnTo>
                    <a:pt x="25501" y="91074"/>
                  </a:lnTo>
                  <a:lnTo>
                    <a:pt x="25501" y="89252"/>
                  </a:lnTo>
                  <a:lnTo>
                    <a:pt x="32786" y="89252"/>
                  </a:lnTo>
                  <a:lnTo>
                    <a:pt x="25501" y="85609"/>
                  </a:lnTo>
                  <a:lnTo>
                    <a:pt x="10929" y="67395"/>
                  </a:lnTo>
                  <a:lnTo>
                    <a:pt x="10929" y="63752"/>
                  </a:lnTo>
                  <a:lnTo>
                    <a:pt x="32786" y="36429"/>
                  </a:lnTo>
                  <a:lnTo>
                    <a:pt x="30965" y="29144"/>
                  </a:lnTo>
                  <a:lnTo>
                    <a:pt x="30965" y="25501"/>
                  </a:lnTo>
                  <a:lnTo>
                    <a:pt x="32786" y="25501"/>
                  </a:lnTo>
                  <a:lnTo>
                    <a:pt x="78324" y="12750"/>
                  </a:lnTo>
                  <a:lnTo>
                    <a:pt x="112932" y="5464"/>
                  </a:lnTo>
                  <a:lnTo>
                    <a:pt x="140254" y="14572"/>
                  </a:lnTo>
                  <a:lnTo>
                    <a:pt x="145718" y="12750"/>
                  </a:lnTo>
                  <a:lnTo>
                    <a:pt x="154825" y="7286"/>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0" name="Ibiza">
              <a:extLst>
                <a:ext uri="{FF2B5EF4-FFF2-40B4-BE49-F238E27FC236}">
                  <a16:creationId xmlns:a16="http://schemas.microsoft.com/office/drawing/2014/main" id="{F9CE4181-C627-44F3-7EF5-3C747FF38593}"/>
                </a:ext>
              </a:extLst>
            </p:cNvPr>
            <p:cNvSpPr>
              <a:spLocks/>
            </p:cNvSpPr>
            <p:nvPr/>
          </p:nvSpPr>
          <p:spPr bwMode="auto">
            <a:xfrm>
              <a:off x="5860179" y="3588101"/>
              <a:ext cx="7228" cy="7228"/>
            </a:xfrm>
            <a:custGeom>
              <a:avLst/>
              <a:gdLst>
                <a:gd name="T0" fmla="*/ 3 w 4"/>
                <a:gd name="T1" fmla="*/ 0 h 4"/>
                <a:gd name="T2" fmla="*/ 4 w 4"/>
                <a:gd name="T3" fmla="*/ 0 h 4"/>
                <a:gd name="T4" fmla="*/ 4 w 4"/>
                <a:gd name="T5" fmla="*/ 1 h 4"/>
                <a:gd name="T6" fmla="*/ 3 w 4"/>
                <a:gd name="T7" fmla="*/ 4 h 4"/>
                <a:gd name="T8" fmla="*/ 0 w 4"/>
                <a:gd name="T9" fmla="*/ 4 h 4"/>
                <a:gd name="T10" fmla="*/ 0 w 4"/>
                <a:gd name="T11" fmla="*/ 3 h 4"/>
                <a:gd name="T12" fmla="*/ 3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3" y="0"/>
                  </a:moveTo>
                  <a:lnTo>
                    <a:pt x="4" y="0"/>
                  </a:lnTo>
                  <a:lnTo>
                    <a:pt x="4" y="1"/>
                  </a:lnTo>
                  <a:lnTo>
                    <a:pt x="3" y="4"/>
                  </a:lnTo>
                  <a:lnTo>
                    <a:pt x="0" y="4"/>
                  </a:lnTo>
                  <a:lnTo>
                    <a:pt x="0" y="3"/>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1" name="Menorca">
              <a:extLst>
                <a:ext uri="{FF2B5EF4-FFF2-40B4-BE49-F238E27FC236}">
                  <a16:creationId xmlns:a16="http://schemas.microsoft.com/office/drawing/2014/main" id="{B4F891BC-8E97-EFBA-7AE0-5856222A6CDF}"/>
                </a:ext>
              </a:extLst>
            </p:cNvPr>
            <p:cNvSpPr>
              <a:spLocks/>
            </p:cNvSpPr>
            <p:nvPr/>
          </p:nvSpPr>
          <p:spPr bwMode="auto">
            <a:xfrm>
              <a:off x="5918005" y="3557382"/>
              <a:ext cx="14457" cy="9036"/>
            </a:xfrm>
            <a:custGeom>
              <a:avLst/>
              <a:gdLst>
                <a:gd name="T0" fmla="*/ 0 w 8"/>
                <a:gd name="T1" fmla="*/ 0 h 5"/>
                <a:gd name="T2" fmla="*/ 6 w 8"/>
                <a:gd name="T3" fmla="*/ 0 h 5"/>
                <a:gd name="T4" fmla="*/ 8 w 8"/>
                <a:gd name="T5" fmla="*/ 3 h 5"/>
                <a:gd name="T6" fmla="*/ 8 w 8"/>
                <a:gd name="T7" fmla="*/ 5 h 5"/>
                <a:gd name="T8" fmla="*/ 6 w 8"/>
                <a:gd name="T9" fmla="*/ 5 h 5"/>
                <a:gd name="T10" fmla="*/ 2 w 8"/>
                <a:gd name="T11" fmla="*/ 2 h 5"/>
                <a:gd name="T12" fmla="*/ 0 w 8"/>
                <a:gd name="T13" fmla="*/ 2 h 5"/>
                <a:gd name="T14" fmla="*/ 0 w 8"/>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0" y="0"/>
                  </a:moveTo>
                  <a:lnTo>
                    <a:pt x="6" y="0"/>
                  </a:lnTo>
                  <a:lnTo>
                    <a:pt x="8" y="3"/>
                  </a:lnTo>
                  <a:lnTo>
                    <a:pt x="8" y="5"/>
                  </a:lnTo>
                  <a:lnTo>
                    <a:pt x="6" y="5"/>
                  </a:lnTo>
                  <a:lnTo>
                    <a:pt x="2" y="2"/>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2" name="Island">
              <a:extLst>
                <a:ext uri="{FF2B5EF4-FFF2-40B4-BE49-F238E27FC236}">
                  <a16:creationId xmlns:a16="http://schemas.microsoft.com/office/drawing/2014/main" id="{8BD28F7C-61B7-A0B4-E43F-C2CB224F06E7}"/>
                </a:ext>
              </a:extLst>
            </p:cNvPr>
            <p:cNvSpPr>
              <a:spLocks/>
            </p:cNvSpPr>
            <p:nvPr/>
          </p:nvSpPr>
          <p:spPr bwMode="auto">
            <a:xfrm>
              <a:off x="5182530" y="3595329"/>
              <a:ext cx="7228" cy="7228"/>
            </a:xfrm>
            <a:custGeom>
              <a:avLst/>
              <a:gdLst>
                <a:gd name="T0" fmla="*/ 4 w 4"/>
                <a:gd name="T1" fmla="*/ 0 h 4"/>
                <a:gd name="T2" fmla="*/ 4 w 4"/>
                <a:gd name="T3" fmla="*/ 4 h 4"/>
                <a:gd name="T4" fmla="*/ 3 w 4"/>
                <a:gd name="T5" fmla="*/ 4 h 4"/>
                <a:gd name="T6" fmla="*/ 0 w 4"/>
                <a:gd name="T7" fmla="*/ 3 h 4"/>
                <a:gd name="T8" fmla="*/ 0 w 4"/>
                <a:gd name="T9" fmla="*/ 1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4"/>
                  </a:lnTo>
                  <a:lnTo>
                    <a:pt x="3" y="4"/>
                  </a:lnTo>
                  <a:lnTo>
                    <a:pt x="0" y="3"/>
                  </a:lnTo>
                  <a:lnTo>
                    <a:pt x="0" y="1"/>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3" name="Sao Miguel">
              <a:extLst>
                <a:ext uri="{FF2B5EF4-FFF2-40B4-BE49-F238E27FC236}">
                  <a16:creationId xmlns:a16="http://schemas.microsoft.com/office/drawing/2014/main" id="{9D770E5A-4B32-2998-4F24-8CF6D837D21C}"/>
                </a:ext>
              </a:extLst>
            </p:cNvPr>
            <p:cNvSpPr>
              <a:spLocks/>
            </p:cNvSpPr>
            <p:nvPr/>
          </p:nvSpPr>
          <p:spPr bwMode="auto">
            <a:xfrm>
              <a:off x="5218672" y="3624243"/>
              <a:ext cx="19879" cy="9036"/>
            </a:xfrm>
            <a:custGeom>
              <a:avLst/>
              <a:gdLst>
                <a:gd name="T0" fmla="*/ 0 w 11"/>
                <a:gd name="T1" fmla="*/ 0 h 5"/>
                <a:gd name="T2" fmla="*/ 11 w 11"/>
                <a:gd name="T3" fmla="*/ 0 h 5"/>
                <a:gd name="T4" fmla="*/ 11 w 11"/>
                <a:gd name="T5" fmla="*/ 2 h 5"/>
                <a:gd name="T6" fmla="*/ 6 w 11"/>
                <a:gd name="T7" fmla="*/ 3 h 5"/>
                <a:gd name="T8" fmla="*/ 6 w 11"/>
                <a:gd name="T9" fmla="*/ 5 h 5"/>
                <a:gd name="T10" fmla="*/ 5 w 11"/>
                <a:gd name="T11" fmla="*/ 5 h 5"/>
                <a:gd name="T12" fmla="*/ 5 w 11"/>
                <a:gd name="T13" fmla="*/ 3 h 5"/>
                <a:gd name="T14" fmla="*/ 0 w 11"/>
                <a:gd name="T15" fmla="*/ 2 h 5"/>
                <a:gd name="T16" fmla="*/ 0 w 11"/>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0" y="0"/>
                  </a:moveTo>
                  <a:lnTo>
                    <a:pt x="11" y="0"/>
                  </a:lnTo>
                  <a:lnTo>
                    <a:pt x="11" y="2"/>
                  </a:lnTo>
                  <a:lnTo>
                    <a:pt x="6" y="3"/>
                  </a:lnTo>
                  <a:lnTo>
                    <a:pt x="6" y="5"/>
                  </a:lnTo>
                  <a:lnTo>
                    <a:pt x="5" y="5"/>
                  </a:lnTo>
                  <a:lnTo>
                    <a:pt x="5" y="3"/>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4" name="United Kingdom">
              <a:extLst>
                <a:ext uri="{FF2B5EF4-FFF2-40B4-BE49-F238E27FC236}">
                  <a16:creationId xmlns:a16="http://schemas.microsoft.com/office/drawing/2014/main" id="{FC80D9F1-91FE-E75B-FBE7-4C20A863FA95}"/>
                </a:ext>
              </a:extLst>
            </p:cNvPr>
            <p:cNvSpPr>
              <a:spLocks/>
            </p:cNvSpPr>
            <p:nvPr/>
          </p:nvSpPr>
          <p:spPr bwMode="auto">
            <a:xfrm>
              <a:off x="5637909" y="2780343"/>
              <a:ext cx="233112" cy="448152"/>
            </a:xfrm>
            <a:custGeom>
              <a:avLst/>
              <a:gdLst/>
              <a:ahLst/>
              <a:cxnLst/>
              <a:rect l="l" t="t" r="r" b="b"/>
              <a:pathLst>
                <a:path w="234970" h="451724">
                  <a:moveTo>
                    <a:pt x="85610" y="278685"/>
                  </a:moveTo>
                  <a:lnTo>
                    <a:pt x="87432" y="278685"/>
                  </a:lnTo>
                  <a:lnTo>
                    <a:pt x="87432" y="291436"/>
                  </a:lnTo>
                  <a:lnTo>
                    <a:pt x="80145" y="295079"/>
                  </a:lnTo>
                  <a:lnTo>
                    <a:pt x="78324" y="295079"/>
                  </a:lnTo>
                  <a:lnTo>
                    <a:pt x="78324" y="291436"/>
                  </a:lnTo>
                  <a:close/>
                  <a:moveTo>
                    <a:pt x="18215" y="240434"/>
                  </a:moveTo>
                  <a:lnTo>
                    <a:pt x="25501" y="244077"/>
                  </a:lnTo>
                  <a:lnTo>
                    <a:pt x="29144" y="244077"/>
                  </a:lnTo>
                  <a:lnTo>
                    <a:pt x="29144" y="245899"/>
                  </a:lnTo>
                  <a:lnTo>
                    <a:pt x="23679" y="251363"/>
                  </a:lnTo>
                  <a:lnTo>
                    <a:pt x="45537" y="245899"/>
                  </a:lnTo>
                  <a:lnTo>
                    <a:pt x="47359" y="245899"/>
                  </a:lnTo>
                  <a:lnTo>
                    <a:pt x="52823" y="256827"/>
                  </a:lnTo>
                  <a:lnTo>
                    <a:pt x="52823" y="267756"/>
                  </a:lnTo>
                  <a:lnTo>
                    <a:pt x="61930" y="276864"/>
                  </a:lnTo>
                  <a:lnTo>
                    <a:pt x="63752" y="276864"/>
                  </a:lnTo>
                  <a:lnTo>
                    <a:pt x="61930" y="280507"/>
                  </a:lnTo>
                  <a:lnTo>
                    <a:pt x="61930" y="284150"/>
                  </a:lnTo>
                  <a:lnTo>
                    <a:pt x="47359" y="296900"/>
                  </a:lnTo>
                  <a:lnTo>
                    <a:pt x="45537" y="296900"/>
                  </a:lnTo>
                  <a:lnTo>
                    <a:pt x="36430" y="278685"/>
                  </a:lnTo>
                  <a:lnTo>
                    <a:pt x="9107" y="289614"/>
                  </a:lnTo>
                  <a:lnTo>
                    <a:pt x="0" y="276864"/>
                  </a:lnTo>
                  <a:lnTo>
                    <a:pt x="12750" y="255006"/>
                  </a:lnTo>
                  <a:close/>
                  <a:moveTo>
                    <a:pt x="52822" y="207647"/>
                  </a:moveTo>
                  <a:lnTo>
                    <a:pt x="61930" y="207647"/>
                  </a:lnTo>
                  <a:lnTo>
                    <a:pt x="51001" y="222219"/>
                  </a:lnTo>
                  <a:lnTo>
                    <a:pt x="47722" y="222219"/>
                  </a:lnTo>
                  <a:lnTo>
                    <a:pt x="51001" y="227685"/>
                  </a:lnTo>
                  <a:lnTo>
                    <a:pt x="51001" y="229506"/>
                  </a:lnTo>
                  <a:lnTo>
                    <a:pt x="47358" y="229506"/>
                  </a:lnTo>
                  <a:lnTo>
                    <a:pt x="40072" y="227685"/>
                  </a:lnTo>
                  <a:lnTo>
                    <a:pt x="36429" y="227685"/>
                  </a:lnTo>
                  <a:lnTo>
                    <a:pt x="36429" y="224041"/>
                  </a:lnTo>
                  <a:lnTo>
                    <a:pt x="41893" y="216755"/>
                  </a:lnTo>
                  <a:lnTo>
                    <a:pt x="45536" y="216755"/>
                  </a:lnTo>
                  <a:lnTo>
                    <a:pt x="45536" y="218577"/>
                  </a:lnTo>
                  <a:lnTo>
                    <a:pt x="47358" y="221613"/>
                  </a:lnTo>
                  <a:lnTo>
                    <a:pt x="47358" y="218576"/>
                  </a:lnTo>
                  <a:close/>
                  <a:moveTo>
                    <a:pt x="41895" y="138431"/>
                  </a:moveTo>
                  <a:lnTo>
                    <a:pt x="41895" y="140253"/>
                  </a:lnTo>
                  <a:lnTo>
                    <a:pt x="51002" y="156646"/>
                  </a:lnTo>
                  <a:lnTo>
                    <a:pt x="56467" y="156646"/>
                  </a:lnTo>
                  <a:lnTo>
                    <a:pt x="56467" y="160290"/>
                  </a:lnTo>
                  <a:lnTo>
                    <a:pt x="52824" y="165754"/>
                  </a:lnTo>
                  <a:lnTo>
                    <a:pt x="30966" y="154825"/>
                  </a:lnTo>
                  <a:lnTo>
                    <a:pt x="30966" y="151182"/>
                  </a:lnTo>
                  <a:close/>
                  <a:moveTo>
                    <a:pt x="41895" y="103824"/>
                  </a:moveTo>
                  <a:lnTo>
                    <a:pt x="45538" y="103824"/>
                  </a:lnTo>
                  <a:lnTo>
                    <a:pt x="45538" y="116575"/>
                  </a:lnTo>
                  <a:lnTo>
                    <a:pt x="40073" y="120218"/>
                  </a:lnTo>
                  <a:lnTo>
                    <a:pt x="41895" y="123861"/>
                  </a:lnTo>
                  <a:lnTo>
                    <a:pt x="25501" y="134790"/>
                  </a:lnTo>
                  <a:lnTo>
                    <a:pt x="23680" y="134790"/>
                  </a:lnTo>
                  <a:lnTo>
                    <a:pt x="23680" y="114753"/>
                  </a:lnTo>
                  <a:close/>
                  <a:moveTo>
                    <a:pt x="112931" y="94716"/>
                  </a:moveTo>
                  <a:lnTo>
                    <a:pt x="118396" y="98359"/>
                  </a:lnTo>
                  <a:lnTo>
                    <a:pt x="118396" y="111109"/>
                  </a:lnTo>
                  <a:lnTo>
                    <a:pt x="96538" y="129324"/>
                  </a:lnTo>
                  <a:lnTo>
                    <a:pt x="102002" y="132967"/>
                  </a:lnTo>
                  <a:lnTo>
                    <a:pt x="102002" y="134788"/>
                  </a:lnTo>
                  <a:lnTo>
                    <a:pt x="91074" y="140253"/>
                  </a:lnTo>
                  <a:lnTo>
                    <a:pt x="92895" y="143896"/>
                  </a:lnTo>
                  <a:lnTo>
                    <a:pt x="98359" y="143896"/>
                  </a:lnTo>
                  <a:lnTo>
                    <a:pt x="112931" y="140253"/>
                  </a:lnTo>
                  <a:lnTo>
                    <a:pt x="129324" y="140253"/>
                  </a:lnTo>
                  <a:lnTo>
                    <a:pt x="142075" y="138431"/>
                  </a:lnTo>
                  <a:lnTo>
                    <a:pt x="147539" y="138431"/>
                  </a:lnTo>
                  <a:lnTo>
                    <a:pt x="147539" y="140253"/>
                  </a:lnTo>
                  <a:lnTo>
                    <a:pt x="151182" y="151182"/>
                  </a:lnTo>
                  <a:lnTo>
                    <a:pt x="140253" y="176682"/>
                  </a:lnTo>
                  <a:lnTo>
                    <a:pt x="131146" y="193075"/>
                  </a:lnTo>
                  <a:lnTo>
                    <a:pt x="129324" y="193075"/>
                  </a:lnTo>
                  <a:lnTo>
                    <a:pt x="123860" y="194897"/>
                  </a:lnTo>
                  <a:lnTo>
                    <a:pt x="131146" y="202183"/>
                  </a:lnTo>
                  <a:lnTo>
                    <a:pt x="131146" y="205826"/>
                  </a:lnTo>
                  <a:lnTo>
                    <a:pt x="129324" y="205826"/>
                  </a:lnTo>
                  <a:lnTo>
                    <a:pt x="120217" y="211290"/>
                  </a:lnTo>
                  <a:lnTo>
                    <a:pt x="131146" y="211290"/>
                  </a:lnTo>
                  <a:lnTo>
                    <a:pt x="156647" y="229505"/>
                  </a:lnTo>
                  <a:lnTo>
                    <a:pt x="165754" y="267756"/>
                  </a:lnTo>
                  <a:lnTo>
                    <a:pt x="176683" y="273220"/>
                  </a:lnTo>
                  <a:lnTo>
                    <a:pt x="196719" y="302364"/>
                  </a:lnTo>
                  <a:lnTo>
                    <a:pt x="196719" y="313292"/>
                  </a:lnTo>
                  <a:lnTo>
                    <a:pt x="187612" y="311471"/>
                  </a:lnTo>
                  <a:lnTo>
                    <a:pt x="202184" y="324221"/>
                  </a:lnTo>
                  <a:lnTo>
                    <a:pt x="196719" y="340614"/>
                  </a:lnTo>
                  <a:lnTo>
                    <a:pt x="202184" y="340614"/>
                  </a:lnTo>
                  <a:lnTo>
                    <a:pt x="207648" y="338793"/>
                  </a:lnTo>
                  <a:lnTo>
                    <a:pt x="213113" y="338793"/>
                  </a:lnTo>
                  <a:lnTo>
                    <a:pt x="218577" y="335150"/>
                  </a:lnTo>
                  <a:lnTo>
                    <a:pt x="224041" y="335150"/>
                  </a:lnTo>
                  <a:lnTo>
                    <a:pt x="224041" y="338793"/>
                  </a:lnTo>
                  <a:lnTo>
                    <a:pt x="231327" y="346079"/>
                  </a:lnTo>
                  <a:lnTo>
                    <a:pt x="234970" y="346079"/>
                  </a:lnTo>
                  <a:lnTo>
                    <a:pt x="231327" y="369758"/>
                  </a:lnTo>
                  <a:lnTo>
                    <a:pt x="207648" y="395259"/>
                  </a:lnTo>
                  <a:lnTo>
                    <a:pt x="209470" y="397080"/>
                  </a:lnTo>
                  <a:lnTo>
                    <a:pt x="225863" y="400723"/>
                  </a:lnTo>
                  <a:lnTo>
                    <a:pt x="214934" y="413473"/>
                  </a:lnTo>
                  <a:lnTo>
                    <a:pt x="174862" y="424402"/>
                  </a:lnTo>
                  <a:lnTo>
                    <a:pt x="158468" y="418938"/>
                  </a:lnTo>
                  <a:lnTo>
                    <a:pt x="156647" y="424402"/>
                  </a:lnTo>
                  <a:lnTo>
                    <a:pt x="134789" y="429867"/>
                  </a:lnTo>
                  <a:lnTo>
                    <a:pt x="125681" y="424402"/>
                  </a:lnTo>
                  <a:lnTo>
                    <a:pt x="112931" y="428045"/>
                  </a:lnTo>
                  <a:lnTo>
                    <a:pt x="107467" y="440795"/>
                  </a:lnTo>
                  <a:lnTo>
                    <a:pt x="98359" y="440795"/>
                  </a:lnTo>
                  <a:lnTo>
                    <a:pt x="91074" y="437152"/>
                  </a:lnTo>
                  <a:lnTo>
                    <a:pt x="80145" y="437152"/>
                  </a:lnTo>
                  <a:lnTo>
                    <a:pt x="72859" y="448081"/>
                  </a:lnTo>
                  <a:lnTo>
                    <a:pt x="69216" y="451724"/>
                  </a:lnTo>
                  <a:lnTo>
                    <a:pt x="58287" y="451724"/>
                  </a:lnTo>
                  <a:lnTo>
                    <a:pt x="58287" y="448081"/>
                  </a:lnTo>
                  <a:lnTo>
                    <a:pt x="92895" y="406187"/>
                  </a:lnTo>
                  <a:lnTo>
                    <a:pt x="120217" y="402544"/>
                  </a:lnTo>
                  <a:lnTo>
                    <a:pt x="129324" y="391616"/>
                  </a:lnTo>
                  <a:lnTo>
                    <a:pt x="112931" y="400723"/>
                  </a:lnTo>
                  <a:lnTo>
                    <a:pt x="109288" y="400723"/>
                  </a:lnTo>
                  <a:lnTo>
                    <a:pt x="102002" y="389794"/>
                  </a:lnTo>
                  <a:lnTo>
                    <a:pt x="91074" y="391616"/>
                  </a:lnTo>
                  <a:lnTo>
                    <a:pt x="87431" y="391616"/>
                  </a:lnTo>
                  <a:lnTo>
                    <a:pt x="87431" y="389794"/>
                  </a:lnTo>
                  <a:lnTo>
                    <a:pt x="85609" y="384330"/>
                  </a:lnTo>
                  <a:lnTo>
                    <a:pt x="74680" y="389794"/>
                  </a:lnTo>
                  <a:lnTo>
                    <a:pt x="72859" y="389794"/>
                  </a:lnTo>
                  <a:lnTo>
                    <a:pt x="67395" y="380687"/>
                  </a:lnTo>
                  <a:lnTo>
                    <a:pt x="67395" y="378865"/>
                  </a:lnTo>
                  <a:lnTo>
                    <a:pt x="92895" y="362472"/>
                  </a:lnTo>
                  <a:lnTo>
                    <a:pt x="96538" y="355186"/>
                  </a:lnTo>
                  <a:lnTo>
                    <a:pt x="92895" y="340614"/>
                  </a:lnTo>
                  <a:lnTo>
                    <a:pt x="80145" y="344257"/>
                  </a:lnTo>
                  <a:lnTo>
                    <a:pt x="80145" y="340614"/>
                  </a:lnTo>
                  <a:lnTo>
                    <a:pt x="95445" y="327864"/>
                  </a:lnTo>
                  <a:lnTo>
                    <a:pt x="91074" y="327864"/>
                  </a:lnTo>
                  <a:lnTo>
                    <a:pt x="85610" y="318757"/>
                  </a:lnTo>
                  <a:lnTo>
                    <a:pt x="85610" y="316935"/>
                  </a:lnTo>
                  <a:lnTo>
                    <a:pt x="96539" y="324221"/>
                  </a:lnTo>
                  <a:lnTo>
                    <a:pt x="98361" y="324221"/>
                  </a:lnTo>
                  <a:lnTo>
                    <a:pt x="98361" y="325434"/>
                  </a:lnTo>
                  <a:lnTo>
                    <a:pt x="102002" y="322400"/>
                  </a:lnTo>
                  <a:lnTo>
                    <a:pt x="120217" y="318757"/>
                  </a:lnTo>
                  <a:lnTo>
                    <a:pt x="120217" y="316935"/>
                  </a:lnTo>
                  <a:lnTo>
                    <a:pt x="123860" y="306007"/>
                  </a:lnTo>
                  <a:lnTo>
                    <a:pt x="120217" y="306007"/>
                  </a:lnTo>
                  <a:lnTo>
                    <a:pt x="120217" y="302364"/>
                  </a:lnTo>
                  <a:lnTo>
                    <a:pt x="125681" y="289613"/>
                  </a:lnTo>
                  <a:lnTo>
                    <a:pt x="114753" y="291435"/>
                  </a:lnTo>
                  <a:lnTo>
                    <a:pt x="103824" y="276863"/>
                  </a:lnTo>
                  <a:lnTo>
                    <a:pt x="114753" y="260470"/>
                  </a:lnTo>
                  <a:lnTo>
                    <a:pt x="91074" y="262291"/>
                  </a:lnTo>
                  <a:lnTo>
                    <a:pt x="87431" y="267756"/>
                  </a:lnTo>
                  <a:lnTo>
                    <a:pt x="87431" y="271399"/>
                  </a:lnTo>
                  <a:lnTo>
                    <a:pt x="85609" y="271399"/>
                  </a:lnTo>
                  <a:lnTo>
                    <a:pt x="85609" y="267756"/>
                  </a:lnTo>
                  <a:lnTo>
                    <a:pt x="78323" y="262291"/>
                  </a:lnTo>
                  <a:lnTo>
                    <a:pt x="74680" y="267756"/>
                  </a:lnTo>
                  <a:lnTo>
                    <a:pt x="74680" y="271399"/>
                  </a:lnTo>
                  <a:lnTo>
                    <a:pt x="72859" y="271399"/>
                  </a:lnTo>
                  <a:lnTo>
                    <a:pt x="72859" y="267756"/>
                  </a:lnTo>
                  <a:lnTo>
                    <a:pt x="67395" y="256827"/>
                  </a:lnTo>
                  <a:lnTo>
                    <a:pt x="72859" y="256827"/>
                  </a:lnTo>
                  <a:lnTo>
                    <a:pt x="80145" y="234969"/>
                  </a:lnTo>
                  <a:lnTo>
                    <a:pt x="74680" y="227683"/>
                  </a:lnTo>
                  <a:lnTo>
                    <a:pt x="74680" y="224040"/>
                  </a:lnTo>
                  <a:lnTo>
                    <a:pt x="80145" y="216755"/>
                  </a:lnTo>
                  <a:lnTo>
                    <a:pt x="74680" y="213112"/>
                  </a:lnTo>
                  <a:lnTo>
                    <a:pt x="69216" y="218576"/>
                  </a:lnTo>
                  <a:lnTo>
                    <a:pt x="67395" y="218576"/>
                  </a:lnTo>
                  <a:lnTo>
                    <a:pt x="67395" y="207647"/>
                  </a:lnTo>
                  <a:lnTo>
                    <a:pt x="63752" y="213112"/>
                  </a:lnTo>
                  <a:lnTo>
                    <a:pt x="67395" y="218576"/>
                  </a:lnTo>
                  <a:lnTo>
                    <a:pt x="67395" y="224040"/>
                  </a:lnTo>
                  <a:lnTo>
                    <a:pt x="67394" y="224041"/>
                  </a:lnTo>
                  <a:lnTo>
                    <a:pt x="72860" y="224041"/>
                  </a:lnTo>
                  <a:lnTo>
                    <a:pt x="69217" y="234970"/>
                  </a:lnTo>
                  <a:lnTo>
                    <a:pt x="69217" y="238613"/>
                  </a:lnTo>
                  <a:lnTo>
                    <a:pt x="67395" y="238613"/>
                  </a:lnTo>
                  <a:lnTo>
                    <a:pt x="64156" y="228898"/>
                  </a:lnTo>
                  <a:lnTo>
                    <a:pt x="56466" y="240434"/>
                  </a:lnTo>
                  <a:lnTo>
                    <a:pt x="56466" y="244077"/>
                  </a:lnTo>
                  <a:lnTo>
                    <a:pt x="52823" y="244077"/>
                  </a:lnTo>
                  <a:lnTo>
                    <a:pt x="52823" y="240434"/>
                  </a:lnTo>
                  <a:lnTo>
                    <a:pt x="67395" y="189433"/>
                  </a:lnTo>
                  <a:lnTo>
                    <a:pt x="58287" y="194897"/>
                  </a:lnTo>
                  <a:lnTo>
                    <a:pt x="56466" y="194897"/>
                  </a:lnTo>
                  <a:lnTo>
                    <a:pt x="56463" y="194894"/>
                  </a:lnTo>
                  <a:lnTo>
                    <a:pt x="56466" y="194898"/>
                  </a:lnTo>
                  <a:lnTo>
                    <a:pt x="56466" y="198541"/>
                  </a:lnTo>
                  <a:lnTo>
                    <a:pt x="47358" y="198541"/>
                  </a:lnTo>
                  <a:lnTo>
                    <a:pt x="41894" y="189434"/>
                  </a:lnTo>
                  <a:lnTo>
                    <a:pt x="41894" y="187612"/>
                  </a:lnTo>
                  <a:lnTo>
                    <a:pt x="49181" y="187612"/>
                  </a:lnTo>
                  <a:lnTo>
                    <a:pt x="45537" y="183968"/>
                  </a:lnTo>
                  <a:lnTo>
                    <a:pt x="45537" y="182147"/>
                  </a:lnTo>
                  <a:lnTo>
                    <a:pt x="52823" y="178504"/>
                  </a:lnTo>
                  <a:lnTo>
                    <a:pt x="61930" y="156646"/>
                  </a:lnTo>
                  <a:lnTo>
                    <a:pt x="52823" y="154825"/>
                  </a:lnTo>
                  <a:lnTo>
                    <a:pt x="52823" y="143896"/>
                  </a:lnTo>
                  <a:lnTo>
                    <a:pt x="56466" y="143896"/>
                  </a:lnTo>
                  <a:lnTo>
                    <a:pt x="52823" y="134788"/>
                  </a:lnTo>
                  <a:lnTo>
                    <a:pt x="52823" y="132967"/>
                  </a:lnTo>
                  <a:lnTo>
                    <a:pt x="56466" y="132967"/>
                  </a:lnTo>
                  <a:lnTo>
                    <a:pt x="67395" y="127503"/>
                  </a:lnTo>
                  <a:lnTo>
                    <a:pt x="61930" y="122038"/>
                  </a:lnTo>
                  <a:lnTo>
                    <a:pt x="63752" y="116574"/>
                  </a:lnTo>
                  <a:lnTo>
                    <a:pt x="63752" y="114752"/>
                  </a:lnTo>
                  <a:lnTo>
                    <a:pt x="69216" y="114752"/>
                  </a:lnTo>
                  <a:lnTo>
                    <a:pt x="74680" y="100181"/>
                  </a:lnTo>
                  <a:lnTo>
                    <a:pt x="74680" y="98359"/>
                  </a:lnTo>
                  <a:close/>
                  <a:moveTo>
                    <a:pt x="160290" y="0"/>
                  </a:moveTo>
                  <a:lnTo>
                    <a:pt x="163933" y="0"/>
                  </a:lnTo>
                  <a:lnTo>
                    <a:pt x="163933" y="3643"/>
                  </a:lnTo>
                  <a:lnTo>
                    <a:pt x="165754" y="14572"/>
                  </a:lnTo>
                  <a:lnTo>
                    <a:pt x="165754" y="32787"/>
                  </a:lnTo>
                  <a:lnTo>
                    <a:pt x="160290" y="38251"/>
                  </a:lnTo>
                  <a:lnTo>
                    <a:pt x="158468" y="38251"/>
                  </a:lnTo>
                  <a:lnTo>
                    <a:pt x="160290" y="25501"/>
                  </a:lnTo>
                  <a:lnTo>
                    <a:pt x="153003" y="21858"/>
                  </a:lnTo>
                  <a:lnTo>
                    <a:pt x="153003" y="20036"/>
                  </a:lnTo>
                  <a:lnTo>
                    <a:pt x="160290"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5" name="Sri Lanka">
              <a:extLst>
                <a:ext uri="{FF2B5EF4-FFF2-40B4-BE49-F238E27FC236}">
                  <a16:creationId xmlns:a16="http://schemas.microsoft.com/office/drawing/2014/main" id="{345E7B51-EFBC-D93B-9A7D-0FBD0D2178EB}"/>
                </a:ext>
              </a:extLst>
            </p:cNvPr>
            <p:cNvSpPr>
              <a:spLocks/>
            </p:cNvSpPr>
            <p:nvPr/>
          </p:nvSpPr>
          <p:spPr bwMode="auto">
            <a:xfrm>
              <a:off x="7705188" y="4356102"/>
              <a:ext cx="54212" cy="93967"/>
            </a:xfrm>
            <a:custGeom>
              <a:avLst/>
              <a:gdLst>
                <a:gd name="T0" fmla="*/ 4 w 30"/>
                <a:gd name="T1" fmla="*/ 0 h 52"/>
                <a:gd name="T2" fmla="*/ 6 w 30"/>
                <a:gd name="T3" fmla="*/ 0 h 52"/>
                <a:gd name="T4" fmla="*/ 9 w 30"/>
                <a:gd name="T5" fmla="*/ 2 h 52"/>
                <a:gd name="T6" fmla="*/ 16 w 30"/>
                <a:gd name="T7" fmla="*/ 9 h 52"/>
                <a:gd name="T8" fmla="*/ 30 w 30"/>
                <a:gd name="T9" fmla="*/ 30 h 52"/>
                <a:gd name="T10" fmla="*/ 28 w 30"/>
                <a:gd name="T11" fmla="*/ 42 h 52"/>
                <a:gd name="T12" fmla="*/ 15 w 30"/>
                <a:gd name="T13" fmla="*/ 52 h 52"/>
                <a:gd name="T14" fmla="*/ 7 w 30"/>
                <a:gd name="T15" fmla="*/ 50 h 52"/>
                <a:gd name="T16" fmla="*/ 6 w 30"/>
                <a:gd name="T17" fmla="*/ 50 h 52"/>
                <a:gd name="T18" fmla="*/ 1 w 30"/>
                <a:gd name="T19" fmla="*/ 40 h 52"/>
                <a:gd name="T20" fmla="*/ 0 w 30"/>
                <a:gd name="T21" fmla="*/ 22 h 52"/>
                <a:gd name="T22" fmla="*/ 1 w 30"/>
                <a:gd name="T23" fmla="*/ 22 h 52"/>
                <a:gd name="T24" fmla="*/ 4 w 30"/>
                <a:gd name="T25" fmla="*/ 6 h 52"/>
                <a:gd name="T26" fmla="*/ 6 w 30"/>
                <a:gd name="T27" fmla="*/ 6 h 52"/>
                <a:gd name="T28" fmla="*/ 7 w 30"/>
                <a:gd name="T29" fmla="*/ 5 h 52"/>
                <a:gd name="T30" fmla="*/ 4 w 30"/>
                <a:gd name="T31" fmla="*/ 2 h 52"/>
                <a:gd name="T32" fmla="*/ 4 w 30"/>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52">
                  <a:moveTo>
                    <a:pt x="4" y="0"/>
                  </a:moveTo>
                  <a:lnTo>
                    <a:pt x="6" y="0"/>
                  </a:lnTo>
                  <a:lnTo>
                    <a:pt x="9" y="2"/>
                  </a:lnTo>
                  <a:lnTo>
                    <a:pt x="16" y="9"/>
                  </a:lnTo>
                  <a:lnTo>
                    <a:pt x="30" y="30"/>
                  </a:lnTo>
                  <a:lnTo>
                    <a:pt x="28" y="42"/>
                  </a:lnTo>
                  <a:lnTo>
                    <a:pt x="15" y="52"/>
                  </a:lnTo>
                  <a:lnTo>
                    <a:pt x="7" y="50"/>
                  </a:lnTo>
                  <a:lnTo>
                    <a:pt x="6" y="50"/>
                  </a:lnTo>
                  <a:lnTo>
                    <a:pt x="1" y="40"/>
                  </a:lnTo>
                  <a:lnTo>
                    <a:pt x="0" y="22"/>
                  </a:lnTo>
                  <a:lnTo>
                    <a:pt x="1" y="22"/>
                  </a:lnTo>
                  <a:lnTo>
                    <a:pt x="4" y="6"/>
                  </a:lnTo>
                  <a:lnTo>
                    <a:pt x="6" y="6"/>
                  </a:lnTo>
                  <a:lnTo>
                    <a:pt x="7" y="5"/>
                  </a:lnTo>
                  <a:lnTo>
                    <a:pt x="4" y="2"/>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6" name="Afghanistan">
              <a:extLst>
                <a:ext uri="{FF2B5EF4-FFF2-40B4-BE49-F238E27FC236}">
                  <a16:creationId xmlns:a16="http://schemas.microsoft.com/office/drawing/2014/main" id="{369F52C1-4556-8C80-8911-C7B9A08A85B0}"/>
                </a:ext>
              </a:extLst>
            </p:cNvPr>
            <p:cNvSpPr>
              <a:spLocks noEditPoints="1"/>
            </p:cNvSpPr>
            <p:nvPr/>
          </p:nvSpPr>
          <p:spPr bwMode="auto">
            <a:xfrm>
              <a:off x="7251616" y="3607980"/>
              <a:ext cx="341535" cy="258410"/>
            </a:xfrm>
            <a:custGeom>
              <a:avLst/>
              <a:gdLst>
                <a:gd name="T0" fmla="*/ 12 w 189"/>
                <a:gd name="T1" fmla="*/ 46 h 143"/>
                <a:gd name="T2" fmla="*/ 12 w 189"/>
                <a:gd name="T3" fmla="*/ 43 h 143"/>
                <a:gd name="T4" fmla="*/ 143 w 189"/>
                <a:gd name="T5" fmla="*/ 3 h 143"/>
                <a:gd name="T6" fmla="*/ 146 w 189"/>
                <a:gd name="T7" fmla="*/ 9 h 143"/>
                <a:gd name="T8" fmla="*/ 147 w 189"/>
                <a:gd name="T9" fmla="*/ 30 h 143"/>
                <a:gd name="T10" fmla="*/ 174 w 189"/>
                <a:gd name="T11" fmla="*/ 17 h 143"/>
                <a:gd name="T12" fmla="*/ 184 w 189"/>
                <a:gd name="T13" fmla="*/ 18 h 143"/>
                <a:gd name="T14" fmla="*/ 184 w 189"/>
                <a:gd name="T15" fmla="*/ 23 h 143"/>
                <a:gd name="T16" fmla="*/ 174 w 189"/>
                <a:gd name="T17" fmla="*/ 26 h 143"/>
                <a:gd name="T18" fmla="*/ 143 w 189"/>
                <a:gd name="T19" fmla="*/ 37 h 143"/>
                <a:gd name="T20" fmla="*/ 147 w 189"/>
                <a:gd name="T21" fmla="*/ 49 h 143"/>
                <a:gd name="T22" fmla="*/ 138 w 189"/>
                <a:gd name="T23" fmla="*/ 64 h 143"/>
                <a:gd name="T24" fmla="*/ 138 w 189"/>
                <a:gd name="T25" fmla="*/ 72 h 143"/>
                <a:gd name="T26" fmla="*/ 129 w 189"/>
                <a:gd name="T27" fmla="*/ 82 h 143"/>
                <a:gd name="T28" fmla="*/ 114 w 189"/>
                <a:gd name="T29" fmla="*/ 98 h 143"/>
                <a:gd name="T30" fmla="*/ 112 w 189"/>
                <a:gd name="T31" fmla="*/ 110 h 143"/>
                <a:gd name="T32" fmla="*/ 101 w 189"/>
                <a:gd name="T33" fmla="*/ 106 h 143"/>
                <a:gd name="T34" fmla="*/ 97 w 189"/>
                <a:gd name="T35" fmla="*/ 113 h 143"/>
                <a:gd name="T36" fmla="*/ 79 w 189"/>
                <a:gd name="T37" fmla="*/ 121 h 143"/>
                <a:gd name="T38" fmla="*/ 76 w 189"/>
                <a:gd name="T39" fmla="*/ 137 h 143"/>
                <a:gd name="T40" fmla="*/ 52 w 189"/>
                <a:gd name="T41" fmla="*/ 140 h 143"/>
                <a:gd name="T42" fmla="*/ 39 w 189"/>
                <a:gd name="T43" fmla="*/ 140 h 143"/>
                <a:gd name="T44" fmla="*/ 6 w 189"/>
                <a:gd name="T45" fmla="*/ 137 h 143"/>
                <a:gd name="T46" fmla="*/ 17 w 189"/>
                <a:gd name="T47" fmla="*/ 116 h 143"/>
                <a:gd name="T48" fmla="*/ 5 w 189"/>
                <a:gd name="T49" fmla="*/ 106 h 143"/>
                <a:gd name="T50" fmla="*/ 5 w 189"/>
                <a:gd name="T51" fmla="*/ 79 h 143"/>
                <a:gd name="T52" fmla="*/ 0 w 189"/>
                <a:gd name="T53" fmla="*/ 69 h 143"/>
                <a:gd name="T54" fmla="*/ 9 w 189"/>
                <a:gd name="T55" fmla="*/ 58 h 143"/>
                <a:gd name="T56" fmla="*/ 15 w 189"/>
                <a:gd name="T57" fmla="*/ 49 h 143"/>
                <a:gd name="T58" fmla="*/ 34 w 189"/>
                <a:gd name="T59" fmla="*/ 49 h 143"/>
                <a:gd name="T60" fmla="*/ 36 w 189"/>
                <a:gd name="T61" fmla="*/ 43 h 143"/>
                <a:gd name="T62" fmla="*/ 60 w 189"/>
                <a:gd name="T63" fmla="*/ 20 h 143"/>
                <a:gd name="T64" fmla="*/ 70 w 189"/>
                <a:gd name="T65" fmla="*/ 15 h 143"/>
                <a:gd name="T66" fmla="*/ 95 w 189"/>
                <a:gd name="T67" fmla="*/ 20 h 143"/>
                <a:gd name="T68" fmla="*/ 112 w 189"/>
                <a:gd name="T69" fmla="*/ 18 h 143"/>
                <a:gd name="T70" fmla="*/ 119 w 189"/>
                <a:gd name="T71" fmla="*/ 14 h 143"/>
                <a:gd name="T72" fmla="*/ 129 w 189"/>
                <a:gd name="T73" fmla="*/ 12 h 143"/>
                <a:gd name="T74" fmla="*/ 137 w 189"/>
                <a:gd name="T7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143">
                  <a:moveTo>
                    <a:pt x="12" y="43"/>
                  </a:moveTo>
                  <a:lnTo>
                    <a:pt x="12" y="46"/>
                  </a:lnTo>
                  <a:lnTo>
                    <a:pt x="11" y="46"/>
                  </a:lnTo>
                  <a:lnTo>
                    <a:pt x="12" y="43"/>
                  </a:lnTo>
                  <a:close/>
                  <a:moveTo>
                    <a:pt x="137" y="0"/>
                  </a:moveTo>
                  <a:lnTo>
                    <a:pt x="143" y="3"/>
                  </a:lnTo>
                  <a:lnTo>
                    <a:pt x="141" y="8"/>
                  </a:lnTo>
                  <a:lnTo>
                    <a:pt x="146" y="9"/>
                  </a:lnTo>
                  <a:lnTo>
                    <a:pt x="144" y="23"/>
                  </a:lnTo>
                  <a:lnTo>
                    <a:pt x="147" y="30"/>
                  </a:lnTo>
                  <a:lnTo>
                    <a:pt x="171" y="17"/>
                  </a:lnTo>
                  <a:lnTo>
                    <a:pt x="174" y="17"/>
                  </a:lnTo>
                  <a:lnTo>
                    <a:pt x="175" y="20"/>
                  </a:lnTo>
                  <a:lnTo>
                    <a:pt x="184" y="18"/>
                  </a:lnTo>
                  <a:lnTo>
                    <a:pt x="189" y="18"/>
                  </a:lnTo>
                  <a:lnTo>
                    <a:pt x="184" y="23"/>
                  </a:lnTo>
                  <a:lnTo>
                    <a:pt x="186" y="24"/>
                  </a:lnTo>
                  <a:lnTo>
                    <a:pt x="174" y="26"/>
                  </a:lnTo>
                  <a:lnTo>
                    <a:pt x="160" y="27"/>
                  </a:lnTo>
                  <a:lnTo>
                    <a:pt x="143" y="37"/>
                  </a:lnTo>
                  <a:lnTo>
                    <a:pt x="141" y="39"/>
                  </a:lnTo>
                  <a:lnTo>
                    <a:pt x="147" y="49"/>
                  </a:lnTo>
                  <a:lnTo>
                    <a:pt x="147" y="54"/>
                  </a:lnTo>
                  <a:lnTo>
                    <a:pt x="138" y="64"/>
                  </a:lnTo>
                  <a:lnTo>
                    <a:pt x="141" y="67"/>
                  </a:lnTo>
                  <a:lnTo>
                    <a:pt x="138" y="72"/>
                  </a:lnTo>
                  <a:lnTo>
                    <a:pt x="125" y="72"/>
                  </a:lnTo>
                  <a:lnTo>
                    <a:pt x="129" y="82"/>
                  </a:lnTo>
                  <a:lnTo>
                    <a:pt x="119" y="86"/>
                  </a:lnTo>
                  <a:lnTo>
                    <a:pt x="114" y="98"/>
                  </a:lnTo>
                  <a:lnTo>
                    <a:pt x="116" y="106"/>
                  </a:lnTo>
                  <a:lnTo>
                    <a:pt x="112" y="110"/>
                  </a:lnTo>
                  <a:lnTo>
                    <a:pt x="107" y="106"/>
                  </a:lnTo>
                  <a:lnTo>
                    <a:pt x="101" y="106"/>
                  </a:lnTo>
                  <a:lnTo>
                    <a:pt x="94" y="112"/>
                  </a:lnTo>
                  <a:lnTo>
                    <a:pt x="97" y="113"/>
                  </a:lnTo>
                  <a:lnTo>
                    <a:pt x="83" y="115"/>
                  </a:lnTo>
                  <a:lnTo>
                    <a:pt x="79" y="121"/>
                  </a:lnTo>
                  <a:lnTo>
                    <a:pt x="77" y="135"/>
                  </a:lnTo>
                  <a:lnTo>
                    <a:pt x="76" y="137"/>
                  </a:lnTo>
                  <a:lnTo>
                    <a:pt x="61" y="140"/>
                  </a:lnTo>
                  <a:lnTo>
                    <a:pt x="52" y="140"/>
                  </a:lnTo>
                  <a:lnTo>
                    <a:pt x="48" y="143"/>
                  </a:lnTo>
                  <a:lnTo>
                    <a:pt x="39" y="140"/>
                  </a:lnTo>
                  <a:lnTo>
                    <a:pt x="26" y="143"/>
                  </a:lnTo>
                  <a:lnTo>
                    <a:pt x="6" y="137"/>
                  </a:lnTo>
                  <a:lnTo>
                    <a:pt x="15" y="123"/>
                  </a:lnTo>
                  <a:lnTo>
                    <a:pt x="17" y="116"/>
                  </a:lnTo>
                  <a:lnTo>
                    <a:pt x="12" y="110"/>
                  </a:lnTo>
                  <a:lnTo>
                    <a:pt x="5" y="106"/>
                  </a:lnTo>
                  <a:lnTo>
                    <a:pt x="2" y="88"/>
                  </a:lnTo>
                  <a:lnTo>
                    <a:pt x="5" y="79"/>
                  </a:lnTo>
                  <a:lnTo>
                    <a:pt x="0" y="76"/>
                  </a:lnTo>
                  <a:lnTo>
                    <a:pt x="0" y="69"/>
                  </a:lnTo>
                  <a:lnTo>
                    <a:pt x="6" y="67"/>
                  </a:lnTo>
                  <a:lnTo>
                    <a:pt x="9" y="58"/>
                  </a:lnTo>
                  <a:lnTo>
                    <a:pt x="12" y="46"/>
                  </a:lnTo>
                  <a:lnTo>
                    <a:pt x="15" y="49"/>
                  </a:lnTo>
                  <a:lnTo>
                    <a:pt x="30" y="52"/>
                  </a:lnTo>
                  <a:lnTo>
                    <a:pt x="34" y="49"/>
                  </a:lnTo>
                  <a:lnTo>
                    <a:pt x="37" y="45"/>
                  </a:lnTo>
                  <a:lnTo>
                    <a:pt x="36" y="43"/>
                  </a:lnTo>
                  <a:lnTo>
                    <a:pt x="54" y="35"/>
                  </a:lnTo>
                  <a:lnTo>
                    <a:pt x="60" y="20"/>
                  </a:lnTo>
                  <a:lnTo>
                    <a:pt x="66" y="20"/>
                  </a:lnTo>
                  <a:lnTo>
                    <a:pt x="70" y="15"/>
                  </a:lnTo>
                  <a:lnTo>
                    <a:pt x="80" y="17"/>
                  </a:lnTo>
                  <a:lnTo>
                    <a:pt x="95" y="20"/>
                  </a:lnTo>
                  <a:lnTo>
                    <a:pt x="100" y="24"/>
                  </a:lnTo>
                  <a:lnTo>
                    <a:pt x="112" y="18"/>
                  </a:lnTo>
                  <a:lnTo>
                    <a:pt x="117" y="23"/>
                  </a:lnTo>
                  <a:lnTo>
                    <a:pt x="119" y="14"/>
                  </a:lnTo>
                  <a:lnTo>
                    <a:pt x="128" y="15"/>
                  </a:lnTo>
                  <a:lnTo>
                    <a:pt x="129" y="12"/>
                  </a:lnTo>
                  <a:lnTo>
                    <a:pt x="128" y="9"/>
                  </a:lnTo>
                  <a:lnTo>
                    <a:pt x="13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7" name="Iraq">
              <a:extLst>
                <a:ext uri="{FF2B5EF4-FFF2-40B4-BE49-F238E27FC236}">
                  <a16:creationId xmlns:a16="http://schemas.microsoft.com/office/drawing/2014/main" id="{D0136F5B-4016-C37C-0C2F-1E94A7FAEDF5}"/>
                </a:ext>
              </a:extLst>
            </p:cNvPr>
            <p:cNvSpPr>
              <a:spLocks/>
            </p:cNvSpPr>
            <p:nvPr/>
          </p:nvSpPr>
          <p:spPr bwMode="auto">
            <a:xfrm>
              <a:off x="6738411" y="3635085"/>
              <a:ext cx="234918" cy="238532"/>
            </a:xfrm>
            <a:custGeom>
              <a:avLst/>
              <a:gdLst>
                <a:gd name="T0" fmla="*/ 56 w 130"/>
                <a:gd name="T1" fmla="*/ 0 h 132"/>
                <a:gd name="T2" fmla="*/ 59 w 130"/>
                <a:gd name="T3" fmla="*/ 0 h 132"/>
                <a:gd name="T4" fmla="*/ 62 w 130"/>
                <a:gd name="T5" fmla="*/ 2 h 132"/>
                <a:gd name="T6" fmla="*/ 66 w 130"/>
                <a:gd name="T7" fmla="*/ 2 h 132"/>
                <a:gd name="T8" fmla="*/ 69 w 130"/>
                <a:gd name="T9" fmla="*/ 3 h 132"/>
                <a:gd name="T10" fmla="*/ 74 w 130"/>
                <a:gd name="T11" fmla="*/ 3 h 132"/>
                <a:gd name="T12" fmla="*/ 75 w 130"/>
                <a:gd name="T13" fmla="*/ 5 h 132"/>
                <a:gd name="T14" fmla="*/ 78 w 130"/>
                <a:gd name="T15" fmla="*/ 3 h 132"/>
                <a:gd name="T16" fmla="*/ 81 w 130"/>
                <a:gd name="T17" fmla="*/ 3 h 132"/>
                <a:gd name="T18" fmla="*/ 81 w 130"/>
                <a:gd name="T19" fmla="*/ 12 h 132"/>
                <a:gd name="T20" fmla="*/ 90 w 130"/>
                <a:gd name="T21" fmla="*/ 24 h 132"/>
                <a:gd name="T22" fmla="*/ 99 w 130"/>
                <a:gd name="T23" fmla="*/ 27 h 132"/>
                <a:gd name="T24" fmla="*/ 101 w 130"/>
                <a:gd name="T25" fmla="*/ 27 h 132"/>
                <a:gd name="T26" fmla="*/ 101 w 130"/>
                <a:gd name="T27" fmla="*/ 28 h 132"/>
                <a:gd name="T28" fmla="*/ 98 w 130"/>
                <a:gd name="T29" fmla="*/ 33 h 132"/>
                <a:gd name="T30" fmla="*/ 98 w 130"/>
                <a:gd name="T31" fmla="*/ 37 h 132"/>
                <a:gd name="T32" fmla="*/ 90 w 130"/>
                <a:gd name="T33" fmla="*/ 49 h 132"/>
                <a:gd name="T34" fmla="*/ 89 w 130"/>
                <a:gd name="T35" fmla="*/ 57 h 132"/>
                <a:gd name="T36" fmla="*/ 96 w 130"/>
                <a:gd name="T37" fmla="*/ 70 h 132"/>
                <a:gd name="T38" fmla="*/ 112 w 130"/>
                <a:gd name="T39" fmla="*/ 80 h 132"/>
                <a:gd name="T40" fmla="*/ 118 w 130"/>
                <a:gd name="T41" fmla="*/ 91 h 132"/>
                <a:gd name="T42" fmla="*/ 117 w 130"/>
                <a:gd name="T43" fmla="*/ 103 h 132"/>
                <a:gd name="T44" fmla="*/ 120 w 130"/>
                <a:gd name="T45" fmla="*/ 104 h 132"/>
                <a:gd name="T46" fmla="*/ 121 w 130"/>
                <a:gd name="T47" fmla="*/ 104 h 132"/>
                <a:gd name="T48" fmla="*/ 123 w 130"/>
                <a:gd name="T49" fmla="*/ 111 h 132"/>
                <a:gd name="T50" fmla="*/ 130 w 130"/>
                <a:gd name="T51" fmla="*/ 117 h 132"/>
                <a:gd name="T52" fmla="*/ 130 w 130"/>
                <a:gd name="T53" fmla="*/ 119 h 132"/>
                <a:gd name="T54" fmla="*/ 127 w 130"/>
                <a:gd name="T55" fmla="*/ 120 h 132"/>
                <a:gd name="T56" fmla="*/ 121 w 130"/>
                <a:gd name="T57" fmla="*/ 119 h 132"/>
                <a:gd name="T58" fmla="*/ 112 w 130"/>
                <a:gd name="T59" fmla="*/ 119 h 132"/>
                <a:gd name="T60" fmla="*/ 104 w 130"/>
                <a:gd name="T61" fmla="*/ 132 h 132"/>
                <a:gd name="T62" fmla="*/ 90 w 130"/>
                <a:gd name="T63" fmla="*/ 128 h 132"/>
                <a:gd name="T64" fmla="*/ 81 w 130"/>
                <a:gd name="T65" fmla="*/ 131 h 132"/>
                <a:gd name="T66" fmla="*/ 80 w 130"/>
                <a:gd name="T67" fmla="*/ 131 h 132"/>
                <a:gd name="T68" fmla="*/ 65 w 130"/>
                <a:gd name="T69" fmla="*/ 125 h 132"/>
                <a:gd name="T70" fmla="*/ 65 w 130"/>
                <a:gd name="T71" fmla="*/ 123 h 132"/>
                <a:gd name="T72" fmla="*/ 64 w 130"/>
                <a:gd name="T73" fmla="*/ 114 h 132"/>
                <a:gd name="T74" fmla="*/ 58 w 130"/>
                <a:gd name="T75" fmla="*/ 113 h 132"/>
                <a:gd name="T76" fmla="*/ 56 w 130"/>
                <a:gd name="T77" fmla="*/ 113 h 132"/>
                <a:gd name="T78" fmla="*/ 53 w 130"/>
                <a:gd name="T79" fmla="*/ 107 h 132"/>
                <a:gd name="T80" fmla="*/ 40 w 130"/>
                <a:gd name="T81" fmla="*/ 103 h 132"/>
                <a:gd name="T82" fmla="*/ 25 w 130"/>
                <a:gd name="T83" fmla="*/ 91 h 132"/>
                <a:gd name="T84" fmla="*/ 6 w 130"/>
                <a:gd name="T85" fmla="*/ 85 h 132"/>
                <a:gd name="T86" fmla="*/ 4 w 130"/>
                <a:gd name="T87" fmla="*/ 85 h 132"/>
                <a:gd name="T88" fmla="*/ 0 w 130"/>
                <a:gd name="T89" fmla="*/ 68 h 132"/>
                <a:gd name="T90" fmla="*/ 0 w 130"/>
                <a:gd name="T91" fmla="*/ 67 h 132"/>
                <a:gd name="T92" fmla="*/ 31 w 130"/>
                <a:gd name="T93" fmla="*/ 49 h 132"/>
                <a:gd name="T94" fmla="*/ 32 w 130"/>
                <a:gd name="T95" fmla="*/ 43 h 132"/>
                <a:gd name="T96" fmla="*/ 34 w 130"/>
                <a:gd name="T97" fmla="*/ 18 h 132"/>
                <a:gd name="T98" fmla="*/ 34 w 130"/>
                <a:gd name="T99" fmla="*/ 17 h 132"/>
                <a:gd name="T100" fmla="*/ 43 w 130"/>
                <a:gd name="T101" fmla="*/ 15 h 132"/>
                <a:gd name="T102" fmla="*/ 50 w 130"/>
                <a:gd name="T103" fmla="*/ 5 h 132"/>
                <a:gd name="T104" fmla="*/ 56 w 130"/>
                <a:gd name="T10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 h="132">
                  <a:moveTo>
                    <a:pt x="56" y="0"/>
                  </a:moveTo>
                  <a:lnTo>
                    <a:pt x="59" y="0"/>
                  </a:lnTo>
                  <a:lnTo>
                    <a:pt x="62" y="2"/>
                  </a:lnTo>
                  <a:lnTo>
                    <a:pt x="66" y="2"/>
                  </a:lnTo>
                  <a:lnTo>
                    <a:pt x="69" y="3"/>
                  </a:lnTo>
                  <a:lnTo>
                    <a:pt x="74" y="3"/>
                  </a:lnTo>
                  <a:lnTo>
                    <a:pt x="75" y="5"/>
                  </a:lnTo>
                  <a:lnTo>
                    <a:pt x="78" y="3"/>
                  </a:lnTo>
                  <a:lnTo>
                    <a:pt x="81" y="3"/>
                  </a:lnTo>
                  <a:lnTo>
                    <a:pt x="81" y="12"/>
                  </a:lnTo>
                  <a:lnTo>
                    <a:pt x="90" y="24"/>
                  </a:lnTo>
                  <a:lnTo>
                    <a:pt x="99" y="27"/>
                  </a:lnTo>
                  <a:lnTo>
                    <a:pt x="101" y="27"/>
                  </a:lnTo>
                  <a:lnTo>
                    <a:pt x="101" y="28"/>
                  </a:lnTo>
                  <a:lnTo>
                    <a:pt x="98" y="33"/>
                  </a:lnTo>
                  <a:lnTo>
                    <a:pt x="98" y="37"/>
                  </a:lnTo>
                  <a:lnTo>
                    <a:pt x="90" y="49"/>
                  </a:lnTo>
                  <a:lnTo>
                    <a:pt x="89" y="57"/>
                  </a:lnTo>
                  <a:lnTo>
                    <a:pt x="96" y="70"/>
                  </a:lnTo>
                  <a:lnTo>
                    <a:pt x="112" y="80"/>
                  </a:lnTo>
                  <a:lnTo>
                    <a:pt x="118" y="91"/>
                  </a:lnTo>
                  <a:lnTo>
                    <a:pt x="117" y="103"/>
                  </a:lnTo>
                  <a:lnTo>
                    <a:pt x="120" y="104"/>
                  </a:lnTo>
                  <a:lnTo>
                    <a:pt x="121" y="104"/>
                  </a:lnTo>
                  <a:lnTo>
                    <a:pt x="123" y="111"/>
                  </a:lnTo>
                  <a:lnTo>
                    <a:pt x="130" y="117"/>
                  </a:lnTo>
                  <a:lnTo>
                    <a:pt x="130" y="119"/>
                  </a:lnTo>
                  <a:lnTo>
                    <a:pt x="127" y="120"/>
                  </a:lnTo>
                  <a:lnTo>
                    <a:pt x="121" y="119"/>
                  </a:lnTo>
                  <a:lnTo>
                    <a:pt x="112" y="119"/>
                  </a:lnTo>
                  <a:lnTo>
                    <a:pt x="104" y="132"/>
                  </a:lnTo>
                  <a:lnTo>
                    <a:pt x="90" y="128"/>
                  </a:lnTo>
                  <a:lnTo>
                    <a:pt x="81" y="131"/>
                  </a:lnTo>
                  <a:lnTo>
                    <a:pt x="80" y="131"/>
                  </a:lnTo>
                  <a:lnTo>
                    <a:pt x="65" y="125"/>
                  </a:lnTo>
                  <a:lnTo>
                    <a:pt x="65" y="123"/>
                  </a:lnTo>
                  <a:lnTo>
                    <a:pt x="64" y="114"/>
                  </a:lnTo>
                  <a:lnTo>
                    <a:pt x="58" y="113"/>
                  </a:lnTo>
                  <a:lnTo>
                    <a:pt x="56" y="113"/>
                  </a:lnTo>
                  <a:lnTo>
                    <a:pt x="53" y="107"/>
                  </a:lnTo>
                  <a:lnTo>
                    <a:pt x="40" y="103"/>
                  </a:lnTo>
                  <a:lnTo>
                    <a:pt x="25" y="91"/>
                  </a:lnTo>
                  <a:lnTo>
                    <a:pt x="6" y="85"/>
                  </a:lnTo>
                  <a:lnTo>
                    <a:pt x="4" y="85"/>
                  </a:lnTo>
                  <a:lnTo>
                    <a:pt x="0" y="68"/>
                  </a:lnTo>
                  <a:lnTo>
                    <a:pt x="0" y="67"/>
                  </a:lnTo>
                  <a:lnTo>
                    <a:pt x="31" y="49"/>
                  </a:lnTo>
                  <a:lnTo>
                    <a:pt x="32" y="43"/>
                  </a:lnTo>
                  <a:lnTo>
                    <a:pt x="34" y="18"/>
                  </a:lnTo>
                  <a:lnTo>
                    <a:pt x="34" y="17"/>
                  </a:lnTo>
                  <a:lnTo>
                    <a:pt x="43" y="15"/>
                  </a:lnTo>
                  <a:lnTo>
                    <a:pt x="50" y="5"/>
                  </a:lnTo>
                  <a:lnTo>
                    <a:pt x="5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8" name="Jordan">
              <a:extLst>
                <a:ext uri="{FF2B5EF4-FFF2-40B4-BE49-F238E27FC236}">
                  <a16:creationId xmlns:a16="http://schemas.microsoft.com/office/drawing/2014/main" id="{38EF9BD0-0410-54B2-FE2E-6CF8A2EE695A}"/>
                </a:ext>
              </a:extLst>
            </p:cNvPr>
            <p:cNvSpPr>
              <a:spLocks/>
            </p:cNvSpPr>
            <p:nvPr/>
          </p:nvSpPr>
          <p:spPr bwMode="auto">
            <a:xfrm>
              <a:off x="6646250" y="3756157"/>
              <a:ext cx="103003" cy="117460"/>
            </a:xfrm>
            <a:custGeom>
              <a:avLst/>
              <a:gdLst>
                <a:gd name="T0" fmla="*/ 51 w 57"/>
                <a:gd name="T1" fmla="*/ 0 h 65"/>
                <a:gd name="T2" fmla="*/ 52 w 57"/>
                <a:gd name="T3" fmla="*/ 0 h 65"/>
                <a:gd name="T4" fmla="*/ 52 w 57"/>
                <a:gd name="T5" fmla="*/ 1 h 65"/>
                <a:gd name="T6" fmla="*/ 57 w 57"/>
                <a:gd name="T7" fmla="*/ 18 h 65"/>
                <a:gd name="T8" fmla="*/ 54 w 57"/>
                <a:gd name="T9" fmla="*/ 24 h 65"/>
                <a:gd name="T10" fmla="*/ 52 w 57"/>
                <a:gd name="T11" fmla="*/ 24 h 65"/>
                <a:gd name="T12" fmla="*/ 30 w 57"/>
                <a:gd name="T13" fmla="*/ 28 h 65"/>
                <a:gd name="T14" fmla="*/ 42 w 57"/>
                <a:gd name="T15" fmla="*/ 43 h 65"/>
                <a:gd name="T16" fmla="*/ 37 w 57"/>
                <a:gd name="T17" fmla="*/ 47 h 65"/>
                <a:gd name="T18" fmla="*/ 36 w 57"/>
                <a:gd name="T19" fmla="*/ 52 h 65"/>
                <a:gd name="T20" fmla="*/ 34 w 57"/>
                <a:gd name="T21" fmla="*/ 52 h 65"/>
                <a:gd name="T22" fmla="*/ 26 w 57"/>
                <a:gd name="T23" fmla="*/ 55 h 65"/>
                <a:gd name="T24" fmla="*/ 17 w 57"/>
                <a:gd name="T25" fmla="*/ 65 h 65"/>
                <a:gd name="T26" fmla="*/ 2 w 57"/>
                <a:gd name="T27" fmla="*/ 64 h 65"/>
                <a:gd name="T28" fmla="*/ 2 w 57"/>
                <a:gd name="T29" fmla="*/ 61 h 65"/>
                <a:gd name="T30" fmla="*/ 8 w 57"/>
                <a:gd name="T31" fmla="*/ 31 h 65"/>
                <a:gd name="T32" fmla="*/ 0 w 57"/>
                <a:gd name="T33" fmla="*/ 31 h 65"/>
                <a:gd name="T34" fmla="*/ 3 w 57"/>
                <a:gd name="T35" fmla="*/ 25 h 65"/>
                <a:gd name="T36" fmla="*/ 2 w 57"/>
                <a:gd name="T37" fmla="*/ 24 h 65"/>
                <a:gd name="T38" fmla="*/ 0 w 57"/>
                <a:gd name="T39" fmla="*/ 24 h 65"/>
                <a:gd name="T40" fmla="*/ 0 w 57"/>
                <a:gd name="T41" fmla="*/ 18 h 65"/>
                <a:gd name="T42" fmla="*/ 5 w 57"/>
                <a:gd name="T43" fmla="*/ 13 h 65"/>
                <a:gd name="T44" fmla="*/ 5 w 57"/>
                <a:gd name="T45" fmla="*/ 12 h 65"/>
                <a:gd name="T46" fmla="*/ 9 w 57"/>
                <a:gd name="T47" fmla="*/ 15 h 65"/>
                <a:gd name="T48" fmla="*/ 9 w 57"/>
                <a:gd name="T49" fmla="*/ 10 h 65"/>
                <a:gd name="T50" fmla="*/ 12 w 57"/>
                <a:gd name="T51" fmla="*/ 10 h 65"/>
                <a:gd name="T52" fmla="*/ 23 w 57"/>
                <a:gd name="T53" fmla="*/ 16 h 65"/>
                <a:gd name="T54" fmla="*/ 51 w 57"/>
                <a:gd name="T5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 h="65">
                  <a:moveTo>
                    <a:pt x="51" y="0"/>
                  </a:moveTo>
                  <a:lnTo>
                    <a:pt x="52" y="0"/>
                  </a:lnTo>
                  <a:lnTo>
                    <a:pt x="52" y="1"/>
                  </a:lnTo>
                  <a:lnTo>
                    <a:pt x="57" y="18"/>
                  </a:lnTo>
                  <a:lnTo>
                    <a:pt x="54" y="24"/>
                  </a:lnTo>
                  <a:lnTo>
                    <a:pt x="52" y="24"/>
                  </a:lnTo>
                  <a:lnTo>
                    <a:pt x="30" y="28"/>
                  </a:lnTo>
                  <a:lnTo>
                    <a:pt x="42" y="43"/>
                  </a:lnTo>
                  <a:lnTo>
                    <a:pt x="37" y="47"/>
                  </a:lnTo>
                  <a:lnTo>
                    <a:pt x="36" y="52"/>
                  </a:lnTo>
                  <a:lnTo>
                    <a:pt x="34" y="52"/>
                  </a:lnTo>
                  <a:lnTo>
                    <a:pt x="26" y="55"/>
                  </a:lnTo>
                  <a:lnTo>
                    <a:pt x="17" y="65"/>
                  </a:lnTo>
                  <a:lnTo>
                    <a:pt x="2" y="64"/>
                  </a:lnTo>
                  <a:lnTo>
                    <a:pt x="2" y="61"/>
                  </a:lnTo>
                  <a:lnTo>
                    <a:pt x="8" y="31"/>
                  </a:lnTo>
                  <a:lnTo>
                    <a:pt x="0" y="31"/>
                  </a:lnTo>
                  <a:lnTo>
                    <a:pt x="3" y="25"/>
                  </a:lnTo>
                  <a:lnTo>
                    <a:pt x="2" y="24"/>
                  </a:lnTo>
                  <a:lnTo>
                    <a:pt x="0" y="24"/>
                  </a:lnTo>
                  <a:lnTo>
                    <a:pt x="0" y="18"/>
                  </a:lnTo>
                  <a:lnTo>
                    <a:pt x="5" y="13"/>
                  </a:lnTo>
                  <a:lnTo>
                    <a:pt x="5" y="12"/>
                  </a:lnTo>
                  <a:lnTo>
                    <a:pt x="9" y="15"/>
                  </a:lnTo>
                  <a:lnTo>
                    <a:pt x="9" y="10"/>
                  </a:lnTo>
                  <a:lnTo>
                    <a:pt x="12" y="10"/>
                  </a:lnTo>
                  <a:lnTo>
                    <a:pt x="23" y="16"/>
                  </a:lnTo>
                  <a:lnTo>
                    <a:pt x="5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9" name="Saudi Arabia">
              <a:extLst>
                <a:ext uri="{FF2B5EF4-FFF2-40B4-BE49-F238E27FC236}">
                  <a16:creationId xmlns:a16="http://schemas.microsoft.com/office/drawing/2014/main" id="{F20CDF63-8004-7716-E7B4-0C83BECE1598}"/>
                </a:ext>
              </a:extLst>
            </p:cNvPr>
            <p:cNvSpPr>
              <a:spLocks/>
            </p:cNvSpPr>
            <p:nvPr/>
          </p:nvSpPr>
          <p:spPr bwMode="auto">
            <a:xfrm>
              <a:off x="6644443" y="3785071"/>
              <a:ext cx="498749" cy="433695"/>
            </a:xfrm>
            <a:custGeom>
              <a:avLst/>
              <a:gdLst>
                <a:gd name="T0" fmla="*/ 77 w 276"/>
                <a:gd name="T1" fmla="*/ 8 h 240"/>
                <a:gd name="T2" fmla="*/ 107 w 276"/>
                <a:gd name="T3" fmla="*/ 23 h 240"/>
                <a:gd name="T4" fmla="*/ 116 w 276"/>
                <a:gd name="T5" fmla="*/ 30 h 240"/>
                <a:gd name="T6" fmla="*/ 118 w 276"/>
                <a:gd name="T7" fmla="*/ 40 h 240"/>
                <a:gd name="T8" fmla="*/ 142 w 276"/>
                <a:gd name="T9" fmla="*/ 54 h 240"/>
                <a:gd name="T10" fmla="*/ 166 w 276"/>
                <a:gd name="T11" fmla="*/ 51 h 240"/>
                <a:gd name="T12" fmla="*/ 179 w 276"/>
                <a:gd name="T13" fmla="*/ 57 h 240"/>
                <a:gd name="T14" fmla="*/ 191 w 276"/>
                <a:gd name="T15" fmla="*/ 73 h 240"/>
                <a:gd name="T16" fmla="*/ 201 w 276"/>
                <a:gd name="T17" fmla="*/ 83 h 240"/>
                <a:gd name="T18" fmla="*/ 201 w 276"/>
                <a:gd name="T19" fmla="*/ 97 h 240"/>
                <a:gd name="T20" fmla="*/ 215 w 276"/>
                <a:gd name="T21" fmla="*/ 114 h 240"/>
                <a:gd name="T22" fmla="*/ 227 w 276"/>
                <a:gd name="T23" fmla="*/ 137 h 240"/>
                <a:gd name="T24" fmla="*/ 268 w 276"/>
                <a:gd name="T25" fmla="*/ 141 h 240"/>
                <a:gd name="T26" fmla="*/ 276 w 276"/>
                <a:gd name="T27" fmla="*/ 153 h 240"/>
                <a:gd name="T28" fmla="*/ 225 w 276"/>
                <a:gd name="T29" fmla="*/ 194 h 240"/>
                <a:gd name="T30" fmla="*/ 153 w 276"/>
                <a:gd name="T31" fmla="*/ 240 h 240"/>
                <a:gd name="T32" fmla="*/ 151 w 276"/>
                <a:gd name="T33" fmla="*/ 226 h 240"/>
                <a:gd name="T34" fmla="*/ 114 w 276"/>
                <a:gd name="T35" fmla="*/ 220 h 240"/>
                <a:gd name="T36" fmla="*/ 104 w 276"/>
                <a:gd name="T37" fmla="*/ 229 h 240"/>
                <a:gd name="T38" fmla="*/ 90 w 276"/>
                <a:gd name="T39" fmla="*/ 208 h 240"/>
                <a:gd name="T40" fmla="*/ 80 w 276"/>
                <a:gd name="T41" fmla="*/ 187 h 240"/>
                <a:gd name="T42" fmla="*/ 59 w 276"/>
                <a:gd name="T43" fmla="*/ 171 h 240"/>
                <a:gd name="T44" fmla="*/ 56 w 276"/>
                <a:gd name="T45" fmla="*/ 146 h 240"/>
                <a:gd name="T46" fmla="*/ 40 w 276"/>
                <a:gd name="T47" fmla="*/ 120 h 240"/>
                <a:gd name="T48" fmla="*/ 35 w 276"/>
                <a:gd name="T49" fmla="*/ 119 h 240"/>
                <a:gd name="T50" fmla="*/ 6 w 276"/>
                <a:gd name="T51" fmla="*/ 66 h 240"/>
                <a:gd name="T52" fmla="*/ 3 w 276"/>
                <a:gd name="T53" fmla="*/ 43 h 240"/>
                <a:gd name="T54" fmla="*/ 4 w 276"/>
                <a:gd name="T55" fmla="*/ 46 h 240"/>
                <a:gd name="T56" fmla="*/ 25 w 276"/>
                <a:gd name="T57" fmla="*/ 37 h 240"/>
                <a:gd name="T58" fmla="*/ 37 w 276"/>
                <a:gd name="T59" fmla="*/ 30 h 240"/>
                <a:gd name="T60" fmla="*/ 28 w 276"/>
                <a:gd name="T61" fmla="*/ 12 h 240"/>
                <a:gd name="T62" fmla="*/ 30 w 276"/>
                <a:gd name="T63" fmla="*/ 11 h 240"/>
                <a:gd name="T64" fmla="*/ 56 w 276"/>
                <a:gd name="T65" fmla="*/ 2 h 240"/>
                <a:gd name="T66" fmla="*/ 58 w 276"/>
                <a:gd name="T6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240">
                  <a:moveTo>
                    <a:pt x="58" y="0"/>
                  </a:moveTo>
                  <a:lnTo>
                    <a:pt x="77" y="8"/>
                  </a:lnTo>
                  <a:lnTo>
                    <a:pt x="93" y="18"/>
                  </a:lnTo>
                  <a:lnTo>
                    <a:pt x="107" y="23"/>
                  </a:lnTo>
                  <a:lnTo>
                    <a:pt x="110" y="28"/>
                  </a:lnTo>
                  <a:lnTo>
                    <a:pt x="116" y="30"/>
                  </a:lnTo>
                  <a:lnTo>
                    <a:pt x="117" y="30"/>
                  </a:lnTo>
                  <a:lnTo>
                    <a:pt x="118" y="40"/>
                  </a:lnTo>
                  <a:lnTo>
                    <a:pt x="133" y="46"/>
                  </a:lnTo>
                  <a:lnTo>
                    <a:pt x="142" y="54"/>
                  </a:lnTo>
                  <a:lnTo>
                    <a:pt x="156" y="48"/>
                  </a:lnTo>
                  <a:lnTo>
                    <a:pt x="166" y="51"/>
                  </a:lnTo>
                  <a:lnTo>
                    <a:pt x="170" y="57"/>
                  </a:lnTo>
                  <a:lnTo>
                    <a:pt x="179" y="57"/>
                  </a:lnTo>
                  <a:lnTo>
                    <a:pt x="184" y="67"/>
                  </a:lnTo>
                  <a:lnTo>
                    <a:pt x="191" y="73"/>
                  </a:lnTo>
                  <a:lnTo>
                    <a:pt x="193" y="77"/>
                  </a:lnTo>
                  <a:lnTo>
                    <a:pt x="201" y="83"/>
                  </a:lnTo>
                  <a:lnTo>
                    <a:pt x="203" y="91"/>
                  </a:lnTo>
                  <a:lnTo>
                    <a:pt x="201" y="97"/>
                  </a:lnTo>
                  <a:lnTo>
                    <a:pt x="210" y="111"/>
                  </a:lnTo>
                  <a:lnTo>
                    <a:pt x="215" y="114"/>
                  </a:lnTo>
                  <a:lnTo>
                    <a:pt x="222" y="126"/>
                  </a:lnTo>
                  <a:lnTo>
                    <a:pt x="227" y="137"/>
                  </a:lnTo>
                  <a:lnTo>
                    <a:pt x="265" y="143"/>
                  </a:lnTo>
                  <a:lnTo>
                    <a:pt x="268" y="141"/>
                  </a:lnTo>
                  <a:lnTo>
                    <a:pt x="276" y="151"/>
                  </a:lnTo>
                  <a:lnTo>
                    <a:pt x="276" y="153"/>
                  </a:lnTo>
                  <a:lnTo>
                    <a:pt x="265" y="180"/>
                  </a:lnTo>
                  <a:lnTo>
                    <a:pt x="225" y="194"/>
                  </a:lnTo>
                  <a:lnTo>
                    <a:pt x="185" y="203"/>
                  </a:lnTo>
                  <a:lnTo>
                    <a:pt x="153" y="240"/>
                  </a:lnTo>
                  <a:lnTo>
                    <a:pt x="151" y="240"/>
                  </a:lnTo>
                  <a:lnTo>
                    <a:pt x="151" y="226"/>
                  </a:lnTo>
                  <a:lnTo>
                    <a:pt x="127" y="217"/>
                  </a:lnTo>
                  <a:lnTo>
                    <a:pt x="114" y="220"/>
                  </a:lnTo>
                  <a:lnTo>
                    <a:pt x="104" y="230"/>
                  </a:lnTo>
                  <a:lnTo>
                    <a:pt x="104" y="229"/>
                  </a:lnTo>
                  <a:lnTo>
                    <a:pt x="98" y="214"/>
                  </a:lnTo>
                  <a:lnTo>
                    <a:pt x="90" y="208"/>
                  </a:lnTo>
                  <a:lnTo>
                    <a:pt x="83" y="197"/>
                  </a:lnTo>
                  <a:lnTo>
                    <a:pt x="80" y="187"/>
                  </a:lnTo>
                  <a:lnTo>
                    <a:pt x="73" y="180"/>
                  </a:lnTo>
                  <a:lnTo>
                    <a:pt x="59" y="171"/>
                  </a:lnTo>
                  <a:lnTo>
                    <a:pt x="55" y="153"/>
                  </a:lnTo>
                  <a:lnTo>
                    <a:pt x="56" y="146"/>
                  </a:lnTo>
                  <a:lnTo>
                    <a:pt x="47" y="126"/>
                  </a:lnTo>
                  <a:lnTo>
                    <a:pt x="40" y="120"/>
                  </a:lnTo>
                  <a:lnTo>
                    <a:pt x="35" y="120"/>
                  </a:lnTo>
                  <a:lnTo>
                    <a:pt x="35" y="119"/>
                  </a:lnTo>
                  <a:lnTo>
                    <a:pt x="30" y="103"/>
                  </a:lnTo>
                  <a:lnTo>
                    <a:pt x="6" y="66"/>
                  </a:lnTo>
                  <a:lnTo>
                    <a:pt x="0" y="64"/>
                  </a:lnTo>
                  <a:lnTo>
                    <a:pt x="3" y="43"/>
                  </a:lnTo>
                  <a:lnTo>
                    <a:pt x="4" y="43"/>
                  </a:lnTo>
                  <a:lnTo>
                    <a:pt x="4" y="46"/>
                  </a:lnTo>
                  <a:lnTo>
                    <a:pt x="18" y="48"/>
                  </a:lnTo>
                  <a:lnTo>
                    <a:pt x="25" y="37"/>
                  </a:lnTo>
                  <a:lnTo>
                    <a:pt x="35" y="34"/>
                  </a:lnTo>
                  <a:lnTo>
                    <a:pt x="37" y="30"/>
                  </a:lnTo>
                  <a:lnTo>
                    <a:pt x="41" y="27"/>
                  </a:lnTo>
                  <a:lnTo>
                    <a:pt x="28" y="12"/>
                  </a:lnTo>
                  <a:lnTo>
                    <a:pt x="28" y="11"/>
                  </a:lnTo>
                  <a:lnTo>
                    <a:pt x="30" y="11"/>
                  </a:lnTo>
                  <a:lnTo>
                    <a:pt x="53" y="6"/>
                  </a:lnTo>
                  <a:lnTo>
                    <a:pt x="56" y="2"/>
                  </a:lnTo>
                  <a:lnTo>
                    <a:pt x="58" y="2"/>
                  </a:lnTo>
                  <a:lnTo>
                    <a:pt x="5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0" name="Syria">
              <a:extLst>
                <a:ext uri="{FF2B5EF4-FFF2-40B4-BE49-F238E27FC236}">
                  <a16:creationId xmlns:a16="http://schemas.microsoft.com/office/drawing/2014/main" id="{A6219D05-4968-2048-207E-44364CC980A8}"/>
                </a:ext>
              </a:extLst>
            </p:cNvPr>
            <p:cNvSpPr>
              <a:spLocks/>
            </p:cNvSpPr>
            <p:nvPr/>
          </p:nvSpPr>
          <p:spPr bwMode="auto">
            <a:xfrm>
              <a:off x="6662514" y="3640505"/>
              <a:ext cx="169864" cy="148179"/>
            </a:xfrm>
            <a:custGeom>
              <a:avLst/>
              <a:gdLst>
                <a:gd name="T0" fmla="*/ 88 w 94"/>
                <a:gd name="T1" fmla="*/ 0 h 82"/>
                <a:gd name="T2" fmla="*/ 89 w 94"/>
                <a:gd name="T3" fmla="*/ 0 h 82"/>
                <a:gd name="T4" fmla="*/ 92 w 94"/>
                <a:gd name="T5" fmla="*/ 2 h 82"/>
                <a:gd name="T6" fmla="*/ 94 w 94"/>
                <a:gd name="T7" fmla="*/ 2 h 82"/>
                <a:gd name="T8" fmla="*/ 94 w 94"/>
                <a:gd name="T9" fmla="*/ 3 h 82"/>
                <a:gd name="T10" fmla="*/ 85 w 94"/>
                <a:gd name="T11" fmla="*/ 12 h 82"/>
                <a:gd name="T12" fmla="*/ 77 w 94"/>
                <a:gd name="T13" fmla="*/ 15 h 82"/>
                <a:gd name="T14" fmla="*/ 76 w 94"/>
                <a:gd name="T15" fmla="*/ 40 h 82"/>
                <a:gd name="T16" fmla="*/ 74 w 94"/>
                <a:gd name="T17" fmla="*/ 46 h 82"/>
                <a:gd name="T18" fmla="*/ 74 w 94"/>
                <a:gd name="T19" fmla="*/ 48 h 82"/>
                <a:gd name="T20" fmla="*/ 43 w 94"/>
                <a:gd name="T21" fmla="*/ 65 h 82"/>
                <a:gd name="T22" fmla="*/ 14 w 94"/>
                <a:gd name="T23" fmla="*/ 82 h 82"/>
                <a:gd name="T24" fmla="*/ 3 w 94"/>
                <a:gd name="T25" fmla="*/ 74 h 82"/>
                <a:gd name="T26" fmla="*/ 0 w 94"/>
                <a:gd name="T27" fmla="*/ 76 h 82"/>
                <a:gd name="T28" fmla="*/ 0 w 94"/>
                <a:gd name="T29" fmla="*/ 65 h 82"/>
                <a:gd name="T30" fmla="*/ 8 w 94"/>
                <a:gd name="T31" fmla="*/ 61 h 82"/>
                <a:gd name="T32" fmla="*/ 8 w 94"/>
                <a:gd name="T33" fmla="*/ 57 h 82"/>
                <a:gd name="T34" fmla="*/ 11 w 94"/>
                <a:gd name="T35" fmla="*/ 55 h 82"/>
                <a:gd name="T36" fmla="*/ 11 w 94"/>
                <a:gd name="T37" fmla="*/ 54 h 82"/>
                <a:gd name="T38" fmla="*/ 15 w 94"/>
                <a:gd name="T39" fmla="*/ 51 h 82"/>
                <a:gd name="T40" fmla="*/ 12 w 94"/>
                <a:gd name="T41" fmla="*/ 46 h 82"/>
                <a:gd name="T42" fmla="*/ 12 w 94"/>
                <a:gd name="T43" fmla="*/ 43 h 82"/>
                <a:gd name="T44" fmla="*/ 6 w 94"/>
                <a:gd name="T45" fmla="*/ 43 h 82"/>
                <a:gd name="T46" fmla="*/ 6 w 94"/>
                <a:gd name="T47" fmla="*/ 21 h 82"/>
                <a:gd name="T48" fmla="*/ 9 w 94"/>
                <a:gd name="T49" fmla="*/ 24 h 82"/>
                <a:gd name="T50" fmla="*/ 12 w 94"/>
                <a:gd name="T51" fmla="*/ 18 h 82"/>
                <a:gd name="T52" fmla="*/ 15 w 94"/>
                <a:gd name="T53" fmla="*/ 18 h 82"/>
                <a:gd name="T54" fmla="*/ 14 w 94"/>
                <a:gd name="T55" fmla="*/ 15 h 82"/>
                <a:gd name="T56" fmla="*/ 14 w 94"/>
                <a:gd name="T57" fmla="*/ 14 h 82"/>
                <a:gd name="T58" fmla="*/ 15 w 94"/>
                <a:gd name="T59" fmla="*/ 8 h 82"/>
                <a:gd name="T60" fmla="*/ 17 w 94"/>
                <a:gd name="T61" fmla="*/ 8 h 82"/>
                <a:gd name="T62" fmla="*/ 27 w 94"/>
                <a:gd name="T63" fmla="*/ 11 h 82"/>
                <a:gd name="T64" fmla="*/ 39 w 94"/>
                <a:gd name="T65" fmla="*/ 6 h 82"/>
                <a:gd name="T66" fmla="*/ 49 w 94"/>
                <a:gd name="T67" fmla="*/ 11 h 82"/>
                <a:gd name="T68" fmla="*/ 68 w 94"/>
                <a:gd name="T69" fmla="*/ 2 h 82"/>
                <a:gd name="T70" fmla="*/ 83 w 94"/>
                <a:gd name="T71" fmla="*/ 3 h 82"/>
                <a:gd name="T72" fmla="*/ 88 w 94"/>
                <a:gd name="T7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82">
                  <a:moveTo>
                    <a:pt x="88" y="0"/>
                  </a:moveTo>
                  <a:lnTo>
                    <a:pt x="89" y="0"/>
                  </a:lnTo>
                  <a:lnTo>
                    <a:pt x="92" y="2"/>
                  </a:lnTo>
                  <a:lnTo>
                    <a:pt x="94" y="2"/>
                  </a:lnTo>
                  <a:lnTo>
                    <a:pt x="94" y="3"/>
                  </a:lnTo>
                  <a:lnTo>
                    <a:pt x="85" y="12"/>
                  </a:lnTo>
                  <a:lnTo>
                    <a:pt x="77" y="15"/>
                  </a:lnTo>
                  <a:lnTo>
                    <a:pt x="76" y="40"/>
                  </a:lnTo>
                  <a:lnTo>
                    <a:pt x="74" y="46"/>
                  </a:lnTo>
                  <a:lnTo>
                    <a:pt x="74" y="48"/>
                  </a:lnTo>
                  <a:lnTo>
                    <a:pt x="43" y="65"/>
                  </a:lnTo>
                  <a:lnTo>
                    <a:pt x="14" y="82"/>
                  </a:lnTo>
                  <a:lnTo>
                    <a:pt x="3" y="74"/>
                  </a:lnTo>
                  <a:lnTo>
                    <a:pt x="0" y="76"/>
                  </a:lnTo>
                  <a:lnTo>
                    <a:pt x="0" y="65"/>
                  </a:lnTo>
                  <a:lnTo>
                    <a:pt x="8" y="61"/>
                  </a:lnTo>
                  <a:lnTo>
                    <a:pt x="8" y="57"/>
                  </a:lnTo>
                  <a:lnTo>
                    <a:pt x="11" y="55"/>
                  </a:lnTo>
                  <a:lnTo>
                    <a:pt x="11" y="54"/>
                  </a:lnTo>
                  <a:lnTo>
                    <a:pt x="15" y="51"/>
                  </a:lnTo>
                  <a:lnTo>
                    <a:pt x="12" y="46"/>
                  </a:lnTo>
                  <a:lnTo>
                    <a:pt x="12" y="43"/>
                  </a:lnTo>
                  <a:lnTo>
                    <a:pt x="6" y="43"/>
                  </a:lnTo>
                  <a:lnTo>
                    <a:pt x="6" y="21"/>
                  </a:lnTo>
                  <a:lnTo>
                    <a:pt x="9" y="24"/>
                  </a:lnTo>
                  <a:lnTo>
                    <a:pt x="12" y="18"/>
                  </a:lnTo>
                  <a:lnTo>
                    <a:pt x="15" y="18"/>
                  </a:lnTo>
                  <a:lnTo>
                    <a:pt x="14" y="15"/>
                  </a:lnTo>
                  <a:lnTo>
                    <a:pt x="14" y="14"/>
                  </a:lnTo>
                  <a:lnTo>
                    <a:pt x="15" y="8"/>
                  </a:lnTo>
                  <a:lnTo>
                    <a:pt x="17" y="8"/>
                  </a:lnTo>
                  <a:lnTo>
                    <a:pt x="27" y="11"/>
                  </a:lnTo>
                  <a:lnTo>
                    <a:pt x="39" y="6"/>
                  </a:lnTo>
                  <a:lnTo>
                    <a:pt x="49" y="11"/>
                  </a:lnTo>
                  <a:lnTo>
                    <a:pt x="68" y="2"/>
                  </a:lnTo>
                  <a:lnTo>
                    <a:pt x="83" y="3"/>
                  </a:lnTo>
                  <a:lnTo>
                    <a:pt x="8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1" name="United Arab Emirates">
              <a:extLst>
                <a:ext uri="{FF2B5EF4-FFF2-40B4-BE49-F238E27FC236}">
                  <a16:creationId xmlns:a16="http://schemas.microsoft.com/office/drawing/2014/main" id="{82967414-91DA-F731-46E8-7F525996A280}"/>
                </a:ext>
              </a:extLst>
            </p:cNvPr>
            <p:cNvSpPr>
              <a:spLocks/>
            </p:cNvSpPr>
            <p:nvPr/>
          </p:nvSpPr>
          <p:spPr bwMode="auto">
            <a:xfrm>
              <a:off x="7029347" y="3954935"/>
              <a:ext cx="126495" cy="93967"/>
            </a:xfrm>
            <a:custGeom>
              <a:avLst/>
              <a:gdLst>
                <a:gd name="T0" fmla="*/ 66 w 70"/>
                <a:gd name="T1" fmla="*/ 0 h 52"/>
                <a:gd name="T2" fmla="*/ 67 w 70"/>
                <a:gd name="T3" fmla="*/ 0 h 52"/>
                <a:gd name="T4" fmla="*/ 67 w 70"/>
                <a:gd name="T5" fmla="*/ 4 h 52"/>
                <a:gd name="T6" fmla="*/ 69 w 70"/>
                <a:gd name="T7" fmla="*/ 6 h 52"/>
                <a:gd name="T8" fmla="*/ 70 w 70"/>
                <a:gd name="T9" fmla="*/ 16 h 52"/>
                <a:gd name="T10" fmla="*/ 70 w 70"/>
                <a:gd name="T11" fmla="*/ 17 h 52"/>
                <a:gd name="T12" fmla="*/ 63 w 70"/>
                <a:gd name="T13" fmla="*/ 17 h 52"/>
                <a:gd name="T14" fmla="*/ 66 w 70"/>
                <a:gd name="T15" fmla="*/ 28 h 52"/>
                <a:gd name="T16" fmla="*/ 58 w 70"/>
                <a:gd name="T17" fmla="*/ 31 h 52"/>
                <a:gd name="T18" fmla="*/ 55 w 70"/>
                <a:gd name="T19" fmla="*/ 47 h 52"/>
                <a:gd name="T20" fmla="*/ 52 w 70"/>
                <a:gd name="T21" fmla="*/ 50 h 52"/>
                <a:gd name="T22" fmla="*/ 52 w 70"/>
                <a:gd name="T23" fmla="*/ 52 h 52"/>
                <a:gd name="T24" fmla="*/ 12 w 70"/>
                <a:gd name="T25" fmla="*/ 44 h 52"/>
                <a:gd name="T26" fmla="*/ 8 w 70"/>
                <a:gd name="T27" fmla="*/ 32 h 52"/>
                <a:gd name="T28" fmla="*/ 0 w 70"/>
                <a:gd name="T29" fmla="*/ 22 h 52"/>
                <a:gd name="T30" fmla="*/ 0 w 70"/>
                <a:gd name="T31" fmla="*/ 20 h 52"/>
                <a:gd name="T32" fmla="*/ 5 w 70"/>
                <a:gd name="T33" fmla="*/ 19 h 52"/>
                <a:gd name="T34" fmla="*/ 6 w 70"/>
                <a:gd name="T35" fmla="*/ 19 h 52"/>
                <a:gd name="T36" fmla="*/ 6 w 70"/>
                <a:gd name="T37" fmla="*/ 25 h 52"/>
                <a:gd name="T38" fmla="*/ 9 w 70"/>
                <a:gd name="T39" fmla="*/ 25 h 52"/>
                <a:gd name="T40" fmla="*/ 11 w 70"/>
                <a:gd name="T41" fmla="*/ 28 h 52"/>
                <a:gd name="T42" fmla="*/ 17 w 70"/>
                <a:gd name="T43" fmla="*/ 28 h 52"/>
                <a:gd name="T44" fmla="*/ 21 w 70"/>
                <a:gd name="T45" fmla="*/ 25 h 52"/>
                <a:gd name="T46" fmla="*/ 39 w 70"/>
                <a:gd name="T47" fmla="*/ 26 h 52"/>
                <a:gd name="T48" fmla="*/ 43 w 70"/>
                <a:gd name="T49" fmla="*/ 25 h 52"/>
                <a:gd name="T50" fmla="*/ 43 w 70"/>
                <a:gd name="T51" fmla="*/ 22 h 52"/>
                <a:gd name="T52" fmla="*/ 66 w 70"/>
                <a:gd name="T5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52">
                  <a:moveTo>
                    <a:pt x="66" y="0"/>
                  </a:moveTo>
                  <a:lnTo>
                    <a:pt x="67" y="0"/>
                  </a:lnTo>
                  <a:lnTo>
                    <a:pt x="67" y="4"/>
                  </a:lnTo>
                  <a:lnTo>
                    <a:pt x="69" y="6"/>
                  </a:lnTo>
                  <a:lnTo>
                    <a:pt x="70" y="16"/>
                  </a:lnTo>
                  <a:lnTo>
                    <a:pt x="70" y="17"/>
                  </a:lnTo>
                  <a:lnTo>
                    <a:pt x="63" y="17"/>
                  </a:lnTo>
                  <a:lnTo>
                    <a:pt x="66" y="28"/>
                  </a:lnTo>
                  <a:lnTo>
                    <a:pt x="58" y="31"/>
                  </a:lnTo>
                  <a:lnTo>
                    <a:pt x="55" y="47"/>
                  </a:lnTo>
                  <a:lnTo>
                    <a:pt x="52" y="50"/>
                  </a:lnTo>
                  <a:lnTo>
                    <a:pt x="52" y="52"/>
                  </a:lnTo>
                  <a:lnTo>
                    <a:pt x="12" y="44"/>
                  </a:lnTo>
                  <a:lnTo>
                    <a:pt x="8" y="32"/>
                  </a:lnTo>
                  <a:lnTo>
                    <a:pt x="0" y="22"/>
                  </a:lnTo>
                  <a:lnTo>
                    <a:pt x="0" y="20"/>
                  </a:lnTo>
                  <a:lnTo>
                    <a:pt x="5" y="19"/>
                  </a:lnTo>
                  <a:lnTo>
                    <a:pt x="6" y="19"/>
                  </a:lnTo>
                  <a:lnTo>
                    <a:pt x="6" y="25"/>
                  </a:lnTo>
                  <a:lnTo>
                    <a:pt x="9" y="25"/>
                  </a:lnTo>
                  <a:lnTo>
                    <a:pt x="11" y="28"/>
                  </a:lnTo>
                  <a:lnTo>
                    <a:pt x="17" y="28"/>
                  </a:lnTo>
                  <a:lnTo>
                    <a:pt x="21" y="25"/>
                  </a:lnTo>
                  <a:lnTo>
                    <a:pt x="39" y="26"/>
                  </a:lnTo>
                  <a:lnTo>
                    <a:pt x="43" y="25"/>
                  </a:lnTo>
                  <a:lnTo>
                    <a:pt x="43" y="22"/>
                  </a:lnTo>
                  <a:lnTo>
                    <a:pt x="6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2" name="Yemen">
              <a:extLst>
                <a:ext uri="{FF2B5EF4-FFF2-40B4-BE49-F238E27FC236}">
                  <a16:creationId xmlns:a16="http://schemas.microsoft.com/office/drawing/2014/main" id="{094D507D-B005-A4C8-0D59-C60BF2B97F97}"/>
                </a:ext>
              </a:extLst>
            </p:cNvPr>
            <p:cNvSpPr>
              <a:spLocks/>
            </p:cNvSpPr>
            <p:nvPr/>
          </p:nvSpPr>
          <p:spPr bwMode="auto">
            <a:xfrm>
              <a:off x="6828764" y="4133834"/>
              <a:ext cx="249374" cy="155407"/>
            </a:xfrm>
            <a:custGeom>
              <a:avLst/>
              <a:gdLst>
                <a:gd name="T0" fmla="*/ 123 w 138"/>
                <a:gd name="T1" fmla="*/ 0 h 86"/>
                <a:gd name="T2" fmla="*/ 125 w 138"/>
                <a:gd name="T3" fmla="*/ 0 h 86"/>
                <a:gd name="T4" fmla="*/ 138 w 138"/>
                <a:gd name="T5" fmla="*/ 33 h 86"/>
                <a:gd name="T6" fmla="*/ 129 w 138"/>
                <a:gd name="T7" fmla="*/ 39 h 86"/>
                <a:gd name="T8" fmla="*/ 128 w 138"/>
                <a:gd name="T9" fmla="*/ 46 h 86"/>
                <a:gd name="T10" fmla="*/ 128 w 138"/>
                <a:gd name="T11" fmla="*/ 47 h 86"/>
                <a:gd name="T12" fmla="*/ 92 w 138"/>
                <a:gd name="T13" fmla="*/ 59 h 86"/>
                <a:gd name="T14" fmla="*/ 86 w 138"/>
                <a:gd name="T15" fmla="*/ 62 h 86"/>
                <a:gd name="T16" fmla="*/ 82 w 138"/>
                <a:gd name="T17" fmla="*/ 67 h 86"/>
                <a:gd name="T18" fmla="*/ 70 w 138"/>
                <a:gd name="T19" fmla="*/ 70 h 86"/>
                <a:gd name="T20" fmla="*/ 56 w 138"/>
                <a:gd name="T21" fmla="*/ 77 h 86"/>
                <a:gd name="T22" fmla="*/ 43 w 138"/>
                <a:gd name="T23" fmla="*/ 77 h 86"/>
                <a:gd name="T24" fmla="*/ 31 w 138"/>
                <a:gd name="T25" fmla="*/ 86 h 86"/>
                <a:gd name="T26" fmla="*/ 12 w 138"/>
                <a:gd name="T27" fmla="*/ 86 h 86"/>
                <a:gd name="T28" fmla="*/ 9 w 138"/>
                <a:gd name="T29" fmla="*/ 79 h 86"/>
                <a:gd name="T30" fmla="*/ 3 w 138"/>
                <a:gd name="T31" fmla="*/ 53 h 86"/>
                <a:gd name="T32" fmla="*/ 0 w 138"/>
                <a:gd name="T33" fmla="*/ 50 h 86"/>
                <a:gd name="T34" fmla="*/ 3 w 138"/>
                <a:gd name="T35" fmla="*/ 42 h 86"/>
                <a:gd name="T36" fmla="*/ 2 w 138"/>
                <a:gd name="T37" fmla="*/ 36 h 86"/>
                <a:gd name="T38" fmla="*/ 12 w 138"/>
                <a:gd name="T39" fmla="*/ 27 h 86"/>
                <a:gd name="T40" fmla="*/ 25 w 138"/>
                <a:gd name="T41" fmla="*/ 22 h 86"/>
                <a:gd name="T42" fmla="*/ 49 w 138"/>
                <a:gd name="T43" fmla="*/ 31 h 86"/>
                <a:gd name="T44" fmla="*/ 51 w 138"/>
                <a:gd name="T45" fmla="*/ 31 h 86"/>
                <a:gd name="T46" fmla="*/ 51 w 138"/>
                <a:gd name="T47" fmla="*/ 44 h 86"/>
                <a:gd name="T48" fmla="*/ 82 w 138"/>
                <a:gd name="T49" fmla="*/ 9 h 86"/>
                <a:gd name="T50" fmla="*/ 123 w 138"/>
                <a:gd name="T5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8" h="86">
                  <a:moveTo>
                    <a:pt x="123" y="0"/>
                  </a:moveTo>
                  <a:lnTo>
                    <a:pt x="125" y="0"/>
                  </a:lnTo>
                  <a:lnTo>
                    <a:pt x="138" y="33"/>
                  </a:lnTo>
                  <a:lnTo>
                    <a:pt x="129" y="39"/>
                  </a:lnTo>
                  <a:lnTo>
                    <a:pt x="128" y="46"/>
                  </a:lnTo>
                  <a:lnTo>
                    <a:pt x="128" y="47"/>
                  </a:lnTo>
                  <a:lnTo>
                    <a:pt x="92" y="59"/>
                  </a:lnTo>
                  <a:lnTo>
                    <a:pt x="86" y="62"/>
                  </a:lnTo>
                  <a:lnTo>
                    <a:pt x="82" y="67"/>
                  </a:lnTo>
                  <a:lnTo>
                    <a:pt x="70" y="70"/>
                  </a:lnTo>
                  <a:lnTo>
                    <a:pt x="56" y="77"/>
                  </a:lnTo>
                  <a:lnTo>
                    <a:pt x="43" y="77"/>
                  </a:lnTo>
                  <a:lnTo>
                    <a:pt x="31" y="86"/>
                  </a:lnTo>
                  <a:lnTo>
                    <a:pt x="12" y="86"/>
                  </a:lnTo>
                  <a:lnTo>
                    <a:pt x="9" y="79"/>
                  </a:lnTo>
                  <a:lnTo>
                    <a:pt x="3" y="53"/>
                  </a:lnTo>
                  <a:lnTo>
                    <a:pt x="0" y="50"/>
                  </a:lnTo>
                  <a:lnTo>
                    <a:pt x="3" y="42"/>
                  </a:lnTo>
                  <a:lnTo>
                    <a:pt x="2" y="36"/>
                  </a:lnTo>
                  <a:lnTo>
                    <a:pt x="12" y="27"/>
                  </a:lnTo>
                  <a:lnTo>
                    <a:pt x="25" y="22"/>
                  </a:lnTo>
                  <a:lnTo>
                    <a:pt x="49" y="31"/>
                  </a:lnTo>
                  <a:lnTo>
                    <a:pt x="51" y="31"/>
                  </a:lnTo>
                  <a:lnTo>
                    <a:pt x="51" y="44"/>
                  </a:lnTo>
                  <a:lnTo>
                    <a:pt x="82" y="9"/>
                  </a:lnTo>
                  <a:lnTo>
                    <a:pt x="12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3" name="Iran">
              <a:extLst>
                <a:ext uri="{FF2B5EF4-FFF2-40B4-BE49-F238E27FC236}">
                  <a16:creationId xmlns:a16="http://schemas.microsoft.com/office/drawing/2014/main" id="{01902083-68B2-D640-BF8D-AA8BAD3E49B0}"/>
                </a:ext>
              </a:extLst>
            </p:cNvPr>
            <p:cNvSpPr>
              <a:spLocks/>
            </p:cNvSpPr>
            <p:nvPr/>
          </p:nvSpPr>
          <p:spPr bwMode="auto">
            <a:xfrm>
              <a:off x="6866711" y="3562803"/>
              <a:ext cx="451766" cy="415624"/>
            </a:xfrm>
            <a:custGeom>
              <a:avLst/>
              <a:gdLst>
                <a:gd name="T0" fmla="*/ 7 w 250"/>
                <a:gd name="T1" fmla="*/ 0 h 230"/>
                <a:gd name="T2" fmla="*/ 9 w 250"/>
                <a:gd name="T3" fmla="*/ 3 h 230"/>
                <a:gd name="T4" fmla="*/ 34 w 250"/>
                <a:gd name="T5" fmla="*/ 17 h 230"/>
                <a:gd name="T6" fmla="*/ 49 w 250"/>
                <a:gd name="T7" fmla="*/ 5 h 230"/>
                <a:gd name="T8" fmla="*/ 56 w 250"/>
                <a:gd name="T9" fmla="*/ 15 h 230"/>
                <a:gd name="T10" fmla="*/ 52 w 250"/>
                <a:gd name="T11" fmla="*/ 18 h 230"/>
                <a:gd name="T12" fmla="*/ 64 w 250"/>
                <a:gd name="T13" fmla="*/ 24 h 230"/>
                <a:gd name="T14" fmla="*/ 78 w 250"/>
                <a:gd name="T15" fmla="*/ 42 h 230"/>
                <a:gd name="T16" fmla="*/ 99 w 250"/>
                <a:gd name="T17" fmla="*/ 55 h 230"/>
                <a:gd name="T18" fmla="*/ 129 w 250"/>
                <a:gd name="T19" fmla="*/ 49 h 230"/>
                <a:gd name="T20" fmla="*/ 127 w 250"/>
                <a:gd name="T21" fmla="*/ 40 h 230"/>
                <a:gd name="T22" fmla="*/ 136 w 250"/>
                <a:gd name="T23" fmla="*/ 39 h 230"/>
                <a:gd name="T24" fmla="*/ 151 w 250"/>
                <a:gd name="T25" fmla="*/ 30 h 230"/>
                <a:gd name="T26" fmla="*/ 167 w 250"/>
                <a:gd name="T27" fmla="*/ 25 h 230"/>
                <a:gd name="T28" fmla="*/ 175 w 250"/>
                <a:gd name="T29" fmla="*/ 31 h 230"/>
                <a:gd name="T30" fmla="*/ 199 w 250"/>
                <a:gd name="T31" fmla="*/ 39 h 230"/>
                <a:gd name="T32" fmla="*/ 216 w 250"/>
                <a:gd name="T33" fmla="*/ 55 h 230"/>
                <a:gd name="T34" fmla="*/ 225 w 250"/>
                <a:gd name="T35" fmla="*/ 68 h 230"/>
                <a:gd name="T36" fmla="*/ 219 w 250"/>
                <a:gd name="T37" fmla="*/ 92 h 230"/>
                <a:gd name="T38" fmla="*/ 215 w 250"/>
                <a:gd name="T39" fmla="*/ 101 h 230"/>
                <a:gd name="T40" fmla="*/ 215 w 250"/>
                <a:gd name="T41" fmla="*/ 114 h 230"/>
                <a:gd name="T42" fmla="*/ 225 w 250"/>
                <a:gd name="T43" fmla="*/ 134 h 230"/>
                <a:gd name="T44" fmla="*/ 231 w 250"/>
                <a:gd name="T45" fmla="*/ 141 h 230"/>
                <a:gd name="T46" fmla="*/ 221 w 250"/>
                <a:gd name="T47" fmla="*/ 162 h 230"/>
                <a:gd name="T48" fmla="*/ 244 w 250"/>
                <a:gd name="T49" fmla="*/ 186 h 230"/>
                <a:gd name="T50" fmla="*/ 250 w 250"/>
                <a:gd name="T51" fmla="*/ 200 h 230"/>
                <a:gd name="T52" fmla="*/ 247 w 250"/>
                <a:gd name="T53" fmla="*/ 208 h 230"/>
                <a:gd name="T54" fmla="*/ 233 w 250"/>
                <a:gd name="T55" fmla="*/ 217 h 230"/>
                <a:gd name="T56" fmla="*/ 228 w 250"/>
                <a:gd name="T57" fmla="*/ 230 h 230"/>
                <a:gd name="T58" fmla="*/ 167 w 250"/>
                <a:gd name="T59" fmla="*/ 205 h 230"/>
                <a:gd name="T60" fmla="*/ 138 w 250"/>
                <a:gd name="T61" fmla="*/ 211 h 230"/>
                <a:gd name="T62" fmla="*/ 123 w 250"/>
                <a:gd name="T63" fmla="*/ 208 h 230"/>
                <a:gd name="T64" fmla="*/ 113 w 250"/>
                <a:gd name="T65" fmla="*/ 202 h 230"/>
                <a:gd name="T66" fmla="*/ 96 w 250"/>
                <a:gd name="T67" fmla="*/ 191 h 230"/>
                <a:gd name="T68" fmla="*/ 95 w 250"/>
                <a:gd name="T69" fmla="*/ 190 h 230"/>
                <a:gd name="T70" fmla="*/ 84 w 250"/>
                <a:gd name="T71" fmla="*/ 172 h 230"/>
                <a:gd name="T72" fmla="*/ 71 w 250"/>
                <a:gd name="T73" fmla="*/ 160 h 230"/>
                <a:gd name="T74" fmla="*/ 59 w 250"/>
                <a:gd name="T75" fmla="*/ 159 h 230"/>
                <a:gd name="T76" fmla="*/ 49 w 250"/>
                <a:gd name="T77" fmla="*/ 146 h 230"/>
                <a:gd name="T78" fmla="*/ 44 w 250"/>
                <a:gd name="T79" fmla="*/ 144 h 230"/>
                <a:gd name="T80" fmla="*/ 46 w 250"/>
                <a:gd name="T81" fmla="*/ 131 h 230"/>
                <a:gd name="T82" fmla="*/ 25 w 250"/>
                <a:gd name="T83" fmla="*/ 111 h 230"/>
                <a:gd name="T84" fmla="*/ 19 w 250"/>
                <a:gd name="T85" fmla="*/ 88 h 230"/>
                <a:gd name="T86" fmla="*/ 25 w 250"/>
                <a:gd name="T87" fmla="*/ 73 h 230"/>
                <a:gd name="T88" fmla="*/ 18 w 250"/>
                <a:gd name="T89" fmla="*/ 64 h 230"/>
                <a:gd name="T90" fmla="*/ 9 w 250"/>
                <a:gd name="T91" fmla="*/ 40 h 230"/>
                <a:gd name="T92" fmla="*/ 1 w 250"/>
                <a:gd name="T93" fmla="*/ 36 h 230"/>
                <a:gd name="T94" fmla="*/ 0 w 250"/>
                <a:gd name="T95" fmla="*/ 9 h 230"/>
                <a:gd name="T96" fmla="*/ 6 w 250"/>
                <a:gd name="T97" fmla="*/ 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 h="230">
                  <a:moveTo>
                    <a:pt x="6" y="0"/>
                  </a:moveTo>
                  <a:lnTo>
                    <a:pt x="7" y="0"/>
                  </a:lnTo>
                  <a:lnTo>
                    <a:pt x="7" y="2"/>
                  </a:lnTo>
                  <a:lnTo>
                    <a:pt x="9" y="3"/>
                  </a:lnTo>
                  <a:lnTo>
                    <a:pt x="18" y="17"/>
                  </a:lnTo>
                  <a:lnTo>
                    <a:pt x="34" y="17"/>
                  </a:lnTo>
                  <a:lnTo>
                    <a:pt x="38" y="8"/>
                  </a:lnTo>
                  <a:lnTo>
                    <a:pt x="49" y="5"/>
                  </a:lnTo>
                  <a:lnTo>
                    <a:pt x="53" y="6"/>
                  </a:lnTo>
                  <a:lnTo>
                    <a:pt x="56" y="15"/>
                  </a:lnTo>
                  <a:lnTo>
                    <a:pt x="55" y="15"/>
                  </a:lnTo>
                  <a:lnTo>
                    <a:pt x="52" y="18"/>
                  </a:lnTo>
                  <a:lnTo>
                    <a:pt x="62" y="24"/>
                  </a:lnTo>
                  <a:lnTo>
                    <a:pt x="64" y="24"/>
                  </a:lnTo>
                  <a:lnTo>
                    <a:pt x="67" y="39"/>
                  </a:lnTo>
                  <a:lnTo>
                    <a:pt x="78" y="42"/>
                  </a:lnTo>
                  <a:lnTo>
                    <a:pt x="87" y="49"/>
                  </a:lnTo>
                  <a:lnTo>
                    <a:pt x="99" y="55"/>
                  </a:lnTo>
                  <a:lnTo>
                    <a:pt x="120" y="51"/>
                  </a:lnTo>
                  <a:lnTo>
                    <a:pt x="129" y="49"/>
                  </a:lnTo>
                  <a:lnTo>
                    <a:pt x="127" y="42"/>
                  </a:lnTo>
                  <a:lnTo>
                    <a:pt x="127" y="40"/>
                  </a:lnTo>
                  <a:lnTo>
                    <a:pt x="129" y="40"/>
                  </a:lnTo>
                  <a:lnTo>
                    <a:pt x="136" y="39"/>
                  </a:lnTo>
                  <a:lnTo>
                    <a:pt x="147" y="30"/>
                  </a:lnTo>
                  <a:lnTo>
                    <a:pt x="151" y="30"/>
                  </a:lnTo>
                  <a:lnTo>
                    <a:pt x="159" y="27"/>
                  </a:lnTo>
                  <a:lnTo>
                    <a:pt x="167" y="25"/>
                  </a:lnTo>
                  <a:lnTo>
                    <a:pt x="170" y="25"/>
                  </a:lnTo>
                  <a:lnTo>
                    <a:pt x="175" y="31"/>
                  </a:lnTo>
                  <a:lnTo>
                    <a:pt x="199" y="37"/>
                  </a:lnTo>
                  <a:lnTo>
                    <a:pt x="199" y="39"/>
                  </a:lnTo>
                  <a:lnTo>
                    <a:pt x="202" y="45"/>
                  </a:lnTo>
                  <a:lnTo>
                    <a:pt x="216" y="55"/>
                  </a:lnTo>
                  <a:lnTo>
                    <a:pt x="224" y="55"/>
                  </a:lnTo>
                  <a:lnTo>
                    <a:pt x="225" y="68"/>
                  </a:lnTo>
                  <a:lnTo>
                    <a:pt x="222" y="83"/>
                  </a:lnTo>
                  <a:lnTo>
                    <a:pt x="219" y="92"/>
                  </a:lnTo>
                  <a:lnTo>
                    <a:pt x="215" y="95"/>
                  </a:lnTo>
                  <a:lnTo>
                    <a:pt x="215" y="101"/>
                  </a:lnTo>
                  <a:lnTo>
                    <a:pt x="218" y="104"/>
                  </a:lnTo>
                  <a:lnTo>
                    <a:pt x="215" y="114"/>
                  </a:lnTo>
                  <a:lnTo>
                    <a:pt x="218" y="131"/>
                  </a:lnTo>
                  <a:lnTo>
                    <a:pt x="225" y="134"/>
                  </a:lnTo>
                  <a:lnTo>
                    <a:pt x="230" y="141"/>
                  </a:lnTo>
                  <a:lnTo>
                    <a:pt x="231" y="141"/>
                  </a:lnTo>
                  <a:lnTo>
                    <a:pt x="228" y="150"/>
                  </a:lnTo>
                  <a:lnTo>
                    <a:pt x="221" y="162"/>
                  </a:lnTo>
                  <a:lnTo>
                    <a:pt x="230" y="177"/>
                  </a:lnTo>
                  <a:lnTo>
                    <a:pt x="244" y="186"/>
                  </a:lnTo>
                  <a:lnTo>
                    <a:pt x="244" y="197"/>
                  </a:lnTo>
                  <a:lnTo>
                    <a:pt x="250" y="200"/>
                  </a:lnTo>
                  <a:lnTo>
                    <a:pt x="250" y="202"/>
                  </a:lnTo>
                  <a:lnTo>
                    <a:pt x="247" y="208"/>
                  </a:lnTo>
                  <a:lnTo>
                    <a:pt x="237" y="212"/>
                  </a:lnTo>
                  <a:lnTo>
                    <a:pt x="233" y="217"/>
                  </a:lnTo>
                  <a:lnTo>
                    <a:pt x="230" y="230"/>
                  </a:lnTo>
                  <a:lnTo>
                    <a:pt x="228" y="230"/>
                  </a:lnTo>
                  <a:lnTo>
                    <a:pt x="173" y="223"/>
                  </a:lnTo>
                  <a:lnTo>
                    <a:pt x="167" y="205"/>
                  </a:lnTo>
                  <a:lnTo>
                    <a:pt x="161" y="202"/>
                  </a:lnTo>
                  <a:lnTo>
                    <a:pt x="138" y="211"/>
                  </a:lnTo>
                  <a:lnTo>
                    <a:pt x="124" y="208"/>
                  </a:lnTo>
                  <a:lnTo>
                    <a:pt x="123" y="208"/>
                  </a:lnTo>
                  <a:lnTo>
                    <a:pt x="121" y="205"/>
                  </a:lnTo>
                  <a:lnTo>
                    <a:pt x="113" y="202"/>
                  </a:lnTo>
                  <a:lnTo>
                    <a:pt x="108" y="196"/>
                  </a:lnTo>
                  <a:lnTo>
                    <a:pt x="96" y="191"/>
                  </a:lnTo>
                  <a:lnTo>
                    <a:pt x="95" y="191"/>
                  </a:lnTo>
                  <a:lnTo>
                    <a:pt x="95" y="190"/>
                  </a:lnTo>
                  <a:lnTo>
                    <a:pt x="89" y="177"/>
                  </a:lnTo>
                  <a:lnTo>
                    <a:pt x="84" y="172"/>
                  </a:lnTo>
                  <a:lnTo>
                    <a:pt x="77" y="157"/>
                  </a:lnTo>
                  <a:lnTo>
                    <a:pt x="71" y="160"/>
                  </a:lnTo>
                  <a:lnTo>
                    <a:pt x="62" y="151"/>
                  </a:lnTo>
                  <a:lnTo>
                    <a:pt x="59" y="159"/>
                  </a:lnTo>
                  <a:lnTo>
                    <a:pt x="50" y="151"/>
                  </a:lnTo>
                  <a:lnTo>
                    <a:pt x="49" y="146"/>
                  </a:lnTo>
                  <a:lnTo>
                    <a:pt x="46" y="144"/>
                  </a:lnTo>
                  <a:lnTo>
                    <a:pt x="44" y="144"/>
                  </a:lnTo>
                  <a:lnTo>
                    <a:pt x="44" y="143"/>
                  </a:lnTo>
                  <a:lnTo>
                    <a:pt x="46" y="131"/>
                  </a:lnTo>
                  <a:lnTo>
                    <a:pt x="41" y="122"/>
                  </a:lnTo>
                  <a:lnTo>
                    <a:pt x="25" y="111"/>
                  </a:lnTo>
                  <a:lnTo>
                    <a:pt x="16" y="97"/>
                  </a:lnTo>
                  <a:lnTo>
                    <a:pt x="19" y="88"/>
                  </a:lnTo>
                  <a:lnTo>
                    <a:pt x="25" y="77"/>
                  </a:lnTo>
                  <a:lnTo>
                    <a:pt x="25" y="73"/>
                  </a:lnTo>
                  <a:lnTo>
                    <a:pt x="28" y="68"/>
                  </a:lnTo>
                  <a:lnTo>
                    <a:pt x="18" y="64"/>
                  </a:lnTo>
                  <a:lnTo>
                    <a:pt x="9" y="52"/>
                  </a:lnTo>
                  <a:lnTo>
                    <a:pt x="9" y="40"/>
                  </a:lnTo>
                  <a:lnTo>
                    <a:pt x="3" y="36"/>
                  </a:lnTo>
                  <a:lnTo>
                    <a:pt x="1" y="36"/>
                  </a:lnTo>
                  <a:lnTo>
                    <a:pt x="1" y="15"/>
                  </a:lnTo>
                  <a:lnTo>
                    <a:pt x="0" y="9"/>
                  </a:lnTo>
                  <a:lnTo>
                    <a:pt x="0" y="8"/>
                  </a:lnTo>
                  <a:lnTo>
                    <a:pt x="6" y="2"/>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4" name="Bangladesh">
              <a:extLst>
                <a:ext uri="{FF2B5EF4-FFF2-40B4-BE49-F238E27FC236}">
                  <a16:creationId xmlns:a16="http://schemas.microsoft.com/office/drawing/2014/main" id="{8D431881-64C8-942E-169B-0653B64845CE}"/>
                </a:ext>
              </a:extLst>
            </p:cNvPr>
            <p:cNvSpPr>
              <a:spLocks/>
            </p:cNvSpPr>
            <p:nvPr/>
          </p:nvSpPr>
          <p:spPr bwMode="auto">
            <a:xfrm>
              <a:off x="7898543" y="3940479"/>
              <a:ext cx="113845" cy="148179"/>
            </a:xfrm>
            <a:custGeom>
              <a:avLst/>
              <a:gdLst>
                <a:gd name="T0" fmla="*/ 7 w 63"/>
                <a:gd name="T1" fmla="*/ 0 h 82"/>
                <a:gd name="T2" fmla="*/ 8 w 63"/>
                <a:gd name="T3" fmla="*/ 0 h 82"/>
                <a:gd name="T4" fmla="*/ 11 w 63"/>
                <a:gd name="T5" fmla="*/ 6 h 82"/>
                <a:gd name="T6" fmla="*/ 14 w 63"/>
                <a:gd name="T7" fmla="*/ 2 h 82"/>
                <a:gd name="T8" fmla="*/ 17 w 63"/>
                <a:gd name="T9" fmla="*/ 8 h 82"/>
                <a:gd name="T10" fmla="*/ 20 w 63"/>
                <a:gd name="T11" fmla="*/ 8 h 82"/>
                <a:gd name="T12" fmla="*/ 20 w 63"/>
                <a:gd name="T13" fmla="*/ 5 h 82"/>
                <a:gd name="T14" fmla="*/ 22 w 63"/>
                <a:gd name="T15" fmla="*/ 5 h 82"/>
                <a:gd name="T16" fmla="*/ 25 w 63"/>
                <a:gd name="T17" fmla="*/ 15 h 82"/>
                <a:gd name="T18" fmla="*/ 29 w 63"/>
                <a:gd name="T19" fmla="*/ 18 h 82"/>
                <a:gd name="T20" fmla="*/ 57 w 63"/>
                <a:gd name="T21" fmla="*/ 21 h 82"/>
                <a:gd name="T22" fmla="*/ 57 w 63"/>
                <a:gd name="T23" fmla="*/ 22 h 82"/>
                <a:gd name="T24" fmla="*/ 43 w 63"/>
                <a:gd name="T25" fmla="*/ 39 h 82"/>
                <a:gd name="T26" fmla="*/ 46 w 63"/>
                <a:gd name="T27" fmla="*/ 46 h 82"/>
                <a:gd name="T28" fmla="*/ 49 w 63"/>
                <a:gd name="T29" fmla="*/ 49 h 82"/>
                <a:gd name="T30" fmla="*/ 56 w 63"/>
                <a:gd name="T31" fmla="*/ 40 h 82"/>
                <a:gd name="T32" fmla="*/ 57 w 63"/>
                <a:gd name="T33" fmla="*/ 40 h 82"/>
                <a:gd name="T34" fmla="*/ 63 w 63"/>
                <a:gd name="T35" fmla="*/ 67 h 82"/>
                <a:gd name="T36" fmla="*/ 63 w 63"/>
                <a:gd name="T37" fmla="*/ 76 h 82"/>
                <a:gd name="T38" fmla="*/ 59 w 63"/>
                <a:gd name="T39" fmla="*/ 76 h 82"/>
                <a:gd name="T40" fmla="*/ 59 w 63"/>
                <a:gd name="T41" fmla="*/ 82 h 82"/>
                <a:gd name="T42" fmla="*/ 57 w 63"/>
                <a:gd name="T43" fmla="*/ 82 h 82"/>
                <a:gd name="T44" fmla="*/ 57 w 63"/>
                <a:gd name="T45" fmla="*/ 80 h 82"/>
                <a:gd name="T46" fmla="*/ 51 w 63"/>
                <a:gd name="T47" fmla="*/ 63 h 82"/>
                <a:gd name="T48" fmla="*/ 49 w 63"/>
                <a:gd name="T49" fmla="*/ 57 h 82"/>
                <a:gd name="T50" fmla="*/ 41 w 63"/>
                <a:gd name="T51" fmla="*/ 57 h 82"/>
                <a:gd name="T52" fmla="*/ 38 w 63"/>
                <a:gd name="T53" fmla="*/ 54 h 82"/>
                <a:gd name="T54" fmla="*/ 35 w 63"/>
                <a:gd name="T55" fmla="*/ 57 h 82"/>
                <a:gd name="T56" fmla="*/ 35 w 63"/>
                <a:gd name="T57" fmla="*/ 63 h 82"/>
                <a:gd name="T58" fmla="*/ 32 w 63"/>
                <a:gd name="T59" fmla="*/ 68 h 82"/>
                <a:gd name="T60" fmla="*/ 31 w 63"/>
                <a:gd name="T61" fmla="*/ 68 h 82"/>
                <a:gd name="T62" fmla="*/ 28 w 63"/>
                <a:gd name="T63" fmla="*/ 65 h 82"/>
                <a:gd name="T64" fmla="*/ 25 w 63"/>
                <a:gd name="T65" fmla="*/ 70 h 82"/>
                <a:gd name="T66" fmla="*/ 23 w 63"/>
                <a:gd name="T67" fmla="*/ 70 h 82"/>
                <a:gd name="T68" fmla="*/ 23 w 63"/>
                <a:gd name="T69" fmla="*/ 68 h 82"/>
                <a:gd name="T70" fmla="*/ 22 w 63"/>
                <a:gd name="T71" fmla="*/ 68 h 82"/>
                <a:gd name="T72" fmla="*/ 14 w 63"/>
                <a:gd name="T73" fmla="*/ 71 h 82"/>
                <a:gd name="T74" fmla="*/ 13 w 63"/>
                <a:gd name="T75" fmla="*/ 71 h 82"/>
                <a:gd name="T76" fmla="*/ 7 w 63"/>
                <a:gd name="T77" fmla="*/ 42 h 82"/>
                <a:gd name="T78" fmla="*/ 7 w 63"/>
                <a:gd name="T79" fmla="*/ 33 h 82"/>
                <a:gd name="T80" fmla="*/ 0 w 63"/>
                <a:gd name="T81" fmla="*/ 27 h 82"/>
                <a:gd name="T82" fmla="*/ 0 w 63"/>
                <a:gd name="T83" fmla="*/ 25 h 82"/>
                <a:gd name="T84" fmla="*/ 4 w 63"/>
                <a:gd name="T85" fmla="*/ 20 h 82"/>
                <a:gd name="T86" fmla="*/ 10 w 63"/>
                <a:gd name="T87" fmla="*/ 20 h 82"/>
                <a:gd name="T88" fmla="*/ 8 w 63"/>
                <a:gd name="T89" fmla="*/ 15 h 82"/>
                <a:gd name="T90" fmla="*/ 4 w 63"/>
                <a:gd name="T91" fmla="*/ 15 h 82"/>
                <a:gd name="T92" fmla="*/ 3 w 63"/>
                <a:gd name="T93" fmla="*/ 11 h 82"/>
                <a:gd name="T94" fmla="*/ 7 w 63"/>
                <a:gd name="T9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 h="82">
                  <a:moveTo>
                    <a:pt x="7" y="0"/>
                  </a:moveTo>
                  <a:lnTo>
                    <a:pt x="8" y="0"/>
                  </a:lnTo>
                  <a:lnTo>
                    <a:pt x="11" y="6"/>
                  </a:lnTo>
                  <a:lnTo>
                    <a:pt x="14" y="2"/>
                  </a:lnTo>
                  <a:lnTo>
                    <a:pt x="17" y="8"/>
                  </a:lnTo>
                  <a:lnTo>
                    <a:pt x="20" y="8"/>
                  </a:lnTo>
                  <a:lnTo>
                    <a:pt x="20" y="5"/>
                  </a:lnTo>
                  <a:lnTo>
                    <a:pt x="22" y="5"/>
                  </a:lnTo>
                  <a:lnTo>
                    <a:pt x="25" y="15"/>
                  </a:lnTo>
                  <a:lnTo>
                    <a:pt x="29" y="18"/>
                  </a:lnTo>
                  <a:lnTo>
                    <a:pt x="57" y="21"/>
                  </a:lnTo>
                  <a:lnTo>
                    <a:pt x="57" y="22"/>
                  </a:lnTo>
                  <a:lnTo>
                    <a:pt x="43" y="39"/>
                  </a:lnTo>
                  <a:lnTo>
                    <a:pt x="46" y="46"/>
                  </a:lnTo>
                  <a:lnTo>
                    <a:pt x="49" y="49"/>
                  </a:lnTo>
                  <a:lnTo>
                    <a:pt x="56" y="40"/>
                  </a:lnTo>
                  <a:lnTo>
                    <a:pt x="57" y="40"/>
                  </a:lnTo>
                  <a:lnTo>
                    <a:pt x="63" y="67"/>
                  </a:lnTo>
                  <a:lnTo>
                    <a:pt x="63" y="76"/>
                  </a:lnTo>
                  <a:lnTo>
                    <a:pt x="59" y="76"/>
                  </a:lnTo>
                  <a:lnTo>
                    <a:pt x="59" y="82"/>
                  </a:lnTo>
                  <a:lnTo>
                    <a:pt x="57" y="82"/>
                  </a:lnTo>
                  <a:lnTo>
                    <a:pt x="57" y="80"/>
                  </a:lnTo>
                  <a:lnTo>
                    <a:pt x="51" y="63"/>
                  </a:lnTo>
                  <a:lnTo>
                    <a:pt x="49" y="57"/>
                  </a:lnTo>
                  <a:lnTo>
                    <a:pt x="41" y="57"/>
                  </a:lnTo>
                  <a:lnTo>
                    <a:pt x="38" y="54"/>
                  </a:lnTo>
                  <a:lnTo>
                    <a:pt x="35" y="57"/>
                  </a:lnTo>
                  <a:lnTo>
                    <a:pt x="35" y="63"/>
                  </a:lnTo>
                  <a:lnTo>
                    <a:pt x="32" y="68"/>
                  </a:lnTo>
                  <a:lnTo>
                    <a:pt x="31" y="68"/>
                  </a:lnTo>
                  <a:lnTo>
                    <a:pt x="28" y="65"/>
                  </a:lnTo>
                  <a:lnTo>
                    <a:pt x="25" y="70"/>
                  </a:lnTo>
                  <a:lnTo>
                    <a:pt x="23" y="70"/>
                  </a:lnTo>
                  <a:lnTo>
                    <a:pt x="23" y="68"/>
                  </a:lnTo>
                  <a:lnTo>
                    <a:pt x="22" y="68"/>
                  </a:lnTo>
                  <a:lnTo>
                    <a:pt x="14" y="71"/>
                  </a:lnTo>
                  <a:lnTo>
                    <a:pt x="13" y="71"/>
                  </a:lnTo>
                  <a:lnTo>
                    <a:pt x="7" y="42"/>
                  </a:lnTo>
                  <a:lnTo>
                    <a:pt x="7" y="33"/>
                  </a:lnTo>
                  <a:lnTo>
                    <a:pt x="0" y="27"/>
                  </a:lnTo>
                  <a:lnTo>
                    <a:pt x="0" y="25"/>
                  </a:lnTo>
                  <a:lnTo>
                    <a:pt x="4" y="20"/>
                  </a:lnTo>
                  <a:lnTo>
                    <a:pt x="10" y="20"/>
                  </a:lnTo>
                  <a:lnTo>
                    <a:pt x="8" y="15"/>
                  </a:lnTo>
                  <a:lnTo>
                    <a:pt x="4" y="15"/>
                  </a:lnTo>
                  <a:lnTo>
                    <a:pt x="3" y="11"/>
                  </a:lnTo>
                  <a:lnTo>
                    <a:pt x="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5" name="Bhutan">
              <a:extLst>
                <a:ext uri="{FF2B5EF4-FFF2-40B4-BE49-F238E27FC236}">
                  <a16:creationId xmlns:a16="http://schemas.microsoft.com/office/drawing/2014/main" id="{714851D5-B772-F508-E01F-BDF54B2B61D8}"/>
                </a:ext>
              </a:extLst>
            </p:cNvPr>
            <p:cNvSpPr>
              <a:spLocks/>
            </p:cNvSpPr>
            <p:nvPr/>
          </p:nvSpPr>
          <p:spPr bwMode="auto">
            <a:xfrm>
              <a:off x="7918421" y="3895302"/>
              <a:ext cx="83124" cy="43369"/>
            </a:xfrm>
            <a:custGeom>
              <a:avLst/>
              <a:gdLst>
                <a:gd name="T0" fmla="*/ 17 w 46"/>
                <a:gd name="T1" fmla="*/ 0 h 24"/>
                <a:gd name="T2" fmla="*/ 36 w 46"/>
                <a:gd name="T3" fmla="*/ 5 h 24"/>
                <a:gd name="T4" fmla="*/ 40 w 46"/>
                <a:gd name="T5" fmla="*/ 7 h 24"/>
                <a:gd name="T6" fmla="*/ 40 w 46"/>
                <a:gd name="T7" fmla="*/ 10 h 24"/>
                <a:gd name="T8" fmla="*/ 46 w 46"/>
                <a:gd name="T9" fmla="*/ 13 h 24"/>
                <a:gd name="T10" fmla="*/ 46 w 46"/>
                <a:gd name="T11" fmla="*/ 15 h 24"/>
                <a:gd name="T12" fmla="*/ 43 w 46"/>
                <a:gd name="T13" fmla="*/ 21 h 24"/>
                <a:gd name="T14" fmla="*/ 40 w 46"/>
                <a:gd name="T15" fmla="*/ 21 h 24"/>
                <a:gd name="T16" fmla="*/ 33 w 46"/>
                <a:gd name="T17" fmla="*/ 22 h 24"/>
                <a:gd name="T18" fmla="*/ 23 w 46"/>
                <a:gd name="T19" fmla="*/ 22 h 24"/>
                <a:gd name="T20" fmla="*/ 15 w 46"/>
                <a:gd name="T21" fmla="*/ 24 h 24"/>
                <a:gd name="T22" fmla="*/ 12 w 46"/>
                <a:gd name="T23" fmla="*/ 24 h 24"/>
                <a:gd name="T24" fmla="*/ 2 w 46"/>
                <a:gd name="T25" fmla="*/ 21 h 24"/>
                <a:gd name="T26" fmla="*/ 0 w 46"/>
                <a:gd name="T27" fmla="*/ 18 h 24"/>
                <a:gd name="T28" fmla="*/ 0 w 46"/>
                <a:gd name="T29" fmla="*/ 16 h 24"/>
                <a:gd name="T30" fmla="*/ 17 w 46"/>
                <a:gd name="T3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24">
                  <a:moveTo>
                    <a:pt x="17" y="0"/>
                  </a:moveTo>
                  <a:lnTo>
                    <a:pt x="36" y="5"/>
                  </a:lnTo>
                  <a:lnTo>
                    <a:pt x="40" y="7"/>
                  </a:lnTo>
                  <a:lnTo>
                    <a:pt x="40" y="10"/>
                  </a:lnTo>
                  <a:lnTo>
                    <a:pt x="46" y="13"/>
                  </a:lnTo>
                  <a:lnTo>
                    <a:pt x="46" y="15"/>
                  </a:lnTo>
                  <a:lnTo>
                    <a:pt x="43" y="21"/>
                  </a:lnTo>
                  <a:lnTo>
                    <a:pt x="40" y="21"/>
                  </a:lnTo>
                  <a:lnTo>
                    <a:pt x="33" y="22"/>
                  </a:lnTo>
                  <a:lnTo>
                    <a:pt x="23" y="22"/>
                  </a:lnTo>
                  <a:lnTo>
                    <a:pt x="15" y="24"/>
                  </a:lnTo>
                  <a:lnTo>
                    <a:pt x="12" y="24"/>
                  </a:lnTo>
                  <a:lnTo>
                    <a:pt x="2" y="21"/>
                  </a:lnTo>
                  <a:lnTo>
                    <a:pt x="0" y="18"/>
                  </a:lnTo>
                  <a:lnTo>
                    <a:pt x="0" y="16"/>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6" name="Myanmar">
              <a:extLst>
                <a:ext uri="{FF2B5EF4-FFF2-40B4-BE49-F238E27FC236}">
                  <a16:creationId xmlns:a16="http://schemas.microsoft.com/office/drawing/2014/main" id="{A80EF24C-7FAB-06F9-C56F-8813FF859220}"/>
                </a:ext>
              </a:extLst>
            </p:cNvPr>
            <p:cNvSpPr>
              <a:spLocks/>
            </p:cNvSpPr>
            <p:nvPr/>
          </p:nvSpPr>
          <p:spPr bwMode="auto">
            <a:xfrm>
              <a:off x="8001547" y="3895302"/>
              <a:ext cx="211427" cy="455380"/>
            </a:xfrm>
            <a:custGeom>
              <a:avLst/>
              <a:gdLst>
                <a:gd name="T0" fmla="*/ 72 w 117"/>
                <a:gd name="T1" fmla="*/ 0 h 252"/>
                <a:gd name="T2" fmla="*/ 80 w 117"/>
                <a:gd name="T3" fmla="*/ 10 h 252"/>
                <a:gd name="T4" fmla="*/ 83 w 117"/>
                <a:gd name="T5" fmla="*/ 12 h 252"/>
                <a:gd name="T6" fmla="*/ 86 w 117"/>
                <a:gd name="T7" fmla="*/ 33 h 252"/>
                <a:gd name="T8" fmla="*/ 72 w 117"/>
                <a:gd name="T9" fmla="*/ 64 h 252"/>
                <a:gd name="T10" fmla="*/ 88 w 117"/>
                <a:gd name="T11" fmla="*/ 59 h 252"/>
                <a:gd name="T12" fmla="*/ 89 w 117"/>
                <a:gd name="T13" fmla="*/ 71 h 252"/>
                <a:gd name="T14" fmla="*/ 97 w 117"/>
                <a:gd name="T15" fmla="*/ 77 h 252"/>
                <a:gd name="T16" fmla="*/ 101 w 117"/>
                <a:gd name="T17" fmla="*/ 89 h 252"/>
                <a:gd name="T18" fmla="*/ 115 w 117"/>
                <a:gd name="T19" fmla="*/ 92 h 252"/>
                <a:gd name="T20" fmla="*/ 106 w 117"/>
                <a:gd name="T21" fmla="*/ 108 h 252"/>
                <a:gd name="T22" fmla="*/ 88 w 117"/>
                <a:gd name="T23" fmla="*/ 123 h 252"/>
                <a:gd name="T24" fmla="*/ 73 w 117"/>
                <a:gd name="T25" fmla="*/ 141 h 252"/>
                <a:gd name="T26" fmla="*/ 83 w 117"/>
                <a:gd name="T27" fmla="*/ 157 h 252"/>
                <a:gd name="T28" fmla="*/ 86 w 117"/>
                <a:gd name="T29" fmla="*/ 171 h 252"/>
                <a:gd name="T30" fmla="*/ 88 w 117"/>
                <a:gd name="T31" fmla="*/ 172 h 252"/>
                <a:gd name="T32" fmla="*/ 80 w 117"/>
                <a:gd name="T33" fmla="*/ 193 h 252"/>
                <a:gd name="T34" fmla="*/ 91 w 117"/>
                <a:gd name="T35" fmla="*/ 212 h 252"/>
                <a:gd name="T36" fmla="*/ 88 w 117"/>
                <a:gd name="T37" fmla="*/ 242 h 252"/>
                <a:gd name="T38" fmla="*/ 86 w 117"/>
                <a:gd name="T39" fmla="*/ 252 h 252"/>
                <a:gd name="T40" fmla="*/ 85 w 117"/>
                <a:gd name="T41" fmla="*/ 251 h 252"/>
                <a:gd name="T42" fmla="*/ 82 w 117"/>
                <a:gd name="T43" fmla="*/ 249 h 252"/>
                <a:gd name="T44" fmla="*/ 83 w 117"/>
                <a:gd name="T45" fmla="*/ 228 h 252"/>
                <a:gd name="T46" fmla="*/ 82 w 117"/>
                <a:gd name="T47" fmla="*/ 227 h 252"/>
                <a:gd name="T48" fmla="*/ 83 w 117"/>
                <a:gd name="T49" fmla="*/ 215 h 252"/>
                <a:gd name="T50" fmla="*/ 79 w 117"/>
                <a:gd name="T51" fmla="*/ 206 h 252"/>
                <a:gd name="T52" fmla="*/ 73 w 117"/>
                <a:gd name="T53" fmla="*/ 187 h 252"/>
                <a:gd name="T54" fmla="*/ 61 w 117"/>
                <a:gd name="T55" fmla="*/ 162 h 252"/>
                <a:gd name="T56" fmla="*/ 60 w 117"/>
                <a:gd name="T57" fmla="*/ 165 h 252"/>
                <a:gd name="T58" fmla="*/ 37 w 117"/>
                <a:gd name="T59" fmla="*/ 176 h 252"/>
                <a:gd name="T60" fmla="*/ 30 w 117"/>
                <a:gd name="T61" fmla="*/ 175 h 252"/>
                <a:gd name="T62" fmla="*/ 27 w 117"/>
                <a:gd name="T63" fmla="*/ 174 h 252"/>
                <a:gd name="T64" fmla="*/ 26 w 117"/>
                <a:gd name="T65" fmla="*/ 172 h 252"/>
                <a:gd name="T66" fmla="*/ 27 w 117"/>
                <a:gd name="T67" fmla="*/ 141 h 252"/>
                <a:gd name="T68" fmla="*/ 23 w 117"/>
                <a:gd name="T69" fmla="*/ 133 h 252"/>
                <a:gd name="T70" fmla="*/ 17 w 117"/>
                <a:gd name="T71" fmla="*/ 129 h 252"/>
                <a:gd name="T72" fmla="*/ 20 w 117"/>
                <a:gd name="T73" fmla="*/ 126 h 252"/>
                <a:gd name="T74" fmla="*/ 9 w 117"/>
                <a:gd name="T75" fmla="*/ 119 h 252"/>
                <a:gd name="T76" fmla="*/ 0 w 117"/>
                <a:gd name="T77" fmla="*/ 99 h 252"/>
                <a:gd name="T78" fmla="*/ 5 w 117"/>
                <a:gd name="T79" fmla="*/ 90 h 252"/>
                <a:gd name="T80" fmla="*/ 9 w 117"/>
                <a:gd name="T81" fmla="*/ 80 h 252"/>
                <a:gd name="T82" fmla="*/ 11 w 117"/>
                <a:gd name="T83" fmla="*/ 77 h 252"/>
                <a:gd name="T84" fmla="*/ 14 w 117"/>
                <a:gd name="T85" fmla="*/ 65 h 252"/>
                <a:gd name="T86" fmla="*/ 26 w 117"/>
                <a:gd name="T87" fmla="*/ 62 h 252"/>
                <a:gd name="T88" fmla="*/ 39 w 117"/>
                <a:gd name="T89" fmla="*/ 36 h 252"/>
                <a:gd name="T90" fmla="*/ 51 w 117"/>
                <a:gd name="T91" fmla="*/ 16 h 252"/>
                <a:gd name="T92" fmla="*/ 63 w 117"/>
                <a:gd name="T93" fmla="*/ 7 h 252"/>
                <a:gd name="T94" fmla="*/ 67 w 117"/>
                <a:gd name="T95" fmla="*/ 5 h 252"/>
                <a:gd name="T96" fmla="*/ 70 w 117"/>
                <a:gd name="T9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7" h="252">
                  <a:moveTo>
                    <a:pt x="70" y="0"/>
                  </a:moveTo>
                  <a:lnTo>
                    <a:pt x="72" y="0"/>
                  </a:lnTo>
                  <a:lnTo>
                    <a:pt x="75" y="2"/>
                  </a:lnTo>
                  <a:lnTo>
                    <a:pt x="80" y="10"/>
                  </a:lnTo>
                  <a:lnTo>
                    <a:pt x="83" y="10"/>
                  </a:lnTo>
                  <a:lnTo>
                    <a:pt x="83" y="12"/>
                  </a:lnTo>
                  <a:lnTo>
                    <a:pt x="86" y="24"/>
                  </a:lnTo>
                  <a:lnTo>
                    <a:pt x="86" y="33"/>
                  </a:lnTo>
                  <a:lnTo>
                    <a:pt x="75" y="47"/>
                  </a:lnTo>
                  <a:lnTo>
                    <a:pt x="72" y="64"/>
                  </a:lnTo>
                  <a:lnTo>
                    <a:pt x="80" y="59"/>
                  </a:lnTo>
                  <a:lnTo>
                    <a:pt x="88" y="59"/>
                  </a:lnTo>
                  <a:lnTo>
                    <a:pt x="88" y="61"/>
                  </a:lnTo>
                  <a:lnTo>
                    <a:pt x="89" y="71"/>
                  </a:lnTo>
                  <a:lnTo>
                    <a:pt x="97" y="76"/>
                  </a:lnTo>
                  <a:lnTo>
                    <a:pt x="97" y="77"/>
                  </a:lnTo>
                  <a:lnTo>
                    <a:pt x="94" y="86"/>
                  </a:lnTo>
                  <a:lnTo>
                    <a:pt x="101" y="89"/>
                  </a:lnTo>
                  <a:lnTo>
                    <a:pt x="106" y="95"/>
                  </a:lnTo>
                  <a:lnTo>
                    <a:pt x="115" y="92"/>
                  </a:lnTo>
                  <a:lnTo>
                    <a:pt x="117" y="95"/>
                  </a:lnTo>
                  <a:lnTo>
                    <a:pt x="106" y="108"/>
                  </a:lnTo>
                  <a:lnTo>
                    <a:pt x="101" y="114"/>
                  </a:lnTo>
                  <a:lnTo>
                    <a:pt x="88" y="123"/>
                  </a:lnTo>
                  <a:lnTo>
                    <a:pt x="77" y="125"/>
                  </a:lnTo>
                  <a:lnTo>
                    <a:pt x="73" y="141"/>
                  </a:lnTo>
                  <a:lnTo>
                    <a:pt x="76" y="151"/>
                  </a:lnTo>
                  <a:lnTo>
                    <a:pt x="83" y="157"/>
                  </a:lnTo>
                  <a:lnTo>
                    <a:pt x="83" y="168"/>
                  </a:lnTo>
                  <a:lnTo>
                    <a:pt x="86" y="171"/>
                  </a:lnTo>
                  <a:lnTo>
                    <a:pt x="88" y="171"/>
                  </a:lnTo>
                  <a:lnTo>
                    <a:pt x="88" y="172"/>
                  </a:lnTo>
                  <a:lnTo>
                    <a:pt x="80" y="188"/>
                  </a:lnTo>
                  <a:lnTo>
                    <a:pt x="80" y="193"/>
                  </a:lnTo>
                  <a:lnTo>
                    <a:pt x="91" y="200"/>
                  </a:lnTo>
                  <a:lnTo>
                    <a:pt x="91" y="212"/>
                  </a:lnTo>
                  <a:lnTo>
                    <a:pt x="98" y="228"/>
                  </a:lnTo>
                  <a:lnTo>
                    <a:pt x="88" y="242"/>
                  </a:lnTo>
                  <a:lnTo>
                    <a:pt x="86" y="251"/>
                  </a:lnTo>
                  <a:lnTo>
                    <a:pt x="86" y="252"/>
                  </a:lnTo>
                  <a:lnTo>
                    <a:pt x="85" y="252"/>
                  </a:lnTo>
                  <a:lnTo>
                    <a:pt x="85" y="251"/>
                  </a:lnTo>
                  <a:lnTo>
                    <a:pt x="83" y="249"/>
                  </a:lnTo>
                  <a:lnTo>
                    <a:pt x="82" y="249"/>
                  </a:lnTo>
                  <a:lnTo>
                    <a:pt x="86" y="230"/>
                  </a:lnTo>
                  <a:lnTo>
                    <a:pt x="83" y="228"/>
                  </a:lnTo>
                  <a:lnTo>
                    <a:pt x="82" y="228"/>
                  </a:lnTo>
                  <a:lnTo>
                    <a:pt x="82" y="227"/>
                  </a:lnTo>
                  <a:lnTo>
                    <a:pt x="85" y="225"/>
                  </a:lnTo>
                  <a:lnTo>
                    <a:pt x="83" y="215"/>
                  </a:lnTo>
                  <a:lnTo>
                    <a:pt x="80" y="205"/>
                  </a:lnTo>
                  <a:lnTo>
                    <a:pt x="79" y="206"/>
                  </a:lnTo>
                  <a:lnTo>
                    <a:pt x="79" y="205"/>
                  </a:lnTo>
                  <a:lnTo>
                    <a:pt x="73" y="187"/>
                  </a:lnTo>
                  <a:lnTo>
                    <a:pt x="72" y="166"/>
                  </a:lnTo>
                  <a:lnTo>
                    <a:pt x="61" y="162"/>
                  </a:lnTo>
                  <a:lnTo>
                    <a:pt x="60" y="159"/>
                  </a:lnTo>
                  <a:lnTo>
                    <a:pt x="60" y="165"/>
                  </a:lnTo>
                  <a:lnTo>
                    <a:pt x="40" y="176"/>
                  </a:lnTo>
                  <a:lnTo>
                    <a:pt x="37" y="176"/>
                  </a:lnTo>
                  <a:lnTo>
                    <a:pt x="33" y="175"/>
                  </a:lnTo>
                  <a:lnTo>
                    <a:pt x="30" y="175"/>
                  </a:lnTo>
                  <a:lnTo>
                    <a:pt x="30" y="172"/>
                  </a:lnTo>
                  <a:lnTo>
                    <a:pt x="27" y="174"/>
                  </a:lnTo>
                  <a:lnTo>
                    <a:pt x="26" y="174"/>
                  </a:lnTo>
                  <a:lnTo>
                    <a:pt x="26" y="172"/>
                  </a:lnTo>
                  <a:lnTo>
                    <a:pt x="30" y="157"/>
                  </a:lnTo>
                  <a:lnTo>
                    <a:pt x="27" y="141"/>
                  </a:lnTo>
                  <a:lnTo>
                    <a:pt x="23" y="132"/>
                  </a:lnTo>
                  <a:lnTo>
                    <a:pt x="23" y="133"/>
                  </a:lnTo>
                  <a:lnTo>
                    <a:pt x="21" y="133"/>
                  </a:lnTo>
                  <a:lnTo>
                    <a:pt x="17" y="129"/>
                  </a:lnTo>
                  <a:lnTo>
                    <a:pt x="18" y="126"/>
                  </a:lnTo>
                  <a:lnTo>
                    <a:pt x="20" y="126"/>
                  </a:lnTo>
                  <a:lnTo>
                    <a:pt x="18" y="123"/>
                  </a:lnTo>
                  <a:lnTo>
                    <a:pt x="9" y="119"/>
                  </a:lnTo>
                  <a:lnTo>
                    <a:pt x="0" y="105"/>
                  </a:lnTo>
                  <a:lnTo>
                    <a:pt x="0" y="99"/>
                  </a:lnTo>
                  <a:lnTo>
                    <a:pt x="5" y="99"/>
                  </a:lnTo>
                  <a:lnTo>
                    <a:pt x="5" y="90"/>
                  </a:lnTo>
                  <a:lnTo>
                    <a:pt x="11" y="88"/>
                  </a:lnTo>
                  <a:lnTo>
                    <a:pt x="9" y="80"/>
                  </a:lnTo>
                  <a:lnTo>
                    <a:pt x="11" y="79"/>
                  </a:lnTo>
                  <a:lnTo>
                    <a:pt x="11" y="77"/>
                  </a:lnTo>
                  <a:lnTo>
                    <a:pt x="14" y="77"/>
                  </a:lnTo>
                  <a:lnTo>
                    <a:pt x="14" y="65"/>
                  </a:lnTo>
                  <a:lnTo>
                    <a:pt x="15" y="65"/>
                  </a:lnTo>
                  <a:lnTo>
                    <a:pt x="26" y="62"/>
                  </a:lnTo>
                  <a:lnTo>
                    <a:pt x="32" y="45"/>
                  </a:lnTo>
                  <a:lnTo>
                    <a:pt x="39" y="36"/>
                  </a:lnTo>
                  <a:lnTo>
                    <a:pt x="39" y="27"/>
                  </a:lnTo>
                  <a:lnTo>
                    <a:pt x="51" y="16"/>
                  </a:lnTo>
                  <a:lnTo>
                    <a:pt x="63" y="15"/>
                  </a:lnTo>
                  <a:lnTo>
                    <a:pt x="63" y="7"/>
                  </a:lnTo>
                  <a:lnTo>
                    <a:pt x="64" y="7"/>
                  </a:lnTo>
                  <a:lnTo>
                    <a:pt x="67" y="5"/>
                  </a:lnTo>
                  <a:lnTo>
                    <a:pt x="67" y="2"/>
                  </a:lnTo>
                  <a:lnTo>
                    <a:pt x="7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7" name="Laos">
              <a:extLst>
                <a:ext uri="{FF2B5EF4-FFF2-40B4-BE49-F238E27FC236}">
                  <a16:creationId xmlns:a16="http://schemas.microsoft.com/office/drawing/2014/main" id="{0EA32D0C-4677-FE25-0B7A-B55168BE559B}"/>
                </a:ext>
              </a:extLst>
            </p:cNvPr>
            <p:cNvSpPr>
              <a:spLocks/>
            </p:cNvSpPr>
            <p:nvPr/>
          </p:nvSpPr>
          <p:spPr bwMode="auto">
            <a:xfrm>
              <a:off x="8189480" y="4045289"/>
              <a:ext cx="175286" cy="215041"/>
            </a:xfrm>
            <a:custGeom>
              <a:avLst/>
              <a:gdLst>
                <a:gd name="T0" fmla="*/ 21 w 97"/>
                <a:gd name="T1" fmla="*/ 0 h 119"/>
                <a:gd name="T2" fmla="*/ 22 w 97"/>
                <a:gd name="T3" fmla="*/ 0 h 119"/>
                <a:gd name="T4" fmla="*/ 28 w 97"/>
                <a:gd name="T5" fmla="*/ 2 h 119"/>
                <a:gd name="T6" fmla="*/ 36 w 97"/>
                <a:gd name="T7" fmla="*/ 12 h 119"/>
                <a:gd name="T8" fmla="*/ 37 w 97"/>
                <a:gd name="T9" fmla="*/ 19 h 119"/>
                <a:gd name="T10" fmla="*/ 40 w 97"/>
                <a:gd name="T11" fmla="*/ 22 h 119"/>
                <a:gd name="T12" fmla="*/ 54 w 97"/>
                <a:gd name="T13" fmla="*/ 22 h 119"/>
                <a:gd name="T14" fmla="*/ 56 w 97"/>
                <a:gd name="T15" fmla="*/ 25 h 119"/>
                <a:gd name="T16" fmla="*/ 61 w 97"/>
                <a:gd name="T17" fmla="*/ 36 h 119"/>
                <a:gd name="T18" fmla="*/ 56 w 97"/>
                <a:gd name="T19" fmla="*/ 40 h 119"/>
                <a:gd name="T20" fmla="*/ 52 w 97"/>
                <a:gd name="T21" fmla="*/ 40 h 119"/>
                <a:gd name="T22" fmla="*/ 51 w 97"/>
                <a:gd name="T23" fmla="*/ 45 h 119"/>
                <a:gd name="T24" fmla="*/ 65 w 97"/>
                <a:gd name="T25" fmla="*/ 53 h 119"/>
                <a:gd name="T26" fmla="*/ 76 w 97"/>
                <a:gd name="T27" fmla="*/ 68 h 119"/>
                <a:gd name="T28" fmla="*/ 82 w 97"/>
                <a:gd name="T29" fmla="*/ 71 h 119"/>
                <a:gd name="T30" fmla="*/ 82 w 97"/>
                <a:gd name="T31" fmla="*/ 73 h 119"/>
                <a:gd name="T32" fmla="*/ 83 w 97"/>
                <a:gd name="T33" fmla="*/ 82 h 119"/>
                <a:gd name="T34" fmla="*/ 92 w 97"/>
                <a:gd name="T35" fmla="*/ 86 h 119"/>
                <a:gd name="T36" fmla="*/ 97 w 97"/>
                <a:gd name="T37" fmla="*/ 99 h 119"/>
                <a:gd name="T38" fmla="*/ 95 w 97"/>
                <a:gd name="T39" fmla="*/ 107 h 119"/>
                <a:gd name="T40" fmla="*/ 95 w 97"/>
                <a:gd name="T41" fmla="*/ 108 h 119"/>
                <a:gd name="T42" fmla="*/ 89 w 97"/>
                <a:gd name="T43" fmla="*/ 113 h 119"/>
                <a:gd name="T44" fmla="*/ 86 w 97"/>
                <a:gd name="T45" fmla="*/ 113 h 119"/>
                <a:gd name="T46" fmla="*/ 85 w 97"/>
                <a:gd name="T47" fmla="*/ 111 h 119"/>
                <a:gd name="T48" fmla="*/ 82 w 97"/>
                <a:gd name="T49" fmla="*/ 111 h 119"/>
                <a:gd name="T50" fmla="*/ 76 w 97"/>
                <a:gd name="T51" fmla="*/ 117 h 119"/>
                <a:gd name="T52" fmla="*/ 76 w 97"/>
                <a:gd name="T53" fmla="*/ 119 h 119"/>
                <a:gd name="T54" fmla="*/ 74 w 97"/>
                <a:gd name="T55" fmla="*/ 119 h 119"/>
                <a:gd name="T56" fmla="*/ 65 w 97"/>
                <a:gd name="T57" fmla="*/ 113 h 119"/>
                <a:gd name="T58" fmla="*/ 68 w 97"/>
                <a:gd name="T59" fmla="*/ 110 h 119"/>
                <a:gd name="T60" fmla="*/ 68 w 97"/>
                <a:gd name="T61" fmla="*/ 95 h 119"/>
                <a:gd name="T62" fmla="*/ 59 w 97"/>
                <a:gd name="T63" fmla="*/ 86 h 119"/>
                <a:gd name="T64" fmla="*/ 56 w 97"/>
                <a:gd name="T65" fmla="*/ 68 h 119"/>
                <a:gd name="T66" fmla="*/ 48 w 97"/>
                <a:gd name="T67" fmla="*/ 58 h 119"/>
                <a:gd name="T68" fmla="*/ 43 w 97"/>
                <a:gd name="T69" fmla="*/ 58 h 119"/>
                <a:gd name="T70" fmla="*/ 39 w 97"/>
                <a:gd name="T71" fmla="*/ 59 h 119"/>
                <a:gd name="T72" fmla="*/ 37 w 97"/>
                <a:gd name="T73" fmla="*/ 62 h 119"/>
                <a:gd name="T74" fmla="*/ 33 w 97"/>
                <a:gd name="T75" fmla="*/ 64 h 119"/>
                <a:gd name="T76" fmla="*/ 31 w 97"/>
                <a:gd name="T77" fmla="*/ 64 h 119"/>
                <a:gd name="T78" fmla="*/ 22 w 97"/>
                <a:gd name="T79" fmla="*/ 61 h 119"/>
                <a:gd name="T80" fmla="*/ 11 w 97"/>
                <a:gd name="T81" fmla="*/ 68 h 119"/>
                <a:gd name="T82" fmla="*/ 9 w 97"/>
                <a:gd name="T83" fmla="*/ 68 h 119"/>
                <a:gd name="T84" fmla="*/ 12 w 97"/>
                <a:gd name="T85" fmla="*/ 42 h 119"/>
                <a:gd name="T86" fmla="*/ 6 w 97"/>
                <a:gd name="T87" fmla="*/ 40 h 119"/>
                <a:gd name="T88" fmla="*/ 5 w 97"/>
                <a:gd name="T89" fmla="*/ 40 h 119"/>
                <a:gd name="T90" fmla="*/ 5 w 97"/>
                <a:gd name="T91" fmla="*/ 31 h 119"/>
                <a:gd name="T92" fmla="*/ 0 w 97"/>
                <a:gd name="T93" fmla="*/ 30 h 119"/>
                <a:gd name="T94" fmla="*/ 0 w 97"/>
                <a:gd name="T95" fmla="*/ 28 h 119"/>
                <a:gd name="T96" fmla="*/ 2 w 97"/>
                <a:gd name="T97" fmla="*/ 25 h 119"/>
                <a:gd name="T98" fmla="*/ 12 w 97"/>
                <a:gd name="T99" fmla="*/ 12 h 119"/>
                <a:gd name="T100" fmla="*/ 13 w 97"/>
                <a:gd name="T101" fmla="*/ 12 h 119"/>
                <a:gd name="T102" fmla="*/ 15 w 97"/>
                <a:gd name="T103" fmla="*/ 18 h 119"/>
                <a:gd name="T104" fmla="*/ 19 w 97"/>
                <a:gd name="T105" fmla="*/ 16 h 119"/>
                <a:gd name="T106" fmla="*/ 18 w 97"/>
                <a:gd name="T107" fmla="*/ 2 h 119"/>
                <a:gd name="T108" fmla="*/ 21 w 9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119">
                  <a:moveTo>
                    <a:pt x="21" y="0"/>
                  </a:moveTo>
                  <a:lnTo>
                    <a:pt x="22" y="0"/>
                  </a:lnTo>
                  <a:lnTo>
                    <a:pt x="28" y="2"/>
                  </a:lnTo>
                  <a:lnTo>
                    <a:pt x="36" y="12"/>
                  </a:lnTo>
                  <a:lnTo>
                    <a:pt x="37" y="19"/>
                  </a:lnTo>
                  <a:lnTo>
                    <a:pt x="40" y="22"/>
                  </a:lnTo>
                  <a:lnTo>
                    <a:pt x="54" y="22"/>
                  </a:lnTo>
                  <a:lnTo>
                    <a:pt x="56" y="25"/>
                  </a:lnTo>
                  <a:lnTo>
                    <a:pt x="61" y="36"/>
                  </a:lnTo>
                  <a:lnTo>
                    <a:pt x="56" y="40"/>
                  </a:lnTo>
                  <a:lnTo>
                    <a:pt x="52" y="40"/>
                  </a:lnTo>
                  <a:lnTo>
                    <a:pt x="51" y="45"/>
                  </a:lnTo>
                  <a:lnTo>
                    <a:pt x="65" y="53"/>
                  </a:lnTo>
                  <a:lnTo>
                    <a:pt x="76" y="68"/>
                  </a:lnTo>
                  <a:lnTo>
                    <a:pt x="82" y="71"/>
                  </a:lnTo>
                  <a:lnTo>
                    <a:pt x="82" y="73"/>
                  </a:lnTo>
                  <a:lnTo>
                    <a:pt x="83" y="82"/>
                  </a:lnTo>
                  <a:lnTo>
                    <a:pt x="92" y="86"/>
                  </a:lnTo>
                  <a:lnTo>
                    <a:pt x="97" y="99"/>
                  </a:lnTo>
                  <a:lnTo>
                    <a:pt x="95" y="107"/>
                  </a:lnTo>
                  <a:lnTo>
                    <a:pt x="95" y="108"/>
                  </a:lnTo>
                  <a:lnTo>
                    <a:pt x="89" y="113"/>
                  </a:lnTo>
                  <a:lnTo>
                    <a:pt x="86" y="113"/>
                  </a:lnTo>
                  <a:lnTo>
                    <a:pt x="85" y="111"/>
                  </a:lnTo>
                  <a:lnTo>
                    <a:pt x="82" y="111"/>
                  </a:lnTo>
                  <a:lnTo>
                    <a:pt x="76" y="117"/>
                  </a:lnTo>
                  <a:lnTo>
                    <a:pt x="76" y="119"/>
                  </a:lnTo>
                  <a:lnTo>
                    <a:pt x="74" y="119"/>
                  </a:lnTo>
                  <a:lnTo>
                    <a:pt x="65" y="113"/>
                  </a:lnTo>
                  <a:lnTo>
                    <a:pt x="68" y="110"/>
                  </a:lnTo>
                  <a:lnTo>
                    <a:pt x="68" y="95"/>
                  </a:lnTo>
                  <a:lnTo>
                    <a:pt x="59" y="86"/>
                  </a:lnTo>
                  <a:lnTo>
                    <a:pt x="56" y="68"/>
                  </a:lnTo>
                  <a:lnTo>
                    <a:pt x="48" y="58"/>
                  </a:lnTo>
                  <a:lnTo>
                    <a:pt x="43" y="58"/>
                  </a:lnTo>
                  <a:lnTo>
                    <a:pt x="39" y="59"/>
                  </a:lnTo>
                  <a:lnTo>
                    <a:pt x="37" y="62"/>
                  </a:lnTo>
                  <a:lnTo>
                    <a:pt x="33" y="64"/>
                  </a:lnTo>
                  <a:lnTo>
                    <a:pt x="31" y="64"/>
                  </a:lnTo>
                  <a:lnTo>
                    <a:pt x="22" y="61"/>
                  </a:lnTo>
                  <a:lnTo>
                    <a:pt x="11" y="68"/>
                  </a:lnTo>
                  <a:lnTo>
                    <a:pt x="9" y="68"/>
                  </a:lnTo>
                  <a:lnTo>
                    <a:pt x="12" y="42"/>
                  </a:lnTo>
                  <a:lnTo>
                    <a:pt x="6" y="40"/>
                  </a:lnTo>
                  <a:lnTo>
                    <a:pt x="5" y="40"/>
                  </a:lnTo>
                  <a:lnTo>
                    <a:pt x="5" y="31"/>
                  </a:lnTo>
                  <a:lnTo>
                    <a:pt x="0" y="30"/>
                  </a:lnTo>
                  <a:lnTo>
                    <a:pt x="0" y="28"/>
                  </a:lnTo>
                  <a:lnTo>
                    <a:pt x="2" y="25"/>
                  </a:lnTo>
                  <a:lnTo>
                    <a:pt x="12" y="12"/>
                  </a:lnTo>
                  <a:lnTo>
                    <a:pt x="13" y="12"/>
                  </a:lnTo>
                  <a:lnTo>
                    <a:pt x="15" y="18"/>
                  </a:lnTo>
                  <a:lnTo>
                    <a:pt x="19" y="16"/>
                  </a:lnTo>
                  <a:lnTo>
                    <a:pt x="18" y="2"/>
                  </a:lnTo>
                  <a:lnTo>
                    <a:pt x="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8" name="Malaysia - East">
              <a:extLst>
                <a:ext uri="{FF2B5EF4-FFF2-40B4-BE49-F238E27FC236}">
                  <a16:creationId xmlns:a16="http://schemas.microsoft.com/office/drawing/2014/main" id="{C6481C48-BC05-97DB-6FE6-06B385C95D68}"/>
                </a:ext>
              </a:extLst>
            </p:cNvPr>
            <p:cNvSpPr>
              <a:spLocks/>
            </p:cNvSpPr>
            <p:nvPr/>
          </p:nvSpPr>
          <p:spPr bwMode="auto">
            <a:xfrm>
              <a:off x="8411748" y="4426578"/>
              <a:ext cx="231304" cy="140950"/>
            </a:xfrm>
            <a:custGeom>
              <a:avLst/>
              <a:gdLst>
                <a:gd name="T0" fmla="*/ 94 w 128"/>
                <a:gd name="T1" fmla="*/ 0 h 78"/>
                <a:gd name="T2" fmla="*/ 95 w 128"/>
                <a:gd name="T3" fmla="*/ 0 h 78"/>
                <a:gd name="T4" fmla="*/ 95 w 128"/>
                <a:gd name="T5" fmla="*/ 3 h 78"/>
                <a:gd name="T6" fmla="*/ 98 w 128"/>
                <a:gd name="T7" fmla="*/ 0 h 78"/>
                <a:gd name="T8" fmla="*/ 99 w 128"/>
                <a:gd name="T9" fmla="*/ 0 h 78"/>
                <a:gd name="T10" fmla="*/ 102 w 128"/>
                <a:gd name="T11" fmla="*/ 4 h 78"/>
                <a:gd name="T12" fmla="*/ 105 w 128"/>
                <a:gd name="T13" fmla="*/ 6 h 78"/>
                <a:gd name="T14" fmla="*/ 107 w 128"/>
                <a:gd name="T15" fmla="*/ 6 h 78"/>
                <a:gd name="T16" fmla="*/ 107 w 128"/>
                <a:gd name="T17" fmla="*/ 11 h 78"/>
                <a:gd name="T18" fmla="*/ 111 w 128"/>
                <a:gd name="T19" fmla="*/ 11 h 78"/>
                <a:gd name="T20" fmla="*/ 111 w 128"/>
                <a:gd name="T21" fmla="*/ 16 h 78"/>
                <a:gd name="T22" fmla="*/ 114 w 128"/>
                <a:gd name="T23" fmla="*/ 14 h 78"/>
                <a:gd name="T24" fmla="*/ 128 w 128"/>
                <a:gd name="T25" fmla="*/ 22 h 78"/>
                <a:gd name="T26" fmla="*/ 128 w 128"/>
                <a:gd name="T27" fmla="*/ 23 h 78"/>
                <a:gd name="T28" fmla="*/ 120 w 128"/>
                <a:gd name="T29" fmla="*/ 26 h 78"/>
                <a:gd name="T30" fmla="*/ 114 w 128"/>
                <a:gd name="T31" fmla="*/ 26 h 78"/>
                <a:gd name="T32" fmla="*/ 119 w 128"/>
                <a:gd name="T33" fmla="*/ 32 h 78"/>
                <a:gd name="T34" fmla="*/ 119 w 128"/>
                <a:gd name="T35" fmla="*/ 34 h 78"/>
                <a:gd name="T36" fmla="*/ 117 w 128"/>
                <a:gd name="T37" fmla="*/ 34 h 78"/>
                <a:gd name="T38" fmla="*/ 111 w 128"/>
                <a:gd name="T39" fmla="*/ 37 h 78"/>
                <a:gd name="T40" fmla="*/ 107 w 128"/>
                <a:gd name="T41" fmla="*/ 34 h 78"/>
                <a:gd name="T42" fmla="*/ 105 w 128"/>
                <a:gd name="T43" fmla="*/ 37 h 78"/>
                <a:gd name="T44" fmla="*/ 98 w 128"/>
                <a:gd name="T45" fmla="*/ 34 h 78"/>
                <a:gd name="T46" fmla="*/ 82 w 128"/>
                <a:gd name="T47" fmla="*/ 34 h 78"/>
                <a:gd name="T48" fmla="*/ 68 w 128"/>
                <a:gd name="T49" fmla="*/ 65 h 78"/>
                <a:gd name="T50" fmla="*/ 65 w 128"/>
                <a:gd name="T51" fmla="*/ 69 h 78"/>
                <a:gd name="T52" fmla="*/ 61 w 128"/>
                <a:gd name="T53" fmla="*/ 72 h 78"/>
                <a:gd name="T54" fmla="*/ 51 w 128"/>
                <a:gd name="T55" fmla="*/ 75 h 78"/>
                <a:gd name="T56" fmla="*/ 43 w 128"/>
                <a:gd name="T57" fmla="*/ 71 h 78"/>
                <a:gd name="T58" fmla="*/ 37 w 128"/>
                <a:gd name="T59" fmla="*/ 71 h 78"/>
                <a:gd name="T60" fmla="*/ 28 w 128"/>
                <a:gd name="T61" fmla="*/ 78 h 78"/>
                <a:gd name="T62" fmla="*/ 14 w 128"/>
                <a:gd name="T63" fmla="*/ 78 h 78"/>
                <a:gd name="T64" fmla="*/ 6 w 128"/>
                <a:gd name="T65" fmla="*/ 75 h 78"/>
                <a:gd name="T66" fmla="*/ 0 w 128"/>
                <a:gd name="T67" fmla="*/ 63 h 78"/>
                <a:gd name="T68" fmla="*/ 2 w 128"/>
                <a:gd name="T69" fmla="*/ 62 h 78"/>
                <a:gd name="T70" fmla="*/ 8 w 128"/>
                <a:gd name="T71" fmla="*/ 66 h 78"/>
                <a:gd name="T72" fmla="*/ 19 w 128"/>
                <a:gd name="T73" fmla="*/ 68 h 78"/>
                <a:gd name="T74" fmla="*/ 21 w 128"/>
                <a:gd name="T75" fmla="*/ 60 h 78"/>
                <a:gd name="T76" fmla="*/ 21 w 128"/>
                <a:gd name="T77" fmla="*/ 59 h 78"/>
                <a:gd name="T78" fmla="*/ 24 w 128"/>
                <a:gd name="T79" fmla="*/ 59 h 78"/>
                <a:gd name="T80" fmla="*/ 27 w 128"/>
                <a:gd name="T81" fmla="*/ 53 h 78"/>
                <a:gd name="T82" fmla="*/ 27 w 128"/>
                <a:gd name="T83" fmla="*/ 51 h 78"/>
                <a:gd name="T84" fmla="*/ 43 w 128"/>
                <a:gd name="T85" fmla="*/ 50 h 78"/>
                <a:gd name="T86" fmla="*/ 55 w 128"/>
                <a:gd name="T87" fmla="*/ 35 h 78"/>
                <a:gd name="T88" fmla="*/ 58 w 128"/>
                <a:gd name="T89" fmla="*/ 29 h 78"/>
                <a:gd name="T90" fmla="*/ 65 w 128"/>
                <a:gd name="T91" fmla="*/ 37 h 78"/>
                <a:gd name="T92" fmla="*/ 70 w 128"/>
                <a:gd name="T93" fmla="*/ 28 h 78"/>
                <a:gd name="T94" fmla="*/ 70 w 128"/>
                <a:gd name="T95" fmla="*/ 26 h 78"/>
                <a:gd name="T96" fmla="*/ 71 w 128"/>
                <a:gd name="T97" fmla="*/ 26 h 78"/>
                <a:gd name="T98" fmla="*/ 74 w 128"/>
                <a:gd name="T99" fmla="*/ 31 h 78"/>
                <a:gd name="T100" fmla="*/ 73 w 128"/>
                <a:gd name="T101" fmla="*/ 26 h 78"/>
                <a:gd name="T102" fmla="*/ 77 w 128"/>
                <a:gd name="T103" fmla="*/ 22 h 78"/>
                <a:gd name="T104" fmla="*/ 77 w 128"/>
                <a:gd name="T105" fmla="*/ 19 h 78"/>
                <a:gd name="T106" fmla="*/ 82 w 128"/>
                <a:gd name="T107" fmla="*/ 17 h 78"/>
                <a:gd name="T108" fmla="*/ 94 w 128"/>
                <a:gd name="T10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78">
                  <a:moveTo>
                    <a:pt x="94" y="0"/>
                  </a:moveTo>
                  <a:lnTo>
                    <a:pt x="95" y="0"/>
                  </a:lnTo>
                  <a:lnTo>
                    <a:pt x="95" y="3"/>
                  </a:lnTo>
                  <a:lnTo>
                    <a:pt x="98" y="0"/>
                  </a:lnTo>
                  <a:lnTo>
                    <a:pt x="99" y="0"/>
                  </a:lnTo>
                  <a:lnTo>
                    <a:pt x="102" y="4"/>
                  </a:lnTo>
                  <a:lnTo>
                    <a:pt x="105" y="6"/>
                  </a:lnTo>
                  <a:lnTo>
                    <a:pt x="107" y="6"/>
                  </a:lnTo>
                  <a:lnTo>
                    <a:pt x="107" y="11"/>
                  </a:lnTo>
                  <a:lnTo>
                    <a:pt x="111" y="11"/>
                  </a:lnTo>
                  <a:lnTo>
                    <a:pt x="111" y="16"/>
                  </a:lnTo>
                  <a:lnTo>
                    <a:pt x="114" y="14"/>
                  </a:lnTo>
                  <a:lnTo>
                    <a:pt x="128" y="22"/>
                  </a:lnTo>
                  <a:lnTo>
                    <a:pt x="128" y="23"/>
                  </a:lnTo>
                  <a:lnTo>
                    <a:pt x="120" y="26"/>
                  </a:lnTo>
                  <a:lnTo>
                    <a:pt x="114" y="26"/>
                  </a:lnTo>
                  <a:lnTo>
                    <a:pt x="119" y="32"/>
                  </a:lnTo>
                  <a:lnTo>
                    <a:pt x="119" y="34"/>
                  </a:lnTo>
                  <a:lnTo>
                    <a:pt x="117" y="34"/>
                  </a:lnTo>
                  <a:lnTo>
                    <a:pt x="111" y="37"/>
                  </a:lnTo>
                  <a:lnTo>
                    <a:pt x="107" y="34"/>
                  </a:lnTo>
                  <a:lnTo>
                    <a:pt x="105" y="37"/>
                  </a:lnTo>
                  <a:lnTo>
                    <a:pt x="98" y="34"/>
                  </a:lnTo>
                  <a:lnTo>
                    <a:pt x="82" y="34"/>
                  </a:lnTo>
                  <a:lnTo>
                    <a:pt x="68" y="65"/>
                  </a:lnTo>
                  <a:lnTo>
                    <a:pt x="65" y="69"/>
                  </a:lnTo>
                  <a:lnTo>
                    <a:pt x="61" y="72"/>
                  </a:lnTo>
                  <a:lnTo>
                    <a:pt x="51" y="75"/>
                  </a:lnTo>
                  <a:lnTo>
                    <a:pt x="43" y="71"/>
                  </a:lnTo>
                  <a:lnTo>
                    <a:pt x="37" y="71"/>
                  </a:lnTo>
                  <a:lnTo>
                    <a:pt x="28" y="78"/>
                  </a:lnTo>
                  <a:lnTo>
                    <a:pt x="14" y="78"/>
                  </a:lnTo>
                  <a:lnTo>
                    <a:pt x="6" y="75"/>
                  </a:lnTo>
                  <a:lnTo>
                    <a:pt x="0" y="63"/>
                  </a:lnTo>
                  <a:lnTo>
                    <a:pt x="2" y="62"/>
                  </a:lnTo>
                  <a:lnTo>
                    <a:pt x="8" y="66"/>
                  </a:lnTo>
                  <a:lnTo>
                    <a:pt x="19" y="68"/>
                  </a:lnTo>
                  <a:lnTo>
                    <a:pt x="21" y="60"/>
                  </a:lnTo>
                  <a:lnTo>
                    <a:pt x="21" y="59"/>
                  </a:lnTo>
                  <a:lnTo>
                    <a:pt x="24" y="59"/>
                  </a:lnTo>
                  <a:lnTo>
                    <a:pt x="27" y="53"/>
                  </a:lnTo>
                  <a:lnTo>
                    <a:pt x="27" y="51"/>
                  </a:lnTo>
                  <a:lnTo>
                    <a:pt x="43" y="50"/>
                  </a:lnTo>
                  <a:lnTo>
                    <a:pt x="55" y="35"/>
                  </a:lnTo>
                  <a:lnTo>
                    <a:pt x="58" y="29"/>
                  </a:lnTo>
                  <a:lnTo>
                    <a:pt x="65" y="37"/>
                  </a:lnTo>
                  <a:lnTo>
                    <a:pt x="70" y="28"/>
                  </a:lnTo>
                  <a:lnTo>
                    <a:pt x="70" y="26"/>
                  </a:lnTo>
                  <a:lnTo>
                    <a:pt x="71" y="26"/>
                  </a:lnTo>
                  <a:lnTo>
                    <a:pt x="74" y="31"/>
                  </a:lnTo>
                  <a:lnTo>
                    <a:pt x="73" y="26"/>
                  </a:lnTo>
                  <a:lnTo>
                    <a:pt x="77" y="22"/>
                  </a:lnTo>
                  <a:lnTo>
                    <a:pt x="77" y="19"/>
                  </a:lnTo>
                  <a:lnTo>
                    <a:pt x="82" y="17"/>
                  </a:lnTo>
                  <a:lnTo>
                    <a:pt x="9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9" name="Malaysia - West">
              <a:extLst>
                <a:ext uri="{FF2B5EF4-FFF2-40B4-BE49-F238E27FC236}">
                  <a16:creationId xmlns:a16="http://schemas.microsoft.com/office/drawing/2014/main" id="{EB34DC8D-35B6-586A-AEE2-4B8139A493AB}"/>
                </a:ext>
              </a:extLst>
            </p:cNvPr>
            <p:cNvSpPr>
              <a:spLocks/>
            </p:cNvSpPr>
            <p:nvPr/>
          </p:nvSpPr>
          <p:spPr bwMode="auto">
            <a:xfrm>
              <a:off x="8189480" y="4428386"/>
              <a:ext cx="99389" cy="126494"/>
            </a:xfrm>
            <a:custGeom>
              <a:avLst/>
              <a:gdLst>
                <a:gd name="T0" fmla="*/ 0 w 55"/>
                <a:gd name="T1" fmla="*/ 0 h 70"/>
                <a:gd name="T2" fmla="*/ 2 w 55"/>
                <a:gd name="T3" fmla="*/ 0 h 70"/>
                <a:gd name="T4" fmla="*/ 12 w 55"/>
                <a:gd name="T5" fmla="*/ 5 h 70"/>
                <a:gd name="T6" fmla="*/ 15 w 55"/>
                <a:gd name="T7" fmla="*/ 13 h 70"/>
                <a:gd name="T8" fmla="*/ 19 w 55"/>
                <a:gd name="T9" fmla="*/ 10 h 70"/>
                <a:gd name="T10" fmla="*/ 24 w 55"/>
                <a:gd name="T11" fmla="*/ 10 h 70"/>
                <a:gd name="T12" fmla="*/ 27 w 55"/>
                <a:gd name="T13" fmla="*/ 8 h 70"/>
                <a:gd name="T14" fmla="*/ 30 w 55"/>
                <a:gd name="T15" fmla="*/ 8 h 70"/>
                <a:gd name="T16" fmla="*/ 39 w 55"/>
                <a:gd name="T17" fmla="*/ 15 h 70"/>
                <a:gd name="T18" fmla="*/ 45 w 55"/>
                <a:gd name="T19" fmla="*/ 22 h 70"/>
                <a:gd name="T20" fmla="*/ 45 w 55"/>
                <a:gd name="T21" fmla="*/ 46 h 70"/>
                <a:gd name="T22" fmla="*/ 55 w 55"/>
                <a:gd name="T23" fmla="*/ 64 h 70"/>
                <a:gd name="T24" fmla="*/ 54 w 55"/>
                <a:gd name="T25" fmla="*/ 70 h 70"/>
                <a:gd name="T26" fmla="*/ 52 w 55"/>
                <a:gd name="T27" fmla="*/ 70 h 70"/>
                <a:gd name="T28" fmla="*/ 48 w 55"/>
                <a:gd name="T29" fmla="*/ 68 h 70"/>
                <a:gd name="T30" fmla="*/ 43 w 55"/>
                <a:gd name="T31" fmla="*/ 70 h 70"/>
                <a:gd name="T32" fmla="*/ 16 w 55"/>
                <a:gd name="T33" fmla="*/ 52 h 70"/>
                <a:gd name="T34" fmla="*/ 6 w 55"/>
                <a:gd name="T35" fmla="*/ 33 h 70"/>
                <a:gd name="T36" fmla="*/ 0 w 55"/>
                <a:gd name="T37" fmla="*/ 5 h 70"/>
                <a:gd name="T38" fmla="*/ 0 w 55"/>
                <a:gd name="T3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70">
                  <a:moveTo>
                    <a:pt x="0" y="0"/>
                  </a:moveTo>
                  <a:lnTo>
                    <a:pt x="2" y="0"/>
                  </a:lnTo>
                  <a:lnTo>
                    <a:pt x="12" y="5"/>
                  </a:lnTo>
                  <a:lnTo>
                    <a:pt x="15" y="13"/>
                  </a:lnTo>
                  <a:lnTo>
                    <a:pt x="19" y="10"/>
                  </a:lnTo>
                  <a:lnTo>
                    <a:pt x="24" y="10"/>
                  </a:lnTo>
                  <a:lnTo>
                    <a:pt x="27" y="8"/>
                  </a:lnTo>
                  <a:lnTo>
                    <a:pt x="30" y="8"/>
                  </a:lnTo>
                  <a:lnTo>
                    <a:pt x="39" y="15"/>
                  </a:lnTo>
                  <a:lnTo>
                    <a:pt x="45" y="22"/>
                  </a:lnTo>
                  <a:lnTo>
                    <a:pt x="45" y="46"/>
                  </a:lnTo>
                  <a:lnTo>
                    <a:pt x="55" y="64"/>
                  </a:lnTo>
                  <a:lnTo>
                    <a:pt x="54" y="70"/>
                  </a:lnTo>
                  <a:lnTo>
                    <a:pt x="52" y="70"/>
                  </a:lnTo>
                  <a:lnTo>
                    <a:pt x="48" y="68"/>
                  </a:lnTo>
                  <a:lnTo>
                    <a:pt x="43" y="70"/>
                  </a:lnTo>
                  <a:lnTo>
                    <a:pt x="16" y="52"/>
                  </a:lnTo>
                  <a:lnTo>
                    <a:pt x="6" y="33"/>
                  </a:lnTo>
                  <a:lnTo>
                    <a:pt x="0" y="5"/>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0" name="Nepal">
              <a:extLst>
                <a:ext uri="{FF2B5EF4-FFF2-40B4-BE49-F238E27FC236}">
                  <a16:creationId xmlns:a16="http://schemas.microsoft.com/office/drawing/2014/main" id="{ACEF8D01-E055-B35A-1B11-725E7F933AE7}"/>
                </a:ext>
              </a:extLst>
            </p:cNvPr>
            <p:cNvSpPr>
              <a:spLocks/>
            </p:cNvSpPr>
            <p:nvPr/>
          </p:nvSpPr>
          <p:spPr bwMode="auto">
            <a:xfrm>
              <a:off x="7712416" y="3841090"/>
              <a:ext cx="193357" cy="108424"/>
            </a:xfrm>
            <a:custGeom>
              <a:avLst/>
              <a:gdLst>
                <a:gd name="T0" fmla="*/ 15 w 107"/>
                <a:gd name="T1" fmla="*/ 0 h 60"/>
                <a:gd name="T2" fmla="*/ 15 w 107"/>
                <a:gd name="T3" fmla="*/ 2 h 60"/>
                <a:gd name="T4" fmla="*/ 18 w 107"/>
                <a:gd name="T5" fmla="*/ 3 h 60"/>
                <a:gd name="T6" fmla="*/ 18 w 107"/>
                <a:gd name="T7" fmla="*/ 0 h 60"/>
                <a:gd name="T8" fmla="*/ 26 w 107"/>
                <a:gd name="T9" fmla="*/ 0 h 60"/>
                <a:gd name="T10" fmla="*/ 28 w 107"/>
                <a:gd name="T11" fmla="*/ 2 h 60"/>
                <a:gd name="T12" fmla="*/ 31 w 107"/>
                <a:gd name="T13" fmla="*/ 2 h 60"/>
                <a:gd name="T14" fmla="*/ 43 w 107"/>
                <a:gd name="T15" fmla="*/ 11 h 60"/>
                <a:gd name="T16" fmla="*/ 48 w 107"/>
                <a:gd name="T17" fmla="*/ 18 h 60"/>
                <a:gd name="T18" fmla="*/ 55 w 107"/>
                <a:gd name="T19" fmla="*/ 15 h 60"/>
                <a:gd name="T20" fmla="*/ 57 w 107"/>
                <a:gd name="T21" fmla="*/ 15 h 60"/>
                <a:gd name="T22" fmla="*/ 55 w 107"/>
                <a:gd name="T23" fmla="*/ 23 h 60"/>
                <a:gd name="T24" fmla="*/ 68 w 107"/>
                <a:gd name="T25" fmla="*/ 26 h 60"/>
                <a:gd name="T26" fmla="*/ 68 w 107"/>
                <a:gd name="T27" fmla="*/ 29 h 60"/>
                <a:gd name="T28" fmla="*/ 76 w 107"/>
                <a:gd name="T29" fmla="*/ 32 h 60"/>
                <a:gd name="T30" fmla="*/ 79 w 107"/>
                <a:gd name="T31" fmla="*/ 36 h 60"/>
                <a:gd name="T32" fmla="*/ 88 w 107"/>
                <a:gd name="T33" fmla="*/ 35 h 60"/>
                <a:gd name="T34" fmla="*/ 97 w 107"/>
                <a:gd name="T35" fmla="*/ 37 h 60"/>
                <a:gd name="T36" fmla="*/ 100 w 107"/>
                <a:gd name="T37" fmla="*/ 37 h 60"/>
                <a:gd name="T38" fmla="*/ 104 w 107"/>
                <a:gd name="T39" fmla="*/ 36 h 60"/>
                <a:gd name="T40" fmla="*/ 107 w 107"/>
                <a:gd name="T41" fmla="*/ 36 h 60"/>
                <a:gd name="T42" fmla="*/ 106 w 107"/>
                <a:gd name="T43" fmla="*/ 46 h 60"/>
                <a:gd name="T44" fmla="*/ 104 w 107"/>
                <a:gd name="T45" fmla="*/ 49 h 60"/>
                <a:gd name="T46" fmla="*/ 107 w 107"/>
                <a:gd name="T47" fmla="*/ 52 h 60"/>
                <a:gd name="T48" fmla="*/ 107 w 107"/>
                <a:gd name="T49" fmla="*/ 54 h 60"/>
                <a:gd name="T50" fmla="*/ 106 w 107"/>
                <a:gd name="T51" fmla="*/ 58 h 60"/>
                <a:gd name="T52" fmla="*/ 103 w 107"/>
                <a:gd name="T53" fmla="*/ 58 h 60"/>
                <a:gd name="T54" fmla="*/ 100 w 107"/>
                <a:gd name="T55" fmla="*/ 60 h 60"/>
                <a:gd name="T56" fmla="*/ 94 w 107"/>
                <a:gd name="T57" fmla="*/ 60 h 60"/>
                <a:gd name="T58" fmla="*/ 66 w 107"/>
                <a:gd name="T59" fmla="*/ 52 h 60"/>
                <a:gd name="T60" fmla="*/ 57 w 107"/>
                <a:gd name="T61" fmla="*/ 45 h 60"/>
                <a:gd name="T62" fmla="*/ 37 w 107"/>
                <a:gd name="T63" fmla="*/ 45 h 60"/>
                <a:gd name="T64" fmla="*/ 2 w 107"/>
                <a:gd name="T65" fmla="*/ 24 h 60"/>
                <a:gd name="T66" fmla="*/ 0 w 107"/>
                <a:gd name="T67" fmla="*/ 24 h 60"/>
                <a:gd name="T68" fmla="*/ 0 w 107"/>
                <a:gd name="T69" fmla="*/ 23 h 60"/>
                <a:gd name="T70" fmla="*/ 5 w 107"/>
                <a:gd name="T71" fmla="*/ 8 h 60"/>
                <a:gd name="T72" fmla="*/ 14 w 107"/>
                <a:gd name="T73" fmla="*/ 2 h 60"/>
                <a:gd name="T74" fmla="*/ 15 w 107"/>
                <a:gd name="T7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60">
                  <a:moveTo>
                    <a:pt x="15" y="0"/>
                  </a:moveTo>
                  <a:lnTo>
                    <a:pt x="15" y="2"/>
                  </a:lnTo>
                  <a:lnTo>
                    <a:pt x="18" y="3"/>
                  </a:lnTo>
                  <a:lnTo>
                    <a:pt x="18" y="0"/>
                  </a:lnTo>
                  <a:lnTo>
                    <a:pt x="26" y="0"/>
                  </a:lnTo>
                  <a:lnTo>
                    <a:pt x="28" y="2"/>
                  </a:lnTo>
                  <a:lnTo>
                    <a:pt x="31" y="2"/>
                  </a:lnTo>
                  <a:lnTo>
                    <a:pt x="43" y="11"/>
                  </a:lnTo>
                  <a:lnTo>
                    <a:pt x="48" y="18"/>
                  </a:lnTo>
                  <a:lnTo>
                    <a:pt x="55" y="15"/>
                  </a:lnTo>
                  <a:lnTo>
                    <a:pt x="57" y="15"/>
                  </a:lnTo>
                  <a:lnTo>
                    <a:pt x="55" y="23"/>
                  </a:lnTo>
                  <a:lnTo>
                    <a:pt x="68" y="26"/>
                  </a:lnTo>
                  <a:lnTo>
                    <a:pt x="68" y="29"/>
                  </a:lnTo>
                  <a:lnTo>
                    <a:pt x="76" y="32"/>
                  </a:lnTo>
                  <a:lnTo>
                    <a:pt x="79" y="36"/>
                  </a:lnTo>
                  <a:lnTo>
                    <a:pt x="88" y="35"/>
                  </a:lnTo>
                  <a:lnTo>
                    <a:pt x="97" y="37"/>
                  </a:lnTo>
                  <a:lnTo>
                    <a:pt x="100" y="37"/>
                  </a:lnTo>
                  <a:lnTo>
                    <a:pt x="104" y="36"/>
                  </a:lnTo>
                  <a:lnTo>
                    <a:pt x="107" y="36"/>
                  </a:lnTo>
                  <a:lnTo>
                    <a:pt x="106" y="46"/>
                  </a:lnTo>
                  <a:lnTo>
                    <a:pt x="104" y="49"/>
                  </a:lnTo>
                  <a:lnTo>
                    <a:pt x="107" y="52"/>
                  </a:lnTo>
                  <a:lnTo>
                    <a:pt x="107" y="54"/>
                  </a:lnTo>
                  <a:lnTo>
                    <a:pt x="106" y="58"/>
                  </a:lnTo>
                  <a:lnTo>
                    <a:pt x="103" y="58"/>
                  </a:lnTo>
                  <a:lnTo>
                    <a:pt x="100" y="60"/>
                  </a:lnTo>
                  <a:lnTo>
                    <a:pt x="94" y="60"/>
                  </a:lnTo>
                  <a:lnTo>
                    <a:pt x="66" y="52"/>
                  </a:lnTo>
                  <a:lnTo>
                    <a:pt x="57" y="45"/>
                  </a:lnTo>
                  <a:lnTo>
                    <a:pt x="37" y="45"/>
                  </a:lnTo>
                  <a:lnTo>
                    <a:pt x="2" y="24"/>
                  </a:lnTo>
                  <a:lnTo>
                    <a:pt x="0" y="24"/>
                  </a:lnTo>
                  <a:lnTo>
                    <a:pt x="0" y="23"/>
                  </a:lnTo>
                  <a:lnTo>
                    <a:pt x="5" y="8"/>
                  </a:lnTo>
                  <a:lnTo>
                    <a:pt x="14" y="2"/>
                  </a:lnTo>
                  <a:lnTo>
                    <a:pt x="1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1" name="Vietnam">
              <a:extLst>
                <a:ext uri="{FF2B5EF4-FFF2-40B4-BE49-F238E27FC236}">
                  <a16:creationId xmlns:a16="http://schemas.microsoft.com/office/drawing/2014/main" id="{BF7A508D-F76C-E257-5CCD-5ACDE689B2EC}"/>
                </a:ext>
              </a:extLst>
            </p:cNvPr>
            <p:cNvSpPr>
              <a:spLocks/>
            </p:cNvSpPr>
            <p:nvPr/>
          </p:nvSpPr>
          <p:spPr bwMode="auto">
            <a:xfrm>
              <a:off x="8238270" y="4027218"/>
              <a:ext cx="168057" cy="357799"/>
            </a:xfrm>
            <a:custGeom>
              <a:avLst/>
              <a:gdLst>
                <a:gd name="T0" fmla="*/ 56 w 93"/>
                <a:gd name="T1" fmla="*/ 6 h 198"/>
                <a:gd name="T2" fmla="*/ 61 w 93"/>
                <a:gd name="T3" fmla="*/ 19 h 198"/>
                <a:gd name="T4" fmla="*/ 75 w 93"/>
                <a:gd name="T5" fmla="*/ 25 h 198"/>
                <a:gd name="T6" fmla="*/ 68 w 93"/>
                <a:gd name="T7" fmla="*/ 28 h 198"/>
                <a:gd name="T8" fmla="*/ 49 w 93"/>
                <a:gd name="T9" fmla="*/ 47 h 198"/>
                <a:gd name="T10" fmla="*/ 46 w 93"/>
                <a:gd name="T11" fmla="*/ 65 h 198"/>
                <a:gd name="T12" fmla="*/ 56 w 93"/>
                <a:gd name="T13" fmla="*/ 77 h 198"/>
                <a:gd name="T14" fmla="*/ 72 w 93"/>
                <a:gd name="T15" fmla="*/ 95 h 198"/>
                <a:gd name="T16" fmla="*/ 80 w 93"/>
                <a:gd name="T17" fmla="*/ 98 h 198"/>
                <a:gd name="T18" fmla="*/ 87 w 93"/>
                <a:gd name="T19" fmla="*/ 108 h 198"/>
                <a:gd name="T20" fmla="*/ 92 w 93"/>
                <a:gd name="T21" fmla="*/ 148 h 198"/>
                <a:gd name="T22" fmla="*/ 89 w 93"/>
                <a:gd name="T23" fmla="*/ 163 h 198"/>
                <a:gd name="T24" fmla="*/ 67 w 93"/>
                <a:gd name="T25" fmla="*/ 175 h 198"/>
                <a:gd name="T26" fmla="*/ 56 w 93"/>
                <a:gd name="T27" fmla="*/ 181 h 198"/>
                <a:gd name="T28" fmla="*/ 55 w 93"/>
                <a:gd name="T29" fmla="*/ 187 h 198"/>
                <a:gd name="T30" fmla="*/ 52 w 93"/>
                <a:gd name="T31" fmla="*/ 188 h 198"/>
                <a:gd name="T32" fmla="*/ 34 w 93"/>
                <a:gd name="T33" fmla="*/ 198 h 198"/>
                <a:gd name="T34" fmla="*/ 37 w 93"/>
                <a:gd name="T35" fmla="*/ 179 h 198"/>
                <a:gd name="T36" fmla="*/ 29 w 93"/>
                <a:gd name="T37" fmla="*/ 173 h 198"/>
                <a:gd name="T38" fmla="*/ 35 w 93"/>
                <a:gd name="T39" fmla="*/ 169 h 198"/>
                <a:gd name="T40" fmla="*/ 47 w 93"/>
                <a:gd name="T41" fmla="*/ 164 h 198"/>
                <a:gd name="T42" fmla="*/ 55 w 93"/>
                <a:gd name="T43" fmla="*/ 157 h 198"/>
                <a:gd name="T44" fmla="*/ 68 w 93"/>
                <a:gd name="T45" fmla="*/ 148 h 198"/>
                <a:gd name="T46" fmla="*/ 68 w 93"/>
                <a:gd name="T47" fmla="*/ 109 h 198"/>
                <a:gd name="T48" fmla="*/ 56 w 93"/>
                <a:gd name="T49" fmla="*/ 93 h 198"/>
                <a:gd name="T50" fmla="*/ 55 w 93"/>
                <a:gd name="T51" fmla="*/ 92 h 198"/>
                <a:gd name="T52" fmla="*/ 47 w 93"/>
                <a:gd name="T53" fmla="*/ 80 h 198"/>
                <a:gd name="T54" fmla="*/ 22 w 93"/>
                <a:gd name="T55" fmla="*/ 56 h 198"/>
                <a:gd name="T56" fmla="*/ 24 w 93"/>
                <a:gd name="T57" fmla="*/ 50 h 198"/>
                <a:gd name="T58" fmla="*/ 29 w 93"/>
                <a:gd name="T59" fmla="*/ 49 h 198"/>
                <a:gd name="T60" fmla="*/ 28 w 93"/>
                <a:gd name="T61" fmla="*/ 35 h 198"/>
                <a:gd name="T62" fmla="*/ 12 w 93"/>
                <a:gd name="T63" fmla="*/ 34 h 198"/>
                <a:gd name="T64" fmla="*/ 7 w 93"/>
                <a:gd name="T65" fmla="*/ 22 h 198"/>
                <a:gd name="T66" fmla="*/ 0 w 93"/>
                <a:gd name="T67" fmla="*/ 12 h 198"/>
                <a:gd name="T68" fmla="*/ 3 w 93"/>
                <a:gd name="T69" fmla="*/ 6 h 198"/>
                <a:gd name="T70" fmla="*/ 15 w 93"/>
                <a:gd name="T71" fmla="*/ 7 h 198"/>
                <a:gd name="T72" fmla="*/ 21 w 93"/>
                <a:gd name="T73" fmla="*/ 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 h="198">
                  <a:moveTo>
                    <a:pt x="38" y="0"/>
                  </a:moveTo>
                  <a:lnTo>
                    <a:pt x="56" y="6"/>
                  </a:lnTo>
                  <a:lnTo>
                    <a:pt x="56" y="7"/>
                  </a:lnTo>
                  <a:lnTo>
                    <a:pt x="61" y="19"/>
                  </a:lnTo>
                  <a:lnTo>
                    <a:pt x="67" y="23"/>
                  </a:lnTo>
                  <a:lnTo>
                    <a:pt x="75" y="25"/>
                  </a:lnTo>
                  <a:lnTo>
                    <a:pt x="75" y="26"/>
                  </a:lnTo>
                  <a:lnTo>
                    <a:pt x="68" y="28"/>
                  </a:lnTo>
                  <a:lnTo>
                    <a:pt x="58" y="37"/>
                  </a:lnTo>
                  <a:lnTo>
                    <a:pt x="49" y="47"/>
                  </a:lnTo>
                  <a:lnTo>
                    <a:pt x="46" y="59"/>
                  </a:lnTo>
                  <a:lnTo>
                    <a:pt x="46" y="65"/>
                  </a:lnTo>
                  <a:lnTo>
                    <a:pt x="53" y="71"/>
                  </a:lnTo>
                  <a:lnTo>
                    <a:pt x="56" y="77"/>
                  </a:lnTo>
                  <a:lnTo>
                    <a:pt x="64" y="86"/>
                  </a:lnTo>
                  <a:lnTo>
                    <a:pt x="72" y="95"/>
                  </a:lnTo>
                  <a:lnTo>
                    <a:pt x="78" y="98"/>
                  </a:lnTo>
                  <a:lnTo>
                    <a:pt x="80" y="98"/>
                  </a:lnTo>
                  <a:lnTo>
                    <a:pt x="81" y="103"/>
                  </a:lnTo>
                  <a:lnTo>
                    <a:pt x="87" y="108"/>
                  </a:lnTo>
                  <a:lnTo>
                    <a:pt x="93" y="142"/>
                  </a:lnTo>
                  <a:lnTo>
                    <a:pt x="92" y="148"/>
                  </a:lnTo>
                  <a:lnTo>
                    <a:pt x="92" y="158"/>
                  </a:lnTo>
                  <a:lnTo>
                    <a:pt x="89" y="163"/>
                  </a:lnTo>
                  <a:lnTo>
                    <a:pt x="75" y="172"/>
                  </a:lnTo>
                  <a:lnTo>
                    <a:pt x="67" y="175"/>
                  </a:lnTo>
                  <a:lnTo>
                    <a:pt x="61" y="175"/>
                  </a:lnTo>
                  <a:lnTo>
                    <a:pt x="56" y="181"/>
                  </a:lnTo>
                  <a:lnTo>
                    <a:pt x="56" y="187"/>
                  </a:lnTo>
                  <a:lnTo>
                    <a:pt x="55" y="187"/>
                  </a:lnTo>
                  <a:lnTo>
                    <a:pt x="50" y="184"/>
                  </a:lnTo>
                  <a:lnTo>
                    <a:pt x="52" y="188"/>
                  </a:lnTo>
                  <a:lnTo>
                    <a:pt x="38" y="198"/>
                  </a:lnTo>
                  <a:lnTo>
                    <a:pt x="34" y="198"/>
                  </a:lnTo>
                  <a:lnTo>
                    <a:pt x="34" y="188"/>
                  </a:lnTo>
                  <a:lnTo>
                    <a:pt x="37" y="179"/>
                  </a:lnTo>
                  <a:lnTo>
                    <a:pt x="29" y="175"/>
                  </a:lnTo>
                  <a:lnTo>
                    <a:pt x="29" y="173"/>
                  </a:lnTo>
                  <a:lnTo>
                    <a:pt x="34" y="172"/>
                  </a:lnTo>
                  <a:lnTo>
                    <a:pt x="35" y="169"/>
                  </a:lnTo>
                  <a:lnTo>
                    <a:pt x="35" y="167"/>
                  </a:lnTo>
                  <a:lnTo>
                    <a:pt x="47" y="164"/>
                  </a:lnTo>
                  <a:lnTo>
                    <a:pt x="47" y="157"/>
                  </a:lnTo>
                  <a:lnTo>
                    <a:pt x="55" y="157"/>
                  </a:lnTo>
                  <a:lnTo>
                    <a:pt x="55" y="154"/>
                  </a:lnTo>
                  <a:lnTo>
                    <a:pt x="68" y="148"/>
                  </a:lnTo>
                  <a:lnTo>
                    <a:pt x="67" y="117"/>
                  </a:lnTo>
                  <a:lnTo>
                    <a:pt x="68" y="109"/>
                  </a:lnTo>
                  <a:lnTo>
                    <a:pt x="64" y="96"/>
                  </a:lnTo>
                  <a:lnTo>
                    <a:pt x="56" y="93"/>
                  </a:lnTo>
                  <a:lnTo>
                    <a:pt x="55" y="93"/>
                  </a:lnTo>
                  <a:lnTo>
                    <a:pt x="55" y="92"/>
                  </a:lnTo>
                  <a:lnTo>
                    <a:pt x="53" y="83"/>
                  </a:lnTo>
                  <a:lnTo>
                    <a:pt x="47" y="80"/>
                  </a:lnTo>
                  <a:lnTo>
                    <a:pt x="37" y="65"/>
                  </a:lnTo>
                  <a:lnTo>
                    <a:pt x="22" y="56"/>
                  </a:lnTo>
                  <a:lnTo>
                    <a:pt x="22" y="55"/>
                  </a:lnTo>
                  <a:lnTo>
                    <a:pt x="24" y="50"/>
                  </a:lnTo>
                  <a:lnTo>
                    <a:pt x="24" y="49"/>
                  </a:lnTo>
                  <a:lnTo>
                    <a:pt x="29" y="49"/>
                  </a:lnTo>
                  <a:lnTo>
                    <a:pt x="32" y="46"/>
                  </a:lnTo>
                  <a:lnTo>
                    <a:pt x="28" y="35"/>
                  </a:lnTo>
                  <a:lnTo>
                    <a:pt x="25" y="34"/>
                  </a:lnTo>
                  <a:lnTo>
                    <a:pt x="12" y="34"/>
                  </a:lnTo>
                  <a:lnTo>
                    <a:pt x="9" y="29"/>
                  </a:lnTo>
                  <a:lnTo>
                    <a:pt x="7" y="22"/>
                  </a:lnTo>
                  <a:lnTo>
                    <a:pt x="0" y="13"/>
                  </a:lnTo>
                  <a:lnTo>
                    <a:pt x="0" y="12"/>
                  </a:lnTo>
                  <a:lnTo>
                    <a:pt x="3" y="7"/>
                  </a:lnTo>
                  <a:lnTo>
                    <a:pt x="3" y="6"/>
                  </a:lnTo>
                  <a:lnTo>
                    <a:pt x="12" y="9"/>
                  </a:lnTo>
                  <a:lnTo>
                    <a:pt x="15" y="7"/>
                  </a:lnTo>
                  <a:lnTo>
                    <a:pt x="16" y="7"/>
                  </a:lnTo>
                  <a:lnTo>
                    <a:pt x="21" y="9"/>
                  </a:lnTo>
                  <a:lnTo>
                    <a:pt x="3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2" name="India">
              <a:extLst>
                <a:ext uri="{FF2B5EF4-FFF2-40B4-BE49-F238E27FC236}">
                  <a16:creationId xmlns:a16="http://schemas.microsoft.com/office/drawing/2014/main" id="{E0B78947-98C2-122F-9E81-7C8CBB9B7583}"/>
                </a:ext>
              </a:extLst>
            </p:cNvPr>
            <p:cNvSpPr>
              <a:spLocks/>
            </p:cNvSpPr>
            <p:nvPr/>
          </p:nvSpPr>
          <p:spPr bwMode="auto">
            <a:xfrm>
              <a:off x="7428708" y="3680262"/>
              <a:ext cx="697525" cy="719211"/>
            </a:xfrm>
            <a:custGeom>
              <a:avLst/>
              <a:gdLst>
                <a:gd name="T0" fmla="*/ 162 w 386"/>
                <a:gd name="T1" fmla="*/ 8 h 398"/>
                <a:gd name="T2" fmla="*/ 153 w 386"/>
                <a:gd name="T3" fmla="*/ 26 h 398"/>
                <a:gd name="T4" fmla="*/ 145 w 386"/>
                <a:gd name="T5" fmla="*/ 42 h 398"/>
                <a:gd name="T6" fmla="*/ 145 w 386"/>
                <a:gd name="T7" fmla="*/ 60 h 398"/>
                <a:gd name="T8" fmla="*/ 140 w 386"/>
                <a:gd name="T9" fmla="*/ 55 h 398"/>
                <a:gd name="T10" fmla="*/ 151 w 386"/>
                <a:gd name="T11" fmla="*/ 78 h 398"/>
                <a:gd name="T12" fmla="*/ 194 w 386"/>
                <a:gd name="T13" fmla="*/ 132 h 398"/>
                <a:gd name="T14" fmla="*/ 261 w 386"/>
                <a:gd name="T15" fmla="*/ 146 h 398"/>
                <a:gd name="T16" fmla="*/ 263 w 386"/>
                <a:gd name="T17" fmla="*/ 125 h 398"/>
                <a:gd name="T18" fmla="*/ 273 w 386"/>
                <a:gd name="T19" fmla="*/ 131 h 398"/>
                <a:gd name="T20" fmla="*/ 274 w 386"/>
                <a:gd name="T21" fmla="*/ 140 h 398"/>
                <a:gd name="T22" fmla="*/ 310 w 386"/>
                <a:gd name="T23" fmla="*/ 131 h 398"/>
                <a:gd name="T24" fmla="*/ 357 w 386"/>
                <a:gd name="T25" fmla="*/ 104 h 398"/>
                <a:gd name="T26" fmla="*/ 372 w 386"/>
                <a:gd name="T27" fmla="*/ 109 h 398"/>
                <a:gd name="T28" fmla="*/ 386 w 386"/>
                <a:gd name="T29" fmla="*/ 121 h 398"/>
                <a:gd name="T30" fmla="*/ 380 w 386"/>
                <a:gd name="T31" fmla="*/ 135 h 398"/>
                <a:gd name="T32" fmla="*/ 350 w 386"/>
                <a:gd name="T33" fmla="*/ 165 h 398"/>
                <a:gd name="T34" fmla="*/ 332 w 386"/>
                <a:gd name="T35" fmla="*/ 198 h 398"/>
                <a:gd name="T36" fmla="*/ 329 w 386"/>
                <a:gd name="T37" fmla="*/ 208 h 398"/>
                <a:gd name="T38" fmla="*/ 310 w 386"/>
                <a:gd name="T39" fmla="*/ 195 h 398"/>
                <a:gd name="T40" fmla="*/ 304 w 386"/>
                <a:gd name="T41" fmla="*/ 192 h 398"/>
                <a:gd name="T42" fmla="*/ 288 w 386"/>
                <a:gd name="T43" fmla="*/ 164 h 398"/>
                <a:gd name="T44" fmla="*/ 276 w 386"/>
                <a:gd name="T45" fmla="*/ 153 h 398"/>
                <a:gd name="T46" fmla="*/ 268 w 386"/>
                <a:gd name="T47" fmla="*/ 147 h 398"/>
                <a:gd name="T48" fmla="*/ 270 w 386"/>
                <a:gd name="T49" fmla="*/ 159 h 398"/>
                <a:gd name="T50" fmla="*/ 261 w 386"/>
                <a:gd name="T51" fmla="*/ 169 h 398"/>
                <a:gd name="T52" fmla="*/ 274 w 386"/>
                <a:gd name="T53" fmla="*/ 215 h 398"/>
                <a:gd name="T54" fmla="*/ 263 w 386"/>
                <a:gd name="T55" fmla="*/ 209 h 398"/>
                <a:gd name="T56" fmla="*/ 240 w 386"/>
                <a:gd name="T57" fmla="*/ 238 h 398"/>
                <a:gd name="T58" fmla="*/ 185 w 386"/>
                <a:gd name="T59" fmla="*/ 285 h 398"/>
                <a:gd name="T60" fmla="*/ 159 w 386"/>
                <a:gd name="T61" fmla="*/ 301 h 398"/>
                <a:gd name="T62" fmla="*/ 156 w 386"/>
                <a:gd name="T63" fmla="*/ 368 h 398"/>
                <a:gd name="T64" fmla="*/ 134 w 386"/>
                <a:gd name="T65" fmla="*/ 384 h 398"/>
                <a:gd name="T66" fmla="*/ 113 w 386"/>
                <a:gd name="T67" fmla="*/ 386 h 398"/>
                <a:gd name="T68" fmla="*/ 79 w 386"/>
                <a:gd name="T69" fmla="*/ 306 h 398"/>
                <a:gd name="T70" fmla="*/ 68 w 386"/>
                <a:gd name="T71" fmla="*/ 285 h 398"/>
                <a:gd name="T72" fmla="*/ 59 w 386"/>
                <a:gd name="T73" fmla="*/ 241 h 398"/>
                <a:gd name="T74" fmla="*/ 61 w 386"/>
                <a:gd name="T75" fmla="*/ 207 h 398"/>
                <a:gd name="T76" fmla="*/ 31 w 386"/>
                <a:gd name="T77" fmla="*/ 226 h 398"/>
                <a:gd name="T78" fmla="*/ 25 w 386"/>
                <a:gd name="T79" fmla="*/ 202 h 398"/>
                <a:gd name="T80" fmla="*/ 12 w 386"/>
                <a:gd name="T81" fmla="*/ 198 h 398"/>
                <a:gd name="T82" fmla="*/ 12 w 386"/>
                <a:gd name="T83" fmla="*/ 175 h 398"/>
                <a:gd name="T84" fmla="*/ 37 w 386"/>
                <a:gd name="T85" fmla="*/ 177 h 398"/>
                <a:gd name="T86" fmla="*/ 30 w 386"/>
                <a:gd name="T87" fmla="*/ 146 h 398"/>
                <a:gd name="T88" fmla="*/ 33 w 386"/>
                <a:gd name="T89" fmla="*/ 122 h 398"/>
                <a:gd name="T90" fmla="*/ 57 w 386"/>
                <a:gd name="T91" fmla="*/ 113 h 398"/>
                <a:gd name="T92" fmla="*/ 82 w 386"/>
                <a:gd name="T93" fmla="*/ 81 h 398"/>
                <a:gd name="T94" fmla="*/ 88 w 386"/>
                <a:gd name="T95" fmla="*/ 72 h 398"/>
                <a:gd name="T96" fmla="*/ 97 w 386"/>
                <a:gd name="T97" fmla="*/ 60 h 398"/>
                <a:gd name="T98" fmla="*/ 83 w 386"/>
                <a:gd name="T99" fmla="*/ 51 h 398"/>
                <a:gd name="T100" fmla="*/ 79 w 386"/>
                <a:gd name="T101" fmla="*/ 36 h 398"/>
                <a:gd name="T102" fmla="*/ 76 w 386"/>
                <a:gd name="T103" fmla="*/ 27 h 398"/>
                <a:gd name="T104" fmla="*/ 83 w 386"/>
                <a:gd name="T105" fmla="*/ 18 h 398"/>
                <a:gd name="T106" fmla="*/ 119 w 386"/>
                <a:gd name="T107" fmla="*/ 1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6" h="398">
                  <a:moveTo>
                    <a:pt x="148" y="0"/>
                  </a:moveTo>
                  <a:lnTo>
                    <a:pt x="159" y="6"/>
                  </a:lnTo>
                  <a:lnTo>
                    <a:pt x="159" y="9"/>
                  </a:lnTo>
                  <a:lnTo>
                    <a:pt x="162" y="8"/>
                  </a:lnTo>
                  <a:lnTo>
                    <a:pt x="163" y="8"/>
                  </a:lnTo>
                  <a:lnTo>
                    <a:pt x="163" y="9"/>
                  </a:lnTo>
                  <a:lnTo>
                    <a:pt x="159" y="21"/>
                  </a:lnTo>
                  <a:lnTo>
                    <a:pt x="153" y="26"/>
                  </a:lnTo>
                  <a:lnTo>
                    <a:pt x="153" y="32"/>
                  </a:lnTo>
                  <a:lnTo>
                    <a:pt x="151" y="32"/>
                  </a:lnTo>
                  <a:lnTo>
                    <a:pt x="144" y="33"/>
                  </a:lnTo>
                  <a:lnTo>
                    <a:pt x="145" y="42"/>
                  </a:lnTo>
                  <a:lnTo>
                    <a:pt x="151" y="45"/>
                  </a:lnTo>
                  <a:lnTo>
                    <a:pt x="153" y="52"/>
                  </a:lnTo>
                  <a:lnTo>
                    <a:pt x="145" y="58"/>
                  </a:lnTo>
                  <a:lnTo>
                    <a:pt x="145" y="60"/>
                  </a:lnTo>
                  <a:lnTo>
                    <a:pt x="144" y="60"/>
                  </a:lnTo>
                  <a:lnTo>
                    <a:pt x="144" y="58"/>
                  </a:lnTo>
                  <a:lnTo>
                    <a:pt x="141" y="54"/>
                  </a:lnTo>
                  <a:lnTo>
                    <a:pt x="140" y="55"/>
                  </a:lnTo>
                  <a:lnTo>
                    <a:pt x="142" y="64"/>
                  </a:lnTo>
                  <a:lnTo>
                    <a:pt x="142" y="72"/>
                  </a:lnTo>
                  <a:lnTo>
                    <a:pt x="145" y="78"/>
                  </a:lnTo>
                  <a:lnTo>
                    <a:pt x="151" y="78"/>
                  </a:lnTo>
                  <a:lnTo>
                    <a:pt x="172" y="91"/>
                  </a:lnTo>
                  <a:lnTo>
                    <a:pt x="163" y="98"/>
                  </a:lnTo>
                  <a:lnTo>
                    <a:pt x="159" y="112"/>
                  </a:lnTo>
                  <a:lnTo>
                    <a:pt x="194" y="132"/>
                  </a:lnTo>
                  <a:lnTo>
                    <a:pt x="215" y="132"/>
                  </a:lnTo>
                  <a:lnTo>
                    <a:pt x="223" y="141"/>
                  </a:lnTo>
                  <a:lnTo>
                    <a:pt x="251" y="147"/>
                  </a:lnTo>
                  <a:lnTo>
                    <a:pt x="261" y="146"/>
                  </a:lnTo>
                  <a:lnTo>
                    <a:pt x="263" y="141"/>
                  </a:lnTo>
                  <a:lnTo>
                    <a:pt x="260" y="138"/>
                  </a:lnTo>
                  <a:lnTo>
                    <a:pt x="261" y="135"/>
                  </a:lnTo>
                  <a:lnTo>
                    <a:pt x="263" y="125"/>
                  </a:lnTo>
                  <a:lnTo>
                    <a:pt x="264" y="125"/>
                  </a:lnTo>
                  <a:lnTo>
                    <a:pt x="271" y="122"/>
                  </a:lnTo>
                  <a:lnTo>
                    <a:pt x="273" y="122"/>
                  </a:lnTo>
                  <a:lnTo>
                    <a:pt x="273" y="131"/>
                  </a:lnTo>
                  <a:lnTo>
                    <a:pt x="274" y="132"/>
                  </a:lnTo>
                  <a:lnTo>
                    <a:pt x="274" y="134"/>
                  </a:lnTo>
                  <a:lnTo>
                    <a:pt x="273" y="135"/>
                  </a:lnTo>
                  <a:lnTo>
                    <a:pt x="274" y="140"/>
                  </a:lnTo>
                  <a:lnTo>
                    <a:pt x="283" y="141"/>
                  </a:lnTo>
                  <a:lnTo>
                    <a:pt x="313" y="138"/>
                  </a:lnTo>
                  <a:lnTo>
                    <a:pt x="316" y="134"/>
                  </a:lnTo>
                  <a:lnTo>
                    <a:pt x="310" y="131"/>
                  </a:lnTo>
                  <a:lnTo>
                    <a:pt x="310" y="126"/>
                  </a:lnTo>
                  <a:lnTo>
                    <a:pt x="328" y="119"/>
                  </a:lnTo>
                  <a:lnTo>
                    <a:pt x="347" y="104"/>
                  </a:lnTo>
                  <a:lnTo>
                    <a:pt x="357" y="104"/>
                  </a:lnTo>
                  <a:lnTo>
                    <a:pt x="366" y="101"/>
                  </a:lnTo>
                  <a:lnTo>
                    <a:pt x="368" y="101"/>
                  </a:lnTo>
                  <a:lnTo>
                    <a:pt x="371" y="109"/>
                  </a:lnTo>
                  <a:lnTo>
                    <a:pt x="372" y="109"/>
                  </a:lnTo>
                  <a:lnTo>
                    <a:pt x="372" y="116"/>
                  </a:lnTo>
                  <a:lnTo>
                    <a:pt x="381" y="118"/>
                  </a:lnTo>
                  <a:lnTo>
                    <a:pt x="384" y="121"/>
                  </a:lnTo>
                  <a:lnTo>
                    <a:pt x="386" y="121"/>
                  </a:lnTo>
                  <a:lnTo>
                    <a:pt x="386" y="125"/>
                  </a:lnTo>
                  <a:lnTo>
                    <a:pt x="384" y="125"/>
                  </a:lnTo>
                  <a:lnTo>
                    <a:pt x="381" y="126"/>
                  </a:lnTo>
                  <a:lnTo>
                    <a:pt x="380" y="135"/>
                  </a:lnTo>
                  <a:lnTo>
                    <a:pt x="369" y="137"/>
                  </a:lnTo>
                  <a:lnTo>
                    <a:pt x="357" y="146"/>
                  </a:lnTo>
                  <a:lnTo>
                    <a:pt x="357" y="156"/>
                  </a:lnTo>
                  <a:lnTo>
                    <a:pt x="350" y="165"/>
                  </a:lnTo>
                  <a:lnTo>
                    <a:pt x="344" y="181"/>
                  </a:lnTo>
                  <a:lnTo>
                    <a:pt x="344" y="183"/>
                  </a:lnTo>
                  <a:lnTo>
                    <a:pt x="332" y="186"/>
                  </a:lnTo>
                  <a:lnTo>
                    <a:pt x="332" y="198"/>
                  </a:lnTo>
                  <a:lnTo>
                    <a:pt x="328" y="198"/>
                  </a:lnTo>
                  <a:lnTo>
                    <a:pt x="328" y="199"/>
                  </a:lnTo>
                  <a:lnTo>
                    <a:pt x="329" y="207"/>
                  </a:lnTo>
                  <a:lnTo>
                    <a:pt x="329" y="208"/>
                  </a:lnTo>
                  <a:lnTo>
                    <a:pt x="323" y="211"/>
                  </a:lnTo>
                  <a:lnTo>
                    <a:pt x="322" y="211"/>
                  </a:lnTo>
                  <a:lnTo>
                    <a:pt x="316" y="187"/>
                  </a:lnTo>
                  <a:lnTo>
                    <a:pt x="310" y="195"/>
                  </a:lnTo>
                  <a:lnTo>
                    <a:pt x="310" y="196"/>
                  </a:lnTo>
                  <a:lnTo>
                    <a:pt x="309" y="196"/>
                  </a:lnTo>
                  <a:lnTo>
                    <a:pt x="309" y="195"/>
                  </a:lnTo>
                  <a:lnTo>
                    <a:pt x="304" y="192"/>
                  </a:lnTo>
                  <a:lnTo>
                    <a:pt x="301" y="183"/>
                  </a:lnTo>
                  <a:lnTo>
                    <a:pt x="301" y="181"/>
                  </a:lnTo>
                  <a:lnTo>
                    <a:pt x="316" y="166"/>
                  </a:lnTo>
                  <a:lnTo>
                    <a:pt x="288" y="164"/>
                  </a:lnTo>
                  <a:lnTo>
                    <a:pt x="283" y="159"/>
                  </a:lnTo>
                  <a:lnTo>
                    <a:pt x="282" y="152"/>
                  </a:lnTo>
                  <a:lnTo>
                    <a:pt x="280" y="153"/>
                  </a:lnTo>
                  <a:lnTo>
                    <a:pt x="276" y="153"/>
                  </a:lnTo>
                  <a:lnTo>
                    <a:pt x="274" y="149"/>
                  </a:lnTo>
                  <a:lnTo>
                    <a:pt x="273" y="152"/>
                  </a:lnTo>
                  <a:lnTo>
                    <a:pt x="271" y="152"/>
                  </a:lnTo>
                  <a:lnTo>
                    <a:pt x="268" y="147"/>
                  </a:lnTo>
                  <a:lnTo>
                    <a:pt x="264" y="155"/>
                  </a:lnTo>
                  <a:lnTo>
                    <a:pt x="266" y="158"/>
                  </a:lnTo>
                  <a:lnTo>
                    <a:pt x="270" y="158"/>
                  </a:lnTo>
                  <a:lnTo>
                    <a:pt x="270" y="159"/>
                  </a:lnTo>
                  <a:lnTo>
                    <a:pt x="271" y="164"/>
                  </a:lnTo>
                  <a:lnTo>
                    <a:pt x="271" y="165"/>
                  </a:lnTo>
                  <a:lnTo>
                    <a:pt x="266" y="165"/>
                  </a:lnTo>
                  <a:lnTo>
                    <a:pt x="261" y="169"/>
                  </a:lnTo>
                  <a:lnTo>
                    <a:pt x="268" y="177"/>
                  </a:lnTo>
                  <a:lnTo>
                    <a:pt x="268" y="186"/>
                  </a:lnTo>
                  <a:lnTo>
                    <a:pt x="274" y="214"/>
                  </a:lnTo>
                  <a:lnTo>
                    <a:pt x="274" y="215"/>
                  </a:lnTo>
                  <a:lnTo>
                    <a:pt x="270" y="215"/>
                  </a:lnTo>
                  <a:lnTo>
                    <a:pt x="266" y="217"/>
                  </a:lnTo>
                  <a:lnTo>
                    <a:pt x="264" y="217"/>
                  </a:lnTo>
                  <a:lnTo>
                    <a:pt x="263" y="209"/>
                  </a:lnTo>
                  <a:lnTo>
                    <a:pt x="261" y="212"/>
                  </a:lnTo>
                  <a:lnTo>
                    <a:pt x="249" y="218"/>
                  </a:lnTo>
                  <a:lnTo>
                    <a:pt x="249" y="229"/>
                  </a:lnTo>
                  <a:lnTo>
                    <a:pt x="240" y="238"/>
                  </a:lnTo>
                  <a:lnTo>
                    <a:pt x="223" y="248"/>
                  </a:lnTo>
                  <a:lnTo>
                    <a:pt x="212" y="261"/>
                  </a:lnTo>
                  <a:lnTo>
                    <a:pt x="188" y="279"/>
                  </a:lnTo>
                  <a:lnTo>
                    <a:pt x="185" y="285"/>
                  </a:lnTo>
                  <a:lnTo>
                    <a:pt x="174" y="288"/>
                  </a:lnTo>
                  <a:lnTo>
                    <a:pt x="169" y="297"/>
                  </a:lnTo>
                  <a:lnTo>
                    <a:pt x="162" y="297"/>
                  </a:lnTo>
                  <a:lnTo>
                    <a:pt x="159" y="301"/>
                  </a:lnTo>
                  <a:lnTo>
                    <a:pt x="159" y="324"/>
                  </a:lnTo>
                  <a:lnTo>
                    <a:pt x="162" y="330"/>
                  </a:lnTo>
                  <a:lnTo>
                    <a:pt x="156" y="350"/>
                  </a:lnTo>
                  <a:lnTo>
                    <a:pt x="156" y="368"/>
                  </a:lnTo>
                  <a:lnTo>
                    <a:pt x="148" y="368"/>
                  </a:lnTo>
                  <a:lnTo>
                    <a:pt x="144" y="377"/>
                  </a:lnTo>
                  <a:lnTo>
                    <a:pt x="144" y="381"/>
                  </a:lnTo>
                  <a:lnTo>
                    <a:pt x="134" y="384"/>
                  </a:lnTo>
                  <a:lnTo>
                    <a:pt x="132" y="392"/>
                  </a:lnTo>
                  <a:lnTo>
                    <a:pt x="128" y="398"/>
                  </a:lnTo>
                  <a:lnTo>
                    <a:pt x="122" y="398"/>
                  </a:lnTo>
                  <a:lnTo>
                    <a:pt x="113" y="386"/>
                  </a:lnTo>
                  <a:lnTo>
                    <a:pt x="101" y="353"/>
                  </a:lnTo>
                  <a:lnTo>
                    <a:pt x="92" y="341"/>
                  </a:lnTo>
                  <a:lnTo>
                    <a:pt x="88" y="324"/>
                  </a:lnTo>
                  <a:lnTo>
                    <a:pt x="79" y="306"/>
                  </a:lnTo>
                  <a:lnTo>
                    <a:pt x="77" y="300"/>
                  </a:lnTo>
                  <a:lnTo>
                    <a:pt x="74" y="300"/>
                  </a:lnTo>
                  <a:lnTo>
                    <a:pt x="73" y="295"/>
                  </a:lnTo>
                  <a:lnTo>
                    <a:pt x="68" y="285"/>
                  </a:lnTo>
                  <a:lnTo>
                    <a:pt x="62" y="260"/>
                  </a:lnTo>
                  <a:lnTo>
                    <a:pt x="64" y="251"/>
                  </a:lnTo>
                  <a:lnTo>
                    <a:pt x="62" y="251"/>
                  </a:lnTo>
                  <a:lnTo>
                    <a:pt x="59" y="241"/>
                  </a:lnTo>
                  <a:lnTo>
                    <a:pt x="62" y="230"/>
                  </a:lnTo>
                  <a:lnTo>
                    <a:pt x="58" y="211"/>
                  </a:lnTo>
                  <a:lnTo>
                    <a:pt x="58" y="209"/>
                  </a:lnTo>
                  <a:lnTo>
                    <a:pt x="61" y="207"/>
                  </a:lnTo>
                  <a:lnTo>
                    <a:pt x="55" y="205"/>
                  </a:lnTo>
                  <a:lnTo>
                    <a:pt x="52" y="221"/>
                  </a:lnTo>
                  <a:lnTo>
                    <a:pt x="42" y="226"/>
                  </a:lnTo>
                  <a:lnTo>
                    <a:pt x="31" y="226"/>
                  </a:lnTo>
                  <a:lnTo>
                    <a:pt x="14" y="208"/>
                  </a:lnTo>
                  <a:lnTo>
                    <a:pt x="12" y="205"/>
                  </a:lnTo>
                  <a:lnTo>
                    <a:pt x="12" y="204"/>
                  </a:lnTo>
                  <a:lnTo>
                    <a:pt x="25" y="202"/>
                  </a:lnTo>
                  <a:lnTo>
                    <a:pt x="30" y="199"/>
                  </a:lnTo>
                  <a:lnTo>
                    <a:pt x="30" y="195"/>
                  </a:lnTo>
                  <a:lnTo>
                    <a:pt x="22" y="198"/>
                  </a:lnTo>
                  <a:lnTo>
                    <a:pt x="12" y="198"/>
                  </a:lnTo>
                  <a:lnTo>
                    <a:pt x="0" y="184"/>
                  </a:lnTo>
                  <a:lnTo>
                    <a:pt x="5" y="181"/>
                  </a:lnTo>
                  <a:lnTo>
                    <a:pt x="11" y="181"/>
                  </a:lnTo>
                  <a:lnTo>
                    <a:pt x="12" y="175"/>
                  </a:lnTo>
                  <a:lnTo>
                    <a:pt x="27" y="178"/>
                  </a:lnTo>
                  <a:lnTo>
                    <a:pt x="33" y="174"/>
                  </a:lnTo>
                  <a:lnTo>
                    <a:pt x="34" y="174"/>
                  </a:lnTo>
                  <a:lnTo>
                    <a:pt x="37" y="177"/>
                  </a:lnTo>
                  <a:lnTo>
                    <a:pt x="42" y="175"/>
                  </a:lnTo>
                  <a:lnTo>
                    <a:pt x="34" y="158"/>
                  </a:lnTo>
                  <a:lnTo>
                    <a:pt x="28" y="155"/>
                  </a:lnTo>
                  <a:lnTo>
                    <a:pt x="30" y="146"/>
                  </a:lnTo>
                  <a:lnTo>
                    <a:pt x="21" y="144"/>
                  </a:lnTo>
                  <a:lnTo>
                    <a:pt x="19" y="143"/>
                  </a:lnTo>
                  <a:lnTo>
                    <a:pt x="21" y="137"/>
                  </a:lnTo>
                  <a:lnTo>
                    <a:pt x="33" y="122"/>
                  </a:lnTo>
                  <a:lnTo>
                    <a:pt x="34" y="122"/>
                  </a:lnTo>
                  <a:lnTo>
                    <a:pt x="39" y="126"/>
                  </a:lnTo>
                  <a:lnTo>
                    <a:pt x="51" y="124"/>
                  </a:lnTo>
                  <a:lnTo>
                    <a:pt x="57" y="113"/>
                  </a:lnTo>
                  <a:lnTo>
                    <a:pt x="64" y="109"/>
                  </a:lnTo>
                  <a:lnTo>
                    <a:pt x="71" y="95"/>
                  </a:lnTo>
                  <a:lnTo>
                    <a:pt x="76" y="92"/>
                  </a:lnTo>
                  <a:lnTo>
                    <a:pt x="82" y="81"/>
                  </a:lnTo>
                  <a:lnTo>
                    <a:pt x="89" y="78"/>
                  </a:lnTo>
                  <a:lnTo>
                    <a:pt x="86" y="76"/>
                  </a:lnTo>
                  <a:lnTo>
                    <a:pt x="86" y="75"/>
                  </a:lnTo>
                  <a:lnTo>
                    <a:pt x="88" y="72"/>
                  </a:lnTo>
                  <a:lnTo>
                    <a:pt x="86" y="70"/>
                  </a:lnTo>
                  <a:lnTo>
                    <a:pt x="86" y="69"/>
                  </a:lnTo>
                  <a:lnTo>
                    <a:pt x="88" y="64"/>
                  </a:lnTo>
                  <a:lnTo>
                    <a:pt x="97" y="60"/>
                  </a:lnTo>
                  <a:lnTo>
                    <a:pt x="95" y="57"/>
                  </a:lnTo>
                  <a:lnTo>
                    <a:pt x="88" y="57"/>
                  </a:lnTo>
                  <a:lnTo>
                    <a:pt x="88" y="52"/>
                  </a:lnTo>
                  <a:lnTo>
                    <a:pt x="83" y="51"/>
                  </a:lnTo>
                  <a:lnTo>
                    <a:pt x="77" y="45"/>
                  </a:lnTo>
                  <a:lnTo>
                    <a:pt x="77" y="43"/>
                  </a:lnTo>
                  <a:lnTo>
                    <a:pt x="82" y="40"/>
                  </a:lnTo>
                  <a:lnTo>
                    <a:pt x="79" y="36"/>
                  </a:lnTo>
                  <a:lnTo>
                    <a:pt x="82" y="33"/>
                  </a:lnTo>
                  <a:lnTo>
                    <a:pt x="77" y="30"/>
                  </a:lnTo>
                  <a:lnTo>
                    <a:pt x="79" y="27"/>
                  </a:lnTo>
                  <a:lnTo>
                    <a:pt x="76" y="27"/>
                  </a:lnTo>
                  <a:lnTo>
                    <a:pt x="76" y="26"/>
                  </a:lnTo>
                  <a:lnTo>
                    <a:pt x="77" y="20"/>
                  </a:lnTo>
                  <a:lnTo>
                    <a:pt x="79" y="20"/>
                  </a:lnTo>
                  <a:lnTo>
                    <a:pt x="83" y="18"/>
                  </a:lnTo>
                  <a:lnTo>
                    <a:pt x="100" y="23"/>
                  </a:lnTo>
                  <a:lnTo>
                    <a:pt x="110" y="20"/>
                  </a:lnTo>
                  <a:lnTo>
                    <a:pt x="116" y="20"/>
                  </a:lnTo>
                  <a:lnTo>
                    <a:pt x="119" y="15"/>
                  </a:lnTo>
                  <a:lnTo>
                    <a:pt x="126" y="9"/>
                  </a:lnTo>
                  <a:lnTo>
                    <a:pt x="14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3" name="Mongolia">
              <a:extLst>
                <a:ext uri="{FF2B5EF4-FFF2-40B4-BE49-F238E27FC236}">
                  <a16:creationId xmlns:a16="http://schemas.microsoft.com/office/drawing/2014/main" id="{4F41040C-572C-174F-CC5D-9D3210E65D99}"/>
                </a:ext>
              </a:extLst>
            </p:cNvPr>
            <p:cNvSpPr>
              <a:spLocks/>
            </p:cNvSpPr>
            <p:nvPr/>
          </p:nvSpPr>
          <p:spPr bwMode="auto">
            <a:xfrm>
              <a:off x="7894931" y="3145371"/>
              <a:ext cx="749931" cy="366834"/>
            </a:xfrm>
            <a:custGeom>
              <a:avLst/>
              <a:gdLst>
                <a:gd name="T0" fmla="*/ 151 w 415"/>
                <a:gd name="T1" fmla="*/ 0 h 203"/>
                <a:gd name="T2" fmla="*/ 187 w 415"/>
                <a:gd name="T3" fmla="*/ 15 h 203"/>
                <a:gd name="T4" fmla="*/ 200 w 415"/>
                <a:gd name="T5" fmla="*/ 37 h 203"/>
                <a:gd name="T6" fmla="*/ 225 w 415"/>
                <a:gd name="T7" fmla="*/ 31 h 203"/>
                <a:gd name="T8" fmla="*/ 265 w 415"/>
                <a:gd name="T9" fmla="*/ 49 h 203"/>
                <a:gd name="T10" fmla="*/ 292 w 415"/>
                <a:gd name="T11" fmla="*/ 59 h 203"/>
                <a:gd name="T12" fmla="*/ 331 w 415"/>
                <a:gd name="T13" fmla="*/ 53 h 203"/>
                <a:gd name="T14" fmla="*/ 351 w 415"/>
                <a:gd name="T15" fmla="*/ 40 h 203"/>
                <a:gd name="T16" fmla="*/ 369 w 415"/>
                <a:gd name="T17" fmla="*/ 47 h 203"/>
                <a:gd name="T18" fmla="*/ 375 w 415"/>
                <a:gd name="T19" fmla="*/ 46 h 203"/>
                <a:gd name="T20" fmla="*/ 365 w 415"/>
                <a:gd name="T21" fmla="*/ 62 h 203"/>
                <a:gd name="T22" fmla="*/ 366 w 415"/>
                <a:gd name="T23" fmla="*/ 90 h 203"/>
                <a:gd name="T24" fmla="*/ 397 w 415"/>
                <a:gd name="T25" fmla="*/ 83 h 203"/>
                <a:gd name="T26" fmla="*/ 411 w 415"/>
                <a:gd name="T27" fmla="*/ 96 h 203"/>
                <a:gd name="T28" fmla="*/ 415 w 415"/>
                <a:gd name="T29" fmla="*/ 110 h 203"/>
                <a:gd name="T30" fmla="*/ 381 w 415"/>
                <a:gd name="T31" fmla="*/ 114 h 203"/>
                <a:gd name="T32" fmla="*/ 354 w 415"/>
                <a:gd name="T33" fmla="*/ 133 h 203"/>
                <a:gd name="T34" fmla="*/ 337 w 415"/>
                <a:gd name="T35" fmla="*/ 147 h 203"/>
                <a:gd name="T36" fmla="*/ 317 w 415"/>
                <a:gd name="T37" fmla="*/ 144 h 203"/>
                <a:gd name="T38" fmla="*/ 317 w 415"/>
                <a:gd name="T39" fmla="*/ 164 h 203"/>
                <a:gd name="T40" fmla="*/ 279 w 415"/>
                <a:gd name="T41" fmla="*/ 190 h 203"/>
                <a:gd name="T42" fmla="*/ 224 w 415"/>
                <a:gd name="T43" fmla="*/ 203 h 203"/>
                <a:gd name="T44" fmla="*/ 171 w 415"/>
                <a:gd name="T45" fmla="*/ 182 h 203"/>
                <a:gd name="T46" fmla="*/ 135 w 415"/>
                <a:gd name="T47" fmla="*/ 184 h 203"/>
                <a:gd name="T48" fmla="*/ 108 w 415"/>
                <a:gd name="T49" fmla="*/ 172 h 203"/>
                <a:gd name="T50" fmla="*/ 68 w 415"/>
                <a:gd name="T51" fmla="*/ 142 h 203"/>
                <a:gd name="T52" fmla="*/ 39 w 415"/>
                <a:gd name="T53" fmla="*/ 136 h 203"/>
                <a:gd name="T54" fmla="*/ 40 w 415"/>
                <a:gd name="T55" fmla="*/ 113 h 203"/>
                <a:gd name="T56" fmla="*/ 31 w 415"/>
                <a:gd name="T57" fmla="*/ 90 h 203"/>
                <a:gd name="T58" fmla="*/ 5 w 415"/>
                <a:gd name="T59" fmla="*/ 76 h 203"/>
                <a:gd name="T60" fmla="*/ 0 w 415"/>
                <a:gd name="T61" fmla="*/ 65 h 203"/>
                <a:gd name="T62" fmla="*/ 39 w 415"/>
                <a:gd name="T63" fmla="*/ 38 h 203"/>
                <a:gd name="T64" fmla="*/ 86 w 415"/>
                <a:gd name="T65" fmla="*/ 36 h 203"/>
                <a:gd name="T66" fmla="*/ 132 w 415"/>
                <a:gd name="T67" fmla="*/ 44 h 203"/>
                <a:gd name="T68" fmla="*/ 134 w 415"/>
                <a:gd name="T69" fmla="*/ 36 h 203"/>
                <a:gd name="T70" fmla="*/ 132 w 415"/>
                <a:gd name="T71" fmla="*/ 16 h 203"/>
                <a:gd name="T72" fmla="*/ 150 w 415"/>
                <a:gd name="T73"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5" h="203">
                  <a:moveTo>
                    <a:pt x="150" y="0"/>
                  </a:moveTo>
                  <a:lnTo>
                    <a:pt x="151" y="0"/>
                  </a:lnTo>
                  <a:lnTo>
                    <a:pt x="185" y="13"/>
                  </a:lnTo>
                  <a:lnTo>
                    <a:pt x="187" y="15"/>
                  </a:lnTo>
                  <a:lnTo>
                    <a:pt x="190" y="30"/>
                  </a:lnTo>
                  <a:lnTo>
                    <a:pt x="200" y="37"/>
                  </a:lnTo>
                  <a:lnTo>
                    <a:pt x="208" y="40"/>
                  </a:lnTo>
                  <a:lnTo>
                    <a:pt x="225" y="31"/>
                  </a:lnTo>
                  <a:lnTo>
                    <a:pt x="234" y="33"/>
                  </a:lnTo>
                  <a:lnTo>
                    <a:pt x="265" y="49"/>
                  </a:lnTo>
                  <a:lnTo>
                    <a:pt x="274" y="56"/>
                  </a:lnTo>
                  <a:lnTo>
                    <a:pt x="292" y="59"/>
                  </a:lnTo>
                  <a:lnTo>
                    <a:pt x="302" y="62"/>
                  </a:lnTo>
                  <a:lnTo>
                    <a:pt x="331" y="53"/>
                  </a:lnTo>
                  <a:lnTo>
                    <a:pt x="350" y="40"/>
                  </a:lnTo>
                  <a:lnTo>
                    <a:pt x="351" y="40"/>
                  </a:lnTo>
                  <a:lnTo>
                    <a:pt x="366" y="47"/>
                  </a:lnTo>
                  <a:lnTo>
                    <a:pt x="369" y="47"/>
                  </a:lnTo>
                  <a:lnTo>
                    <a:pt x="372" y="46"/>
                  </a:lnTo>
                  <a:lnTo>
                    <a:pt x="375" y="46"/>
                  </a:lnTo>
                  <a:lnTo>
                    <a:pt x="375" y="47"/>
                  </a:lnTo>
                  <a:lnTo>
                    <a:pt x="365" y="62"/>
                  </a:lnTo>
                  <a:lnTo>
                    <a:pt x="363" y="83"/>
                  </a:lnTo>
                  <a:lnTo>
                    <a:pt x="366" y="90"/>
                  </a:lnTo>
                  <a:lnTo>
                    <a:pt x="383" y="93"/>
                  </a:lnTo>
                  <a:lnTo>
                    <a:pt x="397" y="83"/>
                  </a:lnTo>
                  <a:lnTo>
                    <a:pt x="399" y="83"/>
                  </a:lnTo>
                  <a:lnTo>
                    <a:pt x="411" y="96"/>
                  </a:lnTo>
                  <a:lnTo>
                    <a:pt x="412" y="105"/>
                  </a:lnTo>
                  <a:lnTo>
                    <a:pt x="415" y="110"/>
                  </a:lnTo>
                  <a:lnTo>
                    <a:pt x="415" y="111"/>
                  </a:lnTo>
                  <a:lnTo>
                    <a:pt x="381" y="114"/>
                  </a:lnTo>
                  <a:lnTo>
                    <a:pt x="365" y="130"/>
                  </a:lnTo>
                  <a:lnTo>
                    <a:pt x="354" y="133"/>
                  </a:lnTo>
                  <a:lnTo>
                    <a:pt x="338" y="147"/>
                  </a:lnTo>
                  <a:lnTo>
                    <a:pt x="337" y="147"/>
                  </a:lnTo>
                  <a:lnTo>
                    <a:pt x="322" y="141"/>
                  </a:lnTo>
                  <a:lnTo>
                    <a:pt x="317" y="144"/>
                  </a:lnTo>
                  <a:lnTo>
                    <a:pt x="311" y="156"/>
                  </a:lnTo>
                  <a:lnTo>
                    <a:pt x="317" y="164"/>
                  </a:lnTo>
                  <a:lnTo>
                    <a:pt x="294" y="187"/>
                  </a:lnTo>
                  <a:lnTo>
                    <a:pt x="279" y="190"/>
                  </a:lnTo>
                  <a:lnTo>
                    <a:pt x="261" y="190"/>
                  </a:lnTo>
                  <a:lnTo>
                    <a:pt x="224" y="203"/>
                  </a:lnTo>
                  <a:lnTo>
                    <a:pt x="193" y="194"/>
                  </a:lnTo>
                  <a:lnTo>
                    <a:pt x="171" y="182"/>
                  </a:lnTo>
                  <a:lnTo>
                    <a:pt x="147" y="182"/>
                  </a:lnTo>
                  <a:lnTo>
                    <a:pt x="135" y="184"/>
                  </a:lnTo>
                  <a:lnTo>
                    <a:pt x="122" y="184"/>
                  </a:lnTo>
                  <a:lnTo>
                    <a:pt x="108" y="172"/>
                  </a:lnTo>
                  <a:lnTo>
                    <a:pt x="98" y="156"/>
                  </a:lnTo>
                  <a:lnTo>
                    <a:pt x="68" y="142"/>
                  </a:lnTo>
                  <a:lnTo>
                    <a:pt x="59" y="144"/>
                  </a:lnTo>
                  <a:lnTo>
                    <a:pt x="39" y="136"/>
                  </a:lnTo>
                  <a:lnTo>
                    <a:pt x="40" y="129"/>
                  </a:lnTo>
                  <a:lnTo>
                    <a:pt x="40" y="113"/>
                  </a:lnTo>
                  <a:lnTo>
                    <a:pt x="33" y="93"/>
                  </a:lnTo>
                  <a:lnTo>
                    <a:pt x="31" y="90"/>
                  </a:lnTo>
                  <a:lnTo>
                    <a:pt x="15" y="87"/>
                  </a:lnTo>
                  <a:lnTo>
                    <a:pt x="5" y="76"/>
                  </a:lnTo>
                  <a:lnTo>
                    <a:pt x="0" y="67"/>
                  </a:lnTo>
                  <a:lnTo>
                    <a:pt x="0" y="65"/>
                  </a:lnTo>
                  <a:lnTo>
                    <a:pt x="8" y="56"/>
                  </a:lnTo>
                  <a:lnTo>
                    <a:pt x="39" y="38"/>
                  </a:lnTo>
                  <a:lnTo>
                    <a:pt x="53" y="33"/>
                  </a:lnTo>
                  <a:lnTo>
                    <a:pt x="86" y="36"/>
                  </a:lnTo>
                  <a:lnTo>
                    <a:pt x="93" y="44"/>
                  </a:lnTo>
                  <a:lnTo>
                    <a:pt x="132" y="44"/>
                  </a:lnTo>
                  <a:lnTo>
                    <a:pt x="134" y="43"/>
                  </a:lnTo>
                  <a:lnTo>
                    <a:pt x="134" y="36"/>
                  </a:lnTo>
                  <a:lnTo>
                    <a:pt x="135" y="31"/>
                  </a:lnTo>
                  <a:lnTo>
                    <a:pt x="132" y="16"/>
                  </a:lnTo>
                  <a:lnTo>
                    <a:pt x="132" y="15"/>
                  </a:lnTo>
                  <a:lnTo>
                    <a:pt x="15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4" name="Georgia">
              <a:extLst>
                <a:ext uri="{FF2B5EF4-FFF2-40B4-BE49-F238E27FC236}">
                  <a16:creationId xmlns:a16="http://schemas.microsoft.com/office/drawing/2014/main" id="{BBF29540-4D24-70DC-5A0C-6EC2313E0D4D}"/>
                </a:ext>
              </a:extLst>
            </p:cNvPr>
            <p:cNvSpPr>
              <a:spLocks/>
            </p:cNvSpPr>
            <p:nvPr/>
          </p:nvSpPr>
          <p:spPr bwMode="auto">
            <a:xfrm>
              <a:off x="6765516" y="3445344"/>
              <a:ext cx="162635" cy="84933"/>
            </a:xfrm>
            <a:custGeom>
              <a:avLst/>
              <a:gdLst>
                <a:gd name="T0" fmla="*/ 11 w 90"/>
                <a:gd name="T1" fmla="*/ 0 h 47"/>
                <a:gd name="T2" fmla="*/ 26 w 90"/>
                <a:gd name="T3" fmla="*/ 6 h 47"/>
                <a:gd name="T4" fmla="*/ 41 w 90"/>
                <a:gd name="T5" fmla="*/ 6 h 47"/>
                <a:gd name="T6" fmla="*/ 56 w 90"/>
                <a:gd name="T7" fmla="*/ 16 h 47"/>
                <a:gd name="T8" fmla="*/ 65 w 90"/>
                <a:gd name="T9" fmla="*/ 13 h 47"/>
                <a:gd name="T10" fmla="*/ 71 w 90"/>
                <a:gd name="T11" fmla="*/ 15 h 47"/>
                <a:gd name="T12" fmla="*/ 78 w 90"/>
                <a:gd name="T13" fmla="*/ 18 h 47"/>
                <a:gd name="T14" fmla="*/ 78 w 90"/>
                <a:gd name="T15" fmla="*/ 24 h 47"/>
                <a:gd name="T16" fmla="*/ 87 w 90"/>
                <a:gd name="T17" fmla="*/ 28 h 47"/>
                <a:gd name="T18" fmla="*/ 87 w 90"/>
                <a:gd name="T19" fmla="*/ 30 h 47"/>
                <a:gd name="T20" fmla="*/ 89 w 90"/>
                <a:gd name="T21" fmla="*/ 30 h 47"/>
                <a:gd name="T22" fmla="*/ 86 w 90"/>
                <a:gd name="T23" fmla="*/ 34 h 47"/>
                <a:gd name="T24" fmla="*/ 90 w 90"/>
                <a:gd name="T25" fmla="*/ 39 h 47"/>
                <a:gd name="T26" fmla="*/ 90 w 90"/>
                <a:gd name="T27" fmla="*/ 43 h 47"/>
                <a:gd name="T28" fmla="*/ 89 w 90"/>
                <a:gd name="T29" fmla="*/ 43 h 47"/>
                <a:gd name="T30" fmla="*/ 74 w 90"/>
                <a:gd name="T31" fmla="*/ 39 h 47"/>
                <a:gd name="T32" fmla="*/ 69 w 90"/>
                <a:gd name="T33" fmla="*/ 40 h 47"/>
                <a:gd name="T34" fmla="*/ 66 w 90"/>
                <a:gd name="T35" fmla="*/ 41 h 47"/>
                <a:gd name="T36" fmla="*/ 49 w 90"/>
                <a:gd name="T37" fmla="*/ 47 h 47"/>
                <a:gd name="T38" fmla="*/ 38 w 90"/>
                <a:gd name="T39" fmla="*/ 37 h 47"/>
                <a:gd name="T40" fmla="*/ 34 w 90"/>
                <a:gd name="T41" fmla="*/ 39 h 47"/>
                <a:gd name="T42" fmla="*/ 22 w 90"/>
                <a:gd name="T43" fmla="*/ 37 h 47"/>
                <a:gd name="T44" fmla="*/ 22 w 90"/>
                <a:gd name="T45" fmla="*/ 36 h 47"/>
                <a:gd name="T46" fmla="*/ 25 w 90"/>
                <a:gd name="T47" fmla="*/ 34 h 47"/>
                <a:gd name="T48" fmla="*/ 25 w 90"/>
                <a:gd name="T49" fmla="*/ 28 h 47"/>
                <a:gd name="T50" fmla="*/ 19 w 90"/>
                <a:gd name="T51" fmla="*/ 16 h 47"/>
                <a:gd name="T52" fmla="*/ 6 w 90"/>
                <a:gd name="T53" fmla="*/ 9 h 47"/>
                <a:gd name="T54" fmla="*/ 0 w 90"/>
                <a:gd name="T55" fmla="*/ 3 h 47"/>
                <a:gd name="T56" fmla="*/ 0 w 90"/>
                <a:gd name="T57" fmla="*/ 1 h 47"/>
                <a:gd name="T58" fmla="*/ 11 w 90"/>
                <a:gd name="T5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47">
                  <a:moveTo>
                    <a:pt x="11" y="0"/>
                  </a:moveTo>
                  <a:lnTo>
                    <a:pt x="26" y="6"/>
                  </a:lnTo>
                  <a:lnTo>
                    <a:pt x="41" y="6"/>
                  </a:lnTo>
                  <a:lnTo>
                    <a:pt x="56" y="16"/>
                  </a:lnTo>
                  <a:lnTo>
                    <a:pt x="65" y="13"/>
                  </a:lnTo>
                  <a:lnTo>
                    <a:pt x="71" y="15"/>
                  </a:lnTo>
                  <a:lnTo>
                    <a:pt x="78" y="18"/>
                  </a:lnTo>
                  <a:lnTo>
                    <a:pt x="78" y="24"/>
                  </a:lnTo>
                  <a:lnTo>
                    <a:pt x="87" y="28"/>
                  </a:lnTo>
                  <a:lnTo>
                    <a:pt x="87" y="30"/>
                  </a:lnTo>
                  <a:lnTo>
                    <a:pt x="89" y="30"/>
                  </a:lnTo>
                  <a:lnTo>
                    <a:pt x="86" y="34"/>
                  </a:lnTo>
                  <a:lnTo>
                    <a:pt x="90" y="39"/>
                  </a:lnTo>
                  <a:lnTo>
                    <a:pt x="90" y="43"/>
                  </a:lnTo>
                  <a:lnTo>
                    <a:pt x="89" y="43"/>
                  </a:lnTo>
                  <a:lnTo>
                    <a:pt x="74" y="39"/>
                  </a:lnTo>
                  <a:lnTo>
                    <a:pt x="69" y="40"/>
                  </a:lnTo>
                  <a:lnTo>
                    <a:pt x="66" y="41"/>
                  </a:lnTo>
                  <a:lnTo>
                    <a:pt x="49" y="47"/>
                  </a:lnTo>
                  <a:lnTo>
                    <a:pt x="38" y="37"/>
                  </a:lnTo>
                  <a:lnTo>
                    <a:pt x="34" y="39"/>
                  </a:lnTo>
                  <a:lnTo>
                    <a:pt x="22" y="37"/>
                  </a:lnTo>
                  <a:lnTo>
                    <a:pt x="22" y="36"/>
                  </a:lnTo>
                  <a:lnTo>
                    <a:pt x="25" y="34"/>
                  </a:lnTo>
                  <a:lnTo>
                    <a:pt x="25" y="28"/>
                  </a:lnTo>
                  <a:lnTo>
                    <a:pt x="19" y="16"/>
                  </a:lnTo>
                  <a:lnTo>
                    <a:pt x="6" y="9"/>
                  </a:lnTo>
                  <a:lnTo>
                    <a:pt x="0" y="3"/>
                  </a:lnTo>
                  <a:lnTo>
                    <a:pt x="0" y="1"/>
                  </a:lnTo>
                  <a:lnTo>
                    <a:pt x="1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5" name="Turkmenistan">
              <a:extLst>
                <a:ext uri="{FF2B5EF4-FFF2-40B4-BE49-F238E27FC236}">
                  <a16:creationId xmlns:a16="http://schemas.microsoft.com/office/drawing/2014/main" id="{0AACD9AC-45AA-0E14-3AED-B45F3B943F9D}"/>
                </a:ext>
              </a:extLst>
            </p:cNvPr>
            <p:cNvSpPr>
              <a:spLocks/>
            </p:cNvSpPr>
            <p:nvPr/>
          </p:nvSpPr>
          <p:spPr bwMode="auto">
            <a:xfrm>
              <a:off x="7061874" y="3468835"/>
              <a:ext cx="339728" cy="236726"/>
            </a:xfrm>
            <a:custGeom>
              <a:avLst/>
              <a:gdLst>
                <a:gd name="T0" fmla="*/ 83 w 188"/>
                <a:gd name="T1" fmla="*/ 0 h 131"/>
                <a:gd name="T2" fmla="*/ 101 w 188"/>
                <a:gd name="T3" fmla="*/ 9 h 131"/>
                <a:gd name="T4" fmla="*/ 104 w 188"/>
                <a:gd name="T5" fmla="*/ 18 h 131"/>
                <a:gd name="T6" fmla="*/ 102 w 188"/>
                <a:gd name="T7" fmla="*/ 20 h 131"/>
                <a:gd name="T8" fmla="*/ 117 w 188"/>
                <a:gd name="T9" fmla="*/ 28 h 131"/>
                <a:gd name="T10" fmla="*/ 126 w 188"/>
                <a:gd name="T11" fmla="*/ 30 h 131"/>
                <a:gd name="T12" fmla="*/ 148 w 188"/>
                <a:gd name="T13" fmla="*/ 58 h 131"/>
                <a:gd name="T14" fmla="*/ 162 w 188"/>
                <a:gd name="T15" fmla="*/ 69 h 131"/>
                <a:gd name="T16" fmla="*/ 178 w 188"/>
                <a:gd name="T17" fmla="*/ 77 h 131"/>
                <a:gd name="T18" fmla="*/ 187 w 188"/>
                <a:gd name="T19" fmla="*/ 88 h 131"/>
                <a:gd name="T20" fmla="*/ 182 w 188"/>
                <a:gd name="T21" fmla="*/ 95 h 131"/>
                <a:gd name="T22" fmla="*/ 175 w 188"/>
                <a:gd name="T23" fmla="*/ 94 h 131"/>
                <a:gd name="T24" fmla="*/ 165 w 188"/>
                <a:gd name="T25" fmla="*/ 97 h 131"/>
                <a:gd name="T26" fmla="*/ 159 w 188"/>
                <a:gd name="T27" fmla="*/ 112 h 131"/>
                <a:gd name="T28" fmla="*/ 142 w 188"/>
                <a:gd name="T29" fmla="*/ 122 h 131"/>
                <a:gd name="T30" fmla="*/ 141 w 188"/>
                <a:gd name="T31" fmla="*/ 126 h 131"/>
                <a:gd name="T32" fmla="*/ 135 w 188"/>
                <a:gd name="T33" fmla="*/ 131 h 131"/>
                <a:gd name="T34" fmla="*/ 116 w 188"/>
                <a:gd name="T35" fmla="*/ 123 h 131"/>
                <a:gd name="T36" fmla="*/ 114 w 188"/>
                <a:gd name="T37" fmla="*/ 109 h 131"/>
                <a:gd name="T38" fmla="*/ 94 w 188"/>
                <a:gd name="T39" fmla="*/ 98 h 131"/>
                <a:gd name="T40" fmla="*/ 67 w 188"/>
                <a:gd name="T41" fmla="*/ 85 h 131"/>
                <a:gd name="T42" fmla="*/ 40 w 188"/>
                <a:gd name="T43" fmla="*/ 83 h 131"/>
                <a:gd name="T44" fmla="*/ 21 w 188"/>
                <a:gd name="T45" fmla="*/ 94 h 131"/>
                <a:gd name="T46" fmla="*/ 18 w 188"/>
                <a:gd name="T47" fmla="*/ 76 h 131"/>
                <a:gd name="T48" fmla="*/ 13 w 188"/>
                <a:gd name="T49" fmla="*/ 63 h 131"/>
                <a:gd name="T50" fmla="*/ 12 w 188"/>
                <a:gd name="T51" fmla="*/ 61 h 131"/>
                <a:gd name="T52" fmla="*/ 18 w 188"/>
                <a:gd name="T53" fmla="*/ 58 h 131"/>
                <a:gd name="T54" fmla="*/ 12 w 188"/>
                <a:gd name="T55" fmla="*/ 55 h 131"/>
                <a:gd name="T56" fmla="*/ 15 w 188"/>
                <a:gd name="T57" fmla="*/ 52 h 131"/>
                <a:gd name="T58" fmla="*/ 6 w 188"/>
                <a:gd name="T59" fmla="*/ 52 h 131"/>
                <a:gd name="T60" fmla="*/ 6 w 188"/>
                <a:gd name="T61" fmla="*/ 31 h 131"/>
                <a:gd name="T62" fmla="*/ 9 w 188"/>
                <a:gd name="T63" fmla="*/ 37 h 131"/>
                <a:gd name="T64" fmla="*/ 25 w 188"/>
                <a:gd name="T65" fmla="*/ 39 h 131"/>
                <a:gd name="T66" fmla="*/ 24 w 188"/>
                <a:gd name="T67" fmla="*/ 36 h 131"/>
                <a:gd name="T68" fmla="*/ 22 w 188"/>
                <a:gd name="T69" fmla="*/ 24 h 131"/>
                <a:gd name="T70" fmla="*/ 15 w 188"/>
                <a:gd name="T71" fmla="*/ 17 h 131"/>
                <a:gd name="T72" fmla="*/ 6 w 188"/>
                <a:gd name="T73" fmla="*/ 31 h 131"/>
                <a:gd name="T74" fmla="*/ 5 w 188"/>
                <a:gd name="T75" fmla="*/ 30 h 131"/>
                <a:gd name="T76" fmla="*/ 9 w 188"/>
                <a:gd name="T77" fmla="*/ 12 h 131"/>
                <a:gd name="T78" fmla="*/ 25 w 188"/>
                <a:gd name="T79" fmla="*/ 8 h 131"/>
                <a:gd name="T80" fmla="*/ 42 w 188"/>
                <a:gd name="T81" fmla="*/ 27 h 131"/>
                <a:gd name="T82" fmla="*/ 61 w 188"/>
                <a:gd name="T83" fmla="*/ 27 h 131"/>
                <a:gd name="T84" fmla="*/ 61 w 188"/>
                <a:gd name="T85" fmla="*/ 17 h 131"/>
                <a:gd name="T86" fmla="*/ 73 w 188"/>
                <a:gd name="T87" fmla="*/ 11 h 131"/>
                <a:gd name="T88" fmla="*/ 76 w 188"/>
                <a:gd name="T89" fmla="*/ 6 h 131"/>
                <a:gd name="T90" fmla="*/ 77 w 188"/>
                <a:gd name="T91" fmla="*/ 5 h 131"/>
                <a:gd name="T92" fmla="*/ 80 w 188"/>
                <a:gd name="T93" fmla="*/ 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8" h="131">
                  <a:moveTo>
                    <a:pt x="82" y="0"/>
                  </a:moveTo>
                  <a:lnTo>
                    <a:pt x="83" y="0"/>
                  </a:lnTo>
                  <a:lnTo>
                    <a:pt x="92" y="9"/>
                  </a:lnTo>
                  <a:lnTo>
                    <a:pt x="101" y="9"/>
                  </a:lnTo>
                  <a:lnTo>
                    <a:pt x="101" y="15"/>
                  </a:lnTo>
                  <a:lnTo>
                    <a:pt x="104" y="18"/>
                  </a:lnTo>
                  <a:lnTo>
                    <a:pt x="104" y="20"/>
                  </a:lnTo>
                  <a:lnTo>
                    <a:pt x="102" y="20"/>
                  </a:lnTo>
                  <a:lnTo>
                    <a:pt x="104" y="26"/>
                  </a:lnTo>
                  <a:lnTo>
                    <a:pt x="117" y="28"/>
                  </a:lnTo>
                  <a:lnTo>
                    <a:pt x="122" y="26"/>
                  </a:lnTo>
                  <a:lnTo>
                    <a:pt x="126" y="30"/>
                  </a:lnTo>
                  <a:lnTo>
                    <a:pt x="136" y="52"/>
                  </a:lnTo>
                  <a:lnTo>
                    <a:pt x="148" y="58"/>
                  </a:lnTo>
                  <a:lnTo>
                    <a:pt x="154" y="66"/>
                  </a:lnTo>
                  <a:lnTo>
                    <a:pt x="162" y="69"/>
                  </a:lnTo>
                  <a:lnTo>
                    <a:pt x="174" y="77"/>
                  </a:lnTo>
                  <a:lnTo>
                    <a:pt x="178" y="77"/>
                  </a:lnTo>
                  <a:lnTo>
                    <a:pt x="188" y="83"/>
                  </a:lnTo>
                  <a:lnTo>
                    <a:pt x="187" y="88"/>
                  </a:lnTo>
                  <a:lnTo>
                    <a:pt x="187" y="95"/>
                  </a:lnTo>
                  <a:lnTo>
                    <a:pt x="182" y="95"/>
                  </a:lnTo>
                  <a:lnTo>
                    <a:pt x="178" y="94"/>
                  </a:lnTo>
                  <a:lnTo>
                    <a:pt x="175" y="94"/>
                  </a:lnTo>
                  <a:lnTo>
                    <a:pt x="171" y="97"/>
                  </a:lnTo>
                  <a:lnTo>
                    <a:pt x="165" y="97"/>
                  </a:lnTo>
                  <a:lnTo>
                    <a:pt x="160" y="112"/>
                  </a:lnTo>
                  <a:lnTo>
                    <a:pt x="159" y="112"/>
                  </a:lnTo>
                  <a:lnTo>
                    <a:pt x="141" y="120"/>
                  </a:lnTo>
                  <a:lnTo>
                    <a:pt x="142" y="122"/>
                  </a:lnTo>
                  <a:lnTo>
                    <a:pt x="142" y="123"/>
                  </a:lnTo>
                  <a:lnTo>
                    <a:pt x="141" y="126"/>
                  </a:lnTo>
                  <a:lnTo>
                    <a:pt x="136" y="131"/>
                  </a:lnTo>
                  <a:lnTo>
                    <a:pt x="135" y="131"/>
                  </a:lnTo>
                  <a:lnTo>
                    <a:pt x="120" y="126"/>
                  </a:lnTo>
                  <a:lnTo>
                    <a:pt x="116" y="123"/>
                  </a:lnTo>
                  <a:lnTo>
                    <a:pt x="116" y="119"/>
                  </a:lnTo>
                  <a:lnTo>
                    <a:pt x="114" y="109"/>
                  </a:lnTo>
                  <a:lnTo>
                    <a:pt x="108" y="109"/>
                  </a:lnTo>
                  <a:lnTo>
                    <a:pt x="94" y="98"/>
                  </a:lnTo>
                  <a:lnTo>
                    <a:pt x="89" y="91"/>
                  </a:lnTo>
                  <a:lnTo>
                    <a:pt x="67" y="85"/>
                  </a:lnTo>
                  <a:lnTo>
                    <a:pt x="62" y="79"/>
                  </a:lnTo>
                  <a:lnTo>
                    <a:pt x="40" y="83"/>
                  </a:lnTo>
                  <a:lnTo>
                    <a:pt x="28" y="92"/>
                  </a:lnTo>
                  <a:lnTo>
                    <a:pt x="21" y="94"/>
                  </a:lnTo>
                  <a:lnTo>
                    <a:pt x="19" y="94"/>
                  </a:lnTo>
                  <a:lnTo>
                    <a:pt x="18" y="76"/>
                  </a:lnTo>
                  <a:lnTo>
                    <a:pt x="21" y="67"/>
                  </a:lnTo>
                  <a:lnTo>
                    <a:pt x="13" y="63"/>
                  </a:lnTo>
                  <a:lnTo>
                    <a:pt x="12" y="63"/>
                  </a:lnTo>
                  <a:lnTo>
                    <a:pt x="12" y="61"/>
                  </a:lnTo>
                  <a:lnTo>
                    <a:pt x="13" y="61"/>
                  </a:lnTo>
                  <a:lnTo>
                    <a:pt x="18" y="58"/>
                  </a:lnTo>
                  <a:lnTo>
                    <a:pt x="13" y="55"/>
                  </a:lnTo>
                  <a:lnTo>
                    <a:pt x="12" y="55"/>
                  </a:lnTo>
                  <a:lnTo>
                    <a:pt x="12" y="54"/>
                  </a:lnTo>
                  <a:lnTo>
                    <a:pt x="15" y="52"/>
                  </a:lnTo>
                  <a:lnTo>
                    <a:pt x="13" y="51"/>
                  </a:lnTo>
                  <a:lnTo>
                    <a:pt x="6" y="52"/>
                  </a:lnTo>
                  <a:lnTo>
                    <a:pt x="5" y="45"/>
                  </a:lnTo>
                  <a:lnTo>
                    <a:pt x="6" y="31"/>
                  </a:lnTo>
                  <a:lnTo>
                    <a:pt x="8" y="31"/>
                  </a:lnTo>
                  <a:lnTo>
                    <a:pt x="9" y="37"/>
                  </a:lnTo>
                  <a:lnTo>
                    <a:pt x="24" y="39"/>
                  </a:lnTo>
                  <a:lnTo>
                    <a:pt x="25" y="39"/>
                  </a:lnTo>
                  <a:lnTo>
                    <a:pt x="24" y="37"/>
                  </a:lnTo>
                  <a:lnTo>
                    <a:pt x="24" y="36"/>
                  </a:lnTo>
                  <a:lnTo>
                    <a:pt x="30" y="31"/>
                  </a:lnTo>
                  <a:lnTo>
                    <a:pt x="22" y="24"/>
                  </a:lnTo>
                  <a:lnTo>
                    <a:pt x="18" y="17"/>
                  </a:lnTo>
                  <a:lnTo>
                    <a:pt x="15" y="17"/>
                  </a:lnTo>
                  <a:lnTo>
                    <a:pt x="6" y="21"/>
                  </a:lnTo>
                  <a:lnTo>
                    <a:pt x="6" y="31"/>
                  </a:lnTo>
                  <a:lnTo>
                    <a:pt x="5" y="31"/>
                  </a:lnTo>
                  <a:lnTo>
                    <a:pt x="5" y="30"/>
                  </a:lnTo>
                  <a:lnTo>
                    <a:pt x="0" y="18"/>
                  </a:lnTo>
                  <a:lnTo>
                    <a:pt x="9" y="12"/>
                  </a:lnTo>
                  <a:lnTo>
                    <a:pt x="24" y="8"/>
                  </a:lnTo>
                  <a:lnTo>
                    <a:pt x="25" y="8"/>
                  </a:lnTo>
                  <a:lnTo>
                    <a:pt x="33" y="12"/>
                  </a:lnTo>
                  <a:lnTo>
                    <a:pt x="42" y="27"/>
                  </a:lnTo>
                  <a:lnTo>
                    <a:pt x="49" y="26"/>
                  </a:lnTo>
                  <a:lnTo>
                    <a:pt x="61" y="27"/>
                  </a:lnTo>
                  <a:lnTo>
                    <a:pt x="62" y="27"/>
                  </a:lnTo>
                  <a:lnTo>
                    <a:pt x="61" y="17"/>
                  </a:lnTo>
                  <a:lnTo>
                    <a:pt x="65" y="12"/>
                  </a:lnTo>
                  <a:lnTo>
                    <a:pt x="73" y="11"/>
                  </a:lnTo>
                  <a:lnTo>
                    <a:pt x="74" y="6"/>
                  </a:lnTo>
                  <a:lnTo>
                    <a:pt x="76" y="6"/>
                  </a:lnTo>
                  <a:lnTo>
                    <a:pt x="79" y="8"/>
                  </a:lnTo>
                  <a:lnTo>
                    <a:pt x="77" y="5"/>
                  </a:lnTo>
                  <a:lnTo>
                    <a:pt x="77" y="3"/>
                  </a:lnTo>
                  <a:lnTo>
                    <a:pt x="80" y="3"/>
                  </a:lnTo>
                  <a:lnTo>
                    <a:pt x="8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6" name="Uzbekistan">
              <a:extLst>
                <a:ext uri="{FF2B5EF4-FFF2-40B4-BE49-F238E27FC236}">
                  <a16:creationId xmlns:a16="http://schemas.microsoft.com/office/drawing/2014/main" id="{F81C468D-6EFE-8634-DE33-49C40C7336C9}"/>
                </a:ext>
              </a:extLst>
            </p:cNvPr>
            <p:cNvSpPr>
              <a:spLocks/>
            </p:cNvSpPr>
            <p:nvPr/>
          </p:nvSpPr>
          <p:spPr bwMode="auto">
            <a:xfrm>
              <a:off x="7148613" y="3378482"/>
              <a:ext cx="406590" cy="265638"/>
            </a:xfrm>
            <a:custGeom>
              <a:avLst/>
              <a:gdLst>
                <a:gd name="T0" fmla="*/ 41 w 225"/>
                <a:gd name="T1" fmla="*/ 3 h 147"/>
                <a:gd name="T2" fmla="*/ 80 w 225"/>
                <a:gd name="T3" fmla="*/ 38 h 147"/>
                <a:gd name="T4" fmla="*/ 127 w 225"/>
                <a:gd name="T5" fmla="*/ 41 h 147"/>
                <a:gd name="T6" fmla="*/ 134 w 225"/>
                <a:gd name="T7" fmla="*/ 49 h 147"/>
                <a:gd name="T8" fmla="*/ 140 w 225"/>
                <a:gd name="T9" fmla="*/ 68 h 147"/>
                <a:gd name="T10" fmla="*/ 155 w 225"/>
                <a:gd name="T11" fmla="*/ 77 h 147"/>
                <a:gd name="T12" fmla="*/ 176 w 225"/>
                <a:gd name="T13" fmla="*/ 73 h 147"/>
                <a:gd name="T14" fmla="*/ 188 w 225"/>
                <a:gd name="T15" fmla="*/ 64 h 147"/>
                <a:gd name="T16" fmla="*/ 195 w 225"/>
                <a:gd name="T17" fmla="*/ 59 h 147"/>
                <a:gd name="T18" fmla="*/ 200 w 225"/>
                <a:gd name="T19" fmla="*/ 62 h 147"/>
                <a:gd name="T20" fmla="*/ 186 w 225"/>
                <a:gd name="T21" fmla="*/ 74 h 147"/>
                <a:gd name="T22" fmla="*/ 194 w 225"/>
                <a:gd name="T23" fmla="*/ 77 h 147"/>
                <a:gd name="T24" fmla="*/ 206 w 225"/>
                <a:gd name="T25" fmla="*/ 74 h 147"/>
                <a:gd name="T26" fmla="*/ 225 w 225"/>
                <a:gd name="T27" fmla="*/ 86 h 147"/>
                <a:gd name="T28" fmla="*/ 191 w 225"/>
                <a:gd name="T29" fmla="*/ 96 h 147"/>
                <a:gd name="T30" fmla="*/ 192 w 225"/>
                <a:gd name="T31" fmla="*/ 87 h 147"/>
                <a:gd name="T32" fmla="*/ 189 w 225"/>
                <a:gd name="T33" fmla="*/ 81 h 147"/>
                <a:gd name="T34" fmla="*/ 176 w 225"/>
                <a:gd name="T35" fmla="*/ 87 h 147"/>
                <a:gd name="T36" fmla="*/ 174 w 225"/>
                <a:gd name="T37" fmla="*/ 96 h 147"/>
                <a:gd name="T38" fmla="*/ 164 w 225"/>
                <a:gd name="T39" fmla="*/ 107 h 147"/>
                <a:gd name="T40" fmla="*/ 149 w 225"/>
                <a:gd name="T41" fmla="*/ 111 h 147"/>
                <a:gd name="T42" fmla="*/ 158 w 225"/>
                <a:gd name="T43" fmla="*/ 117 h 147"/>
                <a:gd name="T44" fmla="*/ 161 w 225"/>
                <a:gd name="T45" fmla="*/ 130 h 147"/>
                <a:gd name="T46" fmla="*/ 152 w 225"/>
                <a:gd name="T47" fmla="*/ 147 h 147"/>
                <a:gd name="T48" fmla="*/ 137 w 225"/>
                <a:gd name="T49" fmla="*/ 138 h 147"/>
                <a:gd name="T50" fmla="*/ 130 w 225"/>
                <a:gd name="T51" fmla="*/ 127 h 147"/>
                <a:gd name="T52" fmla="*/ 114 w 225"/>
                <a:gd name="T53" fmla="*/ 119 h 147"/>
                <a:gd name="T54" fmla="*/ 99 w 225"/>
                <a:gd name="T55" fmla="*/ 110 h 147"/>
                <a:gd name="T56" fmla="*/ 78 w 225"/>
                <a:gd name="T57" fmla="*/ 80 h 147"/>
                <a:gd name="T58" fmla="*/ 69 w 225"/>
                <a:gd name="T59" fmla="*/ 80 h 147"/>
                <a:gd name="T60" fmla="*/ 54 w 225"/>
                <a:gd name="T61" fmla="*/ 70 h 147"/>
                <a:gd name="T62" fmla="*/ 53 w 225"/>
                <a:gd name="T63" fmla="*/ 65 h 147"/>
                <a:gd name="T64" fmla="*/ 44 w 225"/>
                <a:gd name="T65" fmla="*/ 59 h 147"/>
                <a:gd name="T66" fmla="*/ 29 w 225"/>
                <a:gd name="T67" fmla="*/ 55 h 147"/>
                <a:gd name="T68" fmla="*/ 28 w 225"/>
                <a:gd name="T69" fmla="*/ 56 h 147"/>
                <a:gd name="T70" fmla="*/ 17 w 225"/>
                <a:gd name="T71" fmla="*/ 62 h 147"/>
                <a:gd name="T72" fmla="*/ 16 w 225"/>
                <a:gd name="T73" fmla="*/ 77 h 147"/>
                <a:gd name="T74" fmla="*/ 1 w 225"/>
                <a:gd name="T75" fmla="*/ 77 h 147"/>
                <a:gd name="T76" fmla="*/ 34 w 225"/>
                <a:gd name="T7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5" h="147">
                  <a:moveTo>
                    <a:pt x="34" y="0"/>
                  </a:moveTo>
                  <a:lnTo>
                    <a:pt x="41" y="3"/>
                  </a:lnTo>
                  <a:lnTo>
                    <a:pt x="54" y="13"/>
                  </a:lnTo>
                  <a:lnTo>
                    <a:pt x="80" y="38"/>
                  </a:lnTo>
                  <a:lnTo>
                    <a:pt x="118" y="34"/>
                  </a:lnTo>
                  <a:lnTo>
                    <a:pt x="127" y="41"/>
                  </a:lnTo>
                  <a:lnTo>
                    <a:pt x="130" y="49"/>
                  </a:lnTo>
                  <a:lnTo>
                    <a:pt x="134" y="49"/>
                  </a:lnTo>
                  <a:lnTo>
                    <a:pt x="133" y="67"/>
                  </a:lnTo>
                  <a:lnTo>
                    <a:pt x="140" y="68"/>
                  </a:lnTo>
                  <a:lnTo>
                    <a:pt x="143" y="78"/>
                  </a:lnTo>
                  <a:lnTo>
                    <a:pt x="155" y="77"/>
                  </a:lnTo>
                  <a:lnTo>
                    <a:pt x="167" y="81"/>
                  </a:lnTo>
                  <a:lnTo>
                    <a:pt x="176" y="73"/>
                  </a:lnTo>
                  <a:lnTo>
                    <a:pt x="185" y="68"/>
                  </a:lnTo>
                  <a:lnTo>
                    <a:pt x="188" y="64"/>
                  </a:lnTo>
                  <a:lnTo>
                    <a:pt x="192" y="64"/>
                  </a:lnTo>
                  <a:lnTo>
                    <a:pt x="195" y="59"/>
                  </a:lnTo>
                  <a:lnTo>
                    <a:pt x="198" y="61"/>
                  </a:lnTo>
                  <a:lnTo>
                    <a:pt x="200" y="62"/>
                  </a:lnTo>
                  <a:lnTo>
                    <a:pt x="186" y="71"/>
                  </a:lnTo>
                  <a:lnTo>
                    <a:pt x="186" y="74"/>
                  </a:lnTo>
                  <a:lnTo>
                    <a:pt x="192" y="74"/>
                  </a:lnTo>
                  <a:lnTo>
                    <a:pt x="194" y="77"/>
                  </a:lnTo>
                  <a:lnTo>
                    <a:pt x="201" y="80"/>
                  </a:lnTo>
                  <a:lnTo>
                    <a:pt x="206" y="74"/>
                  </a:lnTo>
                  <a:lnTo>
                    <a:pt x="212" y="81"/>
                  </a:lnTo>
                  <a:lnTo>
                    <a:pt x="225" y="86"/>
                  </a:lnTo>
                  <a:lnTo>
                    <a:pt x="209" y="96"/>
                  </a:lnTo>
                  <a:lnTo>
                    <a:pt x="191" y="96"/>
                  </a:lnTo>
                  <a:lnTo>
                    <a:pt x="189" y="90"/>
                  </a:lnTo>
                  <a:lnTo>
                    <a:pt x="192" y="87"/>
                  </a:lnTo>
                  <a:lnTo>
                    <a:pt x="192" y="81"/>
                  </a:lnTo>
                  <a:lnTo>
                    <a:pt x="189" y="81"/>
                  </a:lnTo>
                  <a:lnTo>
                    <a:pt x="180" y="89"/>
                  </a:lnTo>
                  <a:lnTo>
                    <a:pt x="176" y="87"/>
                  </a:lnTo>
                  <a:lnTo>
                    <a:pt x="174" y="90"/>
                  </a:lnTo>
                  <a:lnTo>
                    <a:pt x="174" y="96"/>
                  </a:lnTo>
                  <a:lnTo>
                    <a:pt x="167" y="99"/>
                  </a:lnTo>
                  <a:lnTo>
                    <a:pt x="164" y="107"/>
                  </a:lnTo>
                  <a:lnTo>
                    <a:pt x="152" y="107"/>
                  </a:lnTo>
                  <a:lnTo>
                    <a:pt x="149" y="111"/>
                  </a:lnTo>
                  <a:lnTo>
                    <a:pt x="154" y="116"/>
                  </a:lnTo>
                  <a:lnTo>
                    <a:pt x="158" y="117"/>
                  </a:lnTo>
                  <a:lnTo>
                    <a:pt x="158" y="121"/>
                  </a:lnTo>
                  <a:lnTo>
                    <a:pt x="161" y="130"/>
                  </a:lnTo>
                  <a:lnTo>
                    <a:pt x="155" y="139"/>
                  </a:lnTo>
                  <a:lnTo>
                    <a:pt x="152" y="147"/>
                  </a:lnTo>
                  <a:lnTo>
                    <a:pt x="137" y="144"/>
                  </a:lnTo>
                  <a:lnTo>
                    <a:pt x="137" y="138"/>
                  </a:lnTo>
                  <a:lnTo>
                    <a:pt x="140" y="133"/>
                  </a:lnTo>
                  <a:lnTo>
                    <a:pt x="130" y="127"/>
                  </a:lnTo>
                  <a:lnTo>
                    <a:pt x="124" y="129"/>
                  </a:lnTo>
                  <a:lnTo>
                    <a:pt x="114" y="119"/>
                  </a:lnTo>
                  <a:lnTo>
                    <a:pt x="106" y="116"/>
                  </a:lnTo>
                  <a:lnTo>
                    <a:pt x="99" y="110"/>
                  </a:lnTo>
                  <a:lnTo>
                    <a:pt x="87" y="102"/>
                  </a:lnTo>
                  <a:lnTo>
                    <a:pt x="78" y="80"/>
                  </a:lnTo>
                  <a:lnTo>
                    <a:pt x="74" y="77"/>
                  </a:lnTo>
                  <a:lnTo>
                    <a:pt x="69" y="80"/>
                  </a:lnTo>
                  <a:lnTo>
                    <a:pt x="54" y="77"/>
                  </a:lnTo>
                  <a:lnTo>
                    <a:pt x="54" y="70"/>
                  </a:lnTo>
                  <a:lnTo>
                    <a:pt x="56" y="68"/>
                  </a:lnTo>
                  <a:lnTo>
                    <a:pt x="53" y="65"/>
                  </a:lnTo>
                  <a:lnTo>
                    <a:pt x="51" y="61"/>
                  </a:lnTo>
                  <a:lnTo>
                    <a:pt x="44" y="59"/>
                  </a:lnTo>
                  <a:lnTo>
                    <a:pt x="35" y="52"/>
                  </a:lnTo>
                  <a:lnTo>
                    <a:pt x="29" y="55"/>
                  </a:lnTo>
                  <a:lnTo>
                    <a:pt x="32" y="59"/>
                  </a:lnTo>
                  <a:lnTo>
                    <a:pt x="28" y="56"/>
                  </a:lnTo>
                  <a:lnTo>
                    <a:pt x="25" y="61"/>
                  </a:lnTo>
                  <a:lnTo>
                    <a:pt x="17" y="62"/>
                  </a:lnTo>
                  <a:lnTo>
                    <a:pt x="14" y="67"/>
                  </a:lnTo>
                  <a:lnTo>
                    <a:pt x="16" y="77"/>
                  </a:lnTo>
                  <a:lnTo>
                    <a:pt x="13" y="78"/>
                  </a:lnTo>
                  <a:lnTo>
                    <a:pt x="1" y="77"/>
                  </a:lnTo>
                  <a:lnTo>
                    <a:pt x="0" y="12"/>
                  </a:lnTo>
                  <a:lnTo>
                    <a:pt x="3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7" name="Kazakhstan">
              <a:extLst>
                <a:ext uri="{FF2B5EF4-FFF2-40B4-BE49-F238E27FC236}">
                  <a16:creationId xmlns:a16="http://schemas.microsoft.com/office/drawing/2014/main" id="{34F62B6D-8CE6-6119-A24A-E117055690DF}"/>
                </a:ext>
              </a:extLst>
            </p:cNvPr>
            <p:cNvSpPr>
              <a:spLocks/>
            </p:cNvSpPr>
            <p:nvPr/>
          </p:nvSpPr>
          <p:spPr bwMode="auto">
            <a:xfrm>
              <a:off x="6926344" y="3013456"/>
              <a:ext cx="961356" cy="515013"/>
            </a:xfrm>
            <a:custGeom>
              <a:avLst/>
              <a:gdLst>
                <a:gd name="T0" fmla="*/ 309 w 532"/>
                <a:gd name="T1" fmla="*/ 6 h 285"/>
                <a:gd name="T2" fmla="*/ 323 w 532"/>
                <a:gd name="T3" fmla="*/ 24 h 285"/>
                <a:gd name="T4" fmla="*/ 336 w 532"/>
                <a:gd name="T5" fmla="*/ 24 h 285"/>
                <a:gd name="T6" fmla="*/ 339 w 532"/>
                <a:gd name="T7" fmla="*/ 31 h 285"/>
                <a:gd name="T8" fmla="*/ 355 w 532"/>
                <a:gd name="T9" fmla="*/ 31 h 285"/>
                <a:gd name="T10" fmla="*/ 357 w 532"/>
                <a:gd name="T11" fmla="*/ 40 h 285"/>
                <a:gd name="T12" fmla="*/ 379 w 532"/>
                <a:gd name="T13" fmla="*/ 28 h 285"/>
                <a:gd name="T14" fmla="*/ 397 w 532"/>
                <a:gd name="T15" fmla="*/ 28 h 285"/>
                <a:gd name="T16" fmla="*/ 441 w 532"/>
                <a:gd name="T17" fmla="*/ 98 h 285"/>
                <a:gd name="T18" fmla="*/ 456 w 532"/>
                <a:gd name="T19" fmla="*/ 103 h 285"/>
                <a:gd name="T20" fmla="*/ 478 w 532"/>
                <a:gd name="T21" fmla="*/ 97 h 285"/>
                <a:gd name="T22" fmla="*/ 501 w 532"/>
                <a:gd name="T23" fmla="*/ 114 h 285"/>
                <a:gd name="T24" fmla="*/ 520 w 532"/>
                <a:gd name="T25" fmla="*/ 125 h 285"/>
                <a:gd name="T26" fmla="*/ 521 w 532"/>
                <a:gd name="T27" fmla="*/ 150 h 285"/>
                <a:gd name="T28" fmla="*/ 495 w 532"/>
                <a:gd name="T29" fmla="*/ 177 h 285"/>
                <a:gd name="T30" fmla="*/ 440 w 532"/>
                <a:gd name="T31" fmla="*/ 223 h 285"/>
                <a:gd name="T32" fmla="*/ 426 w 532"/>
                <a:gd name="T33" fmla="*/ 255 h 285"/>
                <a:gd name="T34" fmla="*/ 360 w 532"/>
                <a:gd name="T35" fmla="*/ 246 h 285"/>
                <a:gd name="T36" fmla="*/ 326 w 532"/>
                <a:gd name="T37" fmla="*/ 254 h 285"/>
                <a:gd name="T38" fmla="*/ 315 w 532"/>
                <a:gd name="T39" fmla="*/ 267 h 285"/>
                <a:gd name="T40" fmla="*/ 278 w 532"/>
                <a:gd name="T41" fmla="*/ 280 h 285"/>
                <a:gd name="T42" fmla="*/ 263 w 532"/>
                <a:gd name="T43" fmla="*/ 270 h 285"/>
                <a:gd name="T44" fmla="*/ 253 w 532"/>
                <a:gd name="T45" fmla="*/ 251 h 285"/>
                <a:gd name="T46" fmla="*/ 216 w 532"/>
                <a:gd name="T47" fmla="*/ 240 h 285"/>
                <a:gd name="T48" fmla="*/ 164 w 532"/>
                <a:gd name="T49" fmla="*/ 206 h 285"/>
                <a:gd name="T50" fmla="*/ 120 w 532"/>
                <a:gd name="T51" fmla="*/ 280 h 285"/>
                <a:gd name="T52" fmla="*/ 77 w 532"/>
                <a:gd name="T53" fmla="*/ 272 h 285"/>
                <a:gd name="T54" fmla="*/ 60 w 532"/>
                <a:gd name="T55" fmla="*/ 248 h 285"/>
                <a:gd name="T56" fmla="*/ 60 w 532"/>
                <a:gd name="T57" fmla="*/ 214 h 285"/>
                <a:gd name="T58" fmla="*/ 84 w 532"/>
                <a:gd name="T59" fmla="*/ 208 h 285"/>
                <a:gd name="T60" fmla="*/ 106 w 532"/>
                <a:gd name="T61" fmla="*/ 208 h 285"/>
                <a:gd name="T62" fmla="*/ 69 w 532"/>
                <a:gd name="T63" fmla="*/ 177 h 285"/>
                <a:gd name="T64" fmla="*/ 23 w 532"/>
                <a:gd name="T65" fmla="*/ 181 h 285"/>
                <a:gd name="T66" fmla="*/ 22 w 532"/>
                <a:gd name="T67" fmla="*/ 162 h 285"/>
                <a:gd name="T68" fmla="*/ 0 w 532"/>
                <a:gd name="T69" fmla="*/ 149 h 285"/>
                <a:gd name="T70" fmla="*/ 10 w 532"/>
                <a:gd name="T71" fmla="*/ 116 h 285"/>
                <a:gd name="T72" fmla="*/ 29 w 532"/>
                <a:gd name="T73" fmla="*/ 117 h 285"/>
                <a:gd name="T74" fmla="*/ 37 w 532"/>
                <a:gd name="T75" fmla="*/ 95 h 285"/>
                <a:gd name="T76" fmla="*/ 59 w 532"/>
                <a:gd name="T77" fmla="*/ 82 h 285"/>
                <a:gd name="T78" fmla="*/ 69 w 532"/>
                <a:gd name="T79" fmla="*/ 82 h 285"/>
                <a:gd name="T80" fmla="*/ 103 w 532"/>
                <a:gd name="T81" fmla="*/ 100 h 285"/>
                <a:gd name="T82" fmla="*/ 114 w 532"/>
                <a:gd name="T83" fmla="*/ 101 h 285"/>
                <a:gd name="T84" fmla="*/ 139 w 532"/>
                <a:gd name="T85" fmla="*/ 95 h 285"/>
                <a:gd name="T86" fmla="*/ 161 w 532"/>
                <a:gd name="T87" fmla="*/ 104 h 285"/>
                <a:gd name="T88" fmla="*/ 177 w 532"/>
                <a:gd name="T89" fmla="*/ 100 h 285"/>
                <a:gd name="T90" fmla="*/ 188 w 532"/>
                <a:gd name="T91" fmla="*/ 88 h 285"/>
                <a:gd name="T92" fmla="*/ 176 w 532"/>
                <a:gd name="T93" fmla="*/ 76 h 285"/>
                <a:gd name="T94" fmla="*/ 189 w 532"/>
                <a:gd name="T95" fmla="*/ 55 h 285"/>
                <a:gd name="T96" fmla="*/ 191 w 532"/>
                <a:gd name="T97" fmla="*/ 43 h 285"/>
                <a:gd name="T98" fmla="*/ 189 w 532"/>
                <a:gd name="T99" fmla="*/ 42 h 285"/>
                <a:gd name="T100" fmla="*/ 195 w 532"/>
                <a:gd name="T101" fmla="*/ 31 h 285"/>
                <a:gd name="T102" fmla="*/ 210 w 532"/>
                <a:gd name="T103" fmla="*/ 31 h 285"/>
                <a:gd name="T104" fmla="*/ 229 w 532"/>
                <a:gd name="T105" fmla="*/ 27 h 285"/>
                <a:gd name="T106" fmla="*/ 283 w 532"/>
                <a:gd name="T107" fmla="*/ 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2" h="285">
                  <a:moveTo>
                    <a:pt x="293" y="0"/>
                  </a:moveTo>
                  <a:lnTo>
                    <a:pt x="296" y="0"/>
                  </a:lnTo>
                  <a:lnTo>
                    <a:pt x="299" y="2"/>
                  </a:lnTo>
                  <a:lnTo>
                    <a:pt x="302" y="2"/>
                  </a:lnTo>
                  <a:lnTo>
                    <a:pt x="309" y="6"/>
                  </a:lnTo>
                  <a:lnTo>
                    <a:pt x="315" y="3"/>
                  </a:lnTo>
                  <a:lnTo>
                    <a:pt x="320" y="6"/>
                  </a:lnTo>
                  <a:lnTo>
                    <a:pt x="321" y="15"/>
                  </a:lnTo>
                  <a:lnTo>
                    <a:pt x="324" y="18"/>
                  </a:lnTo>
                  <a:lnTo>
                    <a:pt x="323" y="24"/>
                  </a:lnTo>
                  <a:lnTo>
                    <a:pt x="321" y="27"/>
                  </a:lnTo>
                  <a:lnTo>
                    <a:pt x="323" y="30"/>
                  </a:lnTo>
                  <a:lnTo>
                    <a:pt x="333" y="28"/>
                  </a:lnTo>
                  <a:lnTo>
                    <a:pt x="333" y="24"/>
                  </a:lnTo>
                  <a:lnTo>
                    <a:pt x="336" y="24"/>
                  </a:lnTo>
                  <a:lnTo>
                    <a:pt x="336" y="25"/>
                  </a:lnTo>
                  <a:lnTo>
                    <a:pt x="339" y="30"/>
                  </a:lnTo>
                  <a:lnTo>
                    <a:pt x="339" y="33"/>
                  </a:lnTo>
                  <a:lnTo>
                    <a:pt x="340" y="33"/>
                  </a:lnTo>
                  <a:lnTo>
                    <a:pt x="339" y="31"/>
                  </a:lnTo>
                  <a:lnTo>
                    <a:pt x="340" y="30"/>
                  </a:lnTo>
                  <a:lnTo>
                    <a:pt x="342" y="30"/>
                  </a:lnTo>
                  <a:lnTo>
                    <a:pt x="349" y="34"/>
                  </a:lnTo>
                  <a:lnTo>
                    <a:pt x="354" y="31"/>
                  </a:lnTo>
                  <a:lnTo>
                    <a:pt x="355" y="31"/>
                  </a:lnTo>
                  <a:lnTo>
                    <a:pt x="355" y="37"/>
                  </a:lnTo>
                  <a:lnTo>
                    <a:pt x="352" y="37"/>
                  </a:lnTo>
                  <a:lnTo>
                    <a:pt x="351" y="42"/>
                  </a:lnTo>
                  <a:lnTo>
                    <a:pt x="351" y="43"/>
                  </a:lnTo>
                  <a:lnTo>
                    <a:pt x="357" y="40"/>
                  </a:lnTo>
                  <a:lnTo>
                    <a:pt x="358" y="40"/>
                  </a:lnTo>
                  <a:lnTo>
                    <a:pt x="364" y="42"/>
                  </a:lnTo>
                  <a:lnTo>
                    <a:pt x="364" y="39"/>
                  </a:lnTo>
                  <a:lnTo>
                    <a:pt x="373" y="36"/>
                  </a:lnTo>
                  <a:lnTo>
                    <a:pt x="379" y="28"/>
                  </a:lnTo>
                  <a:lnTo>
                    <a:pt x="385" y="28"/>
                  </a:lnTo>
                  <a:lnTo>
                    <a:pt x="394" y="24"/>
                  </a:lnTo>
                  <a:lnTo>
                    <a:pt x="395" y="24"/>
                  </a:lnTo>
                  <a:lnTo>
                    <a:pt x="397" y="27"/>
                  </a:lnTo>
                  <a:lnTo>
                    <a:pt x="397" y="28"/>
                  </a:lnTo>
                  <a:lnTo>
                    <a:pt x="392" y="30"/>
                  </a:lnTo>
                  <a:lnTo>
                    <a:pt x="392" y="33"/>
                  </a:lnTo>
                  <a:lnTo>
                    <a:pt x="410" y="49"/>
                  </a:lnTo>
                  <a:lnTo>
                    <a:pt x="438" y="101"/>
                  </a:lnTo>
                  <a:lnTo>
                    <a:pt x="441" y="98"/>
                  </a:lnTo>
                  <a:lnTo>
                    <a:pt x="444" y="92"/>
                  </a:lnTo>
                  <a:lnTo>
                    <a:pt x="447" y="91"/>
                  </a:lnTo>
                  <a:lnTo>
                    <a:pt x="453" y="95"/>
                  </a:lnTo>
                  <a:lnTo>
                    <a:pt x="453" y="98"/>
                  </a:lnTo>
                  <a:lnTo>
                    <a:pt x="456" y="103"/>
                  </a:lnTo>
                  <a:lnTo>
                    <a:pt x="471" y="103"/>
                  </a:lnTo>
                  <a:lnTo>
                    <a:pt x="472" y="100"/>
                  </a:lnTo>
                  <a:lnTo>
                    <a:pt x="474" y="98"/>
                  </a:lnTo>
                  <a:lnTo>
                    <a:pt x="477" y="98"/>
                  </a:lnTo>
                  <a:lnTo>
                    <a:pt x="478" y="97"/>
                  </a:lnTo>
                  <a:lnTo>
                    <a:pt x="480" y="97"/>
                  </a:lnTo>
                  <a:lnTo>
                    <a:pt x="483" y="98"/>
                  </a:lnTo>
                  <a:lnTo>
                    <a:pt x="493" y="104"/>
                  </a:lnTo>
                  <a:lnTo>
                    <a:pt x="495" y="113"/>
                  </a:lnTo>
                  <a:lnTo>
                    <a:pt x="501" y="114"/>
                  </a:lnTo>
                  <a:lnTo>
                    <a:pt x="501" y="116"/>
                  </a:lnTo>
                  <a:lnTo>
                    <a:pt x="502" y="119"/>
                  </a:lnTo>
                  <a:lnTo>
                    <a:pt x="506" y="125"/>
                  </a:lnTo>
                  <a:lnTo>
                    <a:pt x="518" y="128"/>
                  </a:lnTo>
                  <a:lnTo>
                    <a:pt x="520" y="125"/>
                  </a:lnTo>
                  <a:lnTo>
                    <a:pt x="524" y="123"/>
                  </a:lnTo>
                  <a:lnTo>
                    <a:pt x="532" y="134"/>
                  </a:lnTo>
                  <a:lnTo>
                    <a:pt x="532" y="135"/>
                  </a:lnTo>
                  <a:lnTo>
                    <a:pt x="527" y="141"/>
                  </a:lnTo>
                  <a:lnTo>
                    <a:pt x="521" y="150"/>
                  </a:lnTo>
                  <a:lnTo>
                    <a:pt x="512" y="152"/>
                  </a:lnTo>
                  <a:lnTo>
                    <a:pt x="509" y="162"/>
                  </a:lnTo>
                  <a:lnTo>
                    <a:pt x="509" y="177"/>
                  </a:lnTo>
                  <a:lnTo>
                    <a:pt x="499" y="181"/>
                  </a:lnTo>
                  <a:lnTo>
                    <a:pt x="495" y="177"/>
                  </a:lnTo>
                  <a:lnTo>
                    <a:pt x="475" y="175"/>
                  </a:lnTo>
                  <a:lnTo>
                    <a:pt x="466" y="197"/>
                  </a:lnTo>
                  <a:lnTo>
                    <a:pt x="466" y="211"/>
                  </a:lnTo>
                  <a:lnTo>
                    <a:pt x="437" y="218"/>
                  </a:lnTo>
                  <a:lnTo>
                    <a:pt x="440" y="223"/>
                  </a:lnTo>
                  <a:lnTo>
                    <a:pt x="446" y="245"/>
                  </a:lnTo>
                  <a:lnTo>
                    <a:pt x="441" y="261"/>
                  </a:lnTo>
                  <a:lnTo>
                    <a:pt x="440" y="261"/>
                  </a:lnTo>
                  <a:lnTo>
                    <a:pt x="431" y="260"/>
                  </a:lnTo>
                  <a:lnTo>
                    <a:pt x="426" y="255"/>
                  </a:lnTo>
                  <a:lnTo>
                    <a:pt x="398" y="251"/>
                  </a:lnTo>
                  <a:lnTo>
                    <a:pt x="394" y="252"/>
                  </a:lnTo>
                  <a:lnTo>
                    <a:pt x="376" y="252"/>
                  </a:lnTo>
                  <a:lnTo>
                    <a:pt x="367" y="251"/>
                  </a:lnTo>
                  <a:lnTo>
                    <a:pt x="360" y="246"/>
                  </a:lnTo>
                  <a:lnTo>
                    <a:pt x="352" y="251"/>
                  </a:lnTo>
                  <a:lnTo>
                    <a:pt x="351" y="260"/>
                  </a:lnTo>
                  <a:lnTo>
                    <a:pt x="349" y="260"/>
                  </a:lnTo>
                  <a:lnTo>
                    <a:pt x="335" y="255"/>
                  </a:lnTo>
                  <a:lnTo>
                    <a:pt x="326" y="254"/>
                  </a:lnTo>
                  <a:lnTo>
                    <a:pt x="321" y="254"/>
                  </a:lnTo>
                  <a:lnTo>
                    <a:pt x="321" y="258"/>
                  </a:lnTo>
                  <a:lnTo>
                    <a:pt x="318" y="263"/>
                  </a:lnTo>
                  <a:lnTo>
                    <a:pt x="315" y="266"/>
                  </a:lnTo>
                  <a:lnTo>
                    <a:pt x="315" y="267"/>
                  </a:lnTo>
                  <a:lnTo>
                    <a:pt x="312" y="267"/>
                  </a:lnTo>
                  <a:lnTo>
                    <a:pt x="309" y="272"/>
                  </a:lnTo>
                  <a:lnTo>
                    <a:pt x="300" y="276"/>
                  </a:lnTo>
                  <a:lnTo>
                    <a:pt x="290" y="285"/>
                  </a:lnTo>
                  <a:lnTo>
                    <a:pt x="278" y="280"/>
                  </a:lnTo>
                  <a:lnTo>
                    <a:pt x="272" y="280"/>
                  </a:lnTo>
                  <a:lnTo>
                    <a:pt x="269" y="282"/>
                  </a:lnTo>
                  <a:lnTo>
                    <a:pt x="265" y="282"/>
                  </a:lnTo>
                  <a:lnTo>
                    <a:pt x="265" y="280"/>
                  </a:lnTo>
                  <a:lnTo>
                    <a:pt x="263" y="270"/>
                  </a:lnTo>
                  <a:lnTo>
                    <a:pt x="256" y="269"/>
                  </a:lnTo>
                  <a:lnTo>
                    <a:pt x="254" y="269"/>
                  </a:lnTo>
                  <a:lnTo>
                    <a:pt x="256" y="252"/>
                  </a:lnTo>
                  <a:lnTo>
                    <a:pt x="253" y="252"/>
                  </a:lnTo>
                  <a:lnTo>
                    <a:pt x="253" y="251"/>
                  </a:lnTo>
                  <a:lnTo>
                    <a:pt x="249" y="243"/>
                  </a:lnTo>
                  <a:lnTo>
                    <a:pt x="240" y="237"/>
                  </a:lnTo>
                  <a:lnTo>
                    <a:pt x="235" y="237"/>
                  </a:lnTo>
                  <a:lnTo>
                    <a:pt x="226" y="239"/>
                  </a:lnTo>
                  <a:lnTo>
                    <a:pt x="216" y="240"/>
                  </a:lnTo>
                  <a:lnTo>
                    <a:pt x="207" y="242"/>
                  </a:lnTo>
                  <a:lnTo>
                    <a:pt x="203" y="242"/>
                  </a:lnTo>
                  <a:lnTo>
                    <a:pt x="203" y="240"/>
                  </a:lnTo>
                  <a:lnTo>
                    <a:pt x="176" y="215"/>
                  </a:lnTo>
                  <a:lnTo>
                    <a:pt x="164" y="206"/>
                  </a:lnTo>
                  <a:lnTo>
                    <a:pt x="157" y="203"/>
                  </a:lnTo>
                  <a:lnTo>
                    <a:pt x="124" y="214"/>
                  </a:lnTo>
                  <a:lnTo>
                    <a:pt x="124" y="279"/>
                  </a:lnTo>
                  <a:lnTo>
                    <a:pt x="121" y="279"/>
                  </a:lnTo>
                  <a:lnTo>
                    <a:pt x="120" y="280"/>
                  </a:lnTo>
                  <a:lnTo>
                    <a:pt x="115" y="280"/>
                  </a:lnTo>
                  <a:lnTo>
                    <a:pt x="106" y="264"/>
                  </a:lnTo>
                  <a:lnTo>
                    <a:pt x="99" y="261"/>
                  </a:lnTo>
                  <a:lnTo>
                    <a:pt x="85" y="266"/>
                  </a:lnTo>
                  <a:lnTo>
                    <a:pt x="77" y="272"/>
                  </a:lnTo>
                  <a:lnTo>
                    <a:pt x="75" y="272"/>
                  </a:lnTo>
                  <a:lnTo>
                    <a:pt x="75" y="270"/>
                  </a:lnTo>
                  <a:lnTo>
                    <a:pt x="78" y="255"/>
                  </a:lnTo>
                  <a:lnTo>
                    <a:pt x="62" y="248"/>
                  </a:lnTo>
                  <a:lnTo>
                    <a:pt x="60" y="248"/>
                  </a:lnTo>
                  <a:lnTo>
                    <a:pt x="57" y="233"/>
                  </a:lnTo>
                  <a:lnTo>
                    <a:pt x="45" y="223"/>
                  </a:lnTo>
                  <a:lnTo>
                    <a:pt x="63" y="223"/>
                  </a:lnTo>
                  <a:lnTo>
                    <a:pt x="60" y="215"/>
                  </a:lnTo>
                  <a:lnTo>
                    <a:pt x="60" y="214"/>
                  </a:lnTo>
                  <a:lnTo>
                    <a:pt x="62" y="211"/>
                  </a:lnTo>
                  <a:lnTo>
                    <a:pt x="69" y="211"/>
                  </a:lnTo>
                  <a:lnTo>
                    <a:pt x="72" y="206"/>
                  </a:lnTo>
                  <a:lnTo>
                    <a:pt x="77" y="206"/>
                  </a:lnTo>
                  <a:lnTo>
                    <a:pt x="84" y="208"/>
                  </a:lnTo>
                  <a:lnTo>
                    <a:pt x="94" y="211"/>
                  </a:lnTo>
                  <a:lnTo>
                    <a:pt x="102" y="212"/>
                  </a:lnTo>
                  <a:lnTo>
                    <a:pt x="105" y="212"/>
                  </a:lnTo>
                  <a:lnTo>
                    <a:pt x="103" y="208"/>
                  </a:lnTo>
                  <a:lnTo>
                    <a:pt x="106" y="208"/>
                  </a:lnTo>
                  <a:lnTo>
                    <a:pt x="105" y="205"/>
                  </a:lnTo>
                  <a:lnTo>
                    <a:pt x="96" y="197"/>
                  </a:lnTo>
                  <a:lnTo>
                    <a:pt x="85" y="180"/>
                  </a:lnTo>
                  <a:lnTo>
                    <a:pt x="78" y="175"/>
                  </a:lnTo>
                  <a:lnTo>
                    <a:pt x="69" y="177"/>
                  </a:lnTo>
                  <a:lnTo>
                    <a:pt x="57" y="174"/>
                  </a:lnTo>
                  <a:lnTo>
                    <a:pt x="48" y="181"/>
                  </a:lnTo>
                  <a:lnTo>
                    <a:pt x="26" y="186"/>
                  </a:lnTo>
                  <a:lnTo>
                    <a:pt x="23" y="186"/>
                  </a:lnTo>
                  <a:lnTo>
                    <a:pt x="23" y="181"/>
                  </a:lnTo>
                  <a:lnTo>
                    <a:pt x="25" y="181"/>
                  </a:lnTo>
                  <a:lnTo>
                    <a:pt x="25" y="180"/>
                  </a:lnTo>
                  <a:lnTo>
                    <a:pt x="31" y="180"/>
                  </a:lnTo>
                  <a:lnTo>
                    <a:pt x="26" y="168"/>
                  </a:lnTo>
                  <a:lnTo>
                    <a:pt x="22" y="162"/>
                  </a:lnTo>
                  <a:lnTo>
                    <a:pt x="11" y="162"/>
                  </a:lnTo>
                  <a:lnTo>
                    <a:pt x="11" y="163"/>
                  </a:lnTo>
                  <a:lnTo>
                    <a:pt x="8" y="160"/>
                  </a:lnTo>
                  <a:lnTo>
                    <a:pt x="5" y="152"/>
                  </a:lnTo>
                  <a:lnTo>
                    <a:pt x="0" y="149"/>
                  </a:lnTo>
                  <a:lnTo>
                    <a:pt x="2" y="138"/>
                  </a:lnTo>
                  <a:lnTo>
                    <a:pt x="7" y="135"/>
                  </a:lnTo>
                  <a:lnTo>
                    <a:pt x="4" y="131"/>
                  </a:lnTo>
                  <a:lnTo>
                    <a:pt x="5" y="119"/>
                  </a:lnTo>
                  <a:lnTo>
                    <a:pt x="10" y="116"/>
                  </a:lnTo>
                  <a:lnTo>
                    <a:pt x="11" y="107"/>
                  </a:lnTo>
                  <a:lnTo>
                    <a:pt x="13" y="106"/>
                  </a:lnTo>
                  <a:lnTo>
                    <a:pt x="13" y="107"/>
                  </a:lnTo>
                  <a:lnTo>
                    <a:pt x="25" y="120"/>
                  </a:lnTo>
                  <a:lnTo>
                    <a:pt x="29" y="117"/>
                  </a:lnTo>
                  <a:lnTo>
                    <a:pt x="26" y="106"/>
                  </a:lnTo>
                  <a:lnTo>
                    <a:pt x="26" y="104"/>
                  </a:lnTo>
                  <a:lnTo>
                    <a:pt x="29" y="104"/>
                  </a:lnTo>
                  <a:lnTo>
                    <a:pt x="37" y="100"/>
                  </a:lnTo>
                  <a:lnTo>
                    <a:pt x="37" y="95"/>
                  </a:lnTo>
                  <a:lnTo>
                    <a:pt x="38" y="94"/>
                  </a:lnTo>
                  <a:lnTo>
                    <a:pt x="48" y="91"/>
                  </a:lnTo>
                  <a:lnTo>
                    <a:pt x="53" y="83"/>
                  </a:lnTo>
                  <a:lnTo>
                    <a:pt x="57" y="83"/>
                  </a:lnTo>
                  <a:lnTo>
                    <a:pt x="59" y="82"/>
                  </a:lnTo>
                  <a:lnTo>
                    <a:pt x="62" y="82"/>
                  </a:lnTo>
                  <a:lnTo>
                    <a:pt x="63" y="85"/>
                  </a:lnTo>
                  <a:lnTo>
                    <a:pt x="66" y="85"/>
                  </a:lnTo>
                  <a:lnTo>
                    <a:pt x="68" y="86"/>
                  </a:lnTo>
                  <a:lnTo>
                    <a:pt x="69" y="82"/>
                  </a:lnTo>
                  <a:lnTo>
                    <a:pt x="71" y="80"/>
                  </a:lnTo>
                  <a:lnTo>
                    <a:pt x="77" y="80"/>
                  </a:lnTo>
                  <a:lnTo>
                    <a:pt x="80" y="86"/>
                  </a:lnTo>
                  <a:lnTo>
                    <a:pt x="91" y="86"/>
                  </a:lnTo>
                  <a:lnTo>
                    <a:pt x="103" y="100"/>
                  </a:lnTo>
                  <a:lnTo>
                    <a:pt x="105" y="106"/>
                  </a:lnTo>
                  <a:lnTo>
                    <a:pt x="106" y="106"/>
                  </a:lnTo>
                  <a:lnTo>
                    <a:pt x="106" y="97"/>
                  </a:lnTo>
                  <a:lnTo>
                    <a:pt x="109" y="95"/>
                  </a:lnTo>
                  <a:lnTo>
                    <a:pt x="114" y="101"/>
                  </a:lnTo>
                  <a:lnTo>
                    <a:pt x="120" y="104"/>
                  </a:lnTo>
                  <a:lnTo>
                    <a:pt x="128" y="97"/>
                  </a:lnTo>
                  <a:lnTo>
                    <a:pt x="133" y="97"/>
                  </a:lnTo>
                  <a:lnTo>
                    <a:pt x="133" y="95"/>
                  </a:lnTo>
                  <a:lnTo>
                    <a:pt x="139" y="95"/>
                  </a:lnTo>
                  <a:lnTo>
                    <a:pt x="143" y="98"/>
                  </a:lnTo>
                  <a:lnTo>
                    <a:pt x="148" y="95"/>
                  </a:lnTo>
                  <a:lnTo>
                    <a:pt x="154" y="94"/>
                  </a:lnTo>
                  <a:lnTo>
                    <a:pt x="157" y="95"/>
                  </a:lnTo>
                  <a:lnTo>
                    <a:pt x="161" y="104"/>
                  </a:lnTo>
                  <a:lnTo>
                    <a:pt x="169" y="104"/>
                  </a:lnTo>
                  <a:lnTo>
                    <a:pt x="170" y="106"/>
                  </a:lnTo>
                  <a:lnTo>
                    <a:pt x="173" y="106"/>
                  </a:lnTo>
                  <a:lnTo>
                    <a:pt x="176" y="100"/>
                  </a:lnTo>
                  <a:lnTo>
                    <a:pt x="177" y="100"/>
                  </a:lnTo>
                  <a:lnTo>
                    <a:pt x="183" y="104"/>
                  </a:lnTo>
                  <a:lnTo>
                    <a:pt x="194" y="101"/>
                  </a:lnTo>
                  <a:lnTo>
                    <a:pt x="197" y="91"/>
                  </a:lnTo>
                  <a:lnTo>
                    <a:pt x="189" y="88"/>
                  </a:lnTo>
                  <a:lnTo>
                    <a:pt x="188" y="88"/>
                  </a:lnTo>
                  <a:lnTo>
                    <a:pt x="186" y="85"/>
                  </a:lnTo>
                  <a:lnTo>
                    <a:pt x="180" y="83"/>
                  </a:lnTo>
                  <a:lnTo>
                    <a:pt x="179" y="80"/>
                  </a:lnTo>
                  <a:lnTo>
                    <a:pt x="176" y="79"/>
                  </a:lnTo>
                  <a:lnTo>
                    <a:pt x="176" y="76"/>
                  </a:lnTo>
                  <a:lnTo>
                    <a:pt x="188" y="70"/>
                  </a:lnTo>
                  <a:lnTo>
                    <a:pt x="189" y="67"/>
                  </a:lnTo>
                  <a:lnTo>
                    <a:pt x="185" y="61"/>
                  </a:lnTo>
                  <a:lnTo>
                    <a:pt x="185" y="60"/>
                  </a:lnTo>
                  <a:lnTo>
                    <a:pt x="189" y="55"/>
                  </a:lnTo>
                  <a:lnTo>
                    <a:pt x="203" y="55"/>
                  </a:lnTo>
                  <a:lnTo>
                    <a:pt x="204" y="54"/>
                  </a:lnTo>
                  <a:lnTo>
                    <a:pt x="200" y="49"/>
                  </a:lnTo>
                  <a:lnTo>
                    <a:pt x="191" y="49"/>
                  </a:lnTo>
                  <a:lnTo>
                    <a:pt x="191" y="43"/>
                  </a:lnTo>
                  <a:lnTo>
                    <a:pt x="195" y="42"/>
                  </a:lnTo>
                  <a:lnTo>
                    <a:pt x="192" y="42"/>
                  </a:lnTo>
                  <a:lnTo>
                    <a:pt x="191" y="43"/>
                  </a:lnTo>
                  <a:lnTo>
                    <a:pt x="189" y="43"/>
                  </a:lnTo>
                  <a:lnTo>
                    <a:pt x="189" y="42"/>
                  </a:lnTo>
                  <a:lnTo>
                    <a:pt x="191" y="37"/>
                  </a:lnTo>
                  <a:lnTo>
                    <a:pt x="188" y="34"/>
                  </a:lnTo>
                  <a:lnTo>
                    <a:pt x="188" y="33"/>
                  </a:lnTo>
                  <a:lnTo>
                    <a:pt x="189" y="33"/>
                  </a:lnTo>
                  <a:lnTo>
                    <a:pt x="195" y="31"/>
                  </a:lnTo>
                  <a:lnTo>
                    <a:pt x="197" y="31"/>
                  </a:lnTo>
                  <a:lnTo>
                    <a:pt x="197" y="33"/>
                  </a:lnTo>
                  <a:lnTo>
                    <a:pt x="209" y="33"/>
                  </a:lnTo>
                  <a:lnTo>
                    <a:pt x="210" y="34"/>
                  </a:lnTo>
                  <a:lnTo>
                    <a:pt x="210" y="31"/>
                  </a:lnTo>
                  <a:lnTo>
                    <a:pt x="217" y="31"/>
                  </a:lnTo>
                  <a:lnTo>
                    <a:pt x="223" y="27"/>
                  </a:lnTo>
                  <a:lnTo>
                    <a:pt x="225" y="27"/>
                  </a:lnTo>
                  <a:lnTo>
                    <a:pt x="229" y="28"/>
                  </a:lnTo>
                  <a:lnTo>
                    <a:pt x="229" y="27"/>
                  </a:lnTo>
                  <a:lnTo>
                    <a:pt x="235" y="24"/>
                  </a:lnTo>
                  <a:lnTo>
                    <a:pt x="243" y="24"/>
                  </a:lnTo>
                  <a:lnTo>
                    <a:pt x="244" y="20"/>
                  </a:lnTo>
                  <a:lnTo>
                    <a:pt x="254" y="18"/>
                  </a:lnTo>
                  <a:lnTo>
                    <a:pt x="283" y="11"/>
                  </a:lnTo>
                  <a:lnTo>
                    <a:pt x="284" y="6"/>
                  </a:lnTo>
                  <a:lnTo>
                    <a:pt x="287" y="5"/>
                  </a:lnTo>
                  <a:lnTo>
                    <a:pt x="29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8" name="Kyrgyzstan">
              <a:extLst>
                <a:ext uri="{FF2B5EF4-FFF2-40B4-BE49-F238E27FC236}">
                  <a16:creationId xmlns:a16="http://schemas.microsoft.com/office/drawing/2014/main" id="{A7CA1E72-EAD1-18CD-7054-E4833CC22F38}"/>
                </a:ext>
              </a:extLst>
            </p:cNvPr>
            <p:cNvSpPr>
              <a:spLocks/>
            </p:cNvSpPr>
            <p:nvPr/>
          </p:nvSpPr>
          <p:spPr bwMode="auto">
            <a:xfrm>
              <a:off x="7461234" y="3456186"/>
              <a:ext cx="262024" cy="126495"/>
            </a:xfrm>
            <a:custGeom>
              <a:avLst/>
              <a:gdLst>
                <a:gd name="T0" fmla="*/ 65 w 145"/>
                <a:gd name="T1" fmla="*/ 0 h 70"/>
                <a:gd name="T2" fmla="*/ 80 w 145"/>
                <a:gd name="T3" fmla="*/ 6 h 70"/>
                <a:gd name="T4" fmla="*/ 102 w 145"/>
                <a:gd name="T5" fmla="*/ 4 h 70"/>
                <a:gd name="T6" fmla="*/ 135 w 145"/>
                <a:gd name="T7" fmla="*/ 13 h 70"/>
                <a:gd name="T8" fmla="*/ 145 w 145"/>
                <a:gd name="T9" fmla="*/ 16 h 70"/>
                <a:gd name="T10" fmla="*/ 142 w 145"/>
                <a:gd name="T11" fmla="*/ 25 h 70"/>
                <a:gd name="T12" fmla="*/ 117 w 145"/>
                <a:gd name="T13" fmla="*/ 40 h 70"/>
                <a:gd name="T14" fmla="*/ 99 w 145"/>
                <a:gd name="T15" fmla="*/ 44 h 70"/>
                <a:gd name="T16" fmla="*/ 92 w 145"/>
                <a:gd name="T17" fmla="*/ 53 h 70"/>
                <a:gd name="T18" fmla="*/ 84 w 145"/>
                <a:gd name="T19" fmla="*/ 52 h 70"/>
                <a:gd name="T20" fmla="*/ 77 w 145"/>
                <a:gd name="T21" fmla="*/ 50 h 70"/>
                <a:gd name="T22" fmla="*/ 73 w 145"/>
                <a:gd name="T23" fmla="*/ 53 h 70"/>
                <a:gd name="T24" fmla="*/ 61 w 145"/>
                <a:gd name="T25" fmla="*/ 67 h 70"/>
                <a:gd name="T26" fmla="*/ 52 w 145"/>
                <a:gd name="T27" fmla="*/ 68 h 70"/>
                <a:gd name="T28" fmla="*/ 44 w 145"/>
                <a:gd name="T29" fmla="*/ 70 h 70"/>
                <a:gd name="T30" fmla="*/ 33 w 145"/>
                <a:gd name="T31" fmla="*/ 65 h 70"/>
                <a:gd name="T32" fmla="*/ 22 w 145"/>
                <a:gd name="T33" fmla="*/ 67 h 70"/>
                <a:gd name="T34" fmla="*/ 1 w 145"/>
                <a:gd name="T35" fmla="*/ 65 h 70"/>
                <a:gd name="T36" fmla="*/ 0 w 145"/>
                <a:gd name="T37" fmla="*/ 58 h 70"/>
                <a:gd name="T38" fmla="*/ 12 w 145"/>
                <a:gd name="T39" fmla="*/ 53 h 70"/>
                <a:gd name="T40" fmla="*/ 22 w 145"/>
                <a:gd name="T41" fmla="*/ 52 h 70"/>
                <a:gd name="T42" fmla="*/ 50 w 145"/>
                <a:gd name="T43" fmla="*/ 43 h 70"/>
                <a:gd name="T44" fmla="*/ 33 w 145"/>
                <a:gd name="T45" fmla="*/ 33 h 70"/>
                <a:gd name="T46" fmla="*/ 30 w 145"/>
                <a:gd name="T47" fmla="*/ 38 h 70"/>
                <a:gd name="T48" fmla="*/ 21 w 145"/>
                <a:gd name="T49" fmla="*/ 35 h 70"/>
                <a:gd name="T50" fmla="*/ 13 w 145"/>
                <a:gd name="T51" fmla="*/ 31 h 70"/>
                <a:gd name="T52" fmla="*/ 25 w 145"/>
                <a:gd name="T53" fmla="*/ 19 h 70"/>
                <a:gd name="T54" fmla="*/ 21 w 145"/>
                <a:gd name="T55" fmla="*/ 18 h 70"/>
                <a:gd name="T56" fmla="*/ 24 w 145"/>
                <a:gd name="T57" fmla="*/ 13 h 70"/>
                <a:gd name="T58" fmla="*/ 30 w 145"/>
                <a:gd name="T59" fmla="*/ 7 h 70"/>
                <a:gd name="T60" fmla="*/ 53 w 145"/>
                <a:gd name="T61" fmla="*/ 13 h 70"/>
                <a:gd name="T62" fmla="*/ 64 w 145"/>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5" h="70">
                  <a:moveTo>
                    <a:pt x="64" y="0"/>
                  </a:moveTo>
                  <a:lnTo>
                    <a:pt x="65" y="0"/>
                  </a:lnTo>
                  <a:lnTo>
                    <a:pt x="71" y="4"/>
                  </a:lnTo>
                  <a:lnTo>
                    <a:pt x="80" y="6"/>
                  </a:lnTo>
                  <a:lnTo>
                    <a:pt x="98" y="6"/>
                  </a:lnTo>
                  <a:lnTo>
                    <a:pt x="102" y="4"/>
                  </a:lnTo>
                  <a:lnTo>
                    <a:pt x="132" y="9"/>
                  </a:lnTo>
                  <a:lnTo>
                    <a:pt x="135" y="13"/>
                  </a:lnTo>
                  <a:lnTo>
                    <a:pt x="145" y="15"/>
                  </a:lnTo>
                  <a:lnTo>
                    <a:pt x="145" y="16"/>
                  </a:lnTo>
                  <a:lnTo>
                    <a:pt x="142" y="24"/>
                  </a:lnTo>
                  <a:lnTo>
                    <a:pt x="142" y="25"/>
                  </a:lnTo>
                  <a:lnTo>
                    <a:pt x="122" y="34"/>
                  </a:lnTo>
                  <a:lnTo>
                    <a:pt x="117" y="40"/>
                  </a:lnTo>
                  <a:lnTo>
                    <a:pt x="117" y="41"/>
                  </a:lnTo>
                  <a:lnTo>
                    <a:pt x="99" y="44"/>
                  </a:lnTo>
                  <a:lnTo>
                    <a:pt x="92" y="52"/>
                  </a:lnTo>
                  <a:lnTo>
                    <a:pt x="92" y="53"/>
                  </a:lnTo>
                  <a:lnTo>
                    <a:pt x="89" y="53"/>
                  </a:lnTo>
                  <a:lnTo>
                    <a:pt x="84" y="52"/>
                  </a:lnTo>
                  <a:lnTo>
                    <a:pt x="82" y="52"/>
                  </a:lnTo>
                  <a:lnTo>
                    <a:pt x="77" y="50"/>
                  </a:lnTo>
                  <a:lnTo>
                    <a:pt x="74" y="50"/>
                  </a:lnTo>
                  <a:lnTo>
                    <a:pt x="73" y="53"/>
                  </a:lnTo>
                  <a:lnTo>
                    <a:pt x="62" y="58"/>
                  </a:lnTo>
                  <a:lnTo>
                    <a:pt x="61" y="67"/>
                  </a:lnTo>
                  <a:lnTo>
                    <a:pt x="55" y="67"/>
                  </a:lnTo>
                  <a:lnTo>
                    <a:pt x="52" y="68"/>
                  </a:lnTo>
                  <a:lnTo>
                    <a:pt x="47" y="68"/>
                  </a:lnTo>
                  <a:lnTo>
                    <a:pt x="44" y="70"/>
                  </a:lnTo>
                  <a:lnTo>
                    <a:pt x="33" y="70"/>
                  </a:lnTo>
                  <a:lnTo>
                    <a:pt x="33" y="65"/>
                  </a:lnTo>
                  <a:lnTo>
                    <a:pt x="30" y="65"/>
                  </a:lnTo>
                  <a:lnTo>
                    <a:pt x="22" y="67"/>
                  </a:lnTo>
                  <a:lnTo>
                    <a:pt x="16" y="65"/>
                  </a:lnTo>
                  <a:lnTo>
                    <a:pt x="1" y="65"/>
                  </a:lnTo>
                  <a:lnTo>
                    <a:pt x="1" y="64"/>
                  </a:lnTo>
                  <a:lnTo>
                    <a:pt x="0" y="58"/>
                  </a:lnTo>
                  <a:lnTo>
                    <a:pt x="0" y="56"/>
                  </a:lnTo>
                  <a:lnTo>
                    <a:pt x="12" y="53"/>
                  </a:lnTo>
                  <a:lnTo>
                    <a:pt x="18" y="56"/>
                  </a:lnTo>
                  <a:lnTo>
                    <a:pt x="22" y="52"/>
                  </a:lnTo>
                  <a:lnTo>
                    <a:pt x="36" y="52"/>
                  </a:lnTo>
                  <a:lnTo>
                    <a:pt x="50" y="43"/>
                  </a:lnTo>
                  <a:lnTo>
                    <a:pt x="39" y="40"/>
                  </a:lnTo>
                  <a:lnTo>
                    <a:pt x="33" y="33"/>
                  </a:lnTo>
                  <a:lnTo>
                    <a:pt x="30" y="37"/>
                  </a:lnTo>
                  <a:lnTo>
                    <a:pt x="30" y="38"/>
                  </a:lnTo>
                  <a:lnTo>
                    <a:pt x="28" y="38"/>
                  </a:lnTo>
                  <a:lnTo>
                    <a:pt x="21" y="35"/>
                  </a:lnTo>
                  <a:lnTo>
                    <a:pt x="18" y="33"/>
                  </a:lnTo>
                  <a:lnTo>
                    <a:pt x="13" y="31"/>
                  </a:lnTo>
                  <a:lnTo>
                    <a:pt x="13" y="28"/>
                  </a:lnTo>
                  <a:lnTo>
                    <a:pt x="25" y="19"/>
                  </a:lnTo>
                  <a:lnTo>
                    <a:pt x="25" y="18"/>
                  </a:lnTo>
                  <a:lnTo>
                    <a:pt x="21" y="18"/>
                  </a:lnTo>
                  <a:lnTo>
                    <a:pt x="21" y="16"/>
                  </a:lnTo>
                  <a:lnTo>
                    <a:pt x="24" y="13"/>
                  </a:lnTo>
                  <a:lnTo>
                    <a:pt x="24" y="9"/>
                  </a:lnTo>
                  <a:lnTo>
                    <a:pt x="30" y="7"/>
                  </a:lnTo>
                  <a:lnTo>
                    <a:pt x="39" y="9"/>
                  </a:lnTo>
                  <a:lnTo>
                    <a:pt x="53" y="13"/>
                  </a:lnTo>
                  <a:lnTo>
                    <a:pt x="56" y="4"/>
                  </a:lnTo>
                  <a:lnTo>
                    <a:pt x="6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9" name="Tajikistan">
              <a:extLst>
                <a:ext uri="{FF2B5EF4-FFF2-40B4-BE49-F238E27FC236}">
                  <a16:creationId xmlns:a16="http://schemas.microsoft.com/office/drawing/2014/main" id="{B2CA48A8-C937-4880-73D2-C3881D4F49E2}"/>
                </a:ext>
              </a:extLst>
            </p:cNvPr>
            <p:cNvSpPr>
              <a:spLocks/>
            </p:cNvSpPr>
            <p:nvPr/>
          </p:nvSpPr>
          <p:spPr bwMode="auto">
            <a:xfrm>
              <a:off x="7417865" y="3524853"/>
              <a:ext cx="180706" cy="137337"/>
            </a:xfrm>
            <a:custGeom>
              <a:avLst/>
              <a:gdLst>
                <a:gd name="T0" fmla="*/ 43 w 100"/>
                <a:gd name="T1" fmla="*/ 0 h 76"/>
                <a:gd name="T2" fmla="*/ 40 w 100"/>
                <a:gd name="T3" fmla="*/ 9 h 76"/>
                <a:gd name="T4" fmla="*/ 48 w 100"/>
                <a:gd name="T5" fmla="*/ 14 h 76"/>
                <a:gd name="T6" fmla="*/ 42 w 100"/>
                <a:gd name="T7" fmla="*/ 20 h 76"/>
                <a:gd name="T8" fmla="*/ 25 w 100"/>
                <a:gd name="T9" fmla="*/ 20 h 76"/>
                <a:gd name="T10" fmla="*/ 42 w 100"/>
                <a:gd name="T11" fmla="*/ 26 h 76"/>
                <a:gd name="T12" fmla="*/ 54 w 100"/>
                <a:gd name="T13" fmla="*/ 26 h 76"/>
                <a:gd name="T14" fmla="*/ 58 w 100"/>
                <a:gd name="T15" fmla="*/ 30 h 76"/>
                <a:gd name="T16" fmla="*/ 71 w 100"/>
                <a:gd name="T17" fmla="*/ 29 h 76"/>
                <a:gd name="T18" fmla="*/ 79 w 100"/>
                <a:gd name="T19" fmla="*/ 27 h 76"/>
                <a:gd name="T20" fmla="*/ 85 w 100"/>
                <a:gd name="T21" fmla="*/ 29 h 76"/>
                <a:gd name="T22" fmla="*/ 85 w 100"/>
                <a:gd name="T23" fmla="*/ 45 h 76"/>
                <a:gd name="T24" fmla="*/ 97 w 100"/>
                <a:gd name="T25" fmla="*/ 46 h 76"/>
                <a:gd name="T26" fmla="*/ 100 w 100"/>
                <a:gd name="T27" fmla="*/ 67 h 76"/>
                <a:gd name="T28" fmla="*/ 95 w 100"/>
                <a:gd name="T29" fmla="*/ 66 h 76"/>
                <a:gd name="T30" fmla="*/ 83 w 100"/>
                <a:gd name="T31" fmla="*/ 67 h 76"/>
                <a:gd name="T32" fmla="*/ 79 w 100"/>
                <a:gd name="T33" fmla="*/ 63 h 76"/>
                <a:gd name="T34" fmla="*/ 51 w 100"/>
                <a:gd name="T35" fmla="*/ 69 h 76"/>
                <a:gd name="T36" fmla="*/ 49 w 100"/>
                <a:gd name="T37" fmla="*/ 54 h 76"/>
                <a:gd name="T38" fmla="*/ 45 w 100"/>
                <a:gd name="T39" fmla="*/ 46 h 76"/>
                <a:gd name="T40" fmla="*/ 37 w 100"/>
                <a:gd name="T41" fmla="*/ 58 h 76"/>
                <a:gd name="T42" fmla="*/ 27 w 100"/>
                <a:gd name="T43" fmla="*/ 60 h 76"/>
                <a:gd name="T44" fmla="*/ 24 w 100"/>
                <a:gd name="T45" fmla="*/ 69 h 76"/>
                <a:gd name="T46" fmla="*/ 9 w 100"/>
                <a:gd name="T47" fmla="*/ 72 h 76"/>
                <a:gd name="T48" fmla="*/ 2 w 100"/>
                <a:gd name="T49" fmla="*/ 66 h 76"/>
                <a:gd name="T50" fmla="*/ 12 w 100"/>
                <a:gd name="T51" fmla="*/ 49 h 76"/>
                <a:gd name="T52" fmla="*/ 9 w 100"/>
                <a:gd name="T53" fmla="*/ 36 h 76"/>
                <a:gd name="T54" fmla="*/ 0 w 100"/>
                <a:gd name="T55" fmla="*/ 30 h 76"/>
                <a:gd name="T56" fmla="*/ 3 w 100"/>
                <a:gd name="T57" fmla="*/ 26 h 76"/>
                <a:gd name="T58" fmla="*/ 18 w 100"/>
                <a:gd name="T59" fmla="*/ 18 h 76"/>
                <a:gd name="T60" fmla="*/ 24 w 100"/>
                <a:gd name="T61" fmla="*/ 15 h 76"/>
                <a:gd name="T62" fmla="*/ 25 w 100"/>
                <a:gd name="T63" fmla="*/ 6 h 76"/>
                <a:gd name="T64" fmla="*/ 40 w 100"/>
                <a:gd name="T6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76">
                  <a:moveTo>
                    <a:pt x="40" y="0"/>
                  </a:moveTo>
                  <a:lnTo>
                    <a:pt x="43" y="0"/>
                  </a:lnTo>
                  <a:lnTo>
                    <a:pt x="45" y="6"/>
                  </a:lnTo>
                  <a:lnTo>
                    <a:pt x="40" y="9"/>
                  </a:lnTo>
                  <a:lnTo>
                    <a:pt x="42" y="14"/>
                  </a:lnTo>
                  <a:lnTo>
                    <a:pt x="48" y="14"/>
                  </a:lnTo>
                  <a:lnTo>
                    <a:pt x="48" y="15"/>
                  </a:lnTo>
                  <a:lnTo>
                    <a:pt x="42" y="20"/>
                  </a:lnTo>
                  <a:lnTo>
                    <a:pt x="36" y="17"/>
                  </a:lnTo>
                  <a:lnTo>
                    <a:pt x="25" y="20"/>
                  </a:lnTo>
                  <a:lnTo>
                    <a:pt x="27" y="26"/>
                  </a:lnTo>
                  <a:lnTo>
                    <a:pt x="42" y="26"/>
                  </a:lnTo>
                  <a:lnTo>
                    <a:pt x="46" y="27"/>
                  </a:lnTo>
                  <a:lnTo>
                    <a:pt x="54" y="26"/>
                  </a:lnTo>
                  <a:lnTo>
                    <a:pt x="58" y="27"/>
                  </a:lnTo>
                  <a:lnTo>
                    <a:pt x="58" y="30"/>
                  </a:lnTo>
                  <a:lnTo>
                    <a:pt x="68" y="30"/>
                  </a:lnTo>
                  <a:lnTo>
                    <a:pt x="71" y="29"/>
                  </a:lnTo>
                  <a:lnTo>
                    <a:pt x="76" y="29"/>
                  </a:lnTo>
                  <a:lnTo>
                    <a:pt x="79" y="27"/>
                  </a:lnTo>
                  <a:lnTo>
                    <a:pt x="85" y="27"/>
                  </a:lnTo>
                  <a:lnTo>
                    <a:pt x="85" y="29"/>
                  </a:lnTo>
                  <a:lnTo>
                    <a:pt x="82" y="39"/>
                  </a:lnTo>
                  <a:lnTo>
                    <a:pt x="85" y="45"/>
                  </a:lnTo>
                  <a:lnTo>
                    <a:pt x="95" y="45"/>
                  </a:lnTo>
                  <a:lnTo>
                    <a:pt x="97" y="46"/>
                  </a:lnTo>
                  <a:lnTo>
                    <a:pt x="100" y="66"/>
                  </a:lnTo>
                  <a:lnTo>
                    <a:pt x="100" y="67"/>
                  </a:lnTo>
                  <a:lnTo>
                    <a:pt x="95" y="67"/>
                  </a:lnTo>
                  <a:lnTo>
                    <a:pt x="95" y="66"/>
                  </a:lnTo>
                  <a:lnTo>
                    <a:pt x="92" y="66"/>
                  </a:lnTo>
                  <a:lnTo>
                    <a:pt x="83" y="67"/>
                  </a:lnTo>
                  <a:lnTo>
                    <a:pt x="82" y="64"/>
                  </a:lnTo>
                  <a:lnTo>
                    <a:pt x="79" y="63"/>
                  </a:lnTo>
                  <a:lnTo>
                    <a:pt x="55" y="76"/>
                  </a:lnTo>
                  <a:lnTo>
                    <a:pt x="51" y="69"/>
                  </a:lnTo>
                  <a:lnTo>
                    <a:pt x="52" y="57"/>
                  </a:lnTo>
                  <a:lnTo>
                    <a:pt x="49" y="54"/>
                  </a:lnTo>
                  <a:lnTo>
                    <a:pt x="49" y="49"/>
                  </a:lnTo>
                  <a:lnTo>
                    <a:pt x="45" y="46"/>
                  </a:lnTo>
                  <a:lnTo>
                    <a:pt x="37" y="55"/>
                  </a:lnTo>
                  <a:lnTo>
                    <a:pt x="37" y="58"/>
                  </a:lnTo>
                  <a:lnTo>
                    <a:pt x="36" y="63"/>
                  </a:lnTo>
                  <a:lnTo>
                    <a:pt x="27" y="60"/>
                  </a:lnTo>
                  <a:lnTo>
                    <a:pt x="25" y="69"/>
                  </a:lnTo>
                  <a:lnTo>
                    <a:pt x="24" y="69"/>
                  </a:lnTo>
                  <a:lnTo>
                    <a:pt x="20" y="66"/>
                  </a:lnTo>
                  <a:lnTo>
                    <a:pt x="9" y="72"/>
                  </a:lnTo>
                  <a:lnTo>
                    <a:pt x="8" y="72"/>
                  </a:lnTo>
                  <a:lnTo>
                    <a:pt x="2" y="66"/>
                  </a:lnTo>
                  <a:lnTo>
                    <a:pt x="6" y="58"/>
                  </a:lnTo>
                  <a:lnTo>
                    <a:pt x="12" y="49"/>
                  </a:lnTo>
                  <a:lnTo>
                    <a:pt x="8" y="42"/>
                  </a:lnTo>
                  <a:lnTo>
                    <a:pt x="9" y="36"/>
                  </a:lnTo>
                  <a:lnTo>
                    <a:pt x="5" y="35"/>
                  </a:lnTo>
                  <a:lnTo>
                    <a:pt x="0" y="30"/>
                  </a:lnTo>
                  <a:lnTo>
                    <a:pt x="2" y="26"/>
                  </a:lnTo>
                  <a:lnTo>
                    <a:pt x="3" y="26"/>
                  </a:lnTo>
                  <a:lnTo>
                    <a:pt x="15" y="24"/>
                  </a:lnTo>
                  <a:lnTo>
                    <a:pt x="18" y="18"/>
                  </a:lnTo>
                  <a:lnTo>
                    <a:pt x="18" y="17"/>
                  </a:lnTo>
                  <a:lnTo>
                    <a:pt x="24" y="15"/>
                  </a:lnTo>
                  <a:lnTo>
                    <a:pt x="24" y="9"/>
                  </a:lnTo>
                  <a:lnTo>
                    <a:pt x="25" y="6"/>
                  </a:lnTo>
                  <a:lnTo>
                    <a:pt x="31" y="6"/>
                  </a:lnTo>
                  <a:lnTo>
                    <a:pt x="4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0" name="Israel">
              <a:extLst>
                <a:ext uri="{FF2B5EF4-FFF2-40B4-BE49-F238E27FC236}">
                  <a16:creationId xmlns:a16="http://schemas.microsoft.com/office/drawing/2014/main" id="{2DF2BA2C-62B5-8511-E8DE-0406A6DD90B8}"/>
                </a:ext>
              </a:extLst>
            </p:cNvPr>
            <p:cNvSpPr>
              <a:spLocks/>
            </p:cNvSpPr>
            <p:nvPr/>
          </p:nvSpPr>
          <p:spPr bwMode="auto">
            <a:xfrm>
              <a:off x="6629987" y="3757965"/>
              <a:ext cx="36141" cy="110231"/>
            </a:xfrm>
            <a:custGeom>
              <a:avLst/>
              <a:gdLst>
                <a:gd name="T0" fmla="*/ 18 w 20"/>
                <a:gd name="T1" fmla="*/ 0 h 61"/>
                <a:gd name="T2" fmla="*/ 20 w 20"/>
                <a:gd name="T3" fmla="*/ 0 h 61"/>
                <a:gd name="T4" fmla="*/ 20 w 20"/>
                <a:gd name="T5" fmla="*/ 15 h 61"/>
                <a:gd name="T6" fmla="*/ 18 w 20"/>
                <a:gd name="T7" fmla="*/ 15 h 61"/>
                <a:gd name="T8" fmla="*/ 14 w 20"/>
                <a:gd name="T9" fmla="*/ 12 h 61"/>
                <a:gd name="T10" fmla="*/ 11 w 20"/>
                <a:gd name="T11" fmla="*/ 17 h 61"/>
                <a:gd name="T12" fmla="*/ 11 w 20"/>
                <a:gd name="T13" fmla="*/ 23 h 61"/>
                <a:gd name="T14" fmla="*/ 15 w 20"/>
                <a:gd name="T15" fmla="*/ 23 h 61"/>
                <a:gd name="T16" fmla="*/ 15 w 20"/>
                <a:gd name="T17" fmla="*/ 24 h 61"/>
                <a:gd name="T18" fmla="*/ 14 w 20"/>
                <a:gd name="T19" fmla="*/ 24 h 61"/>
                <a:gd name="T20" fmla="*/ 11 w 20"/>
                <a:gd name="T21" fmla="*/ 29 h 61"/>
                <a:gd name="T22" fmla="*/ 18 w 20"/>
                <a:gd name="T23" fmla="*/ 29 h 61"/>
                <a:gd name="T24" fmla="*/ 12 w 20"/>
                <a:gd name="T25" fmla="*/ 60 h 61"/>
                <a:gd name="T26" fmla="*/ 11 w 20"/>
                <a:gd name="T27" fmla="*/ 61 h 61"/>
                <a:gd name="T28" fmla="*/ 9 w 20"/>
                <a:gd name="T29" fmla="*/ 61 h 61"/>
                <a:gd name="T30" fmla="*/ 0 w 20"/>
                <a:gd name="T31" fmla="*/ 32 h 61"/>
                <a:gd name="T32" fmla="*/ 5 w 20"/>
                <a:gd name="T33" fmla="*/ 24 h 61"/>
                <a:gd name="T34" fmla="*/ 11 w 20"/>
                <a:gd name="T35" fmla="*/ 2 h 61"/>
                <a:gd name="T36" fmla="*/ 15 w 20"/>
                <a:gd name="T37" fmla="*/ 2 h 61"/>
                <a:gd name="T38" fmla="*/ 17 w 20"/>
                <a:gd name="T39" fmla="*/ 3 h 61"/>
                <a:gd name="T40" fmla="*/ 18 w 20"/>
                <a:gd name="T4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61">
                  <a:moveTo>
                    <a:pt x="18" y="0"/>
                  </a:moveTo>
                  <a:lnTo>
                    <a:pt x="20" y="0"/>
                  </a:lnTo>
                  <a:lnTo>
                    <a:pt x="20" y="15"/>
                  </a:lnTo>
                  <a:lnTo>
                    <a:pt x="18" y="15"/>
                  </a:lnTo>
                  <a:lnTo>
                    <a:pt x="14" y="12"/>
                  </a:lnTo>
                  <a:lnTo>
                    <a:pt x="11" y="17"/>
                  </a:lnTo>
                  <a:lnTo>
                    <a:pt x="11" y="23"/>
                  </a:lnTo>
                  <a:lnTo>
                    <a:pt x="15" y="23"/>
                  </a:lnTo>
                  <a:lnTo>
                    <a:pt x="15" y="24"/>
                  </a:lnTo>
                  <a:lnTo>
                    <a:pt x="14" y="24"/>
                  </a:lnTo>
                  <a:lnTo>
                    <a:pt x="11" y="29"/>
                  </a:lnTo>
                  <a:lnTo>
                    <a:pt x="18" y="29"/>
                  </a:lnTo>
                  <a:lnTo>
                    <a:pt x="12" y="60"/>
                  </a:lnTo>
                  <a:lnTo>
                    <a:pt x="11" y="61"/>
                  </a:lnTo>
                  <a:lnTo>
                    <a:pt x="9" y="61"/>
                  </a:lnTo>
                  <a:lnTo>
                    <a:pt x="0" y="32"/>
                  </a:lnTo>
                  <a:lnTo>
                    <a:pt x="5" y="24"/>
                  </a:lnTo>
                  <a:lnTo>
                    <a:pt x="11" y="2"/>
                  </a:lnTo>
                  <a:lnTo>
                    <a:pt x="15" y="2"/>
                  </a:lnTo>
                  <a:lnTo>
                    <a:pt x="17" y="3"/>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1" name="Lebanon">
              <a:extLst>
                <a:ext uri="{FF2B5EF4-FFF2-40B4-BE49-F238E27FC236}">
                  <a16:creationId xmlns:a16="http://schemas.microsoft.com/office/drawing/2014/main" id="{AE422E85-1E8D-59BA-0E67-99DB018FFED6}"/>
                </a:ext>
              </a:extLst>
            </p:cNvPr>
            <p:cNvSpPr>
              <a:spLocks/>
            </p:cNvSpPr>
            <p:nvPr/>
          </p:nvSpPr>
          <p:spPr bwMode="auto">
            <a:xfrm>
              <a:off x="6649864" y="3716402"/>
              <a:ext cx="43369" cy="50598"/>
            </a:xfrm>
            <a:custGeom>
              <a:avLst/>
              <a:gdLst>
                <a:gd name="T0" fmla="*/ 13 w 24"/>
                <a:gd name="T1" fmla="*/ 0 h 28"/>
                <a:gd name="T2" fmla="*/ 22 w 24"/>
                <a:gd name="T3" fmla="*/ 0 h 28"/>
                <a:gd name="T4" fmla="*/ 22 w 24"/>
                <a:gd name="T5" fmla="*/ 1 h 28"/>
                <a:gd name="T6" fmla="*/ 21 w 24"/>
                <a:gd name="T7" fmla="*/ 3 h 28"/>
                <a:gd name="T8" fmla="*/ 24 w 24"/>
                <a:gd name="T9" fmla="*/ 9 h 28"/>
                <a:gd name="T10" fmla="*/ 19 w 24"/>
                <a:gd name="T11" fmla="*/ 13 h 28"/>
                <a:gd name="T12" fmla="*/ 21 w 24"/>
                <a:gd name="T13" fmla="*/ 13 h 28"/>
                <a:gd name="T14" fmla="*/ 21 w 24"/>
                <a:gd name="T15" fmla="*/ 15 h 28"/>
                <a:gd name="T16" fmla="*/ 19 w 24"/>
                <a:gd name="T17" fmla="*/ 15 h 28"/>
                <a:gd name="T18" fmla="*/ 16 w 24"/>
                <a:gd name="T19" fmla="*/ 16 h 28"/>
                <a:gd name="T20" fmla="*/ 16 w 24"/>
                <a:gd name="T21" fmla="*/ 19 h 28"/>
                <a:gd name="T22" fmla="*/ 15 w 24"/>
                <a:gd name="T23" fmla="*/ 19 h 28"/>
                <a:gd name="T24" fmla="*/ 15 w 24"/>
                <a:gd name="T25" fmla="*/ 20 h 28"/>
                <a:gd name="T26" fmla="*/ 9 w 24"/>
                <a:gd name="T27" fmla="*/ 25 h 28"/>
                <a:gd name="T28" fmla="*/ 7 w 24"/>
                <a:gd name="T29" fmla="*/ 26 h 28"/>
                <a:gd name="T30" fmla="*/ 7 w 24"/>
                <a:gd name="T31" fmla="*/ 28 h 28"/>
                <a:gd name="T32" fmla="*/ 1 w 24"/>
                <a:gd name="T33" fmla="*/ 26 h 28"/>
                <a:gd name="T34" fmla="*/ 0 w 24"/>
                <a:gd name="T35" fmla="*/ 26 h 28"/>
                <a:gd name="T36" fmla="*/ 0 w 24"/>
                <a:gd name="T37" fmla="*/ 25 h 28"/>
                <a:gd name="T38" fmla="*/ 13 w 24"/>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8">
                  <a:moveTo>
                    <a:pt x="13" y="0"/>
                  </a:moveTo>
                  <a:lnTo>
                    <a:pt x="22" y="0"/>
                  </a:lnTo>
                  <a:lnTo>
                    <a:pt x="22" y="1"/>
                  </a:lnTo>
                  <a:lnTo>
                    <a:pt x="21" y="3"/>
                  </a:lnTo>
                  <a:lnTo>
                    <a:pt x="24" y="9"/>
                  </a:lnTo>
                  <a:lnTo>
                    <a:pt x="19" y="13"/>
                  </a:lnTo>
                  <a:lnTo>
                    <a:pt x="21" y="13"/>
                  </a:lnTo>
                  <a:lnTo>
                    <a:pt x="21" y="15"/>
                  </a:lnTo>
                  <a:lnTo>
                    <a:pt x="19" y="15"/>
                  </a:lnTo>
                  <a:lnTo>
                    <a:pt x="16" y="16"/>
                  </a:lnTo>
                  <a:lnTo>
                    <a:pt x="16" y="19"/>
                  </a:lnTo>
                  <a:lnTo>
                    <a:pt x="15" y="19"/>
                  </a:lnTo>
                  <a:lnTo>
                    <a:pt x="15" y="20"/>
                  </a:lnTo>
                  <a:lnTo>
                    <a:pt x="9" y="25"/>
                  </a:lnTo>
                  <a:lnTo>
                    <a:pt x="7" y="26"/>
                  </a:lnTo>
                  <a:lnTo>
                    <a:pt x="7" y="28"/>
                  </a:lnTo>
                  <a:lnTo>
                    <a:pt x="1" y="26"/>
                  </a:lnTo>
                  <a:lnTo>
                    <a:pt x="0" y="26"/>
                  </a:lnTo>
                  <a:lnTo>
                    <a:pt x="0" y="25"/>
                  </a:lnTo>
                  <a:lnTo>
                    <a:pt x="1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2" name="Pakistan">
              <a:extLst>
                <a:ext uri="{FF2B5EF4-FFF2-40B4-BE49-F238E27FC236}">
                  <a16:creationId xmlns:a16="http://schemas.microsoft.com/office/drawing/2014/main" id="{6A9FD840-9F5E-0C2C-4FEB-00CF1E90363C}"/>
                </a:ext>
              </a:extLst>
            </p:cNvPr>
            <p:cNvSpPr>
              <a:spLocks/>
            </p:cNvSpPr>
            <p:nvPr/>
          </p:nvSpPr>
          <p:spPr bwMode="auto">
            <a:xfrm>
              <a:off x="7260651" y="3649541"/>
              <a:ext cx="399361" cy="363221"/>
            </a:xfrm>
            <a:custGeom>
              <a:avLst/>
              <a:gdLst>
                <a:gd name="T0" fmla="*/ 191 w 221"/>
                <a:gd name="T1" fmla="*/ 3 h 201"/>
                <a:gd name="T2" fmla="*/ 198 w 221"/>
                <a:gd name="T3" fmla="*/ 10 h 201"/>
                <a:gd name="T4" fmla="*/ 201 w 221"/>
                <a:gd name="T5" fmla="*/ 19 h 201"/>
                <a:gd name="T6" fmla="*/ 219 w 221"/>
                <a:gd name="T7" fmla="*/ 26 h 201"/>
                <a:gd name="T8" fmla="*/ 210 w 221"/>
                <a:gd name="T9" fmla="*/ 38 h 201"/>
                <a:gd name="T10" fmla="*/ 176 w 221"/>
                <a:gd name="T11" fmla="*/ 37 h 201"/>
                <a:gd name="T12" fmla="*/ 172 w 221"/>
                <a:gd name="T13" fmla="*/ 44 h 201"/>
                <a:gd name="T14" fmla="*/ 176 w 221"/>
                <a:gd name="T15" fmla="*/ 49 h 201"/>
                <a:gd name="T16" fmla="*/ 176 w 221"/>
                <a:gd name="T17" fmla="*/ 56 h 201"/>
                <a:gd name="T18" fmla="*/ 176 w 221"/>
                <a:gd name="T19" fmla="*/ 66 h 201"/>
                <a:gd name="T20" fmla="*/ 190 w 221"/>
                <a:gd name="T21" fmla="*/ 72 h 201"/>
                <a:gd name="T22" fmla="*/ 191 w 221"/>
                <a:gd name="T23" fmla="*/ 78 h 201"/>
                <a:gd name="T24" fmla="*/ 182 w 221"/>
                <a:gd name="T25" fmla="*/ 89 h 201"/>
                <a:gd name="T26" fmla="*/ 184 w 221"/>
                <a:gd name="T27" fmla="*/ 95 h 201"/>
                <a:gd name="T28" fmla="*/ 184 w 221"/>
                <a:gd name="T29" fmla="*/ 96 h 201"/>
                <a:gd name="T30" fmla="*/ 170 w 221"/>
                <a:gd name="T31" fmla="*/ 111 h 201"/>
                <a:gd name="T32" fmla="*/ 151 w 221"/>
                <a:gd name="T33" fmla="*/ 132 h 201"/>
                <a:gd name="T34" fmla="*/ 126 w 221"/>
                <a:gd name="T35" fmla="*/ 141 h 201"/>
                <a:gd name="T36" fmla="*/ 123 w 221"/>
                <a:gd name="T37" fmla="*/ 163 h 201"/>
                <a:gd name="T38" fmla="*/ 129 w 221"/>
                <a:gd name="T39" fmla="*/ 175 h 201"/>
                <a:gd name="T40" fmla="*/ 130 w 221"/>
                <a:gd name="T41" fmla="*/ 195 h 201"/>
                <a:gd name="T42" fmla="*/ 121 w 221"/>
                <a:gd name="T43" fmla="*/ 197 h 201"/>
                <a:gd name="T44" fmla="*/ 105 w 221"/>
                <a:gd name="T45" fmla="*/ 200 h 201"/>
                <a:gd name="T46" fmla="*/ 93 w 221"/>
                <a:gd name="T47" fmla="*/ 201 h 201"/>
                <a:gd name="T48" fmla="*/ 78 w 221"/>
                <a:gd name="T49" fmla="*/ 186 h 201"/>
                <a:gd name="T50" fmla="*/ 52 w 221"/>
                <a:gd name="T51" fmla="*/ 179 h 201"/>
                <a:gd name="T52" fmla="*/ 43 w 221"/>
                <a:gd name="T53" fmla="*/ 179 h 201"/>
                <a:gd name="T54" fmla="*/ 12 w 221"/>
                <a:gd name="T55" fmla="*/ 183 h 201"/>
                <a:gd name="T56" fmla="*/ 19 w 221"/>
                <a:gd name="T57" fmla="*/ 163 h 201"/>
                <a:gd name="T58" fmla="*/ 26 w 221"/>
                <a:gd name="T59" fmla="*/ 151 h 201"/>
                <a:gd name="T60" fmla="*/ 10 w 221"/>
                <a:gd name="T61" fmla="*/ 130 h 201"/>
                <a:gd name="T62" fmla="*/ 1 w 221"/>
                <a:gd name="T63" fmla="*/ 112 h 201"/>
                <a:gd name="T64" fmla="*/ 43 w 221"/>
                <a:gd name="T65" fmla="*/ 118 h 201"/>
                <a:gd name="T66" fmla="*/ 53 w 221"/>
                <a:gd name="T67" fmla="*/ 117 h 201"/>
                <a:gd name="T68" fmla="*/ 72 w 221"/>
                <a:gd name="T69" fmla="*/ 111 h 201"/>
                <a:gd name="T70" fmla="*/ 90 w 221"/>
                <a:gd name="T71" fmla="*/ 90 h 201"/>
                <a:gd name="T72" fmla="*/ 102 w 221"/>
                <a:gd name="T73" fmla="*/ 83 h 201"/>
                <a:gd name="T74" fmla="*/ 109 w 221"/>
                <a:gd name="T75" fmla="*/ 75 h 201"/>
                <a:gd name="T76" fmla="*/ 124 w 221"/>
                <a:gd name="T77" fmla="*/ 59 h 201"/>
                <a:gd name="T78" fmla="*/ 135 w 221"/>
                <a:gd name="T79" fmla="*/ 44 h 201"/>
                <a:gd name="T80" fmla="*/ 141 w 221"/>
                <a:gd name="T81" fmla="*/ 31 h 201"/>
                <a:gd name="T82" fmla="*/ 136 w 221"/>
                <a:gd name="T83" fmla="*/ 16 h 201"/>
                <a:gd name="T84" fmla="*/ 169 w 221"/>
                <a:gd name="T85"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01">
                  <a:moveTo>
                    <a:pt x="181" y="0"/>
                  </a:moveTo>
                  <a:lnTo>
                    <a:pt x="191" y="1"/>
                  </a:lnTo>
                  <a:lnTo>
                    <a:pt x="191" y="3"/>
                  </a:lnTo>
                  <a:lnTo>
                    <a:pt x="193" y="6"/>
                  </a:lnTo>
                  <a:lnTo>
                    <a:pt x="197" y="6"/>
                  </a:lnTo>
                  <a:lnTo>
                    <a:pt x="198" y="10"/>
                  </a:lnTo>
                  <a:lnTo>
                    <a:pt x="200" y="10"/>
                  </a:lnTo>
                  <a:lnTo>
                    <a:pt x="198" y="16"/>
                  </a:lnTo>
                  <a:lnTo>
                    <a:pt x="201" y="19"/>
                  </a:lnTo>
                  <a:lnTo>
                    <a:pt x="206" y="19"/>
                  </a:lnTo>
                  <a:lnTo>
                    <a:pt x="209" y="22"/>
                  </a:lnTo>
                  <a:lnTo>
                    <a:pt x="219" y="26"/>
                  </a:lnTo>
                  <a:lnTo>
                    <a:pt x="221" y="26"/>
                  </a:lnTo>
                  <a:lnTo>
                    <a:pt x="212" y="32"/>
                  </a:lnTo>
                  <a:lnTo>
                    <a:pt x="210" y="38"/>
                  </a:lnTo>
                  <a:lnTo>
                    <a:pt x="204" y="38"/>
                  </a:lnTo>
                  <a:lnTo>
                    <a:pt x="193" y="41"/>
                  </a:lnTo>
                  <a:lnTo>
                    <a:pt x="176" y="37"/>
                  </a:lnTo>
                  <a:lnTo>
                    <a:pt x="172" y="38"/>
                  </a:lnTo>
                  <a:lnTo>
                    <a:pt x="170" y="43"/>
                  </a:lnTo>
                  <a:lnTo>
                    <a:pt x="172" y="44"/>
                  </a:lnTo>
                  <a:lnTo>
                    <a:pt x="173" y="44"/>
                  </a:lnTo>
                  <a:lnTo>
                    <a:pt x="172" y="47"/>
                  </a:lnTo>
                  <a:lnTo>
                    <a:pt x="176" y="49"/>
                  </a:lnTo>
                  <a:lnTo>
                    <a:pt x="176" y="50"/>
                  </a:lnTo>
                  <a:lnTo>
                    <a:pt x="173" y="53"/>
                  </a:lnTo>
                  <a:lnTo>
                    <a:pt x="176" y="56"/>
                  </a:lnTo>
                  <a:lnTo>
                    <a:pt x="176" y="57"/>
                  </a:lnTo>
                  <a:lnTo>
                    <a:pt x="172" y="62"/>
                  </a:lnTo>
                  <a:lnTo>
                    <a:pt x="176" y="66"/>
                  </a:lnTo>
                  <a:lnTo>
                    <a:pt x="182" y="68"/>
                  </a:lnTo>
                  <a:lnTo>
                    <a:pt x="182" y="72"/>
                  </a:lnTo>
                  <a:lnTo>
                    <a:pt x="190" y="72"/>
                  </a:lnTo>
                  <a:lnTo>
                    <a:pt x="190" y="74"/>
                  </a:lnTo>
                  <a:lnTo>
                    <a:pt x="191" y="77"/>
                  </a:lnTo>
                  <a:lnTo>
                    <a:pt x="191" y="78"/>
                  </a:lnTo>
                  <a:lnTo>
                    <a:pt x="182" y="83"/>
                  </a:lnTo>
                  <a:lnTo>
                    <a:pt x="181" y="86"/>
                  </a:lnTo>
                  <a:lnTo>
                    <a:pt x="182" y="89"/>
                  </a:lnTo>
                  <a:lnTo>
                    <a:pt x="182" y="90"/>
                  </a:lnTo>
                  <a:lnTo>
                    <a:pt x="181" y="93"/>
                  </a:lnTo>
                  <a:lnTo>
                    <a:pt x="184" y="95"/>
                  </a:lnTo>
                  <a:lnTo>
                    <a:pt x="185" y="95"/>
                  </a:lnTo>
                  <a:lnTo>
                    <a:pt x="185" y="96"/>
                  </a:lnTo>
                  <a:lnTo>
                    <a:pt x="184" y="96"/>
                  </a:lnTo>
                  <a:lnTo>
                    <a:pt x="176" y="99"/>
                  </a:lnTo>
                  <a:lnTo>
                    <a:pt x="172" y="106"/>
                  </a:lnTo>
                  <a:lnTo>
                    <a:pt x="170" y="111"/>
                  </a:lnTo>
                  <a:lnTo>
                    <a:pt x="164" y="114"/>
                  </a:lnTo>
                  <a:lnTo>
                    <a:pt x="158" y="126"/>
                  </a:lnTo>
                  <a:lnTo>
                    <a:pt x="151" y="132"/>
                  </a:lnTo>
                  <a:lnTo>
                    <a:pt x="145" y="142"/>
                  </a:lnTo>
                  <a:lnTo>
                    <a:pt x="132" y="145"/>
                  </a:lnTo>
                  <a:lnTo>
                    <a:pt x="126" y="141"/>
                  </a:lnTo>
                  <a:lnTo>
                    <a:pt x="115" y="155"/>
                  </a:lnTo>
                  <a:lnTo>
                    <a:pt x="114" y="160"/>
                  </a:lnTo>
                  <a:lnTo>
                    <a:pt x="123" y="163"/>
                  </a:lnTo>
                  <a:lnTo>
                    <a:pt x="124" y="163"/>
                  </a:lnTo>
                  <a:lnTo>
                    <a:pt x="123" y="172"/>
                  </a:lnTo>
                  <a:lnTo>
                    <a:pt x="129" y="175"/>
                  </a:lnTo>
                  <a:lnTo>
                    <a:pt x="136" y="192"/>
                  </a:lnTo>
                  <a:lnTo>
                    <a:pt x="135" y="194"/>
                  </a:lnTo>
                  <a:lnTo>
                    <a:pt x="130" y="195"/>
                  </a:lnTo>
                  <a:lnTo>
                    <a:pt x="129" y="195"/>
                  </a:lnTo>
                  <a:lnTo>
                    <a:pt x="126" y="192"/>
                  </a:lnTo>
                  <a:lnTo>
                    <a:pt x="121" y="197"/>
                  </a:lnTo>
                  <a:lnTo>
                    <a:pt x="120" y="197"/>
                  </a:lnTo>
                  <a:lnTo>
                    <a:pt x="105" y="194"/>
                  </a:lnTo>
                  <a:lnTo>
                    <a:pt x="105" y="200"/>
                  </a:lnTo>
                  <a:lnTo>
                    <a:pt x="98" y="200"/>
                  </a:lnTo>
                  <a:lnTo>
                    <a:pt x="95" y="201"/>
                  </a:lnTo>
                  <a:lnTo>
                    <a:pt x="93" y="201"/>
                  </a:lnTo>
                  <a:lnTo>
                    <a:pt x="87" y="200"/>
                  </a:lnTo>
                  <a:lnTo>
                    <a:pt x="81" y="188"/>
                  </a:lnTo>
                  <a:lnTo>
                    <a:pt x="78" y="186"/>
                  </a:lnTo>
                  <a:lnTo>
                    <a:pt x="74" y="179"/>
                  </a:lnTo>
                  <a:lnTo>
                    <a:pt x="55" y="181"/>
                  </a:lnTo>
                  <a:lnTo>
                    <a:pt x="52" y="179"/>
                  </a:lnTo>
                  <a:lnTo>
                    <a:pt x="50" y="182"/>
                  </a:lnTo>
                  <a:lnTo>
                    <a:pt x="49" y="182"/>
                  </a:lnTo>
                  <a:lnTo>
                    <a:pt x="43" y="179"/>
                  </a:lnTo>
                  <a:lnTo>
                    <a:pt x="18" y="182"/>
                  </a:lnTo>
                  <a:lnTo>
                    <a:pt x="13" y="183"/>
                  </a:lnTo>
                  <a:lnTo>
                    <a:pt x="12" y="183"/>
                  </a:lnTo>
                  <a:lnTo>
                    <a:pt x="10" y="182"/>
                  </a:lnTo>
                  <a:lnTo>
                    <a:pt x="13" y="167"/>
                  </a:lnTo>
                  <a:lnTo>
                    <a:pt x="19" y="163"/>
                  </a:lnTo>
                  <a:lnTo>
                    <a:pt x="28" y="158"/>
                  </a:lnTo>
                  <a:lnTo>
                    <a:pt x="31" y="154"/>
                  </a:lnTo>
                  <a:lnTo>
                    <a:pt x="26" y="151"/>
                  </a:lnTo>
                  <a:lnTo>
                    <a:pt x="25" y="151"/>
                  </a:lnTo>
                  <a:lnTo>
                    <a:pt x="25" y="139"/>
                  </a:lnTo>
                  <a:lnTo>
                    <a:pt x="10" y="130"/>
                  </a:lnTo>
                  <a:lnTo>
                    <a:pt x="0" y="114"/>
                  </a:lnTo>
                  <a:lnTo>
                    <a:pt x="0" y="112"/>
                  </a:lnTo>
                  <a:lnTo>
                    <a:pt x="1" y="112"/>
                  </a:lnTo>
                  <a:lnTo>
                    <a:pt x="21" y="120"/>
                  </a:lnTo>
                  <a:lnTo>
                    <a:pt x="34" y="117"/>
                  </a:lnTo>
                  <a:lnTo>
                    <a:pt x="43" y="118"/>
                  </a:lnTo>
                  <a:lnTo>
                    <a:pt x="46" y="115"/>
                  </a:lnTo>
                  <a:lnTo>
                    <a:pt x="50" y="115"/>
                  </a:lnTo>
                  <a:lnTo>
                    <a:pt x="53" y="117"/>
                  </a:lnTo>
                  <a:lnTo>
                    <a:pt x="56" y="117"/>
                  </a:lnTo>
                  <a:lnTo>
                    <a:pt x="71" y="112"/>
                  </a:lnTo>
                  <a:lnTo>
                    <a:pt x="72" y="111"/>
                  </a:lnTo>
                  <a:lnTo>
                    <a:pt x="72" y="96"/>
                  </a:lnTo>
                  <a:lnTo>
                    <a:pt x="78" y="92"/>
                  </a:lnTo>
                  <a:lnTo>
                    <a:pt x="90" y="90"/>
                  </a:lnTo>
                  <a:lnTo>
                    <a:pt x="89" y="89"/>
                  </a:lnTo>
                  <a:lnTo>
                    <a:pt x="95" y="83"/>
                  </a:lnTo>
                  <a:lnTo>
                    <a:pt x="102" y="83"/>
                  </a:lnTo>
                  <a:lnTo>
                    <a:pt x="105" y="86"/>
                  </a:lnTo>
                  <a:lnTo>
                    <a:pt x="111" y="81"/>
                  </a:lnTo>
                  <a:lnTo>
                    <a:pt x="109" y="75"/>
                  </a:lnTo>
                  <a:lnTo>
                    <a:pt x="112" y="63"/>
                  </a:lnTo>
                  <a:lnTo>
                    <a:pt x="114" y="63"/>
                  </a:lnTo>
                  <a:lnTo>
                    <a:pt x="124" y="59"/>
                  </a:lnTo>
                  <a:lnTo>
                    <a:pt x="118" y="49"/>
                  </a:lnTo>
                  <a:lnTo>
                    <a:pt x="133" y="49"/>
                  </a:lnTo>
                  <a:lnTo>
                    <a:pt x="135" y="44"/>
                  </a:lnTo>
                  <a:lnTo>
                    <a:pt x="133" y="43"/>
                  </a:lnTo>
                  <a:lnTo>
                    <a:pt x="133" y="41"/>
                  </a:lnTo>
                  <a:lnTo>
                    <a:pt x="141" y="31"/>
                  </a:lnTo>
                  <a:lnTo>
                    <a:pt x="142" y="26"/>
                  </a:lnTo>
                  <a:lnTo>
                    <a:pt x="136" y="17"/>
                  </a:lnTo>
                  <a:lnTo>
                    <a:pt x="136" y="16"/>
                  </a:lnTo>
                  <a:lnTo>
                    <a:pt x="138" y="14"/>
                  </a:lnTo>
                  <a:lnTo>
                    <a:pt x="154" y="3"/>
                  </a:lnTo>
                  <a:lnTo>
                    <a:pt x="169" y="3"/>
                  </a:lnTo>
                  <a:lnTo>
                    <a:pt x="18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3" name="Cambodia">
              <a:extLst>
                <a:ext uri="{FF2B5EF4-FFF2-40B4-BE49-F238E27FC236}">
                  <a16:creationId xmlns:a16="http://schemas.microsoft.com/office/drawing/2014/main" id="{3B64194D-AF15-8988-B227-4277EE766C8B}"/>
                </a:ext>
              </a:extLst>
            </p:cNvPr>
            <p:cNvSpPr>
              <a:spLocks/>
            </p:cNvSpPr>
            <p:nvPr/>
          </p:nvSpPr>
          <p:spPr bwMode="auto">
            <a:xfrm>
              <a:off x="8238270" y="4238644"/>
              <a:ext cx="126495" cy="104809"/>
            </a:xfrm>
            <a:custGeom>
              <a:avLst/>
              <a:gdLst>
                <a:gd name="T0" fmla="*/ 68 w 70"/>
                <a:gd name="T1" fmla="*/ 0 h 58"/>
                <a:gd name="T2" fmla="*/ 70 w 70"/>
                <a:gd name="T3" fmla="*/ 31 h 58"/>
                <a:gd name="T4" fmla="*/ 56 w 70"/>
                <a:gd name="T5" fmla="*/ 38 h 58"/>
                <a:gd name="T6" fmla="*/ 56 w 70"/>
                <a:gd name="T7" fmla="*/ 40 h 58"/>
                <a:gd name="T8" fmla="*/ 55 w 70"/>
                <a:gd name="T9" fmla="*/ 40 h 58"/>
                <a:gd name="T10" fmla="*/ 55 w 70"/>
                <a:gd name="T11" fmla="*/ 41 h 58"/>
                <a:gd name="T12" fmla="*/ 49 w 70"/>
                <a:gd name="T13" fmla="*/ 41 h 58"/>
                <a:gd name="T14" fmla="*/ 49 w 70"/>
                <a:gd name="T15" fmla="*/ 49 h 58"/>
                <a:gd name="T16" fmla="*/ 37 w 70"/>
                <a:gd name="T17" fmla="*/ 52 h 58"/>
                <a:gd name="T18" fmla="*/ 35 w 70"/>
                <a:gd name="T19" fmla="*/ 55 h 58"/>
                <a:gd name="T20" fmla="*/ 29 w 70"/>
                <a:gd name="T21" fmla="*/ 58 h 58"/>
                <a:gd name="T22" fmla="*/ 18 w 70"/>
                <a:gd name="T23" fmla="*/ 56 h 58"/>
                <a:gd name="T24" fmla="*/ 18 w 70"/>
                <a:gd name="T25" fmla="*/ 50 h 58"/>
                <a:gd name="T26" fmla="*/ 13 w 70"/>
                <a:gd name="T27" fmla="*/ 52 h 58"/>
                <a:gd name="T28" fmla="*/ 12 w 70"/>
                <a:gd name="T29" fmla="*/ 52 h 58"/>
                <a:gd name="T30" fmla="*/ 9 w 70"/>
                <a:gd name="T31" fmla="*/ 41 h 58"/>
                <a:gd name="T32" fmla="*/ 7 w 70"/>
                <a:gd name="T33" fmla="*/ 34 h 58"/>
                <a:gd name="T34" fmla="*/ 3 w 70"/>
                <a:gd name="T35" fmla="*/ 28 h 58"/>
                <a:gd name="T36" fmla="*/ 0 w 70"/>
                <a:gd name="T37" fmla="*/ 21 h 58"/>
                <a:gd name="T38" fmla="*/ 4 w 70"/>
                <a:gd name="T39" fmla="*/ 12 h 58"/>
                <a:gd name="T40" fmla="*/ 13 w 70"/>
                <a:gd name="T41" fmla="*/ 4 h 58"/>
                <a:gd name="T42" fmla="*/ 38 w 70"/>
                <a:gd name="T43" fmla="*/ 4 h 58"/>
                <a:gd name="T44" fmla="*/ 47 w 70"/>
                <a:gd name="T45" fmla="*/ 9 h 58"/>
                <a:gd name="T46" fmla="*/ 53 w 70"/>
                <a:gd name="T47" fmla="*/ 3 h 58"/>
                <a:gd name="T48" fmla="*/ 58 w 70"/>
                <a:gd name="T49" fmla="*/ 3 h 58"/>
                <a:gd name="T50" fmla="*/ 59 w 70"/>
                <a:gd name="T51" fmla="*/ 4 h 58"/>
                <a:gd name="T52" fmla="*/ 62 w 70"/>
                <a:gd name="T53" fmla="*/ 4 h 58"/>
                <a:gd name="T54" fmla="*/ 68 w 70"/>
                <a:gd name="T5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58">
                  <a:moveTo>
                    <a:pt x="68" y="0"/>
                  </a:moveTo>
                  <a:lnTo>
                    <a:pt x="70" y="31"/>
                  </a:lnTo>
                  <a:lnTo>
                    <a:pt x="56" y="38"/>
                  </a:lnTo>
                  <a:lnTo>
                    <a:pt x="56" y="40"/>
                  </a:lnTo>
                  <a:lnTo>
                    <a:pt x="55" y="40"/>
                  </a:lnTo>
                  <a:lnTo>
                    <a:pt x="55" y="41"/>
                  </a:lnTo>
                  <a:lnTo>
                    <a:pt x="49" y="41"/>
                  </a:lnTo>
                  <a:lnTo>
                    <a:pt x="49" y="49"/>
                  </a:lnTo>
                  <a:lnTo>
                    <a:pt x="37" y="52"/>
                  </a:lnTo>
                  <a:lnTo>
                    <a:pt x="35" y="55"/>
                  </a:lnTo>
                  <a:lnTo>
                    <a:pt x="29" y="58"/>
                  </a:lnTo>
                  <a:lnTo>
                    <a:pt x="18" y="56"/>
                  </a:lnTo>
                  <a:lnTo>
                    <a:pt x="18" y="50"/>
                  </a:lnTo>
                  <a:lnTo>
                    <a:pt x="13" y="52"/>
                  </a:lnTo>
                  <a:lnTo>
                    <a:pt x="12" y="52"/>
                  </a:lnTo>
                  <a:lnTo>
                    <a:pt x="9" y="41"/>
                  </a:lnTo>
                  <a:lnTo>
                    <a:pt x="7" y="34"/>
                  </a:lnTo>
                  <a:lnTo>
                    <a:pt x="3" y="28"/>
                  </a:lnTo>
                  <a:lnTo>
                    <a:pt x="0" y="21"/>
                  </a:lnTo>
                  <a:lnTo>
                    <a:pt x="4" y="12"/>
                  </a:lnTo>
                  <a:lnTo>
                    <a:pt x="13" y="4"/>
                  </a:lnTo>
                  <a:lnTo>
                    <a:pt x="38" y="4"/>
                  </a:lnTo>
                  <a:lnTo>
                    <a:pt x="47" y="9"/>
                  </a:lnTo>
                  <a:lnTo>
                    <a:pt x="53" y="3"/>
                  </a:lnTo>
                  <a:lnTo>
                    <a:pt x="58" y="3"/>
                  </a:lnTo>
                  <a:lnTo>
                    <a:pt x="59" y="4"/>
                  </a:lnTo>
                  <a:lnTo>
                    <a:pt x="62" y="4"/>
                  </a:lnTo>
                  <a:lnTo>
                    <a:pt x="6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4" name="Taiwan">
              <a:extLst>
                <a:ext uri="{FF2B5EF4-FFF2-40B4-BE49-F238E27FC236}">
                  <a16:creationId xmlns:a16="http://schemas.microsoft.com/office/drawing/2014/main" id="{2C4B1689-B4A6-6D5E-7244-A2AADF9D34BE}"/>
                </a:ext>
              </a:extLst>
            </p:cNvPr>
            <p:cNvSpPr>
              <a:spLocks/>
            </p:cNvSpPr>
            <p:nvPr/>
          </p:nvSpPr>
          <p:spPr bwMode="auto">
            <a:xfrm>
              <a:off x="8659317" y="3976620"/>
              <a:ext cx="41563" cy="84933"/>
            </a:xfrm>
            <a:custGeom>
              <a:avLst/>
              <a:gdLst>
                <a:gd name="T0" fmla="*/ 17 w 23"/>
                <a:gd name="T1" fmla="*/ 0 h 47"/>
                <a:gd name="T2" fmla="*/ 23 w 23"/>
                <a:gd name="T3" fmla="*/ 1 h 47"/>
                <a:gd name="T4" fmla="*/ 23 w 23"/>
                <a:gd name="T5" fmla="*/ 8 h 47"/>
                <a:gd name="T6" fmla="*/ 10 w 23"/>
                <a:gd name="T7" fmla="*/ 47 h 47"/>
                <a:gd name="T8" fmla="*/ 8 w 23"/>
                <a:gd name="T9" fmla="*/ 47 h 47"/>
                <a:gd name="T10" fmla="*/ 1 w 23"/>
                <a:gd name="T11" fmla="*/ 35 h 47"/>
                <a:gd name="T12" fmla="*/ 0 w 23"/>
                <a:gd name="T13" fmla="*/ 23 h 47"/>
                <a:gd name="T14" fmla="*/ 10 w 23"/>
                <a:gd name="T15" fmla="*/ 2 h 47"/>
                <a:gd name="T16" fmla="*/ 10 w 23"/>
                <a:gd name="T17" fmla="*/ 1 h 47"/>
                <a:gd name="T18" fmla="*/ 11 w 23"/>
                <a:gd name="T19" fmla="*/ 1 h 47"/>
                <a:gd name="T20" fmla="*/ 17 w 23"/>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47">
                  <a:moveTo>
                    <a:pt x="17" y="0"/>
                  </a:moveTo>
                  <a:lnTo>
                    <a:pt x="23" y="1"/>
                  </a:lnTo>
                  <a:lnTo>
                    <a:pt x="23" y="8"/>
                  </a:lnTo>
                  <a:lnTo>
                    <a:pt x="10" y="47"/>
                  </a:lnTo>
                  <a:lnTo>
                    <a:pt x="8" y="47"/>
                  </a:lnTo>
                  <a:lnTo>
                    <a:pt x="1" y="35"/>
                  </a:lnTo>
                  <a:lnTo>
                    <a:pt x="0" y="23"/>
                  </a:lnTo>
                  <a:lnTo>
                    <a:pt x="10" y="2"/>
                  </a:lnTo>
                  <a:lnTo>
                    <a:pt x="10" y="1"/>
                  </a:lnTo>
                  <a:lnTo>
                    <a:pt x="11" y="1"/>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5" name="Unknown">
              <a:extLst>
                <a:ext uri="{FF2B5EF4-FFF2-40B4-BE49-F238E27FC236}">
                  <a16:creationId xmlns:a16="http://schemas.microsoft.com/office/drawing/2014/main" id="{532A3A43-ECDC-407E-202F-84DE4AD62A36}"/>
                </a:ext>
              </a:extLst>
            </p:cNvPr>
            <p:cNvSpPr>
              <a:spLocks/>
            </p:cNvSpPr>
            <p:nvPr/>
          </p:nvSpPr>
          <p:spPr bwMode="auto">
            <a:xfrm>
              <a:off x="6882976" y="3862775"/>
              <a:ext cx="43369" cy="21685"/>
            </a:xfrm>
            <a:custGeom>
              <a:avLst/>
              <a:gdLst>
                <a:gd name="T0" fmla="*/ 10 w 24"/>
                <a:gd name="T1" fmla="*/ 0 h 12"/>
                <a:gd name="T2" fmla="*/ 24 w 24"/>
                <a:gd name="T3" fmla="*/ 5 h 12"/>
                <a:gd name="T4" fmla="*/ 24 w 24"/>
                <a:gd name="T5" fmla="*/ 6 h 12"/>
                <a:gd name="T6" fmla="*/ 10 w 24"/>
                <a:gd name="T7" fmla="*/ 12 h 12"/>
                <a:gd name="T8" fmla="*/ 0 w 24"/>
                <a:gd name="T9" fmla="*/ 5 h 12"/>
                <a:gd name="T10" fmla="*/ 0 w 24"/>
                <a:gd name="T11" fmla="*/ 3 h 12"/>
                <a:gd name="T12" fmla="*/ 10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0" y="0"/>
                  </a:moveTo>
                  <a:lnTo>
                    <a:pt x="24" y="5"/>
                  </a:lnTo>
                  <a:lnTo>
                    <a:pt x="24" y="6"/>
                  </a:lnTo>
                  <a:lnTo>
                    <a:pt x="10" y="12"/>
                  </a:lnTo>
                  <a:lnTo>
                    <a:pt x="0" y="5"/>
                  </a:lnTo>
                  <a:lnTo>
                    <a:pt x="0" y="3"/>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6" name="Kuwait">
              <a:extLst>
                <a:ext uri="{FF2B5EF4-FFF2-40B4-BE49-F238E27FC236}">
                  <a16:creationId xmlns:a16="http://schemas.microsoft.com/office/drawing/2014/main" id="{A3CDC9B0-BA2C-0636-B0EA-459CBF1F401C}"/>
                </a:ext>
              </a:extLst>
            </p:cNvPr>
            <p:cNvSpPr>
              <a:spLocks/>
            </p:cNvSpPr>
            <p:nvPr/>
          </p:nvSpPr>
          <p:spPr bwMode="auto">
            <a:xfrm>
              <a:off x="6922731" y="3846511"/>
              <a:ext cx="45177" cy="43369"/>
            </a:xfrm>
            <a:custGeom>
              <a:avLst/>
              <a:gdLst>
                <a:gd name="T0" fmla="*/ 10 w 25"/>
                <a:gd name="T1" fmla="*/ 0 h 24"/>
                <a:gd name="T2" fmla="*/ 21 w 25"/>
                <a:gd name="T3" fmla="*/ 0 h 24"/>
                <a:gd name="T4" fmla="*/ 21 w 25"/>
                <a:gd name="T5" fmla="*/ 2 h 24"/>
                <a:gd name="T6" fmla="*/ 24 w 25"/>
                <a:gd name="T7" fmla="*/ 6 h 24"/>
                <a:gd name="T8" fmla="*/ 24 w 25"/>
                <a:gd name="T9" fmla="*/ 8 h 24"/>
                <a:gd name="T10" fmla="*/ 18 w 25"/>
                <a:gd name="T11" fmla="*/ 12 h 24"/>
                <a:gd name="T12" fmla="*/ 21 w 25"/>
                <a:gd name="T13" fmla="*/ 12 h 24"/>
                <a:gd name="T14" fmla="*/ 25 w 25"/>
                <a:gd name="T15" fmla="*/ 23 h 24"/>
                <a:gd name="T16" fmla="*/ 25 w 25"/>
                <a:gd name="T17" fmla="*/ 24 h 24"/>
                <a:gd name="T18" fmla="*/ 15 w 25"/>
                <a:gd name="T19" fmla="*/ 24 h 24"/>
                <a:gd name="T20" fmla="*/ 12 w 25"/>
                <a:gd name="T21" fmla="*/ 18 h 24"/>
                <a:gd name="T22" fmla="*/ 2 w 25"/>
                <a:gd name="T23" fmla="*/ 15 h 24"/>
                <a:gd name="T24" fmla="*/ 0 w 25"/>
                <a:gd name="T25" fmla="*/ 14 h 24"/>
                <a:gd name="T26" fmla="*/ 2 w 25"/>
                <a:gd name="T27" fmla="*/ 14 h 24"/>
                <a:gd name="T28" fmla="*/ 10 w 25"/>
                <a:gd name="T2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4">
                  <a:moveTo>
                    <a:pt x="10" y="0"/>
                  </a:moveTo>
                  <a:lnTo>
                    <a:pt x="21" y="0"/>
                  </a:lnTo>
                  <a:lnTo>
                    <a:pt x="21" y="2"/>
                  </a:lnTo>
                  <a:lnTo>
                    <a:pt x="24" y="6"/>
                  </a:lnTo>
                  <a:lnTo>
                    <a:pt x="24" y="8"/>
                  </a:lnTo>
                  <a:lnTo>
                    <a:pt x="18" y="12"/>
                  </a:lnTo>
                  <a:lnTo>
                    <a:pt x="21" y="12"/>
                  </a:lnTo>
                  <a:lnTo>
                    <a:pt x="25" y="23"/>
                  </a:lnTo>
                  <a:lnTo>
                    <a:pt x="25" y="24"/>
                  </a:lnTo>
                  <a:lnTo>
                    <a:pt x="15" y="24"/>
                  </a:lnTo>
                  <a:lnTo>
                    <a:pt x="12" y="18"/>
                  </a:lnTo>
                  <a:lnTo>
                    <a:pt x="2" y="15"/>
                  </a:lnTo>
                  <a:lnTo>
                    <a:pt x="0" y="14"/>
                  </a:lnTo>
                  <a:lnTo>
                    <a:pt x="2" y="14"/>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7" name="Qatar">
              <a:extLst>
                <a:ext uri="{FF2B5EF4-FFF2-40B4-BE49-F238E27FC236}">
                  <a16:creationId xmlns:a16="http://schemas.microsoft.com/office/drawing/2014/main" id="{17F603FC-22A5-5CFC-2817-893FE4B3F2C7}"/>
                </a:ext>
              </a:extLst>
            </p:cNvPr>
            <p:cNvSpPr>
              <a:spLocks/>
            </p:cNvSpPr>
            <p:nvPr/>
          </p:nvSpPr>
          <p:spPr bwMode="auto">
            <a:xfrm>
              <a:off x="7022118" y="3951321"/>
              <a:ext cx="21685" cy="43369"/>
            </a:xfrm>
            <a:custGeom>
              <a:avLst/>
              <a:gdLst>
                <a:gd name="T0" fmla="*/ 6 w 12"/>
                <a:gd name="T1" fmla="*/ 0 h 24"/>
                <a:gd name="T2" fmla="*/ 12 w 12"/>
                <a:gd name="T3" fmla="*/ 3 h 24"/>
                <a:gd name="T4" fmla="*/ 12 w 12"/>
                <a:gd name="T5" fmla="*/ 5 h 24"/>
                <a:gd name="T6" fmla="*/ 10 w 12"/>
                <a:gd name="T7" fmla="*/ 22 h 24"/>
                <a:gd name="T8" fmla="*/ 4 w 12"/>
                <a:gd name="T9" fmla="*/ 24 h 24"/>
                <a:gd name="T10" fmla="*/ 0 w 12"/>
                <a:gd name="T11" fmla="*/ 21 h 24"/>
                <a:gd name="T12" fmla="*/ 0 w 12"/>
                <a:gd name="T13" fmla="*/ 9 h 24"/>
                <a:gd name="T14" fmla="*/ 6 w 12"/>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4">
                  <a:moveTo>
                    <a:pt x="6" y="0"/>
                  </a:moveTo>
                  <a:lnTo>
                    <a:pt x="12" y="3"/>
                  </a:lnTo>
                  <a:lnTo>
                    <a:pt x="12" y="5"/>
                  </a:lnTo>
                  <a:lnTo>
                    <a:pt x="10" y="22"/>
                  </a:lnTo>
                  <a:lnTo>
                    <a:pt x="4" y="24"/>
                  </a:lnTo>
                  <a:lnTo>
                    <a:pt x="0" y="21"/>
                  </a:lnTo>
                  <a:lnTo>
                    <a:pt x="0" y="9"/>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8" name="Asian Island">
              <a:extLst>
                <a:ext uri="{FF2B5EF4-FFF2-40B4-BE49-F238E27FC236}">
                  <a16:creationId xmlns:a16="http://schemas.microsoft.com/office/drawing/2014/main" id="{D5CF3047-73A6-3892-2214-E13D22C212B3}"/>
                </a:ext>
              </a:extLst>
            </p:cNvPr>
            <p:cNvSpPr>
              <a:spLocks/>
            </p:cNvSpPr>
            <p:nvPr/>
          </p:nvSpPr>
          <p:spPr bwMode="auto">
            <a:xfrm>
              <a:off x="9855591" y="4377787"/>
              <a:ext cx="10843" cy="12650"/>
            </a:xfrm>
            <a:custGeom>
              <a:avLst/>
              <a:gdLst>
                <a:gd name="T0" fmla="*/ 0 w 6"/>
                <a:gd name="T1" fmla="*/ 0 h 7"/>
                <a:gd name="T2" fmla="*/ 2 w 6"/>
                <a:gd name="T3" fmla="*/ 0 h 7"/>
                <a:gd name="T4" fmla="*/ 6 w 6"/>
                <a:gd name="T5" fmla="*/ 3 h 7"/>
                <a:gd name="T6" fmla="*/ 6 w 6"/>
                <a:gd name="T7" fmla="*/ 4 h 7"/>
                <a:gd name="T8" fmla="*/ 5 w 6"/>
                <a:gd name="T9" fmla="*/ 7 h 7"/>
                <a:gd name="T10" fmla="*/ 0 w 6"/>
                <a:gd name="T11" fmla="*/ 1 h 7"/>
                <a:gd name="T12" fmla="*/ 0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0" y="0"/>
                  </a:moveTo>
                  <a:lnTo>
                    <a:pt x="2" y="0"/>
                  </a:lnTo>
                  <a:lnTo>
                    <a:pt x="6" y="3"/>
                  </a:lnTo>
                  <a:lnTo>
                    <a:pt x="6" y="4"/>
                  </a:lnTo>
                  <a:lnTo>
                    <a:pt x="5" y="7"/>
                  </a:lnTo>
                  <a:lnTo>
                    <a:pt x="0" y="1"/>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9" name="Asian Island">
              <a:extLst>
                <a:ext uri="{FF2B5EF4-FFF2-40B4-BE49-F238E27FC236}">
                  <a16:creationId xmlns:a16="http://schemas.microsoft.com/office/drawing/2014/main" id="{10AE837A-9210-4810-F46F-B6D1A7A6DDBC}"/>
                </a:ext>
              </a:extLst>
            </p:cNvPr>
            <p:cNvSpPr>
              <a:spLocks/>
            </p:cNvSpPr>
            <p:nvPr/>
          </p:nvSpPr>
          <p:spPr bwMode="auto">
            <a:xfrm>
              <a:off x="9759816" y="4318154"/>
              <a:ext cx="10843" cy="9036"/>
            </a:xfrm>
            <a:custGeom>
              <a:avLst/>
              <a:gdLst>
                <a:gd name="T0" fmla="*/ 0 w 6"/>
                <a:gd name="T1" fmla="*/ 0 h 5"/>
                <a:gd name="T2" fmla="*/ 6 w 6"/>
                <a:gd name="T3" fmla="*/ 0 h 5"/>
                <a:gd name="T4" fmla="*/ 6 w 6"/>
                <a:gd name="T5" fmla="*/ 2 h 5"/>
                <a:gd name="T6" fmla="*/ 1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1" y="5"/>
                  </a:lnTo>
                  <a:lnTo>
                    <a:pt x="0" y="5"/>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0" name="Asian Island">
              <a:extLst>
                <a:ext uri="{FF2B5EF4-FFF2-40B4-BE49-F238E27FC236}">
                  <a16:creationId xmlns:a16="http://schemas.microsoft.com/office/drawing/2014/main" id="{AFBC743C-2839-3BBD-459A-4907619098EA}"/>
                </a:ext>
              </a:extLst>
            </p:cNvPr>
            <p:cNvSpPr>
              <a:spLocks/>
            </p:cNvSpPr>
            <p:nvPr/>
          </p:nvSpPr>
          <p:spPr bwMode="auto">
            <a:xfrm>
              <a:off x="9765238" y="4368752"/>
              <a:ext cx="18071" cy="16264"/>
            </a:xfrm>
            <a:custGeom>
              <a:avLst/>
              <a:gdLst>
                <a:gd name="T0" fmla="*/ 0 w 10"/>
                <a:gd name="T1" fmla="*/ 0 h 9"/>
                <a:gd name="T2" fmla="*/ 7 w 10"/>
                <a:gd name="T3" fmla="*/ 0 h 9"/>
                <a:gd name="T4" fmla="*/ 10 w 10"/>
                <a:gd name="T5" fmla="*/ 8 h 9"/>
                <a:gd name="T6" fmla="*/ 10 w 10"/>
                <a:gd name="T7" fmla="*/ 9 h 9"/>
                <a:gd name="T8" fmla="*/ 9 w 10"/>
                <a:gd name="T9" fmla="*/ 9 h 9"/>
                <a:gd name="T10" fmla="*/ 6 w 10"/>
                <a:gd name="T11" fmla="*/ 3 h 9"/>
                <a:gd name="T12" fmla="*/ 0 w 10"/>
                <a:gd name="T13" fmla="*/ 2 h 9"/>
                <a:gd name="T14" fmla="*/ 0 w 10"/>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0" y="0"/>
                  </a:moveTo>
                  <a:lnTo>
                    <a:pt x="7" y="0"/>
                  </a:lnTo>
                  <a:lnTo>
                    <a:pt x="10" y="8"/>
                  </a:lnTo>
                  <a:lnTo>
                    <a:pt x="10" y="9"/>
                  </a:lnTo>
                  <a:lnTo>
                    <a:pt x="9" y="9"/>
                  </a:lnTo>
                  <a:lnTo>
                    <a:pt x="6" y="3"/>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1" name="Asian Island">
              <a:extLst>
                <a:ext uri="{FF2B5EF4-FFF2-40B4-BE49-F238E27FC236}">
                  <a16:creationId xmlns:a16="http://schemas.microsoft.com/office/drawing/2014/main" id="{975CDED7-A00E-BC33-CEFA-7CEC05820ACA}"/>
                </a:ext>
              </a:extLst>
            </p:cNvPr>
            <p:cNvSpPr>
              <a:spLocks/>
            </p:cNvSpPr>
            <p:nvPr/>
          </p:nvSpPr>
          <p:spPr bwMode="auto">
            <a:xfrm>
              <a:off x="7455814" y="5893913"/>
              <a:ext cx="23493" cy="18071"/>
            </a:xfrm>
            <a:custGeom>
              <a:avLst/>
              <a:gdLst>
                <a:gd name="T0" fmla="*/ 4 w 13"/>
                <a:gd name="T1" fmla="*/ 0 h 10"/>
                <a:gd name="T2" fmla="*/ 7 w 13"/>
                <a:gd name="T3" fmla="*/ 3 h 10"/>
                <a:gd name="T4" fmla="*/ 6 w 13"/>
                <a:gd name="T5" fmla="*/ 7 h 10"/>
                <a:gd name="T6" fmla="*/ 13 w 13"/>
                <a:gd name="T7" fmla="*/ 7 h 10"/>
                <a:gd name="T8" fmla="*/ 10 w 13"/>
                <a:gd name="T9" fmla="*/ 10 h 10"/>
                <a:gd name="T10" fmla="*/ 3 w 13"/>
                <a:gd name="T11" fmla="*/ 10 h 10"/>
                <a:gd name="T12" fmla="*/ 0 w 13"/>
                <a:gd name="T13" fmla="*/ 5 h 10"/>
                <a:gd name="T14" fmla="*/ 4 w 13"/>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4" y="0"/>
                  </a:moveTo>
                  <a:lnTo>
                    <a:pt x="7" y="3"/>
                  </a:lnTo>
                  <a:lnTo>
                    <a:pt x="6" y="7"/>
                  </a:lnTo>
                  <a:lnTo>
                    <a:pt x="13" y="7"/>
                  </a:lnTo>
                  <a:lnTo>
                    <a:pt x="10" y="10"/>
                  </a:lnTo>
                  <a:lnTo>
                    <a:pt x="3" y="10"/>
                  </a:lnTo>
                  <a:lnTo>
                    <a:pt x="0" y="5"/>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2" name="Asian Island">
              <a:extLst>
                <a:ext uri="{FF2B5EF4-FFF2-40B4-BE49-F238E27FC236}">
                  <a16:creationId xmlns:a16="http://schemas.microsoft.com/office/drawing/2014/main" id="{89F1D8EF-4A67-41B7-131F-1EA3AA839D81}"/>
                </a:ext>
              </a:extLst>
            </p:cNvPr>
            <p:cNvSpPr>
              <a:spLocks/>
            </p:cNvSpPr>
            <p:nvPr/>
          </p:nvSpPr>
          <p:spPr bwMode="auto">
            <a:xfrm>
              <a:off x="7461235" y="5910176"/>
              <a:ext cx="39755" cy="23493"/>
            </a:xfrm>
            <a:custGeom>
              <a:avLst/>
              <a:gdLst>
                <a:gd name="T0" fmla="*/ 18 w 22"/>
                <a:gd name="T1" fmla="*/ 0 h 13"/>
                <a:gd name="T2" fmla="*/ 22 w 22"/>
                <a:gd name="T3" fmla="*/ 0 h 13"/>
                <a:gd name="T4" fmla="*/ 22 w 22"/>
                <a:gd name="T5" fmla="*/ 1 h 13"/>
                <a:gd name="T6" fmla="*/ 19 w 22"/>
                <a:gd name="T7" fmla="*/ 7 h 13"/>
                <a:gd name="T8" fmla="*/ 15 w 22"/>
                <a:gd name="T9" fmla="*/ 7 h 13"/>
                <a:gd name="T10" fmla="*/ 19 w 22"/>
                <a:gd name="T11" fmla="*/ 12 h 13"/>
                <a:gd name="T12" fmla="*/ 18 w 22"/>
                <a:gd name="T13" fmla="*/ 12 h 13"/>
                <a:gd name="T14" fmla="*/ 10 w 22"/>
                <a:gd name="T15" fmla="*/ 10 h 13"/>
                <a:gd name="T16" fmla="*/ 9 w 22"/>
                <a:gd name="T17" fmla="*/ 12 h 13"/>
                <a:gd name="T18" fmla="*/ 7 w 22"/>
                <a:gd name="T19" fmla="*/ 12 h 13"/>
                <a:gd name="T20" fmla="*/ 6 w 22"/>
                <a:gd name="T21" fmla="*/ 10 h 13"/>
                <a:gd name="T22" fmla="*/ 3 w 22"/>
                <a:gd name="T23" fmla="*/ 13 h 13"/>
                <a:gd name="T24" fmla="*/ 1 w 22"/>
                <a:gd name="T25" fmla="*/ 13 h 13"/>
                <a:gd name="T26" fmla="*/ 0 w 22"/>
                <a:gd name="T27" fmla="*/ 10 h 13"/>
                <a:gd name="T28" fmla="*/ 1 w 22"/>
                <a:gd name="T29" fmla="*/ 3 h 13"/>
                <a:gd name="T30" fmla="*/ 3 w 22"/>
                <a:gd name="T31" fmla="*/ 3 h 13"/>
                <a:gd name="T32" fmla="*/ 13 w 22"/>
                <a:gd name="T33" fmla="*/ 1 h 13"/>
                <a:gd name="T34" fmla="*/ 16 w 22"/>
                <a:gd name="T35" fmla="*/ 1 h 13"/>
                <a:gd name="T36" fmla="*/ 18 w 22"/>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3">
                  <a:moveTo>
                    <a:pt x="18" y="0"/>
                  </a:moveTo>
                  <a:lnTo>
                    <a:pt x="22" y="0"/>
                  </a:lnTo>
                  <a:lnTo>
                    <a:pt x="22" y="1"/>
                  </a:lnTo>
                  <a:lnTo>
                    <a:pt x="19" y="7"/>
                  </a:lnTo>
                  <a:lnTo>
                    <a:pt x="15" y="7"/>
                  </a:lnTo>
                  <a:lnTo>
                    <a:pt x="19" y="12"/>
                  </a:lnTo>
                  <a:lnTo>
                    <a:pt x="18" y="12"/>
                  </a:lnTo>
                  <a:lnTo>
                    <a:pt x="10" y="10"/>
                  </a:lnTo>
                  <a:lnTo>
                    <a:pt x="9" y="12"/>
                  </a:lnTo>
                  <a:lnTo>
                    <a:pt x="7" y="12"/>
                  </a:lnTo>
                  <a:lnTo>
                    <a:pt x="6" y="10"/>
                  </a:lnTo>
                  <a:lnTo>
                    <a:pt x="3" y="13"/>
                  </a:lnTo>
                  <a:lnTo>
                    <a:pt x="1" y="13"/>
                  </a:lnTo>
                  <a:lnTo>
                    <a:pt x="0" y="10"/>
                  </a:lnTo>
                  <a:lnTo>
                    <a:pt x="1" y="3"/>
                  </a:lnTo>
                  <a:lnTo>
                    <a:pt x="3" y="3"/>
                  </a:lnTo>
                  <a:lnTo>
                    <a:pt x="13" y="1"/>
                  </a:lnTo>
                  <a:lnTo>
                    <a:pt x="16" y="1"/>
                  </a:lnTo>
                  <a:lnTo>
                    <a:pt x="1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3" name="Brunei">
              <a:extLst>
                <a:ext uri="{FF2B5EF4-FFF2-40B4-BE49-F238E27FC236}">
                  <a16:creationId xmlns:a16="http://schemas.microsoft.com/office/drawing/2014/main" id="{721D2EA1-2D07-4745-69E1-35F3EA20105E}"/>
                </a:ext>
              </a:extLst>
            </p:cNvPr>
            <p:cNvSpPr>
              <a:spLocks/>
            </p:cNvSpPr>
            <p:nvPr/>
          </p:nvSpPr>
          <p:spPr bwMode="auto">
            <a:xfrm>
              <a:off x="8516558" y="4468141"/>
              <a:ext cx="34334" cy="27107"/>
            </a:xfrm>
            <a:custGeom>
              <a:avLst/>
              <a:gdLst>
                <a:gd name="T0" fmla="*/ 12 w 19"/>
                <a:gd name="T1" fmla="*/ 0 h 15"/>
                <a:gd name="T2" fmla="*/ 13 w 19"/>
                <a:gd name="T3" fmla="*/ 0 h 15"/>
                <a:gd name="T4" fmla="*/ 16 w 19"/>
                <a:gd name="T5" fmla="*/ 3 h 15"/>
                <a:gd name="T6" fmla="*/ 19 w 19"/>
                <a:gd name="T7" fmla="*/ 9 h 15"/>
                <a:gd name="T8" fmla="*/ 19 w 19"/>
                <a:gd name="T9" fmla="*/ 11 h 15"/>
                <a:gd name="T10" fmla="*/ 18 w 19"/>
                <a:gd name="T11" fmla="*/ 11 h 15"/>
                <a:gd name="T12" fmla="*/ 13 w 19"/>
                <a:gd name="T13" fmla="*/ 6 h 15"/>
                <a:gd name="T14" fmla="*/ 9 w 19"/>
                <a:gd name="T15" fmla="*/ 15 h 15"/>
                <a:gd name="T16" fmla="*/ 7 w 19"/>
                <a:gd name="T17" fmla="*/ 15 h 15"/>
                <a:gd name="T18" fmla="*/ 0 w 19"/>
                <a:gd name="T19" fmla="*/ 8 h 15"/>
                <a:gd name="T20" fmla="*/ 0 w 19"/>
                <a:gd name="T21" fmla="*/ 6 h 15"/>
                <a:gd name="T22" fmla="*/ 12 w 19"/>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5">
                  <a:moveTo>
                    <a:pt x="12" y="0"/>
                  </a:moveTo>
                  <a:lnTo>
                    <a:pt x="13" y="0"/>
                  </a:lnTo>
                  <a:lnTo>
                    <a:pt x="16" y="3"/>
                  </a:lnTo>
                  <a:lnTo>
                    <a:pt x="19" y="9"/>
                  </a:lnTo>
                  <a:lnTo>
                    <a:pt x="19" y="11"/>
                  </a:lnTo>
                  <a:lnTo>
                    <a:pt x="18" y="11"/>
                  </a:lnTo>
                  <a:lnTo>
                    <a:pt x="13" y="6"/>
                  </a:lnTo>
                  <a:lnTo>
                    <a:pt x="9" y="15"/>
                  </a:lnTo>
                  <a:lnTo>
                    <a:pt x="7" y="15"/>
                  </a:lnTo>
                  <a:lnTo>
                    <a:pt x="0" y="8"/>
                  </a:lnTo>
                  <a:lnTo>
                    <a:pt x="0" y="6"/>
                  </a:lnTo>
                  <a:lnTo>
                    <a:pt x="1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4" name="Philippines">
              <a:extLst>
                <a:ext uri="{FF2B5EF4-FFF2-40B4-BE49-F238E27FC236}">
                  <a16:creationId xmlns:a16="http://schemas.microsoft.com/office/drawing/2014/main" id="{78FB1BDF-60C2-9F19-4994-079A97EF1BD5}"/>
                </a:ext>
              </a:extLst>
            </p:cNvPr>
            <p:cNvSpPr>
              <a:spLocks/>
            </p:cNvSpPr>
            <p:nvPr/>
          </p:nvSpPr>
          <p:spPr bwMode="auto">
            <a:xfrm>
              <a:off x="8590647" y="4144676"/>
              <a:ext cx="224076" cy="328885"/>
            </a:xfrm>
            <a:custGeom>
              <a:avLst/>
              <a:gdLst/>
              <a:ahLst/>
              <a:cxnLst/>
              <a:rect l="l" t="t" r="r" b="b"/>
              <a:pathLst>
                <a:path w="225862" h="331507">
                  <a:moveTo>
                    <a:pt x="65572" y="324221"/>
                  </a:moveTo>
                  <a:lnTo>
                    <a:pt x="74680" y="324221"/>
                  </a:lnTo>
                  <a:lnTo>
                    <a:pt x="74680" y="326043"/>
                  </a:lnTo>
                  <a:lnTo>
                    <a:pt x="65572" y="331507"/>
                  </a:lnTo>
                  <a:lnTo>
                    <a:pt x="63751" y="331507"/>
                  </a:lnTo>
                  <a:lnTo>
                    <a:pt x="63751" y="329686"/>
                  </a:lnTo>
                  <a:close/>
                  <a:moveTo>
                    <a:pt x="92894" y="302364"/>
                  </a:moveTo>
                  <a:lnTo>
                    <a:pt x="94715" y="302364"/>
                  </a:lnTo>
                  <a:lnTo>
                    <a:pt x="100180" y="307829"/>
                  </a:lnTo>
                  <a:lnTo>
                    <a:pt x="103823" y="307829"/>
                  </a:lnTo>
                  <a:lnTo>
                    <a:pt x="100180" y="309650"/>
                  </a:lnTo>
                  <a:lnTo>
                    <a:pt x="89251" y="309650"/>
                  </a:lnTo>
                  <a:lnTo>
                    <a:pt x="89251" y="307829"/>
                  </a:lnTo>
                  <a:close/>
                  <a:moveTo>
                    <a:pt x="109288" y="289614"/>
                  </a:moveTo>
                  <a:lnTo>
                    <a:pt x="125682" y="289614"/>
                  </a:lnTo>
                  <a:lnTo>
                    <a:pt x="125682" y="291436"/>
                  </a:lnTo>
                  <a:lnTo>
                    <a:pt x="114753" y="296900"/>
                  </a:lnTo>
                  <a:lnTo>
                    <a:pt x="109288" y="291436"/>
                  </a:lnTo>
                  <a:close/>
                  <a:moveTo>
                    <a:pt x="200361" y="200362"/>
                  </a:moveTo>
                  <a:lnTo>
                    <a:pt x="204004" y="200362"/>
                  </a:lnTo>
                  <a:lnTo>
                    <a:pt x="204004" y="216755"/>
                  </a:lnTo>
                  <a:lnTo>
                    <a:pt x="204005" y="216755"/>
                  </a:lnTo>
                  <a:lnTo>
                    <a:pt x="216755" y="229505"/>
                  </a:lnTo>
                  <a:lnTo>
                    <a:pt x="220398" y="240434"/>
                  </a:lnTo>
                  <a:lnTo>
                    <a:pt x="216755" y="242256"/>
                  </a:lnTo>
                  <a:lnTo>
                    <a:pt x="220398" y="245899"/>
                  </a:lnTo>
                  <a:lnTo>
                    <a:pt x="225862" y="269578"/>
                  </a:lnTo>
                  <a:lnTo>
                    <a:pt x="216755" y="296900"/>
                  </a:lnTo>
                  <a:lnTo>
                    <a:pt x="214933" y="296900"/>
                  </a:lnTo>
                  <a:lnTo>
                    <a:pt x="209469" y="275042"/>
                  </a:lnTo>
                  <a:lnTo>
                    <a:pt x="198540" y="285971"/>
                  </a:lnTo>
                  <a:lnTo>
                    <a:pt x="198540" y="291435"/>
                  </a:lnTo>
                  <a:lnTo>
                    <a:pt x="205826" y="302364"/>
                  </a:lnTo>
                  <a:lnTo>
                    <a:pt x="198540" y="315114"/>
                  </a:lnTo>
                  <a:lnTo>
                    <a:pt x="193076" y="304185"/>
                  </a:lnTo>
                  <a:lnTo>
                    <a:pt x="183968" y="309650"/>
                  </a:lnTo>
                  <a:lnTo>
                    <a:pt x="167575" y="300543"/>
                  </a:lnTo>
                  <a:lnTo>
                    <a:pt x="165754" y="300543"/>
                  </a:lnTo>
                  <a:lnTo>
                    <a:pt x="162111" y="284149"/>
                  </a:lnTo>
                  <a:lnTo>
                    <a:pt x="162111" y="280506"/>
                  </a:lnTo>
                  <a:lnTo>
                    <a:pt x="165754" y="273221"/>
                  </a:lnTo>
                  <a:lnTo>
                    <a:pt x="154825" y="262292"/>
                  </a:lnTo>
                  <a:lnTo>
                    <a:pt x="149360" y="273221"/>
                  </a:lnTo>
                  <a:lnTo>
                    <a:pt x="147539" y="273221"/>
                  </a:lnTo>
                  <a:lnTo>
                    <a:pt x="143896" y="267756"/>
                  </a:lnTo>
                  <a:lnTo>
                    <a:pt x="138431" y="275042"/>
                  </a:lnTo>
                  <a:lnTo>
                    <a:pt x="136610" y="275042"/>
                  </a:lnTo>
                  <a:lnTo>
                    <a:pt x="132967" y="267756"/>
                  </a:lnTo>
                  <a:lnTo>
                    <a:pt x="131145" y="267756"/>
                  </a:lnTo>
                  <a:lnTo>
                    <a:pt x="122038" y="284149"/>
                  </a:lnTo>
                  <a:lnTo>
                    <a:pt x="122038" y="285971"/>
                  </a:lnTo>
                  <a:lnTo>
                    <a:pt x="114752" y="285971"/>
                  </a:lnTo>
                  <a:lnTo>
                    <a:pt x="114752" y="284149"/>
                  </a:lnTo>
                  <a:lnTo>
                    <a:pt x="111109" y="278685"/>
                  </a:lnTo>
                  <a:lnTo>
                    <a:pt x="122038" y="256827"/>
                  </a:lnTo>
                  <a:lnTo>
                    <a:pt x="136610" y="251363"/>
                  </a:lnTo>
                  <a:lnTo>
                    <a:pt x="147539" y="240434"/>
                  </a:lnTo>
                  <a:lnTo>
                    <a:pt x="149360" y="240434"/>
                  </a:lnTo>
                  <a:lnTo>
                    <a:pt x="156646" y="242256"/>
                  </a:lnTo>
                  <a:lnTo>
                    <a:pt x="156646" y="256827"/>
                  </a:lnTo>
                  <a:lnTo>
                    <a:pt x="165754" y="253185"/>
                  </a:lnTo>
                  <a:lnTo>
                    <a:pt x="167575" y="245899"/>
                  </a:lnTo>
                  <a:lnTo>
                    <a:pt x="176682" y="245899"/>
                  </a:lnTo>
                  <a:lnTo>
                    <a:pt x="178504" y="234970"/>
                  </a:lnTo>
                  <a:lnTo>
                    <a:pt x="182147" y="234970"/>
                  </a:lnTo>
                  <a:lnTo>
                    <a:pt x="194897" y="231327"/>
                  </a:lnTo>
                  <a:lnTo>
                    <a:pt x="194897" y="216755"/>
                  </a:lnTo>
                  <a:lnTo>
                    <a:pt x="200361" y="216755"/>
                  </a:lnTo>
                  <a:lnTo>
                    <a:pt x="200361" y="213113"/>
                  </a:lnTo>
                  <a:lnTo>
                    <a:pt x="198539" y="207648"/>
                  </a:lnTo>
                  <a:lnTo>
                    <a:pt x="198539" y="205826"/>
                  </a:lnTo>
                  <a:close/>
                  <a:moveTo>
                    <a:pt x="142074" y="185790"/>
                  </a:moveTo>
                  <a:lnTo>
                    <a:pt x="143896" y="185790"/>
                  </a:lnTo>
                  <a:lnTo>
                    <a:pt x="153003" y="189433"/>
                  </a:lnTo>
                  <a:lnTo>
                    <a:pt x="153003" y="194897"/>
                  </a:lnTo>
                  <a:lnTo>
                    <a:pt x="143896" y="213112"/>
                  </a:lnTo>
                  <a:lnTo>
                    <a:pt x="143896" y="229506"/>
                  </a:lnTo>
                  <a:lnTo>
                    <a:pt x="142074" y="234970"/>
                  </a:lnTo>
                  <a:lnTo>
                    <a:pt x="125680" y="218577"/>
                  </a:lnTo>
                  <a:lnTo>
                    <a:pt x="125680" y="211290"/>
                  </a:lnTo>
                  <a:lnTo>
                    <a:pt x="127502" y="211290"/>
                  </a:lnTo>
                  <a:lnTo>
                    <a:pt x="131145" y="207648"/>
                  </a:lnTo>
                  <a:lnTo>
                    <a:pt x="136609" y="189433"/>
                  </a:lnTo>
                  <a:close/>
                  <a:moveTo>
                    <a:pt x="162110" y="180326"/>
                  </a:moveTo>
                  <a:lnTo>
                    <a:pt x="165753" y="180326"/>
                  </a:lnTo>
                  <a:lnTo>
                    <a:pt x="165753" y="200362"/>
                  </a:lnTo>
                  <a:lnTo>
                    <a:pt x="157272" y="212612"/>
                  </a:lnTo>
                  <a:lnTo>
                    <a:pt x="165754" y="205827"/>
                  </a:lnTo>
                  <a:lnTo>
                    <a:pt x="178504" y="205827"/>
                  </a:lnTo>
                  <a:lnTo>
                    <a:pt x="178504" y="207648"/>
                  </a:lnTo>
                  <a:lnTo>
                    <a:pt x="176683" y="218578"/>
                  </a:lnTo>
                  <a:lnTo>
                    <a:pt x="171218" y="218578"/>
                  </a:lnTo>
                  <a:lnTo>
                    <a:pt x="167575" y="222221"/>
                  </a:lnTo>
                  <a:lnTo>
                    <a:pt x="160289" y="222221"/>
                  </a:lnTo>
                  <a:lnTo>
                    <a:pt x="156748" y="213368"/>
                  </a:lnTo>
                  <a:lnTo>
                    <a:pt x="149360" y="224041"/>
                  </a:lnTo>
                  <a:lnTo>
                    <a:pt x="147538" y="224041"/>
                  </a:lnTo>
                  <a:lnTo>
                    <a:pt x="147538" y="213112"/>
                  </a:lnTo>
                  <a:close/>
                  <a:moveTo>
                    <a:pt x="52823" y="174861"/>
                  </a:moveTo>
                  <a:lnTo>
                    <a:pt x="54644" y="174861"/>
                  </a:lnTo>
                  <a:lnTo>
                    <a:pt x="54644" y="178504"/>
                  </a:lnTo>
                  <a:lnTo>
                    <a:pt x="60109" y="200361"/>
                  </a:lnTo>
                  <a:lnTo>
                    <a:pt x="60109" y="202183"/>
                  </a:lnTo>
                  <a:lnTo>
                    <a:pt x="58287" y="202183"/>
                  </a:lnTo>
                  <a:lnTo>
                    <a:pt x="41894" y="213112"/>
                  </a:lnTo>
                  <a:lnTo>
                    <a:pt x="41894" y="218577"/>
                  </a:lnTo>
                  <a:lnTo>
                    <a:pt x="20036" y="236791"/>
                  </a:lnTo>
                  <a:lnTo>
                    <a:pt x="3643" y="247720"/>
                  </a:lnTo>
                  <a:lnTo>
                    <a:pt x="0" y="247720"/>
                  </a:lnTo>
                  <a:lnTo>
                    <a:pt x="0" y="245899"/>
                  </a:lnTo>
                  <a:lnTo>
                    <a:pt x="5464" y="234970"/>
                  </a:lnTo>
                  <a:lnTo>
                    <a:pt x="47358" y="200361"/>
                  </a:lnTo>
                  <a:lnTo>
                    <a:pt x="52823" y="178504"/>
                  </a:lnTo>
                  <a:close/>
                  <a:moveTo>
                    <a:pt x="111109" y="163932"/>
                  </a:moveTo>
                  <a:lnTo>
                    <a:pt x="114752" y="163932"/>
                  </a:lnTo>
                  <a:lnTo>
                    <a:pt x="125681" y="169396"/>
                  </a:lnTo>
                  <a:lnTo>
                    <a:pt x="142075" y="173039"/>
                  </a:lnTo>
                  <a:lnTo>
                    <a:pt x="142075" y="183968"/>
                  </a:lnTo>
                  <a:lnTo>
                    <a:pt x="138432" y="183968"/>
                  </a:lnTo>
                  <a:lnTo>
                    <a:pt x="114752" y="202183"/>
                  </a:lnTo>
                  <a:lnTo>
                    <a:pt x="114752" y="200361"/>
                  </a:lnTo>
                  <a:close/>
                  <a:moveTo>
                    <a:pt x="171218" y="147540"/>
                  </a:moveTo>
                  <a:lnTo>
                    <a:pt x="193076" y="147540"/>
                  </a:lnTo>
                  <a:lnTo>
                    <a:pt x="193076" y="151183"/>
                  </a:lnTo>
                  <a:lnTo>
                    <a:pt x="198540" y="156647"/>
                  </a:lnTo>
                  <a:lnTo>
                    <a:pt x="198540" y="173040"/>
                  </a:lnTo>
                  <a:lnTo>
                    <a:pt x="205826" y="185791"/>
                  </a:lnTo>
                  <a:lnTo>
                    <a:pt x="204005" y="185791"/>
                  </a:lnTo>
                  <a:lnTo>
                    <a:pt x="193076" y="183969"/>
                  </a:lnTo>
                  <a:lnTo>
                    <a:pt x="189433" y="183969"/>
                  </a:lnTo>
                  <a:lnTo>
                    <a:pt x="187739" y="180921"/>
                  </a:lnTo>
                  <a:lnTo>
                    <a:pt x="193076" y="205826"/>
                  </a:lnTo>
                  <a:lnTo>
                    <a:pt x="193076" y="207648"/>
                  </a:lnTo>
                  <a:lnTo>
                    <a:pt x="187612" y="207648"/>
                  </a:lnTo>
                  <a:lnTo>
                    <a:pt x="187612" y="211291"/>
                  </a:lnTo>
                  <a:lnTo>
                    <a:pt x="183969" y="211291"/>
                  </a:lnTo>
                  <a:lnTo>
                    <a:pt x="178504" y="205826"/>
                  </a:lnTo>
                  <a:lnTo>
                    <a:pt x="176683" y="189433"/>
                  </a:lnTo>
                  <a:lnTo>
                    <a:pt x="173040" y="191255"/>
                  </a:lnTo>
                  <a:lnTo>
                    <a:pt x="173040" y="189433"/>
                  </a:lnTo>
                  <a:lnTo>
                    <a:pt x="171218" y="174861"/>
                  </a:lnTo>
                  <a:lnTo>
                    <a:pt x="171218" y="173040"/>
                  </a:lnTo>
                  <a:lnTo>
                    <a:pt x="187342" y="180206"/>
                  </a:lnTo>
                  <a:lnTo>
                    <a:pt x="171218" y="151183"/>
                  </a:lnTo>
                  <a:close/>
                  <a:moveTo>
                    <a:pt x="143896" y="145718"/>
                  </a:moveTo>
                  <a:lnTo>
                    <a:pt x="147539" y="145718"/>
                  </a:lnTo>
                  <a:lnTo>
                    <a:pt x="162111" y="162112"/>
                  </a:lnTo>
                  <a:lnTo>
                    <a:pt x="165754" y="167576"/>
                  </a:lnTo>
                  <a:lnTo>
                    <a:pt x="162111" y="167576"/>
                  </a:lnTo>
                  <a:lnTo>
                    <a:pt x="162111" y="169398"/>
                  </a:lnTo>
                  <a:lnTo>
                    <a:pt x="153003" y="158469"/>
                  </a:lnTo>
                  <a:lnTo>
                    <a:pt x="143896" y="162112"/>
                  </a:lnTo>
                  <a:lnTo>
                    <a:pt x="142074" y="162112"/>
                  </a:lnTo>
                  <a:lnTo>
                    <a:pt x="143896" y="147539"/>
                  </a:lnTo>
                  <a:close/>
                  <a:moveTo>
                    <a:pt x="116574" y="145718"/>
                  </a:moveTo>
                  <a:lnTo>
                    <a:pt x="120217" y="145718"/>
                  </a:lnTo>
                  <a:lnTo>
                    <a:pt x="120217" y="147539"/>
                  </a:lnTo>
                  <a:lnTo>
                    <a:pt x="116574" y="158469"/>
                  </a:lnTo>
                  <a:lnTo>
                    <a:pt x="114752" y="158469"/>
                  </a:lnTo>
                  <a:lnTo>
                    <a:pt x="114752" y="151182"/>
                  </a:lnTo>
                  <a:close/>
                  <a:moveTo>
                    <a:pt x="109288" y="123860"/>
                  </a:moveTo>
                  <a:lnTo>
                    <a:pt x="116574" y="123860"/>
                  </a:lnTo>
                  <a:lnTo>
                    <a:pt x="116574" y="127503"/>
                  </a:lnTo>
                  <a:lnTo>
                    <a:pt x="120217" y="127503"/>
                  </a:lnTo>
                  <a:lnTo>
                    <a:pt x="120217" y="132967"/>
                  </a:lnTo>
                  <a:lnTo>
                    <a:pt x="116574" y="134789"/>
                  </a:lnTo>
                  <a:lnTo>
                    <a:pt x="109288" y="127503"/>
                  </a:lnTo>
                  <a:close/>
                  <a:moveTo>
                    <a:pt x="87429" y="123860"/>
                  </a:moveTo>
                  <a:lnTo>
                    <a:pt x="92893" y="123860"/>
                  </a:lnTo>
                  <a:lnTo>
                    <a:pt x="92893" y="127503"/>
                  </a:lnTo>
                  <a:lnTo>
                    <a:pt x="103822" y="132967"/>
                  </a:lnTo>
                  <a:lnTo>
                    <a:pt x="103822" y="153003"/>
                  </a:lnTo>
                  <a:lnTo>
                    <a:pt x="98357" y="158468"/>
                  </a:lnTo>
                  <a:lnTo>
                    <a:pt x="94715" y="158468"/>
                  </a:lnTo>
                  <a:lnTo>
                    <a:pt x="94715" y="156646"/>
                  </a:lnTo>
                  <a:lnTo>
                    <a:pt x="81965" y="132967"/>
                  </a:lnTo>
                  <a:lnTo>
                    <a:pt x="76500" y="129324"/>
                  </a:lnTo>
                  <a:lnTo>
                    <a:pt x="74679" y="129324"/>
                  </a:lnTo>
                  <a:lnTo>
                    <a:pt x="74679" y="127503"/>
                  </a:lnTo>
                  <a:lnTo>
                    <a:pt x="81965" y="127503"/>
                  </a:lnTo>
                  <a:close/>
                  <a:moveTo>
                    <a:pt x="114753" y="85610"/>
                  </a:moveTo>
                  <a:lnTo>
                    <a:pt x="116574" y="85610"/>
                  </a:lnTo>
                  <a:lnTo>
                    <a:pt x="116574" y="96539"/>
                  </a:lnTo>
                  <a:lnTo>
                    <a:pt x="114753" y="96539"/>
                  </a:lnTo>
                  <a:lnTo>
                    <a:pt x="111109" y="89253"/>
                  </a:lnTo>
                  <a:close/>
                  <a:moveTo>
                    <a:pt x="83787" y="0"/>
                  </a:moveTo>
                  <a:lnTo>
                    <a:pt x="109287" y="5464"/>
                  </a:lnTo>
                  <a:lnTo>
                    <a:pt x="114752" y="5464"/>
                  </a:lnTo>
                  <a:lnTo>
                    <a:pt x="116574" y="0"/>
                  </a:lnTo>
                  <a:lnTo>
                    <a:pt x="122038" y="1821"/>
                  </a:lnTo>
                  <a:lnTo>
                    <a:pt x="120217" y="27322"/>
                  </a:lnTo>
                  <a:lnTo>
                    <a:pt x="127502" y="40072"/>
                  </a:lnTo>
                  <a:lnTo>
                    <a:pt x="127502" y="43715"/>
                  </a:lnTo>
                  <a:lnTo>
                    <a:pt x="120217" y="61930"/>
                  </a:lnTo>
                  <a:lnTo>
                    <a:pt x="109287" y="69216"/>
                  </a:lnTo>
                  <a:lnTo>
                    <a:pt x="103823" y="80144"/>
                  </a:lnTo>
                  <a:lnTo>
                    <a:pt x="109287" y="102002"/>
                  </a:lnTo>
                  <a:lnTo>
                    <a:pt x="114752" y="112931"/>
                  </a:lnTo>
                  <a:lnTo>
                    <a:pt x="120217" y="112931"/>
                  </a:lnTo>
                  <a:lnTo>
                    <a:pt x="120217" y="107466"/>
                  </a:lnTo>
                  <a:lnTo>
                    <a:pt x="131145" y="102002"/>
                  </a:lnTo>
                  <a:lnTo>
                    <a:pt x="132967" y="102002"/>
                  </a:lnTo>
                  <a:lnTo>
                    <a:pt x="132967" y="105645"/>
                  </a:lnTo>
                  <a:lnTo>
                    <a:pt x="142074" y="118395"/>
                  </a:lnTo>
                  <a:lnTo>
                    <a:pt x="143896" y="112931"/>
                  </a:lnTo>
                  <a:lnTo>
                    <a:pt x="147539" y="112931"/>
                  </a:lnTo>
                  <a:lnTo>
                    <a:pt x="160289" y="118395"/>
                  </a:lnTo>
                  <a:lnTo>
                    <a:pt x="160289" y="122038"/>
                  </a:lnTo>
                  <a:lnTo>
                    <a:pt x="154824" y="123860"/>
                  </a:lnTo>
                  <a:lnTo>
                    <a:pt x="160289" y="129324"/>
                  </a:lnTo>
                  <a:lnTo>
                    <a:pt x="160289" y="134789"/>
                  </a:lnTo>
                  <a:lnTo>
                    <a:pt x="165753" y="138431"/>
                  </a:lnTo>
                  <a:lnTo>
                    <a:pt x="165753" y="151182"/>
                  </a:lnTo>
                  <a:lnTo>
                    <a:pt x="162110" y="151182"/>
                  </a:lnTo>
                  <a:lnTo>
                    <a:pt x="156646" y="143896"/>
                  </a:lnTo>
                  <a:lnTo>
                    <a:pt x="160289" y="143896"/>
                  </a:lnTo>
                  <a:lnTo>
                    <a:pt x="147539" y="138431"/>
                  </a:lnTo>
                  <a:lnTo>
                    <a:pt x="131145" y="118395"/>
                  </a:lnTo>
                  <a:lnTo>
                    <a:pt x="127502" y="118395"/>
                  </a:lnTo>
                  <a:lnTo>
                    <a:pt x="132967" y="132967"/>
                  </a:lnTo>
                  <a:lnTo>
                    <a:pt x="132967" y="134789"/>
                  </a:lnTo>
                  <a:lnTo>
                    <a:pt x="131145" y="134789"/>
                  </a:lnTo>
                  <a:lnTo>
                    <a:pt x="114752" y="116574"/>
                  </a:lnTo>
                  <a:lnTo>
                    <a:pt x="105644" y="116574"/>
                  </a:lnTo>
                  <a:lnTo>
                    <a:pt x="100180" y="123860"/>
                  </a:lnTo>
                  <a:lnTo>
                    <a:pt x="94716" y="123860"/>
                  </a:lnTo>
                  <a:lnTo>
                    <a:pt x="89251" y="122038"/>
                  </a:lnTo>
                  <a:lnTo>
                    <a:pt x="83787" y="122038"/>
                  </a:lnTo>
                  <a:lnTo>
                    <a:pt x="83787" y="118395"/>
                  </a:lnTo>
                  <a:lnTo>
                    <a:pt x="81965" y="111109"/>
                  </a:lnTo>
                  <a:lnTo>
                    <a:pt x="87430" y="100181"/>
                  </a:lnTo>
                  <a:lnTo>
                    <a:pt x="83787" y="96538"/>
                  </a:lnTo>
                  <a:lnTo>
                    <a:pt x="81965" y="105645"/>
                  </a:lnTo>
                  <a:lnTo>
                    <a:pt x="78322" y="105645"/>
                  </a:lnTo>
                  <a:lnTo>
                    <a:pt x="69215" y="89252"/>
                  </a:lnTo>
                  <a:lnTo>
                    <a:pt x="60108" y="61930"/>
                  </a:lnTo>
                  <a:lnTo>
                    <a:pt x="60108" y="60108"/>
                  </a:lnTo>
                  <a:lnTo>
                    <a:pt x="74679" y="60108"/>
                  </a:lnTo>
                  <a:lnTo>
                    <a:pt x="81965"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5" name="Thailand">
              <a:extLst>
                <a:ext uri="{FF2B5EF4-FFF2-40B4-BE49-F238E27FC236}">
                  <a16:creationId xmlns:a16="http://schemas.microsoft.com/office/drawing/2014/main" id="{628668B5-C824-6E58-F2FB-CF8CF91AAEA3}"/>
                </a:ext>
              </a:extLst>
            </p:cNvPr>
            <p:cNvSpPr>
              <a:spLocks/>
            </p:cNvSpPr>
            <p:nvPr/>
          </p:nvSpPr>
          <p:spPr bwMode="auto">
            <a:xfrm>
              <a:off x="8131654" y="4090464"/>
              <a:ext cx="184321" cy="365026"/>
            </a:xfrm>
            <a:custGeom>
              <a:avLst/>
              <a:gdLst/>
              <a:ahLst/>
              <a:cxnLst/>
              <a:rect l="l" t="t" r="r" b="b"/>
              <a:pathLst>
                <a:path w="185790" h="367936">
                  <a:moveTo>
                    <a:pt x="18215" y="218576"/>
                  </a:moveTo>
                  <a:lnTo>
                    <a:pt x="20036" y="218576"/>
                  </a:lnTo>
                  <a:lnTo>
                    <a:pt x="20036" y="227684"/>
                  </a:lnTo>
                  <a:lnTo>
                    <a:pt x="12750" y="227684"/>
                  </a:lnTo>
                  <a:lnTo>
                    <a:pt x="12750" y="224041"/>
                  </a:lnTo>
                  <a:close/>
                  <a:moveTo>
                    <a:pt x="61930" y="0"/>
                  </a:moveTo>
                  <a:lnTo>
                    <a:pt x="61930" y="5465"/>
                  </a:lnTo>
                  <a:lnTo>
                    <a:pt x="67395" y="9107"/>
                  </a:lnTo>
                  <a:lnTo>
                    <a:pt x="69216" y="9107"/>
                  </a:lnTo>
                  <a:lnTo>
                    <a:pt x="69216" y="25501"/>
                  </a:lnTo>
                  <a:lnTo>
                    <a:pt x="81966" y="27322"/>
                  </a:lnTo>
                  <a:lnTo>
                    <a:pt x="81966" y="30965"/>
                  </a:lnTo>
                  <a:lnTo>
                    <a:pt x="78323" y="76502"/>
                  </a:lnTo>
                  <a:lnTo>
                    <a:pt x="98360" y="61930"/>
                  </a:lnTo>
                  <a:lnTo>
                    <a:pt x="118396" y="67394"/>
                  </a:lnTo>
                  <a:lnTo>
                    <a:pt x="123860" y="65573"/>
                  </a:lnTo>
                  <a:lnTo>
                    <a:pt x="129325" y="60108"/>
                  </a:lnTo>
                  <a:lnTo>
                    <a:pt x="136611" y="56466"/>
                  </a:lnTo>
                  <a:lnTo>
                    <a:pt x="145718" y="56466"/>
                  </a:lnTo>
                  <a:lnTo>
                    <a:pt x="160290" y="78323"/>
                  </a:lnTo>
                  <a:lnTo>
                    <a:pt x="169397" y="111110"/>
                  </a:lnTo>
                  <a:lnTo>
                    <a:pt x="185790" y="127503"/>
                  </a:lnTo>
                  <a:lnTo>
                    <a:pt x="185790" y="154825"/>
                  </a:lnTo>
                  <a:lnTo>
                    <a:pt x="180326" y="160289"/>
                  </a:lnTo>
                  <a:lnTo>
                    <a:pt x="134789" y="160289"/>
                  </a:lnTo>
                  <a:lnTo>
                    <a:pt x="114753" y="173039"/>
                  </a:lnTo>
                  <a:lnTo>
                    <a:pt x="109288" y="187611"/>
                  </a:lnTo>
                  <a:lnTo>
                    <a:pt x="114753" y="200361"/>
                  </a:lnTo>
                  <a:lnTo>
                    <a:pt x="123860" y="211290"/>
                  </a:lnTo>
                  <a:lnTo>
                    <a:pt x="125682" y="224040"/>
                  </a:lnTo>
                  <a:lnTo>
                    <a:pt x="123860" y="227683"/>
                  </a:lnTo>
                  <a:lnTo>
                    <a:pt x="123860" y="224040"/>
                  </a:lnTo>
                  <a:lnTo>
                    <a:pt x="118396" y="213112"/>
                  </a:lnTo>
                  <a:lnTo>
                    <a:pt x="98360" y="202183"/>
                  </a:lnTo>
                  <a:lnTo>
                    <a:pt x="78323" y="202183"/>
                  </a:lnTo>
                  <a:lnTo>
                    <a:pt x="74681" y="200361"/>
                  </a:lnTo>
                  <a:lnTo>
                    <a:pt x="74681" y="182147"/>
                  </a:lnTo>
                  <a:lnTo>
                    <a:pt x="61930" y="178504"/>
                  </a:lnTo>
                  <a:lnTo>
                    <a:pt x="56466" y="182147"/>
                  </a:lnTo>
                  <a:lnTo>
                    <a:pt x="52823" y="211290"/>
                  </a:lnTo>
                  <a:lnTo>
                    <a:pt x="36430" y="260470"/>
                  </a:lnTo>
                  <a:lnTo>
                    <a:pt x="40073" y="280506"/>
                  </a:lnTo>
                  <a:lnTo>
                    <a:pt x="52823" y="280506"/>
                  </a:lnTo>
                  <a:lnTo>
                    <a:pt x="69216" y="327864"/>
                  </a:lnTo>
                  <a:lnTo>
                    <a:pt x="78323" y="335150"/>
                  </a:lnTo>
                  <a:lnTo>
                    <a:pt x="92895" y="338793"/>
                  </a:lnTo>
                  <a:lnTo>
                    <a:pt x="109288" y="355186"/>
                  </a:lnTo>
                  <a:lnTo>
                    <a:pt x="109288" y="357007"/>
                  </a:lnTo>
                  <a:lnTo>
                    <a:pt x="103824" y="362472"/>
                  </a:lnTo>
                  <a:lnTo>
                    <a:pt x="92895" y="362472"/>
                  </a:lnTo>
                  <a:lnTo>
                    <a:pt x="85609" y="367936"/>
                  </a:lnTo>
                  <a:lnTo>
                    <a:pt x="81966" y="367936"/>
                  </a:lnTo>
                  <a:lnTo>
                    <a:pt x="78323" y="349722"/>
                  </a:lnTo>
                  <a:lnTo>
                    <a:pt x="61930" y="346079"/>
                  </a:lnTo>
                  <a:lnTo>
                    <a:pt x="61930" y="349722"/>
                  </a:lnTo>
                  <a:lnTo>
                    <a:pt x="23679" y="306006"/>
                  </a:lnTo>
                  <a:lnTo>
                    <a:pt x="14572" y="307828"/>
                  </a:lnTo>
                  <a:lnTo>
                    <a:pt x="14572" y="289613"/>
                  </a:lnTo>
                  <a:lnTo>
                    <a:pt x="23679" y="260470"/>
                  </a:lnTo>
                  <a:lnTo>
                    <a:pt x="25501" y="244077"/>
                  </a:lnTo>
                  <a:lnTo>
                    <a:pt x="45537" y="218576"/>
                  </a:lnTo>
                  <a:lnTo>
                    <a:pt x="30965" y="189433"/>
                  </a:lnTo>
                  <a:lnTo>
                    <a:pt x="30965" y="167575"/>
                  </a:lnTo>
                  <a:lnTo>
                    <a:pt x="14572" y="154825"/>
                  </a:lnTo>
                  <a:lnTo>
                    <a:pt x="12751" y="145717"/>
                  </a:lnTo>
                  <a:lnTo>
                    <a:pt x="23679" y="116574"/>
                  </a:lnTo>
                  <a:lnTo>
                    <a:pt x="18215" y="111110"/>
                  </a:lnTo>
                  <a:lnTo>
                    <a:pt x="18215" y="92895"/>
                  </a:lnTo>
                  <a:lnTo>
                    <a:pt x="7286" y="78323"/>
                  </a:lnTo>
                  <a:lnTo>
                    <a:pt x="0" y="60108"/>
                  </a:lnTo>
                  <a:lnTo>
                    <a:pt x="7286" y="30965"/>
                  </a:lnTo>
                  <a:lnTo>
                    <a:pt x="7286" y="27322"/>
                  </a:lnTo>
                  <a:lnTo>
                    <a:pt x="25501" y="25501"/>
                  </a:lnTo>
                  <a:lnTo>
                    <a:pt x="52823" y="9107"/>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6" name="Andaman &amp; Nicobar Islands">
              <a:extLst>
                <a:ext uri="{FF2B5EF4-FFF2-40B4-BE49-F238E27FC236}">
                  <a16:creationId xmlns:a16="http://schemas.microsoft.com/office/drawing/2014/main" id="{B25C705A-B27E-38CB-C901-14D0187C0CC4}"/>
                </a:ext>
              </a:extLst>
            </p:cNvPr>
            <p:cNvSpPr>
              <a:spLocks/>
            </p:cNvSpPr>
            <p:nvPr/>
          </p:nvSpPr>
          <p:spPr bwMode="auto">
            <a:xfrm>
              <a:off x="8006968" y="4265750"/>
              <a:ext cx="14457" cy="50598"/>
            </a:xfrm>
            <a:custGeom>
              <a:avLst/>
              <a:gdLst>
                <a:gd name="T0" fmla="*/ 6 w 8"/>
                <a:gd name="T1" fmla="*/ 0 h 28"/>
                <a:gd name="T2" fmla="*/ 8 w 8"/>
                <a:gd name="T3" fmla="*/ 0 h 28"/>
                <a:gd name="T4" fmla="*/ 8 w 8"/>
                <a:gd name="T5" fmla="*/ 1 h 28"/>
                <a:gd name="T6" fmla="*/ 3 w 8"/>
                <a:gd name="T7" fmla="*/ 28 h 28"/>
                <a:gd name="T8" fmla="*/ 0 w 8"/>
                <a:gd name="T9" fmla="*/ 23 h 28"/>
                <a:gd name="T10" fmla="*/ 6 w 8"/>
                <a:gd name="T11" fmla="*/ 1 h 28"/>
                <a:gd name="T12" fmla="*/ 6 w 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8" h="28">
                  <a:moveTo>
                    <a:pt x="6" y="0"/>
                  </a:moveTo>
                  <a:lnTo>
                    <a:pt x="8" y="0"/>
                  </a:lnTo>
                  <a:lnTo>
                    <a:pt x="8" y="1"/>
                  </a:lnTo>
                  <a:lnTo>
                    <a:pt x="3" y="28"/>
                  </a:lnTo>
                  <a:lnTo>
                    <a:pt x="0" y="23"/>
                  </a:lnTo>
                  <a:lnTo>
                    <a:pt x="6" y="1"/>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7" name="Indonesia">
              <a:extLst>
                <a:ext uri="{FF2B5EF4-FFF2-40B4-BE49-F238E27FC236}">
                  <a16:creationId xmlns:a16="http://schemas.microsoft.com/office/drawing/2014/main" id="{DF82299C-83F1-F653-B511-DE8A95C7D4EA}"/>
                </a:ext>
              </a:extLst>
            </p:cNvPr>
            <p:cNvSpPr>
              <a:spLocks/>
            </p:cNvSpPr>
            <p:nvPr/>
          </p:nvSpPr>
          <p:spPr bwMode="auto">
            <a:xfrm>
              <a:off x="8034073" y="4415735"/>
              <a:ext cx="1127607" cy="430083"/>
            </a:xfrm>
            <a:custGeom>
              <a:avLst/>
              <a:gdLst/>
              <a:ahLst/>
              <a:cxnLst/>
              <a:rect l="l" t="t" r="r" b="b"/>
              <a:pathLst>
                <a:path w="1136596" h="433511">
                  <a:moveTo>
                    <a:pt x="708552" y="420760"/>
                  </a:moveTo>
                  <a:lnTo>
                    <a:pt x="710373" y="420760"/>
                  </a:lnTo>
                  <a:lnTo>
                    <a:pt x="710373" y="422582"/>
                  </a:lnTo>
                  <a:lnTo>
                    <a:pt x="708552" y="431690"/>
                  </a:lnTo>
                  <a:lnTo>
                    <a:pt x="704909" y="431690"/>
                  </a:lnTo>
                  <a:lnTo>
                    <a:pt x="697622" y="433511"/>
                  </a:lnTo>
                  <a:lnTo>
                    <a:pt x="697622" y="431690"/>
                  </a:lnTo>
                  <a:close/>
                  <a:moveTo>
                    <a:pt x="621121" y="393437"/>
                  </a:moveTo>
                  <a:lnTo>
                    <a:pt x="630228" y="393437"/>
                  </a:lnTo>
                  <a:lnTo>
                    <a:pt x="642978" y="404366"/>
                  </a:lnTo>
                  <a:lnTo>
                    <a:pt x="650264" y="413474"/>
                  </a:lnTo>
                  <a:lnTo>
                    <a:pt x="650264" y="415296"/>
                  </a:lnTo>
                  <a:lnTo>
                    <a:pt x="637514" y="420760"/>
                  </a:lnTo>
                  <a:lnTo>
                    <a:pt x="621121" y="408010"/>
                  </a:lnTo>
                  <a:lnTo>
                    <a:pt x="608370" y="408010"/>
                  </a:lnTo>
                  <a:lnTo>
                    <a:pt x="604727" y="398902"/>
                  </a:lnTo>
                  <a:lnTo>
                    <a:pt x="604727" y="397080"/>
                  </a:lnTo>
                  <a:lnTo>
                    <a:pt x="613835" y="397080"/>
                  </a:lnTo>
                  <a:close/>
                  <a:moveTo>
                    <a:pt x="790516" y="371580"/>
                  </a:moveTo>
                  <a:lnTo>
                    <a:pt x="801445" y="371580"/>
                  </a:lnTo>
                  <a:lnTo>
                    <a:pt x="801445" y="375223"/>
                  </a:lnTo>
                  <a:lnTo>
                    <a:pt x="799624" y="380688"/>
                  </a:lnTo>
                  <a:lnTo>
                    <a:pt x="799624" y="382509"/>
                  </a:lnTo>
                  <a:lnTo>
                    <a:pt x="750444" y="398902"/>
                  </a:lnTo>
                  <a:lnTo>
                    <a:pt x="743159" y="413474"/>
                  </a:lnTo>
                  <a:lnTo>
                    <a:pt x="723123" y="420760"/>
                  </a:lnTo>
                  <a:lnTo>
                    <a:pt x="714015" y="420760"/>
                  </a:lnTo>
                  <a:lnTo>
                    <a:pt x="714015" y="417117"/>
                  </a:lnTo>
                  <a:lnTo>
                    <a:pt x="717658" y="402545"/>
                  </a:lnTo>
                  <a:lnTo>
                    <a:pt x="717658" y="398902"/>
                  </a:lnTo>
                  <a:lnTo>
                    <a:pt x="743159" y="387974"/>
                  </a:lnTo>
                  <a:lnTo>
                    <a:pt x="748623" y="377045"/>
                  </a:lnTo>
                  <a:lnTo>
                    <a:pt x="759552" y="377045"/>
                  </a:lnTo>
                  <a:close/>
                  <a:moveTo>
                    <a:pt x="734052" y="366116"/>
                  </a:moveTo>
                  <a:lnTo>
                    <a:pt x="739517" y="366116"/>
                  </a:lnTo>
                  <a:lnTo>
                    <a:pt x="744982" y="369759"/>
                  </a:lnTo>
                  <a:lnTo>
                    <a:pt x="750446" y="369759"/>
                  </a:lnTo>
                  <a:lnTo>
                    <a:pt x="750446" y="371581"/>
                  </a:lnTo>
                  <a:lnTo>
                    <a:pt x="739517" y="375224"/>
                  </a:lnTo>
                  <a:lnTo>
                    <a:pt x="737695" y="375224"/>
                  </a:lnTo>
                  <a:lnTo>
                    <a:pt x="734052" y="369759"/>
                  </a:lnTo>
                  <a:close/>
                  <a:moveTo>
                    <a:pt x="728588" y="366116"/>
                  </a:moveTo>
                  <a:lnTo>
                    <a:pt x="732231" y="366116"/>
                  </a:lnTo>
                  <a:lnTo>
                    <a:pt x="732231" y="369759"/>
                  </a:lnTo>
                  <a:lnTo>
                    <a:pt x="728588" y="377045"/>
                  </a:lnTo>
                  <a:lnTo>
                    <a:pt x="728588" y="380688"/>
                  </a:lnTo>
                  <a:lnTo>
                    <a:pt x="726766" y="380688"/>
                  </a:lnTo>
                  <a:lnTo>
                    <a:pt x="723123" y="375224"/>
                  </a:lnTo>
                  <a:close/>
                  <a:moveTo>
                    <a:pt x="710373" y="366116"/>
                  </a:moveTo>
                  <a:lnTo>
                    <a:pt x="714016" y="369759"/>
                  </a:lnTo>
                  <a:lnTo>
                    <a:pt x="715838" y="366116"/>
                  </a:lnTo>
                  <a:lnTo>
                    <a:pt x="717659" y="366116"/>
                  </a:lnTo>
                  <a:lnTo>
                    <a:pt x="717659" y="369759"/>
                  </a:lnTo>
                  <a:lnTo>
                    <a:pt x="715838" y="377045"/>
                  </a:lnTo>
                  <a:lnTo>
                    <a:pt x="708551" y="377045"/>
                  </a:lnTo>
                  <a:lnTo>
                    <a:pt x="710373" y="369759"/>
                  </a:lnTo>
                  <a:close/>
                  <a:moveTo>
                    <a:pt x="697624" y="364294"/>
                  </a:moveTo>
                  <a:lnTo>
                    <a:pt x="699445" y="364294"/>
                  </a:lnTo>
                  <a:lnTo>
                    <a:pt x="703088" y="371580"/>
                  </a:lnTo>
                  <a:lnTo>
                    <a:pt x="699445" y="371580"/>
                  </a:lnTo>
                  <a:lnTo>
                    <a:pt x="692159" y="382510"/>
                  </a:lnTo>
                  <a:lnTo>
                    <a:pt x="683052" y="382510"/>
                  </a:lnTo>
                  <a:lnTo>
                    <a:pt x="677587" y="386153"/>
                  </a:lnTo>
                  <a:lnTo>
                    <a:pt x="670301" y="386153"/>
                  </a:lnTo>
                  <a:lnTo>
                    <a:pt x="664837" y="387974"/>
                  </a:lnTo>
                  <a:lnTo>
                    <a:pt x="655730" y="387974"/>
                  </a:lnTo>
                  <a:lnTo>
                    <a:pt x="626586" y="386153"/>
                  </a:lnTo>
                  <a:lnTo>
                    <a:pt x="626586" y="382510"/>
                  </a:lnTo>
                  <a:lnTo>
                    <a:pt x="624764" y="382510"/>
                  </a:lnTo>
                  <a:lnTo>
                    <a:pt x="626586" y="375223"/>
                  </a:lnTo>
                  <a:lnTo>
                    <a:pt x="626586" y="371580"/>
                  </a:lnTo>
                  <a:lnTo>
                    <a:pt x="642979" y="366116"/>
                  </a:lnTo>
                  <a:lnTo>
                    <a:pt x="644801" y="366116"/>
                  </a:lnTo>
                  <a:lnTo>
                    <a:pt x="664837" y="377045"/>
                  </a:lnTo>
                  <a:lnTo>
                    <a:pt x="677587" y="371580"/>
                  </a:lnTo>
                  <a:lnTo>
                    <a:pt x="686695" y="377045"/>
                  </a:lnTo>
                  <a:lnTo>
                    <a:pt x="697624" y="369759"/>
                  </a:lnTo>
                  <a:close/>
                  <a:moveTo>
                    <a:pt x="581049" y="364294"/>
                  </a:moveTo>
                  <a:lnTo>
                    <a:pt x="582870" y="364294"/>
                  </a:lnTo>
                  <a:lnTo>
                    <a:pt x="588335" y="371580"/>
                  </a:lnTo>
                  <a:lnTo>
                    <a:pt x="591978" y="371580"/>
                  </a:lnTo>
                  <a:lnTo>
                    <a:pt x="593799" y="369759"/>
                  </a:lnTo>
                  <a:lnTo>
                    <a:pt x="597442" y="369759"/>
                  </a:lnTo>
                  <a:lnTo>
                    <a:pt x="597442" y="375223"/>
                  </a:lnTo>
                  <a:lnTo>
                    <a:pt x="602906" y="369759"/>
                  </a:lnTo>
                  <a:lnTo>
                    <a:pt x="604728" y="369759"/>
                  </a:lnTo>
                  <a:lnTo>
                    <a:pt x="610192" y="380688"/>
                  </a:lnTo>
                  <a:lnTo>
                    <a:pt x="610192" y="382510"/>
                  </a:lnTo>
                  <a:lnTo>
                    <a:pt x="597442" y="386153"/>
                  </a:lnTo>
                  <a:lnTo>
                    <a:pt x="593799" y="382510"/>
                  </a:lnTo>
                  <a:lnTo>
                    <a:pt x="559191" y="391617"/>
                  </a:lnTo>
                  <a:lnTo>
                    <a:pt x="557370" y="391617"/>
                  </a:lnTo>
                  <a:lnTo>
                    <a:pt x="552451" y="381780"/>
                  </a:lnTo>
                  <a:lnTo>
                    <a:pt x="551905" y="386153"/>
                  </a:lnTo>
                  <a:lnTo>
                    <a:pt x="531868" y="386153"/>
                  </a:lnTo>
                  <a:lnTo>
                    <a:pt x="535511" y="375224"/>
                  </a:lnTo>
                  <a:lnTo>
                    <a:pt x="540976" y="366116"/>
                  </a:lnTo>
                  <a:lnTo>
                    <a:pt x="542797" y="366116"/>
                  </a:lnTo>
                  <a:lnTo>
                    <a:pt x="551905" y="371581"/>
                  </a:lnTo>
                  <a:lnTo>
                    <a:pt x="553726" y="371581"/>
                  </a:lnTo>
                  <a:lnTo>
                    <a:pt x="553161" y="376103"/>
                  </a:lnTo>
                  <a:lnTo>
                    <a:pt x="559191" y="371580"/>
                  </a:lnTo>
                  <a:lnTo>
                    <a:pt x="571941" y="371580"/>
                  </a:lnTo>
                  <a:lnTo>
                    <a:pt x="581049" y="380688"/>
                  </a:lnTo>
                  <a:lnTo>
                    <a:pt x="582870" y="377045"/>
                  </a:lnTo>
                  <a:lnTo>
                    <a:pt x="577406" y="371580"/>
                  </a:lnTo>
                  <a:lnTo>
                    <a:pt x="581049" y="366116"/>
                  </a:lnTo>
                  <a:close/>
                  <a:moveTo>
                    <a:pt x="786875" y="349722"/>
                  </a:moveTo>
                  <a:lnTo>
                    <a:pt x="788697" y="349722"/>
                  </a:lnTo>
                  <a:lnTo>
                    <a:pt x="794161" y="355187"/>
                  </a:lnTo>
                  <a:lnTo>
                    <a:pt x="794161" y="358830"/>
                  </a:lnTo>
                  <a:lnTo>
                    <a:pt x="783232" y="364295"/>
                  </a:lnTo>
                  <a:lnTo>
                    <a:pt x="777767" y="364295"/>
                  </a:lnTo>
                  <a:lnTo>
                    <a:pt x="775946" y="366116"/>
                  </a:lnTo>
                  <a:lnTo>
                    <a:pt x="770481" y="366116"/>
                  </a:lnTo>
                  <a:lnTo>
                    <a:pt x="770481" y="355187"/>
                  </a:lnTo>
                  <a:close/>
                  <a:moveTo>
                    <a:pt x="901628" y="342436"/>
                  </a:moveTo>
                  <a:lnTo>
                    <a:pt x="907092" y="342436"/>
                  </a:lnTo>
                  <a:lnTo>
                    <a:pt x="907092" y="353365"/>
                  </a:lnTo>
                  <a:lnTo>
                    <a:pt x="899806" y="366116"/>
                  </a:lnTo>
                  <a:lnTo>
                    <a:pt x="896163" y="366116"/>
                  </a:lnTo>
                  <a:lnTo>
                    <a:pt x="894341" y="358830"/>
                  </a:lnTo>
                  <a:close/>
                  <a:moveTo>
                    <a:pt x="457189" y="336972"/>
                  </a:moveTo>
                  <a:lnTo>
                    <a:pt x="486334" y="336972"/>
                  </a:lnTo>
                  <a:lnTo>
                    <a:pt x="488155" y="342437"/>
                  </a:lnTo>
                  <a:lnTo>
                    <a:pt x="484512" y="342437"/>
                  </a:lnTo>
                  <a:lnTo>
                    <a:pt x="480869" y="344258"/>
                  </a:lnTo>
                  <a:lnTo>
                    <a:pt x="459011" y="344258"/>
                  </a:lnTo>
                  <a:lnTo>
                    <a:pt x="457189" y="338794"/>
                  </a:lnTo>
                  <a:close/>
                  <a:moveTo>
                    <a:pt x="515476" y="335150"/>
                  </a:moveTo>
                  <a:lnTo>
                    <a:pt x="520941" y="336972"/>
                  </a:lnTo>
                  <a:lnTo>
                    <a:pt x="524584" y="336972"/>
                  </a:lnTo>
                  <a:lnTo>
                    <a:pt x="520941" y="342436"/>
                  </a:lnTo>
                  <a:lnTo>
                    <a:pt x="519119" y="342436"/>
                  </a:lnTo>
                  <a:lnTo>
                    <a:pt x="515476" y="336972"/>
                  </a:lnTo>
                  <a:close/>
                  <a:moveTo>
                    <a:pt x="302364" y="313293"/>
                  </a:moveTo>
                  <a:lnTo>
                    <a:pt x="318758" y="315115"/>
                  </a:lnTo>
                  <a:lnTo>
                    <a:pt x="329686" y="313293"/>
                  </a:lnTo>
                  <a:lnTo>
                    <a:pt x="333329" y="318758"/>
                  </a:lnTo>
                  <a:lnTo>
                    <a:pt x="351544" y="320579"/>
                  </a:lnTo>
                  <a:lnTo>
                    <a:pt x="367937" y="335151"/>
                  </a:lnTo>
                  <a:lnTo>
                    <a:pt x="400724" y="336972"/>
                  </a:lnTo>
                  <a:lnTo>
                    <a:pt x="413474" y="324222"/>
                  </a:lnTo>
                  <a:lnTo>
                    <a:pt x="415296" y="324222"/>
                  </a:lnTo>
                  <a:lnTo>
                    <a:pt x="420760" y="331508"/>
                  </a:lnTo>
                  <a:lnTo>
                    <a:pt x="426224" y="329687"/>
                  </a:lnTo>
                  <a:lnTo>
                    <a:pt x="451725" y="336972"/>
                  </a:lnTo>
                  <a:lnTo>
                    <a:pt x="464475" y="353366"/>
                  </a:lnTo>
                  <a:lnTo>
                    <a:pt x="497262" y="358830"/>
                  </a:lnTo>
                  <a:lnTo>
                    <a:pt x="499083" y="358830"/>
                  </a:lnTo>
                  <a:lnTo>
                    <a:pt x="498400" y="364977"/>
                  </a:lnTo>
                  <a:lnTo>
                    <a:pt x="499083" y="364294"/>
                  </a:lnTo>
                  <a:lnTo>
                    <a:pt x="520940" y="364294"/>
                  </a:lnTo>
                  <a:lnTo>
                    <a:pt x="526404" y="369759"/>
                  </a:lnTo>
                  <a:lnTo>
                    <a:pt x="526404" y="371580"/>
                  </a:lnTo>
                  <a:lnTo>
                    <a:pt x="519118" y="386152"/>
                  </a:lnTo>
                  <a:lnTo>
                    <a:pt x="515476" y="386152"/>
                  </a:lnTo>
                  <a:lnTo>
                    <a:pt x="508190" y="375223"/>
                  </a:lnTo>
                  <a:lnTo>
                    <a:pt x="499083" y="371580"/>
                  </a:lnTo>
                  <a:lnTo>
                    <a:pt x="497667" y="371580"/>
                  </a:lnTo>
                  <a:lnTo>
                    <a:pt x="497262" y="375223"/>
                  </a:lnTo>
                  <a:lnTo>
                    <a:pt x="499083" y="382509"/>
                  </a:lnTo>
                  <a:lnTo>
                    <a:pt x="499083" y="386152"/>
                  </a:lnTo>
                  <a:lnTo>
                    <a:pt x="468118" y="371580"/>
                  </a:lnTo>
                  <a:lnTo>
                    <a:pt x="457189" y="375223"/>
                  </a:lnTo>
                  <a:lnTo>
                    <a:pt x="442618" y="371580"/>
                  </a:lnTo>
                  <a:lnTo>
                    <a:pt x="431689" y="375223"/>
                  </a:lnTo>
                  <a:lnTo>
                    <a:pt x="409831" y="369759"/>
                  </a:lnTo>
                  <a:lnTo>
                    <a:pt x="384331" y="358830"/>
                  </a:lnTo>
                  <a:lnTo>
                    <a:pt x="362473" y="355187"/>
                  </a:lnTo>
                  <a:lnTo>
                    <a:pt x="357009" y="360652"/>
                  </a:lnTo>
                  <a:lnTo>
                    <a:pt x="318758" y="349723"/>
                  </a:lnTo>
                  <a:lnTo>
                    <a:pt x="306007" y="344258"/>
                  </a:lnTo>
                  <a:lnTo>
                    <a:pt x="306007" y="342437"/>
                  </a:lnTo>
                  <a:lnTo>
                    <a:pt x="307829" y="342437"/>
                  </a:lnTo>
                  <a:lnTo>
                    <a:pt x="280507" y="336972"/>
                  </a:lnTo>
                  <a:lnTo>
                    <a:pt x="280507" y="335151"/>
                  </a:lnTo>
                  <a:lnTo>
                    <a:pt x="278685" y="331508"/>
                  </a:lnTo>
                  <a:lnTo>
                    <a:pt x="278685" y="329687"/>
                  </a:lnTo>
                  <a:lnTo>
                    <a:pt x="289614" y="329687"/>
                  </a:lnTo>
                  <a:lnTo>
                    <a:pt x="296900" y="315115"/>
                  </a:lnTo>
                  <a:close/>
                  <a:moveTo>
                    <a:pt x="972664" y="302364"/>
                  </a:moveTo>
                  <a:lnTo>
                    <a:pt x="974485" y="302364"/>
                  </a:lnTo>
                  <a:lnTo>
                    <a:pt x="978128" y="304186"/>
                  </a:lnTo>
                  <a:lnTo>
                    <a:pt x="978128" y="326044"/>
                  </a:lnTo>
                  <a:lnTo>
                    <a:pt x="975326" y="325484"/>
                  </a:lnTo>
                  <a:lnTo>
                    <a:pt x="978128" y="329688"/>
                  </a:lnTo>
                  <a:lnTo>
                    <a:pt x="978128" y="331509"/>
                  </a:lnTo>
                  <a:lnTo>
                    <a:pt x="974485" y="331509"/>
                  </a:lnTo>
                  <a:lnTo>
                    <a:pt x="969022" y="338794"/>
                  </a:lnTo>
                  <a:lnTo>
                    <a:pt x="967200" y="338794"/>
                  </a:lnTo>
                  <a:lnTo>
                    <a:pt x="963557" y="331508"/>
                  </a:lnTo>
                  <a:lnTo>
                    <a:pt x="963557" y="329687"/>
                  </a:lnTo>
                  <a:lnTo>
                    <a:pt x="967200" y="331508"/>
                  </a:lnTo>
                  <a:lnTo>
                    <a:pt x="963557" y="324222"/>
                  </a:lnTo>
                  <a:lnTo>
                    <a:pt x="963557" y="320579"/>
                  </a:lnTo>
                  <a:lnTo>
                    <a:pt x="967199" y="320579"/>
                  </a:lnTo>
                  <a:lnTo>
                    <a:pt x="967199" y="315115"/>
                  </a:lnTo>
                  <a:lnTo>
                    <a:pt x="969021" y="317392"/>
                  </a:lnTo>
                  <a:lnTo>
                    <a:pt x="969021" y="313293"/>
                  </a:lnTo>
                  <a:lnTo>
                    <a:pt x="967199" y="313293"/>
                  </a:lnTo>
                  <a:lnTo>
                    <a:pt x="967199" y="309650"/>
                  </a:lnTo>
                  <a:close/>
                  <a:moveTo>
                    <a:pt x="945342" y="298721"/>
                  </a:moveTo>
                  <a:lnTo>
                    <a:pt x="945342" y="302364"/>
                  </a:lnTo>
                  <a:lnTo>
                    <a:pt x="939878" y="313294"/>
                  </a:lnTo>
                  <a:lnTo>
                    <a:pt x="939878" y="315115"/>
                  </a:lnTo>
                  <a:lnTo>
                    <a:pt x="938056" y="315115"/>
                  </a:lnTo>
                  <a:lnTo>
                    <a:pt x="938056" y="302364"/>
                  </a:lnTo>
                  <a:lnTo>
                    <a:pt x="939878" y="302364"/>
                  </a:lnTo>
                  <a:close/>
                  <a:moveTo>
                    <a:pt x="699444" y="275042"/>
                  </a:moveTo>
                  <a:lnTo>
                    <a:pt x="703087" y="276864"/>
                  </a:lnTo>
                  <a:lnTo>
                    <a:pt x="704908" y="287793"/>
                  </a:lnTo>
                  <a:lnTo>
                    <a:pt x="703087" y="293257"/>
                  </a:lnTo>
                  <a:lnTo>
                    <a:pt x="704908" y="302364"/>
                  </a:lnTo>
                  <a:lnTo>
                    <a:pt x="697622" y="309650"/>
                  </a:lnTo>
                  <a:lnTo>
                    <a:pt x="693979" y="309650"/>
                  </a:lnTo>
                  <a:lnTo>
                    <a:pt x="692158" y="302368"/>
                  </a:lnTo>
                  <a:lnTo>
                    <a:pt x="692158" y="304186"/>
                  </a:lnTo>
                  <a:lnTo>
                    <a:pt x="681230" y="302365"/>
                  </a:lnTo>
                  <a:lnTo>
                    <a:pt x="681230" y="304186"/>
                  </a:lnTo>
                  <a:lnTo>
                    <a:pt x="677587" y="304186"/>
                  </a:lnTo>
                  <a:lnTo>
                    <a:pt x="672122" y="298722"/>
                  </a:lnTo>
                  <a:lnTo>
                    <a:pt x="675765" y="293257"/>
                  </a:lnTo>
                  <a:lnTo>
                    <a:pt x="677587" y="293257"/>
                  </a:lnTo>
                  <a:lnTo>
                    <a:pt x="681229" y="302363"/>
                  </a:lnTo>
                  <a:lnTo>
                    <a:pt x="683051" y="287793"/>
                  </a:lnTo>
                  <a:lnTo>
                    <a:pt x="683051" y="285971"/>
                  </a:lnTo>
                  <a:lnTo>
                    <a:pt x="692158" y="285971"/>
                  </a:lnTo>
                  <a:lnTo>
                    <a:pt x="692158" y="302358"/>
                  </a:lnTo>
                  <a:lnTo>
                    <a:pt x="693979" y="291436"/>
                  </a:lnTo>
                  <a:lnTo>
                    <a:pt x="699444" y="276864"/>
                  </a:lnTo>
                  <a:close/>
                  <a:moveTo>
                    <a:pt x="699443" y="269577"/>
                  </a:moveTo>
                  <a:lnTo>
                    <a:pt x="704908" y="269577"/>
                  </a:lnTo>
                  <a:lnTo>
                    <a:pt x="704908" y="275042"/>
                  </a:lnTo>
                  <a:close/>
                  <a:moveTo>
                    <a:pt x="540976" y="251363"/>
                  </a:moveTo>
                  <a:lnTo>
                    <a:pt x="542797" y="253185"/>
                  </a:lnTo>
                  <a:lnTo>
                    <a:pt x="546440" y="265936"/>
                  </a:lnTo>
                  <a:lnTo>
                    <a:pt x="540976" y="271400"/>
                  </a:lnTo>
                  <a:lnTo>
                    <a:pt x="537333" y="271400"/>
                  </a:lnTo>
                  <a:lnTo>
                    <a:pt x="535511" y="258649"/>
                  </a:lnTo>
                  <a:lnTo>
                    <a:pt x="540976" y="253185"/>
                  </a:lnTo>
                  <a:close/>
                  <a:moveTo>
                    <a:pt x="770480" y="245899"/>
                  </a:moveTo>
                  <a:lnTo>
                    <a:pt x="788696" y="245899"/>
                  </a:lnTo>
                  <a:lnTo>
                    <a:pt x="799625" y="251364"/>
                  </a:lnTo>
                  <a:lnTo>
                    <a:pt x="801446" y="251364"/>
                  </a:lnTo>
                  <a:lnTo>
                    <a:pt x="801446" y="258650"/>
                  </a:lnTo>
                  <a:lnTo>
                    <a:pt x="790517" y="265936"/>
                  </a:lnTo>
                  <a:lnTo>
                    <a:pt x="783231" y="265936"/>
                  </a:lnTo>
                  <a:lnTo>
                    <a:pt x="775945" y="258650"/>
                  </a:lnTo>
                  <a:lnTo>
                    <a:pt x="770480" y="247721"/>
                  </a:lnTo>
                  <a:close/>
                  <a:moveTo>
                    <a:pt x="823303" y="240434"/>
                  </a:moveTo>
                  <a:lnTo>
                    <a:pt x="856090" y="240434"/>
                  </a:lnTo>
                  <a:lnTo>
                    <a:pt x="877947" y="245899"/>
                  </a:lnTo>
                  <a:lnTo>
                    <a:pt x="879769" y="245899"/>
                  </a:lnTo>
                  <a:lnTo>
                    <a:pt x="888876" y="260471"/>
                  </a:lnTo>
                  <a:lnTo>
                    <a:pt x="888876" y="264114"/>
                  </a:lnTo>
                  <a:lnTo>
                    <a:pt x="885233" y="265935"/>
                  </a:lnTo>
                  <a:lnTo>
                    <a:pt x="859733" y="256828"/>
                  </a:lnTo>
                  <a:lnTo>
                    <a:pt x="848804" y="258649"/>
                  </a:lnTo>
                  <a:lnTo>
                    <a:pt x="839696" y="253185"/>
                  </a:lnTo>
                  <a:lnTo>
                    <a:pt x="832411" y="258649"/>
                  </a:lnTo>
                  <a:lnTo>
                    <a:pt x="828768" y="258649"/>
                  </a:lnTo>
                  <a:lnTo>
                    <a:pt x="828768" y="258650"/>
                  </a:lnTo>
                  <a:lnTo>
                    <a:pt x="826947" y="258650"/>
                  </a:lnTo>
                  <a:lnTo>
                    <a:pt x="821482" y="265936"/>
                  </a:lnTo>
                  <a:lnTo>
                    <a:pt x="817839" y="265936"/>
                  </a:lnTo>
                  <a:lnTo>
                    <a:pt x="817839" y="258650"/>
                  </a:lnTo>
                  <a:lnTo>
                    <a:pt x="821482" y="258650"/>
                  </a:lnTo>
                  <a:lnTo>
                    <a:pt x="826947" y="256828"/>
                  </a:lnTo>
                  <a:lnTo>
                    <a:pt x="823303" y="253185"/>
                  </a:lnTo>
                  <a:lnTo>
                    <a:pt x="817839" y="258649"/>
                  </a:lnTo>
                  <a:lnTo>
                    <a:pt x="816017" y="258649"/>
                  </a:lnTo>
                  <a:lnTo>
                    <a:pt x="816017" y="251363"/>
                  </a:lnTo>
                  <a:lnTo>
                    <a:pt x="823303" y="242256"/>
                  </a:lnTo>
                  <a:close/>
                  <a:moveTo>
                    <a:pt x="336972" y="234970"/>
                  </a:moveTo>
                  <a:lnTo>
                    <a:pt x="340615" y="234970"/>
                  </a:lnTo>
                  <a:lnTo>
                    <a:pt x="351544" y="236792"/>
                  </a:lnTo>
                  <a:lnTo>
                    <a:pt x="351544" y="247721"/>
                  </a:lnTo>
                  <a:lnTo>
                    <a:pt x="347901" y="251364"/>
                  </a:lnTo>
                  <a:lnTo>
                    <a:pt x="336972" y="247721"/>
                  </a:lnTo>
                  <a:lnTo>
                    <a:pt x="335150" y="247721"/>
                  </a:lnTo>
                  <a:lnTo>
                    <a:pt x="335150" y="245900"/>
                  </a:lnTo>
                  <a:close/>
                  <a:moveTo>
                    <a:pt x="868841" y="213113"/>
                  </a:moveTo>
                  <a:lnTo>
                    <a:pt x="874305" y="213113"/>
                  </a:lnTo>
                  <a:lnTo>
                    <a:pt x="874305" y="224043"/>
                  </a:lnTo>
                  <a:lnTo>
                    <a:pt x="867019" y="225864"/>
                  </a:lnTo>
                  <a:lnTo>
                    <a:pt x="867019" y="224043"/>
                  </a:lnTo>
                  <a:lnTo>
                    <a:pt x="861554" y="218578"/>
                  </a:lnTo>
                  <a:lnTo>
                    <a:pt x="861554" y="214935"/>
                  </a:lnTo>
                  <a:lnTo>
                    <a:pt x="867019" y="214935"/>
                  </a:lnTo>
                  <a:close/>
                  <a:moveTo>
                    <a:pt x="732230" y="213113"/>
                  </a:moveTo>
                  <a:lnTo>
                    <a:pt x="739516" y="213113"/>
                  </a:lnTo>
                  <a:lnTo>
                    <a:pt x="748624" y="214935"/>
                  </a:lnTo>
                  <a:lnTo>
                    <a:pt x="755909" y="214935"/>
                  </a:lnTo>
                  <a:lnTo>
                    <a:pt x="755909" y="214933"/>
                  </a:lnTo>
                  <a:lnTo>
                    <a:pt x="781410" y="214933"/>
                  </a:lnTo>
                  <a:lnTo>
                    <a:pt x="781410" y="218576"/>
                  </a:lnTo>
                  <a:lnTo>
                    <a:pt x="777767" y="218576"/>
                  </a:lnTo>
                  <a:lnTo>
                    <a:pt x="761374" y="224041"/>
                  </a:lnTo>
                  <a:lnTo>
                    <a:pt x="759552" y="224041"/>
                  </a:lnTo>
                  <a:lnTo>
                    <a:pt x="759552" y="220398"/>
                  </a:lnTo>
                  <a:lnTo>
                    <a:pt x="755910" y="218577"/>
                  </a:lnTo>
                  <a:lnTo>
                    <a:pt x="755910" y="218578"/>
                  </a:lnTo>
                  <a:lnTo>
                    <a:pt x="754089" y="218578"/>
                  </a:lnTo>
                  <a:lnTo>
                    <a:pt x="739516" y="224042"/>
                  </a:lnTo>
                  <a:lnTo>
                    <a:pt x="737695" y="224042"/>
                  </a:lnTo>
                  <a:lnTo>
                    <a:pt x="732230" y="214935"/>
                  </a:lnTo>
                  <a:close/>
                  <a:moveTo>
                    <a:pt x="1007272" y="209470"/>
                  </a:moveTo>
                  <a:lnTo>
                    <a:pt x="1029131" y="213113"/>
                  </a:lnTo>
                  <a:lnTo>
                    <a:pt x="1030952" y="218578"/>
                  </a:lnTo>
                  <a:lnTo>
                    <a:pt x="1029131" y="218578"/>
                  </a:lnTo>
                  <a:lnTo>
                    <a:pt x="999986" y="214935"/>
                  </a:lnTo>
                  <a:lnTo>
                    <a:pt x="999986" y="213113"/>
                  </a:lnTo>
                  <a:close/>
                  <a:moveTo>
                    <a:pt x="805088" y="207648"/>
                  </a:moveTo>
                  <a:lnTo>
                    <a:pt x="812374" y="207648"/>
                  </a:lnTo>
                  <a:lnTo>
                    <a:pt x="823303" y="209470"/>
                  </a:lnTo>
                  <a:lnTo>
                    <a:pt x="823303" y="213113"/>
                  </a:lnTo>
                  <a:lnTo>
                    <a:pt x="806910" y="214934"/>
                  </a:lnTo>
                  <a:lnTo>
                    <a:pt x="805088" y="214934"/>
                  </a:lnTo>
                  <a:lnTo>
                    <a:pt x="805088" y="209470"/>
                  </a:lnTo>
                  <a:lnTo>
                    <a:pt x="801445" y="209470"/>
                  </a:lnTo>
                  <a:close/>
                  <a:moveTo>
                    <a:pt x="295079" y="207648"/>
                  </a:moveTo>
                  <a:lnTo>
                    <a:pt x="296900" y="207648"/>
                  </a:lnTo>
                  <a:lnTo>
                    <a:pt x="296900" y="209470"/>
                  </a:lnTo>
                  <a:lnTo>
                    <a:pt x="306007" y="231327"/>
                  </a:lnTo>
                  <a:lnTo>
                    <a:pt x="316936" y="231327"/>
                  </a:lnTo>
                  <a:lnTo>
                    <a:pt x="316936" y="247720"/>
                  </a:lnTo>
                  <a:lnTo>
                    <a:pt x="313293" y="247720"/>
                  </a:lnTo>
                  <a:lnTo>
                    <a:pt x="300543" y="242256"/>
                  </a:lnTo>
                  <a:lnTo>
                    <a:pt x="291436" y="225863"/>
                  </a:lnTo>
                  <a:lnTo>
                    <a:pt x="278685" y="220398"/>
                  </a:lnTo>
                  <a:lnTo>
                    <a:pt x="284150" y="209470"/>
                  </a:lnTo>
                  <a:lnTo>
                    <a:pt x="291436" y="213113"/>
                  </a:lnTo>
                  <a:close/>
                  <a:moveTo>
                    <a:pt x="703087" y="202184"/>
                  </a:moveTo>
                  <a:lnTo>
                    <a:pt x="704908" y="204006"/>
                  </a:lnTo>
                  <a:lnTo>
                    <a:pt x="704908" y="207648"/>
                  </a:lnTo>
                  <a:lnTo>
                    <a:pt x="710372" y="204005"/>
                  </a:lnTo>
                  <a:lnTo>
                    <a:pt x="714015" y="204005"/>
                  </a:lnTo>
                  <a:lnTo>
                    <a:pt x="714015" y="209470"/>
                  </a:lnTo>
                  <a:lnTo>
                    <a:pt x="710372" y="213113"/>
                  </a:lnTo>
                  <a:lnTo>
                    <a:pt x="704908" y="213113"/>
                  </a:lnTo>
                  <a:lnTo>
                    <a:pt x="703542" y="209015"/>
                  </a:lnTo>
                  <a:lnTo>
                    <a:pt x="699444" y="213113"/>
                  </a:lnTo>
                  <a:lnTo>
                    <a:pt x="697622" y="213113"/>
                  </a:lnTo>
                  <a:lnTo>
                    <a:pt x="697622" y="204006"/>
                  </a:lnTo>
                  <a:close/>
                  <a:moveTo>
                    <a:pt x="123860" y="196719"/>
                  </a:moveTo>
                  <a:lnTo>
                    <a:pt x="132968" y="196719"/>
                  </a:lnTo>
                  <a:lnTo>
                    <a:pt x="138432" y="214934"/>
                  </a:lnTo>
                  <a:lnTo>
                    <a:pt x="127503" y="209470"/>
                  </a:lnTo>
                  <a:lnTo>
                    <a:pt x="123860" y="209470"/>
                  </a:lnTo>
                  <a:close/>
                  <a:moveTo>
                    <a:pt x="996343" y="191255"/>
                  </a:moveTo>
                  <a:lnTo>
                    <a:pt x="1007272" y="191255"/>
                  </a:lnTo>
                  <a:lnTo>
                    <a:pt x="1018201" y="202185"/>
                  </a:lnTo>
                  <a:lnTo>
                    <a:pt x="1018201" y="204006"/>
                  </a:lnTo>
                  <a:lnTo>
                    <a:pt x="1010915" y="204006"/>
                  </a:lnTo>
                  <a:lnTo>
                    <a:pt x="996343" y="193077"/>
                  </a:lnTo>
                  <a:close/>
                  <a:moveTo>
                    <a:pt x="923484" y="182147"/>
                  </a:moveTo>
                  <a:lnTo>
                    <a:pt x="934413" y="182147"/>
                  </a:lnTo>
                  <a:lnTo>
                    <a:pt x="947163" y="191255"/>
                  </a:lnTo>
                  <a:lnTo>
                    <a:pt x="963557" y="191255"/>
                  </a:lnTo>
                  <a:lnTo>
                    <a:pt x="969021" y="204005"/>
                  </a:lnTo>
                  <a:lnTo>
                    <a:pt x="969021" y="231327"/>
                  </a:lnTo>
                  <a:lnTo>
                    <a:pt x="972664" y="236791"/>
                  </a:lnTo>
                  <a:lnTo>
                    <a:pt x="972664" y="234970"/>
                  </a:lnTo>
                  <a:lnTo>
                    <a:pt x="978128" y="234970"/>
                  </a:lnTo>
                  <a:lnTo>
                    <a:pt x="983593" y="251363"/>
                  </a:lnTo>
                  <a:lnTo>
                    <a:pt x="990879" y="253184"/>
                  </a:lnTo>
                  <a:lnTo>
                    <a:pt x="999986" y="253184"/>
                  </a:lnTo>
                  <a:lnTo>
                    <a:pt x="1018201" y="225862"/>
                  </a:lnTo>
                  <a:lnTo>
                    <a:pt x="1034594" y="225862"/>
                  </a:lnTo>
                  <a:lnTo>
                    <a:pt x="1040058" y="214934"/>
                  </a:lnTo>
                  <a:lnTo>
                    <a:pt x="1052809" y="207648"/>
                  </a:lnTo>
                  <a:lnTo>
                    <a:pt x="1056452" y="207648"/>
                  </a:lnTo>
                  <a:lnTo>
                    <a:pt x="1096524" y="225862"/>
                  </a:lnTo>
                  <a:lnTo>
                    <a:pt x="1131132" y="234970"/>
                  </a:lnTo>
                  <a:lnTo>
                    <a:pt x="1134775" y="234970"/>
                  </a:lnTo>
                  <a:lnTo>
                    <a:pt x="1134775" y="293257"/>
                  </a:lnTo>
                  <a:lnTo>
                    <a:pt x="1131132" y="336972"/>
                  </a:lnTo>
                  <a:lnTo>
                    <a:pt x="1136596" y="391616"/>
                  </a:lnTo>
                  <a:lnTo>
                    <a:pt x="1136596" y="393437"/>
                  </a:lnTo>
                  <a:lnTo>
                    <a:pt x="1134775" y="393437"/>
                  </a:lnTo>
                  <a:lnTo>
                    <a:pt x="1103810" y="366115"/>
                  </a:lnTo>
                  <a:lnTo>
                    <a:pt x="1083774" y="369758"/>
                  </a:lnTo>
                  <a:lnTo>
                    <a:pt x="1080131" y="371580"/>
                  </a:lnTo>
                  <a:lnTo>
                    <a:pt x="1080131" y="375223"/>
                  </a:lnTo>
                  <a:lnTo>
                    <a:pt x="1050987" y="375223"/>
                  </a:lnTo>
                  <a:lnTo>
                    <a:pt x="1050987" y="371580"/>
                  </a:lnTo>
                  <a:lnTo>
                    <a:pt x="1052809" y="371580"/>
                  </a:lnTo>
                  <a:lnTo>
                    <a:pt x="1063737" y="349722"/>
                  </a:lnTo>
                  <a:lnTo>
                    <a:pt x="1074666" y="347901"/>
                  </a:lnTo>
                  <a:lnTo>
                    <a:pt x="1078309" y="349722"/>
                  </a:lnTo>
                  <a:lnTo>
                    <a:pt x="1078309" y="347901"/>
                  </a:lnTo>
                  <a:lnTo>
                    <a:pt x="1074666" y="347901"/>
                  </a:lnTo>
                  <a:lnTo>
                    <a:pt x="1074666" y="344258"/>
                  </a:lnTo>
                  <a:lnTo>
                    <a:pt x="1080131" y="344258"/>
                  </a:lnTo>
                  <a:lnTo>
                    <a:pt x="1069202" y="338793"/>
                  </a:lnTo>
                  <a:lnTo>
                    <a:pt x="1069202" y="336972"/>
                  </a:lnTo>
                  <a:lnTo>
                    <a:pt x="1074666" y="331507"/>
                  </a:lnTo>
                  <a:lnTo>
                    <a:pt x="1058273" y="302364"/>
                  </a:lnTo>
                  <a:lnTo>
                    <a:pt x="1025487" y="287792"/>
                  </a:lnTo>
                  <a:lnTo>
                    <a:pt x="989057" y="282328"/>
                  </a:lnTo>
                  <a:lnTo>
                    <a:pt x="979950" y="271399"/>
                  </a:lnTo>
                  <a:lnTo>
                    <a:pt x="969021" y="271399"/>
                  </a:lnTo>
                  <a:lnTo>
                    <a:pt x="956271" y="260470"/>
                  </a:lnTo>
                  <a:lnTo>
                    <a:pt x="956271" y="253184"/>
                  </a:lnTo>
                  <a:lnTo>
                    <a:pt x="950806" y="269578"/>
                  </a:lnTo>
                  <a:lnTo>
                    <a:pt x="945342" y="269578"/>
                  </a:lnTo>
                  <a:lnTo>
                    <a:pt x="941699" y="271399"/>
                  </a:lnTo>
                  <a:lnTo>
                    <a:pt x="938056" y="271399"/>
                  </a:lnTo>
                  <a:lnTo>
                    <a:pt x="932592" y="253184"/>
                  </a:lnTo>
                  <a:lnTo>
                    <a:pt x="916198" y="245899"/>
                  </a:lnTo>
                  <a:lnTo>
                    <a:pt x="912555" y="245899"/>
                  </a:lnTo>
                  <a:lnTo>
                    <a:pt x="912555" y="240434"/>
                  </a:lnTo>
                  <a:lnTo>
                    <a:pt x="916198" y="240434"/>
                  </a:lnTo>
                  <a:lnTo>
                    <a:pt x="932592" y="236791"/>
                  </a:lnTo>
                  <a:lnTo>
                    <a:pt x="941699" y="231327"/>
                  </a:lnTo>
                  <a:lnTo>
                    <a:pt x="952628" y="234970"/>
                  </a:lnTo>
                  <a:lnTo>
                    <a:pt x="956271" y="231327"/>
                  </a:lnTo>
                  <a:lnTo>
                    <a:pt x="956271" y="224041"/>
                  </a:lnTo>
                  <a:lnTo>
                    <a:pt x="923484" y="229505"/>
                  </a:lnTo>
                  <a:lnTo>
                    <a:pt x="916198" y="225862"/>
                  </a:lnTo>
                  <a:lnTo>
                    <a:pt x="907091" y="213112"/>
                  </a:lnTo>
                  <a:lnTo>
                    <a:pt x="888876" y="209469"/>
                  </a:lnTo>
                  <a:lnTo>
                    <a:pt x="888876" y="207648"/>
                  </a:lnTo>
                  <a:lnTo>
                    <a:pt x="890698" y="204005"/>
                  </a:lnTo>
                  <a:lnTo>
                    <a:pt x="883412" y="204005"/>
                  </a:lnTo>
                  <a:lnTo>
                    <a:pt x="883412" y="196719"/>
                  </a:lnTo>
                  <a:lnTo>
                    <a:pt x="890698" y="196719"/>
                  </a:lnTo>
                  <a:lnTo>
                    <a:pt x="890698" y="204004"/>
                  </a:lnTo>
                  <a:lnTo>
                    <a:pt x="894341" y="196719"/>
                  </a:lnTo>
                  <a:close/>
                  <a:moveTo>
                    <a:pt x="801445" y="182147"/>
                  </a:moveTo>
                  <a:lnTo>
                    <a:pt x="806910" y="182147"/>
                  </a:lnTo>
                  <a:lnTo>
                    <a:pt x="816017" y="196719"/>
                  </a:lnTo>
                  <a:lnTo>
                    <a:pt x="812374" y="196719"/>
                  </a:lnTo>
                  <a:lnTo>
                    <a:pt x="806910" y="193076"/>
                  </a:lnTo>
                  <a:lnTo>
                    <a:pt x="805088" y="193076"/>
                  </a:lnTo>
                  <a:lnTo>
                    <a:pt x="801445" y="185790"/>
                  </a:lnTo>
                  <a:close/>
                  <a:moveTo>
                    <a:pt x="262292" y="180326"/>
                  </a:moveTo>
                  <a:lnTo>
                    <a:pt x="264113" y="187612"/>
                  </a:lnTo>
                  <a:lnTo>
                    <a:pt x="256827" y="187612"/>
                  </a:lnTo>
                  <a:lnTo>
                    <a:pt x="256827" y="185791"/>
                  </a:lnTo>
                  <a:close/>
                  <a:moveTo>
                    <a:pt x="883412" y="174861"/>
                  </a:moveTo>
                  <a:lnTo>
                    <a:pt x="896162" y="180326"/>
                  </a:lnTo>
                  <a:lnTo>
                    <a:pt x="896162" y="182147"/>
                  </a:lnTo>
                  <a:lnTo>
                    <a:pt x="888876" y="185790"/>
                  </a:lnTo>
                  <a:lnTo>
                    <a:pt x="885233" y="185790"/>
                  </a:lnTo>
                  <a:lnTo>
                    <a:pt x="874304" y="180326"/>
                  </a:lnTo>
                  <a:lnTo>
                    <a:pt x="874304" y="178504"/>
                  </a:lnTo>
                  <a:lnTo>
                    <a:pt x="877947" y="178504"/>
                  </a:lnTo>
                  <a:close/>
                  <a:moveTo>
                    <a:pt x="256827" y="145718"/>
                  </a:moveTo>
                  <a:lnTo>
                    <a:pt x="258649" y="145718"/>
                  </a:lnTo>
                  <a:lnTo>
                    <a:pt x="264113" y="147540"/>
                  </a:lnTo>
                  <a:lnTo>
                    <a:pt x="264113" y="156647"/>
                  </a:lnTo>
                  <a:lnTo>
                    <a:pt x="262292" y="156647"/>
                  </a:lnTo>
                  <a:lnTo>
                    <a:pt x="262292" y="153004"/>
                  </a:lnTo>
                  <a:close/>
                  <a:moveTo>
                    <a:pt x="245899" y="136611"/>
                  </a:moveTo>
                  <a:lnTo>
                    <a:pt x="251363" y="136611"/>
                  </a:lnTo>
                  <a:lnTo>
                    <a:pt x="251363" y="140255"/>
                  </a:lnTo>
                  <a:lnTo>
                    <a:pt x="244077" y="142076"/>
                  </a:lnTo>
                  <a:lnTo>
                    <a:pt x="240434" y="142076"/>
                  </a:lnTo>
                  <a:lnTo>
                    <a:pt x="240434" y="140255"/>
                  </a:lnTo>
                  <a:close/>
                  <a:moveTo>
                    <a:pt x="94716" y="136611"/>
                  </a:moveTo>
                  <a:lnTo>
                    <a:pt x="107467" y="151183"/>
                  </a:lnTo>
                  <a:lnTo>
                    <a:pt x="107467" y="162112"/>
                  </a:lnTo>
                  <a:lnTo>
                    <a:pt x="105646" y="162112"/>
                  </a:lnTo>
                  <a:lnTo>
                    <a:pt x="87430" y="142076"/>
                  </a:lnTo>
                  <a:lnTo>
                    <a:pt x="87430" y="140254"/>
                  </a:lnTo>
                  <a:close/>
                  <a:moveTo>
                    <a:pt x="202183" y="134789"/>
                  </a:moveTo>
                  <a:lnTo>
                    <a:pt x="213112" y="134789"/>
                  </a:lnTo>
                  <a:lnTo>
                    <a:pt x="216755" y="136611"/>
                  </a:lnTo>
                  <a:lnTo>
                    <a:pt x="216755" y="142075"/>
                  </a:lnTo>
                  <a:lnTo>
                    <a:pt x="213112" y="142075"/>
                  </a:lnTo>
                  <a:lnTo>
                    <a:pt x="202183" y="136611"/>
                  </a:lnTo>
                  <a:close/>
                  <a:moveTo>
                    <a:pt x="748624" y="131146"/>
                  </a:moveTo>
                  <a:lnTo>
                    <a:pt x="754088" y="142075"/>
                  </a:lnTo>
                  <a:lnTo>
                    <a:pt x="732231" y="167576"/>
                  </a:lnTo>
                  <a:lnTo>
                    <a:pt x="704909" y="167576"/>
                  </a:lnTo>
                  <a:lnTo>
                    <a:pt x="686694" y="163933"/>
                  </a:lnTo>
                  <a:lnTo>
                    <a:pt x="639336" y="163933"/>
                  </a:lnTo>
                  <a:lnTo>
                    <a:pt x="637514" y="169397"/>
                  </a:lnTo>
                  <a:lnTo>
                    <a:pt x="635693" y="191255"/>
                  </a:lnTo>
                  <a:lnTo>
                    <a:pt x="644800" y="207648"/>
                  </a:lnTo>
                  <a:lnTo>
                    <a:pt x="653907" y="207648"/>
                  </a:lnTo>
                  <a:lnTo>
                    <a:pt x="666658" y="193076"/>
                  </a:lnTo>
                  <a:lnTo>
                    <a:pt x="670301" y="193076"/>
                  </a:lnTo>
                  <a:lnTo>
                    <a:pt x="672122" y="196719"/>
                  </a:lnTo>
                  <a:lnTo>
                    <a:pt x="677587" y="196719"/>
                  </a:lnTo>
                  <a:lnTo>
                    <a:pt x="677587" y="191255"/>
                  </a:lnTo>
                  <a:lnTo>
                    <a:pt x="697623" y="191255"/>
                  </a:lnTo>
                  <a:lnTo>
                    <a:pt x="703087" y="185790"/>
                  </a:lnTo>
                  <a:lnTo>
                    <a:pt x="710373" y="185790"/>
                  </a:lnTo>
                  <a:lnTo>
                    <a:pt x="710373" y="187612"/>
                  </a:lnTo>
                  <a:lnTo>
                    <a:pt x="714016" y="196719"/>
                  </a:lnTo>
                  <a:lnTo>
                    <a:pt x="710373" y="196719"/>
                  </a:lnTo>
                  <a:lnTo>
                    <a:pt x="697623" y="198541"/>
                  </a:lnTo>
                  <a:lnTo>
                    <a:pt x="686694" y="213112"/>
                  </a:lnTo>
                  <a:lnTo>
                    <a:pt x="670301" y="218577"/>
                  </a:lnTo>
                  <a:lnTo>
                    <a:pt x="664836" y="218577"/>
                  </a:lnTo>
                  <a:lnTo>
                    <a:pt x="688515" y="251363"/>
                  </a:lnTo>
                  <a:lnTo>
                    <a:pt x="686694" y="258649"/>
                  </a:lnTo>
                  <a:lnTo>
                    <a:pt x="692158" y="269578"/>
                  </a:lnTo>
                  <a:lnTo>
                    <a:pt x="697623" y="269578"/>
                  </a:lnTo>
                  <a:lnTo>
                    <a:pt x="697623" y="276864"/>
                  </a:lnTo>
                  <a:lnTo>
                    <a:pt x="683051" y="282328"/>
                  </a:lnTo>
                  <a:lnTo>
                    <a:pt x="675765" y="291436"/>
                  </a:lnTo>
                  <a:lnTo>
                    <a:pt x="666658" y="291436"/>
                  </a:lnTo>
                  <a:lnTo>
                    <a:pt x="666658" y="271399"/>
                  </a:lnTo>
                  <a:lnTo>
                    <a:pt x="653907" y="260471"/>
                  </a:lnTo>
                  <a:lnTo>
                    <a:pt x="650264" y="256828"/>
                  </a:lnTo>
                  <a:lnTo>
                    <a:pt x="650264" y="253185"/>
                  </a:lnTo>
                  <a:lnTo>
                    <a:pt x="653907" y="240434"/>
                  </a:lnTo>
                  <a:lnTo>
                    <a:pt x="648443" y="236791"/>
                  </a:lnTo>
                  <a:lnTo>
                    <a:pt x="637514" y="247720"/>
                  </a:lnTo>
                  <a:lnTo>
                    <a:pt x="639336" y="253185"/>
                  </a:lnTo>
                  <a:lnTo>
                    <a:pt x="639336" y="307829"/>
                  </a:lnTo>
                  <a:lnTo>
                    <a:pt x="635693" y="307829"/>
                  </a:lnTo>
                  <a:lnTo>
                    <a:pt x="626585" y="309650"/>
                  </a:lnTo>
                  <a:lnTo>
                    <a:pt x="621121" y="309650"/>
                  </a:lnTo>
                  <a:lnTo>
                    <a:pt x="613835" y="302364"/>
                  </a:lnTo>
                  <a:lnTo>
                    <a:pt x="613835" y="298721"/>
                  </a:lnTo>
                  <a:lnTo>
                    <a:pt x="621121" y="269578"/>
                  </a:lnTo>
                  <a:lnTo>
                    <a:pt x="615657" y="258649"/>
                  </a:lnTo>
                  <a:lnTo>
                    <a:pt x="604728" y="258649"/>
                  </a:lnTo>
                  <a:lnTo>
                    <a:pt x="602906" y="240434"/>
                  </a:lnTo>
                  <a:lnTo>
                    <a:pt x="613835" y="218577"/>
                  </a:lnTo>
                  <a:lnTo>
                    <a:pt x="613835" y="204005"/>
                  </a:lnTo>
                  <a:lnTo>
                    <a:pt x="621121" y="187612"/>
                  </a:lnTo>
                  <a:lnTo>
                    <a:pt x="621121" y="174862"/>
                  </a:lnTo>
                  <a:lnTo>
                    <a:pt x="630228" y="156647"/>
                  </a:lnTo>
                  <a:lnTo>
                    <a:pt x="635693" y="153004"/>
                  </a:lnTo>
                  <a:lnTo>
                    <a:pt x="642979" y="153004"/>
                  </a:lnTo>
                  <a:lnTo>
                    <a:pt x="644800" y="145718"/>
                  </a:lnTo>
                  <a:lnTo>
                    <a:pt x="648443" y="145718"/>
                  </a:lnTo>
                  <a:lnTo>
                    <a:pt x="653907" y="142075"/>
                  </a:lnTo>
                  <a:lnTo>
                    <a:pt x="697623" y="153004"/>
                  </a:lnTo>
                  <a:lnTo>
                    <a:pt x="721302" y="153004"/>
                  </a:lnTo>
                  <a:close/>
                  <a:moveTo>
                    <a:pt x="817839" y="120217"/>
                  </a:moveTo>
                  <a:lnTo>
                    <a:pt x="821254" y="144124"/>
                  </a:lnTo>
                  <a:lnTo>
                    <a:pt x="812374" y="153004"/>
                  </a:lnTo>
                  <a:lnTo>
                    <a:pt x="821481" y="145718"/>
                  </a:lnTo>
                  <a:lnTo>
                    <a:pt x="821254" y="144124"/>
                  </a:lnTo>
                  <a:lnTo>
                    <a:pt x="828767" y="136611"/>
                  </a:lnTo>
                  <a:lnTo>
                    <a:pt x="837875" y="142075"/>
                  </a:lnTo>
                  <a:lnTo>
                    <a:pt x="837875" y="151182"/>
                  </a:lnTo>
                  <a:lnTo>
                    <a:pt x="828767" y="156647"/>
                  </a:lnTo>
                  <a:lnTo>
                    <a:pt x="839696" y="167576"/>
                  </a:lnTo>
                  <a:lnTo>
                    <a:pt x="839696" y="169397"/>
                  </a:lnTo>
                  <a:lnTo>
                    <a:pt x="837875" y="169397"/>
                  </a:lnTo>
                  <a:lnTo>
                    <a:pt x="821481" y="163933"/>
                  </a:lnTo>
                  <a:lnTo>
                    <a:pt x="817839" y="167576"/>
                  </a:lnTo>
                  <a:lnTo>
                    <a:pt x="817839" y="180326"/>
                  </a:lnTo>
                  <a:lnTo>
                    <a:pt x="826946" y="196719"/>
                  </a:lnTo>
                  <a:lnTo>
                    <a:pt x="823303" y="196719"/>
                  </a:lnTo>
                  <a:lnTo>
                    <a:pt x="812374" y="180326"/>
                  </a:lnTo>
                  <a:lnTo>
                    <a:pt x="801445" y="147539"/>
                  </a:lnTo>
                  <a:lnTo>
                    <a:pt x="806910" y="131146"/>
                  </a:lnTo>
                  <a:close/>
                  <a:moveTo>
                    <a:pt x="832411" y="109288"/>
                  </a:moveTo>
                  <a:lnTo>
                    <a:pt x="834232" y="109288"/>
                  </a:lnTo>
                  <a:lnTo>
                    <a:pt x="837875" y="120218"/>
                  </a:lnTo>
                  <a:lnTo>
                    <a:pt x="834232" y="120218"/>
                  </a:lnTo>
                  <a:lnTo>
                    <a:pt x="826946" y="125682"/>
                  </a:lnTo>
                  <a:lnTo>
                    <a:pt x="823303" y="118396"/>
                  </a:lnTo>
                  <a:lnTo>
                    <a:pt x="823303" y="114753"/>
                  </a:lnTo>
                  <a:close/>
                  <a:moveTo>
                    <a:pt x="56466" y="103825"/>
                  </a:moveTo>
                  <a:lnTo>
                    <a:pt x="71038" y="118398"/>
                  </a:lnTo>
                  <a:lnTo>
                    <a:pt x="71038" y="120219"/>
                  </a:lnTo>
                  <a:lnTo>
                    <a:pt x="54644" y="109290"/>
                  </a:lnTo>
                  <a:lnTo>
                    <a:pt x="54644" y="107468"/>
                  </a:lnTo>
                  <a:close/>
                  <a:moveTo>
                    <a:pt x="530047" y="69216"/>
                  </a:moveTo>
                  <a:lnTo>
                    <a:pt x="559191" y="69216"/>
                  </a:lnTo>
                  <a:lnTo>
                    <a:pt x="571941" y="74681"/>
                  </a:lnTo>
                  <a:lnTo>
                    <a:pt x="571941" y="78324"/>
                  </a:lnTo>
                  <a:lnTo>
                    <a:pt x="570119" y="78324"/>
                  </a:lnTo>
                  <a:lnTo>
                    <a:pt x="577405" y="85609"/>
                  </a:lnTo>
                  <a:lnTo>
                    <a:pt x="577405" y="89252"/>
                  </a:lnTo>
                  <a:lnTo>
                    <a:pt x="564655" y="91074"/>
                  </a:lnTo>
                  <a:lnTo>
                    <a:pt x="582870" y="118396"/>
                  </a:lnTo>
                  <a:lnTo>
                    <a:pt x="582870" y="120217"/>
                  </a:lnTo>
                  <a:lnTo>
                    <a:pt x="581048" y="129325"/>
                  </a:lnTo>
                  <a:lnTo>
                    <a:pt x="604727" y="153004"/>
                  </a:lnTo>
                  <a:lnTo>
                    <a:pt x="604727" y="156647"/>
                  </a:lnTo>
                  <a:lnTo>
                    <a:pt x="591977" y="156647"/>
                  </a:lnTo>
                  <a:lnTo>
                    <a:pt x="582870" y="151182"/>
                  </a:lnTo>
                  <a:lnTo>
                    <a:pt x="582870" y="156647"/>
                  </a:lnTo>
                  <a:lnTo>
                    <a:pt x="571941" y="167576"/>
                  </a:lnTo>
                  <a:lnTo>
                    <a:pt x="570119" y="185790"/>
                  </a:lnTo>
                  <a:lnTo>
                    <a:pt x="561012" y="202183"/>
                  </a:lnTo>
                  <a:lnTo>
                    <a:pt x="542797" y="218577"/>
                  </a:lnTo>
                  <a:lnTo>
                    <a:pt x="551905" y="225863"/>
                  </a:lnTo>
                  <a:lnTo>
                    <a:pt x="551905" y="229505"/>
                  </a:lnTo>
                  <a:lnTo>
                    <a:pt x="535511" y="258649"/>
                  </a:lnTo>
                  <a:lnTo>
                    <a:pt x="508189" y="271399"/>
                  </a:lnTo>
                  <a:lnTo>
                    <a:pt x="502725" y="271399"/>
                  </a:lnTo>
                  <a:lnTo>
                    <a:pt x="497261" y="258649"/>
                  </a:lnTo>
                  <a:lnTo>
                    <a:pt x="493618" y="256827"/>
                  </a:lnTo>
                  <a:lnTo>
                    <a:pt x="488153" y="256827"/>
                  </a:lnTo>
                  <a:lnTo>
                    <a:pt x="486332" y="258649"/>
                  </a:lnTo>
                  <a:lnTo>
                    <a:pt x="479046" y="258649"/>
                  </a:lnTo>
                  <a:lnTo>
                    <a:pt x="479046" y="251363"/>
                  </a:lnTo>
                  <a:lnTo>
                    <a:pt x="464474" y="247720"/>
                  </a:lnTo>
                  <a:lnTo>
                    <a:pt x="453545" y="256827"/>
                  </a:lnTo>
                  <a:lnTo>
                    <a:pt x="437152" y="258649"/>
                  </a:lnTo>
                  <a:lnTo>
                    <a:pt x="435331" y="258649"/>
                  </a:lnTo>
                  <a:lnTo>
                    <a:pt x="431688" y="242256"/>
                  </a:lnTo>
                  <a:lnTo>
                    <a:pt x="418937" y="247720"/>
                  </a:lnTo>
                  <a:lnTo>
                    <a:pt x="400723" y="245899"/>
                  </a:lnTo>
                  <a:lnTo>
                    <a:pt x="397080" y="245899"/>
                  </a:lnTo>
                  <a:lnTo>
                    <a:pt x="389794" y="204005"/>
                  </a:lnTo>
                  <a:lnTo>
                    <a:pt x="384329" y="191255"/>
                  </a:lnTo>
                  <a:lnTo>
                    <a:pt x="373401" y="185790"/>
                  </a:lnTo>
                  <a:lnTo>
                    <a:pt x="364293" y="162111"/>
                  </a:lnTo>
                  <a:lnTo>
                    <a:pt x="369758" y="136611"/>
                  </a:lnTo>
                  <a:lnTo>
                    <a:pt x="378865" y="125682"/>
                  </a:lnTo>
                  <a:lnTo>
                    <a:pt x="380686" y="123860"/>
                  </a:lnTo>
                  <a:lnTo>
                    <a:pt x="384329" y="123860"/>
                  </a:lnTo>
                  <a:lnTo>
                    <a:pt x="384329" y="125682"/>
                  </a:lnTo>
                  <a:lnTo>
                    <a:pt x="395258" y="145718"/>
                  </a:lnTo>
                  <a:lnTo>
                    <a:pt x="406187" y="151182"/>
                  </a:lnTo>
                  <a:lnTo>
                    <a:pt x="429866" y="151182"/>
                  </a:lnTo>
                  <a:lnTo>
                    <a:pt x="446259" y="136611"/>
                  </a:lnTo>
                  <a:lnTo>
                    <a:pt x="459010" y="136611"/>
                  </a:lnTo>
                  <a:lnTo>
                    <a:pt x="473581" y="145718"/>
                  </a:lnTo>
                  <a:lnTo>
                    <a:pt x="491796" y="140254"/>
                  </a:lnTo>
                  <a:lnTo>
                    <a:pt x="497261" y="136611"/>
                  </a:lnTo>
                  <a:lnTo>
                    <a:pt x="502725" y="129325"/>
                  </a:lnTo>
                  <a:lnTo>
                    <a:pt x="530047" y="72859"/>
                  </a:lnTo>
                  <a:close/>
                  <a:moveTo>
                    <a:pt x="40072" y="40073"/>
                  </a:moveTo>
                  <a:lnTo>
                    <a:pt x="54644" y="40073"/>
                  </a:lnTo>
                  <a:lnTo>
                    <a:pt x="71037" y="47359"/>
                  </a:lnTo>
                  <a:lnTo>
                    <a:pt x="98359" y="51002"/>
                  </a:lnTo>
                  <a:lnTo>
                    <a:pt x="100181" y="51002"/>
                  </a:lnTo>
                  <a:lnTo>
                    <a:pt x="116574" y="74681"/>
                  </a:lnTo>
                  <a:lnTo>
                    <a:pt x="143896" y="91074"/>
                  </a:lnTo>
                  <a:lnTo>
                    <a:pt x="171218" y="120218"/>
                  </a:lnTo>
                  <a:lnTo>
                    <a:pt x="176682" y="123861"/>
                  </a:lnTo>
                  <a:lnTo>
                    <a:pt x="178504" y="120218"/>
                  </a:lnTo>
                  <a:lnTo>
                    <a:pt x="180325" y="120218"/>
                  </a:lnTo>
                  <a:lnTo>
                    <a:pt x="189433" y="131147"/>
                  </a:lnTo>
                  <a:lnTo>
                    <a:pt x="196087" y="133999"/>
                  </a:lnTo>
                  <a:lnTo>
                    <a:pt x="189433" y="125682"/>
                  </a:lnTo>
                  <a:lnTo>
                    <a:pt x="189433" y="123860"/>
                  </a:lnTo>
                  <a:lnTo>
                    <a:pt x="200362" y="123860"/>
                  </a:lnTo>
                  <a:lnTo>
                    <a:pt x="200362" y="125682"/>
                  </a:lnTo>
                  <a:lnTo>
                    <a:pt x="196719" y="131146"/>
                  </a:lnTo>
                  <a:lnTo>
                    <a:pt x="196719" y="134270"/>
                  </a:lnTo>
                  <a:lnTo>
                    <a:pt x="202183" y="136611"/>
                  </a:lnTo>
                  <a:lnTo>
                    <a:pt x="207647" y="142076"/>
                  </a:lnTo>
                  <a:lnTo>
                    <a:pt x="211290" y="142076"/>
                  </a:lnTo>
                  <a:lnTo>
                    <a:pt x="216755" y="147540"/>
                  </a:lnTo>
                  <a:lnTo>
                    <a:pt x="229505" y="147540"/>
                  </a:lnTo>
                  <a:lnTo>
                    <a:pt x="229505" y="163933"/>
                  </a:lnTo>
                  <a:lnTo>
                    <a:pt x="234969" y="162112"/>
                  </a:lnTo>
                  <a:lnTo>
                    <a:pt x="244077" y="167576"/>
                  </a:lnTo>
                  <a:lnTo>
                    <a:pt x="245898" y="173041"/>
                  </a:lnTo>
                  <a:lnTo>
                    <a:pt x="245898" y="174862"/>
                  </a:lnTo>
                  <a:lnTo>
                    <a:pt x="240434" y="178505"/>
                  </a:lnTo>
                  <a:lnTo>
                    <a:pt x="244077" y="180326"/>
                  </a:lnTo>
                  <a:lnTo>
                    <a:pt x="240434" y="191255"/>
                  </a:lnTo>
                  <a:lnTo>
                    <a:pt x="240434" y="193077"/>
                  </a:lnTo>
                  <a:lnTo>
                    <a:pt x="258648" y="198541"/>
                  </a:lnTo>
                  <a:lnTo>
                    <a:pt x="264113" y="218577"/>
                  </a:lnTo>
                  <a:lnTo>
                    <a:pt x="273220" y="220399"/>
                  </a:lnTo>
                  <a:lnTo>
                    <a:pt x="273220" y="224042"/>
                  </a:lnTo>
                  <a:lnTo>
                    <a:pt x="269577" y="229506"/>
                  </a:lnTo>
                  <a:lnTo>
                    <a:pt x="289613" y="231328"/>
                  </a:lnTo>
                  <a:lnTo>
                    <a:pt x="300542" y="245899"/>
                  </a:lnTo>
                  <a:lnTo>
                    <a:pt x="295078" y="313294"/>
                  </a:lnTo>
                  <a:lnTo>
                    <a:pt x="291435" y="313294"/>
                  </a:lnTo>
                  <a:lnTo>
                    <a:pt x="284149" y="307829"/>
                  </a:lnTo>
                  <a:lnTo>
                    <a:pt x="278685" y="313294"/>
                  </a:lnTo>
                  <a:lnTo>
                    <a:pt x="275042" y="313294"/>
                  </a:lnTo>
                  <a:lnTo>
                    <a:pt x="269577" y="307829"/>
                  </a:lnTo>
                  <a:lnTo>
                    <a:pt x="267756" y="307829"/>
                  </a:lnTo>
                  <a:lnTo>
                    <a:pt x="267756" y="315115"/>
                  </a:lnTo>
                  <a:lnTo>
                    <a:pt x="264113" y="315115"/>
                  </a:lnTo>
                  <a:lnTo>
                    <a:pt x="244077" y="293258"/>
                  </a:lnTo>
                  <a:lnTo>
                    <a:pt x="213112" y="271400"/>
                  </a:lnTo>
                  <a:lnTo>
                    <a:pt x="205826" y="258650"/>
                  </a:lnTo>
                  <a:lnTo>
                    <a:pt x="178504" y="229506"/>
                  </a:lnTo>
                  <a:lnTo>
                    <a:pt x="160289" y="191255"/>
                  </a:lnTo>
                  <a:lnTo>
                    <a:pt x="149360" y="174862"/>
                  </a:lnTo>
                  <a:lnTo>
                    <a:pt x="138432" y="169398"/>
                  </a:lnTo>
                  <a:lnTo>
                    <a:pt x="138432" y="167576"/>
                  </a:lnTo>
                  <a:lnTo>
                    <a:pt x="134789" y="167576"/>
                  </a:lnTo>
                  <a:lnTo>
                    <a:pt x="123860" y="134790"/>
                  </a:lnTo>
                  <a:lnTo>
                    <a:pt x="118395" y="125682"/>
                  </a:lnTo>
                  <a:lnTo>
                    <a:pt x="100181" y="120218"/>
                  </a:lnTo>
                  <a:lnTo>
                    <a:pt x="100181" y="118396"/>
                  </a:lnTo>
                  <a:lnTo>
                    <a:pt x="98359" y="107468"/>
                  </a:lnTo>
                  <a:lnTo>
                    <a:pt x="87430" y="91074"/>
                  </a:lnTo>
                  <a:lnTo>
                    <a:pt x="76502" y="85610"/>
                  </a:lnTo>
                  <a:lnTo>
                    <a:pt x="49180" y="61931"/>
                  </a:lnTo>
                  <a:lnTo>
                    <a:pt x="40072" y="41895"/>
                  </a:lnTo>
                  <a:close/>
                  <a:moveTo>
                    <a:pt x="5465" y="0"/>
                  </a:moveTo>
                  <a:lnTo>
                    <a:pt x="9108" y="0"/>
                  </a:lnTo>
                  <a:lnTo>
                    <a:pt x="9108" y="1821"/>
                  </a:lnTo>
                  <a:lnTo>
                    <a:pt x="5465" y="12751"/>
                  </a:lnTo>
                  <a:lnTo>
                    <a:pt x="3643" y="12751"/>
                  </a:lnTo>
                  <a:lnTo>
                    <a:pt x="0" y="1821"/>
                  </a:lnTo>
                  <a:lnTo>
                    <a:pt x="3643" y="182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8" name="Socotra">
              <a:extLst>
                <a:ext uri="{FF2B5EF4-FFF2-40B4-BE49-F238E27FC236}">
                  <a16:creationId xmlns:a16="http://schemas.microsoft.com/office/drawing/2014/main" id="{C522873F-BB05-2560-C403-5C0D3615C1A9}"/>
                </a:ext>
              </a:extLst>
            </p:cNvPr>
            <p:cNvSpPr>
              <a:spLocks/>
            </p:cNvSpPr>
            <p:nvPr/>
          </p:nvSpPr>
          <p:spPr bwMode="auto">
            <a:xfrm>
              <a:off x="7085366" y="4287434"/>
              <a:ext cx="27107" cy="14457"/>
            </a:xfrm>
            <a:custGeom>
              <a:avLst/>
              <a:gdLst>
                <a:gd name="T0" fmla="*/ 3 w 15"/>
                <a:gd name="T1" fmla="*/ 0 h 8"/>
                <a:gd name="T2" fmla="*/ 6 w 15"/>
                <a:gd name="T3" fmla="*/ 0 h 8"/>
                <a:gd name="T4" fmla="*/ 11 w 15"/>
                <a:gd name="T5" fmla="*/ 1 h 8"/>
                <a:gd name="T6" fmla="*/ 15 w 15"/>
                <a:gd name="T7" fmla="*/ 1 h 8"/>
                <a:gd name="T8" fmla="*/ 15 w 15"/>
                <a:gd name="T9" fmla="*/ 2 h 8"/>
                <a:gd name="T10" fmla="*/ 14 w 15"/>
                <a:gd name="T11" fmla="*/ 4 h 8"/>
                <a:gd name="T12" fmla="*/ 14 w 15"/>
                <a:gd name="T13" fmla="*/ 5 h 8"/>
                <a:gd name="T14" fmla="*/ 9 w 15"/>
                <a:gd name="T15" fmla="*/ 8 h 8"/>
                <a:gd name="T16" fmla="*/ 2 w 15"/>
                <a:gd name="T17" fmla="*/ 4 h 8"/>
                <a:gd name="T18" fmla="*/ 0 w 15"/>
                <a:gd name="T19" fmla="*/ 4 h 8"/>
                <a:gd name="T20" fmla="*/ 3 w 15"/>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8">
                  <a:moveTo>
                    <a:pt x="3" y="0"/>
                  </a:moveTo>
                  <a:lnTo>
                    <a:pt x="6" y="0"/>
                  </a:lnTo>
                  <a:lnTo>
                    <a:pt x="11" y="1"/>
                  </a:lnTo>
                  <a:lnTo>
                    <a:pt x="15" y="1"/>
                  </a:lnTo>
                  <a:lnTo>
                    <a:pt x="15" y="2"/>
                  </a:lnTo>
                  <a:lnTo>
                    <a:pt x="14" y="4"/>
                  </a:lnTo>
                  <a:lnTo>
                    <a:pt x="14" y="5"/>
                  </a:lnTo>
                  <a:lnTo>
                    <a:pt x="9" y="8"/>
                  </a:lnTo>
                  <a:lnTo>
                    <a:pt x="2" y="4"/>
                  </a:lnTo>
                  <a:lnTo>
                    <a:pt x="0" y="4"/>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9" name="Bahrain">
              <a:extLst>
                <a:ext uri="{FF2B5EF4-FFF2-40B4-BE49-F238E27FC236}">
                  <a16:creationId xmlns:a16="http://schemas.microsoft.com/office/drawing/2014/main" id="{C4E1609E-6587-5CBD-1C10-53870118F606}"/>
                </a:ext>
              </a:extLst>
            </p:cNvPr>
            <p:cNvSpPr>
              <a:spLocks/>
            </p:cNvSpPr>
            <p:nvPr/>
          </p:nvSpPr>
          <p:spPr bwMode="auto">
            <a:xfrm>
              <a:off x="7013084" y="3945900"/>
              <a:ext cx="9036" cy="10843"/>
            </a:xfrm>
            <a:custGeom>
              <a:avLst/>
              <a:gdLst>
                <a:gd name="T0" fmla="*/ 0 w 5"/>
                <a:gd name="T1" fmla="*/ 0 h 6"/>
                <a:gd name="T2" fmla="*/ 2 w 5"/>
                <a:gd name="T3" fmla="*/ 0 h 6"/>
                <a:gd name="T4" fmla="*/ 3 w 5"/>
                <a:gd name="T5" fmla="*/ 2 h 6"/>
                <a:gd name="T6" fmla="*/ 5 w 5"/>
                <a:gd name="T7" fmla="*/ 2 h 6"/>
                <a:gd name="T8" fmla="*/ 2 w 5"/>
                <a:gd name="T9" fmla="*/ 6 h 6"/>
                <a:gd name="T10" fmla="*/ 0 w 5"/>
                <a:gd name="T11" fmla="*/ 6 h 6"/>
                <a:gd name="T12" fmla="*/ 0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0" y="0"/>
                  </a:moveTo>
                  <a:lnTo>
                    <a:pt x="2" y="0"/>
                  </a:lnTo>
                  <a:lnTo>
                    <a:pt x="3" y="2"/>
                  </a:lnTo>
                  <a:lnTo>
                    <a:pt x="5" y="2"/>
                  </a:lnTo>
                  <a:lnTo>
                    <a:pt x="2" y="6"/>
                  </a:lnTo>
                  <a:lnTo>
                    <a:pt x="0" y="6"/>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0" name="Oman">
              <a:extLst>
                <a:ext uri="{FF2B5EF4-FFF2-40B4-BE49-F238E27FC236}">
                  <a16:creationId xmlns:a16="http://schemas.microsoft.com/office/drawing/2014/main" id="{628805D5-0435-A81D-56E0-F7D1CBDC09AF}"/>
                </a:ext>
              </a:extLst>
            </p:cNvPr>
            <p:cNvSpPr>
              <a:spLocks/>
            </p:cNvSpPr>
            <p:nvPr/>
          </p:nvSpPr>
          <p:spPr bwMode="auto">
            <a:xfrm>
              <a:off x="7051032" y="3983847"/>
              <a:ext cx="187935" cy="209619"/>
            </a:xfrm>
            <a:custGeom>
              <a:avLst/>
              <a:gdLst>
                <a:gd name="T0" fmla="*/ 49 w 104"/>
                <a:gd name="T1" fmla="*/ 0 h 116"/>
                <a:gd name="T2" fmla="*/ 58 w 104"/>
                <a:gd name="T3" fmla="*/ 0 h 116"/>
                <a:gd name="T4" fmla="*/ 65 w 104"/>
                <a:gd name="T5" fmla="*/ 10 h 116"/>
                <a:gd name="T6" fmla="*/ 88 w 104"/>
                <a:gd name="T7" fmla="*/ 19 h 116"/>
                <a:gd name="T8" fmla="*/ 97 w 104"/>
                <a:gd name="T9" fmla="*/ 30 h 116"/>
                <a:gd name="T10" fmla="*/ 102 w 104"/>
                <a:gd name="T11" fmla="*/ 34 h 116"/>
                <a:gd name="T12" fmla="*/ 104 w 104"/>
                <a:gd name="T13" fmla="*/ 36 h 116"/>
                <a:gd name="T14" fmla="*/ 101 w 104"/>
                <a:gd name="T15" fmla="*/ 43 h 116"/>
                <a:gd name="T16" fmla="*/ 86 w 104"/>
                <a:gd name="T17" fmla="*/ 64 h 116"/>
                <a:gd name="T18" fmla="*/ 85 w 104"/>
                <a:gd name="T19" fmla="*/ 64 h 116"/>
                <a:gd name="T20" fmla="*/ 82 w 104"/>
                <a:gd name="T21" fmla="*/ 62 h 116"/>
                <a:gd name="T22" fmla="*/ 79 w 104"/>
                <a:gd name="T23" fmla="*/ 64 h 116"/>
                <a:gd name="T24" fmla="*/ 76 w 104"/>
                <a:gd name="T25" fmla="*/ 70 h 116"/>
                <a:gd name="T26" fmla="*/ 77 w 104"/>
                <a:gd name="T27" fmla="*/ 83 h 116"/>
                <a:gd name="T28" fmla="*/ 76 w 104"/>
                <a:gd name="T29" fmla="*/ 83 h 116"/>
                <a:gd name="T30" fmla="*/ 64 w 104"/>
                <a:gd name="T31" fmla="*/ 87 h 116"/>
                <a:gd name="T32" fmla="*/ 58 w 104"/>
                <a:gd name="T33" fmla="*/ 98 h 116"/>
                <a:gd name="T34" fmla="*/ 48 w 104"/>
                <a:gd name="T35" fmla="*/ 101 h 116"/>
                <a:gd name="T36" fmla="*/ 40 w 104"/>
                <a:gd name="T37" fmla="*/ 111 h 116"/>
                <a:gd name="T38" fmla="*/ 28 w 104"/>
                <a:gd name="T39" fmla="*/ 111 h 116"/>
                <a:gd name="T40" fmla="*/ 14 w 104"/>
                <a:gd name="T41" fmla="*/ 116 h 116"/>
                <a:gd name="T42" fmla="*/ 0 w 104"/>
                <a:gd name="T43" fmla="*/ 83 h 116"/>
                <a:gd name="T44" fmla="*/ 39 w 104"/>
                <a:gd name="T45" fmla="*/ 68 h 116"/>
                <a:gd name="T46" fmla="*/ 49 w 104"/>
                <a:gd name="T47" fmla="*/ 41 h 116"/>
                <a:gd name="T48" fmla="*/ 42 w 104"/>
                <a:gd name="T49" fmla="*/ 31 h 116"/>
                <a:gd name="T50" fmla="*/ 45 w 104"/>
                <a:gd name="T51" fmla="*/ 15 h 116"/>
                <a:gd name="T52" fmla="*/ 45 w 104"/>
                <a:gd name="T53" fmla="*/ 13 h 116"/>
                <a:gd name="T54" fmla="*/ 46 w 104"/>
                <a:gd name="T55" fmla="*/ 13 h 116"/>
                <a:gd name="T56" fmla="*/ 52 w 104"/>
                <a:gd name="T57" fmla="*/ 12 h 116"/>
                <a:gd name="T58" fmla="*/ 49 w 104"/>
                <a:gd name="T59" fmla="*/ 1 h 116"/>
                <a:gd name="T60" fmla="*/ 49 w 104"/>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116">
                  <a:moveTo>
                    <a:pt x="49" y="0"/>
                  </a:moveTo>
                  <a:lnTo>
                    <a:pt x="58" y="0"/>
                  </a:lnTo>
                  <a:lnTo>
                    <a:pt x="65" y="10"/>
                  </a:lnTo>
                  <a:lnTo>
                    <a:pt x="88" y="19"/>
                  </a:lnTo>
                  <a:lnTo>
                    <a:pt x="97" y="30"/>
                  </a:lnTo>
                  <a:lnTo>
                    <a:pt x="102" y="34"/>
                  </a:lnTo>
                  <a:lnTo>
                    <a:pt x="104" y="36"/>
                  </a:lnTo>
                  <a:lnTo>
                    <a:pt x="101" y="43"/>
                  </a:lnTo>
                  <a:lnTo>
                    <a:pt x="86" y="64"/>
                  </a:lnTo>
                  <a:lnTo>
                    <a:pt x="85" y="64"/>
                  </a:lnTo>
                  <a:lnTo>
                    <a:pt x="82" y="62"/>
                  </a:lnTo>
                  <a:lnTo>
                    <a:pt x="79" y="64"/>
                  </a:lnTo>
                  <a:lnTo>
                    <a:pt x="76" y="70"/>
                  </a:lnTo>
                  <a:lnTo>
                    <a:pt x="77" y="83"/>
                  </a:lnTo>
                  <a:lnTo>
                    <a:pt x="76" y="83"/>
                  </a:lnTo>
                  <a:lnTo>
                    <a:pt x="64" y="87"/>
                  </a:lnTo>
                  <a:lnTo>
                    <a:pt x="58" y="98"/>
                  </a:lnTo>
                  <a:lnTo>
                    <a:pt x="48" y="101"/>
                  </a:lnTo>
                  <a:lnTo>
                    <a:pt x="40" y="111"/>
                  </a:lnTo>
                  <a:lnTo>
                    <a:pt x="28" y="111"/>
                  </a:lnTo>
                  <a:lnTo>
                    <a:pt x="14" y="116"/>
                  </a:lnTo>
                  <a:lnTo>
                    <a:pt x="0" y="83"/>
                  </a:lnTo>
                  <a:lnTo>
                    <a:pt x="39" y="68"/>
                  </a:lnTo>
                  <a:lnTo>
                    <a:pt x="49" y="41"/>
                  </a:lnTo>
                  <a:lnTo>
                    <a:pt x="42" y="31"/>
                  </a:lnTo>
                  <a:lnTo>
                    <a:pt x="45" y="15"/>
                  </a:lnTo>
                  <a:lnTo>
                    <a:pt x="45" y="13"/>
                  </a:lnTo>
                  <a:lnTo>
                    <a:pt x="46" y="13"/>
                  </a:lnTo>
                  <a:lnTo>
                    <a:pt x="52" y="12"/>
                  </a:lnTo>
                  <a:lnTo>
                    <a:pt x="49" y="1"/>
                  </a:lnTo>
                  <a:lnTo>
                    <a:pt x="4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1" name="Musandam Peninsula">
              <a:extLst>
                <a:ext uri="{FF2B5EF4-FFF2-40B4-BE49-F238E27FC236}">
                  <a16:creationId xmlns:a16="http://schemas.microsoft.com/office/drawing/2014/main" id="{C81B25C8-527C-CB17-7E6B-D9E6257F5530}"/>
                </a:ext>
              </a:extLst>
            </p:cNvPr>
            <p:cNvSpPr>
              <a:spLocks/>
            </p:cNvSpPr>
            <p:nvPr/>
          </p:nvSpPr>
          <p:spPr bwMode="auto">
            <a:xfrm>
              <a:off x="7148613" y="3945900"/>
              <a:ext cx="7228" cy="21685"/>
            </a:xfrm>
            <a:custGeom>
              <a:avLst/>
              <a:gdLst>
                <a:gd name="T0" fmla="*/ 3 w 4"/>
                <a:gd name="T1" fmla="*/ 0 h 12"/>
                <a:gd name="T2" fmla="*/ 4 w 4"/>
                <a:gd name="T3" fmla="*/ 0 h 12"/>
                <a:gd name="T4" fmla="*/ 4 w 4"/>
                <a:gd name="T5" fmla="*/ 2 h 12"/>
                <a:gd name="T6" fmla="*/ 3 w 4"/>
                <a:gd name="T7" fmla="*/ 11 h 12"/>
                <a:gd name="T8" fmla="*/ 3 w 4"/>
                <a:gd name="T9" fmla="*/ 12 h 12"/>
                <a:gd name="T10" fmla="*/ 0 w 4"/>
                <a:gd name="T11" fmla="*/ 11 h 12"/>
                <a:gd name="T12" fmla="*/ 0 w 4"/>
                <a:gd name="T13" fmla="*/ 5 h 12"/>
                <a:gd name="T14" fmla="*/ 3 w 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3" y="0"/>
                  </a:moveTo>
                  <a:lnTo>
                    <a:pt x="4" y="0"/>
                  </a:lnTo>
                  <a:lnTo>
                    <a:pt x="4" y="2"/>
                  </a:lnTo>
                  <a:lnTo>
                    <a:pt x="3" y="11"/>
                  </a:lnTo>
                  <a:lnTo>
                    <a:pt x="3" y="12"/>
                  </a:lnTo>
                  <a:lnTo>
                    <a:pt x="0" y="11"/>
                  </a:lnTo>
                  <a:lnTo>
                    <a:pt x="0" y="5"/>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2" name="Qeshm Island">
              <a:extLst>
                <a:ext uri="{FF2B5EF4-FFF2-40B4-BE49-F238E27FC236}">
                  <a16:creationId xmlns:a16="http://schemas.microsoft.com/office/drawing/2014/main" id="{C9E3A197-B856-C6E9-75F8-61F6EA99633E}"/>
                </a:ext>
              </a:extLst>
            </p:cNvPr>
            <p:cNvSpPr>
              <a:spLocks/>
            </p:cNvSpPr>
            <p:nvPr/>
          </p:nvSpPr>
          <p:spPr bwMode="auto">
            <a:xfrm>
              <a:off x="7128736" y="3933250"/>
              <a:ext cx="25299" cy="12650"/>
            </a:xfrm>
            <a:custGeom>
              <a:avLst/>
              <a:gdLst>
                <a:gd name="T0" fmla="*/ 8 w 14"/>
                <a:gd name="T1" fmla="*/ 0 h 7"/>
                <a:gd name="T2" fmla="*/ 14 w 14"/>
                <a:gd name="T3" fmla="*/ 0 h 7"/>
                <a:gd name="T4" fmla="*/ 2 w 14"/>
                <a:gd name="T5" fmla="*/ 6 h 7"/>
                <a:gd name="T6" fmla="*/ 2 w 14"/>
                <a:gd name="T7" fmla="*/ 7 h 7"/>
                <a:gd name="T8" fmla="*/ 0 w 14"/>
                <a:gd name="T9" fmla="*/ 6 h 7"/>
                <a:gd name="T10" fmla="*/ 8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8" y="0"/>
                  </a:moveTo>
                  <a:lnTo>
                    <a:pt x="14" y="0"/>
                  </a:lnTo>
                  <a:lnTo>
                    <a:pt x="2" y="6"/>
                  </a:lnTo>
                  <a:lnTo>
                    <a:pt x="2" y="7"/>
                  </a:lnTo>
                  <a:lnTo>
                    <a:pt x="0" y="6"/>
                  </a:lnTo>
                  <a:lnTo>
                    <a:pt x="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3" name="China">
              <a:extLst>
                <a:ext uri="{FF2B5EF4-FFF2-40B4-BE49-F238E27FC236}">
                  <a16:creationId xmlns:a16="http://schemas.microsoft.com/office/drawing/2014/main" id="{EF667E68-5517-1F35-124A-3E6B77A43F4D}"/>
                </a:ext>
              </a:extLst>
            </p:cNvPr>
            <p:cNvSpPr>
              <a:spLocks/>
            </p:cNvSpPr>
            <p:nvPr/>
          </p:nvSpPr>
          <p:spPr bwMode="auto">
            <a:xfrm>
              <a:off x="7562428" y="3096580"/>
              <a:ext cx="1447457" cy="1058939"/>
            </a:xfrm>
            <a:custGeom>
              <a:avLst/>
              <a:gdLst/>
              <a:ahLst/>
              <a:cxnLst/>
              <a:rect l="l" t="t" r="r" b="b"/>
              <a:pathLst>
                <a:path w="1458996" h="1067381">
                  <a:moveTo>
                    <a:pt x="877948" y="1018201"/>
                  </a:moveTo>
                  <a:lnTo>
                    <a:pt x="888877" y="1018201"/>
                  </a:lnTo>
                  <a:lnTo>
                    <a:pt x="888877" y="1021844"/>
                  </a:lnTo>
                  <a:lnTo>
                    <a:pt x="890698" y="1029130"/>
                  </a:lnTo>
                  <a:lnTo>
                    <a:pt x="877948" y="1050988"/>
                  </a:lnTo>
                  <a:lnTo>
                    <a:pt x="859733" y="1067381"/>
                  </a:lnTo>
                  <a:lnTo>
                    <a:pt x="837876" y="1058274"/>
                  </a:lnTo>
                  <a:lnTo>
                    <a:pt x="832411" y="1038237"/>
                  </a:lnTo>
                  <a:lnTo>
                    <a:pt x="854269" y="1021844"/>
                  </a:lnTo>
                  <a:close/>
                  <a:moveTo>
                    <a:pt x="1191240" y="905270"/>
                  </a:moveTo>
                  <a:lnTo>
                    <a:pt x="1193062" y="905270"/>
                  </a:lnTo>
                  <a:lnTo>
                    <a:pt x="1196705" y="910734"/>
                  </a:lnTo>
                  <a:lnTo>
                    <a:pt x="1196705" y="912556"/>
                  </a:lnTo>
                  <a:lnTo>
                    <a:pt x="1191240" y="912556"/>
                  </a:lnTo>
                  <a:close/>
                  <a:moveTo>
                    <a:pt x="1183954" y="0"/>
                  </a:moveTo>
                  <a:lnTo>
                    <a:pt x="1191240" y="0"/>
                  </a:lnTo>
                  <a:lnTo>
                    <a:pt x="1209455" y="14572"/>
                  </a:lnTo>
                  <a:lnTo>
                    <a:pt x="1236777" y="20036"/>
                  </a:lnTo>
                  <a:lnTo>
                    <a:pt x="1240420" y="20036"/>
                  </a:lnTo>
                  <a:lnTo>
                    <a:pt x="1256813" y="43715"/>
                  </a:lnTo>
                  <a:lnTo>
                    <a:pt x="1262278" y="67394"/>
                  </a:lnTo>
                  <a:lnTo>
                    <a:pt x="1275028" y="100181"/>
                  </a:lnTo>
                  <a:lnTo>
                    <a:pt x="1282314" y="143896"/>
                  </a:lnTo>
                  <a:lnTo>
                    <a:pt x="1324208" y="151182"/>
                  </a:lnTo>
                  <a:lnTo>
                    <a:pt x="1355172" y="171218"/>
                  </a:lnTo>
                  <a:lnTo>
                    <a:pt x="1360637" y="187611"/>
                  </a:lnTo>
                  <a:lnTo>
                    <a:pt x="1360637" y="202183"/>
                  </a:lnTo>
                  <a:lnTo>
                    <a:pt x="1369744" y="213112"/>
                  </a:lnTo>
                  <a:lnTo>
                    <a:pt x="1391602" y="213112"/>
                  </a:lnTo>
                  <a:lnTo>
                    <a:pt x="1455353" y="187611"/>
                  </a:lnTo>
                  <a:lnTo>
                    <a:pt x="1458996" y="187611"/>
                  </a:lnTo>
                  <a:lnTo>
                    <a:pt x="1458996" y="189433"/>
                  </a:lnTo>
                  <a:lnTo>
                    <a:pt x="1453532" y="194897"/>
                  </a:lnTo>
                  <a:lnTo>
                    <a:pt x="1455353" y="218576"/>
                  </a:lnTo>
                  <a:lnTo>
                    <a:pt x="1444424" y="229505"/>
                  </a:lnTo>
                  <a:lnTo>
                    <a:pt x="1433496" y="271399"/>
                  </a:lnTo>
                  <a:lnTo>
                    <a:pt x="1417102" y="306006"/>
                  </a:lnTo>
                  <a:lnTo>
                    <a:pt x="1413459" y="311471"/>
                  </a:lnTo>
                  <a:lnTo>
                    <a:pt x="1409817" y="311471"/>
                  </a:lnTo>
                  <a:lnTo>
                    <a:pt x="1386137" y="302364"/>
                  </a:lnTo>
                  <a:lnTo>
                    <a:pt x="1366101" y="318757"/>
                  </a:lnTo>
                  <a:lnTo>
                    <a:pt x="1371566" y="335150"/>
                  </a:lnTo>
                  <a:lnTo>
                    <a:pt x="1371566" y="364293"/>
                  </a:lnTo>
                  <a:lnTo>
                    <a:pt x="1358815" y="380687"/>
                  </a:lnTo>
                  <a:lnTo>
                    <a:pt x="1358815" y="389794"/>
                  </a:lnTo>
                  <a:lnTo>
                    <a:pt x="1355172" y="389794"/>
                  </a:lnTo>
                  <a:lnTo>
                    <a:pt x="1344244" y="378865"/>
                  </a:lnTo>
                  <a:lnTo>
                    <a:pt x="1335136" y="397080"/>
                  </a:lnTo>
                  <a:lnTo>
                    <a:pt x="1320565" y="408009"/>
                  </a:lnTo>
                  <a:lnTo>
                    <a:pt x="1302350" y="408009"/>
                  </a:lnTo>
                  <a:lnTo>
                    <a:pt x="1302350" y="426223"/>
                  </a:lnTo>
                  <a:lnTo>
                    <a:pt x="1282314" y="429866"/>
                  </a:lnTo>
                  <a:lnTo>
                    <a:pt x="1269563" y="422580"/>
                  </a:lnTo>
                  <a:lnTo>
                    <a:pt x="1245884" y="446259"/>
                  </a:lnTo>
                  <a:lnTo>
                    <a:pt x="1220384" y="457188"/>
                  </a:lnTo>
                  <a:lnTo>
                    <a:pt x="1209455" y="473581"/>
                  </a:lnTo>
                  <a:lnTo>
                    <a:pt x="1185776" y="479046"/>
                  </a:lnTo>
                  <a:lnTo>
                    <a:pt x="1136596" y="510011"/>
                  </a:lnTo>
                  <a:lnTo>
                    <a:pt x="1134775" y="510011"/>
                  </a:lnTo>
                  <a:lnTo>
                    <a:pt x="1131132" y="508189"/>
                  </a:lnTo>
                  <a:lnTo>
                    <a:pt x="1131132" y="504546"/>
                  </a:lnTo>
                  <a:lnTo>
                    <a:pt x="1142061" y="500903"/>
                  </a:lnTo>
                  <a:lnTo>
                    <a:pt x="1142061" y="491796"/>
                  </a:lnTo>
                  <a:lnTo>
                    <a:pt x="1134775" y="486332"/>
                  </a:lnTo>
                  <a:lnTo>
                    <a:pt x="1134775" y="484510"/>
                  </a:lnTo>
                  <a:lnTo>
                    <a:pt x="1156632" y="457188"/>
                  </a:lnTo>
                  <a:lnTo>
                    <a:pt x="1147525" y="440795"/>
                  </a:lnTo>
                  <a:lnTo>
                    <a:pt x="1131132" y="442617"/>
                  </a:lnTo>
                  <a:lnTo>
                    <a:pt x="1114739" y="468117"/>
                  </a:lnTo>
                  <a:lnTo>
                    <a:pt x="1094703" y="479046"/>
                  </a:lnTo>
                  <a:lnTo>
                    <a:pt x="1085595" y="491796"/>
                  </a:lnTo>
                  <a:lnTo>
                    <a:pt x="1069202" y="500903"/>
                  </a:lnTo>
                  <a:lnTo>
                    <a:pt x="1058273" y="497261"/>
                  </a:lnTo>
                  <a:lnTo>
                    <a:pt x="1050987" y="510011"/>
                  </a:lnTo>
                  <a:lnTo>
                    <a:pt x="1047344" y="515475"/>
                  </a:lnTo>
                  <a:lnTo>
                    <a:pt x="1058273" y="526404"/>
                  </a:lnTo>
                  <a:lnTo>
                    <a:pt x="1074666" y="537333"/>
                  </a:lnTo>
                  <a:lnTo>
                    <a:pt x="1083774" y="551905"/>
                  </a:lnTo>
                  <a:lnTo>
                    <a:pt x="1094703" y="557369"/>
                  </a:lnTo>
                  <a:lnTo>
                    <a:pt x="1123846" y="537333"/>
                  </a:lnTo>
                  <a:lnTo>
                    <a:pt x="1125667" y="537333"/>
                  </a:lnTo>
                  <a:lnTo>
                    <a:pt x="1142061" y="548262"/>
                  </a:lnTo>
                  <a:lnTo>
                    <a:pt x="1167561" y="548262"/>
                  </a:lnTo>
                  <a:lnTo>
                    <a:pt x="1167561" y="551905"/>
                  </a:lnTo>
                  <a:lnTo>
                    <a:pt x="1162097" y="568298"/>
                  </a:lnTo>
                  <a:lnTo>
                    <a:pt x="1162097" y="570119"/>
                  </a:lnTo>
                  <a:lnTo>
                    <a:pt x="1158454" y="570119"/>
                  </a:lnTo>
                  <a:lnTo>
                    <a:pt x="1158454" y="568298"/>
                  </a:lnTo>
                  <a:lnTo>
                    <a:pt x="1156632" y="562833"/>
                  </a:lnTo>
                  <a:lnTo>
                    <a:pt x="1151168" y="562833"/>
                  </a:lnTo>
                  <a:lnTo>
                    <a:pt x="1145704" y="570119"/>
                  </a:lnTo>
                  <a:lnTo>
                    <a:pt x="1125667" y="573762"/>
                  </a:lnTo>
                  <a:lnTo>
                    <a:pt x="1125667" y="579227"/>
                  </a:lnTo>
                  <a:lnTo>
                    <a:pt x="1120203" y="588334"/>
                  </a:lnTo>
                  <a:lnTo>
                    <a:pt x="1118382" y="588334"/>
                  </a:lnTo>
                  <a:lnTo>
                    <a:pt x="1111096" y="586512"/>
                  </a:lnTo>
                  <a:lnTo>
                    <a:pt x="1111096" y="593798"/>
                  </a:lnTo>
                  <a:lnTo>
                    <a:pt x="1107453" y="593798"/>
                  </a:lnTo>
                  <a:lnTo>
                    <a:pt x="1096524" y="604727"/>
                  </a:lnTo>
                  <a:lnTo>
                    <a:pt x="1085595" y="624763"/>
                  </a:lnTo>
                  <a:lnTo>
                    <a:pt x="1111096" y="637514"/>
                  </a:lnTo>
                  <a:lnTo>
                    <a:pt x="1125667" y="683050"/>
                  </a:lnTo>
                  <a:lnTo>
                    <a:pt x="1151168" y="710372"/>
                  </a:lnTo>
                  <a:lnTo>
                    <a:pt x="1151168" y="714015"/>
                  </a:lnTo>
                  <a:lnTo>
                    <a:pt x="1118382" y="704908"/>
                  </a:lnTo>
                  <a:lnTo>
                    <a:pt x="1131132" y="714015"/>
                  </a:lnTo>
                  <a:lnTo>
                    <a:pt x="1151168" y="732230"/>
                  </a:lnTo>
                  <a:lnTo>
                    <a:pt x="1151168" y="735873"/>
                  </a:lnTo>
                  <a:lnTo>
                    <a:pt x="1118382" y="754088"/>
                  </a:lnTo>
                  <a:lnTo>
                    <a:pt x="1131132" y="750445"/>
                  </a:lnTo>
                  <a:lnTo>
                    <a:pt x="1151168" y="761373"/>
                  </a:lnTo>
                  <a:lnTo>
                    <a:pt x="1145704" y="766838"/>
                  </a:lnTo>
                  <a:lnTo>
                    <a:pt x="1147525" y="766838"/>
                  </a:lnTo>
                  <a:lnTo>
                    <a:pt x="1147525" y="781410"/>
                  </a:lnTo>
                  <a:lnTo>
                    <a:pt x="1140239" y="783231"/>
                  </a:lnTo>
                  <a:lnTo>
                    <a:pt x="1142061" y="786874"/>
                  </a:lnTo>
                  <a:lnTo>
                    <a:pt x="1136596" y="810553"/>
                  </a:lnTo>
                  <a:lnTo>
                    <a:pt x="1134775" y="810553"/>
                  </a:lnTo>
                  <a:lnTo>
                    <a:pt x="1129310" y="808732"/>
                  </a:lnTo>
                  <a:lnTo>
                    <a:pt x="1101988" y="854268"/>
                  </a:lnTo>
                  <a:lnTo>
                    <a:pt x="1100167" y="854268"/>
                  </a:lnTo>
                  <a:lnTo>
                    <a:pt x="1100167" y="848804"/>
                  </a:lnTo>
                  <a:lnTo>
                    <a:pt x="1094703" y="848804"/>
                  </a:lnTo>
                  <a:lnTo>
                    <a:pt x="1100167" y="859733"/>
                  </a:lnTo>
                  <a:lnTo>
                    <a:pt x="1091060" y="881590"/>
                  </a:lnTo>
                  <a:lnTo>
                    <a:pt x="1091060" y="883412"/>
                  </a:lnTo>
                  <a:lnTo>
                    <a:pt x="1089238" y="883412"/>
                  </a:lnTo>
                  <a:lnTo>
                    <a:pt x="1085595" y="881590"/>
                  </a:lnTo>
                  <a:lnTo>
                    <a:pt x="1072845" y="901626"/>
                  </a:lnTo>
                  <a:lnTo>
                    <a:pt x="1069202" y="901626"/>
                  </a:lnTo>
                  <a:lnTo>
                    <a:pt x="1058273" y="907091"/>
                  </a:lnTo>
                  <a:lnTo>
                    <a:pt x="1058273" y="916198"/>
                  </a:lnTo>
                  <a:lnTo>
                    <a:pt x="1047344" y="927127"/>
                  </a:lnTo>
                  <a:lnTo>
                    <a:pt x="1045523" y="927127"/>
                  </a:lnTo>
                  <a:lnTo>
                    <a:pt x="1032773" y="932591"/>
                  </a:lnTo>
                  <a:lnTo>
                    <a:pt x="1018201" y="945342"/>
                  </a:lnTo>
                  <a:lnTo>
                    <a:pt x="996343" y="954449"/>
                  </a:lnTo>
                  <a:lnTo>
                    <a:pt x="994522" y="954449"/>
                  </a:lnTo>
                  <a:lnTo>
                    <a:pt x="989057" y="948985"/>
                  </a:lnTo>
                  <a:lnTo>
                    <a:pt x="979950" y="956270"/>
                  </a:lnTo>
                  <a:lnTo>
                    <a:pt x="978129" y="956270"/>
                  </a:lnTo>
                  <a:lnTo>
                    <a:pt x="978129" y="954449"/>
                  </a:lnTo>
                  <a:lnTo>
                    <a:pt x="972664" y="959913"/>
                  </a:lnTo>
                  <a:lnTo>
                    <a:pt x="969021" y="956270"/>
                  </a:lnTo>
                  <a:lnTo>
                    <a:pt x="969021" y="961735"/>
                  </a:lnTo>
                  <a:lnTo>
                    <a:pt x="959914" y="961735"/>
                  </a:lnTo>
                  <a:lnTo>
                    <a:pt x="950807" y="950806"/>
                  </a:lnTo>
                  <a:lnTo>
                    <a:pt x="950807" y="965378"/>
                  </a:lnTo>
                  <a:lnTo>
                    <a:pt x="948985" y="965378"/>
                  </a:lnTo>
                  <a:lnTo>
                    <a:pt x="939878" y="956270"/>
                  </a:lnTo>
                  <a:lnTo>
                    <a:pt x="938056" y="972664"/>
                  </a:lnTo>
                  <a:lnTo>
                    <a:pt x="934413" y="972664"/>
                  </a:lnTo>
                  <a:lnTo>
                    <a:pt x="877948" y="985414"/>
                  </a:lnTo>
                  <a:lnTo>
                    <a:pt x="872483" y="996343"/>
                  </a:lnTo>
                  <a:lnTo>
                    <a:pt x="877948" y="1010914"/>
                  </a:lnTo>
                  <a:lnTo>
                    <a:pt x="877948" y="1012736"/>
                  </a:lnTo>
                  <a:lnTo>
                    <a:pt x="867019" y="1016379"/>
                  </a:lnTo>
                  <a:lnTo>
                    <a:pt x="856090" y="996343"/>
                  </a:lnTo>
                  <a:lnTo>
                    <a:pt x="856090" y="983592"/>
                  </a:lnTo>
                  <a:lnTo>
                    <a:pt x="845161" y="985414"/>
                  </a:lnTo>
                  <a:lnTo>
                    <a:pt x="832411" y="978128"/>
                  </a:lnTo>
                  <a:lnTo>
                    <a:pt x="823303" y="985414"/>
                  </a:lnTo>
                  <a:lnTo>
                    <a:pt x="823303" y="983592"/>
                  </a:lnTo>
                  <a:lnTo>
                    <a:pt x="821482" y="979950"/>
                  </a:lnTo>
                  <a:lnTo>
                    <a:pt x="817839" y="985414"/>
                  </a:lnTo>
                  <a:lnTo>
                    <a:pt x="816018" y="985414"/>
                  </a:lnTo>
                  <a:lnTo>
                    <a:pt x="803267" y="979950"/>
                  </a:lnTo>
                  <a:lnTo>
                    <a:pt x="788695" y="972664"/>
                  </a:lnTo>
                  <a:lnTo>
                    <a:pt x="783231" y="950806"/>
                  </a:lnTo>
                  <a:lnTo>
                    <a:pt x="750445" y="939877"/>
                  </a:lnTo>
                  <a:lnTo>
                    <a:pt x="719480" y="956270"/>
                  </a:lnTo>
                  <a:lnTo>
                    <a:pt x="710372" y="954449"/>
                  </a:lnTo>
                  <a:lnTo>
                    <a:pt x="703086" y="956270"/>
                  </a:lnTo>
                  <a:lnTo>
                    <a:pt x="699444" y="956270"/>
                  </a:lnTo>
                  <a:lnTo>
                    <a:pt x="686693" y="950806"/>
                  </a:lnTo>
                  <a:lnTo>
                    <a:pt x="683050" y="961735"/>
                  </a:lnTo>
                  <a:lnTo>
                    <a:pt x="681229" y="961735"/>
                  </a:lnTo>
                  <a:lnTo>
                    <a:pt x="670300" y="959913"/>
                  </a:lnTo>
                  <a:lnTo>
                    <a:pt x="666657" y="961735"/>
                  </a:lnTo>
                  <a:lnTo>
                    <a:pt x="670300" y="985414"/>
                  </a:lnTo>
                  <a:lnTo>
                    <a:pt x="666657" y="989057"/>
                  </a:lnTo>
                  <a:lnTo>
                    <a:pt x="659371" y="990878"/>
                  </a:lnTo>
                  <a:lnTo>
                    <a:pt x="655728" y="990878"/>
                  </a:lnTo>
                  <a:lnTo>
                    <a:pt x="653907" y="978128"/>
                  </a:lnTo>
                  <a:lnTo>
                    <a:pt x="652085" y="974485"/>
                  </a:lnTo>
                  <a:lnTo>
                    <a:pt x="635692" y="979950"/>
                  </a:lnTo>
                  <a:lnTo>
                    <a:pt x="624763" y="969021"/>
                  </a:lnTo>
                  <a:lnTo>
                    <a:pt x="610192" y="965378"/>
                  </a:lnTo>
                  <a:lnTo>
                    <a:pt x="615656" y="945342"/>
                  </a:lnTo>
                  <a:lnTo>
                    <a:pt x="604727" y="938056"/>
                  </a:lnTo>
                  <a:lnTo>
                    <a:pt x="602906" y="938056"/>
                  </a:lnTo>
                  <a:lnTo>
                    <a:pt x="599263" y="916198"/>
                  </a:lnTo>
                  <a:lnTo>
                    <a:pt x="588334" y="916198"/>
                  </a:lnTo>
                  <a:lnTo>
                    <a:pt x="573762" y="923484"/>
                  </a:lnTo>
                  <a:lnTo>
                    <a:pt x="570119" y="923484"/>
                  </a:lnTo>
                  <a:lnTo>
                    <a:pt x="579227" y="890698"/>
                  </a:lnTo>
                  <a:lnTo>
                    <a:pt x="597441" y="865197"/>
                  </a:lnTo>
                  <a:lnTo>
                    <a:pt x="597441" y="848804"/>
                  </a:lnTo>
                  <a:lnTo>
                    <a:pt x="591977" y="826946"/>
                  </a:lnTo>
                  <a:lnTo>
                    <a:pt x="586513" y="826946"/>
                  </a:lnTo>
                  <a:lnTo>
                    <a:pt x="579227" y="810553"/>
                  </a:lnTo>
                  <a:lnTo>
                    <a:pt x="570119" y="808732"/>
                  </a:lnTo>
                  <a:lnTo>
                    <a:pt x="564655" y="810553"/>
                  </a:lnTo>
                  <a:lnTo>
                    <a:pt x="559191" y="805089"/>
                  </a:lnTo>
                  <a:lnTo>
                    <a:pt x="540976" y="799624"/>
                  </a:lnTo>
                  <a:lnTo>
                    <a:pt x="540976" y="788695"/>
                  </a:lnTo>
                  <a:lnTo>
                    <a:pt x="537333" y="786874"/>
                  </a:lnTo>
                  <a:lnTo>
                    <a:pt x="531868" y="775945"/>
                  </a:lnTo>
                  <a:lnTo>
                    <a:pt x="515475" y="781410"/>
                  </a:lnTo>
                  <a:lnTo>
                    <a:pt x="500904" y="781410"/>
                  </a:lnTo>
                  <a:lnTo>
                    <a:pt x="462653" y="808732"/>
                  </a:lnTo>
                  <a:lnTo>
                    <a:pt x="431688" y="821482"/>
                  </a:lnTo>
                  <a:lnTo>
                    <a:pt x="429866" y="821482"/>
                  </a:lnTo>
                  <a:lnTo>
                    <a:pt x="429866" y="817839"/>
                  </a:lnTo>
                  <a:lnTo>
                    <a:pt x="424402" y="816017"/>
                  </a:lnTo>
                  <a:lnTo>
                    <a:pt x="389794" y="808732"/>
                  </a:lnTo>
                  <a:lnTo>
                    <a:pt x="364293" y="832411"/>
                  </a:lnTo>
                  <a:lnTo>
                    <a:pt x="358829" y="828768"/>
                  </a:lnTo>
                  <a:lnTo>
                    <a:pt x="358829" y="814196"/>
                  </a:lnTo>
                  <a:lnTo>
                    <a:pt x="346079" y="817839"/>
                  </a:lnTo>
                  <a:lnTo>
                    <a:pt x="327864" y="821482"/>
                  </a:lnTo>
                  <a:lnTo>
                    <a:pt x="311471" y="816017"/>
                  </a:lnTo>
                  <a:lnTo>
                    <a:pt x="306006" y="816017"/>
                  </a:lnTo>
                  <a:lnTo>
                    <a:pt x="300542" y="817839"/>
                  </a:lnTo>
                  <a:lnTo>
                    <a:pt x="291435" y="817839"/>
                  </a:lnTo>
                  <a:lnTo>
                    <a:pt x="285970" y="810553"/>
                  </a:lnTo>
                  <a:lnTo>
                    <a:pt x="273220" y="805089"/>
                  </a:lnTo>
                  <a:lnTo>
                    <a:pt x="273220" y="797803"/>
                  </a:lnTo>
                  <a:lnTo>
                    <a:pt x="251362" y="794160"/>
                  </a:lnTo>
                  <a:lnTo>
                    <a:pt x="249541" y="792338"/>
                  </a:lnTo>
                  <a:lnTo>
                    <a:pt x="251362" y="781410"/>
                  </a:lnTo>
                  <a:lnTo>
                    <a:pt x="238612" y="786874"/>
                  </a:lnTo>
                  <a:lnTo>
                    <a:pt x="234969" y="786874"/>
                  </a:lnTo>
                  <a:lnTo>
                    <a:pt x="227683" y="770481"/>
                  </a:lnTo>
                  <a:lnTo>
                    <a:pt x="207647" y="755909"/>
                  </a:lnTo>
                  <a:lnTo>
                    <a:pt x="187611" y="754088"/>
                  </a:lnTo>
                  <a:lnTo>
                    <a:pt x="183968" y="759552"/>
                  </a:lnTo>
                  <a:lnTo>
                    <a:pt x="176682" y="754088"/>
                  </a:lnTo>
                  <a:lnTo>
                    <a:pt x="140253" y="732230"/>
                  </a:lnTo>
                  <a:lnTo>
                    <a:pt x="127503" y="732230"/>
                  </a:lnTo>
                  <a:lnTo>
                    <a:pt x="122038" y="721301"/>
                  </a:lnTo>
                  <a:lnTo>
                    <a:pt x="122038" y="704908"/>
                  </a:lnTo>
                  <a:lnTo>
                    <a:pt x="114752" y="688515"/>
                  </a:lnTo>
                  <a:lnTo>
                    <a:pt x="116574" y="688515"/>
                  </a:lnTo>
                  <a:lnTo>
                    <a:pt x="122038" y="683050"/>
                  </a:lnTo>
                  <a:lnTo>
                    <a:pt x="123860" y="683050"/>
                  </a:lnTo>
                  <a:lnTo>
                    <a:pt x="129324" y="692158"/>
                  </a:lnTo>
                  <a:lnTo>
                    <a:pt x="140253" y="683050"/>
                  </a:lnTo>
                  <a:lnTo>
                    <a:pt x="138431" y="672121"/>
                  </a:lnTo>
                  <a:lnTo>
                    <a:pt x="127503" y="666657"/>
                  </a:lnTo>
                  <a:lnTo>
                    <a:pt x="127503" y="664836"/>
                  </a:lnTo>
                  <a:lnTo>
                    <a:pt x="123860" y="648442"/>
                  </a:lnTo>
                  <a:lnTo>
                    <a:pt x="123860" y="646621"/>
                  </a:lnTo>
                  <a:lnTo>
                    <a:pt x="127503" y="646621"/>
                  </a:lnTo>
                  <a:lnTo>
                    <a:pt x="140253" y="642978"/>
                  </a:lnTo>
                  <a:lnTo>
                    <a:pt x="140253" y="635692"/>
                  </a:lnTo>
                  <a:lnTo>
                    <a:pt x="151182" y="624763"/>
                  </a:lnTo>
                  <a:lnTo>
                    <a:pt x="160289" y="604727"/>
                  </a:lnTo>
                  <a:lnTo>
                    <a:pt x="154825" y="608370"/>
                  </a:lnTo>
                  <a:lnTo>
                    <a:pt x="151182" y="608370"/>
                  </a:lnTo>
                  <a:lnTo>
                    <a:pt x="151182" y="602906"/>
                  </a:lnTo>
                  <a:lnTo>
                    <a:pt x="134788" y="591977"/>
                  </a:lnTo>
                  <a:lnTo>
                    <a:pt x="98359" y="604727"/>
                  </a:lnTo>
                  <a:lnTo>
                    <a:pt x="94716" y="608370"/>
                  </a:lnTo>
                  <a:lnTo>
                    <a:pt x="94716" y="604727"/>
                  </a:lnTo>
                  <a:lnTo>
                    <a:pt x="76501" y="599263"/>
                  </a:lnTo>
                  <a:lnTo>
                    <a:pt x="71037" y="593798"/>
                  </a:lnTo>
                  <a:lnTo>
                    <a:pt x="60108" y="593798"/>
                  </a:lnTo>
                  <a:lnTo>
                    <a:pt x="54644" y="588334"/>
                  </a:lnTo>
                  <a:lnTo>
                    <a:pt x="54644" y="586512"/>
                  </a:lnTo>
                  <a:lnTo>
                    <a:pt x="56465" y="575584"/>
                  </a:lnTo>
                  <a:lnTo>
                    <a:pt x="51001" y="570119"/>
                  </a:lnTo>
                  <a:lnTo>
                    <a:pt x="43715" y="570119"/>
                  </a:lnTo>
                  <a:lnTo>
                    <a:pt x="41894" y="562833"/>
                  </a:lnTo>
                  <a:lnTo>
                    <a:pt x="25500" y="559190"/>
                  </a:lnTo>
                  <a:lnTo>
                    <a:pt x="20036" y="557369"/>
                  </a:lnTo>
                  <a:lnTo>
                    <a:pt x="20036" y="553726"/>
                  </a:lnTo>
                  <a:lnTo>
                    <a:pt x="27322" y="551905"/>
                  </a:lnTo>
                  <a:lnTo>
                    <a:pt x="32786" y="551905"/>
                  </a:lnTo>
                  <a:lnTo>
                    <a:pt x="27322" y="515475"/>
                  </a:lnTo>
                  <a:lnTo>
                    <a:pt x="9107" y="515475"/>
                  </a:lnTo>
                  <a:lnTo>
                    <a:pt x="0" y="504546"/>
                  </a:lnTo>
                  <a:lnTo>
                    <a:pt x="0" y="502725"/>
                  </a:lnTo>
                  <a:lnTo>
                    <a:pt x="5464" y="480867"/>
                  </a:lnTo>
                  <a:lnTo>
                    <a:pt x="9107" y="468117"/>
                  </a:lnTo>
                  <a:lnTo>
                    <a:pt x="27322" y="459010"/>
                  </a:lnTo>
                  <a:lnTo>
                    <a:pt x="30965" y="451724"/>
                  </a:lnTo>
                  <a:lnTo>
                    <a:pt x="38251" y="451724"/>
                  </a:lnTo>
                  <a:lnTo>
                    <a:pt x="47358" y="453545"/>
                  </a:lnTo>
                  <a:lnTo>
                    <a:pt x="51001" y="453545"/>
                  </a:lnTo>
                  <a:lnTo>
                    <a:pt x="60108" y="457188"/>
                  </a:lnTo>
                  <a:lnTo>
                    <a:pt x="65573" y="457188"/>
                  </a:lnTo>
                  <a:lnTo>
                    <a:pt x="78323" y="440795"/>
                  </a:lnTo>
                  <a:lnTo>
                    <a:pt x="109288" y="435331"/>
                  </a:lnTo>
                  <a:lnTo>
                    <a:pt x="120217" y="422580"/>
                  </a:lnTo>
                  <a:lnTo>
                    <a:pt x="154825" y="406187"/>
                  </a:lnTo>
                  <a:lnTo>
                    <a:pt x="160289" y="391615"/>
                  </a:lnTo>
                  <a:lnTo>
                    <a:pt x="167575" y="362472"/>
                  </a:lnTo>
                  <a:lnTo>
                    <a:pt x="156646" y="322400"/>
                  </a:lnTo>
                  <a:lnTo>
                    <a:pt x="149360" y="313292"/>
                  </a:lnTo>
                  <a:lnTo>
                    <a:pt x="149360" y="311471"/>
                  </a:lnTo>
                  <a:lnTo>
                    <a:pt x="151182" y="311471"/>
                  </a:lnTo>
                  <a:lnTo>
                    <a:pt x="205826" y="296899"/>
                  </a:lnTo>
                  <a:lnTo>
                    <a:pt x="205826" y="275041"/>
                  </a:lnTo>
                  <a:lnTo>
                    <a:pt x="222219" y="233148"/>
                  </a:lnTo>
                  <a:lnTo>
                    <a:pt x="240434" y="233148"/>
                  </a:lnTo>
                  <a:lnTo>
                    <a:pt x="245898" y="234969"/>
                  </a:lnTo>
                  <a:lnTo>
                    <a:pt x="262291" y="234969"/>
                  </a:lnTo>
                  <a:lnTo>
                    <a:pt x="267756" y="244077"/>
                  </a:lnTo>
                  <a:lnTo>
                    <a:pt x="284149" y="234969"/>
                  </a:lnTo>
                  <a:lnTo>
                    <a:pt x="284149" y="211290"/>
                  </a:lnTo>
                  <a:lnTo>
                    <a:pt x="289613" y="189433"/>
                  </a:lnTo>
                  <a:lnTo>
                    <a:pt x="291435" y="189433"/>
                  </a:lnTo>
                  <a:lnTo>
                    <a:pt x="307828" y="187611"/>
                  </a:lnTo>
                  <a:lnTo>
                    <a:pt x="316935" y="171218"/>
                  </a:lnTo>
                  <a:lnTo>
                    <a:pt x="318757" y="171218"/>
                  </a:lnTo>
                  <a:lnTo>
                    <a:pt x="327864" y="173039"/>
                  </a:lnTo>
                  <a:lnTo>
                    <a:pt x="335150" y="167575"/>
                  </a:lnTo>
                  <a:lnTo>
                    <a:pt x="338793" y="167575"/>
                  </a:lnTo>
                  <a:lnTo>
                    <a:pt x="338793" y="171218"/>
                  </a:lnTo>
                  <a:lnTo>
                    <a:pt x="346079" y="187611"/>
                  </a:lnTo>
                  <a:lnTo>
                    <a:pt x="362472" y="205826"/>
                  </a:lnTo>
                  <a:lnTo>
                    <a:pt x="391615" y="211290"/>
                  </a:lnTo>
                  <a:lnTo>
                    <a:pt x="395258" y="211290"/>
                  </a:lnTo>
                  <a:lnTo>
                    <a:pt x="397080" y="218576"/>
                  </a:lnTo>
                  <a:lnTo>
                    <a:pt x="408009" y="255005"/>
                  </a:lnTo>
                  <a:lnTo>
                    <a:pt x="411652" y="284149"/>
                  </a:lnTo>
                  <a:lnTo>
                    <a:pt x="408009" y="295078"/>
                  </a:lnTo>
                  <a:lnTo>
                    <a:pt x="446259" y="307828"/>
                  </a:lnTo>
                  <a:lnTo>
                    <a:pt x="459010" y="306006"/>
                  </a:lnTo>
                  <a:lnTo>
                    <a:pt x="515475" y="329686"/>
                  </a:lnTo>
                  <a:lnTo>
                    <a:pt x="535511" y="358829"/>
                  </a:lnTo>
                  <a:lnTo>
                    <a:pt x="559191" y="380687"/>
                  </a:lnTo>
                  <a:lnTo>
                    <a:pt x="646621" y="378865"/>
                  </a:lnTo>
                  <a:lnTo>
                    <a:pt x="686693" y="400723"/>
                  </a:lnTo>
                  <a:lnTo>
                    <a:pt x="743159" y="417116"/>
                  </a:lnTo>
                  <a:lnTo>
                    <a:pt x="810553" y="391615"/>
                  </a:lnTo>
                  <a:lnTo>
                    <a:pt x="839697" y="391615"/>
                  </a:lnTo>
                  <a:lnTo>
                    <a:pt x="867019" y="386151"/>
                  </a:lnTo>
                  <a:lnTo>
                    <a:pt x="910734" y="347900"/>
                  </a:lnTo>
                  <a:lnTo>
                    <a:pt x="899805" y="333328"/>
                  </a:lnTo>
                  <a:lnTo>
                    <a:pt x="899805" y="329686"/>
                  </a:lnTo>
                  <a:lnTo>
                    <a:pt x="910734" y="307828"/>
                  </a:lnTo>
                  <a:lnTo>
                    <a:pt x="912556" y="307828"/>
                  </a:lnTo>
                  <a:lnTo>
                    <a:pt x="921663" y="302364"/>
                  </a:lnTo>
                  <a:lnTo>
                    <a:pt x="948985" y="313292"/>
                  </a:lnTo>
                  <a:lnTo>
                    <a:pt x="978129" y="289613"/>
                  </a:lnTo>
                  <a:lnTo>
                    <a:pt x="999986" y="284149"/>
                  </a:lnTo>
                  <a:lnTo>
                    <a:pt x="1027308" y="255005"/>
                  </a:lnTo>
                  <a:lnTo>
                    <a:pt x="1029130" y="255005"/>
                  </a:lnTo>
                  <a:lnTo>
                    <a:pt x="1089238" y="249541"/>
                  </a:lnTo>
                  <a:lnTo>
                    <a:pt x="1083774" y="240434"/>
                  </a:lnTo>
                  <a:lnTo>
                    <a:pt x="1080131" y="224040"/>
                  </a:lnTo>
                  <a:lnTo>
                    <a:pt x="1061916" y="202183"/>
                  </a:lnTo>
                  <a:lnTo>
                    <a:pt x="1032773" y="222219"/>
                  </a:lnTo>
                  <a:lnTo>
                    <a:pt x="999986" y="216755"/>
                  </a:lnTo>
                  <a:lnTo>
                    <a:pt x="996343" y="202183"/>
                  </a:lnTo>
                  <a:lnTo>
                    <a:pt x="996343" y="162110"/>
                  </a:lnTo>
                  <a:lnTo>
                    <a:pt x="1016379" y="132967"/>
                  </a:lnTo>
                  <a:lnTo>
                    <a:pt x="1018201" y="132967"/>
                  </a:lnTo>
                  <a:lnTo>
                    <a:pt x="1052809" y="145717"/>
                  </a:lnTo>
                  <a:lnTo>
                    <a:pt x="1083774" y="127503"/>
                  </a:lnTo>
                  <a:lnTo>
                    <a:pt x="1085595" y="116574"/>
                  </a:lnTo>
                  <a:lnTo>
                    <a:pt x="1100167" y="72859"/>
                  </a:lnTo>
                  <a:lnTo>
                    <a:pt x="1118382" y="56465"/>
                  </a:lnTo>
                  <a:lnTo>
                    <a:pt x="1118382" y="40072"/>
                  </a:lnTo>
                  <a:lnTo>
                    <a:pt x="1101988" y="40072"/>
                  </a:lnTo>
                  <a:lnTo>
                    <a:pt x="1101988" y="38251"/>
                  </a:lnTo>
                  <a:lnTo>
                    <a:pt x="1105631" y="32786"/>
                  </a:lnTo>
                  <a:lnTo>
                    <a:pt x="1123846" y="9107"/>
                  </a:lnTo>
                  <a:lnTo>
                    <a:pt x="1129310" y="9107"/>
                  </a:lnTo>
                  <a:lnTo>
                    <a:pt x="1145704" y="5464"/>
                  </a:lnTo>
                  <a:lnTo>
                    <a:pt x="1167561" y="3643"/>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4" name="Japan - Offshore">
              <a:extLst>
                <a:ext uri="{FF2B5EF4-FFF2-40B4-BE49-F238E27FC236}">
                  <a16:creationId xmlns:a16="http://schemas.microsoft.com/office/drawing/2014/main" id="{F7921A34-2E92-E370-6BCD-65BD73CC116C}"/>
                </a:ext>
              </a:extLst>
            </p:cNvPr>
            <p:cNvSpPr>
              <a:spLocks/>
            </p:cNvSpPr>
            <p:nvPr/>
          </p:nvSpPr>
          <p:spPr bwMode="auto">
            <a:xfrm>
              <a:off x="8838215" y="3362218"/>
              <a:ext cx="540313" cy="592718"/>
            </a:xfrm>
            <a:custGeom>
              <a:avLst/>
              <a:gdLst/>
              <a:ahLst/>
              <a:cxnLst/>
              <a:rect l="l" t="t" r="r" b="b"/>
              <a:pathLst>
                <a:path w="544620" h="597443">
                  <a:moveTo>
                    <a:pt x="10929" y="575585"/>
                  </a:moveTo>
                  <a:lnTo>
                    <a:pt x="12751" y="575585"/>
                  </a:lnTo>
                  <a:lnTo>
                    <a:pt x="1821" y="593800"/>
                  </a:lnTo>
                  <a:lnTo>
                    <a:pt x="1821" y="597443"/>
                  </a:lnTo>
                  <a:lnTo>
                    <a:pt x="0" y="597443"/>
                  </a:lnTo>
                  <a:lnTo>
                    <a:pt x="0" y="593800"/>
                  </a:lnTo>
                  <a:lnTo>
                    <a:pt x="1821" y="586514"/>
                  </a:lnTo>
                  <a:close/>
                  <a:moveTo>
                    <a:pt x="45538" y="530048"/>
                  </a:moveTo>
                  <a:lnTo>
                    <a:pt x="45538" y="531870"/>
                  </a:lnTo>
                  <a:lnTo>
                    <a:pt x="49181" y="531870"/>
                  </a:lnTo>
                  <a:lnTo>
                    <a:pt x="40073" y="540977"/>
                  </a:lnTo>
                  <a:lnTo>
                    <a:pt x="38252" y="540977"/>
                  </a:lnTo>
                  <a:lnTo>
                    <a:pt x="38252" y="535513"/>
                  </a:lnTo>
                  <a:lnTo>
                    <a:pt x="40073" y="531870"/>
                  </a:lnTo>
                  <a:close/>
                  <a:moveTo>
                    <a:pt x="67395" y="480869"/>
                  </a:moveTo>
                  <a:lnTo>
                    <a:pt x="69216" y="480869"/>
                  </a:lnTo>
                  <a:lnTo>
                    <a:pt x="72860" y="486334"/>
                  </a:lnTo>
                  <a:lnTo>
                    <a:pt x="67395" y="486334"/>
                  </a:lnTo>
                  <a:close/>
                  <a:moveTo>
                    <a:pt x="32787" y="404367"/>
                  </a:moveTo>
                  <a:lnTo>
                    <a:pt x="34608" y="404367"/>
                  </a:lnTo>
                  <a:lnTo>
                    <a:pt x="38251" y="408010"/>
                  </a:lnTo>
                  <a:lnTo>
                    <a:pt x="40073" y="408010"/>
                  </a:lnTo>
                  <a:lnTo>
                    <a:pt x="40073" y="409832"/>
                  </a:lnTo>
                  <a:lnTo>
                    <a:pt x="38251" y="409832"/>
                  </a:lnTo>
                  <a:lnTo>
                    <a:pt x="34608" y="413475"/>
                  </a:lnTo>
                  <a:lnTo>
                    <a:pt x="34608" y="415296"/>
                  </a:lnTo>
                  <a:lnTo>
                    <a:pt x="32787" y="415296"/>
                  </a:lnTo>
                  <a:close/>
                  <a:moveTo>
                    <a:pt x="74681" y="380688"/>
                  </a:moveTo>
                  <a:lnTo>
                    <a:pt x="78323" y="380688"/>
                  </a:lnTo>
                  <a:lnTo>
                    <a:pt x="85609" y="391617"/>
                  </a:lnTo>
                  <a:lnTo>
                    <a:pt x="89252" y="391617"/>
                  </a:lnTo>
                  <a:lnTo>
                    <a:pt x="91074" y="389795"/>
                  </a:lnTo>
                  <a:lnTo>
                    <a:pt x="96538" y="389795"/>
                  </a:lnTo>
                  <a:lnTo>
                    <a:pt x="96538" y="398903"/>
                  </a:lnTo>
                  <a:lnTo>
                    <a:pt x="100181" y="402546"/>
                  </a:lnTo>
                  <a:lnTo>
                    <a:pt x="102003" y="402546"/>
                  </a:lnTo>
                  <a:lnTo>
                    <a:pt x="105646" y="413474"/>
                  </a:lnTo>
                  <a:lnTo>
                    <a:pt x="89252" y="453546"/>
                  </a:lnTo>
                  <a:lnTo>
                    <a:pt x="74681" y="464475"/>
                  </a:lnTo>
                  <a:lnTo>
                    <a:pt x="72859" y="464475"/>
                  </a:lnTo>
                  <a:lnTo>
                    <a:pt x="72859" y="459011"/>
                  </a:lnTo>
                  <a:lnTo>
                    <a:pt x="69216" y="462654"/>
                  </a:lnTo>
                  <a:lnTo>
                    <a:pt x="61930" y="457189"/>
                  </a:lnTo>
                  <a:lnTo>
                    <a:pt x="61930" y="437153"/>
                  </a:lnTo>
                  <a:lnTo>
                    <a:pt x="69216" y="424403"/>
                  </a:lnTo>
                  <a:lnTo>
                    <a:pt x="63752" y="408010"/>
                  </a:lnTo>
                  <a:lnTo>
                    <a:pt x="63752" y="418939"/>
                  </a:lnTo>
                  <a:lnTo>
                    <a:pt x="58287" y="418939"/>
                  </a:lnTo>
                  <a:lnTo>
                    <a:pt x="56466" y="420760"/>
                  </a:lnTo>
                  <a:lnTo>
                    <a:pt x="49180" y="420760"/>
                  </a:lnTo>
                  <a:lnTo>
                    <a:pt x="49180" y="408010"/>
                  </a:lnTo>
                  <a:lnTo>
                    <a:pt x="51001" y="408010"/>
                  </a:lnTo>
                  <a:lnTo>
                    <a:pt x="54644" y="409831"/>
                  </a:lnTo>
                  <a:lnTo>
                    <a:pt x="49180" y="402546"/>
                  </a:lnTo>
                  <a:close/>
                  <a:moveTo>
                    <a:pt x="174861" y="362473"/>
                  </a:moveTo>
                  <a:lnTo>
                    <a:pt x="178504" y="362473"/>
                  </a:lnTo>
                  <a:lnTo>
                    <a:pt x="174861" y="373403"/>
                  </a:lnTo>
                  <a:lnTo>
                    <a:pt x="173039" y="373403"/>
                  </a:lnTo>
                  <a:lnTo>
                    <a:pt x="169396" y="375224"/>
                  </a:lnTo>
                  <a:lnTo>
                    <a:pt x="167835" y="375224"/>
                  </a:lnTo>
                  <a:lnTo>
                    <a:pt x="169397" y="386153"/>
                  </a:lnTo>
                  <a:lnTo>
                    <a:pt x="158468" y="402546"/>
                  </a:lnTo>
                  <a:lnTo>
                    <a:pt x="156646" y="402546"/>
                  </a:lnTo>
                  <a:lnTo>
                    <a:pt x="140253" y="397082"/>
                  </a:lnTo>
                  <a:lnTo>
                    <a:pt x="129324" y="415296"/>
                  </a:lnTo>
                  <a:lnTo>
                    <a:pt x="129324" y="418939"/>
                  </a:lnTo>
                  <a:lnTo>
                    <a:pt x="123860" y="418939"/>
                  </a:lnTo>
                  <a:lnTo>
                    <a:pt x="123860" y="415296"/>
                  </a:lnTo>
                  <a:lnTo>
                    <a:pt x="116574" y="398903"/>
                  </a:lnTo>
                  <a:lnTo>
                    <a:pt x="107467" y="398903"/>
                  </a:lnTo>
                  <a:lnTo>
                    <a:pt x="107467" y="397082"/>
                  </a:lnTo>
                  <a:lnTo>
                    <a:pt x="123860" y="378867"/>
                  </a:lnTo>
                  <a:lnTo>
                    <a:pt x="129324" y="378867"/>
                  </a:lnTo>
                  <a:lnTo>
                    <a:pt x="131146" y="380688"/>
                  </a:lnTo>
                  <a:lnTo>
                    <a:pt x="136610" y="380688"/>
                  </a:lnTo>
                  <a:lnTo>
                    <a:pt x="151182" y="367938"/>
                  </a:lnTo>
                  <a:lnTo>
                    <a:pt x="153004" y="367938"/>
                  </a:lnTo>
                  <a:lnTo>
                    <a:pt x="167575" y="373402"/>
                  </a:lnTo>
                  <a:close/>
                  <a:moveTo>
                    <a:pt x="258650" y="253185"/>
                  </a:moveTo>
                  <a:lnTo>
                    <a:pt x="262293" y="253185"/>
                  </a:lnTo>
                  <a:lnTo>
                    <a:pt x="258650" y="269579"/>
                  </a:lnTo>
                  <a:lnTo>
                    <a:pt x="253185" y="269579"/>
                  </a:lnTo>
                  <a:lnTo>
                    <a:pt x="253185" y="267758"/>
                  </a:lnTo>
                  <a:close/>
                  <a:moveTo>
                    <a:pt x="442619" y="60109"/>
                  </a:moveTo>
                  <a:lnTo>
                    <a:pt x="444440" y="65574"/>
                  </a:lnTo>
                  <a:lnTo>
                    <a:pt x="426225" y="83789"/>
                  </a:lnTo>
                  <a:lnTo>
                    <a:pt x="424403" y="78325"/>
                  </a:lnTo>
                  <a:close/>
                  <a:moveTo>
                    <a:pt x="320578" y="32788"/>
                  </a:moveTo>
                  <a:lnTo>
                    <a:pt x="324222" y="32788"/>
                  </a:lnTo>
                  <a:lnTo>
                    <a:pt x="326043" y="38253"/>
                  </a:lnTo>
                  <a:lnTo>
                    <a:pt x="320578" y="34610"/>
                  </a:lnTo>
                  <a:close/>
                  <a:moveTo>
                    <a:pt x="336972" y="23680"/>
                  </a:moveTo>
                  <a:lnTo>
                    <a:pt x="340615" y="23680"/>
                  </a:lnTo>
                  <a:lnTo>
                    <a:pt x="377044" y="65574"/>
                  </a:lnTo>
                  <a:lnTo>
                    <a:pt x="404366" y="76503"/>
                  </a:lnTo>
                  <a:lnTo>
                    <a:pt x="413473" y="71039"/>
                  </a:lnTo>
                  <a:lnTo>
                    <a:pt x="424402" y="65574"/>
                  </a:lnTo>
                  <a:lnTo>
                    <a:pt x="424402" y="67396"/>
                  </a:lnTo>
                  <a:lnTo>
                    <a:pt x="418938" y="80146"/>
                  </a:lnTo>
                  <a:lnTo>
                    <a:pt x="424402" y="94718"/>
                  </a:lnTo>
                  <a:lnTo>
                    <a:pt x="426223" y="94718"/>
                  </a:lnTo>
                  <a:lnTo>
                    <a:pt x="429866" y="91075"/>
                  </a:lnTo>
                  <a:lnTo>
                    <a:pt x="437152" y="91075"/>
                  </a:lnTo>
                  <a:lnTo>
                    <a:pt x="431688" y="96539"/>
                  </a:lnTo>
                  <a:lnTo>
                    <a:pt x="387973" y="112933"/>
                  </a:lnTo>
                  <a:lnTo>
                    <a:pt x="371580" y="140255"/>
                  </a:lnTo>
                  <a:lnTo>
                    <a:pt x="371580" y="143898"/>
                  </a:lnTo>
                  <a:lnTo>
                    <a:pt x="340615" y="123862"/>
                  </a:lnTo>
                  <a:lnTo>
                    <a:pt x="324222" y="127504"/>
                  </a:lnTo>
                  <a:lnTo>
                    <a:pt x="307828" y="123862"/>
                  </a:lnTo>
                  <a:lnTo>
                    <a:pt x="304185" y="127504"/>
                  </a:lnTo>
                  <a:lnTo>
                    <a:pt x="307828" y="132969"/>
                  </a:lnTo>
                  <a:lnTo>
                    <a:pt x="324222" y="143898"/>
                  </a:lnTo>
                  <a:lnTo>
                    <a:pt x="324222" y="145719"/>
                  </a:lnTo>
                  <a:lnTo>
                    <a:pt x="296900" y="156648"/>
                  </a:lnTo>
                  <a:lnTo>
                    <a:pt x="296900" y="140255"/>
                  </a:lnTo>
                  <a:lnTo>
                    <a:pt x="287792" y="132969"/>
                  </a:lnTo>
                  <a:lnTo>
                    <a:pt x="291435" y="122040"/>
                  </a:lnTo>
                  <a:lnTo>
                    <a:pt x="304185" y="107468"/>
                  </a:lnTo>
                  <a:lnTo>
                    <a:pt x="304185" y="96539"/>
                  </a:lnTo>
                  <a:lnTo>
                    <a:pt x="309650" y="96539"/>
                  </a:lnTo>
                  <a:lnTo>
                    <a:pt x="318757" y="100182"/>
                  </a:lnTo>
                  <a:lnTo>
                    <a:pt x="324222" y="100182"/>
                  </a:lnTo>
                  <a:lnTo>
                    <a:pt x="326043" y="91075"/>
                  </a:lnTo>
                  <a:lnTo>
                    <a:pt x="326043" y="83789"/>
                  </a:lnTo>
                  <a:lnTo>
                    <a:pt x="331507" y="72860"/>
                  </a:lnTo>
                  <a:lnTo>
                    <a:pt x="336972" y="49181"/>
                  </a:lnTo>
                  <a:lnTo>
                    <a:pt x="331507" y="32788"/>
                  </a:lnTo>
                  <a:lnTo>
                    <a:pt x="331507" y="29145"/>
                  </a:lnTo>
                  <a:lnTo>
                    <a:pt x="335150" y="29145"/>
                  </a:lnTo>
                  <a:close/>
                  <a:moveTo>
                    <a:pt x="504547" y="21858"/>
                  </a:moveTo>
                  <a:lnTo>
                    <a:pt x="508190" y="27323"/>
                  </a:lnTo>
                  <a:lnTo>
                    <a:pt x="460832" y="60109"/>
                  </a:lnTo>
                  <a:lnTo>
                    <a:pt x="482690" y="29144"/>
                  </a:lnTo>
                  <a:lnTo>
                    <a:pt x="491797" y="32787"/>
                  </a:lnTo>
                  <a:close/>
                  <a:moveTo>
                    <a:pt x="544620" y="0"/>
                  </a:moveTo>
                  <a:lnTo>
                    <a:pt x="522762" y="21858"/>
                  </a:lnTo>
                  <a:lnTo>
                    <a:pt x="533691" y="5464"/>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5" name="Japan - Mainland">
              <a:extLst>
                <a:ext uri="{FF2B5EF4-FFF2-40B4-BE49-F238E27FC236}">
                  <a16:creationId xmlns:a16="http://schemas.microsoft.com/office/drawing/2014/main" id="{43411DEC-5E7B-E5AA-2D99-C400270CD9B4}"/>
                </a:ext>
              </a:extLst>
            </p:cNvPr>
            <p:cNvSpPr>
              <a:spLocks noEditPoints="1"/>
            </p:cNvSpPr>
            <p:nvPr/>
          </p:nvSpPr>
          <p:spPr bwMode="auto">
            <a:xfrm>
              <a:off x="8917726" y="3515820"/>
              <a:ext cx="263831" cy="240340"/>
            </a:xfrm>
            <a:custGeom>
              <a:avLst/>
              <a:gdLst>
                <a:gd name="T0" fmla="*/ 112 w 146"/>
                <a:gd name="T1" fmla="*/ 103 h 133"/>
                <a:gd name="T2" fmla="*/ 117 w 146"/>
                <a:gd name="T3" fmla="*/ 97 h 133"/>
                <a:gd name="T4" fmla="*/ 137 w 146"/>
                <a:gd name="T5" fmla="*/ 2 h 133"/>
                <a:gd name="T6" fmla="*/ 138 w 146"/>
                <a:gd name="T7" fmla="*/ 14 h 133"/>
                <a:gd name="T8" fmla="*/ 144 w 146"/>
                <a:gd name="T9" fmla="*/ 41 h 133"/>
                <a:gd name="T10" fmla="*/ 138 w 146"/>
                <a:gd name="T11" fmla="*/ 56 h 133"/>
                <a:gd name="T12" fmla="*/ 129 w 146"/>
                <a:gd name="T13" fmla="*/ 59 h 133"/>
                <a:gd name="T14" fmla="*/ 132 w 146"/>
                <a:gd name="T15" fmla="*/ 77 h 133"/>
                <a:gd name="T16" fmla="*/ 131 w 146"/>
                <a:gd name="T17" fmla="*/ 97 h 133"/>
                <a:gd name="T18" fmla="*/ 125 w 146"/>
                <a:gd name="T19" fmla="*/ 105 h 133"/>
                <a:gd name="T20" fmla="*/ 109 w 146"/>
                <a:gd name="T21" fmla="*/ 109 h 133"/>
                <a:gd name="T22" fmla="*/ 107 w 146"/>
                <a:gd name="T23" fmla="*/ 109 h 133"/>
                <a:gd name="T24" fmla="*/ 101 w 146"/>
                <a:gd name="T25" fmla="*/ 114 h 133"/>
                <a:gd name="T26" fmla="*/ 98 w 146"/>
                <a:gd name="T27" fmla="*/ 108 h 133"/>
                <a:gd name="T28" fmla="*/ 95 w 146"/>
                <a:gd name="T29" fmla="*/ 117 h 133"/>
                <a:gd name="T30" fmla="*/ 76 w 146"/>
                <a:gd name="T31" fmla="*/ 112 h 133"/>
                <a:gd name="T32" fmla="*/ 74 w 146"/>
                <a:gd name="T33" fmla="*/ 112 h 133"/>
                <a:gd name="T34" fmla="*/ 79 w 146"/>
                <a:gd name="T35" fmla="*/ 120 h 133"/>
                <a:gd name="T36" fmla="*/ 67 w 146"/>
                <a:gd name="T37" fmla="*/ 131 h 133"/>
                <a:gd name="T38" fmla="*/ 58 w 146"/>
                <a:gd name="T39" fmla="*/ 131 h 133"/>
                <a:gd name="T40" fmla="*/ 51 w 146"/>
                <a:gd name="T41" fmla="*/ 123 h 133"/>
                <a:gd name="T42" fmla="*/ 58 w 146"/>
                <a:gd name="T43" fmla="*/ 115 h 133"/>
                <a:gd name="T44" fmla="*/ 54 w 146"/>
                <a:gd name="T45" fmla="*/ 115 h 133"/>
                <a:gd name="T46" fmla="*/ 49 w 146"/>
                <a:gd name="T47" fmla="*/ 112 h 133"/>
                <a:gd name="T48" fmla="*/ 40 w 146"/>
                <a:gd name="T49" fmla="*/ 118 h 133"/>
                <a:gd name="T50" fmla="*/ 36 w 146"/>
                <a:gd name="T51" fmla="*/ 117 h 133"/>
                <a:gd name="T52" fmla="*/ 23 w 146"/>
                <a:gd name="T53" fmla="*/ 121 h 133"/>
                <a:gd name="T54" fmla="*/ 18 w 146"/>
                <a:gd name="T55" fmla="*/ 127 h 133"/>
                <a:gd name="T56" fmla="*/ 0 w 146"/>
                <a:gd name="T57" fmla="*/ 123 h 133"/>
                <a:gd name="T58" fmla="*/ 8 w 146"/>
                <a:gd name="T59" fmla="*/ 117 h 133"/>
                <a:gd name="T60" fmla="*/ 23 w 146"/>
                <a:gd name="T61" fmla="*/ 97 h 133"/>
                <a:gd name="T62" fmla="*/ 28 w 146"/>
                <a:gd name="T63" fmla="*/ 94 h 133"/>
                <a:gd name="T64" fmla="*/ 30 w 146"/>
                <a:gd name="T65" fmla="*/ 99 h 133"/>
                <a:gd name="T66" fmla="*/ 55 w 146"/>
                <a:gd name="T67" fmla="*/ 96 h 133"/>
                <a:gd name="T68" fmla="*/ 66 w 146"/>
                <a:gd name="T69" fmla="*/ 97 h 133"/>
                <a:gd name="T70" fmla="*/ 67 w 146"/>
                <a:gd name="T71" fmla="*/ 84 h 133"/>
                <a:gd name="T72" fmla="*/ 74 w 146"/>
                <a:gd name="T73" fmla="*/ 71 h 133"/>
                <a:gd name="T74" fmla="*/ 83 w 146"/>
                <a:gd name="T75" fmla="*/ 66 h 133"/>
                <a:gd name="T76" fmla="*/ 85 w 146"/>
                <a:gd name="T77" fmla="*/ 69 h 133"/>
                <a:gd name="T78" fmla="*/ 80 w 146"/>
                <a:gd name="T79" fmla="*/ 72 h 133"/>
                <a:gd name="T80" fmla="*/ 98 w 146"/>
                <a:gd name="T81" fmla="*/ 71 h 133"/>
                <a:gd name="T82" fmla="*/ 103 w 146"/>
                <a:gd name="T83" fmla="*/ 60 h 133"/>
                <a:gd name="T84" fmla="*/ 119 w 146"/>
                <a:gd name="T85" fmla="*/ 32 h 133"/>
                <a:gd name="T86" fmla="*/ 114 w 146"/>
                <a:gd name="T87" fmla="*/ 29 h 133"/>
                <a:gd name="T88" fmla="*/ 117 w 146"/>
                <a:gd name="T89" fmla="*/ 25 h 133"/>
                <a:gd name="T90" fmla="*/ 120 w 146"/>
                <a:gd name="T91" fmla="*/ 13 h 133"/>
                <a:gd name="T92" fmla="*/ 132 w 146"/>
                <a:gd name="T9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33">
                  <a:moveTo>
                    <a:pt x="117" y="97"/>
                  </a:moveTo>
                  <a:lnTo>
                    <a:pt x="112" y="103"/>
                  </a:lnTo>
                  <a:lnTo>
                    <a:pt x="117" y="100"/>
                  </a:lnTo>
                  <a:lnTo>
                    <a:pt x="117" y="97"/>
                  </a:lnTo>
                  <a:close/>
                  <a:moveTo>
                    <a:pt x="132" y="0"/>
                  </a:moveTo>
                  <a:lnTo>
                    <a:pt x="137" y="2"/>
                  </a:lnTo>
                  <a:lnTo>
                    <a:pt x="138" y="2"/>
                  </a:lnTo>
                  <a:lnTo>
                    <a:pt x="138" y="14"/>
                  </a:lnTo>
                  <a:lnTo>
                    <a:pt x="146" y="31"/>
                  </a:lnTo>
                  <a:lnTo>
                    <a:pt x="144" y="41"/>
                  </a:lnTo>
                  <a:lnTo>
                    <a:pt x="138" y="47"/>
                  </a:lnTo>
                  <a:lnTo>
                    <a:pt x="138" y="56"/>
                  </a:lnTo>
                  <a:lnTo>
                    <a:pt x="135" y="53"/>
                  </a:lnTo>
                  <a:lnTo>
                    <a:pt x="129" y="59"/>
                  </a:lnTo>
                  <a:lnTo>
                    <a:pt x="132" y="65"/>
                  </a:lnTo>
                  <a:lnTo>
                    <a:pt x="132" y="77"/>
                  </a:lnTo>
                  <a:lnTo>
                    <a:pt x="126" y="86"/>
                  </a:lnTo>
                  <a:lnTo>
                    <a:pt x="131" y="97"/>
                  </a:lnTo>
                  <a:lnTo>
                    <a:pt x="125" y="100"/>
                  </a:lnTo>
                  <a:lnTo>
                    <a:pt x="125" y="105"/>
                  </a:lnTo>
                  <a:lnTo>
                    <a:pt x="119" y="109"/>
                  </a:lnTo>
                  <a:lnTo>
                    <a:pt x="109" y="109"/>
                  </a:lnTo>
                  <a:lnTo>
                    <a:pt x="109" y="106"/>
                  </a:lnTo>
                  <a:lnTo>
                    <a:pt x="107" y="109"/>
                  </a:lnTo>
                  <a:lnTo>
                    <a:pt x="103" y="114"/>
                  </a:lnTo>
                  <a:lnTo>
                    <a:pt x="101" y="114"/>
                  </a:lnTo>
                  <a:lnTo>
                    <a:pt x="103" y="108"/>
                  </a:lnTo>
                  <a:lnTo>
                    <a:pt x="98" y="108"/>
                  </a:lnTo>
                  <a:lnTo>
                    <a:pt x="95" y="115"/>
                  </a:lnTo>
                  <a:lnTo>
                    <a:pt x="95" y="117"/>
                  </a:lnTo>
                  <a:lnTo>
                    <a:pt x="83" y="112"/>
                  </a:lnTo>
                  <a:lnTo>
                    <a:pt x="76" y="112"/>
                  </a:lnTo>
                  <a:lnTo>
                    <a:pt x="76" y="109"/>
                  </a:lnTo>
                  <a:lnTo>
                    <a:pt x="74" y="112"/>
                  </a:lnTo>
                  <a:lnTo>
                    <a:pt x="79" y="118"/>
                  </a:lnTo>
                  <a:lnTo>
                    <a:pt x="79" y="120"/>
                  </a:lnTo>
                  <a:lnTo>
                    <a:pt x="70" y="121"/>
                  </a:lnTo>
                  <a:lnTo>
                    <a:pt x="67" y="131"/>
                  </a:lnTo>
                  <a:lnTo>
                    <a:pt x="67" y="133"/>
                  </a:lnTo>
                  <a:lnTo>
                    <a:pt x="58" y="131"/>
                  </a:lnTo>
                  <a:lnTo>
                    <a:pt x="52" y="124"/>
                  </a:lnTo>
                  <a:lnTo>
                    <a:pt x="51" y="123"/>
                  </a:lnTo>
                  <a:lnTo>
                    <a:pt x="52" y="123"/>
                  </a:lnTo>
                  <a:lnTo>
                    <a:pt x="58" y="115"/>
                  </a:lnTo>
                  <a:lnTo>
                    <a:pt x="58" y="112"/>
                  </a:lnTo>
                  <a:lnTo>
                    <a:pt x="54" y="115"/>
                  </a:lnTo>
                  <a:lnTo>
                    <a:pt x="52" y="115"/>
                  </a:lnTo>
                  <a:lnTo>
                    <a:pt x="49" y="112"/>
                  </a:lnTo>
                  <a:lnTo>
                    <a:pt x="46" y="112"/>
                  </a:lnTo>
                  <a:lnTo>
                    <a:pt x="40" y="118"/>
                  </a:lnTo>
                  <a:lnTo>
                    <a:pt x="39" y="118"/>
                  </a:lnTo>
                  <a:lnTo>
                    <a:pt x="36" y="117"/>
                  </a:lnTo>
                  <a:lnTo>
                    <a:pt x="23" y="123"/>
                  </a:lnTo>
                  <a:lnTo>
                    <a:pt x="23" y="121"/>
                  </a:lnTo>
                  <a:lnTo>
                    <a:pt x="20" y="120"/>
                  </a:lnTo>
                  <a:lnTo>
                    <a:pt x="18" y="127"/>
                  </a:lnTo>
                  <a:lnTo>
                    <a:pt x="17" y="127"/>
                  </a:lnTo>
                  <a:lnTo>
                    <a:pt x="0" y="123"/>
                  </a:lnTo>
                  <a:lnTo>
                    <a:pt x="0" y="117"/>
                  </a:lnTo>
                  <a:lnTo>
                    <a:pt x="8" y="117"/>
                  </a:lnTo>
                  <a:lnTo>
                    <a:pt x="23" y="102"/>
                  </a:lnTo>
                  <a:lnTo>
                    <a:pt x="23" y="97"/>
                  </a:lnTo>
                  <a:lnTo>
                    <a:pt x="24" y="97"/>
                  </a:lnTo>
                  <a:lnTo>
                    <a:pt x="28" y="94"/>
                  </a:lnTo>
                  <a:lnTo>
                    <a:pt x="30" y="94"/>
                  </a:lnTo>
                  <a:lnTo>
                    <a:pt x="30" y="99"/>
                  </a:lnTo>
                  <a:lnTo>
                    <a:pt x="42" y="96"/>
                  </a:lnTo>
                  <a:lnTo>
                    <a:pt x="55" y="96"/>
                  </a:lnTo>
                  <a:lnTo>
                    <a:pt x="61" y="102"/>
                  </a:lnTo>
                  <a:lnTo>
                    <a:pt x="66" y="97"/>
                  </a:lnTo>
                  <a:lnTo>
                    <a:pt x="66" y="84"/>
                  </a:lnTo>
                  <a:lnTo>
                    <a:pt x="67" y="84"/>
                  </a:lnTo>
                  <a:lnTo>
                    <a:pt x="74" y="83"/>
                  </a:lnTo>
                  <a:lnTo>
                    <a:pt x="74" y="71"/>
                  </a:lnTo>
                  <a:lnTo>
                    <a:pt x="76" y="71"/>
                  </a:lnTo>
                  <a:lnTo>
                    <a:pt x="83" y="66"/>
                  </a:lnTo>
                  <a:lnTo>
                    <a:pt x="85" y="66"/>
                  </a:lnTo>
                  <a:lnTo>
                    <a:pt x="85" y="69"/>
                  </a:lnTo>
                  <a:lnTo>
                    <a:pt x="83" y="71"/>
                  </a:lnTo>
                  <a:lnTo>
                    <a:pt x="80" y="72"/>
                  </a:lnTo>
                  <a:lnTo>
                    <a:pt x="80" y="78"/>
                  </a:lnTo>
                  <a:lnTo>
                    <a:pt x="98" y="71"/>
                  </a:lnTo>
                  <a:lnTo>
                    <a:pt x="103" y="62"/>
                  </a:lnTo>
                  <a:lnTo>
                    <a:pt x="103" y="60"/>
                  </a:lnTo>
                  <a:lnTo>
                    <a:pt x="110" y="57"/>
                  </a:lnTo>
                  <a:lnTo>
                    <a:pt x="119" y="32"/>
                  </a:lnTo>
                  <a:lnTo>
                    <a:pt x="116" y="29"/>
                  </a:lnTo>
                  <a:lnTo>
                    <a:pt x="114" y="29"/>
                  </a:lnTo>
                  <a:lnTo>
                    <a:pt x="114" y="25"/>
                  </a:lnTo>
                  <a:lnTo>
                    <a:pt x="117" y="25"/>
                  </a:lnTo>
                  <a:lnTo>
                    <a:pt x="117" y="13"/>
                  </a:lnTo>
                  <a:lnTo>
                    <a:pt x="120" y="13"/>
                  </a:lnTo>
                  <a:lnTo>
                    <a:pt x="122" y="4"/>
                  </a:lnTo>
                  <a:lnTo>
                    <a:pt x="13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6" name="Korea - South">
              <a:extLst>
                <a:ext uri="{FF2B5EF4-FFF2-40B4-BE49-F238E27FC236}">
                  <a16:creationId xmlns:a16="http://schemas.microsoft.com/office/drawing/2014/main" id="{F841B16A-B9E5-C1DA-A710-6D0970B1C92A}"/>
                </a:ext>
              </a:extLst>
            </p:cNvPr>
            <p:cNvSpPr>
              <a:spLocks/>
            </p:cNvSpPr>
            <p:nvPr/>
          </p:nvSpPr>
          <p:spPr bwMode="auto">
            <a:xfrm>
              <a:off x="8800267" y="3606172"/>
              <a:ext cx="86739" cy="157215"/>
            </a:xfrm>
            <a:custGeom>
              <a:avLst/>
              <a:gdLst/>
              <a:ahLst/>
              <a:cxnLst/>
              <a:rect l="l" t="t" r="r" b="b"/>
              <a:pathLst>
                <a:path w="87430" h="158468">
                  <a:moveTo>
                    <a:pt x="5465" y="151182"/>
                  </a:moveTo>
                  <a:lnTo>
                    <a:pt x="21858" y="151182"/>
                  </a:lnTo>
                  <a:lnTo>
                    <a:pt x="21858" y="153004"/>
                  </a:lnTo>
                  <a:lnTo>
                    <a:pt x="10929" y="158468"/>
                  </a:lnTo>
                  <a:lnTo>
                    <a:pt x="3643" y="158468"/>
                  </a:lnTo>
                  <a:lnTo>
                    <a:pt x="3643" y="156647"/>
                  </a:lnTo>
                  <a:close/>
                  <a:moveTo>
                    <a:pt x="56465" y="0"/>
                  </a:moveTo>
                  <a:lnTo>
                    <a:pt x="78323" y="32787"/>
                  </a:lnTo>
                  <a:lnTo>
                    <a:pt x="87430" y="74680"/>
                  </a:lnTo>
                  <a:lnTo>
                    <a:pt x="78323" y="96538"/>
                  </a:lnTo>
                  <a:lnTo>
                    <a:pt x="71037" y="102002"/>
                  </a:lnTo>
                  <a:lnTo>
                    <a:pt x="71037" y="105645"/>
                  </a:lnTo>
                  <a:lnTo>
                    <a:pt x="67394" y="105645"/>
                  </a:lnTo>
                  <a:lnTo>
                    <a:pt x="60108" y="102002"/>
                  </a:lnTo>
                  <a:lnTo>
                    <a:pt x="54644" y="111110"/>
                  </a:lnTo>
                  <a:lnTo>
                    <a:pt x="45537" y="107467"/>
                  </a:lnTo>
                  <a:lnTo>
                    <a:pt x="38251" y="116574"/>
                  </a:lnTo>
                  <a:lnTo>
                    <a:pt x="34608" y="116574"/>
                  </a:lnTo>
                  <a:lnTo>
                    <a:pt x="32786" y="112931"/>
                  </a:lnTo>
                  <a:lnTo>
                    <a:pt x="32786" y="118396"/>
                  </a:lnTo>
                  <a:lnTo>
                    <a:pt x="29144" y="122039"/>
                  </a:lnTo>
                  <a:lnTo>
                    <a:pt x="27322" y="118396"/>
                  </a:lnTo>
                  <a:lnTo>
                    <a:pt x="27322" y="116574"/>
                  </a:lnTo>
                  <a:lnTo>
                    <a:pt x="21858" y="122039"/>
                  </a:lnTo>
                  <a:lnTo>
                    <a:pt x="16393" y="122039"/>
                  </a:lnTo>
                  <a:lnTo>
                    <a:pt x="10929" y="123860"/>
                  </a:lnTo>
                  <a:lnTo>
                    <a:pt x="3643" y="123860"/>
                  </a:lnTo>
                  <a:lnTo>
                    <a:pt x="5465" y="112931"/>
                  </a:lnTo>
                  <a:lnTo>
                    <a:pt x="10929" y="116574"/>
                  </a:lnTo>
                  <a:lnTo>
                    <a:pt x="10929" y="111110"/>
                  </a:lnTo>
                  <a:lnTo>
                    <a:pt x="5465" y="111110"/>
                  </a:lnTo>
                  <a:lnTo>
                    <a:pt x="5465" y="107467"/>
                  </a:lnTo>
                  <a:lnTo>
                    <a:pt x="16393" y="80145"/>
                  </a:lnTo>
                  <a:lnTo>
                    <a:pt x="10929" y="60109"/>
                  </a:lnTo>
                  <a:lnTo>
                    <a:pt x="9108" y="65573"/>
                  </a:lnTo>
                  <a:lnTo>
                    <a:pt x="5465" y="65573"/>
                  </a:lnTo>
                  <a:lnTo>
                    <a:pt x="5465" y="61930"/>
                  </a:lnTo>
                  <a:lnTo>
                    <a:pt x="0" y="54644"/>
                  </a:lnTo>
                  <a:lnTo>
                    <a:pt x="3643" y="54644"/>
                  </a:lnTo>
                  <a:lnTo>
                    <a:pt x="16393" y="45537"/>
                  </a:lnTo>
                  <a:lnTo>
                    <a:pt x="16393" y="49180"/>
                  </a:lnTo>
                  <a:lnTo>
                    <a:pt x="18215" y="49180"/>
                  </a:lnTo>
                  <a:lnTo>
                    <a:pt x="10929" y="27322"/>
                  </a:lnTo>
                  <a:lnTo>
                    <a:pt x="10929" y="23679"/>
                  </a:lnTo>
                  <a:lnTo>
                    <a:pt x="27322" y="10929"/>
                  </a:lnTo>
                  <a:lnTo>
                    <a:pt x="43715" y="10929"/>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7" name="Korea - North">
              <a:extLst>
                <a:ext uri="{FF2B5EF4-FFF2-40B4-BE49-F238E27FC236}">
                  <a16:creationId xmlns:a16="http://schemas.microsoft.com/office/drawing/2014/main" id="{EE021BE6-5636-BA55-1F87-D1D03E6544C8}"/>
                </a:ext>
              </a:extLst>
            </p:cNvPr>
            <p:cNvSpPr>
              <a:spLocks/>
            </p:cNvSpPr>
            <p:nvPr/>
          </p:nvSpPr>
          <p:spPr bwMode="auto">
            <a:xfrm>
              <a:off x="8760512" y="3468835"/>
              <a:ext cx="149986" cy="164443"/>
            </a:xfrm>
            <a:custGeom>
              <a:avLst/>
              <a:gdLst>
                <a:gd name="T0" fmla="*/ 74 w 83"/>
                <a:gd name="T1" fmla="*/ 0 h 91"/>
                <a:gd name="T2" fmla="*/ 75 w 83"/>
                <a:gd name="T3" fmla="*/ 0 h 91"/>
                <a:gd name="T4" fmla="*/ 81 w 83"/>
                <a:gd name="T5" fmla="*/ 6 h 91"/>
                <a:gd name="T6" fmla="*/ 83 w 83"/>
                <a:gd name="T7" fmla="*/ 11 h 91"/>
                <a:gd name="T8" fmla="*/ 71 w 83"/>
                <a:gd name="T9" fmla="*/ 24 h 91"/>
                <a:gd name="T10" fmla="*/ 71 w 83"/>
                <a:gd name="T11" fmla="*/ 37 h 91"/>
                <a:gd name="T12" fmla="*/ 53 w 83"/>
                <a:gd name="T13" fmla="*/ 51 h 91"/>
                <a:gd name="T14" fmla="*/ 41 w 83"/>
                <a:gd name="T15" fmla="*/ 57 h 91"/>
                <a:gd name="T16" fmla="*/ 41 w 83"/>
                <a:gd name="T17" fmla="*/ 66 h 91"/>
                <a:gd name="T18" fmla="*/ 53 w 83"/>
                <a:gd name="T19" fmla="*/ 76 h 91"/>
                <a:gd name="T20" fmla="*/ 53 w 83"/>
                <a:gd name="T21" fmla="*/ 77 h 91"/>
                <a:gd name="T22" fmla="*/ 46 w 83"/>
                <a:gd name="T23" fmla="*/ 83 h 91"/>
                <a:gd name="T24" fmla="*/ 37 w 83"/>
                <a:gd name="T25" fmla="*/ 83 h 91"/>
                <a:gd name="T26" fmla="*/ 30 w 83"/>
                <a:gd name="T27" fmla="*/ 91 h 91"/>
                <a:gd name="T28" fmla="*/ 28 w 83"/>
                <a:gd name="T29" fmla="*/ 91 h 91"/>
                <a:gd name="T30" fmla="*/ 18 w 83"/>
                <a:gd name="T31" fmla="*/ 86 h 91"/>
                <a:gd name="T32" fmla="*/ 18 w 83"/>
                <a:gd name="T33" fmla="*/ 89 h 91"/>
                <a:gd name="T34" fmla="*/ 16 w 83"/>
                <a:gd name="T35" fmla="*/ 89 h 91"/>
                <a:gd name="T36" fmla="*/ 12 w 83"/>
                <a:gd name="T37" fmla="*/ 91 h 91"/>
                <a:gd name="T38" fmla="*/ 9 w 83"/>
                <a:gd name="T39" fmla="*/ 86 h 91"/>
                <a:gd name="T40" fmla="*/ 10 w 83"/>
                <a:gd name="T41" fmla="*/ 85 h 91"/>
                <a:gd name="T42" fmla="*/ 4 w 83"/>
                <a:gd name="T43" fmla="*/ 85 h 91"/>
                <a:gd name="T44" fmla="*/ 9 w 83"/>
                <a:gd name="T45" fmla="*/ 77 h 91"/>
                <a:gd name="T46" fmla="*/ 13 w 83"/>
                <a:gd name="T47" fmla="*/ 74 h 91"/>
                <a:gd name="T48" fmla="*/ 12 w 83"/>
                <a:gd name="T49" fmla="*/ 73 h 91"/>
                <a:gd name="T50" fmla="*/ 10 w 83"/>
                <a:gd name="T51" fmla="*/ 73 h 91"/>
                <a:gd name="T52" fmla="*/ 13 w 83"/>
                <a:gd name="T53" fmla="*/ 61 h 91"/>
                <a:gd name="T54" fmla="*/ 4 w 83"/>
                <a:gd name="T55" fmla="*/ 60 h 91"/>
                <a:gd name="T56" fmla="*/ 3 w 83"/>
                <a:gd name="T57" fmla="*/ 60 h 91"/>
                <a:gd name="T58" fmla="*/ 0 w 83"/>
                <a:gd name="T59" fmla="*/ 54 h 91"/>
                <a:gd name="T60" fmla="*/ 7 w 83"/>
                <a:gd name="T61" fmla="*/ 43 h 91"/>
                <a:gd name="T62" fmla="*/ 19 w 83"/>
                <a:gd name="T63" fmla="*/ 37 h 91"/>
                <a:gd name="T64" fmla="*/ 32 w 83"/>
                <a:gd name="T65" fmla="*/ 24 h 91"/>
                <a:gd name="T66" fmla="*/ 34 w 83"/>
                <a:gd name="T67" fmla="*/ 24 h 91"/>
                <a:gd name="T68" fmla="*/ 41 w 83"/>
                <a:gd name="T69" fmla="*/ 28 h 91"/>
                <a:gd name="T70" fmla="*/ 50 w 83"/>
                <a:gd name="T71" fmla="*/ 27 h 91"/>
                <a:gd name="T72" fmla="*/ 50 w 83"/>
                <a:gd name="T73" fmla="*/ 17 h 91"/>
                <a:gd name="T74" fmla="*/ 61 w 83"/>
                <a:gd name="T75" fmla="*/ 17 h 91"/>
                <a:gd name="T76" fmla="*/ 68 w 83"/>
                <a:gd name="T77" fmla="*/ 11 h 91"/>
                <a:gd name="T78" fmla="*/ 74 w 83"/>
                <a:gd name="T7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3" h="91">
                  <a:moveTo>
                    <a:pt x="74" y="0"/>
                  </a:moveTo>
                  <a:lnTo>
                    <a:pt x="75" y="0"/>
                  </a:lnTo>
                  <a:lnTo>
                    <a:pt x="81" y="6"/>
                  </a:lnTo>
                  <a:lnTo>
                    <a:pt x="83" y="11"/>
                  </a:lnTo>
                  <a:lnTo>
                    <a:pt x="71" y="24"/>
                  </a:lnTo>
                  <a:lnTo>
                    <a:pt x="71" y="37"/>
                  </a:lnTo>
                  <a:lnTo>
                    <a:pt x="53" y="51"/>
                  </a:lnTo>
                  <a:lnTo>
                    <a:pt x="41" y="57"/>
                  </a:lnTo>
                  <a:lnTo>
                    <a:pt x="41" y="66"/>
                  </a:lnTo>
                  <a:lnTo>
                    <a:pt x="53" y="76"/>
                  </a:lnTo>
                  <a:lnTo>
                    <a:pt x="53" y="77"/>
                  </a:lnTo>
                  <a:lnTo>
                    <a:pt x="46" y="83"/>
                  </a:lnTo>
                  <a:lnTo>
                    <a:pt x="37" y="83"/>
                  </a:lnTo>
                  <a:lnTo>
                    <a:pt x="30" y="91"/>
                  </a:lnTo>
                  <a:lnTo>
                    <a:pt x="28" y="91"/>
                  </a:lnTo>
                  <a:lnTo>
                    <a:pt x="18" y="86"/>
                  </a:lnTo>
                  <a:lnTo>
                    <a:pt x="18" y="89"/>
                  </a:lnTo>
                  <a:lnTo>
                    <a:pt x="16" y="89"/>
                  </a:lnTo>
                  <a:lnTo>
                    <a:pt x="12" y="91"/>
                  </a:lnTo>
                  <a:lnTo>
                    <a:pt x="9" y="86"/>
                  </a:lnTo>
                  <a:lnTo>
                    <a:pt x="10" y="85"/>
                  </a:lnTo>
                  <a:lnTo>
                    <a:pt x="4" y="85"/>
                  </a:lnTo>
                  <a:lnTo>
                    <a:pt x="9" y="77"/>
                  </a:lnTo>
                  <a:lnTo>
                    <a:pt x="13" y="74"/>
                  </a:lnTo>
                  <a:lnTo>
                    <a:pt x="12" y="73"/>
                  </a:lnTo>
                  <a:lnTo>
                    <a:pt x="10" y="73"/>
                  </a:lnTo>
                  <a:lnTo>
                    <a:pt x="13" y="61"/>
                  </a:lnTo>
                  <a:lnTo>
                    <a:pt x="4" y="60"/>
                  </a:lnTo>
                  <a:lnTo>
                    <a:pt x="3" y="60"/>
                  </a:lnTo>
                  <a:lnTo>
                    <a:pt x="0" y="54"/>
                  </a:lnTo>
                  <a:lnTo>
                    <a:pt x="7" y="43"/>
                  </a:lnTo>
                  <a:lnTo>
                    <a:pt x="19" y="37"/>
                  </a:lnTo>
                  <a:lnTo>
                    <a:pt x="32" y="24"/>
                  </a:lnTo>
                  <a:lnTo>
                    <a:pt x="34" y="24"/>
                  </a:lnTo>
                  <a:lnTo>
                    <a:pt x="41" y="28"/>
                  </a:lnTo>
                  <a:lnTo>
                    <a:pt x="50" y="27"/>
                  </a:lnTo>
                  <a:lnTo>
                    <a:pt x="50" y="17"/>
                  </a:lnTo>
                  <a:lnTo>
                    <a:pt x="61" y="17"/>
                  </a:lnTo>
                  <a:lnTo>
                    <a:pt x="68" y="11"/>
                  </a:lnTo>
                  <a:lnTo>
                    <a:pt x="7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8" name="Russia - Offshore">
              <a:extLst>
                <a:ext uri="{FF2B5EF4-FFF2-40B4-BE49-F238E27FC236}">
                  <a16:creationId xmlns:a16="http://schemas.microsoft.com/office/drawing/2014/main" id="{13783423-A979-E1CC-7FD2-11B6E5F26359}"/>
                </a:ext>
              </a:extLst>
            </p:cNvPr>
            <p:cNvSpPr>
              <a:spLocks/>
            </p:cNvSpPr>
            <p:nvPr/>
          </p:nvSpPr>
          <p:spPr bwMode="auto">
            <a:xfrm>
              <a:off x="6962485" y="1109715"/>
              <a:ext cx="3371978" cy="2259732"/>
            </a:xfrm>
            <a:custGeom>
              <a:avLst/>
              <a:gdLst/>
              <a:ahLst/>
              <a:cxnLst/>
              <a:rect l="l" t="t" r="r" b="b"/>
              <a:pathLst>
                <a:path w="3398859" h="2277745">
                  <a:moveTo>
                    <a:pt x="2568269" y="2108349"/>
                  </a:moveTo>
                  <a:lnTo>
                    <a:pt x="2568269" y="2117457"/>
                  </a:lnTo>
                  <a:lnTo>
                    <a:pt x="2564626" y="2121100"/>
                  </a:lnTo>
                  <a:lnTo>
                    <a:pt x="2550054" y="2132029"/>
                  </a:lnTo>
                  <a:lnTo>
                    <a:pt x="2550054" y="2124743"/>
                  </a:lnTo>
                  <a:close/>
                  <a:moveTo>
                    <a:pt x="3172996" y="2062812"/>
                  </a:moveTo>
                  <a:lnTo>
                    <a:pt x="3178461" y="2062812"/>
                  </a:lnTo>
                  <a:lnTo>
                    <a:pt x="3180282" y="2064634"/>
                  </a:lnTo>
                  <a:lnTo>
                    <a:pt x="3189390" y="2064634"/>
                  </a:lnTo>
                  <a:lnTo>
                    <a:pt x="3186111" y="2070098"/>
                  </a:lnTo>
                  <a:lnTo>
                    <a:pt x="3189390" y="2070098"/>
                  </a:lnTo>
                  <a:lnTo>
                    <a:pt x="3200319" y="2062812"/>
                  </a:lnTo>
                  <a:lnTo>
                    <a:pt x="3202141" y="2062812"/>
                  </a:lnTo>
                  <a:lnTo>
                    <a:pt x="3202141" y="2064634"/>
                  </a:lnTo>
                  <a:lnTo>
                    <a:pt x="3200319" y="2070098"/>
                  </a:lnTo>
                  <a:lnTo>
                    <a:pt x="3189390" y="2073741"/>
                  </a:lnTo>
                  <a:lnTo>
                    <a:pt x="3185747" y="2073741"/>
                  </a:lnTo>
                  <a:lnTo>
                    <a:pt x="3185747" y="2070705"/>
                  </a:lnTo>
                  <a:lnTo>
                    <a:pt x="3183925" y="2073742"/>
                  </a:lnTo>
                  <a:lnTo>
                    <a:pt x="3183925" y="2075563"/>
                  </a:lnTo>
                  <a:lnTo>
                    <a:pt x="3180282" y="2075563"/>
                  </a:lnTo>
                  <a:lnTo>
                    <a:pt x="3172996" y="2064634"/>
                  </a:lnTo>
                  <a:close/>
                  <a:moveTo>
                    <a:pt x="3211247" y="2059169"/>
                  </a:moveTo>
                  <a:lnTo>
                    <a:pt x="3213068" y="2059169"/>
                  </a:lnTo>
                  <a:lnTo>
                    <a:pt x="3218533" y="2068277"/>
                  </a:lnTo>
                  <a:lnTo>
                    <a:pt x="3218533" y="2070098"/>
                  </a:lnTo>
                  <a:lnTo>
                    <a:pt x="3211247" y="2075563"/>
                  </a:lnTo>
                  <a:lnTo>
                    <a:pt x="3207604" y="2075563"/>
                  </a:lnTo>
                  <a:lnTo>
                    <a:pt x="3207604" y="2073742"/>
                  </a:lnTo>
                  <a:lnTo>
                    <a:pt x="3205782" y="2070098"/>
                  </a:lnTo>
                  <a:lnTo>
                    <a:pt x="3205782" y="2068277"/>
                  </a:lnTo>
                  <a:close/>
                  <a:moveTo>
                    <a:pt x="3121995" y="2057348"/>
                  </a:moveTo>
                  <a:lnTo>
                    <a:pt x="3123817" y="2057348"/>
                  </a:lnTo>
                  <a:lnTo>
                    <a:pt x="3123817" y="2059170"/>
                  </a:lnTo>
                  <a:lnTo>
                    <a:pt x="3127460" y="2059170"/>
                  </a:lnTo>
                  <a:lnTo>
                    <a:pt x="3127460" y="2062813"/>
                  </a:lnTo>
                  <a:lnTo>
                    <a:pt x="3123817" y="2062813"/>
                  </a:lnTo>
                  <a:lnTo>
                    <a:pt x="3123817" y="2064634"/>
                  </a:lnTo>
                  <a:lnTo>
                    <a:pt x="3121995" y="2064634"/>
                  </a:lnTo>
                  <a:close/>
                  <a:moveTo>
                    <a:pt x="3072816" y="2053705"/>
                  </a:moveTo>
                  <a:lnTo>
                    <a:pt x="3076458" y="2053705"/>
                  </a:lnTo>
                  <a:lnTo>
                    <a:pt x="3078280" y="2062813"/>
                  </a:lnTo>
                  <a:lnTo>
                    <a:pt x="3067351" y="2068277"/>
                  </a:lnTo>
                  <a:lnTo>
                    <a:pt x="3067351" y="2064634"/>
                  </a:lnTo>
                  <a:close/>
                  <a:moveTo>
                    <a:pt x="3307785" y="2042776"/>
                  </a:moveTo>
                  <a:lnTo>
                    <a:pt x="3311428" y="2042776"/>
                  </a:lnTo>
                  <a:lnTo>
                    <a:pt x="3316893" y="2046419"/>
                  </a:lnTo>
                  <a:lnTo>
                    <a:pt x="3316893" y="2048241"/>
                  </a:lnTo>
                  <a:lnTo>
                    <a:pt x="3307785" y="2048241"/>
                  </a:lnTo>
                  <a:close/>
                  <a:moveTo>
                    <a:pt x="3267713" y="2042776"/>
                  </a:moveTo>
                  <a:lnTo>
                    <a:pt x="3269534" y="2042776"/>
                  </a:lnTo>
                  <a:lnTo>
                    <a:pt x="3274999" y="2048241"/>
                  </a:lnTo>
                  <a:lnTo>
                    <a:pt x="3274999" y="2051884"/>
                  </a:lnTo>
                  <a:lnTo>
                    <a:pt x="3258605" y="2057348"/>
                  </a:lnTo>
                  <a:lnTo>
                    <a:pt x="3267713" y="2046419"/>
                  </a:lnTo>
                  <a:close/>
                  <a:moveTo>
                    <a:pt x="2950777" y="2022740"/>
                  </a:moveTo>
                  <a:lnTo>
                    <a:pt x="2959884" y="2022740"/>
                  </a:lnTo>
                  <a:lnTo>
                    <a:pt x="2967170" y="2024562"/>
                  </a:lnTo>
                  <a:lnTo>
                    <a:pt x="2972635" y="2024562"/>
                  </a:lnTo>
                  <a:lnTo>
                    <a:pt x="2972635" y="2028205"/>
                  </a:lnTo>
                  <a:lnTo>
                    <a:pt x="2965349" y="2030026"/>
                  </a:lnTo>
                  <a:lnTo>
                    <a:pt x="2965349" y="2033669"/>
                  </a:lnTo>
                  <a:lnTo>
                    <a:pt x="2961706" y="2033669"/>
                  </a:lnTo>
                  <a:lnTo>
                    <a:pt x="2950777" y="2024562"/>
                  </a:lnTo>
                  <a:close/>
                  <a:moveTo>
                    <a:pt x="3397037" y="2011811"/>
                  </a:moveTo>
                  <a:lnTo>
                    <a:pt x="3398859" y="2011811"/>
                  </a:lnTo>
                  <a:lnTo>
                    <a:pt x="3398859" y="2024562"/>
                  </a:lnTo>
                  <a:lnTo>
                    <a:pt x="3389751" y="2030026"/>
                  </a:lnTo>
                  <a:lnTo>
                    <a:pt x="3386108" y="2030026"/>
                  </a:lnTo>
                  <a:lnTo>
                    <a:pt x="3389751" y="2028205"/>
                  </a:lnTo>
                  <a:lnTo>
                    <a:pt x="3397037" y="2013633"/>
                  </a:lnTo>
                  <a:close/>
                  <a:moveTo>
                    <a:pt x="2247691" y="1968096"/>
                  </a:moveTo>
                  <a:lnTo>
                    <a:pt x="2254977" y="1975382"/>
                  </a:lnTo>
                  <a:lnTo>
                    <a:pt x="2265906" y="2028204"/>
                  </a:lnTo>
                  <a:lnTo>
                    <a:pt x="2260441" y="2048241"/>
                  </a:lnTo>
                  <a:lnTo>
                    <a:pt x="2262263" y="2075563"/>
                  </a:lnTo>
                  <a:lnTo>
                    <a:pt x="2287763" y="2157528"/>
                  </a:lnTo>
                  <a:lnTo>
                    <a:pt x="2298692" y="2181208"/>
                  </a:lnTo>
                  <a:lnTo>
                    <a:pt x="2276835" y="2159350"/>
                  </a:lnTo>
                  <a:lnTo>
                    <a:pt x="2256798" y="2164814"/>
                  </a:lnTo>
                  <a:lnTo>
                    <a:pt x="2247691" y="2221280"/>
                  </a:lnTo>
                  <a:lnTo>
                    <a:pt x="2260441" y="2246780"/>
                  </a:lnTo>
                  <a:lnTo>
                    <a:pt x="2267727" y="2252245"/>
                  </a:lnTo>
                  <a:lnTo>
                    <a:pt x="2271370" y="2270459"/>
                  </a:lnTo>
                  <a:lnTo>
                    <a:pt x="2267727" y="2275924"/>
                  </a:lnTo>
                  <a:lnTo>
                    <a:pt x="2265906" y="2257709"/>
                  </a:lnTo>
                  <a:lnTo>
                    <a:pt x="2247691" y="2254066"/>
                  </a:lnTo>
                  <a:lnTo>
                    <a:pt x="2236762" y="2277745"/>
                  </a:lnTo>
                  <a:lnTo>
                    <a:pt x="2233119" y="2275924"/>
                  </a:lnTo>
                  <a:lnTo>
                    <a:pt x="2231298" y="2254066"/>
                  </a:lnTo>
                  <a:lnTo>
                    <a:pt x="2238584" y="2204887"/>
                  </a:lnTo>
                  <a:lnTo>
                    <a:pt x="2231298" y="2181208"/>
                  </a:lnTo>
                  <a:lnTo>
                    <a:pt x="2238584" y="2135671"/>
                  </a:lnTo>
                  <a:lnTo>
                    <a:pt x="2236762" y="2108349"/>
                  </a:lnTo>
                  <a:lnTo>
                    <a:pt x="2236762" y="2090134"/>
                  </a:lnTo>
                  <a:lnTo>
                    <a:pt x="2225833" y="2070098"/>
                  </a:lnTo>
                  <a:lnTo>
                    <a:pt x="2225833" y="2046419"/>
                  </a:lnTo>
                  <a:lnTo>
                    <a:pt x="2231298" y="2000882"/>
                  </a:lnTo>
                  <a:lnTo>
                    <a:pt x="2244048" y="2002704"/>
                  </a:lnTo>
                  <a:lnTo>
                    <a:pt x="2249512" y="1991775"/>
                  </a:lnTo>
                  <a:lnTo>
                    <a:pt x="2242227" y="1969918"/>
                  </a:lnTo>
                  <a:close/>
                  <a:moveTo>
                    <a:pt x="2127474" y="1929845"/>
                  </a:moveTo>
                  <a:lnTo>
                    <a:pt x="2142046" y="1938953"/>
                  </a:lnTo>
                  <a:lnTo>
                    <a:pt x="2131117" y="1957168"/>
                  </a:lnTo>
                  <a:lnTo>
                    <a:pt x="2127474" y="1957168"/>
                  </a:lnTo>
                  <a:lnTo>
                    <a:pt x="2120188" y="1955347"/>
                  </a:lnTo>
                  <a:lnTo>
                    <a:pt x="2120188" y="1949882"/>
                  </a:lnTo>
                  <a:lnTo>
                    <a:pt x="2127474" y="1933488"/>
                  </a:lnTo>
                  <a:close/>
                  <a:moveTo>
                    <a:pt x="2803240" y="1928023"/>
                  </a:moveTo>
                  <a:lnTo>
                    <a:pt x="2808704" y="1928023"/>
                  </a:lnTo>
                  <a:lnTo>
                    <a:pt x="2815990" y="1951703"/>
                  </a:lnTo>
                  <a:lnTo>
                    <a:pt x="2808704" y="1946239"/>
                  </a:lnTo>
                  <a:lnTo>
                    <a:pt x="2797775" y="1929845"/>
                  </a:lnTo>
                  <a:close/>
                  <a:moveTo>
                    <a:pt x="2763168" y="1756806"/>
                  </a:moveTo>
                  <a:lnTo>
                    <a:pt x="2768632" y="1767735"/>
                  </a:lnTo>
                  <a:lnTo>
                    <a:pt x="2737666" y="1793235"/>
                  </a:lnTo>
                  <a:lnTo>
                    <a:pt x="2748595" y="1767735"/>
                  </a:lnTo>
                  <a:lnTo>
                    <a:pt x="2746774" y="1767735"/>
                  </a:lnTo>
                  <a:close/>
                  <a:moveTo>
                    <a:pt x="3329642" y="1527301"/>
                  </a:moveTo>
                  <a:lnTo>
                    <a:pt x="3351500" y="1536409"/>
                  </a:lnTo>
                  <a:lnTo>
                    <a:pt x="3364250" y="1532766"/>
                  </a:lnTo>
                  <a:lnTo>
                    <a:pt x="3367893" y="1532766"/>
                  </a:lnTo>
                  <a:lnTo>
                    <a:pt x="3386108" y="1549159"/>
                  </a:lnTo>
                  <a:lnTo>
                    <a:pt x="3398858" y="1552802"/>
                  </a:lnTo>
                  <a:lnTo>
                    <a:pt x="3398858" y="1558266"/>
                  </a:lnTo>
                  <a:lnTo>
                    <a:pt x="3378822" y="1569195"/>
                  </a:lnTo>
                  <a:lnTo>
                    <a:pt x="3325999" y="1543694"/>
                  </a:lnTo>
                  <a:close/>
                  <a:moveTo>
                    <a:pt x="25500" y="1184865"/>
                  </a:moveTo>
                  <a:lnTo>
                    <a:pt x="51001" y="1212187"/>
                  </a:lnTo>
                  <a:lnTo>
                    <a:pt x="20036" y="1239509"/>
                  </a:lnTo>
                  <a:lnTo>
                    <a:pt x="3643" y="1228580"/>
                  </a:lnTo>
                  <a:lnTo>
                    <a:pt x="3643" y="1239509"/>
                  </a:lnTo>
                  <a:lnTo>
                    <a:pt x="0" y="1228580"/>
                  </a:lnTo>
                  <a:lnTo>
                    <a:pt x="0" y="1206723"/>
                  </a:lnTo>
                  <a:lnTo>
                    <a:pt x="10929" y="1188508"/>
                  </a:lnTo>
                  <a:close/>
                  <a:moveTo>
                    <a:pt x="2852419" y="1150257"/>
                  </a:moveTo>
                  <a:lnTo>
                    <a:pt x="2881562" y="1163007"/>
                  </a:lnTo>
                  <a:lnTo>
                    <a:pt x="2877919" y="1179400"/>
                  </a:lnTo>
                  <a:lnTo>
                    <a:pt x="2861526" y="1177579"/>
                  </a:lnTo>
                  <a:lnTo>
                    <a:pt x="2846954" y="1155721"/>
                  </a:lnTo>
                  <a:close/>
                  <a:moveTo>
                    <a:pt x="256828" y="1117471"/>
                  </a:moveTo>
                  <a:lnTo>
                    <a:pt x="295079" y="1166651"/>
                  </a:lnTo>
                  <a:lnTo>
                    <a:pt x="278686" y="1172115"/>
                  </a:lnTo>
                  <a:lnTo>
                    <a:pt x="256828" y="1155722"/>
                  </a:lnTo>
                  <a:lnTo>
                    <a:pt x="260471" y="1163008"/>
                  </a:lnTo>
                  <a:lnTo>
                    <a:pt x="245899" y="1135686"/>
                  </a:lnTo>
                  <a:lnTo>
                    <a:pt x="255007" y="1135686"/>
                  </a:lnTo>
                  <a:lnTo>
                    <a:pt x="249542" y="1130221"/>
                  </a:lnTo>
                  <a:close/>
                  <a:moveTo>
                    <a:pt x="98361" y="1057362"/>
                  </a:moveTo>
                  <a:lnTo>
                    <a:pt x="114755" y="1057362"/>
                  </a:lnTo>
                  <a:lnTo>
                    <a:pt x="118398" y="1062827"/>
                  </a:lnTo>
                  <a:lnTo>
                    <a:pt x="118398" y="1084685"/>
                  </a:lnTo>
                  <a:close/>
                  <a:moveTo>
                    <a:pt x="3156602" y="1035504"/>
                  </a:moveTo>
                  <a:lnTo>
                    <a:pt x="3191210" y="1057362"/>
                  </a:lnTo>
                  <a:lnTo>
                    <a:pt x="3185746" y="1071933"/>
                  </a:lnTo>
                  <a:lnTo>
                    <a:pt x="3156602" y="1084684"/>
                  </a:lnTo>
                  <a:lnTo>
                    <a:pt x="3132923" y="1079219"/>
                  </a:lnTo>
                  <a:lnTo>
                    <a:pt x="3105601" y="1090148"/>
                  </a:lnTo>
                  <a:lnTo>
                    <a:pt x="3100137" y="1077398"/>
                  </a:lnTo>
                  <a:lnTo>
                    <a:pt x="3129280" y="1039147"/>
                  </a:lnTo>
                  <a:lnTo>
                    <a:pt x="3138388" y="1039147"/>
                  </a:lnTo>
                  <a:close/>
                  <a:moveTo>
                    <a:pt x="2111081" y="1031862"/>
                  </a:moveTo>
                  <a:lnTo>
                    <a:pt x="2132939" y="1035505"/>
                  </a:lnTo>
                  <a:lnTo>
                    <a:pt x="2122010" y="1044613"/>
                  </a:lnTo>
                  <a:lnTo>
                    <a:pt x="2105616" y="1035505"/>
                  </a:lnTo>
                  <a:close/>
                  <a:moveTo>
                    <a:pt x="2152976" y="1028219"/>
                  </a:moveTo>
                  <a:lnTo>
                    <a:pt x="2158440" y="1040970"/>
                  </a:lnTo>
                  <a:lnTo>
                    <a:pt x="2138404" y="1051899"/>
                  </a:lnTo>
                  <a:lnTo>
                    <a:pt x="2132939" y="1051899"/>
                  </a:lnTo>
                  <a:lnTo>
                    <a:pt x="2138404" y="1039148"/>
                  </a:lnTo>
                  <a:close/>
                  <a:moveTo>
                    <a:pt x="2165725" y="962646"/>
                  </a:moveTo>
                  <a:lnTo>
                    <a:pt x="2194868" y="962646"/>
                  </a:lnTo>
                  <a:lnTo>
                    <a:pt x="2189404" y="979040"/>
                  </a:lnTo>
                  <a:lnTo>
                    <a:pt x="2158439" y="979040"/>
                  </a:lnTo>
                  <a:close/>
                  <a:moveTo>
                    <a:pt x="2203976" y="849715"/>
                  </a:moveTo>
                  <a:lnTo>
                    <a:pt x="2216726" y="849715"/>
                  </a:lnTo>
                  <a:lnTo>
                    <a:pt x="2244048" y="855180"/>
                  </a:lnTo>
                  <a:lnTo>
                    <a:pt x="2265906" y="878859"/>
                  </a:lnTo>
                  <a:lnTo>
                    <a:pt x="2267727" y="906181"/>
                  </a:lnTo>
                  <a:lnTo>
                    <a:pt x="2178476" y="893431"/>
                  </a:lnTo>
                  <a:lnTo>
                    <a:pt x="2176654" y="887966"/>
                  </a:lnTo>
                  <a:lnTo>
                    <a:pt x="2193047" y="882502"/>
                  </a:lnTo>
                  <a:close/>
                  <a:moveTo>
                    <a:pt x="2076473" y="820571"/>
                  </a:moveTo>
                  <a:lnTo>
                    <a:pt x="2091046" y="833321"/>
                  </a:lnTo>
                  <a:lnTo>
                    <a:pt x="2096510" y="844250"/>
                  </a:lnTo>
                  <a:lnTo>
                    <a:pt x="2091046" y="849714"/>
                  </a:lnTo>
                  <a:close/>
                  <a:moveTo>
                    <a:pt x="2194869" y="815107"/>
                  </a:moveTo>
                  <a:lnTo>
                    <a:pt x="2205798" y="827857"/>
                  </a:lnTo>
                  <a:lnTo>
                    <a:pt x="2194869" y="849715"/>
                  </a:lnTo>
                  <a:lnTo>
                    <a:pt x="2187583" y="844251"/>
                  </a:lnTo>
                  <a:lnTo>
                    <a:pt x="2187583" y="826036"/>
                  </a:lnTo>
                  <a:close/>
                  <a:moveTo>
                    <a:pt x="2333300" y="698534"/>
                  </a:moveTo>
                  <a:lnTo>
                    <a:pt x="2387944" y="714927"/>
                  </a:lnTo>
                  <a:lnTo>
                    <a:pt x="2378837" y="727678"/>
                  </a:lnTo>
                  <a:lnTo>
                    <a:pt x="2449874" y="742249"/>
                  </a:lnTo>
                  <a:lnTo>
                    <a:pt x="2438945" y="765929"/>
                  </a:lnTo>
                  <a:lnTo>
                    <a:pt x="2400695" y="775036"/>
                  </a:lnTo>
                  <a:lnTo>
                    <a:pt x="2351515" y="744071"/>
                  </a:lnTo>
                  <a:close/>
                  <a:moveTo>
                    <a:pt x="2076474" y="671211"/>
                  </a:moveTo>
                  <a:lnTo>
                    <a:pt x="2087403" y="693069"/>
                  </a:lnTo>
                  <a:lnTo>
                    <a:pt x="2085582" y="698533"/>
                  </a:lnTo>
                  <a:lnTo>
                    <a:pt x="2081939" y="720391"/>
                  </a:lnTo>
                  <a:lnTo>
                    <a:pt x="2074652" y="709462"/>
                  </a:lnTo>
                  <a:close/>
                  <a:moveTo>
                    <a:pt x="2216726" y="642068"/>
                  </a:moveTo>
                  <a:lnTo>
                    <a:pt x="2315085" y="707641"/>
                  </a:lnTo>
                  <a:lnTo>
                    <a:pt x="2295049" y="709463"/>
                  </a:lnTo>
                  <a:lnTo>
                    <a:pt x="2298692" y="725856"/>
                  </a:lnTo>
                  <a:lnTo>
                    <a:pt x="2287763" y="742249"/>
                  </a:lnTo>
                  <a:lnTo>
                    <a:pt x="2254977" y="742249"/>
                  </a:lnTo>
                  <a:lnTo>
                    <a:pt x="2238584" y="713106"/>
                  </a:lnTo>
                  <a:lnTo>
                    <a:pt x="2247691" y="676676"/>
                  </a:lnTo>
                  <a:close/>
                  <a:moveTo>
                    <a:pt x="2158439" y="634782"/>
                  </a:moveTo>
                  <a:lnTo>
                    <a:pt x="2182119" y="671211"/>
                  </a:lnTo>
                  <a:lnTo>
                    <a:pt x="2193047" y="674854"/>
                  </a:lnTo>
                  <a:lnTo>
                    <a:pt x="2189404" y="693069"/>
                  </a:lnTo>
                  <a:lnTo>
                    <a:pt x="2200333" y="696712"/>
                  </a:lnTo>
                  <a:lnTo>
                    <a:pt x="2205798" y="680319"/>
                  </a:lnTo>
                  <a:lnTo>
                    <a:pt x="2200333" y="654818"/>
                  </a:lnTo>
                  <a:lnTo>
                    <a:pt x="2220369" y="654818"/>
                  </a:lnTo>
                  <a:lnTo>
                    <a:pt x="2242227" y="685783"/>
                  </a:lnTo>
                  <a:lnTo>
                    <a:pt x="2236763" y="713105"/>
                  </a:lnTo>
                  <a:lnTo>
                    <a:pt x="2238584" y="733141"/>
                  </a:lnTo>
                  <a:lnTo>
                    <a:pt x="2262263" y="754999"/>
                  </a:lnTo>
                  <a:lnTo>
                    <a:pt x="2236763" y="765927"/>
                  </a:lnTo>
                  <a:lnTo>
                    <a:pt x="2225834" y="744070"/>
                  </a:lnTo>
                  <a:lnTo>
                    <a:pt x="2178476" y="769570"/>
                  </a:lnTo>
                  <a:lnTo>
                    <a:pt x="2176654" y="765927"/>
                  </a:lnTo>
                  <a:lnTo>
                    <a:pt x="2182119" y="764106"/>
                  </a:lnTo>
                  <a:lnTo>
                    <a:pt x="2176654" y="744070"/>
                  </a:lnTo>
                  <a:lnTo>
                    <a:pt x="2169368" y="749534"/>
                  </a:lnTo>
                  <a:lnTo>
                    <a:pt x="2169368" y="758641"/>
                  </a:lnTo>
                  <a:lnTo>
                    <a:pt x="2171190" y="758641"/>
                  </a:lnTo>
                  <a:lnTo>
                    <a:pt x="2165725" y="776856"/>
                  </a:lnTo>
                  <a:lnTo>
                    <a:pt x="2132939" y="765927"/>
                  </a:lnTo>
                  <a:lnTo>
                    <a:pt x="2103795" y="720391"/>
                  </a:lnTo>
                  <a:lnTo>
                    <a:pt x="2120188" y="718569"/>
                  </a:lnTo>
                  <a:lnTo>
                    <a:pt x="2109260" y="696712"/>
                  </a:lnTo>
                  <a:lnTo>
                    <a:pt x="2122010" y="676676"/>
                  </a:lnTo>
                  <a:lnTo>
                    <a:pt x="2116546" y="660283"/>
                  </a:lnTo>
                  <a:close/>
                  <a:moveTo>
                    <a:pt x="457189" y="561923"/>
                  </a:moveTo>
                  <a:lnTo>
                    <a:pt x="480868" y="563745"/>
                  </a:lnTo>
                  <a:lnTo>
                    <a:pt x="495440" y="592888"/>
                  </a:lnTo>
                  <a:lnTo>
                    <a:pt x="491797" y="609281"/>
                  </a:lnTo>
                  <a:lnTo>
                    <a:pt x="495440" y="609281"/>
                  </a:lnTo>
                  <a:lnTo>
                    <a:pt x="480868" y="642068"/>
                  </a:lnTo>
                  <a:lnTo>
                    <a:pt x="373402" y="696712"/>
                  </a:lnTo>
                  <a:lnTo>
                    <a:pt x="367938" y="685783"/>
                  </a:lnTo>
                  <a:lnTo>
                    <a:pt x="313293" y="744070"/>
                  </a:lnTo>
                  <a:lnTo>
                    <a:pt x="291436" y="744070"/>
                  </a:lnTo>
                  <a:lnTo>
                    <a:pt x="289614" y="753178"/>
                  </a:lnTo>
                  <a:lnTo>
                    <a:pt x="300543" y="760463"/>
                  </a:lnTo>
                  <a:lnTo>
                    <a:pt x="285971" y="782321"/>
                  </a:lnTo>
                  <a:lnTo>
                    <a:pt x="267757" y="776857"/>
                  </a:lnTo>
                  <a:lnTo>
                    <a:pt x="278686" y="796893"/>
                  </a:lnTo>
                  <a:lnTo>
                    <a:pt x="256828" y="785964"/>
                  </a:lnTo>
                  <a:lnTo>
                    <a:pt x="262292" y="798714"/>
                  </a:lnTo>
                  <a:lnTo>
                    <a:pt x="255007" y="806000"/>
                  </a:lnTo>
                  <a:lnTo>
                    <a:pt x="240435" y="793250"/>
                  </a:lnTo>
                  <a:lnTo>
                    <a:pt x="251364" y="822393"/>
                  </a:lnTo>
                  <a:lnTo>
                    <a:pt x="238613" y="844251"/>
                  </a:lnTo>
                  <a:lnTo>
                    <a:pt x="222220" y="822393"/>
                  </a:lnTo>
                  <a:lnTo>
                    <a:pt x="216756" y="838787"/>
                  </a:lnTo>
                  <a:lnTo>
                    <a:pt x="229506" y="849715"/>
                  </a:lnTo>
                  <a:lnTo>
                    <a:pt x="229506" y="864287"/>
                  </a:lnTo>
                  <a:lnTo>
                    <a:pt x="205827" y="855180"/>
                  </a:lnTo>
                  <a:lnTo>
                    <a:pt x="222220" y="875216"/>
                  </a:lnTo>
                  <a:lnTo>
                    <a:pt x="205827" y="869752"/>
                  </a:lnTo>
                  <a:lnTo>
                    <a:pt x="213113" y="889788"/>
                  </a:lnTo>
                  <a:lnTo>
                    <a:pt x="202184" y="906181"/>
                  </a:lnTo>
                  <a:lnTo>
                    <a:pt x="165755" y="889788"/>
                  </a:lnTo>
                  <a:lnTo>
                    <a:pt x="159931" y="891244"/>
                  </a:lnTo>
                  <a:lnTo>
                    <a:pt x="163058" y="890540"/>
                  </a:lnTo>
                  <a:lnTo>
                    <a:pt x="194774" y="908790"/>
                  </a:lnTo>
                  <a:lnTo>
                    <a:pt x="175867" y="928835"/>
                  </a:lnTo>
                  <a:lnTo>
                    <a:pt x="190809" y="924946"/>
                  </a:lnTo>
                  <a:lnTo>
                    <a:pt x="190809" y="934819"/>
                  </a:lnTo>
                  <a:lnTo>
                    <a:pt x="174342" y="944692"/>
                  </a:lnTo>
                  <a:lnTo>
                    <a:pt x="182271" y="947086"/>
                  </a:lnTo>
                  <a:lnTo>
                    <a:pt x="170377" y="968926"/>
                  </a:lnTo>
                  <a:lnTo>
                    <a:pt x="170377" y="1006922"/>
                  </a:lnTo>
                  <a:lnTo>
                    <a:pt x="186845" y="1059578"/>
                  </a:lnTo>
                  <a:lnTo>
                    <a:pt x="222220" y="1095779"/>
                  </a:lnTo>
                  <a:lnTo>
                    <a:pt x="207277" y="1101763"/>
                  </a:lnTo>
                  <a:lnTo>
                    <a:pt x="214901" y="1106550"/>
                  </a:lnTo>
                  <a:lnTo>
                    <a:pt x="210937" y="1110140"/>
                  </a:lnTo>
                  <a:lnTo>
                    <a:pt x="200263" y="1092488"/>
                  </a:lnTo>
                  <a:lnTo>
                    <a:pt x="190809" y="1097275"/>
                  </a:lnTo>
                  <a:lnTo>
                    <a:pt x="194469" y="1106550"/>
                  </a:lnTo>
                  <a:lnTo>
                    <a:pt x="170377" y="1097275"/>
                  </a:lnTo>
                  <a:lnTo>
                    <a:pt x="162753" y="1108046"/>
                  </a:lnTo>
                  <a:lnTo>
                    <a:pt x="151775" y="1095480"/>
                  </a:lnTo>
                  <a:lnTo>
                    <a:pt x="159399" y="1091890"/>
                  </a:lnTo>
                  <a:lnTo>
                    <a:pt x="129513" y="1089497"/>
                  </a:lnTo>
                  <a:lnTo>
                    <a:pt x="126158" y="1073640"/>
                  </a:lnTo>
                  <a:lnTo>
                    <a:pt x="143236" y="1067955"/>
                  </a:lnTo>
                  <a:lnTo>
                    <a:pt x="126158" y="1057185"/>
                  </a:lnTo>
                  <a:lnTo>
                    <a:pt x="135612" y="1040730"/>
                  </a:lnTo>
                  <a:lnTo>
                    <a:pt x="120973" y="1053595"/>
                  </a:lnTo>
                  <a:lnTo>
                    <a:pt x="120669" y="1035943"/>
                  </a:lnTo>
                  <a:lnTo>
                    <a:pt x="79804" y="1031754"/>
                  </a:lnTo>
                  <a:lnTo>
                    <a:pt x="74620" y="1019488"/>
                  </a:lnTo>
                  <a:lnTo>
                    <a:pt x="78279" y="997647"/>
                  </a:lnTo>
                  <a:lnTo>
                    <a:pt x="97187" y="1001238"/>
                  </a:lnTo>
                  <a:lnTo>
                    <a:pt x="113350" y="954565"/>
                  </a:lnTo>
                  <a:lnTo>
                    <a:pt x="107555" y="959352"/>
                  </a:lnTo>
                  <a:lnTo>
                    <a:pt x="100236" y="939905"/>
                  </a:lnTo>
                  <a:lnTo>
                    <a:pt x="120059" y="928835"/>
                  </a:lnTo>
                  <a:lnTo>
                    <a:pt x="114874" y="925245"/>
                  </a:lnTo>
                  <a:lnTo>
                    <a:pt x="119144" y="923450"/>
                  </a:lnTo>
                  <a:lnTo>
                    <a:pt x="115179" y="912081"/>
                  </a:lnTo>
                  <a:lnTo>
                    <a:pt x="129818" y="898020"/>
                  </a:lnTo>
                  <a:lnTo>
                    <a:pt x="144258" y="894770"/>
                  </a:lnTo>
                  <a:lnTo>
                    <a:pt x="165755" y="866109"/>
                  </a:lnTo>
                  <a:lnTo>
                    <a:pt x="138433" y="875216"/>
                  </a:lnTo>
                  <a:lnTo>
                    <a:pt x="129325" y="860644"/>
                  </a:lnTo>
                  <a:lnTo>
                    <a:pt x="165755" y="827858"/>
                  </a:lnTo>
                  <a:lnTo>
                    <a:pt x="189434" y="838787"/>
                  </a:lnTo>
                  <a:lnTo>
                    <a:pt x="165755" y="822393"/>
                  </a:lnTo>
                  <a:lnTo>
                    <a:pt x="178505" y="816929"/>
                  </a:lnTo>
                  <a:lnTo>
                    <a:pt x="167576" y="806000"/>
                  </a:lnTo>
                  <a:lnTo>
                    <a:pt x="187612" y="804179"/>
                  </a:lnTo>
                  <a:lnTo>
                    <a:pt x="176683" y="785964"/>
                  </a:lnTo>
                  <a:lnTo>
                    <a:pt x="202184" y="782321"/>
                  </a:lnTo>
                  <a:lnTo>
                    <a:pt x="178505" y="776857"/>
                  </a:lnTo>
                  <a:lnTo>
                    <a:pt x="183969" y="758642"/>
                  </a:lnTo>
                  <a:lnTo>
                    <a:pt x="176683" y="758642"/>
                  </a:lnTo>
                  <a:lnTo>
                    <a:pt x="173040" y="749535"/>
                  </a:lnTo>
                  <a:lnTo>
                    <a:pt x="176683" y="736784"/>
                  </a:lnTo>
                  <a:lnTo>
                    <a:pt x="189434" y="747713"/>
                  </a:lnTo>
                  <a:lnTo>
                    <a:pt x="222220" y="725855"/>
                  </a:lnTo>
                  <a:lnTo>
                    <a:pt x="251364" y="676676"/>
                  </a:lnTo>
                  <a:lnTo>
                    <a:pt x="291436" y="645711"/>
                  </a:lnTo>
                  <a:lnTo>
                    <a:pt x="296900" y="647532"/>
                  </a:lnTo>
                  <a:lnTo>
                    <a:pt x="289614" y="660282"/>
                  </a:lnTo>
                  <a:lnTo>
                    <a:pt x="306008" y="652997"/>
                  </a:lnTo>
                  <a:lnTo>
                    <a:pt x="306008" y="629317"/>
                  </a:lnTo>
                  <a:lnTo>
                    <a:pt x="338794" y="642068"/>
                  </a:lnTo>
                  <a:lnTo>
                    <a:pt x="384331" y="625675"/>
                  </a:lnTo>
                  <a:close/>
                  <a:moveTo>
                    <a:pt x="1301439" y="254094"/>
                  </a:moveTo>
                  <a:lnTo>
                    <a:pt x="1317832" y="267755"/>
                  </a:lnTo>
                  <a:lnTo>
                    <a:pt x="1315100" y="303274"/>
                  </a:lnTo>
                  <a:lnTo>
                    <a:pt x="1334225" y="292345"/>
                  </a:lnTo>
                  <a:lnTo>
                    <a:pt x="1364280" y="330596"/>
                  </a:lnTo>
                  <a:lnTo>
                    <a:pt x="1377940" y="371579"/>
                  </a:lnTo>
                  <a:lnTo>
                    <a:pt x="1358816" y="398901"/>
                  </a:lnTo>
                  <a:lnTo>
                    <a:pt x="1296887" y="415415"/>
                  </a:lnTo>
                  <a:lnTo>
                    <a:pt x="1296887" y="418027"/>
                  </a:lnTo>
                  <a:lnTo>
                    <a:pt x="1293244" y="418027"/>
                  </a:lnTo>
                  <a:lnTo>
                    <a:pt x="1258637" y="425313"/>
                  </a:lnTo>
                  <a:lnTo>
                    <a:pt x="1231314" y="452636"/>
                  </a:lnTo>
                  <a:lnTo>
                    <a:pt x="1214920" y="441707"/>
                  </a:lnTo>
                  <a:lnTo>
                    <a:pt x="1224028" y="414384"/>
                  </a:lnTo>
                  <a:lnTo>
                    <a:pt x="1229381" y="414384"/>
                  </a:lnTo>
                  <a:cubicBezTo>
                    <a:pt x="1235052" y="397333"/>
                    <a:pt x="1248615" y="371968"/>
                    <a:pt x="1244063" y="366114"/>
                  </a:cubicBezTo>
                  <a:lnTo>
                    <a:pt x="1260456" y="333328"/>
                  </a:lnTo>
                  <a:lnTo>
                    <a:pt x="1279581" y="275952"/>
                  </a:lnTo>
                  <a:close/>
                  <a:moveTo>
                    <a:pt x="1186686" y="158467"/>
                  </a:moveTo>
                  <a:lnTo>
                    <a:pt x="1203079" y="185790"/>
                  </a:lnTo>
                  <a:lnTo>
                    <a:pt x="1219473" y="174861"/>
                  </a:lnTo>
                  <a:lnTo>
                    <a:pt x="1246794" y="213111"/>
                  </a:lnTo>
                  <a:lnTo>
                    <a:pt x="1235865" y="289613"/>
                  </a:lnTo>
                  <a:lnTo>
                    <a:pt x="1252259" y="322399"/>
                  </a:lnTo>
                  <a:lnTo>
                    <a:pt x="1216741" y="341525"/>
                  </a:lnTo>
                  <a:lnTo>
                    <a:pt x="1189418" y="338793"/>
                  </a:lnTo>
                  <a:lnTo>
                    <a:pt x="1153900" y="314203"/>
                  </a:lnTo>
                  <a:lnTo>
                    <a:pt x="1115649" y="300542"/>
                  </a:lnTo>
                  <a:lnTo>
                    <a:pt x="1091059" y="248631"/>
                  </a:lnTo>
                  <a:lnTo>
                    <a:pt x="1115649" y="174861"/>
                  </a:lnTo>
                  <a:close/>
                  <a:moveTo>
                    <a:pt x="1151168" y="0"/>
                  </a:moveTo>
                  <a:lnTo>
                    <a:pt x="1164829" y="51912"/>
                  </a:lnTo>
                  <a:lnTo>
                    <a:pt x="1194883" y="65573"/>
                  </a:lnTo>
                  <a:lnTo>
                    <a:pt x="1197615" y="92894"/>
                  </a:lnTo>
                  <a:lnTo>
                    <a:pt x="1170293" y="98359"/>
                  </a:lnTo>
                  <a:lnTo>
                    <a:pt x="1186686" y="147538"/>
                  </a:lnTo>
                  <a:cubicBezTo>
                    <a:pt x="1170293" y="153003"/>
                    <a:pt x="1148436" y="150270"/>
                    <a:pt x="1132043" y="155735"/>
                  </a:cubicBezTo>
                  <a:lnTo>
                    <a:pt x="1096524" y="180325"/>
                  </a:lnTo>
                  <a:lnTo>
                    <a:pt x="1039147" y="147538"/>
                  </a:lnTo>
                  <a:lnTo>
                    <a:pt x="1082862" y="76502"/>
                  </a:lnTo>
                  <a:lnTo>
                    <a:pt x="1071934" y="57376"/>
                  </a:lnTo>
                  <a:lnTo>
                    <a:pt x="1134774" y="5464"/>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9" name="Russia - Mainland">
              <a:extLst>
                <a:ext uri="{FF2B5EF4-FFF2-40B4-BE49-F238E27FC236}">
                  <a16:creationId xmlns:a16="http://schemas.microsoft.com/office/drawing/2014/main" id="{3521A76F-0291-A7E9-1332-CE751E70F46B}"/>
                </a:ext>
              </a:extLst>
            </p:cNvPr>
            <p:cNvSpPr>
              <a:spLocks noEditPoints="1"/>
            </p:cNvSpPr>
            <p:nvPr/>
          </p:nvSpPr>
          <p:spPr bwMode="auto">
            <a:xfrm>
              <a:off x="6465544" y="1584069"/>
              <a:ext cx="3854463" cy="1935364"/>
            </a:xfrm>
            <a:custGeom>
              <a:avLst/>
              <a:gdLst>
                <a:gd name="T0" fmla="*/ 1071 w 2133"/>
                <a:gd name="T1" fmla="*/ 56 h 1071"/>
                <a:gd name="T2" fmla="*/ 1107 w 2133"/>
                <a:gd name="T3" fmla="*/ 161 h 1071"/>
                <a:gd name="T4" fmla="*/ 1089 w 2133"/>
                <a:gd name="T5" fmla="*/ 210 h 1071"/>
                <a:gd name="T6" fmla="*/ 1128 w 2133"/>
                <a:gd name="T7" fmla="*/ 235 h 1071"/>
                <a:gd name="T8" fmla="*/ 1304 w 2133"/>
                <a:gd name="T9" fmla="*/ 219 h 1071"/>
                <a:gd name="T10" fmla="*/ 1406 w 2133"/>
                <a:gd name="T11" fmla="*/ 315 h 1071"/>
                <a:gd name="T12" fmla="*/ 1593 w 2133"/>
                <a:gd name="T13" fmla="*/ 302 h 1071"/>
                <a:gd name="T14" fmla="*/ 1801 w 2133"/>
                <a:gd name="T15" fmla="*/ 384 h 1071"/>
                <a:gd name="T16" fmla="*/ 1996 w 2133"/>
                <a:gd name="T17" fmla="*/ 407 h 1071"/>
                <a:gd name="T18" fmla="*/ 2054 w 2133"/>
                <a:gd name="T19" fmla="*/ 450 h 1071"/>
                <a:gd name="T20" fmla="*/ 2093 w 2133"/>
                <a:gd name="T21" fmla="*/ 475 h 1071"/>
                <a:gd name="T22" fmla="*/ 2093 w 2133"/>
                <a:gd name="T23" fmla="*/ 548 h 1071"/>
                <a:gd name="T24" fmla="*/ 2050 w 2133"/>
                <a:gd name="T25" fmla="*/ 539 h 1071"/>
                <a:gd name="T26" fmla="*/ 1978 w 2133"/>
                <a:gd name="T27" fmla="*/ 554 h 1071"/>
                <a:gd name="T28" fmla="*/ 1965 w 2133"/>
                <a:gd name="T29" fmla="*/ 609 h 1071"/>
                <a:gd name="T30" fmla="*/ 1870 w 2133"/>
                <a:gd name="T31" fmla="*/ 683 h 1071"/>
                <a:gd name="T32" fmla="*/ 1763 w 2133"/>
                <a:gd name="T33" fmla="*/ 738 h 1071"/>
                <a:gd name="T34" fmla="*/ 1756 w 2133"/>
                <a:gd name="T35" fmla="*/ 815 h 1071"/>
                <a:gd name="T36" fmla="*/ 1715 w 2133"/>
                <a:gd name="T37" fmla="*/ 729 h 1071"/>
                <a:gd name="T38" fmla="*/ 1778 w 2133"/>
                <a:gd name="T39" fmla="*/ 637 h 1071"/>
                <a:gd name="T40" fmla="*/ 1660 w 2133"/>
                <a:gd name="T41" fmla="*/ 686 h 1071"/>
                <a:gd name="T42" fmla="*/ 1590 w 2133"/>
                <a:gd name="T43" fmla="*/ 696 h 1071"/>
                <a:gd name="T44" fmla="*/ 1433 w 2133"/>
                <a:gd name="T45" fmla="*/ 811 h 1071"/>
                <a:gd name="T46" fmla="*/ 1491 w 2133"/>
                <a:gd name="T47" fmla="*/ 855 h 1071"/>
                <a:gd name="T48" fmla="*/ 1360 w 2133"/>
                <a:gd name="T49" fmla="*/ 1051 h 1071"/>
                <a:gd name="T50" fmla="*/ 1353 w 2133"/>
                <a:gd name="T51" fmla="*/ 940 h 1071"/>
                <a:gd name="T52" fmla="*/ 1184 w 2133"/>
                <a:gd name="T53" fmla="*/ 919 h 1071"/>
                <a:gd name="T54" fmla="*/ 923 w 2133"/>
                <a:gd name="T55" fmla="*/ 910 h 1071"/>
                <a:gd name="T56" fmla="*/ 754 w 2133"/>
                <a:gd name="T57" fmla="*/ 907 h 1071"/>
                <a:gd name="T58" fmla="*/ 650 w 2133"/>
                <a:gd name="T59" fmla="*/ 818 h 1071"/>
                <a:gd name="T60" fmla="*/ 592 w 2133"/>
                <a:gd name="T61" fmla="*/ 825 h 1071"/>
                <a:gd name="T62" fmla="*/ 548 w 2133"/>
                <a:gd name="T63" fmla="*/ 793 h 1071"/>
                <a:gd name="T64" fmla="*/ 447 w 2133"/>
                <a:gd name="T65" fmla="*/ 827 h 1071"/>
                <a:gd name="T66" fmla="*/ 435 w 2133"/>
                <a:gd name="T67" fmla="*/ 870 h 1071"/>
                <a:gd name="T68" fmla="*/ 398 w 2133"/>
                <a:gd name="T69" fmla="*/ 891 h 1071"/>
                <a:gd name="T70" fmla="*/ 323 w 2133"/>
                <a:gd name="T71" fmla="*/ 879 h 1071"/>
                <a:gd name="T72" fmla="*/ 263 w 2133"/>
                <a:gd name="T73" fmla="*/ 925 h 1071"/>
                <a:gd name="T74" fmla="*/ 271 w 2133"/>
                <a:gd name="T75" fmla="*/ 983 h 1071"/>
                <a:gd name="T76" fmla="*/ 243 w 2133"/>
                <a:gd name="T77" fmla="*/ 1055 h 1071"/>
                <a:gd name="T78" fmla="*/ 142 w 2133"/>
                <a:gd name="T79" fmla="*/ 986 h 1071"/>
                <a:gd name="T80" fmla="*/ 166 w 2133"/>
                <a:gd name="T81" fmla="*/ 934 h 1071"/>
                <a:gd name="T82" fmla="*/ 102 w 2133"/>
                <a:gd name="T83" fmla="*/ 885 h 1071"/>
                <a:gd name="T84" fmla="*/ 75 w 2133"/>
                <a:gd name="T85" fmla="*/ 833 h 1071"/>
                <a:gd name="T86" fmla="*/ 11 w 2133"/>
                <a:gd name="T87" fmla="*/ 759 h 1071"/>
                <a:gd name="T88" fmla="*/ 16 w 2133"/>
                <a:gd name="T89" fmla="*/ 665 h 1071"/>
                <a:gd name="T90" fmla="*/ 29 w 2133"/>
                <a:gd name="T91" fmla="*/ 437 h 1071"/>
                <a:gd name="T92" fmla="*/ 77 w 2133"/>
                <a:gd name="T93" fmla="*/ 385 h 1071"/>
                <a:gd name="T94" fmla="*/ 94 w 2133"/>
                <a:gd name="T95" fmla="*/ 486 h 1071"/>
                <a:gd name="T96" fmla="*/ 124 w 2133"/>
                <a:gd name="T97" fmla="*/ 550 h 1071"/>
                <a:gd name="T98" fmla="*/ 219 w 2133"/>
                <a:gd name="T99" fmla="*/ 504 h 1071"/>
                <a:gd name="T100" fmla="*/ 320 w 2133"/>
                <a:gd name="T101" fmla="*/ 425 h 1071"/>
                <a:gd name="T102" fmla="*/ 352 w 2133"/>
                <a:gd name="T103" fmla="*/ 430 h 1071"/>
                <a:gd name="T104" fmla="*/ 538 w 2133"/>
                <a:gd name="T105" fmla="*/ 432 h 1071"/>
                <a:gd name="T106" fmla="*/ 552 w 2133"/>
                <a:gd name="T107" fmla="*/ 247 h 1071"/>
                <a:gd name="T108" fmla="*/ 587 w 2133"/>
                <a:gd name="T109" fmla="*/ 477 h 1071"/>
                <a:gd name="T110" fmla="*/ 655 w 2133"/>
                <a:gd name="T111" fmla="*/ 431 h 1071"/>
                <a:gd name="T112" fmla="*/ 625 w 2133"/>
                <a:gd name="T113" fmla="*/ 277 h 1071"/>
                <a:gd name="T114" fmla="*/ 658 w 2133"/>
                <a:gd name="T115" fmla="*/ 320 h 1071"/>
                <a:gd name="T116" fmla="*/ 721 w 2133"/>
                <a:gd name="T117" fmla="*/ 358 h 1071"/>
                <a:gd name="T118" fmla="*/ 698 w 2133"/>
                <a:gd name="T119" fmla="*/ 234 h 1071"/>
                <a:gd name="T120" fmla="*/ 794 w 2133"/>
                <a:gd name="T121" fmla="*/ 145 h 1071"/>
                <a:gd name="T122" fmla="*/ 933 w 2133"/>
                <a:gd name="T123" fmla="*/ 84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33" h="1071">
                  <a:moveTo>
                    <a:pt x="1117" y="111"/>
                  </a:moveTo>
                  <a:lnTo>
                    <a:pt x="1122" y="120"/>
                  </a:lnTo>
                  <a:lnTo>
                    <a:pt x="1126" y="121"/>
                  </a:lnTo>
                  <a:lnTo>
                    <a:pt x="1117" y="111"/>
                  </a:lnTo>
                  <a:close/>
                  <a:moveTo>
                    <a:pt x="1005" y="0"/>
                  </a:moveTo>
                  <a:lnTo>
                    <a:pt x="1006" y="0"/>
                  </a:lnTo>
                  <a:lnTo>
                    <a:pt x="1027" y="10"/>
                  </a:lnTo>
                  <a:lnTo>
                    <a:pt x="1031" y="23"/>
                  </a:lnTo>
                  <a:lnTo>
                    <a:pt x="1013" y="41"/>
                  </a:lnTo>
                  <a:lnTo>
                    <a:pt x="1027" y="34"/>
                  </a:lnTo>
                  <a:lnTo>
                    <a:pt x="1027" y="40"/>
                  </a:lnTo>
                  <a:lnTo>
                    <a:pt x="1046" y="43"/>
                  </a:lnTo>
                  <a:lnTo>
                    <a:pt x="1048" y="43"/>
                  </a:lnTo>
                  <a:lnTo>
                    <a:pt x="1048" y="44"/>
                  </a:lnTo>
                  <a:lnTo>
                    <a:pt x="1049" y="49"/>
                  </a:lnTo>
                  <a:lnTo>
                    <a:pt x="1046" y="57"/>
                  </a:lnTo>
                  <a:lnTo>
                    <a:pt x="1033" y="72"/>
                  </a:lnTo>
                  <a:lnTo>
                    <a:pt x="1048" y="72"/>
                  </a:lnTo>
                  <a:lnTo>
                    <a:pt x="1058" y="56"/>
                  </a:lnTo>
                  <a:lnTo>
                    <a:pt x="1071" y="56"/>
                  </a:lnTo>
                  <a:lnTo>
                    <a:pt x="1083" y="57"/>
                  </a:lnTo>
                  <a:lnTo>
                    <a:pt x="1096" y="57"/>
                  </a:lnTo>
                  <a:lnTo>
                    <a:pt x="1096" y="59"/>
                  </a:lnTo>
                  <a:lnTo>
                    <a:pt x="1119" y="81"/>
                  </a:lnTo>
                  <a:lnTo>
                    <a:pt x="1116" y="87"/>
                  </a:lnTo>
                  <a:lnTo>
                    <a:pt x="1119" y="93"/>
                  </a:lnTo>
                  <a:lnTo>
                    <a:pt x="1123" y="86"/>
                  </a:lnTo>
                  <a:lnTo>
                    <a:pt x="1129" y="102"/>
                  </a:lnTo>
                  <a:lnTo>
                    <a:pt x="1132" y="102"/>
                  </a:lnTo>
                  <a:lnTo>
                    <a:pt x="1134" y="109"/>
                  </a:lnTo>
                  <a:lnTo>
                    <a:pt x="1128" y="121"/>
                  </a:lnTo>
                  <a:lnTo>
                    <a:pt x="1132" y="123"/>
                  </a:lnTo>
                  <a:lnTo>
                    <a:pt x="1132" y="124"/>
                  </a:lnTo>
                  <a:lnTo>
                    <a:pt x="1131" y="127"/>
                  </a:lnTo>
                  <a:lnTo>
                    <a:pt x="1132" y="136"/>
                  </a:lnTo>
                  <a:lnTo>
                    <a:pt x="1123" y="149"/>
                  </a:lnTo>
                  <a:lnTo>
                    <a:pt x="1113" y="157"/>
                  </a:lnTo>
                  <a:lnTo>
                    <a:pt x="1114" y="158"/>
                  </a:lnTo>
                  <a:lnTo>
                    <a:pt x="1114" y="160"/>
                  </a:lnTo>
                  <a:lnTo>
                    <a:pt x="1107" y="161"/>
                  </a:lnTo>
                  <a:lnTo>
                    <a:pt x="1107" y="169"/>
                  </a:lnTo>
                  <a:lnTo>
                    <a:pt x="1089" y="176"/>
                  </a:lnTo>
                  <a:lnTo>
                    <a:pt x="1059" y="219"/>
                  </a:lnTo>
                  <a:lnTo>
                    <a:pt x="1046" y="219"/>
                  </a:lnTo>
                  <a:lnTo>
                    <a:pt x="1025" y="249"/>
                  </a:lnTo>
                  <a:lnTo>
                    <a:pt x="1030" y="246"/>
                  </a:lnTo>
                  <a:lnTo>
                    <a:pt x="1031" y="246"/>
                  </a:lnTo>
                  <a:lnTo>
                    <a:pt x="1034" y="249"/>
                  </a:lnTo>
                  <a:lnTo>
                    <a:pt x="1034" y="237"/>
                  </a:lnTo>
                  <a:lnTo>
                    <a:pt x="1043" y="237"/>
                  </a:lnTo>
                  <a:lnTo>
                    <a:pt x="1046" y="238"/>
                  </a:lnTo>
                  <a:lnTo>
                    <a:pt x="1051" y="238"/>
                  </a:lnTo>
                  <a:lnTo>
                    <a:pt x="1071" y="228"/>
                  </a:lnTo>
                  <a:lnTo>
                    <a:pt x="1073" y="226"/>
                  </a:lnTo>
                  <a:lnTo>
                    <a:pt x="1070" y="220"/>
                  </a:lnTo>
                  <a:lnTo>
                    <a:pt x="1070" y="219"/>
                  </a:lnTo>
                  <a:lnTo>
                    <a:pt x="1071" y="220"/>
                  </a:lnTo>
                  <a:lnTo>
                    <a:pt x="1079" y="225"/>
                  </a:lnTo>
                  <a:lnTo>
                    <a:pt x="1093" y="215"/>
                  </a:lnTo>
                  <a:lnTo>
                    <a:pt x="1089" y="210"/>
                  </a:lnTo>
                  <a:lnTo>
                    <a:pt x="1079" y="219"/>
                  </a:lnTo>
                  <a:lnTo>
                    <a:pt x="1077" y="219"/>
                  </a:lnTo>
                  <a:lnTo>
                    <a:pt x="1077" y="218"/>
                  </a:lnTo>
                  <a:lnTo>
                    <a:pt x="1074" y="209"/>
                  </a:lnTo>
                  <a:lnTo>
                    <a:pt x="1082" y="198"/>
                  </a:lnTo>
                  <a:lnTo>
                    <a:pt x="1083" y="198"/>
                  </a:lnTo>
                  <a:lnTo>
                    <a:pt x="1092" y="204"/>
                  </a:lnTo>
                  <a:lnTo>
                    <a:pt x="1101" y="198"/>
                  </a:lnTo>
                  <a:lnTo>
                    <a:pt x="1101" y="200"/>
                  </a:lnTo>
                  <a:lnTo>
                    <a:pt x="1099" y="203"/>
                  </a:lnTo>
                  <a:lnTo>
                    <a:pt x="1099" y="209"/>
                  </a:lnTo>
                  <a:lnTo>
                    <a:pt x="1114" y="213"/>
                  </a:lnTo>
                  <a:lnTo>
                    <a:pt x="1119" y="209"/>
                  </a:lnTo>
                  <a:lnTo>
                    <a:pt x="1117" y="198"/>
                  </a:lnTo>
                  <a:lnTo>
                    <a:pt x="1119" y="198"/>
                  </a:lnTo>
                  <a:lnTo>
                    <a:pt x="1126" y="216"/>
                  </a:lnTo>
                  <a:lnTo>
                    <a:pt x="1125" y="229"/>
                  </a:lnTo>
                  <a:lnTo>
                    <a:pt x="1129" y="231"/>
                  </a:lnTo>
                  <a:lnTo>
                    <a:pt x="1125" y="234"/>
                  </a:lnTo>
                  <a:lnTo>
                    <a:pt x="1128" y="235"/>
                  </a:lnTo>
                  <a:lnTo>
                    <a:pt x="1136" y="231"/>
                  </a:lnTo>
                  <a:lnTo>
                    <a:pt x="1128" y="223"/>
                  </a:lnTo>
                  <a:lnTo>
                    <a:pt x="1128" y="222"/>
                  </a:lnTo>
                  <a:lnTo>
                    <a:pt x="1156" y="213"/>
                  </a:lnTo>
                  <a:lnTo>
                    <a:pt x="1199" y="222"/>
                  </a:lnTo>
                  <a:lnTo>
                    <a:pt x="1199" y="223"/>
                  </a:lnTo>
                  <a:lnTo>
                    <a:pt x="1193" y="226"/>
                  </a:lnTo>
                  <a:lnTo>
                    <a:pt x="1194" y="237"/>
                  </a:lnTo>
                  <a:lnTo>
                    <a:pt x="1227" y="247"/>
                  </a:lnTo>
                  <a:lnTo>
                    <a:pt x="1255" y="243"/>
                  </a:lnTo>
                  <a:lnTo>
                    <a:pt x="1258" y="238"/>
                  </a:lnTo>
                  <a:lnTo>
                    <a:pt x="1254" y="225"/>
                  </a:lnTo>
                  <a:lnTo>
                    <a:pt x="1257" y="212"/>
                  </a:lnTo>
                  <a:lnTo>
                    <a:pt x="1257" y="210"/>
                  </a:lnTo>
                  <a:lnTo>
                    <a:pt x="1261" y="212"/>
                  </a:lnTo>
                  <a:lnTo>
                    <a:pt x="1262" y="206"/>
                  </a:lnTo>
                  <a:lnTo>
                    <a:pt x="1264" y="206"/>
                  </a:lnTo>
                  <a:lnTo>
                    <a:pt x="1300" y="225"/>
                  </a:lnTo>
                  <a:lnTo>
                    <a:pt x="1304" y="220"/>
                  </a:lnTo>
                  <a:lnTo>
                    <a:pt x="1304" y="219"/>
                  </a:lnTo>
                  <a:lnTo>
                    <a:pt x="1305" y="219"/>
                  </a:lnTo>
                  <a:lnTo>
                    <a:pt x="1320" y="223"/>
                  </a:lnTo>
                  <a:lnTo>
                    <a:pt x="1338" y="246"/>
                  </a:lnTo>
                  <a:lnTo>
                    <a:pt x="1335" y="263"/>
                  </a:lnTo>
                  <a:lnTo>
                    <a:pt x="1340" y="272"/>
                  </a:lnTo>
                  <a:lnTo>
                    <a:pt x="1337" y="280"/>
                  </a:lnTo>
                  <a:lnTo>
                    <a:pt x="1338" y="281"/>
                  </a:lnTo>
                  <a:lnTo>
                    <a:pt x="1328" y="293"/>
                  </a:lnTo>
                  <a:lnTo>
                    <a:pt x="1329" y="304"/>
                  </a:lnTo>
                  <a:lnTo>
                    <a:pt x="1332" y="302"/>
                  </a:lnTo>
                  <a:lnTo>
                    <a:pt x="1344" y="327"/>
                  </a:lnTo>
                  <a:lnTo>
                    <a:pt x="1356" y="332"/>
                  </a:lnTo>
                  <a:lnTo>
                    <a:pt x="1357" y="332"/>
                  </a:lnTo>
                  <a:lnTo>
                    <a:pt x="1360" y="341"/>
                  </a:lnTo>
                  <a:lnTo>
                    <a:pt x="1369" y="323"/>
                  </a:lnTo>
                  <a:lnTo>
                    <a:pt x="1371" y="308"/>
                  </a:lnTo>
                  <a:lnTo>
                    <a:pt x="1378" y="289"/>
                  </a:lnTo>
                  <a:lnTo>
                    <a:pt x="1380" y="289"/>
                  </a:lnTo>
                  <a:lnTo>
                    <a:pt x="1391" y="312"/>
                  </a:lnTo>
                  <a:lnTo>
                    <a:pt x="1406" y="315"/>
                  </a:lnTo>
                  <a:lnTo>
                    <a:pt x="1408" y="305"/>
                  </a:lnTo>
                  <a:lnTo>
                    <a:pt x="1409" y="304"/>
                  </a:lnTo>
                  <a:lnTo>
                    <a:pt x="1417" y="304"/>
                  </a:lnTo>
                  <a:lnTo>
                    <a:pt x="1448" y="323"/>
                  </a:lnTo>
                  <a:lnTo>
                    <a:pt x="1467" y="308"/>
                  </a:lnTo>
                  <a:lnTo>
                    <a:pt x="1473" y="309"/>
                  </a:lnTo>
                  <a:lnTo>
                    <a:pt x="1470" y="299"/>
                  </a:lnTo>
                  <a:lnTo>
                    <a:pt x="1471" y="295"/>
                  </a:lnTo>
                  <a:lnTo>
                    <a:pt x="1470" y="287"/>
                  </a:lnTo>
                  <a:lnTo>
                    <a:pt x="1470" y="286"/>
                  </a:lnTo>
                  <a:lnTo>
                    <a:pt x="1488" y="263"/>
                  </a:lnTo>
                  <a:lnTo>
                    <a:pt x="1485" y="256"/>
                  </a:lnTo>
                  <a:lnTo>
                    <a:pt x="1488" y="252"/>
                  </a:lnTo>
                  <a:lnTo>
                    <a:pt x="1489" y="252"/>
                  </a:lnTo>
                  <a:lnTo>
                    <a:pt x="1597" y="278"/>
                  </a:lnTo>
                  <a:lnTo>
                    <a:pt x="1602" y="281"/>
                  </a:lnTo>
                  <a:lnTo>
                    <a:pt x="1606" y="295"/>
                  </a:lnTo>
                  <a:lnTo>
                    <a:pt x="1605" y="295"/>
                  </a:lnTo>
                  <a:lnTo>
                    <a:pt x="1597" y="293"/>
                  </a:lnTo>
                  <a:lnTo>
                    <a:pt x="1593" y="302"/>
                  </a:lnTo>
                  <a:lnTo>
                    <a:pt x="1608" y="304"/>
                  </a:lnTo>
                  <a:lnTo>
                    <a:pt x="1615" y="312"/>
                  </a:lnTo>
                  <a:lnTo>
                    <a:pt x="1618" y="312"/>
                  </a:lnTo>
                  <a:lnTo>
                    <a:pt x="1623" y="311"/>
                  </a:lnTo>
                  <a:lnTo>
                    <a:pt x="1626" y="311"/>
                  </a:lnTo>
                  <a:lnTo>
                    <a:pt x="1636" y="321"/>
                  </a:lnTo>
                  <a:lnTo>
                    <a:pt x="1636" y="323"/>
                  </a:lnTo>
                  <a:lnTo>
                    <a:pt x="1630" y="330"/>
                  </a:lnTo>
                  <a:lnTo>
                    <a:pt x="1639" y="336"/>
                  </a:lnTo>
                  <a:lnTo>
                    <a:pt x="1666" y="330"/>
                  </a:lnTo>
                  <a:lnTo>
                    <a:pt x="1720" y="330"/>
                  </a:lnTo>
                  <a:lnTo>
                    <a:pt x="1720" y="332"/>
                  </a:lnTo>
                  <a:lnTo>
                    <a:pt x="1735" y="352"/>
                  </a:lnTo>
                  <a:lnTo>
                    <a:pt x="1737" y="360"/>
                  </a:lnTo>
                  <a:lnTo>
                    <a:pt x="1732" y="375"/>
                  </a:lnTo>
                  <a:lnTo>
                    <a:pt x="1752" y="385"/>
                  </a:lnTo>
                  <a:lnTo>
                    <a:pt x="1752" y="390"/>
                  </a:lnTo>
                  <a:lnTo>
                    <a:pt x="1766" y="379"/>
                  </a:lnTo>
                  <a:lnTo>
                    <a:pt x="1787" y="376"/>
                  </a:lnTo>
                  <a:lnTo>
                    <a:pt x="1801" y="384"/>
                  </a:lnTo>
                  <a:lnTo>
                    <a:pt x="1824" y="387"/>
                  </a:lnTo>
                  <a:lnTo>
                    <a:pt x="1836" y="376"/>
                  </a:lnTo>
                  <a:lnTo>
                    <a:pt x="1838" y="376"/>
                  </a:lnTo>
                  <a:lnTo>
                    <a:pt x="1838" y="378"/>
                  </a:lnTo>
                  <a:lnTo>
                    <a:pt x="1842" y="384"/>
                  </a:lnTo>
                  <a:lnTo>
                    <a:pt x="1844" y="397"/>
                  </a:lnTo>
                  <a:lnTo>
                    <a:pt x="1864" y="413"/>
                  </a:lnTo>
                  <a:lnTo>
                    <a:pt x="1879" y="401"/>
                  </a:lnTo>
                  <a:lnTo>
                    <a:pt x="1873" y="385"/>
                  </a:lnTo>
                  <a:lnTo>
                    <a:pt x="1867" y="384"/>
                  </a:lnTo>
                  <a:lnTo>
                    <a:pt x="1866" y="384"/>
                  </a:lnTo>
                  <a:lnTo>
                    <a:pt x="1866" y="382"/>
                  </a:lnTo>
                  <a:lnTo>
                    <a:pt x="1870" y="378"/>
                  </a:lnTo>
                  <a:lnTo>
                    <a:pt x="1870" y="367"/>
                  </a:lnTo>
                  <a:lnTo>
                    <a:pt x="1872" y="367"/>
                  </a:lnTo>
                  <a:lnTo>
                    <a:pt x="1876" y="366"/>
                  </a:lnTo>
                  <a:lnTo>
                    <a:pt x="1907" y="375"/>
                  </a:lnTo>
                  <a:lnTo>
                    <a:pt x="1946" y="373"/>
                  </a:lnTo>
                  <a:lnTo>
                    <a:pt x="1975" y="390"/>
                  </a:lnTo>
                  <a:lnTo>
                    <a:pt x="1996" y="407"/>
                  </a:lnTo>
                  <a:lnTo>
                    <a:pt x="2001" y="410"/>
                  </a:lnTo>
                  <a:lnTo>
                    <a:pt x="2011" y="415"/>
                  </a:lnTo>
                  <a:lnTo>
                    <a:pt x="2012" y="422"/>
                  </a:lnTo>
                  <a:lnTo>
                    <a:pt x="2020" y="425"/>
                  </a:lnTo>
                  <a:lnTo>
                    <a:pt x="2023" y="431"/>
                  </a:lnTo>
                  <a:lnTo>
                    <a:pt x="2030" y="432"/>
                  </a:lnTo>
                  <a:lnTo>
                    <a:pt x="2036" y="437"/>
                  </a:lnTo>
                  <a:lnTo>
                    <a:pt x="2038" y="441"/>
                  </a:lnTo>
                  <a:lnTo>
                    <a:pt x="2036" y="443"/>
                  </a:lnTo>
                  <a:lnTo>
                    <a:pt x="2047" y="446"/>
                  </a:lnTo>
                  <a:lnTo>
                    <a:pt x="2048" y="446"/>
                  </a:lnTo>
                  <a:lnTo>
                    <a:pt x="2048" y="447"/>
                  </a:lnTo>
                  <a:lnTo>
                    <a:pt x="2047" y="447"/>
                  </a:lnTo>
                  <a:lnTo>
                    <a:pt x="2044" y="452"/>
                  </a:lnTo>
                  <a:lnTo>
                    <a:pt x="2054" y="458"/>
                  </a:lnTo>
                  <a:lnTo>
                    <a:pt x="2048" y="450"/>
                  </a:lnTo>
                  <a:lnTo>
                    <a:pt x="2050" y="450"/>
                  </a:lnTo>
                  <a:lnTo>
                    <a:pt x="2050" y="449"/>
                  </a:lnTo>
                  <a:lnTo>
                    <a:pt x="2053" y="449"/>
                  </a:lnTo>
                  <a:lnTo>
                    <a:pt x="2054" y="450"/>
                  </a:lnTo>
                  <a:lnTo>
                    <a:pt x="2057" y="450"/>
                  </a:lnTo>
                  <a:lnTo>
                    <a:pt x="2057" y="452"/>
                  </a:lnTo>
                  <a:lnTo>
                    <a:pt x="2064" y="461"/>
                  </a:lnTo>
                  <a:lnTo>
                    <a:pt x="2064" y="462"/>
                  </a:lnTo>
                  <a:lnTo>
                    <a:pt x="2061" y="464"/>
                  </a:lnTo>
                  <a:lnTo>
                    <a:pt x="2066" y="483"/>
                  </a:lnTo>
                  <a:lnTo>
                    <a:pt x="2072" y="487"/>
                  </a:lnTo>
                  <a:lnTo>
                    <a:pt x="2072" y="477"/>
                  </a:lnTo>
                  <a:lnTo>
                    <a:pt x="2067" y="474"/>
                  </a:lnTo>
                  <a:lnTo>
                    <a:pt x="2067" y="473"/>
                  </a:lnTo>
                  <a:lnTo>
                    <a:pt x="2070" y="473"/>
                  </a:lnTo>
                  <a:lnTo>
                    <a:pt x="2073" y="474"/>
                  </a:lnTo>
                  <a:lnTo>
                    <a:pt x="2076" y="474"/>
                  </a:lnTo>
                  <a:lnTo>
                    <a:pt x="2078" y="471"/>
                  </a:lnTo>
                  <a:lnTo>
                    <a:pt x="2078" y="470"/>
                  </a:lnTo>
                  <a:lnTo>
                    <a:pt x="2085" y="474"/>
                  </a:lnTo>
                  <a:lnTo>
                    <a:pt x="2082" y="477"/>
                  </a:lnTo>
                  <a:lnTo>
                    <a:pt x="2084" y="478"/>
                  </a:lnTo>
                  <a:lnTo>
                    <a:pt x="2085" y="475"/>
                  </a:lnTo>
                  <a:lnTo>
                    <a:pt x="2093" y="475"/>
                  </a:lnTo>
                  <a:lnTo>
                    <a:pt x="2097" y="477"/>
                  </a:lnTo>
                  <a:lnTo>
                    <a:pt x="2104" y="477"/>
                  </a:lnTo>
                  <a:lnTo>
                    <a:pt x="2122" y="498"/>
                  </a:lnTo>
                  <a:lnTo>
                    <a:pt x="2121" y="501"/>
                  </a:lnTo>
                  <a:lnTo>
                    <a:pt x="2131" y="504"/>
                  </a:lnTo>
                  <a:lnTo>
                    <a:pt x="2133" y="504"/>
                  </a:lnTo>
                  <a:lnTo>
                    <a:pt x="2133" y="505"/>
                  </a:lnTo>
                  <a:lnTo>
                    <a:pt x="2121" y="511"/>
                  </a:lnTo>
                  <a:lnTo>
                    <a:pt x="2119" y="520"/>
                  </a:lnTo>
                  <a:lnTo>
                    <a:pt x="2119" y="521"/>
                  </a:lnTo>
                  <a:lnTo>
                    <a:pt x="2110" y="514"/>
                  </a:lnTo>
                  <a:lnTo>
                    <a:pt x="2110" y="518"/>
                  </a:lnTo>
                  <a:lnTo>
                    <a:pt x="2113" y="524"/>
                  </a:lnTo>
                  <a:lnTo>
                    <a:pt x="2103" y="524"/>
                  </a:lnTo>
                  <a:lnTo>
                    <a:pt x="2098" y="532"/>
                  </a:lnTo>
                  <a:lnTo>
                    <a:pt x="2094" y="532"/>
                  </a:lnTo>
                  <a:lnTo>
                    <a:pt x="2100" y="538"/>
                  </a:lnTo>
                  <a:lnTo>
                    <a:pt x="2088" y="545"/>
                  </a:lnTo>
                  <a:lnTo>
                    <a:pt x="2093" y="547"/>
                  </a:lnTo>
                  <a:lnTo>
                    <a:pt x="2093" y="548"/>
                  </a:lnTo>
                  <a:lnTo>
                    <a:pt x="2090" y="550"/>
                  </a:lnTo>
                  <a:lnTo>
                    <a:pt x="2097" y="556"/>
                  </a:lnTo>
                  <a:lnTo>
                    <a:pt x="2097" y="557"/>
                  </a:lnTo>
                  <a:lnTo>
                    <a:pt x="2090" y="557"/>
                  </a:lnTo>
                  <a:lnTo>
                    <a:pt x="2088" y="563"/>
                  </a:lnTo>
                  <a:lnTo>
                    <a:pt x="2082" y="561"/>
                  </a:lnTo>
                  <a:lnTo>
                    <a:pt x="2082" y="556"/>
                  </a:lnTo>
                  <a:lnTo>
                    <a:pt x="2081" y="560"/>
                  </a:lnTo>
                  <a:lnTo>
                    <a:pt x="2079" y="560"/>
                  </a:lnTo>
                  <a:lnTo>
                    <a:pt x="2078" y="557"/>
                  </a:lnTo>
                  <a:lnTo>
                    <a:pt x="2075" y="559"/>
                  </a:lnTo>
                  <a:lnTo>
                    <a:pt x="2073" y="559"/>
                  </a:lnTo>
                  <a:lnTo>
                    <a:pt x="2073" y="557"/>
                  </a:lnTo>
                  <a:lnTo>
                    <a:pt x="2072" y="551"/>
                  </a:lnTo>
                  <a:lnTo>
                    <a:pt x="2064" y="548"/>
                  </a:lnTo>
                  <a:lnTo>
                    <a:pt x="2064" y="547"/>
                  </a:lnTo>
                  <a:lnTo>
                    <a:pt x="2063" y="547"/>
                  </a:lnTo>
                  <a:lnTo>
                    <a:pt x="2063" y="548"/>
                  </a:lnTo>
                  <a:lnTo>
                    <a:pt x="2057" y="547"/>
                  </a:lnTo>
                  <a:lnTo>
                    <a:pt x="2050" y="539"/>
                  </a:lnTo>
                  <a:lnTo>
                    <a:pt x="2048" y="539"/>
                  </a:lnTo>
                  <a:lnTo>
                    <a:pt x="2048" y="526"/>
                  </a:lnTo>
                  <a:lnTo>
                    <a:pt x="2042" y="521"/>
                  </a:lnTo>
                  <a:lnTo>
                    <a:pt x="2030" y="521"/>
                  </a:lnTo>
                  <a:lnTo>
                    <a:pt x="2021" y="523"/>
                  </a:lnTo>
                  <a:lnTo>
                    <a:pt x="2015" y="523"/>
                  </a:lnTo>
                  <a:lnTo>
                    <a:pt x="2010" y="505"/>
                  </a:lnTo>
                  <a:lnTo>
                    <a:pt x="2015" y="504"/>
                  </a:lnTo>
                  <a:lnTo>
                    <a:pt x="2015" y="499"/>
                  </a:lnTo>
                  <a:lnTo>
                    <a:pt x="2011" y="504"/>
                  </a:lnTo>
                  <a:lnTo>
                    <a:pt x="2010" y="504"/>
                  </a:lnTo>
                  <a:lnTo>
                    <a:pt x="2007" y="498"/>
                  </a:lnTo>
                  <a:lnTo>
                    <a:pt x="2005" y="498"/>
                  </a:lnTo>
                  <a:lnTo>
                    <a:pt x="2005" y="504"/>
                  </a:lnTo>
                  <a:lnTo>
                    <a:pt x="1998" y="505"/>
                  </a:lnTo>
                  <a:lnTo>
                    <a:pt x="1999" y="511"/>
                  </a:lnTo>
                  <a:lnTo>
                    <a:pt x="2007" y="523"/>
                  </a:lnTo>
                  <a:lnTo>
                    <a:pt x="1998" y="538"/>
                  </a:lnTo>
                  <a:lnTo>
                    <a:pt x="1995" y="541"/>
                  </a:lnTo>
                  <a:lnTo>
                    <a:pt x="1978" y="554"/>
                  </a:lnTo>
                  <a:lnTo>
                    <a:pt x="1977" y="554"/>
                  </a:lnTo>
                  <a:lnTo>
                    <a:pt x="1977" y="553"/>
                  </a:lnTo>
                  <a:lnTo>
                    <a:pt x="1972" y="548"/>
                  </a:lnTo>
                  <a:lnTo>
                    <a:pt x="1964" y="548"/>
                  </a:lnTo>
                  <a:lnTo>
                    <a:pt x="1965" y="557"/>
                  </a:lnTo>
                  <a:lnTo>
                    <a:pt x="1971" y="561"/>
                  </a:lnTo>
                  <a:lnTo>
                    <a:pt x="1974" y="559"/>
                  </a:lnTo>
                  <a:lnTo>
                    <a:pt x="1978" y="567"/>
                  </a:lnTo>
                  <a:lnTo>
                    <a:pt x="1977" y="567"/>
                  </a:lnTo>
                  <a:lnTo>
                    <a:pt x="1975" y="569"/>
                  </a:lnTo>
                  <a:lnTo>
                    <a:pt x="1980" y="570"/>
                  </a:lnTo>
                  <a:lnTo>
                    <a:pt x="1981" y="585"/>
                  </a:lnTo>
                  <a:lnTo>
                    <a:pt x="1989" y="597"/>
                  </a:lnTo>
                  <a:lnTo>
                    <a:pt x="1989" y="599"/>
                  </a:lnTo>
                  <a:lnTo>
                    <a:pt x="1984" y="599"/>
                  </a:lnTo>
                  <a:lnTo>
                    <a:pt x="1990" y="606"/>
                  </a:lnTo>
                  <a:lnTo>
                    <a:pt x="1990" y="607"/>
                  </a:lnTo>
                  <a:lnTo>
                    <a:pt x="1984" y="618"/>
                  </a:lnTo>
                  <a:lnTo>
                    <a:pt x="1983" y="618"/>
                  </a:lnTo>
                  <a:lnTo>
                    <a:pt x="1965" y="609"/>
                  </a:lnTo>
                  <a:lnTo>
                    <a:pt x="1964" y="612"/>
                  </a:lnTo>
                  <a:lnTo>
                    <a:pt x="1962" y="612"/>
                  </a:lnTo>
                  <a:lnTo>
                    <a:pt x="1959" y="606"/>
                  </a:lnTo>
                  <a:lnTo>
                    <a:pt x="1961" y="612"/>
                  </a:lnTo>
                  <a:lnTo>
                    <a:pt x="1961" y="613"/>
                  </a:lnTo>
                  <a:lnTo>
                    <a:pt x="1959" y="613"/>
                  </a:lnTo>
                  <a:lnTo>
                    <a:pt x="1932" y="624"/>
                  </a:lnTo>
                  <a:lnTo>
                    <a:pt x="1931" y="628"/>
                  </a:lnTo>
                  <a:lnTo>
                    <a:pt x="1931" y="630"/>
                  </a:lnTo>
                  <a:lnTo>
                    <a:pt x="1916" y="637"/>
                  </a:lnTo>
                  <a:lnTo>
                    <a:pt x="1912" y="636"/>
                  </a:lnTo>
                  <a:lnTo>
                    <a:pt x="1907" y="645"/>
                  </a:lnTo>
                  <a:lnTo>
                    <a:pt x="1897" y="650"/>
                  </a:lnTo>
                  <a:lnTo>
                    <a:pt x="1898" y="653"/>
                  </a:lnTo>
                  <a:lnTo>
                    <a:pt x="1897" y="653"/>
                  </a:lnTo>
                  <a:lnTo>
                    <a:pt x="1897" y="655"/>
                  </a:lnTo>
                  <a:lnTo>
                    <a:pt x="1894" y="653"/>
                  </a:lnTo>
                  <a:lnTo>
                    <a:pt x="1894" y="658"/>
                  </a:lnTo>
                  <a:lnTo>
                    <a:pt x="1873" y="670"/>
                  </a:lnTo>
                  <a:lnTo>
                    <a:pt x="1870" y="683"/>
                  </a:lnTo>
                  <a:lnTo>
                    <a:pt x="1869" y="683"/>
                  </a:lnTo>
                  <a:lnTo>
                    <a:pt x="1857" y="668"/>
                  </a:lnTo>
                  <a:lnTo>
                    <a:pt x="1842" y="665"/>
                  </a:lnTo>
                  <a:lnTo>
                    <a:pt x="1827" y="671"/>
                  </a:lnTo>
                  <a:lnTo>
                    <a:pt x="1817" y="686"/>
                  </a:lnTo>
                  <a:lnTo>
                    <a:pt x="1815" y="686"/>
                  </a:lnTo>
                  <a:lnTo>
                    <a:pt x="1817" y="670"/>
                  </a:lnTo>
                  <a:lnTo>
                    <a:pt x="1815" y="670"/>
                  </a:lnTo>
                  <a:lnTo>
                    <a:pt x="1803" y="677"/>
                  </a:lnTo>
                  <a:lnTo>
                    <a:pt x="1801" y="686"/>
                  </a:lnTo>
                  <a:lnTo>
                    <a:pt x="1795" y="682"/>
                  </a:lnTo>
                  <a:lnTo>
                    <a:pt x="1790" y="686"/>
                  </a:lnTo>
                  <a:lnTo>
                    <a:pt x="1789" y="686"/>
                  </a:lnTo>
                  <a:lnTo>
                    <a:pt x="1787" y="683"/>
                  </a:lnTo>
                  <a:lnTo>
                    <a:pt x="1781" y="686"/>
                  </a:lnTo>
                  <a:lnTo>
                    <a:pt x="1777" y="705"/>
                  </a:lnTo>
                  <a:lnTo>
                    <a:pt x="1774" y="705"/>
                  </a:lnTo>
                  <a:lnTo>
                    <a:pt x="1762" y="726"/>
                  </a:lnTo>
                  <a:lnTo>
                    <a:pt x="1762" y="735"/>
                  </a:lnTo>
                  <a:lnTo>
                    <a:pt x="1763" y="738"/>
                  </a:lnTo>
                  <a:lnTo>
                    <a:pt x="1769" y="732"/>
                  </a:lnTo>
                  <a:lnTo>
                    <a:pt x="1771" y="732"/>
                  </a:lnTo>
                  <a:lnTo>
                    <a:pt x="1778" y="736"/>
                  </a:lnTo>
                  <a:lnTo>
                    <a:pt x="1778" y="738"/>
                  </a:lnTo>
                  <a:lnTo>
                    <a:pt x="1771" y="753"/>
                  </a:lnTo>
                  <a:lnTo>
                    <a:pt x="1772" y="762"/>
                  </a:lnTo>
                  <a:lnTo>
                    <a:pt x="1778" y="765"/>
                  </a:lnTo>
                  <a:lnTo>
                    <a:pt x="1778" y="773"/>
                  </a:lnTo>
                  <a:lnTo>
                    <a:pt x="1775" y="781"/>
                  </a:lnTo>
                  <a:lnTo>
                    <a:pt x="1774" y="781"/>
                  </a:lnTo>
                  <a:lnTo>
                    <a:pt x="1769" y="775"/>
                  </a:lnTo>
                  <a:lnTo>
                    <a:pt x="1772" y="769"/>
                  </a:lnTo>
                  <a:lnTo>
                    <a:pt x="1766" y="772"/>
                  </a:lnTo>
                  <a:lnTo>
                    <a:pt x="1768" y="775"/>
                  </a:lnTo>
                  <a:lnTo>
                    <a:pt x="1768" y="776"/>
                  </a:lnTo>
                  <a:lnTo>
                    <a:pt x="1761" y="782"/>
                  </a:lnTo>
                  <a:lnTo>
                    <a:pt x="1758" y="791"/>
                  </a:lnTo>
                  <a:lnTo>
                    <a:pt x="1763" y="809"/>
                  </a:lnTo>
                  <a:lnTo>
                    <a:pt x="1762" y="809"/>
                  </a:lnTo>
                  <a:lnTo>
                    <a:pt x="1756" y="815"/>
                  </a:lnTo>
                  <a:lnTo>
                    <a:pt x="1755" y="815"/>
                  </a:lnTo>
                  <a:lnTo>
                    <a:pt x="1747" y="814"/>
                  </a:lnTo>
                  <a:lnTo>
                    <a:pt x="1735" y="825"/>
                  </a:lnTo>
                  <a:lnTo>
                    <a:pt x="1735" y="845"/>
                  </a:lnTo>
                  <a:lnTo>
                    <a:pt x="1734" y="845"/>
                  </a:lnTo>
                  <a:lnTo>
                    <a:pt x="1731" y="843"/>
                  </a:lnTo>
                  <a:lnTo>
                    <a:pt x="1718" y="849"/>
                  </a:lnTo>
                  <a:lnTo>
                    <a:pt x="1713" y="871"/>
                  </a:lnTo>
                  <a:lnTo>
                    <a:pt x="1694" y="892"/>
                  </a:lnTo>
                  <a:lnTo>
                    <a:pt x="1678" y="811"/>
                  </a:lnTo>
                  <a:lnTo>
                    <a:pt x="1678" y="793"/>
                  </a:lnTo>
                  <a:lnTo>
                    <a:pt x="1682" y="763"/>
                  </a:lnTo>
                  <a:lnTo>
                    <a:pt x="1694" y="754"/>
                  </a:lnTo>
                  <a:lnTo>
                    <a:pt x="1697" y="744"/>
                  </a:lnTo>
                  <a:lnTo>
                    <a:pt x="1694" y="736"/>
                  </a:lnTo>
                  <a:lnTo>
                    <a:pt x="1694" y="735"/>
                  </a:lnTo>
                  <a:lnTo>
                    <a:pt x="1697" y="735"/>
                  </a:lnTo>
                  <a:lnTo>
                    <a:pt x="1698" y="736"/>
                  </a:lnTo>
                  <a:lnTo>
                    <a:pt x="1701" y="736"/>
                  </a:lnTo>
                  <a:lnTo>
                    <a:pt x="1715" y="729"/>
                  </a:lnTo>
                  <a:lnTo>
                    <a:pt x="1741" y="693"/>
                  </a:lnTo>
                  <a:lnTo>
                    <a:pt x="1758" y="676"/>
                  </a:lnTo>
                  <a:lnTo>
                    <a:pt x="1761" y="670"/>
                  </a:lnTo>
                  <a:lnTo>
                    <a:pt x="1761" y="668"/>
                  </a:lnTo>
                  <a:lnTo>
                    <a:pt x="1783" y="658"/>
                  </a:lnTo>
                  <a:lnTo>
                    <a:pt x="1781" y="652"/>
                  </a:lnTo>
                  <a:lnTo>
                    <a:pt x="1784" y="647"/>
                  </a:lnTo>
                  <a:lnTo>
                    <a:pt x="1784" y="640"/>
                  </a:lnTo>
                  <a:lnTo>
                    <a:pt x="1787" y="636"/>
                  </a:lnTo>
                  <a:lnTo>
                    <a:pt x="1789" y="622"/>
                  </a:lnTo>
                  <a:lnTo>
                    <a:pt x="1789" y="621"/>
                  </a:lnTo>
                  <a:lnTo>
                    <a:pt x="1790" y="621"/>
                  </a:lnTo>
                  <a:lnTo>
                    <a:pt x="1799" y="615"/>
                  </a:lnTo>
                  <a:lnTo>
                    <a:pt x="1799" y="613"/>
                  </a:lnTo>
                  <a:lnTo>
                    <a:pt x="1793" y="609"/>
                  </a:lnTo>
                  <a:lnTo>
                    <a:pt x="1783" y="613"/>
                  </a:lnTo>
                  <a:lnTo>
                    <a:pt x="1775" y="624"/>
                  </a:lnTo>
                  <a:lnTo>
                    <a:pt x="1775" y="633"/>
                  </a:lnTo>
                  <a:lnTo>
                    <a:pt x="1778" y="636"/>
                  </a:lnTo>
                  <a:lnTo>
                    <a:pt x="1778" y="637"/>
                  </a:lnTo>
                  <a:lnTo>
                    <a:pt x="1775" y="640"/>
                  </a:lnTo>
                  <a:lnTo>
                    <a:pt x="1772" y="637"/>
                  </a:lnTo>
                  <a:lnTo>
                    <a:pt x="1766" y="639"/>
                  </a:lnTo>
                  <a:lnTo>
                    <a:pt x="1738" y="667"/>
                  </a:lnTo>
                  <a:lnTo>
                    <a:pt x="1737" y="667"/>
                  </a:lnTo>
                  <a:lnTo>
                    <a:pt x="1737" y="665"/>
                  </a:lnTo>
                  <a:lnTo>
                    <a:pt x="1740" y="656"/>
                  </a:lnTo>
                  <a:lnTo>
                    <a:pt x="1732" y="656"/>
                  </a:lnTo>
                  <a:lnTo>
                    <a:pt x="1732" y="655"/>
                  </a:lnTo>
                  <a:lnTo>
                    <a:pt x="1735" y="650"/>
                  </a:lnTo>
                  <a:lnTo>
                    <a:pt x="1734" y="646"/>
                  </a:lnTo>
                  <a:lnTo>
                    <a:pt x="1738" y="639"/>
                  </a:lnTo>
                  <a:lnTo>
                    <a:pt x="1740" y="631"/>
                  </a:lnTo>
                  <a:lnTo>
                    <a:pt x="1734" y="637"/>
                  </a:lnTo>
                  <a:lnTo>
                    <a:pt x="1722" y="631"/>
                  </a:lnTo>
                  <a:lnTo>
                    <a:pt x="1700" y="637"/>
                  </a:lnTo>
                  <a:lnTo>
                    <a:pt x="1683" y="662"/>
                  </a:lnTo>
                  <a:lnTo>
                    <a:pt x="1669" y="674"/>
                  </a:lnTo>
                  <a:lnTo>
                    <a:pt x="1663" y="686"/>
                  </a:lnTo>
                  <a:lnTo>
                    <a:pt x="1660" y="686"/>
                  </a:lnTo>
                  <a:lnTo>
                    <a:pt x="1663" y="692"/>
                  </a:lnTo>
                  <a:lnTo>
                    <a:pt x="1661" y="695"/>
                  </a:lnTo>
                  <a:lnTo>
                    <a:pt x="1672" y="698"/>
                  </a:lnTo>
                  <a:lnTo>
                    <a:pt x="1673" y="702"/>
                  </a:lnTo>
                  <a:lnTo>
                    <a:pt x="1672" y="704"/>
                  </a:lnTo>
                  <a:lnTo>
                    <a:pt x="1669" y="704"/>
                  </a:lnTo>
                  <a:lnTo>
                    <a:pt x="1652" y="702"/>
                  </a:lnTo>
                  <a:lnTo>
                    <a:pt x="1642" y="710"/>
                  </a:lnTo>
                  <a:lnTo>
                    <a:pt x="1637" y="707"/>
                  </a:lnTo>
                  <a:lnTo>
                    <a:pt x="1623" y="711"/>
                  </a:lnTo>
                  <a:lnTo>
                    <a:pt x="1620" y="705"/>
                  </a:lnTo>
                  <a:lnTo>
                    <a:pt x="1620" y="704"/>
                  </a:lnTo>
                  <a:lnTo>
                    <a:pt x="1632" y="699"/>
                  </a:lnTo>
                  <a:lnTo>
                    <a:pt x="1623" y="693"/>
                  </a:lnTo>
                  <a:lnTo>
                    <a:pt x="1617" y="696"/>
                  </a:lnTo>
                  <a:lnTo>
                    <a:pt x="1596" y="689"/>
                  </a:lnTo>
                  <a:lnTo>
                    <a:pt x="1593" y="690"/>
                  </a:lnTo>
                  <a:lnTo>
                    <a:pt x="1594" y="695"/>
                  </a:lnTo>
                  <a:lnTo>
                    <a:pt x="1594" y="696"/>
                  </a:lnTo>
                  <a:lnTo>
                    <a:pt x="1590" y="696"/>
                  </a:lnTo>
                  <a:lnTo>
                    <a:pt x="1590" y="702"/>
                  </a:lnTo>
                  <a:lnTo>
                    <a:pt x="1586" y="702"/>
                  </a:lnTo>
                  <a:lnTo>
                    <a:pt x="1583" y="698"/>
                  </a:lnTo>
                  <a:lnTo>
                    <a:pt x="1572" y="702"/>
                  </a:lnTo>
                  <a:lnTo>
                    <a:pt x="1559" y="696"/>
                  </a:lnTo>
                  <a:lnTo>
                    <a:pt x="1554" y="704"/>
                  </a:lnTo>
                  <a:lnTo>
                    <a:pt x="1553" y="704"/>
                  </a:lnTo>
                  <a:lnTo>
                    <a:pt x="1546" y="698"/>
                  </a:lnTo>
                  <a:lnTo>
                    <a:pt x="1516" y="699"/>
                  </a:lnTo>
                  <a:lnTo>
                    <a:pt x="1504" y="705"/>
                  </a:lnTo>
                  <a:lnTo>
                    <a:pt x="1486" y="726"/>
                  </a:lnTo>
                  <a:lnTo>
                    <a:pt x="1480" y="738"/>
                  </a:lnTo>
                  <a:lnTo>
                    <a:pt x="1464" y="750"/>
                  </a:lnTo>
                  <a:lnTo>
                    <a:pt x="1445" y="776"/>
                  </a:lnTo>
                  <a:lnTo>
                    <a:pt x="1414" y="805"/>
                  </a:lnTo>
                  <a:lnTo>
                    <a:pt x="1414" y="808"/>
                  </a:lnTo>
                  <a:lnTo>
                    <a:pt x="1420" y="812"/>
                  </a:lnTo>
                  <a:lnTo>
                    <a:pt x="1423" y="812"/>
                  </a:lnTo>
                  <a:lnTo>
                    <a:pt x="1427" y="811"/>
                  </a:lnTo>
                  <a:lnTo>
                    <a:pt x="1433" y="811"/>
                  </a:lnTo>
                  <a:lnTo>
                    <a:pt x="1433" y="830"/>
                  </a:lnTo>
                  <a:lnTo>
                    <a:pt x="1437" y="827"/>
                  </a:lnTo>
                  <a:lnTo>
                    <a:pt x="1437" y="821"/>
                  </a:lnTo>
                  <a:lnTo>
                    <a:pt x="1443" y="818"/>
                  </a:lnTo>
                  <a:lnTo>
                    <a:pt x="1445" y="818"/>
                  </a:lnTo>
                  <a:lnTo>
                    <a:pt x="1445" y="819"/>
                  </a:lnTo>
                  <a:lnTo>
                    <a:pt x="1440" y="822"/>
                  </a:lnTo>
                  <a:lnTo>
                    <a:pt x="1445" y="828"/>
                  </a:lnTo>
                  <a:lnTo>
                    <a:pt x="1440" y="834"/>
                  </a:lnTo>
                  <a:lnTo>
                    <a:pt x="1451" y="831"/>
                  </a:lnTo>
                  <a:lnTo>
                    <a:pt x="1454" y="828"/>
                  </a:lnTo>
                  <a:lnTo>
                    <a:pt x="1454" y="833"/>
                  </a:lnTo>
                  <a:lnTo>
                    <a:pt x="1457" y="830"/>
                  </a:lnTo>
                  <a:lnTo>
                    <a:pt x="1457" y="818"/>
                  </a:lnTo>
                  <a:lnTo>
                    <a:pt x="1473" y="818"/>
                  </a:lnTo>
                  <a:lnTo>
                    <a:pt x="1480" y="831"/>
                  </a:lnTo>
                  <a:lnTo>
                    <a:pt x="1494" y="840"/>
                  </a:lnTo>
                  <a:lnTo>
                    <a:pt x="1494" y="842"/>
                  </a:lnTo>
                  <a:lnTo>
                    <a:pt x="1489" y="849"/>
                  </a:lnTo>
                  <a:lnTo>
                    <a:pt x="1491" y="855"/>
                  </a:lnTo>
                  <a:lnTo>
                    <a:pt x="1491" y="859"/>
                  </a:lnTo>
                  <a:lnTo>
                    <a:pt x="1494" y="864"/>
                  </a:lnTo>
                  <a:lnTo>
                    <a:pt x="1494" y="865"/>
                  </a:lnTo>
                  <a:lnTo>
                    <a:pt x="1486" y="880"/>
                  </a:lnTo>
                  <a:lnTo>
                    <a:pt x="1482" y="895"/>
                  </a:lnTo>
                  <a:lnTo>
                    <a:pt x="1483" y="908"/>
                  </a:lnTo>
                  <a:lnTo>
                    <a:pt x="1479" y="941"/>
                  </a:lnTo>
                  <a:lnTo>
                    <a:pt x="1467" y="954"/>
                  </a:lnTo>
                  <a:lnTo>
                    <a:pt x="1457" y="971"/>
                  </a:lnTo>
                  <a:lnTo>
                    <a:pt x="1451" y="986"/>
                  </a:lnTo>
                  <a:lnTo>
                    <a:pt x="1411" y="1036"/>
                  </a:lnTo>
                  <a:lnTo>
                    <a:pt x="1397" y="1046"/>
                  </a:lnTo>
                  <a:lnTo>
                    <a:pt x="1387" y="1049"/>
                  </a:lnTo>
                  <a:lnTo>
                    <a:pt x="1375" y="1046"/>
                  </a:lnTo>
                  <a:lnTo>
                    <a:pt x="1374" y="1046"/>
                  </a:lnTo>
                  <a:lnTo>
                    <a:pt x="1374" y="1039"/>
                  </a:lnTo>
                  <a:lnTo>
                    <a:pt x="1371" y="1042"/>
                  </a:lnTo>
                  <a:lnTo>
                    <a:pt x="1368" y="1036"/>
                  </a:lnTo>
                  <a:lnTo>
                    <a:pt x="1360" y="1049"/>
                  </a:lnTo>
                  <a:lnTo>
                    <a:pt x="1360" y="1051"/>
                  </a:lnTo>
                  <a:lnTo>
                    <a:pt x="1354" y="1051"/>
                  </a:lnTo>
                  <a:lnTo>
                    <a:pt x="1354" y="1054"/>
                  </a:lnTo>
                  <a:lnTo>
                    <a:pt x="1353" y="1054"/>
                  </a:lnTo>
                  <a:lnTo>
                    <a:pt x="1351" y="1051"/>
                  </a:lnTo>
                  <a:lnTo>
                    <a:pt x="1351" y="1046"/>
                  </a:lnTo>
                  <a:lnTo>
                    <a:pt x="1359" y="1036"/>
                  </a:lnTo>
                  <a:lnTo>
                    <a:pt x="1359" y="1021"/>
                  </a:lnTo>
                  <a:lnTo>
                    <a:pt x="1356" y="1012"/>
                  </a:lnTo>
                  <a:lnTo>
                    <a:pt x="1368" y="1002"/>
                  </a:lnTo>
                  <a:lnTo>
                    <a:pt x="1381" y="1006"/>
                  </a:lnTo>
                  <a:lnTo>
                    <a:pt x="1384" y="1003"/>
                  </a:lnTo>
                  <a:lnTo>
                    <a:pt x="1393" y="986"/>
                  </a:lnTo>
                  <a:lnTo>
                    <a:pt x="1399" y="963"/>
                  </a:lnTo>
                  <a:lnTo>
                    <a:pt x="1405" y="957"/>
                  </a:lnTo>
                  <a:lnTo>
                    <a:pt x="1403" y="944"/>
                  </a:lnTo>
                  <a:lnTo>
                    <a:pt x="1405" y="941"/>
                  </a:lnTo>
                  <a:lnTo>
                    <a:pt x="1371" y="956"/>
                  </a:lnTo>
                  <a:lnTo>
                    <a:pt x="1357" y="956"/>
                  </a:lnTo>
                  <a:lnTo>
                    <a:pt x="1353" y="948"/>
                  </a:lnTo>
                  <a:lnTo>
                    <a:pt x="1353" y="940"/>
                  </a:lnTo>
                  <a:lnTo>
                    <a:pt x="1350" y="932"/>
                  </a:lnTo>
                  <a:lnTo>
                    <a:pt x="1332" y="922"/>
                  </a:lnTo>
                  <a:lnTo>
                    <a:pt x="1311" y="917"/>
                  </a:lnTo>
                  <a:lnTo>
                    <a:pt x="1310" y="917"/>
                  </a:lnTo>
                  <a:lnTo>
                    <a:pt x="1305" y="892"/>
                  </a:lnTo>
                  <a:lnTo>
                    <a:pt x="1298" y="874"/>
                  </a:lnTo>
                  <a:lnTo>
                    <a:pt x="1297" y="862"/>
                  </a:lnTo>
                  <a:lnTo>
                    <a:pt x="1286" y="849"/>
                  </a:lnTo>
                  <a:lnTo>
                    <a:pt x="1271" y="846"/>
                  </a:lnTo>
                  <a:lnTo>
                    <a:pt x="1260" y="839"/>
                  </a:lnTo>
                  <a:lnTo>
                    <a:pt x="1224" y="843"/>
                  </a:lnTo>
                  <a:lnTo>
                    <a:pt x="1215" y="855"/>
                  </a:lnTo>
                  <a:lnTo>
                    <a:pt x="1214" y="858"/>
                  </a:lnTo>
                  <a:lnTo>
                    <a:pt x="1222" y="858"/>
                  </a:lnTo>
                  <a:lnTo>
                    <a:pt x="1222" y="870"/>
                  </a:lnTo>
                  <a:lnTo>
                    <a:pt x="1212" y="879"/>
                  </a:lnTo>
                  <a:lnTo>
                    <a:pt x="1205" y="901"/>
                  </a:lnTo>
                  <a:lnTo>
                    <a:pt x="1203" y="908"/>
                  </a:lnTo>
                  <a:lnTo>
                    <a:pt x="1185" y="919"/>
                  </a:lnTo>
                  <a:lnTo>
                    <a:pt x="1184" y="919"/>
                  </a:lnTo>
                  <a:lnTo>
                    <a:pt x="1165" y="911"/>
                  </a:lnTo>
                  <a:lnTo>
                    <a:pt x="1156" y="913"/>
                  </a:lnTo>
                  <a:lnTo>
                    <a:pt x="1142" y="905"/>
                  </a:lnTo>
                  <a:lnTo>
                    <a:pt x="1122" y="919"/>
                  </a:lnTo>
                  <a:lnTo>
                    <a:pt x="1093" y="928"/>
                  </a:lnTo>
                  <a:lnTo>
                    <a:pt x="1083" y="925"/>
                  </a:lnTo>
                  <a:lnTo>
                    <a:pt x="1065" y="922"/>
                  </a:lnTo>
                  <a:lnTo>
                    <a:pt x="1055" y="914"/>
                  </a:lnTo>
                  <a:lnTo>
                    <a:pt x="1025" y="898"/>
                  </a:lnTo>
                  <a:lnTo>
                    <a:pt x="1016" y="897"/>
                  </a:lnTo>
                  <a:lnTo>
                    <a:pt x="999" y="905"/>
                  </a:lnTo>
                  <a:lnTo>
                    <a:pt x="990" y="902"/>
                  </a:lnTo>
                  <a:lnTo>
                    <a:pt x="979" y="895"/>
                  </a:lnTo>
                  <a:lnTo>
                    <a:pt x="976" y="879"/>
                  </a:lnTo>
                  <a:lnTo>
                    <a:pt x="942" y="865"/>
                  </a:lnTo>
                  <a:lnTo>
                    <a:pt x="925" y="880"/>
                  </a:lnTo>
                  <a:lnTo>
                    <a:pt x="927" y="895"/>
                  </a:lnTo>
                  <a:lnTo>
                    <a:pt x="925" y="900"/>
                  </a:lnTo>
                  <a:lnTo>
                    <a:pt x="926" y="908"/>
                  </a:lnTo>
                  <a:lnTo>
                    <a:pt x="923" y="910"/>
                  </a:lnTo>
                  <a:lnTo>
                    <a:pt x="884" y="910"/>
                  </a:lnTo>
                  <a:lnTo>
                    <a:pt x="877" y="901"/>
                  </a:lnTo>
                  <a:lnTo>
                    <a:pt x="844" y="898"/>
                  </a:lnTo>
                  <a:lnTo>
                    <a:pt x="830" y="902"/>
                  </a:lnTo>
                  <a:lnTo>
                    <a:pt x="799" y="922"/>
                  </a:lnTo>
                  <a:lnTo>
                    <a:pt x="793" y="931"/>
                  </a:lnTo>
                  <a:lnTo>
                    <a:pt x="788" y="934"/>
                  </a:lnTo>
                  <a:lnTo>
                    <a:pt x="788" y="935"/>
                  </a:lnTo>
                  <a:lnTo>
                    <a:pt x="787" y="935"/>
                  </a:lnTo>
                  <a:lnTo>
                    <a:pt x="787" y="934"/>
                  </a:lnTo>
                  <a:lnTo>
                    <a:pt x="781" y="932"/>
                  </a:lnTo>
                  <a:lnTo>
                    <a:pt x="781" y="931"/>
                  </a:lnTo>
                  <a:lnTo>
                    <a:pt x="785" y="926"/>
                  </a:lnTo>
                  <a:lnTo>
                    <a:pt x="779" y="916"/>
                  </a:lnTo>
                  <a:lnTo>
                    <a:pt x="776" y="916"/>
                  </a:lnTo>
                  <a:lnTo>
                    <a:pt x="775" y="919"/>
                  </a:lnTo>
                  <a:lnTo>
                    <a:pt x="773" y="920"/>
                  </a:lnTo>
                  <a:lnTo>
                    <a:pt x="760" y="916"/>
                  </a:lnTo>
                  <a:lnTo>
                    <a:pt x="756" y="910"/>
                  </a:lnTo>
                  <a:lnTo>
                    <a:pt x="754" y="907"/>
                  </a:lnTo>
                  <a:lnTo>
                    <a:pt x="748" y="904"/>
                  </a:lnTo>
                  <a:lnTo>
                    <a:pt x="747" y="897"/>
                  </a:lnTo>
                  <a:lnTo>
                    <a:pt x="738" y="889"/>
                  </a:lnTo>
                  <a:lnTo>
                    <a:pt x="735" y="889"/>
                  </a:lnTo>
                  <a:lnTo>
                    <a:pt x="732" y="891"/>
                  </a:lnTo>
                  <a:lnTo>
                    <a:pt x="729" y="891"/>
                  </a:lnTo>
                  <a:lnTo>
                    <a:pt x="727" y="894"/>
                  </a:lnTo>
                  <a:lnTo>
                    <a:pt x="727" y="895"/>
                  </a:lnTo>
                  <a:lnTo>
                    <a:pt x="710" y="895"/>
                  </a:lnTo>
                  <a:lnTo>
                    <a:pt x="710" y="894"/>
                  </a:lnTo>
                  <a:lnTo>
                    <a:pt x="707" y="889"/>
                  </a:lnTo>
                  <a:lnTo>
                    <a:pt x="707" y="886"/>
                  </a:lnTo>
                  <a:lnTo>
                    <a:pt x="702" y="883"/>
                  </a:lnTo>
                  <a:lnTo>
                    <a:pt x="701" y="883"/>
                  </a:lnTo>
                  <a:lnTo>
                    <a:pt x="698" y="891"/>
                  </a:lnTo>
                  <a:lnTo>
                    <a:pt x="693" y="894"/>
                  </a:lnTo>
                  <a:lnTo>
                    <a:pt x="664" y="840"/>
                  </a:lnTo>
                  <a:lnTo>
                    <a:pt x="646" y="825"/>
                  </a:lnTo>
                  <a:lnTo>
                    <a:pt x="646" y="821"/>
                  </a:lnTo>
                  <a:lnTo>
                    <a:pt x="650" y="818"/>
                  </a:lnTo>
                  <a:lnTo>
                    <a:pt x="649" y="816"/>
                  </a:lnTo>
                  <a:lnTo>
                    <a:pt x="640" y="821"/>
                  </a:lnTo>
                  <a:lnTo>
                    <a:pt x="635" y="821"/>
                  </a:lnTo>
                  <a:lnTo>
                    <a:pt x="630" y="828"/>
                  </a:lnTo>
                  <a:lnTo>
                    <a:pt x="621" y="831"/>
                  </a:lnTo>
                  <a:lnTo>
                    <a:pt x="621" y="836"/>
                  </a:lnTo>
                  <a:lnTo>
                    <a:pt x="619" y="836"/>
                  </a:lnTo>
                  <a:lnTo>
                    <a:pt x="619" y="834"/>
                  </a:lnTo>
                  <a:lnTo>
                    <a:pt x="613" y="833"/>
                  </a:lnTo>
                  <a:lnTo>
                    <a:pt x="606" y="836"/>
                  </a:lnTo>
                  <a:lnTo>
                    <a:pt x="604" y="833"/>
                  </a:lnTo>
                  <a:lnTo>
                    <a:pt x="604" y="831"/>
                  </a:lnTo>
                  <a:lnTo>
                    <a:pt x="606" y="828"/>
                  </a:lnTo>
                  <a:lnTo>
                    <a:pt x="609" y="827"/>
                  </a:lnTo>
                  <a:lnTo>
                    <a:pt x="609" y="824"/>
                  </a:lnTo>
                  <a:lnTo>
                    <a:pt x="606" y="827"/>
                  </a:lnTo>
                  <a:lnTo>
                    <a:pt x="604" y="827"/>
                  </a:lnTo>
                  <a:lnTo>
                    <a:pt x="595" y="822"/>
                  </a:lnTo>
                  <a:lnTo>
                    <a:pt x="597" y="825"/>
                  </a:lnTo>
                  <a:lnTo>
                    <a:pt x="592" y="825"/>
                  </a:lnTo>
                  <a:lnTo>
                    <a:pt x="592" y="821"/>
                  </a:lnTo>
                  <a:lnTo>
                    <a:pt x="591" y="816"/>
                  </a:lnTo>
                  <a:lnTo>
                    <a:pt x="590" y="816"/>
                  </a:lnTo>
                  <a:lnTo>
                    <a:pt x="590" y="819"/>
                  </a:lnTo>
                  <a:lnTo>
                    <a:pt x="588" y="821"/>
                  </a:lnTo>
                  <a:lnTo>
                    <a:pt x="584" y="821"/>
                  </a:lnTo>
                  <a:lnTo>
                    <a:pt x="581" y="822"/>
                  </a:lnTo>
                  <a:lnTo>
                    <a:pt x="576" y="822"/>
                  </a:lnTo>
                  <a:lnTo>
                    <a:pt x="576" y="821"/>
                  </a:lnTo>
                  <a:lnTo>
                    <a:pt x="575" y="818"/>
                  </a:lnTo>
                  <a:lnTo>
                    <a:pt x="578" y="814"/>
                  </a:lnTo>
                  <a:lnTo>
                    <a:pt x="578" y="809"/>
                  </a:lnTo>
                  <a:lnTo>
                    <a:pt x="575" y="808"/>
                  </a:lnTo>
                  <a:lnTo>
                    <a:pt x="575" y="806"/>
                  </a:lnTo>
                  <a:lnTo>
                    <a:pt x="573" y="797"/>
                  </a:lnTo>
                  <a:lnTo>
                    <a:pt x="570" y="796"/>
                  </a:lnTo>
                  <a:lnTo>
                    <a:pt x="564" y="799"/>
                  </a:lnTo>
                  <a:lnTo>
                    <a:pt x="563" y="799"/>
                  </a:lnTo>
                  <a:lnTo>
                    <a:pt x="557" y="794"/>
                  </a:lnTo>
                  <a:lnTo>
                    <a:pt x="548" y="793"/>
                  </a:lnTo>
                  <a:lnTo>
                    <a:pt x="544" y="797"/>
                  </a:lnTo>
                  <a:lnTo>
                    <a:pt x="539" y="797"/>
                  </a:lnTo>
                  <a:lnTo>
                    <a:pt x="539" y="803"/>
                  </a:lnTo>
                  <a:lnTo>
                    <a:pt x="538" y="803"/>
                  </a:lnTo>
                  <a:lnTo>
                    <a:pt x="509" y="811"/>
                  </a:lnTo>
                  <a:lnTo>
                    <a:pt x="501" y="812"/>
                  </a:lnTo>
                  <a:lnTo>
                    <a:pt x="498" y="816"/>
                  </a:lnTo>
                  <a:lnTo>
                    <a:pt x="490" y="816"/>
                  </a:lnTo>
                  <a:lnTo>
                    <a:pt x="486" y="819"/>
                  </a:lnTo>
                  <a:lnTo>
                    <a:pt x="484" y="821"/>
                  </a:lnTo>
                  <a:lnTo>
                    <a:pt x="478" y="819"/>
                  </a:lnTo>
                  <a:lnTo>
                    <a:pt x="472" y="824"/>
                  </a:lnTo>
                  <a:lnTo>
                    <a:pt x="466" y="824"/>
                  </a:lnTo>
                  <a:lnTo>
                    <a:pt x="465" y="827"/>
                  </a:lnTo>
                  <a:lnTo>
                    <a:pt x="464" y="827"/>
                  </a:lnTo>
                  <a:lnTo>
                    <a:pt x="462" y="825"/>
                  </a:lnTo>
                  <a:lnTo>
                    <a:pt x="452" y="825"/>
                  </a:lnTo>
                  <a:lnTo>
                    <a:pt x="450" y="824"/>
                  </a:lnTo>
                  <a:lnTo>
                    <a:pt x="446" y="825"/>
                  </a:lnTo>
                  <a:lnTo>
                    <a:pt x="447" y="827"/>
                  </a:lnTo>
                  <a:lnTo>
                    <a:pt x="447" y="828"/>
                  </a:lnTo>
                  <a:lnTo>
                    <a:pt x="446" y="833"/>
                  </a:lnTo>
                  <a:lnTo>
                    <a:pt x="449" y="831"/>
                  </a:lnTo>
                  <a:lnTo>
                    <a:pt x="450" y="831"/>
                  </a:lnTo>
                  <a:lnTo>
                    <a:pt x="452" y="833"/>
                  </a:lnTo>
                  <a:lnTo>
                    <a:pt x="452" y="834"/>
                  </a:lnTo>
                  <a:lnTo>
                    <a:pt x="447" y="836"/>
                  </a:lnTo>
                  <a:lnTo>
                    <a:pt x="447" y="839"/>
                  </a:lnTo>
                  <a:lnTo>
                    <a:pt x="455" y="840"/>
                  </a:lnTo>
                  <a:lnTo>
                    <a:pt x="461" y="843"/>
                  </a:lnTo>
                  <a:lnTo>
                    <a:pt x="461" y="845"/>
                  </a:lnTo>
                  <a:lnTo>
                    <a:pt x="458" y="846"/>
                  </a:lnTo>
                  <a:lnTo>
                    <a:pt x="446" y="848"/>
                  </a:lnTo>
                  <a:lnTo>
                    <a:pt x="441" y="852"/>
                  </a:lnTo>
                  <a:lnTo>
                    <a:pt x="446" y="857"/>
                  </a:lnTo>
                  <a:lnTo>
                    <a:pt x="446" y="858"/>
                  </a:lnTo>
                  <a:lnTo>
                    <a:pt x="444" y="861"/>
                  </a:lnTo>
                  <a:lnTo>
                    <a:pt x="444" y="862"/>
                  </a:lnTo>
                  <a:lnTo>
                    <a:pt x="432" y="868"/>
                  </a:lnTo>
                  <a:lnTo>
                    <a:pt x="435" y="870"/>
                  </a:lnTo>
                  <a:lnTo>
                    <a:pt x="437" y="873"/>
                  </a:lnTo>
                  <a:lnTo>
                    <a:pt x="441" y="874"/>
                  </a:lnTo>
                  <a:lnTo>
                    <a:pt x="443" y="874"/>
                  </a:lnTo>
                  <a:lnTo>
                    <a:pt x="444" y="879"/>
                  </a:lnTo>
                  <a:lnTo>
                    <a:pt x="453" y="880"/>
                  </a:lnTo>
                  <a:lnTo>
                    <a:pt x="453" y="882"/>
                  </a:lnTo>
                  <a:lnTo>
                    <a:pt x="450" y="892"/>
                  </a:lnTo>
                  <a:lnTo>
                    <a:pt x="450" y="894"/>
                  </a:lnTo>
                  <a:lnTo>
                    <a:pt x="449" y="894"/>
                  </a:lnTo>
                  <a:lnTo>
                    <a:pt x="438" y="897"/>
                  </a:lnTo>
                  <a:lnTo>
                    <a:pt x="432" y="892"/>
                  </a:lnTo>
                  <a:lnTo>
                    <a:pt x="428" y="898"/>
                  </a:lnTo>
                  <a:lnTo>
                    <a:pt x="424" y="898"/>
                  </a:lnTo>
                  <a:lnTo>
                    <a:pt x="422" y="897"/>
                  </a:lnTo>
                  <a:lnTo>
                    <a:pt x="415" y="897"/>
                  </a:lnTo>
                  <a:lnTo>
                    <a:pt x="415" y="895"/>
                  </a:lnTo>
                  <a:lnTo>
                    <a:pt x="410" y="888"/>
                  </a:lnTo>
                  <a:lnTo>
                    <a:pt x="409" y="886"/>
                  </a:lnTo>
                  <a:lnTo>
                    <a:pt x="403" y="888"/>
                  </a:lnTo>
                  <a:lnTo>
                    <a:pt x="398" y="891"/>
                  </a:lnTo>
                  <a:lnTo>
                    <a:pt x="394" y="888"/>
                  </a:lnTo>
                  <a:lnTo>
                    <a:pt x="389" y="888"/>
                  </a:lnTo>
                  <a:lnTo>
                    <a:pt x="389" y="889"/>
                  </a:lnTo>
                  <a:lnTo>
                    <a:pt x="388" y="891"/>
                  </a:lnTo>
                  <a:lnTo>
                    <a:pt x="386" y="889"/>
                  </a:lnTo>
                  <a:lnTo>
                    <a:pt x="385" y="889"/>
                  </a:lnTo>
                  <a:lnTo>
                    <a:pt x="376" y="897"/>
                  </a:lnTo>
                  <a:lnTo>
                    <a:pt x="375" y="897"/>
                  </a:lnTo>
                  <a:lnTo>
                    <a:pt x="367" y="894"/>
                  </a:lnTo>
                  <a:lnTo>
                    <a:pt x="363" y="888"/>
                  </a:lnTo>
                  <a:lnTo>
                    <a:pt x="363" y="897"/>
                  </a:lnTo>
                  <a:lnTo>
                    <a:pt x="361" y="897"/>
                  </a:lnTo>
                  <a:lnTo>
                    <a:pt x="360" y="898"/>
                  </a:lnTo>
                  <a:lnTo>
                    <a:pt x="358" y="892"/>
                  </a:lnTo>
                  <a:lnTo>
                    <a:pt x="346" y="879"/>
                  </a:lnTo>
                  <a:lnTo>
                    <a:pt x="333" y="879"/>
                  </a:lnTo>
                  <a:lnTo>
                    <a:pt x="333" y="877"/>
                  </a:lnTo>
                  <a:lnTo>
                    <a:pt x="330" y="873"/>
                  </a:lnTo>
                  <a:lnTo>
                    <a:pt x="326" y="873"/>
                  </a:lnTo>
                  <a:lnTo>
                    <a:pt x="323" y="879"/>
                  </a:lnTo>
                  <a:lnTo>
                    <a:pt x="321" y="877"/>
                  </a:lnTo>
                  <a:lnTo>
                    <a:pt x="320" y="877"/>
                  </a:lnTo>
                  <a:lnTo>
                    <a:pt x="318" y="879"/>
                  </a:lnTo>
                  <a:lnTo>
                    <a:pt x="317" y="877"/>
                  </a:lnTo>
                  <a:lnTo>
                    <a:pt x="317" y="874"/>
                  </a:lnTo>
                  <a:lnTo>
                    <a:pt x="309" y="876"/>
                  </a:lnTo>
                  <a:lnTo>
                    <a:pt x="303" y="882"/>
                  </a:lnTo>
                  <a:lnTo>
                    <a:pt x="293" y="886"/>
                  </a:lnTo>
                  <a:lnTo>
                    <a:pt x="292" y="892"/>
                  </a:lnTo>
                  <a:lnTo>
                    <a:pt x="286" y="897"/>
                  </a:lnTo>
                  <a:lnTo>
                    <a:pt x="283" y="897"/>
                  </a:lnTo>
                  <a:lnTo>
                    <a:pt x="286" y="908"/>
                  </a:lnTo>
                  <a:lnTo>
                    <a:pt x="280" y="914"/>
                  </a:lnTo>
                  <a:lnTo>
                    <a:pt x="280" y="913"/>
                  </a:lnTo>
                  <a:lnTo>
                    <a:pt x="268" y="900"/>
                  </a:lnTo>
                  <a:lnTo>
                    <a:pt x="266" y="907"/>
                  </a:lnTo>
                  <a:lnTo>
                    <a:pt x="266" y="908"/>
                  </a:lnTo>
                  <a:lnTo>
                    <a:pt x="262" y="911"/>
                  </a:lnTo>
                  <a:lnTo>
                    <a:pt x="260" y="922"/>
                  </a:lnTo>
                  <a:lnTo>
                    <a:pt x="263" y="925"/>
                  </a:lnTo>
                  <a:lnTo>
                    <a:pt x="263" y="926"/>
                  </a:lnTo>
                  <a:lnTo>
                    <a:pt x="259" y="931"/>
                  </a:lnTo>
                  <a:lnTo>
                    <a:pt x="256" y="940"/>
                  </a:lnTo>
                  <a:lnTo>
                    <a:pt x="262" y="941"/>
                  </a:lnTo>
                  <a:lnTo>
                    <a:pt x="262" y="943"/>
                  </a:lnTo>
                  <a:lnTo>
                    <a:pt x="265" y="951"/>
                  </a:lnTo>
                  <a:lnTo>
                    <a:pt x="277" y="951"/>
                  </a:lnTo>
                  <a:lnTo>
                    <a:pt x="277" y="953"/>
                  </a:lnTo>
                  <a:lnTo>
                    <a:pt x="278" y="953"/>
                  </a:lnTo>
                  <a:lnTo>
                    <a:pt x="283" y="959"/>
                  </a:lnTo>
                  <a:lnTo>
                    <a:pt x="287" y="972"/>
                  </a:lnTo>
                  <a:lnTo>
                    <a:pt x="280" y="972"/>
                  </a:lnTo>
                  <a:lnTo>
                    <a:pt x="280" y="975"/>
                  </a:lnTo>
                  <a:lnTo>
                    <a:pt x="281" y="975"/>
                  </a:lnTo>
                  <a:lnTo>
                    <a:pt x="287" y="980"/>
                  </a:lnTo>
                  <a:lnTo>
                    <a:pt x="287" y="981"/>
                  </a:lnTo>
                  <a:lnTo>
                    <a:pt x="281" y="983"/>
                  </a:lnTo>
                  <a:lnTo>
                    <a:pt x="275" y="990"/>
                  </a:lnTo>
                  <a:lnTo>
                    <a:pt x="274" y="990"/>
                  </a:lnTo>
                  <a:lnTo>
                    <a:pt x="271" y="983"/>
                  </a:lnTo>
                  <a:lnTo>
                    <a:pt x="268" y="981"/>
                  </a:lnTo>
                  <a:lnTo>
                    <a:pt x="269" y="984"/>
                  </a:lnTo>
                  <a:lnTo>
                    <a:pt x="268" y="993"/>
                  </a:lnTo>
                  <a:lnTo>
                    <a:pt x="265" y="993"/>
                  </a:lnTo>
                  <a:lnTo>
                    <a:pt x="265" y="1000"/>
                  </a:lnTo>
                  <a:lnTo>
                    <a:pt x="256" y="1014"/>
                  </a:lnTo>
                  <a:lnTo>
                    <a:pt x="262" y="1020"/>
                  </a:lnTo>
                  <a:lnTo>
                    <a:pt x="266" y="1028"/>
                  </a:lnTo>
                  <a:lnTo>
                    <a:pt x="266" y="1026"/>
                  </a:lnTo>
                  <a:lnTo>
                    <a:pt x="268" y="1026"/>
                  </a:lnTo>
                  <a:lnTo>
                    <a:pt x="268" y="1040"/>
                  </a:lnTo>
                  <a:lnTo>
                    <a:pt x="278" y="1060"/>
                  </a:lnTo>
                  <a:lnTo>
                    <a:pt x="280" y="1061"/>
                  </a:lnTo>
                  <a:lnTo>
                    <a:pt x="280" y="1063"/>
                  </a:lnTo>
                  <a:lnTo>
                    <a:pt x="272" y="1071"/>
                  </a:lnTo>
                  <a:lnTo>
                    <a:pt x="263" y="1071"/>
                  </a:lnTo>
                  <a:lnTo>
                    <a:pt x="262" y="1066"/>
                  </a:lnTo>
                  <a:lnTo>
                    <a:pt x="253" y="1060"/>
                  </a:lnTo>
                  <a:lnTo>
                    <a:pt x="244" y="1055"/>
                  </a:lnTo>
                  <a:lnTo>
                    <a:pt x="243" y="1055"/>
                  </a:lnTo>
                  <a:lnTo>
                    <a:pt x="243" y="1049"/>
                  </a:lnTo>
                  <a:lnTo>
                    <a:pt x="237" y="1046"/>
                  </a:lnTo>
                  <a:lnTo>
                    <a:pt x="231" y="1045"/>
                  </a:lnTo>
                  <a:lnTo>
                    <a:pt x="222" y="1048"/>
                  </a:lnTo>
                  <a:lnTo>
                    <a:pt x="220" y="1048"/>
                  </a:lnTo>
                  <a:lnTo>
                    <a:pt x="207" y="1037"/>
                  </a:lnTo>
                  <a:lnTo>
                    <a:pt x="192" y="1037"/>
                  </a:lnTo>
                  <a:lnTo>
                    <a:pt x="177" y="1031"/>
                  </a:lnTo>
                  <a:lnTo>
                    <a:pt x="174" y="1031"/>
                  </a:lnTo>
                  <a:lnTo>
                    <a:pt x="170" y="1033"/>
                  </a:lnTo>
                  <a:lnTo>
                    <a:pt x="166" y="1033"/>
                  </a:lnTo>
                  <a:lnTo>
                    <a:pt x="152" y="1020"/>
                  </a:lnTo>
                  <a:lnTo>
                    <a:pt x="137" y="1011"/>
                  </a:lnTo>
                  <a:lnTo>
                    <a:pt x="136" y="1011"/>
                  </a:lnTo>
                  <a:lnTo>
                    <a:pt x="134" y="1012"/>
                  </a:lnTo>
                  <a:lnTo>
                    <a:pt x="124" y="1002"/>
                  </a:lnTo>
                  <a:lnTo>
                    <a:pt x="124" y="1000"/>
                  </a:lnTo>
                  <a:lnTo>
                    <a:pt x="127" y="997"/>
                  </a:lnTo>
                  <a:lnTo>
                    <a:pt x="134" y="997"/>
                  </a:lnTo>
                  <a:lnTo>
                    <a:pt x="142" y="986"/>
                  </a:lnTo>
                  <a:lnTo>
                    <a:pt x="148" y="984"/>
                  </a:lnTo>
                  <a:lnTo>
                    <a:pt x="139" y="977"/>
                  </a:lnTo>
                  <a:lnTo>
                    <a:pt x="140" y="974"/>
                  </a:lnTo>
                  <a:lnTo>
                    <a:pt x="148" y="972"/>
                  </a:lnTo>
                  <a:lnTo>
                    <a:pt x="148" y="971"/>
                  </a:lnTo>
                  <a:lnTo>
                    <a:pt x="160" y="966"/>
                  </a:lnTo>
                  <a:lnTo>
                    <a:pt x="158" y="965"/>
                  </a:lnTo>
                  <a:lnTo>
                    <a:pt x="148" y="966"/>
                  </a:lnTo>
                  <a:lnTo>
                    <a:pt x="146" y="966"/>
                  </a:lnTo>
                  <a:lnTo>
                    <a:pt x="146" y="959"/>
                  </a:lnTo>
                  <a:lnTo>
                    <a:pt x="148" y="954"/>
                  </a:lnTo>
                  <a:lnTo>
                    <a:pt x="152" y="953"/>
                  </a:lnTo>
                  <a:lnTo>
                    <a:pt x="155" y="948"/>
                  </a:lnTo>
                  <a:lnTo>
                    <a:pt x="157" y="948"/>
                  </a:lnTo>
                  <a:lnTo>
                    <a:pt x="160" y="951"/>
                  </a:lnTo>
                  <a:lnTo>
                    <a:pt x="166" y="951"/>
                  </a:lnTo>
                  <a:lnTo>
                    <a:pt x="169" y="943"/>
                  </a:lnTo>
                  <a:lnTo>
                    <a:pt x="167" y="941"/>
                  </a:lnTo>
                  <a:lnTo>
                    <a:pt x="166" y="941"/>
                  </a:lnTo>
                  <a:lnTo>
                    <a:pt x="166" y="934"/>
                  </a:lnTo>
                  <a:lnTo>
                    <a:pt x="170" y="931"/>
                  </a:lnTo>
                  <a:lnTo>
                    <a:pt x="166" y="928"/>
                  </a:lnTo>
                  <a:lnTo>
                    <a:pt x="170" y="926"/>
                  </a:lnTo>
                  <a:lnTo>
                    <a:pt x="172" y="923"/>
                  </a:lnTo>
                  <a:lnTo>
                    <a:pt x="170" y="917"/>
                  </a:lnTo>
                  <a:lnTo>
                    <a:pt x="158" y="911"/>
                  </a:lnTo>
                  <a:lnTo>
                    <a:pt x="154" y="911"/>
                  </a:lnTo>
                  <a:lnTo>
                    <a:pt x="148" y="908"/>
                  </a:lnTo>
                  <a:lnTo>
                    <a:pt x="145" y="910"/>
                  </a:lnTo>
                  <a:lnTo>
                    <a:pt x="143" y="910"/>
                  </a:lnTo>
                  <a:lnTo>
                    <a:pt x="143" y="908"/>
                  </a:lnTo>
                  <a:lnTo>
                    <a:pt x="134" y="900"/>
                  </a:lnTo>
                  <a:lnTo>
                    <a:pt x="126" y="902"/>
                  </a:lnTo>
                  <a:lnTo>
                    <a:pt x="123" y="902"/>
                  </a:lnTo>
                  <a:lnTo>
                    <a:pt x="120" y="900"/>
                  </a:lnTo>
                  <a:lnTo>
                    <a:pt x="112" y="900"/>
                  </a:lnTo>
                  <a:lnTo>
                    <a:pt x="109" y="897"/>
                  </a:lnTo>
                  <a:lnTo>
                    <a:pt x="109" y="888"/>
                  </a:lnTo>
                  <a:lnTo>
                    <a:pt x="106" y="883"/>
                  </a:lnTo>
                  <a:lnTo>
                    <a:pt x="102" y="885"/>
                  </a:lnTo>
                  <a:lnTo>
                    <a:pt x="96" y="882"/>
                  </a:lnTo>
                  <a:lnTo>
                    <a:pt x="94" y="882"/>
                  </a:lnTo>
                  <a:lnTo>
                    <a:pt x="94" y="880"/>
                  </a:lnTo>
                  <a:lnTo>
                    <a:pt x="93" y="873"/>
                  </a:lnTo>
                  <a:lnTo>
                    <a:pt x="96" y="871"/>
                  </a:lnTo>
                  <a:lnTo>
                    <a:pt x="96" y="870"/>
                  </a:lnTo>
                  <a:lnTo>
                    <a:pt x="89" y="859"/>
                  </a:lnTo>
                  <a:lnTo>
                    <a:pt x="72" y="861"/>
                  </a:lnTo>
                  <a:lnTo>
                    <a:pt x="66" y="867"/>
                  </a:lnTo>
                  <a:lnTo>
                    <a:pt x="63" y="865"/>
                  </a:lnTo>
                  <a:lnTo>
                    <a:pt x="63" y="864"/>
                  </a:lnTo>
                  <a:lnTo>
                    <a:pt x="62" y="864"/>
                  </a:lnTo>
                  <a:lnTo>
                    <a:pt x="59" y="848"/>
                  </a:lnTo>
                  <a:lnTo>
                    <a:pt x="56" y="843"/>
                  </a:lnTo>
                  <a:lnTo>
                    <a:pt x="56" y="842"/>
                  </a:lnTo>
                  <a:lnTo>
                    <a:pt x="59" y="839"/>
                  </a:lnTo>
                  <a:lnTo>
                    <a:pt x="60" y="839"/>
                  </a:lnTo>
                  <a:lnTo>
                    <a:pt x="68" y="842"/>
                  </a:lnTo>
                  <a:lnTo>
                    <a:pt x="75" y="836"/>
                  </a:lnTo>
                  <a:lnTo>
                    <a:pt x="75" y="833"/>
                  </a:lnTo>
                  <a:lnTo>
                    <a:pt x="74" y="833"/>
                  </a:lnTo>
                  <a:lnTo>
                    <a:pt x="72" y="830"/>
                  </a:lnTo>
                  <a:lnTo>
                    <a:pt x="69" y="828"/>
                  </a:lnTo>
                  <a:lnTo>
                    <a:pt x="63" y="828"/>
                  </a:lnTo>
                  <a:lnTo>
                    <a:pt x="62" y="824"/>
                  </a:lnTo>
                  <a:lnTo>
                    <a:pt x="57" y="819"/>
                  </a:lnTo>
                  <a:lnTo>
                    <a:pt x="50" y="806"/>
                  </a:lnTo>
                  <a:lnTo>
                    <a:pt x="53" y="799"/>
                  </a:lnTo>
                  <a:lnTo>
                    <a:pt x="50" y="794"/>
                  </a:lnTo>
                  <a:lnTo>
                    <a:pt x="51" y="788"/>
                  </a:lnTo>
                  <a:lnTo>
                    <a:pt x="43" y="782"/>
                  </a:lnTo>
                  <a:lnTo>
                    <a:pt x="32" y="785"/>
                  </a:lnTo>
                  <a:lnTo>
                    <a:pt x="31" y="785"/>
                  </a:lnTo>
                  <a:lnTo>
                    <a:pt x="32" y="781"/>
                  </a:lnTo>
                  <a:lnTo>
                    <a:pt x="29" y="779"/>
                  </a:lnTo>
                  <a:lnTo>
                    <a:pt x="17" y="778"/>
                  </a:lnTo>
                  <a:lnTo>
                    <a:pt x="17" y="776"/>
                  </a:lnTo>
                  <a:lnTo>
                    <a:pt x="16" y="775"/>
                  </a:lnTo>
                  <a:lnTo>
                    <a:pt x="16" y="766"/>
                  </a:lnTo>
                  <a:lnTo>
                    <a:pt x="11" y="759"/>
                  </a:lnTo>
                  <a:lnTo>
                    <a:pt x="8" y="757"/>
                  </a:lnTo>
                  <a:lnTo>
                    <a:pt x="10" y="748"/>
                  </a:lnTo>
                  <a:lnTo>
                    <a:pt x="6" y="742"/>
                  </a:lnTo>
                  <a:lnTo>
                    <a:pt x="6" y="739"/>
                  </a:lnTo>
                  <a:lnTo>
                    <a:pt x="10" y="733"/>
                  </a:lnTo>
                  <a:lnTo>
                    <a:pt x="7" y="728"/>
                  </a:lnTo>
                  <a:lnTo>
                    <a:pt x="6" y="723"/>
                  </a:lnTo>
                  <a:lnTo>
                    <a:pt x="4" y="723"/>
                  </a:lnTo>
                  <a:lnTo>
                    <a:pt x="3" y="722"/>
                  </a:lnTo>
                  <a:lnTo>
                    <a:pt x="0" y="708"/>
                  </a:lnTo>
                  <a:lnTo>
                    <a:pt x="10" y="704"/>
                  </a:lnTo>
                  <a:lnTo>
                    <a:pt x="16" y="696"/>
                  </a:lnTo>
                  <a:lnTo>
                    <a:pt x="14" y="689"/>
                  </a:lnTo>
                  <a:lnTo>
                    <a:pt x="26" y="680"/>
                  </a:lnTo>
                  <a:lnTo>
                    <a:pt x="40" y="682"/>
                  </a:lnTo>
                  <a:lnTo>
                    <a:pt x="35" y="677"/>
                  </a:lnTo>
                  <a:lnTo>
                    <a:pt x="19" y="673"/>
                  </a:lnTo>
                  <a:lnTo>
                    <a:pt x="17" y="673"/>
                  </a:lnTo>
                  <a:lnTo>
                    <a:pt x="16" y="667"/>
                  </a:lnTo>
                  <a:lnTo>
                    <a:pt x="16" y="665"/>
                  </a:lnTo>
                  <a:lnTo>
                    <a:pt x="17" y="665"/>
                  </a:lnTo>
                  <a:lnTo>
                    <a:pt x="19" y="667"/>
                  </a:lnTo>
                  <a:lnTo>
                    <a:pt x="19" y="662"/>
                  </a:lnTo>
                  <a:lnTo>
                    <a:pt x="7" y="665"/>
                  </a:lnTo>
                  <a:lnTo>
                    <a:pt x="6" y="664"/>
                  </a:lnTo>
                  <a:lnTo>
                    <a:pt x="7" y="664"/>
                  </a:lnTo>
                  <a:lnTo>
                    <a:pt x="37" y="636"/>
                  </a:lnTo>
                  <a:lnTo>
                    <a:pt x="56" y="606"/>
                  </a:lnTo>
                  <a:lnTo>
                    <a:pt x="56" y="597"/>
                  </a:lnTo>
                  <a:lnTo>
                    <a:pt x="48" y="587"/>
                  </a:lnTo>
                  <a:lnTo>
                    <a:pt x="41" y="578"/>
                  </a:lnTo>
                  <a:lnTo>
                    <a:pt x="46" y="561"/>
                  </a:lnTo>
                  <a:lnTo>
                    <a:pt x="40" y="554"/>
                  </a:lnTo>
                  <a:lnTo>
                    <a:pt x="38" y="545"/>
                  </a:lnTo>
                  <a:lnTo>
                    <a:pt x="35" y="544"/>
                  </a:lnTo>
                  <a:lnTo>
                    <a:pt x="35" y="530"/>
                  </a:lnTo>
                  <a:lnTo>
                    <a:pt x="40" y="514"/>
                  </a:lnTo>
                  <a:lnTo>
                    <a:pt x="28" y="477"/>
                  </a:lnTo>
                  <a:lnTo>
                    <a:pt x="38" y="455"/>
                  </a:lnTo>
                  <a:lnTo>
                    <a:pt x="29" y="437"/>
                  </a:lnTo>
                  <a:lnTo>
                    <a:pt x="19" y="428"/>
                  </a:lnTo>
                  <a:lnTo>
                    <a:pt x="19" y="427"/>
                  </a:lnTo>
                  <a:lnTo>
                    <a:pt x="20" y="412"/>
                  </a:lnTo>
                  <a:lnTo>
                    <a:pt x="19" y="410"/>
                  </a:lnTo>
                  <a:lnTo>
                    <a:pt x="19" y="409"/>
                  </a:lnTo>
                  <a:lnTo>
                    <a:pt x="38" y="390"/>
                  </a:lnTo>
                  <a:lnTo>
                    <a:pt x="41" y="382"/>
                  </a:lnTo>
                  <a:lnTo>
                    <a:pt x="41" y="381"/>
                  </a:lnTo>
                  <a:lnTo>
                    <a:pt x="48" y="384"/>
                  </a:lnTo>
                  <a:lnTo>
                    <a:pt x="48" y="376"/>
                  </a:lnTo>
                  <a:lnTo>
                    <a:pt x="50" y="376"/>
                  </a:lnTo>
                  <a:lnTo>
                    <a:pt x="59" y="381"/>
                  </a:lnTo>
                  <a:lnTo>
                    <a:pt x="60" y="376"/>
                  </a:lnTo>
                  <a:lnTo>
                    <a:pt x="62" y="376"/>
                  </a:lnTo>
                  <a:lnTo>
                    <a:pt x="62" y="370"/>
                  </a:lnTo>
                  <a:lnTo>
                    <a:pt x="63" y="370"/>
                  </a:lnTo>
                  <a:lnTo>
                    <a:pt x="78" y="378"/>
                  </a:lnTo>
                  <a:lnTo>
                    <a:pt x="80" y="378"/>
                  </a:lnTo>
                  <a:lnTo>
                    <a:pt x="80" y="379"/>
                  </a:lnTo>
                  <a:lnTo>
                    <a:pt x="77" y="385"/>
                  </a:lnTo>
                  <a:lnTo>
                    <a:pt x="75" y="385"/>
                  </a:lnTo>
                  <a:lnTo>
                    <a:pt x="66" y="379"/>
                  </a:lnTo>
                  <a:lnTo>
                    <a:pt x="65" y="385"/>
                  </a:lnTo>
                  <a:lnTo>
                    <a:pt x="77" y="390"/>
                  </a:lnTo>
                  <a:lnTo>
                    <a:pt x="77" y="392"/>
                  </a:lnTo>
                  <a:lnTo>
                    <a:pt x="80" y="391"/>
                  </a:lnTo>
                  <a:lnTo>
                    <a:pt x="83" y="397"/>
                  </a:lnTo>
                  <a:lnTo>
                    <a:pt x="115" y="398"/>
                  </a:lnTo>
                  <a:lnTo>
                    <a:pt x="149" y="431"/>
                  </a:lnTo>
                  <a:lnTo>
                    <a:pt x="169" y="437"/>
                  </a:lnTo>
                  <a:lnTo>
                    <a:pt x="182" y="453"/>
                  </a:lnTo>
                  <a:lnTo>
                    <a:pt x="183" y="468"/>
                  </a:lnTo>
                  <a:lnTo>
                    <a:pt x="188" y="470"/>
                  </a:lnTo>
                  <a:lnTo>
                    <a:pt x="188" y="471"/>
                  </a:lnTo>
                  <a:lnTo>
                    <a:pt x="185" y="483"/>
                  </a:lnTo>
                  <a:lnTo>
                    <a:pt x="170" y="499"/>
                  </a:lnTo>
                  <a:lnTo>
                    <a:pt x="154" y="505"/>
                  </a:lnTo>
                  <a:lnTo>
                    <a:pt x="96" y="492"/>
                  </a:lnTo>
                  <a:lnTo>
                    <a:pt x="96" y="490"/>
                  </a:lnTo>
                  <a:lnTo>
                    <a:pt x="94" y="486"/>
                  </a:lnTo>
                  <a:lnTo>
                    <a:pt x="84" y="484"/>
                  </a:lnTo>
                  <a:lnTo>
                    <a:pt x="83" y="484"/>
                  </a:lnTo>
                  <a:lnTo>
                    <a:pt x="69" y="471"/>
                  </a:lnTo>
                  <a:lnTo>
                    <a:pt x="65" y="474"/>
                  </a:lnTo>
                  <a:lnTo>
                    <a:pt x="102" y="511"/>
                  </a:lnTo>
                  <a:lnTo>
                    <a:pt x="102" y="513"/>
                  </a:lnTo>
                  <a:lnTo>
                    <a:pt x="100" y="526"/>
                  </a:lnTo>
                  <a:lnTo>
                    <a:pt x="100" y="527"/>
                  </a:lnTo>
                  <a:lnTo>
                    <a:pt x="96" y="530"/>
                  </a:lnTo>
                  <a:lnTo>
                    <a:pt x="102" y="544"/>
                  </a:lnTo>
                  <a:lnTo>
                    <a:pt x="103" y="551"/>
                  </a:lnTo>
                  <a:lnTo>
                    <a:pt x="100" y="557"/>
                  </a:lnTo>
                  <a:lnTo>
                    <a:pt x="112" y="559"/>
                  </a:lnTo>
                  <a:lnTo>
                    <a:pt x="120" y="569"/>
                  </a:lnTo>
                  <a:lnTo>
                    <a:pt x="136" y="576"/>
                  </a:lnTo>
                  <a:lnTo>
                    <a:pt x="145" y="573"/>
                  </a:lnTo>
                  <a:lnTo>
                    <a:pt x="140" y="557"/>
                  </a:lnTo>
                  <a:lnTo>
                    <a:pt x="134" y="560"/>
                  </a:lnTo>
                  <a:lnTo>
                    <a:pt x="133" y="560"/>
                  </a:lnTo>
                  <a:lnTo>
                    <a:pt x="124" y="550"/>
                  </a:lnTo>
                  <a:lnTo>
                    <a:pt x="123" y="544"/>
                  </a:lnTo>
                  <a:lnTo>
                    <a:pt x="123" y="542"/>
                  </a:lnTo>
                  <a:lnTo>
                    <a:pt x="129" y="533"/>
                  </a:lnTo>
                  <a:lnTo>
                    <a:pt x="148" y="544"/>
                  </a:lnTo>
                  <a:lnTo>
                    <a:pt x="148" y="545"/>
                  </a:lnTo>
                  <a:lnTo>
                    <a:pt x="145" y="547"/>
                  </a:lnTo>
                  <a:lnTo>
                    <a:pt x="145" y="550"/>
                  </a:lnTo>
                  <a:lnTo>
                    <a:pt x="149" y="545"/>
                  </a:lnTo>
                  <a:lnTo>
                    <a:pt x="179" y="556"/>
                  </a:lnTo>
                  <a:lnTo>
                    <a:pt x="167" y="530"/>
                  </a:lnTo>
                  <a:lnTo>
                    <a:pt x="166" y="520"/>
                  </a:lnTo>
                  <a:lnTo>
                    <a:pt x="167" y="520"/>
                  </a:lnTo>
                  <a:lnTo>
                    <a:pt x="188" y="505"/>
                  </a:lnTo>
                  <a:lnTo>
                    <a:pt x="198" y="490"/>
                  </a:lnTo>
                  <a:lnTo>
                    <a:pt x="200" y="490"/>
                  </a:lnTo>
                  <a:lnTo>
                    <a:pt x="216" y="499"/>
                  </a:lnTo>
                  <a:lnTo>
                    <a:pt x="216" y="501"/>
                  </a:lnTo>
                  <a:lnTo>
                    <a:pt x="215" y="505"/>
                  </a:lnTo>
                  <a:lnTo>
                    <a:pt x="217" y="504"/>
                  </a:lnTo>
                  <a:lnTo>
                    <a:pt x="219" y="504"/>
                  </a:lnTo>
                  <a:lnTo>
                    <a:pt x="222" y="508"/>
                  </a:lnTo>
                  <a:lnTo>
                    <a:pt x="222" y="499"/>
                  </a:lnTo>
                  <a:lnTo>
                    <a:pt x="228" y="477"/>
                  </a:lnTo>
                  <a:lnTo>
                    <a:pt x="217" y="465"/>
                  </a:lnTo>
                  <a:lnTo>
                    <a:pt x="222" y="450"/>
                  </a:lnTo>
                  <a:lnTo>
                    <a:pt x="222" y="431"/>
                  </a:lnTo>
                  <a:lnTo>
                    <a:pt x="212" y="418"/>
                  </a:lnTo>
                  <a:lnTo>
                    <a:pt x="244" y="424"/>
                  </a:lnTo>
                  <a:lnTo>
                    <a:pt x="253" y="434"/>
                  </a:lnTo>
                  <a:lnTo>
                    <a:pt x="256" y="447"/>
                  </a:lnTo>
                  <a:lnTo>
                    <a:pt x="256" y="449"/>
                  </a:lnTo>
                  <a:lnTo>
                    <a:pt x="240" y="452"/>
                  </a:lnTo>
                  <a:lnTo>
                    <a:pt x="235" y="461"/>
                  </a:lnTo>
                  <a:lnTo>
                    <a:pt x="247" y="480"/>
                  </a:lnTo>
                  <a:lnTo>
                    <a:pt x="255" y="480"/>
                  </a:lnTo>
                  <a:lnTo>
                    <a:pt x="256" y="486"/>
                  </a:lnTo>
                  <a:lnTo>
                    <a:pt x="268" y="475"/>
                  </a:lnTo>
                  <a:lnTo>
                    <a:pt x="268" y="470"/>
                  </a:lnTo>
                  <a:lnTo>
                    <a:pt x="272" y="456"/>
                  </a:lnTo>
                  <a:lnTo>
                    <a:pt x="320" y="425"/>
                  </a:lnTo>
                  <a:lnTo>
                    <a:pt x="327" y="424"/>
                  </a:lnTo>
                  <a:lnTo>
                    <a:pt x="330" y="428"/>
                  </a:lnTo>
                  <a:lnTo>
                    <a:pt x="333" y="424"/>
                  </a:lnTo>
                  <a:lnTo>
                    <a:pt x="330" y="422"/>
                  </a:lnTo>
                  <a:lnTo>
                    <a:pt x="330" y="421"/>
                  </a:lnTo>
                  <a:lnTo>
                    <a:pt x="335" y="415"/>
                  </a:lnTo>
                  <a:lnTo>
                    <a:pt x="336" y="415"/>
                  </a:lnTo>
                  <a:lnTo>
                    <a:pt x="339" y="419"/>
                  </a:lnTo>
                  <a:lnTo>
                    <a:pt x="340" y="419"/>
                  </a:lnTo>
                  <a:lnTo>
                    <a:pt x="340" y="415"/>
                  </a:lnTo>
                  <a:lnTo>
                    <a:pt x="342" y="410"/>
                  </a:lnTo>
                  <a:lnTo>
                    <a:pt x="343" y="410"/>
                  </a:lnTo>
                  <a:lnTo>
                    <a:pt x="358" y="406"/>
                  </a:lnTo>
                  <a:lnTo>
                    <a:pt x="358" y="407"/>
                  </a:lnTo>
                  <a:lnTo>
                    <a:pt x="349" y="412"/>
                  </a:lnTo>
                  <a:lnTo>
                    <a:pt x="352" y="413"/>
                  </a:lnTo>
                  <a:lnTo>
                    <a:pt x="354" y="413"/>
                  </a:lnTo>
                  <a:lnTo>
                    <a:pt x="354" y="415"/>
                  </a:lnTo>
                  <a:lnTo>
                    <a:pt x="351" y="421"/>
                  </a:lnTo>
                  <a:lnTo>
                    <a:pt x="352" y="430"/>
                  </a:lnTo>
                  <a:lnTo>
                    <a:pt x="360" y="435"/>
                  </a:lnTo>
                  <a:lnTo>
                    <a:pt x="370" y="421"/>
                  </a:lnTo>
                  <a:lnTo>
                    <a:pt x="382" y="421"/>
                  </a:lnTo>
                  <a:lnTo>
                    <a:pt x="391" y="422"/>
                  </a:lnTo>
                  <a:lnTo>
                    <a:pt x="394" y="422"/>
                  </a:lnTo>
                  <a:lnTo>
                    <a:pt x="415" y="404"/>
                  </a:lnTo>
                  <a:lnTo>
                    <a:pt x="424" y="416"/>
                  </a:lnTo>
                  <a:lnTo>
                    <a:pt x="419" y="425"/>
                  </a:lnTo>
                  <a:lnTo>
                    <a:pt x="424" y="430"/>
                  </a:lnTo>
                  <a:lnTo>
                    <a:pt x="428" y="425"/>
                  </a:lnTo>
                  <a:lnTo>
                    <a:pt x="428" y="416"/>
                  </a:lnTo>
                  <a:lnTo>
                    <a:pt x="440" y="409"/>
                  </a:lnTo>
                  <a:lnTo>
                    <a:pt x="441" y="401"/>
                  </a:lnTo>
                  <a:lnTo>
                    <a:pt x="434" y="384"/>
                  </a:lnTo>
                  <a:lnTo>
                    <a:pt x="434" y="382"/>
                  </a:lnTo>
                  <a:lnTo>
                    <a:pt x="444" y="375"/>
                  </a:lnTo>
                  <a:lnTo>
                    <a:pt x="446" y="375"/>
                  </a:lnTo>
                  <a:lnTo>
                    <a:pt x="484" y="385"/>
                  </a:lnTo>
                  <a:lnTo>
                    <a:pt x="523" y="412"/>
                  </a:lnTo>
                  <a:lnTo>
                    <a:pt x="538" y="432"/>
                  </a:lnTo>
                  <a:lnTo>
                    <a:pt x="548" y="412"/>
                  </a:lnTo>
                  <a:lnTo>
                    <a:pt x="541" y="406"/>
                  </a:lnTo>
                  <a:lnTo>
                    <a:pt x="535" y="392"/>
                  </a:lnTo>
                  <a:lnTo>
                    <a:pt x="535" y="388"/>
                  </a:lnTo>
                  <a:lnTo>
                    <a:pt x="520" y="384"/>
                  </a:lnTo>
                  <a:lnTo>
                    <a:pt x="518" y="384"/>
                  </a:lnTo>
                  <a:lnTo>
                    <a:pt x="520" y="367"/>
                  </a:lnTo>
                  <a:lnTo>
                    <a:pt x="524" y="364"/>
                  </a:lnTo>
                  <a:lnTo>
                    <a:pt x="523" y="358"/>
                  </a:lnTo>
                  <a:lnTo>
                    <a:pt x="526" y="342"/>
                  </a:lnTo>
                  <a:lnTo>
                    <a:pt x="515" y="338"/>
                  </a:lnTo>
                  <a:lnTo>
                    <a:pt x="520" y="329"/>
                  </a:lnTo>
                  <a:lnTo>
                    <a:pt x="515" y="329"/>
                  </a:lnTo>
                  <a:lnTo>
                    <a:pt x="515" y="327"/>
                  </a:lnTo>
                  <a:lnTo>
                    <a:pt x="518" y="318"/>
                  </a:lnTo>
                  <a:lnTo>
                    <a:pt x="539" y="296"/>
                  </a:lnTo>
                  <a:lnTo>
                    <a:pt x="545" y="262"/>
                  </a:lnTo>
                  <a:lnTo>
                    <a:pt x="551" y="249"/>
                  </a:lnTo>
                  <a:lnTo>
                    <a:pt x="551" y="247"/>
                  </a:lnTo>
                  <a:lnTo>
                    <a:pt x="552" y="247"/>
                  </a:lnTo>
                  <a:lnTo>
                    <a:pt x="594" y="256"/>
                  </a:lnTo>
                  <a:lnTo>
                    <a:pt x="594" y="258"/>
                  </a:lnTo>
                  <a:lnTo>
                    <a:pt x="595" y="280"/>
                  </a:lnTo>
                  <a:lnTo>
                    <a:pt x="584" y="309"/>
                  </a:lnTo>
                  <a:lnTo>
                    <a:pt x="594" y="321"/>
                  </a:lnTo>
                  <a:lnTo>
                    <a:pt x="597" y="335"/>
                  </a:lnTo>
                  <a:lnTo>
                    <a:pt x="597" y="352"/>
                  </a:lnTo>
                  <a:lnTo>
                    <a:pt x="592" y="358"/>
                  </a:lnTo>
                  <a:lnTo>
                    <a:pt x="595" y="375"/>
                  </a:lnTo>
                  <a:lnTo>
                    <a:pt x="592" y="404"/>
                  </a:lnTo>
                  <a:lnTo>
                    <a:pt x="606" y="421"/>
                  </a:lnTo>
                  <a:lnTo>
                    <a:pt x="606" y="427"/>
                  </a:lnTo>
                  <a:lnTo>
                    <a:pt x="601" y="437"/>
                  </a:lnTo>
                  <a:lnTo>
                    <a:pt x="601" y="452"/>
                  </a:lnTo>
                  <a:lnTo>
                    <a:pt x="600" y="452"/>
                  </a:lnTo>
                  <a:lnTo>
                    <a:pt x="595" y="456"/>
                  </a:lnTo>
                  <a:lnTo>
                    <a:pt x="590" y="471"/>
                  </a:lnTo>
                  <a:lnTo>
                    <a:pt x="581" y="471"/>
                  </a:lnTo>
                  <a:lnTo>
                    <a:pt x="587" y="475"/>
                  </a:lnTo>
                  <a:lnTo>
                    <a:pt x="587" y="477"/>
                  </a:lnTo>
                  <a:lnTo>
                    <a:pt x="585" y="477"/>
                  </a:lnTo>
                  <a:lnTo>
                    <a:pt x="567" y="486"/>
                  </a:lnTo>
                  <a:lnTo>
                    <a:pt x="561" y="484"/>
                  </a:lnTo>
                  <a:lnTo>
                    <a:pt x="563" y="496"/>
                  </a:lnTo>
                  <a:lnTo>
                    <a:pt x="587" y="499"/>
                  </a:lnTo>
                  <a:lnTo>
                    <a:pt x="590" y="499"/>
                  </a:lnTo>
                  <a:lnTo>
                    <a:pt x="590" y="489"/>
                  </a:lnTo>
                  <a:lnTo>
                    <a:pt x="591" y="489"/>
                  </a:lnTo>
                  <a:lnTo>
                    <a:pt x="604" y="480"/>
                  </a:lnTo>
                  <a:lnTo>
                    <a:pt x="610" y="464"/>
                  </a:lnTo>
                  <a:lnTo>
                    <a:pt x="621" y="452"/>
                  </a:lnTo>
                  <a:lnTo>
                    <a:pt x="621" y="441"/>
                  </a:lnTo>
                  <a:lnTo>
                    <a:pt x="615" y="428"/>
                  </a:lnTo>
                  <a:lnTo>
                    <a:pt x="619" y="415"/>
                  </a:lnTo>
                  <a:lnTo>
                    <a:pt x="646" y="406"/>
                  </a:lnTo>
                  <a:lnTo>
                    <a:pt x="646" y="407"/>
                  </a:lnTo>
                  <a:lnTo>
                    <a:pt x="649" y="416"/>
                  </a:lnTo>
                  <a:lnTo>
                    <a:pt x="656" y="424"/>
                  </a:lnTo>
                  <a:lnTo>
                    <a:pt x="656" y="425"/>
                  </a:lnTo>
                  <a:lnTo>
                    <a:pt x="655" y="431"/>
                  </a:lnTo>
                  <a:lnTo>
                    <a:pt x="658" y="434"/>
                  </a:lnTo>
                  <a:lnTo>
                    <a:pt x="658" y="435"/>
                  </a:lnTo>
                  <a:lnTo>
                    <a:pt x="655" y="450"/>
                  </a:lnTo>
                  <a:lnTo>
                    <a:pt x="661" y="456"/>
                  </a:lnTo>
                  <a:lnTo>
                    <a:pt x="673" y="456"/>
                  </a:lnTo>
                  <a:lnTo>
                    <a:pt x="658" y="450"/>
                  </a:lnTo>
                  <a:lnTo>
                    <a:pt x="658" y="437"/>
                  </a:lnTo>
                  <a:lnTo>
                    <a:pt x="659" y="437"/>
                  </a:lnTo>
                  <a:lnTo>
                    <a:pt x="665" y="431"/>
                  </a:lnTo>
                  <a:lnTo>
                    <a:pt x="659" y="412"/>
                  </a:lnTo>
                  <a:lnTo>
                    <a:pt x="638" y="398"/>
                  </a:lnTo>
                  <a:lnTo>
                    <a:pt x="627" y="404"/>
                  </a:lnTo>
                  <a:lnTo>
                    <a:pt x="609" y="400"/>
                  </a:lnTo>
                  <a:lnTo>
                    <a:pt x="609" y="398"/>
                  </a:lnTo>
                  <a:lnTo>
                    <a:pt x="610" y="388"/>
                  </a:lnTo>
                  <a:lnTo>
                    <a:pt x="606" y="375"/>
                  </a:lnTo>
                  <a:lnTo>
                    <a:pt x="615" y="342"/>
                  </a:lnTo>
                  <a:lnTo>
                    <a:pt x="598" y="308"/>
                  </a:lnTo>
                  <a:lnTo>
                    <a:pt x="603" y="295"/>
                  </a:lnTo>
                  <a:lnTo>
                    <a:pt x="625" y="277"/>
                  </a:lnTo>
                  <a:lnTo>
                    <a:pt x="621" y="253"/>
                  </a:lnTo>
                  <a:lnTo>
                    <a:pt x="621" y="252"/>
                  </a:lnTo>
                  <a:lnTo>
                    <a:pt x="622" y="252"/>
                  </a:lnTo>
                  <a:lnTo>
                    <a:pt x="625" y="250"/>
                  </a:lnTo>
                  <a:lnTo>
                    <a:pt x="627" y="250"/>
                  </a:lnTo>
                  <a:lnTo>
                    <a:pt x="627" y="252"/>
                  </a:lnTo>
                  <a:lnTo>
                    <a:pt x="634" y="265"/>
                  </a:lnTo>
                  <a:lnTo>
                    <a:pt x="634" y="266"/>
                  </a:lnTo>
                  <a:lnTo>
                    <a:pt x="633" y="266"/>
                  </a:lnTo>
                  <a:lnTo>
                    <a:pt x="634" y="277"/>
                  </a:lnTo>
                  <a:lnTo>
                    <a:pt x="628" y="289"/>
                  </a:lnTo>
                  <a:lnTo>
                    <a:pt x="633" y="305"/>
                  </a:lnTo>
                  <a:lnTo>
                    <a:pt x="633" y="312"/>
                  </a:lnTo>
                  <a:lnTo>
                    <a:pt x="630" y="312"/>
                  </a:lnTo>
                  <a:lnTo>
                    <a:pt x="631" y="315"/>
                  </a:lnTo>
                  <a:lnTo>
                    <a:pt x="670" y="330"/>
                  </a:lnTo>
                  <a:lnTo>
                    <a:pt x="664" y="315"/>
                  </a:lnTo>
                  <a:lnTo>
                    <a:pt x="659" y="318"/>
                  </a:lnTo>
                  <a:lnTo>
                    <a:pt x="659" y="320"/>
                  </a:lnTo>
                  <a:lnTo>
                    <a:pt x="658" y="320"/>
                  </a:lnTo>
                  <a:lnTo>
                    <a:pt x="658" y="318"/>
                  </a:lnTo>
                  <a:lnTo>
                    <a:pt x="641" y="306"/>
                  </a:lnTo>
                  <a:lnTo>
                    <a:pt x="638" y="293"/>
                  </a:lnTo>
                  <a:lnTo>
                    <a:pt x="643" y="290"/>
                  </a:lnTo>
                  <a:lnTo>
                    <a:pt x="644" y="290"/>
                  </a:lnTo>
                  <a:lnTo>
                    <a:pt x="649" y="301"/>
                  </a:lnTo>
                  <a:lnTo>
                    <a:pt x="655" y="299"/>
                  </a:lnTo>
                  <a:lnTo>
                    <a:pt x="664" y="290"/>
                  </a:lnTo>
                  <a:lnTo>
                    <a:pt x="656" y="287"/>
                  </a:lnTo>
                  <a:lnTo>
                    <a:pt x="656" y="281"/>
                  </a:lnTo>
                  <a:lnTo>
                    <a:pt x="658" y="281"/>
                  </a:lnTo>
                  <a:lnTo>
                    <a:pt x="681" y="272"/>
                  </a:lnTo>
                  <a:lnTo>
                    <a:pt x="702" y="286"/>
                  </a:lnTo>
                  <a:lnTo>
                    <a:pt x="711" y="299"/>
                  </a:lnTo>
                  <a:lnTo>
                    <a:pt x="733" y="302"/>
                  </a:lnTo>
                  <a:lnTo>
                    <a:pt x="735" y="302"/>
                  </a:lnTo>
                  <a:lnTo>
                    <a:pt x="732" y="315"/>
                  </a:lnTo>
                  <a:lnTo>
                    <a:pt x="721" y="323"/>
                  </a:lnTo>
                  <a:lnTo>
                    <a:pt x="723" y="341"/>
                  </a:lnTo>
                  <a:lnTo>
                    <a:pt x="721" y="358"/>
                  </a:lnTo>
                  <a:lnTo>
                    <a:pt x="732" y="364"/>
                  </a:lnTo>
                  <a:lnTo>
                    <a:pt x="732" y="357"/>
                  </a:lnTo>
                  <a:lnTo>
                    <a:pt x="738" y="354"/>
                  </a:lnTo>
                  <a:lnTo>
                    <a:pt x="738" y="344"/>
                  </a:lnTo>
                  <a:lnTo>
                    <a:pt x="733" y="320"/>
                  </a:lnTo>
                  <a:lnTo>
                    <a:pt x="738" y="305"/>
                  </a:lnTo>
                  <a:lnTo>
                    <a:pt x="736" y="296"/>
                  </a:lnTo>
                  <a:lnTo>
                    <a:pt x="720" y="287"/>
                  </a:lnTo>
                  <a:lnTo>
                    <a:pt x="720" y="286"/>
                  </a:lnTo>
                  <a:lnTo>
                    <a:pt x="721" y="281"/>
                  </a:lnTo>
                  <a:lnTo>
                    <a:pt x="720" y="280"/>
                  </a:lnTo>
                  <a:lnTo>
                    <a:pt x="704" y="269"/>
                  </a:lnTo>
                  <a:lnTo>
                    <a:pt x="702" y="269"/>
                  </a:lnTo>
                  <a:lnTo>
                    <a:pt x="701" y="258"/>
                  </a:lnTo>
                  <a:lnTo>
                    <a:pt x="704" y="250"/>
                  </a:lnTo>
                  <a:lnTo>
                    <a:pt x="695" y="238"/>
                  </a:lnTo>
                  <a:lnTo>
                    <a:pt x="693" y="238"/>
                  </a:lnTo>
                  <a:lnTo>
                    <a:pt x="693" y="237"/>
                  </a:lnTo>
                  <a:lnTo>
                    <a:pt x="695" y="237"/>
                  </a:lnTo>
                  <a:lnTo>
                    <a:pt x="698" y="234"/>
                  </a:lnTo>
                  <a:lnTo>
                    <a:pt x="695" y="232"/>
                  </a:lnTo>
                  <a:lnTo>
                    <a:pt x="695" y="231"/>
                  </a:lnTo>
                  <a:lnTo>
                    <a:pt x="701" y="225"/>
                  </a:lnTo>
                  <a:lnTo>
                    <a:pt x="698" y="220"/>
                  </a:lnTo>
                  <a:lnTo>
                    <a:pt x="698" y="219"/>
                  </a:lnTo>
                  <a:lnTo>
                    <a:pt x="704" y="218"/>
                  </a:lnTo>
                  <a:lnTo>
                    <a:pt x="776" y="204"/>
                  </a:lnTo>
                  <a:lnTo>
                    <a:pt x="776" y="197"/>
                  </a:lnTo>
                  <a:lnTo>
                    <a:pt x="779" y="197"/>
                  </a:lnTo>
                  <a:lnTo>
                    <a:pt x="776" y="188"/>
                  </a:lnTo>
                  <a:lnTo>
                    <a:pt x="766" y="182"/>
                  </a:lnTo>
                  <a:lnTo>
                    <a:pt x="776" y="173"/>
                  </a:lnTo>
                  <a:lnTo>
                    <a:pt x="764" y="167"/>
                  </a:lnTo>
                  <a:lnTo>
                    <a:pt x="767" y="158"/>
                  </a:lnTo>
                  <a:lnTo>
                    <a:pt x="778" y="166"/>
                  </a:lnTo>
                  <a:lnTo>
                    <a:pt x="782" y="152"/>
                  </a:lnTo>
                  <a:lnTo>
                    <a:pt x="784" y="152"/>
                  </a:lnTo>
                  <a:lnTo>
                    <a:pt x="790" y="149"/>
                  </a:lnTo>
                  <a:lnTo>
                    <a:pt x="781" y="145"/>
                  </a:lnTo>
                  <a:lnTo>
                    <a:pt x="794" y="145"/>
                  </a:lnTo>
                  <a:lnTo>
                    <a:pt x="810" y="126"/>
                  </a:lnTo>
                  <a:lnTo>
                    <a:pt x="864" y="106"/>
                  </a:lnTo>
                  <a:lnTo>
                    <a:pt x="865" y="102"/>
                  </a:lnTo>
                  <a:lnTo>
                    <a:pt x="858" y="102"/>
                  </a:lnTo>
                  <a:lnTo>
                    <a:pt x="858" y="94"/>
                  </a:lnTo>
                  <a:lnTo>
                    <a:pt x="862" y="94"/>
                  </a:lnTo>
                  <a:lnTo>
                    <a:pt x="871" y="93"/>
                  </a:lnTo>
                  <a:lnTo>
                    <a:pt x="883" y="92"/>
                  </a:lnTo>
                  <a:lnTo>
                    <a:pt x="892" y="90"/>
                  </a:lnTo>
                  <a:lnTo>
                    <a:pt x="896" y="90"/>
                  </a:lnTo>
                  <a:lnTo>
                    <a:pt x="901" y="93"/>
                  </a:lnTo>
                  <a:lnTo>
                    <a:pt x="896" y="103"/>
                  </a:lnTo>
                  <a:lnTo>
                    <a:pt x="904" y="97"/>
                  </a:lnTo>
                  <a:lnTo>
                    <a:pt x="908" y="99"/>
                  </a:lnTo>
                  <a:lnTo>
                    <a:pt x="908" y="100"/>
                  </a:lnTo>
                  <a:lnTo>
                    <a:pt x="907" y="105"/>
                  </a:lnTo>
                  <a:lnTo>
                    <a:pt x="922" y="99"/>
                  </a:lnTo>
                  <a:lnTo>
                    <a:pt x="920" y="94"/>
                  </a:lnTo>
                  <a:lnTo>
                    <a:pt x="920" y="93"/>
                  </a:lnTo>
                  <a:lnTo>
                    <a:pt x="933" y="84"/>
                  </a:lnTo>
                  <a:lnTo>
                    <a:pt x="933" y="83"/>
                  </a:lnTo>
                  <a:lnTo>
                    <a:pt x="935" y="83"/>
                  </a:lnTo>
                  <a:lnTo>
                    <a:pt x="935" y="84"/>
                  </a:lnTo>
                  <a:lnTo>
                    <a:pt x="947" y="96"/>
                  </a:lnTo>
                  <a:lnTo>
                    <a:pt x="948" y="86"/>
                  </a:lnTo>
                  <a:lnTo>
                    <a:pt x="936" y="74"/>
                  </a:lnTo>
                  <a:lnTo>
                    <a:pt x="936" y="72"/>
                  </a:lnTo>
                  <a:lnTo>
                    <a:pt x="966" y="68"/>
                  </a:lnTo>
                  <a:lnTo>
                    <a:pt x="966" y="60"/>
                  </a:lnTo>
                  <a:lnTo>
                    <a:pt x="967" y="62"/>
                  </a:lnTo>
                  <a:lnTo>
                    <a:pt x="962" y="53"/>
                  </a:lnTo>
                  <a:lnTo>
                    <a:pt x="967" y="37"/>
                  </a:lnTo>
                  <a:lnTo>
                    <a:pt x="990" y="6"/>
                  </a:lnTo>
                  <a:lnTo>
                    <a:pt x="100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0" name="Turkey">
              <a:extLst>
                <a:ext uri="{FF2B5EF4-FFF2-40B4-BE49-F238E27FC236}">
                  <a16:creationId xmlns:a16="http://schemas.microsoft.com/office/drawing/2014/main" id="{69DB9EA0-820B-416D-4F13-8902DBF23720}"/>
                </a:ext>
              </a:extLst>
            </p:cNvPr>
            <p:cNvSpPr>
              <a:spLocks/>
            </p:cNvSpPr>
            <p:nvPr/>
          </p:nvSpPr>
          <p:spPr bwMode="auto">
            <a:xfrm>
              <a:off x="6440245" y="3495941"/>
              <a:ext cx="444537" cy="189742"/>
            </a:xfrm>
            <a:custGeom>
              <a:avLst/>
              <a:gdLst/>
              <a:ahLst/>
              <a:cxnLst/>
              <a:rect l="l" t="t" r="r" b="b"/>
              <a:pathLst>
                <a:path w="448081" h="191255">
                  <a:moveTo>
                    <a:pt x="176683" y="0"/>
                  </a:moveTo>
                  <a:lnTo>
                    <a:pt x="218576" y="0"/>
                  </a:lnTo>
                  <a:lnTo>
                    <a:pt x="229505" y="10929"/>
                  </a:lnTo>
                  <a:lnTo>
                    <a:pt x="240434" y="10929"/>
                  </a:lnTo>
                  <a:lnTo>
                    <a:pt x="249541" y="23679"/>
                  </a:lnTo>
                  <a:lnTo>
                    <a:pt x="285971" y="34608"/>
                  </a:lnTo>
                  <a:lnTo>
                    <a:pt x="316936" y="29144"/>
                  </a:lnTo>
                  <a:lnTo>
                    <a:pt x="340615" y="32787"/>
                  </a:lnTo>
                  <a:lnTo>
                    <a:pt x="367937" y="14572"/>
                  </a:lnTo>
                  <a:lnTo>
                    <a:pt x="378865" y="14572"/>
                  </a:lnTo>
                  <a:lnTo>
                    <a:pt x="384330" y="16393"/>
                  </a:lnTo>
                  <a:lnTo>
                    <a:pt x="389794" y="16393"/>
                  </a:lnTo>
                  <a:lnTo>
                    <a:pt x="397080" y="14572"/>
                  </a:lnTo>
                  <a:lnTo>
                    <a:pt x="400723" y="14572"/>
                  </a:lnTo>
                  <a:lnTo>
                    <a:pt x="417116" y="32787"/>
                  </a:lnTo>
                  <a:lnTo>
                    <a:pt x="424402" y="56466"/>
                  </a:lnTo>
                  <a:lnTo>
                    <a:pt x="442617" y="67395"/>
                  </a:lnTo>
                  <a:lnTo>
                    <a:pt x="442617" y="71038"/>
                  </a:lnTo>
                  <a:lnTo>
                    <a:pt x="431688" y="83788"/>
                  </a:lnTo>
                  <a:lnTo>
                    <a:pt x="435331" y="94717"/>
                  </a:lnTo>
                  <a:lnTo>
                    <a:pt x="435331" y="129325"/>
                  </a:lnTo>
                  <a:lnTo>
                    <a:pt x="448081" y="140254"/>
                  </a:lnTo>
                  <a:lnTo>
                    <a:pt x="448081" y="149361"/>
                  </a:lnTo>
                  <a:lnTo>
                    <a:pt x="440795" y="149361"/>
                  </a:lnTo>
                  <a:lnTo>
                    <a:pt x="437152" y="151183"/>
                  </a:lnTo>
                  <a:lnTo>
                    <a:pt x="435331" y="151183"/>
                  </a:lnTo>
                  <a:lnTo>
                    <a:pt x="431688" y="145718"/>
                  </a:lnTo>
                  <a:lnTo>
                    <a:pt x="402545" y="143897"/>
                  </a:lnTo>
                  <a:lnTo>
                    <a:pt x="395259" y="151183"/>
                  </a:lnTo>
                  <a:lnTo>
                    <a:pt x="391616" y="151183"/>
                  </a:lnTo>
                  <a:lnTo>
                    <a:pt x="386151" y="149361"/>
                  </a:lnTo>
                  <a:lnTo>
                    <a:pt x="375223" y="154826"/>
                  </a:lnTo>
                  <a:lnTo>
                    <a:pt x="351543" y="151183"/>
                  </a:lnTo>
                  <a:lnTo>
                    <a:pt x="313293" y="167576"/>
                  </a:lnTo>
                  <a:lnTo>
                    <a:pt x="295078" y="160290"/>
                  </a:lnTo>
                  <a:lnTo>
                    <a:pt x="273220" y="167576"/>
                  </a:lnTo>
                  <a:lnTo>
                    <a:pt x="255006" y="162112"/>
                  </a:lnTo>
                  <a:lnTo>
                    <a:pt x="251363" y="171219"/>
                  </a:lnTo>
                  <a:lnTo>
                    <a:pt x="255006" y="178505"/>
                  </a:lnTo>
                  <a:lnTo>
                    <a:pt x="255006" y="180326"/>
                  </a:lnTo>
                  <a:lnTo>
                    <a:pt x="249541" y="180326"/>
                  </a:lnTo>
                  <a:lnTo>
                    <a:pt x="244077" y="191255"/>
                  </a:lnTo>
                  <a:lnTo>
                    <a:pt x="240434" y="191255"/>
                  </a:lnTo>
                  <a:lnTo>
                    <a:pt x="234970" y="185791"/>
                  </a:lnTo>
                  <a:lnTo>
                    <a:pt x="234970" y="171219"/>
                  </a:lnTo>
                  <a:lnTo>
                    <a:pt x="240434" y="165754"/>
                  </a:lnTo>
                  <a:lnTo>
                    <a:pt x="238613" y="162112"/>
                  </a:lnTo>
                  <a:lnTo>
                    <a:pt x="227684" y="171219"/>
                  </a:lnTo>
                  <a:lnTo>
                    <a:pt x="224041" y="171219"/>
                  </a:lnTo>
                  <a:lnTo>
                    <a:pt x="211290" y="165754"/>
                  </a:lnTo>
                  <a:lnTo>
                    <a:pt x="202183" y="167576"/>
                  </a:lnTo>
                  <a:lnTo>
                    <a:pt x="194897" y="176683"/>
                  </a:lnTo>
                  <a:lnTo>
                    <a:pt x="165754" y="185791"/>
                  </a:lnTo>
                  <a:lnTo>
                    <a:pt x="162111" y="185791"/>
                  </a:lnTo>
                  <a:lnTo>
                    <a:pt x="116574" y="160290"/>
                  </a:lnTo>
                  <a:lnTo>
                    <a:pt x="111110" y="162112"/>
                  </a:lnTo>
                  <a:lnTo>
                    <a:pt x="109288" y="178505"/>
                  </a:lnTo>
                  <a:lnTo>
                    <a:pt x="92895" y="183969"/>
                  </a:lnTo>
                  <a:lnTo>
                    <a:pt x="78323" y="178505"/>
                  </a:lnTo>
                  <a:lnTo>
                    <a:pt x="72859" y="167576"/>
                  </a:lnTo>
                  <a:lnTo>
                    <a:pt x="67395" y="171219"/>
                  </a:lnTo>
                  <a:lnTo>
                    <a:pt x="67395" y="167576"/>
                  </a:lnTo>
                  <a:lnTo>
                    <a:pt x="61930" y="162112"/>
                  </a:lnTo>
                  <a:lnTo>
                    <a:pt x="51001" y="171219"/>
                  </a:lnTo>
                  <a:lnTo>
                    <a:pt x="49180" y="171219"/>
                  </a:lnTo>
                  <a:lnTo>
                    <a:pt x="49180" y="165754"/>
                  </a:lnTo>
                  <a:lnTo>
                    <a:pt x="36430" y="167576"/>
                  </a:lnTo>
                  <a:lnTo>
                    <a:pt x="36430" y="165754"/>
                  </a:lnTo>
                  <a:lnTo>
                    <a:pt x="51001" y="156647"/>
                  </a:lnTo>
                  <a:lnTo>
                    <a:pt x="32787" y="156647"/>
                  </a:lnTo>
                  <a:lnTo>
                    <a:pt x="32787" y="154826"/>
                  </a:lnTo>
                  <a:lnTo>
                    <a:pt x="36430" y="149361"/>
                  </a:lnTo>
                  <a:lnTo>
                    <a:pt x="30965" y="145718"/>
                  </a:lnTo>
                  <a:lnTo>
                    <a:pt x="30965" y="138432"/>
                  </a:lnTo>
                  <a:lnTo>
                    <a:pt x="25501" y="134789"/>
                  </a:lnTo>
                  <a:lnTo>
                    <a:pt x="27322" y="127503"/>
                  </a:lnTo>
                  <a:lnTo>
                    <a:pt x="9108" y="118396"/>
                  </a:lnTo>
                  <a:lnTo>
                    <a:pt x="5465" y="118396"/>
                  </a:lnTo>
                  <a:lnTo>
                    <a:pt x="10929" y="105646"/>
                  </a:lnTo>
                  <a:lnTo>
                    <a:pt x="16394" y="111110"/>
                  </a:lnTo>
                  <a:lnTo>
                    <a:pt x="25501" y="111110"/>
                  </a:lnTo>
                  <a:lnTo>
                    <a:pt x="16394" y="107467"/>
                  </a:lnTo>
                  <a:lnTo>
                    <a:pt x="16394" y="105646"/>
                  </a:lnTo>
                  <a:lnTo>
                    <a:pt x="21858" y="100181"/>
                  </a:lnTo>
                  <a:lnTo>
                    <a:pt x="16394" y="89252"/>
                  </a:lnTo>
                  <a:lnTo>
                    <a:pt x="20036" y="81967"/>
                  </a:lnTo>
                  <a:lnTo>
                    <a:pt x="3643" y="81967"/>
                  </a:lnTo>
                  <a:lnTo>
                    <a:pt x="9108" y="65573"/>
                  </a:lnTo>
                  <a:lnTo>
                    <a:pt x="16394" y="56466"/>
                  </a:lnTo>
                  <a:lnTo>
                    <a:pt x="40073" y="54644"/>
                  </a:lnTo>
                  <a:lnTo>
                    <a:pt x="40073" y="49180"/>
                  </a:lnTo>
                  <a:lnTo>
                    <a:pt x="54644" y="49180"/>
                  </a:lnTo>
                  <a:lnTo>
                    <a:pt x="60109" y="51001"/>
                  </a:lnTo>
                  <a:lnTo>
                    <a:pt x="71038" y="51001"/>
                  </a:lnTo>
                  <a:lnTo>
                    <a:pt x="67395" y="45537"/>
                  </a:lnTo>
                  <a:lnTo>
                    <a:pt x="67395" y="43716"/>
                  </a:lnTo>
                  <a:lnTo>
                    <a:pt x="72859" y="43716"/>
                  </a:lnTo>
                  <a:lnTo>
                    <a:pt x="83788" y="40073"/>
                  </a:lnTo>
                  <a:lnTo>
                    <a:pt x="76502" y="40073"/>
                  </a:lnTo>
                  <a:lnTo>
                    <a:pt x="71038" y="34608"/>
                  </a:lnTo>
                  <a:lnTo>
                    <a:pt x="71038" y="32787"/>
                  </a:lnTo>
                  <a:lnTo>
                    <a:pt x="76502" y="27322"/>
                  </a:lnTo>
                  <a:lnTo>
                    <a:pt x="76502" y="23679"/>
                  </a:lnTo>
                  <a:lnTo>
                    <a:pt x="87431" y="23679"/>
                  </a:lnTo>
                  <a:lnTo>
                    <a:pt x="100181" y="27322"/>
                  </a:lnTo>
                  <a:lnTo>
                    <a:pt x="116574" y="32787"/>
                  </a:lnTo>
                  <a:lnTo>
                    <a:pt x="122039" y="32787"/>
                  </a:lnTo>
                  <a:lnTo>
                    <a:pt x="151182" y="10929"/>
                  </a:lnTo>
                  <a:close/>
                  <a:moveTo>
                    <a:pt x="27322" y="0"/>
                  </a:moveTo>
                  <a:lnTo>
                    <a:pt x="49180" y="3643"/>
                  </a:lnTo>
                  <a:lnTo>
                    <a:pt x="54644" y="14572"/>
                  </a:lnTo>
                  <a:lnTo>
                    <a:pt x="72859" y="23679"/>
                  </a:lnTo>
                  <a:lnTo>
                    <a:pt x="72859" y="27322"/>
                  </a:lnTo>
                  <a:lnTo>
                    <a:pt x="67395" y="32787"/>
                  </a:lnTo>
                  <a:lnTo>
                    <a:pt x="67395" y="34608"/>
                  </a:lnTo>
                  <a:lnTo>
                    <a:pt x="38251" y="34608"/>
                  </a:lnTo>
                  <a:lnTo>
                    <a:pt x="5465" y="61930"/>
                  </a:lnTo>
                  <a:lnTo>
                    <a:pt x="3643" y="61930"/>
                  </a:lnTo>
                  <a:lnTo>
                    <a:pt x="5465" y="51001"/>
                  </a:lnTo>
                  <a:lnTo>
                    <a:pt x="10929" y="45537"/>
                  </a:lnTo>
                  <a:lnTo>
                    <a:pt x="0" y="43715"/>
                  </a:lnTo>
                  <a:lnTo>
                    <a:pt x="0" y="40072"/>
                  </a:lnTo>
                  <a:lnTo>
                    <a:pt x="10929" y="20036"/>
                  </a:lnTo>
                  <a:lnTo>
                    <a:pt x="5465" y="9107"/>
                  </a:lnTo>
                  <a:lnTo>
                    <a:pt x="9108" y="9107"/>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1" name="African Island">
              <a:extLst>
                <a:ext uri="{FF2B5EF4-FFF2-40B4-BE49-F238E27FC236}">
                  <a16:creationId xmlns:a16="http://schemas.microsoft.com/office/drawing/2014/main" id="{8F0848E4-190E-D6F9-74F8-B5E05370852C}"/>
                </a:ext>
              </a:extLst>
            </p:cNvPr>
            <p:cNvSpPr>
              <a:spLocks/>
            </p:cNvSpPr>
            <p:nvPr/>
          </p:nvSpPr>
          <p:spPr bwMode="auto">
            <a:xfrm>
              <a:off x="5229514" y="4179011"/>
              <a:ext cx="10843" cy="9036"/>
            </a:xfrm>
            <a:custGeom>
              <a:avLst/>
              <a:gdLst>
                <a:gd name="T0" fmla="*/ 0 w 6"/>
                <a:gd name="T1" fmla="*/ 0 h 5"/>
                <a:gd name="T2" fmla="*/ 6 w 6"/>
                <a:gd name="T3" fmla="*/ 0 h 5"/>
                <a:gd name="T4" fmla="*/ 6 w 6"/>
                <a:gd name="T5" fmla="*/ 2 h 5"/>
                <a:gd name="T6" fmla="*/ 2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2" y="5"/>
                  </a:lnTo>
                  <a:lnTo>
                    <a:pt x="0" y="5"/>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2" name="African Island">
              <a:extLst>
                <a:ext uri="{FF2B5EF4-FFF2-40B4-BE49-F238E27FC236}">
                  <a16:creationId xmlns:a16="http://schemas.microsoft.com/office/drawing/2014/main" id="{EA7A04B3-416D-EECA-9D54-5B4A0C6EA759}"/>
                </a:ext>
              </a:extLst>
            </p:cNvPr>
            <p:cNvSpPr>
              <a:spLocks/>
            </p:cNvSpPr>
            <p:nvPr/>
          </p:nvSpPr>
          <p:spPr bwMode="auto">
            <a:xfrm>
              <a:off x="5267462" y="4224187"/>
              <a:ext cx="7228" cy="14457"/>
            </a:xfrm>
            <a:custGeom>
              <a:avLst/>
              <a:gdLst>
                <a:gd name="T0" fmla="*/ 0 w 4"/>
                <a:gd name="T1" fmla="*/ 0 h 8"/>
                <a:gd name="T2" fmla="*/ 1 w 4"/>
                <a:gd name="T3" fmla="*/ 0 h 8"/>
                <a:gd name="T4" fmla="*/ 1 w 4"/>
                <a:gd name="T5" fmla="*/ 2 h 8"/>
                <a:gd name="T6" fmla="*/ 4 w 4"/>
                <a:gd name="T7" fmla="*/ 6 h 8"/>
                <a:gd name="T8" fmla="*/ 4 w 4"/>
                <a:gd name="T9" fmla="*/ 8 h 8"/>
                <a:gd name="T10" fmla="*/ 0 w 4"/>
                <a:gd name="T11" fmla="*/ 8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1" y="0"/>
                  </a:lnTo>
                  <a:lnTo>
                    <a:pt x="1" y="2"/>
                  </a:lnTo>
                  <a:lnTo>
                    <a:pt x="4" y="6"/>
                  </a:lnTo>
                  <a:lnTo>
                    <a:pt x="4" y="8"/>
                  </a:lnTo>
                  <a:lnTo>
                    <a:pt x="0" y="8"/>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3" name="African Island">
              <a:extLst>
                <a:ext uri="{FF2B5EF4-FFF2-40B4-BE49-F238E27FC236}">
                  <a16:creationId xmlns:a16="http://schemas.microsoft.com/office/drawing/2014/main" id="{F742D0C4-EF60-2EBB-6620-CA06D1B6EDDD}"/>
                </a:ext>
              </a:extLst>
            </p:cNvPr>
            <p:cNvSpPr>
              <a:spLocks/>
            </p:cNvSpPr>
            <p:nvPr/>
          </p:nvSpPr>
          <p:spPr bwMode="auto">
            <a:xfrm>
              <a:off x="5285533" y="4204310"/>
              <a:ext cx="9036" cy="7228"/>
            </a:xfrm>
            <a:custGeom>
              <a:avLst/>
              <a:gdLst>
                <a:gd name="T0" fmla="*/ 0 w 5"/>
                <a:gd name="T1" fmla="*/ 0 h 4"/>
                <a:gd name="T2" fmla="*/ 2 w 5"/>
                <a:gd name="T3" fmla="*/ 0 h 4"/>
                <a:gd name="T4" fmla="*/ 5 w 5"/>
                <a:gd name="T5" fmla="*/ 1 h 4"/>
                <a:gd name="T6" fmla="*/ 5 w 5"/>
                <a:gd name="T7" fmla="*/ 3 h 4"/>
                <a:gd name="T8" fmla="*/ 2 w 5"/>
                <a:gd name="T9" fmla="*/ 4 h 4"/>
                <a:gd name="T10" fmla="*/ 0 w 5"/>
                <a:gd name="T11" fmla="*/ 4 h 4"/>
                <a:gd name="T12" fmla="*/ 0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0"/>
                  </a:moveTo>
                  <a:lnTo>
                    <a:pt x="2" y="0"/>
                  </a:lnTo>
                  <a:lnTo>
                    <a:pt x="5" y="1"/>
                  </a:lnTo>
                  <a:lnTo>
                    <a:pt x="5" y="3"/>
                  </a:lnTo>
                  <a:lnTo>
                    <a:pt x="2" y="4"/>
                  </a:lnTo>
                  <a:lnTo>
                    <a:pt x="0" y="4"/>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4" name="African Island">
              <a:extLst>
                <a:ext uri="{FF2B5EF4-FFF2-40B4-BE49-F238E27FC236}">
                  <a16:creationId xmlns:a16="http://schemas.microsoft.com/office/drawing/2014/main" id="{1BCE8F0D-C295-BD6F-A020-97A8319586C9}"/>
                </a:ext>
              </a:extLst>
            </p:cNvPr>
            <p:cNvSpPr>
              <a:spLocks/>
            </p:cNvSpPr>
            <p:nvPr/>
          </p:nvSpPr>
          <p:spPr bwMode="auto">
            <a:xfrm>
              <a:off x="5424676" y="3772422"/>
              <a:ext cx="10843" cy="7228"/>
            </a:xfrm>
            <a:custGeom>
              <a:avLst/>
              <a:gdLst>
                <a:gd name="T0" fmla="*/ 2 w 6"/>
                <a:gd name="T1" fmla="*/ 0 h 4"/>
                <a:gd name="T2" fmla="*/ 3 w 6"/>
                <a:gd name="T3" fmla="*/ 0 h 4"/>
                <a:gd name="T4" fmla="*/ 6 w 6"/>
                <a:gd name="T5" fmla="*/ 3 h 4"/>
                <a:gd name="T6" fmla="*/ 3 w 6"/>
                <a:gd name="T7" fmla="*/ 4 h 4"/>
                <a:gd name="T8" fmla="*/ 0 w 6"/>
                <a:gd name="T9" fmla="*/ 1 h 4"/>
                <a:gd name="T10" fmla="*/ 2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2" y="0"/>
                  </a:moveTo>
                  <a:lnTo>
                    <a:pt x="3" y="0"/>
                  </a:lnTo>
                  <a:lnTo>
                    <a:pt x="6" y="3"/>
                  </a:lnTo>
                  <a:lnTo>
                    <a:pt x="3" y="4"/>
                  </a:lnTo>
                  <a:lnTo>
                    <a:pt x="0" y="1"/>
                  </a:lnTo>
                  <a:lnTo>
                    <a:pt x="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5" name="African Island">
              <a:extLst>
                <a:ext uri="{FF2B5EF4-FFF2-40B4-BE49-F238E27FC236}">
                  <a16:creationId xmlns:a16="http://schemas.microsoft.com/office/drawing/2014/main" id="{563295A8-C4B1-E3AA-1080-32E91C2BF2B3}"/>
                </a:ext>
              </a:extLst>
            </p:cNvPr>
            <p:cNvSpPr>
              <a:spLocks/>
            </p:cNvSpPr>
            <p:nvPr/>
          </p:nvSpPr>
          <p:spPr bwMode="auto">
            <a:xfrm>
              <a:off x="5430098" y="3888073"/>
              <a:ext cx="16264" cy="16264"/>
            </a:xfrm>
            <a:custGeom>
              <a:avLst/>
              <a:gdLst>
                <a:gd name="T0" fmla="*/ 9 w 9"/>
                <a:gd name="T1" fmla="*/ 0 h 9"/>
                <a:gd name="T2" fmla="*/ 9 w 9"/>
                <a:gd name="T3" fmla="*/ 1 h 9"/>
                <a:gd name="T4" fmla="*/ 6 w 9"/>
                <a:gd name="T5" fmla="*/ 9 h 9"/>
                <a:gd name="T6" fmla="*/ 0 w 9"/>
                <a:gd name="T7" fmla="*/ 7 h 9"/>
                <a:gd name="T8" fmla="*/ 0 w 9"/>
                <a:gd name="T9" fmla="*/ 4 h 9"/>
                <a:gd name="T10" fmla="*/ 9 w 9"/>
                <a:gd name="T11" fmla="*/ 0 h 9"/>
              </a:gdLst>
              <a:ahLst/>
              <a:cxnLst>
                <a:cxn ang="0">
                  <a:pos x="T0" y="T1"/>
                </a:cxn>
                <a:cxn ang="0">
                  <a:pos x="T2" y="T3"/>
                </a:cxn>
                <a:cxn ang="0">
                  <a:pos x="T4" y="T5"/>
                </a:cxn>
                <a:cxn ang="0">
                  <a:pos x="T6" y="T7"/>
                </a:cxn>
                <a:cxn ang="0">
                  <a:pos x="T8" y="T9"/>
                </a:cxn>
                <a:cxn ang="0">
                  <a:pos x="T10" y="T11"/>
                </a:cxn>
              </a:cxnLst>
              <a:rect l="0" t="0" r="r" b="b"/>
              <a:pathLst>
                <a:path w="9" h="9">
                  <a:moveTo>
                    <a:pt x="9" y="0"/>
                  </a:moveTo>
                  <a:lnTo>
                    <a:pt x="9" y="1"/>
                  </a:lnTo>
                  <a:lnTo>
                    <a:pt x="6" y="9"/>
                  </a:lnTo>
                  <a:lnTo>
                    <a:pt x="0" y="7"/>
                  </a:lnTo>
                  <a:lnTo>
                    <a:pt x="0" y="4"/>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6" name="African Island">
              <a:extLst>
                <a:ext uri="{FF2B5EF4-FFF2-40B4-BE49-F238E27FC236}">
                  <a16:creationId xmlns:a16="http://schemas.microsoft.com/office/drawing/2014/main" id="{FFB7095E-4BFB-1B74-B7A6-CF438A5D4100}"/>
                </a:ext>
              </a:extLst>
            </p:cNvPr>
            <p:cNvSpPr>
              <a:spLocks/>
            </p:cNvSpPr>
            <p:nvPr/>
          </p:nvSpPr>
          <p:spPr bwMode="auto">
            <a:xfrm>
              <a:off x="5487924" y="3884460"/>
              <a:ext cx="14457" cy="19879"/>
            </a:xfrm>
            <a:custGeom>
              <a:avLst/>
              <a:gdLst>
                <a:gd name="T0" fmla="*/ 7 w 8"/>
                <a:gd name="T1" fmla="*/ 0 h 11"/>
                <a:gd name="T2" fmla="*/ 8 w 8"/>
                <a:gd name="T3" fmla="*/ 0 h 11"/>
                <a:gd name="T4" fmla="*/ 7 w 8"/>
                <a:gd name="T5" fmla="*/ 6 h 11"/>
                <a:gd name="T6" fmla="*/ 7 w 8"/>
                <a:gd name="T7" fmla="*/ 8 h 11"/>
                <a:gd name="T8" fmla="*/ 1 w 8"/>
                <a:gd name="T9" fmla="*/ 11 h 11"/>
                <a:gd name="T10" fmla="*/ 0 w 8"/>
                <a:gd name="T11" fmla="*/ 11 h 11"/>
                <a:gd name="T12" fmla="*/ 0 w 8"/>
                <a:gd name="T13" fmla="*/ 9 h 11"/>
                <a:gd name="T14" fmla="*/ 1 w 8"/>
                <a:gd name="T15" fmla="*/ 9 h 11"/>
                <a:gd name="T16" fmla="*/ 7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7" y="0"/>
                  </a:moveTo>
                  <a:lnTo>
                    <a:pt x="8" y="0"/>
                  </a:lnTo>
                  <a:lnTo>
                    <a:pt x="7" y="6"/>
                  </a:lnTo>
                  <a:lnTo>
                    <a:pt x="7" y="8"/>
                  </a:lnTo>
                  <a:lnTo>
                    <a:pt x="1" y="11"/>
                  </a:lnTo>
                  <a:lnTo>
                    <a:pt x="0" y="11"/>
                  </a:lnTo>
                  <a:lnTo>
                    <a:pt x="0" y="9"/>
                  </a:lnTo>
                  <a:lnTo>
                    <a:pt x="1" y="9"/>
                  </a:lnTo>
                  <a:lnTo>
                    <a:pt x="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7" name="African Island">
              <a:extLst>
                <a:ext uri="{FF2B5EF4-FFF2-40B4-BE49-F238E27FC236}">
                  <a16:creationId xmlns:a16="http://schemas.microsoft.com/office/drawing/2014/main" id="{6B5AE78E-9D3E-617A-F8F3-3B30EE2832EF}"/>
                </a:ext>
              </a:extLst>
            </p:cNvPr>
            <p:cNvSpPr>
              <a:spLocks/>
            </p:cNvSpPr>
            <p:nvPr/>
          </p:nvSpPr>
          <p:spPr bwMode="auto">
            <a:xfrm>
              <a:off x="5455397" y="3898916"/>
              <a:ext cx="12650" cy="12650"/>
            </a:xfrm>
            <a:custGeom>
              <a:avLst/>
              <a:gdLst>
                <a:gd name="T0" fmla="*/ 3 w 7"/>
                <a:gd name="T1" fmla="*/ 0 h 7"/>
                <a:gd name="T2" fmla="*/ 3 w 7"/>
                <a:gd name="T3" fmla="*/ 1 h 7"/>
                <a:gd name="T4" fmla="*/ 6 w 7"/>
                <a:gd name="T5" fmla="*/ 3 h 7"/>
                <a:gd name="T6" fmla="*/ 7 w 7"/>
                <a:gd name="T7" fmla="*/ 3 h 7"/>
                <a:gd name="T8" fmla="*/ 6 w 7"/>
                <a:gd name="T9" fmla="*/ 4 h 7"/>
                <a:gd name="T10" fmla="*/ 4 w 7"/>
                <a:gd name="T11" fmla="*/ 7 h 7"/>
                <a:gd name="T12" fmla="*/ 0 w 7"/>
                <a:gd name="T13" fmla="*/ 7 h 7"/>
                <a:gd name="T14" fmla="*/ 1 w 7"/>
                <a:gd name="T15" fmla="*/ 1 h 7"/>
                <a:gd name="T16" fmla="*/ 3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0"/>
                  </a:moveTo>
                  <a:lnTo>
                    <a:pt x="3" y="1"/>
                  </a:lnTo>
                  <a:lnTo>
                    <a:pt x="6" y="3"/>
                  </a:lnTo>
                  <a:lnTo>
                    <a:pt x="7" y="3"/>
                  </a:lnTo>
                  <a:lnTo>
                    <a:pt x="6" y="4"/>
                  </a:lnTo>
                  <a:lnTo>
                    <a:pt x="4" y="7"/>
                  </a:lnTo>
                  <a:lnTo>
                    <a:pt x="0" y="7"/>
                  </a:lnTo>
                  <a:lnTo>
                    <a:pt x="1" y="1"/>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8" name="African Island">
              <a:extLst>
                <a:ext uri="{FF2B5EF4-FFF2-40B4-BE49-F238E27FC236}">
                  <a16:creationId xmlns:a16="http://schemas.microsoft.com/office/drawing/2014/main" id="{9CB2A1FC-B6DB-8F15-81AF-6CF5173CAABC}"/>
                </a:ext>
              </a:extLst>
            </p:cNvPr>
            <p:cNvSpPr>
              <a:spLocks/>
            </p:cNvSpPr>
            <p:nvPr/>
          </p:nvSpPr>
          <p:spPr bwMode="auto">
            <a:xfrm>
              <a:off x="6024620" y="4498860"/>
              <a:ext cx="14457" cy="12650"/>
            </a:xfrm>
            <a:custGeom>
              <a:avLst/>
              <a:gdLst>
                <a:gd name="T0" fmla="*/ 2 w 8"/>
                <a:gd name="T1" fmla="*/ 0 h 7"/>
                <a:gd name="T2" fmla="*/ 3 w 8"/>
                <a:gd name="T3" fmla="*/ 0 h 7"/>
                <a:gd name="T4" fmla="*/ 8 w 8"/>
                <a:gd name="T5" fmla="*/ 1 h 7"/>
                <a:gd name="T6" fmla="*/ 8 w 8"/>
                <a:gd name="T7" fmla="*/ 3 h 7"/>
                <a:gd name="T8" fmla="*/ 6 w 8"/>
                <a:gd name="T9" fmla="*/ 7 h 7"/>
                <a:gd name="T10" fmla="*/ 0 w 8"/>
                <a:gd name="T11" fmla="*/ 7 h 7"/>
                <a:gd name="T12" fmla="*/ 2 w 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0"/>
                  </a:moveTo>
                  <a:lnTo>
                    <a:pt x="3" y="0"/>
                  </a:lnTo>
                  <a:lnTo>
                    <a:pt x="8" y="1"/>
                  </a:lnTo>
                  <a:lnTo>
                    <a:pt x="8" y="3"/>
                  </a:lnTo>
                  <a:lnTo>
                    <a:pt x="6" y="7"/>
                  </a:lnTo>
                  <a:lnTo>
                    <a:pt x="0" y="7"/>
                  </a:lnTo>
                  <a:lnTo>
                    <a:pt x="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9" name="African Island">
              <a:extLst>
                <a:ext uri="{FF2B5EF4-FFF2-40B4-BE49-F238E27FC236}">
                  <a16:creationId xmlns:a16="http://schemas.microsoft.com/office/drawing/2014/main" id="{716F96D3-BAA9-140A-C8AF-1C02510C8B08}"/>
                </a:ext>
              </a:extLst>
            </p:cNvPr>
            <p:cNvSpPr>
              <a:spLocks/>
            </p:cNvSpPr>
            <p:nvPr/>
          </p:nvSpPr>
          <p:spPr bwMode="auto">
            <a:xfrm>
              <a:off x="5977637" y="4576564"/>
              <a:ext cx="10843" cy="10843"/>
            </a:xfrm>
            <a:custGeom>
              <a:avLst/>
              <a:gdLst>
                <a:gd name="T0" fmla="*/ 3 w 6"/>
                <a:gd name="T1" fmla="*/ 0 h 6"/>
                <a:gd name="T2" fmla="*/ 6 w 6"/>
                <a:gd name="T3" fmla="*/ 3 h 6"/>
                <a:gd name="T4" fmla="*/ 3 w 6"/>
                <a:gd name="T5" fmla="*/ 6 h 6"/>
                <a:gd name="T6" fmla="*/ 1 w 6"/>
                <a:gd name="T7" fmla="*/ 6 h 6"/>
                <a:gd name="T8" fmla="*/ 0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6" y="3"/>
                  </a:lnTo>
                  <a:lnTo>
                    <a:pt x="3" y="6"/>
                  </a:lnTo>
                  <a:lnTo>
                    <a:pt x="1" y="6"/>
                  </a:lnTo>
                  <a:lnTo>
                    <a:pt x="0" y="3"/>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0" name="African Island">
              <a:extLst>
                <a:ext uri="{FF2B5EF4-FFF2-40B4-BE49-F238E27FC236}">
                  <a16:creationId xmlns:a16="http://schemas.microsoft.com/office/drawing/2014/main" id="{DEE37262-9BDB-3FB8-EC76-2201548AED64}"/>
                </a:ext>
              </a:extLst>
            </p:cNvPr>
            <p:cNvSpPr>
              <a:spLocks/>
            </p:cNvSpPr>
            <p:nvPr/>
          </p:nvSpPr>
          <p:spPr bwMode="auto">
            <a:xfrm>
              <a:off x="7177525" y="5066278"/>
              <a:ext cx="10843" cy="16264"/>
            </a:xfrm>
            <a:custGeom>
              <a:avLst/>
              <a:gdLst>
                <a:gd name="T0" fmla="*/ 1 w 6"/>
                <a:gd name="T1" fmla="*/ 0 h 9"/>
                <a:gd name="T2" fmla="*/ 6 w 6"/>
                <a:gd name="T3" fmla="*/ 0 h 9"/>
                <a:gd name="T4" fmla="*/ 6 w 6"/>
                <a:gd name="T5" fmla="*/ 7 h 9"/>
                <a:gd name="T6" fmla="*/ 1 w 6"/>
                <a:gd name="T7" fmla="*/ 9 h 9"/>
                <a:gd name="T8" fmla="*/ 0 w 6"/>
                <a:gd name="T9" fmla="*/ 9 h 9"/>
                <a:gd name="T10" fmla="*/ 0 w 6"/>
                <a:gd name="T11" fmla="*/ 7 h 9"/>
                <a:gd name="T12" fmla="*/ 1 w 6"/>
                <a:gd name="T13" fmla="*/ 1 h 9"/>
                <a:gd name="T14" fmla="*/ 1 w 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1" y="0"/>
                  </a:moveTo>
                  <a:lnTo>
                    <a:pt x="6" y="0"/>
                  </a:lnTo>
                  <a:lnTo>
                    <a:pt x="6" y="7"/>
                  </a:lnTo>
                  <a:lnTo>
                    <a:pt x="1" y="9"/>
                  </a:lnTo>
                  <a:lnTo>
                    <a:pt x="0" y="9"/>
                  </a:lnTo>
                  <a:lnTo>
                    <a:pt x="0" y="7"/>
                  </a:lnTo>
                  <a:lnTo>
                    <a:pt x="1" y="1"/>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1" name="African Island">
              <a:extLst>
                <a:ext uri="{FF2B5EF4-FFF2-40B4-BE49-F238E27FC236}">
                  <a16:creationId xmlns:a16="http://schemas.microsoft.com/office/drawing/2014/main" id="{42BF0DDA-345A-F4AA-317A-3BA46A511302}"/>
                </a:ext>
              </a:extLst>
            </p:cNvPr>
            <p:cNvSpPr>
              <a:spLocks/>
            </p:cNvSpPr>
            <p:nvPr/>
          </p:nvSpPr>
          <p:spPr bwMode="auto">
            <a:xfrm>
              <a:off x="6754673" y="4722936"/>
              <a:ext cx="10843" cy="19879"/>
            </a:xfrm>
            <a:custGeom>
              <a:avLst/>
              <a:gdLst>
                <a:gd name="T0" fmla="*/ 0 w 6"/>
                <a:gd name="T1" fmla="*/ 0 h 11"/>
                <a:gd name="T2" fmla="*/ 1 w 6"/>
                <a:gd name="T3" fmla="*/ 0 h 11"/>
                <a:gd name="T4" fmla="*/ 6 w 6"/>
                <a:gd name="T5" fmla="*/ 9 h 11"/>
                <a:gd name="T6" fmla="*/ 4 w 6"/>
                <a:gd name="T7" fmla="*/ 11 h 11"/>
                <a:gd name="T8" fmla="*/ 1 w 6"/>
                <a:gd name="T9" fmla="*/ 8 h 11"/>
                <a:gd name="T10" fmla="*/ 0 w 6"/>
                <a:gd name="T11" fmla="*/ 8 h 11"/>
                <a:gd name="T12" fmla="*/ 0 w 6"/>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0" y="0"/>
                  </a:moveTo>
                  <a:lnTo>
                    <a:pt x="1" y="0"/>
                  </a:lnTo>
                  <a:lnTo>
                    <a:pt x="6" y="9"/>
                  </a:lnTo>
                  <a:lnTo>
                    <a:pt x="4" y="11"/>
                  </a:lnTo>
                  <a:lnTo>
                    <a:pt x="1" y="8"/>
                  </a:lnTo>
                  <a:lnTo>
                    <a:pt x="0" y="8"/>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2" name="African Island">
              <a:extLst>
                <a:ext uri="{FF2B5EF4-FFF2-40B4-BE49-F238E27FC236}">
                  <a16:creationId xmlns:a16="http://schemas.microsoft.com/office/drawing/2014/main" id="{2F38796D-EAF4-A6ED-3CE6-3CCD613CFB89}"/>
                </a:ext>
              </a:extLst>
            </p:cNvPr>
            <p:cNvSpPr>
              <a:spLocks/>
            </p:cNvSpPr>
            <p:nvPr/>
          </p:nvSpPr>
          <p:spPr bwMode="auto">
            <a:xfrm>
              <a:off x="6765516" y="4701251"/>
              <a:ext cx="5422" cy="16264"/>
            </a:xfrm>
            <a:custGeom>
              <a:avLst/>
              <a:gdLst>
                <a:gd name="T0" fmla="*/ 0 w 3"/>
                <a:gd name="T1" fmla="*/ 0 h 9"/>
                <a:gd name="T2" fmla="*/ 1 w 3"/>
                <a:gd name="T3" fmla="*/ 0 h 9"/>
                <a:gd name="T4" fmla="*/ 3 w 3"/>
                <a:gd name="T5" fmla="*/ 3 h 9"/>
                <a:gd name="T6" fmla="*/ 3 w 3"/>
                <a:gd name="T7" fmla="*/ 9 h 9"/>
                <a:gd name="T8" fmla="*/ 1 w 3"/>
                <a:gd name="T9" fmla="*/ 9 h 9"/>
                <a:gd name="T10" fmla="*/ 1 w 3"/>
                <a:gd name="T11" fmla="*/ 8 h 9"/>
                <a:gd name="T12" fmla="*/ 0 w 3"/>
                <a:gd name="T13" fmla="*/ 2 h 9"/>
                <a:gd name="T14" fmla="*/ 0 w 3"/>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9">
                  <a:moveTo>
                    <a:pt x="0" y="0"/>
                  </a:moveTo>
                  <a:lnTo>
                    <a:pt x="1" y="0"/>
                  </a:lnTo>
                  <a:lnTo>
                    <a:pt x="3" y="3"/>
                  </a:lnTo>
                  <a:lnTo>
                    <a:pt x="3" y="9"/>
                  </a:lnTo>
                  <a:lnTo>
                    <a:pt x="1" y="9"/>
                  </a:lnTo>
                  <a:lnTo>
                    <a:pt x="1" y="8"/>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3" name="African Island">
              <a:extLst>
                <a:ext uri="{FF2B5EF4-FFF2-40B4-BE49-F238E27FC236}">
                  <a16:creationId xmlns:a16="http://schemas.microsoft.com/office/drawing/2014/main" id="{1FD6355B-8850-1C05-DF5F-DCE1E6B05F75}"/>
                </a:ext>
              </a:extLst>
            </p:cNvPr>
            <p:cNvSpPr>
              <a:spLocks/>
            </p:cNvSpPr>
            <p:nvPr/>
          </p:nvSpPr>
          <p:spPr bwMode="auto">
            <a:xfrm>
              <a:off x="6845026" y="4854852"/>
              <a:ext cx="9036" cy="16264"/>
            </a:xfrm>
            <a:custGeom>
              <a:avLst/>
              <a:gdLst>
                <a:gd name="T0" fmla="*/ 3 w 5"/>
                <a:gd name="T1" fmla="*/ 0 h 9"/>
                <a:gd name="T2" fmla="*/ 5 w 5"/>
                <a:gd name="T3" fmla="*/ 0 h 9"/>
                <a:gd name="T4" fmla="*/ 5 w 5"/>
                <a:gd name="T5" fmla="*/ 9 h 9"/>
                <a:gd name="T6" fmla="*/ 3 w 5"/>
                <a:gd name="T7" fmla="*/ 9 h 9"/>
                <a:gd name="T8" fmla="*/ 2 w 5"/>
                <a:gd name="T9" fmla="*/ 6 h 9"/>
                <a:gd name="T10" fmla="*/ 0 w 5"/>
                <a:gd name="T11" fmla="*/ 6 h 9"/>
                <a:gd name="T12" fmla="*/ 0 w 5"/>
                <a:gd name="T13" fmla="*/ 4 h 9"/>
                <a:gd name="T14" fmla="*/ 3 w 5"/>
                <a:gd name="T15" fmla="*/ 1 h 9"/>
                <a:gd name="T16" fmla="*/ 3 w 5"/>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3" y="0"/>
                  </a:moveTo>
                  <a:lnTo>
                    <a:pt x="5" y="0"/>
                  </a:lnTo>
                  <a:lnTo>
                    <a:pt x="5" y="9"/>
                  </a:lnTo>
                  <a:lnTo>
                    <a:pt x="3" y="9"/>
                  </a:lnTo>
                  <a:lnTo>
                    <a:pt x="2" y="6"/>
                  </a:lnTo>
                  <a:lnTo>
                    <a:pt x="0" y="6"/>
                  </a:lnTo>
                  <a:lnTo>
                    <a:pt x="0" y="4"/>
                  </a:lnTo>
                  <a:lnTo>
                    <a:pt x="3" y="1"/>
                  </a:lnTo>
                  <a:lnTo>
                    <a:pt x="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4" name="African Island">
              <a:extLst>
                <a:ext uri="{FF2B5EF4-FFF2-40B4-BE49-F238E27FC236}">
                  <a16:creationId xmlns:a16="http://schemas.microsoft.com/office/drawing/2014/main" id="{4A049F8C-24D0-C065-9041-9BC8C504002A}"/>
                </a:ext>
              </a:extLst>
            </p:cNvPr>
            <p:cNvSpPr>
              <a:spLocks/>
            </p:cNvSpPr>
            <p:nvPr/>
          </p:nvSpPr>
          <p:spPr bwMode="auto">
            <a:xfrm>
              <a:off x="6868519" y="4872923"/>
              <a:ext cx="10843" cy="10843"/>
            </a:xfrm>
            <a:custGeom>
              <a:avLst/>
              <a:gdLst>
                <a:gd name="T0" fmla="*/ 5 w 6"/>
                <a:gd name="T1" fmla="*/ 0 h 6"/>
                <a:gd name="T2" fmla="*/ 6 w 6"/>
                <a:gd name="T3" fmla="*/ 0 h 6"/>
                <a:gd name="T4" fmla="*/ 6 w 6"/>
                <a:gd name="T5" fmla="*/ 5 h 6"/>
                <a:gd name="T6" fmla="*/ 5 w 6"/>
                <a:gd name="T7" fmla="*/ 6 h 6"/>
                <a:gd name="T8" fmla="*/ 2 w 6"/>
                <a:gd name="T9" fmla="*/ 3 h 6"/>
                <a:gd name="T10" fmla="*/ 0 w 6"/>
                <a:gd name="T11" fmla="*/ 3 h 6"/>
                <a:gd name="T12" fmla="*/ 0 w 6"/>
                <a:gd name="T13" fmla="*/ 2 h 6"/>
                <a:gd name="T14" fmla="*/ 2 w 6"/>
                <a:gd name="T15" fmla="*/ 2 h 6"/>
                <a:gd name="T16" fmla="*/ 5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5" y="0"/>
                  </a:moveTo>
                  <a:lnTo>
                    <a:pt x="6" y="0"/>
                  </a:lnTo>
                  <a:lnTo>
                    <a:pt x="6" y="5"/>
                  </a:lnTo>
                  <a:lnTo>
                    <a:pt x="5" y="6"/>
                  </a:lnTo>
                  <a:lnTo>
                    <a:pt x="2" y="3"/>
                  </a:lnTo>
                  <a:lnTo>
                    <a:pt x="0" y="3"/>
                  </a:lnTo>
                  <a:lnTo>
                    <a:pt x="0" y="2"/>
                  </a:lnTo>
                  <a:lnTo>
                    <a:pt x="2" y="2"/>
                  </a:lnTo>
                  <a:lnTo>
                    <a:pt x="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5" name="African Island">
              <a:extLst>
                <a:ext uri="{FF2B5EF4-FFF2-40B4-BE49-F238E27FC236}">
                  <a16:creationId xmlns:a16="http://schemas.microsoft.com/office/drawing/2014/main" id="{FE0CFC54-F05E-DC79-4914-6217AAFCB49B}"/>
                </a:ext>
              </a:extLst>
            </p:cNvPr>
            <p:cNvSpPr>
              <a:spLocks/>
            </p:cNvSpPr>
            <p:nvPr/>
          </p:nvSpPr>
          <p:spPr bwMode="auto">
            <a:xfrm>
              <a:off x="6890204" y="4887379"/>
              <a:ext cx="5422" cy="10843"/>
            </a:xfrm>
            <a:custGeom>
              <a:avLst/>
              <a:gdLst>
                <a:gd name="T0" fmla="*/ 0 w 3"/>
                <a:gd name="T1" fmla="*/ 0 h 6"/>
                <a:gd name="T2" fmla="*/ 3 w 3"/>
                <a:gd name="T3" fmla="*/ 1 h 6"/>
                <a:gd name="T4" fmla="*/ 3 w 3"/>
                <a:gd name="T5" fmla="*/ 3 h 6"/>
                <a:gd name="T6" fmla="*/ 2 w 3"/>
                <a:gd name="T7" fmla="*/ 4 h 6"/>
                <a:gd name="T8" fmla="*/ 2 w 3"/>
                <a:gd name="T9" fmla="*/ 6 h 6"/>
                <a:gd name="T10" fmla="*/ 0 w 3"/>
                <a:gd name="T11" fmla="*/ 6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1"/>
                  </a:lnTo>
                  <a:lnTo>
                    <a:pt x="3" y="3"/>
                  </a:lnTo>
                  <a:lnTo>
                    <a:pt x="2" y="4"/>
                  </a:lnTo>
                  <a:lnTo>
                    <a:pt x="2" y="6"/>
                  </a:lnTo>
                  <a:lnTo>
                    <a:pt x="0" y="6"/>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6" name="African Island">
              <a:extLst>
                <a:ext uri="{FF2B5EF4-FFF2-40B4-BE49-F238E27FC236}">
                  <a16:creationId xmlns:a16="http://schemas.microsoft.com/office/drawing/2014/main" id="{A5E4B2A0-11E7-A9F0-AFF5-0AC22E354842}"/>
                </a:ext>
              </a:extLst>
            </p:cNvPr>
            <p:cNvSpPr>
              <a:spLocks/>
            </p:cNvSpPr>
            <p:nvPr/>
          </p:nvSpPr>
          <p:spPr bwMode="auto">
            <a:xfrm>
              <a:off x="7126928" y="5089770"/>
              <a:ext cx="16264" cy="14457"/>
            </a:xfrm>
            <a:custGeom>
              <a:avLst/>
              <a:gdLst>
                <a:gd name="T0" fmla="*/ 1 w 9"/>
                <a:gd name="T1" fmla="*/ 0 h 8"/>
                <a:gd name="T2" fmla="*/ 7 w 9"/>
                <a:gd name="T3" fmla="*/ 0 h 8"/>
                <a:gd name="T4" fmla="*/ 7 w 9"/>
                <a:gd name="T5" fmla="*/ 2 h 8"/>
                <a:gd name="T6" fmla="*/ 9 w 9"/>
                <a:gd name="T7" fmla="*/ 6 h 8"/>
                <a:gd name="T8" fmla="*/ 9 w 9"/>
                <a:gd name="T9" fmla="*/ 8 h 8"/>
                <a:gd name="T10" fmla="*/ 7 w 9"/>
                <a:gd name="T11" fmla="*/ 8 h 8"/>
                <a:gd name="T12" fmla="*/ 4 w 9"/>
                <a:gd name="T13" fmla="*/ 6 h 8"/>
                <a:gd name="T14" fmla="*/ 3 w 9"/>
                <a:gd name="T15" fmla="*/ 6 h 8"/>
                <a:gd name="T16" fmla="*/ 0 w 9"/>
                <a:gd name="T17" fmla="*/ 2 h 8"/>
                <a:gd name="T18" fmla="*/ 1 w 9"/>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1" y="0"/>
                  </a:moveTo>
                  <a:lnTo>
                    <a:pt x="7" y="0"/>
                  </a:lnTo>
                  <a:lnTo>
                    <a:pt x="7" y="2"/>
                  </a:lnTo>
                  <a:lnTo>
                    <a:pt x="9" y="6"/>
                  </a:lnTo>
                  <a:lnTo>
                    <a:pt x="9" y="8"/>
                  </a:lnTo>
                  <a:lnTo>
                    <a:pt x="7" y="8"/>
                  </a:lnTo>
                  <a:lnTo>
                    <a:pt x="4" y="6"/>
                  </a:lnTo>
                  <a:lnTo>
                    <a:pt x="3" y="6"/>
                  </a:lnTo>
                  <a:lnTo>
                    <a:pt x="0" y="2"/>
                  </a:lnTo>
                  <a:lnTo>
                    <a:pt x="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7" name="Zimbabwe">
              <a:extLst>
                <a:ext uri="{FF2B5EF4-FFF2-40B4-BE49-F238E27FC236}">
                  <a16:creationId xmlns:a16="http://schemas.microsoft.com/office/drawing/2014/main" id="{E6B9AE21-FCFE-63DD-8A25-049FF62B7022}"/>
                </a:ext>
              </a:extLst>
            </p:cNvPr>
            <p:cNvSpPr>
              <a:spLocks/>
            </p:cNvSpPr>
            <p:nvPr/>
          </p:nvSpPr>
          <p:spPr bwMode="auto">
            <a:xfrm>
              <a:off x="6418560" y="4956048"/>
              <a:ext cx="187935" cy="178900"/>
            </a:xfrm>
            <a:custGeom>
              <a:avLst/>
              <a:gdLst>
                <a:gd name="T0" fmla="*/ 61 w 104"/>
                <a:gd name="T1" fmla="*/ 0 h 99"/>
                <a:gd name="T2" fmla="*/ 69 w 104"/>
                <a:gd name="T3" fmla="*/ 2 h 99"/>
                <a:gd name="T4" fmla="*/ 69 w 104"/>
                <a:gd name="T5" fmla="*/ 5 h 99"/>
                <a:gd name="T6" fmla="*/ 82 w 104"/>
                <a:gd name="T7" fmla="*/ 6 h 99"/>
                <a:gd name="T8" fmla="*/ 100 w 104"/>
                <a:gd name="T9" fmla="*/ 14 h 99"/>
                <a:gd name="T10" fmla="*/ 104 w 104"/>
                <a:gd name="T11" fmla="*/ 27 h 99"/>
                <a:gd name="T12" fmla="*/ 104 w 104"/>
                <a:gd name="T13" fmla="*/ 37 h 99"/>
                <a:gd name="T14" fmla="*/ 100 w 104"/>
                <a:gd name="T15" fmla="*/ 48 h 99"/>
                <a:gd name="T16" fmla="*/ 103 w 104"/>
                <a:gd name="T17" fmla="*/ 61 h 99"/>
                <a:gd name="T18" fmla="*/ 92 w 104"/>
                <a:gd name="T19" fmla="*/ 86 h 99"/>
                <a:gd name="T20" fmla="*/ 86 w 104"/>
                <a:gd name="T21" fmla="*/ 92 h 99"/>
                <a:gd name="T22" fmla="*/ 85 w 104"/>
                <a:gd name="T23" fmla="*/ 98 h 99"/>
                <a:gd name="T24" fmla="*/ 85 w 104"/>
                <a:gd name="T25" fmla="*/ 99 h 99"/>
                <a:gd name="T26" fmla="*/ 83 w 104"/>
                <a:gd name="T27" fmla="*/ 98 h 99"/>
                <a:gd name="T28" fmla="*/ 74 w 104"/>
                <a:gd name="T29" fmla="*/ 92 h 99"/>
                <a:gd name="T30" fmla="*/ 55 w 104"/>
                <a:gd name="T31" fmla="*/ 92 h 99"/>
                <a:gd name="T32" fmla="*/ 36 w 104"/>
                <a:gd name="T33" fmla="*/ 83 h 99"/>
                <a:gd name="T34" fmla="*/ 36 w 104"/>
                <a:gd name="T35" fmla="*/ 82 h 99"/>
                <a:gd name="T36" fmla="*/ 34 w 104"/>
                <a:gd name="T37" fmla="*/ 71 h 99"/>
                <a:gd name="T38" fmla="*/ 12 w 104"/>
                <a:gd name="T39" fmla="*/ 54 h 99"/>
                <a:gd name="T40" fmla="*/ 0 w 104"/>
                <a:gd name="T41" fmla="*/ 31 h 99"/>
                <a:gd name="T42" fmla="*/ 0 w 104"/>
                <a:gd name="T43" fmla="*/ 30 h 99"/>
                <a:gd name="T44" fmla="*/ 3 w 104"/>
                <a:gd name="T45" fmla="*/ 30 h 99"/>
                <a:gd name="T46" fmla="*/ 8 w 104"/>
                <a:gd name="T47" fmla="*/ 31 h 99"/>
                <a:gd name="T48" fmla="*/ 15 w 104"/>
                <a:gd name="T49" fmla="*/ 31 h 99"/>
                <a:gd name="T50" fmla="*/ 20 w 104"/>
                <a:gd name="T51" fmla="*/ 33 h 99"/>
                <a:gd name="T52" fmla="*/ 23 w 104"/>
                <a:gd name="T53" fmla="*/ 33 h 99"/>
                <a:gd name="T54" fmla="*/ 34 w 104"/>
                <a:gd name="T55" fmla="*/ 19 h 99"/>
                <a:gd name="T56" fmla="*/ 45 w 104"/>
                <a:gd name="T57" fmla="*/ 15 h 99"/>
                <a:gd name="T58" fmla="*/ 46 w 104"/>
                <a:gd name="T59" fmla="*/ 6 h 99"/>
                <a:gd name="T60" fmla="*/ 48 w 104"/>
                <a:gd name="T61" fmla="*/ 5 h 99"/>
                <a:gd name="T62" fmla="*/ 61 w 104"/>
                <a:gd name="T6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99">
                  <a:moveTo>
                    <a:pt x="61" y="0"/>
                  </a:moveTo>
                  <a:lnTo>
                    <a:pt x="69" y="2"/>
                  </a:lnTo>
                  <a:lnTo>
                    <a:pt x="69" y="5"/>
                  </a:lnTo>
                  <a:lnTo>
                    <a:pt x="82" y="6"/>
                  </a:lnTo>
                  <a:lnTo>
                    <a:pt x="100" y="14"/>
                  </a:lnTo>
                  <a:lnTo>
                    <a:pt x="104" y="27"/>
                  </a:lnTo>
                  <a:lnTo>
                    <a:pt x="104" y="37"/>
                  </a:lnTo>
                  <a:lnTo>
                    <a:pt x="100" y="48"/>
                  </a:lnTo>
                  <a:lnTo>
                    <a:pt x="103" y="61"/>
                  </a:lnTo>
                  <a:lnTo>
                    <a:pt x="92" y="86"/>
                  </a:lnTo>
                  <a:lnTo>
                    <a:pt x="86" y="92"/>
                  </a:lnTo>
                  <a:lnTo>
                    <a:pt x="85" y="98"/>
                  </a:lnTo>
                  <a:lnTo>
                    <a:pt x="85" y="99"/>
                  </a:lnTo>
                  <a:lnTo>
                    <a:pt x="83" y="98"/>
                  </a:lnTo>
                  <a:lnTo>
                    <a:pt x="74" y="92"/>
                  </a:lnTo>
                  <a:lnTo>
                    <a:pt x="55" y="92"/>
                  </a:lnTo>
                  <a:lnTo>
                    <a:pt x="36" y="83"/>
                  </a:lnTo>
                  <a:lnTo>
                    <a:pt x="36" y="82"/>
                  </a:lnTo>
                  <a:lnTo>
                    <a:pt x="34" y="71"/>
                  </a:lnTo>
                  <a:lnTo>
                    <a:pt x="12" y="54"/>
                  </a:lnTo>
                  <a:lnTo>
                    <a:pt x="0" y="31"/>
                  </a:lnTo>
                  <a:lnTo>
                    <a:pt x="0" y="30"/>
                  </a:lnTo>
                  <a:lnTo>
                    <a:pt x="3" y="30"/>
                  </a:lnTo>
                  <a:lnTo>
                    <a:pt x="8" y="31"/>
                  </a:lnTo>
                  <a:lnTo>
                    <a:pt x="15" y="31"/>
                  </a:lnTo>
                  <a:lnTo>
                    <a:pt x="20" y="33"/>
                  </a:lnTo>
                  <a:lnTo>
                    <a:pt x="23" y="33"/>
                  </a:lnTo>
                  <a:lnTo>
                    <a:pt x="34" y="19"/>
                  </a:lnTo>
                  <a:lnTo>
                    <a:pt x="45" y="15"/>
                  </a:lnTo>
                  <a:lnTo>
                    <a:pt x="46" y="6"/>
                  </a:lnTo>
                  <a:lnTo>
                    <a:pt x="48" y="5"/>
                  </a:lnTo>
                  <a:lnTo>
                    <a:pt x="6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8" name="Zambia">
              <a:extLst>
                <a:ext uri="{FF2B5EF4-FFF2-40B4-BE49-F238E27FC236}">
                  <a16:creationId xmlns:a16="http://schemas.microsoft.com/office/drawing/2014/main" id="{872AE8BB-EE7F-3BD5-520D-D6BB71447646}"/>
                </a:ext>
              </a:extLst>
            </p:cNvPr>
            <p:cNvSpPr>
              <a:spLocks/>
            </p:cNvSpPr>
            <p:nvPr/>
          </p:nvSpPr>
          <p:spPr bwMode="auto">
            <a:xfrm>
              <a:off x="6344472" y="4778956"/>
              <a:ext cx="278287" cy="238533"/>
            </a:xfrm>
            <a:custGeom>
              <a:avLst/>
              <a:gdLst>
                <a:gd name="T0" fmla="*/ 114 w 154"/>
                <a:gd name="T1" fmla="*/ 0 h 132"/>
                <a:gd name="T2" fmla="*/ 118 w 154"/>
                <a:gd name="T3" fmla="*/ 8 h 132"/>
                <a:gd name="T4" fmla="*/ 145 w 154"/>
                <a:gd name="T5" fmla="*/ 17 h 132"/>
                <a:gd name="T6" fmla="*/ 154 w 154"/>
                <a:gd name="T7" fmla="*/ 33 h 132"/>
                <a:gd name="T8" fmla="*/ 151 w 154"/>
                <a:gd name="T9" fmla="*/ 37 h 132"/>
                <a:gd name="T10" fmla="*/ 150 w 154"/>
                <a:gd name="T11" fmla="*/ 54 h 132"/>
                <a:gd name="T12" fmla="*/ 151 w 154"/>
                <a:gd name="T13" fmla="*/ 58 h 132"/>
                <a:gd name="T14" fmla="*/ 142 w 154"/>
                <a:gd name="T15" fmla="*/ 73 h 132"/>
                <a:gd name="T16" fmla="*/ 107 w 154"/>
                <a:gd name="T17" fmla="*/ 94 h 132"/>
                <a:gd name="T18" fmla="*/ 110 w 154"/>
                <a:gd name="T19" fmla="*/ 101 h 132"/>
                <a:gd name="T20" fmla="*/ 105 w 154"/>
                <a:gd name="T21" fmla="*/ 100 h 132"/>
                <a:gd name="T22" fmla="*/ 89 w 154"/>
                <a:gd name="T23" fmla="*/ 104 h 132"/>
                <a:gd name="T24" fmla="*/ 77 w 154"/>
                <a:gd name="T25" fmla="*/ 119 h 132"/>
                <a:gd name="T26" fmla="*/ 64 w 154"/>
                <a:gd name="T27" fmla="*/ 132 h 132"/>
                <a:gd name="T28" fmla="*/ 37 w 154"/>
                <a:gd name="T29" fmla="*/ 126 h 132"/>
                <a:gd name="T30" fmla="*/ 27 w 154"/>
                <a:gd name="T31" fmla="*/ 125 h 132"/>
                <a:gd name="T32" fmla="*/ 21 w 154"/>
                <a:gd name="T33" fmla="*/ 126 h 132"/>
                <a:gd name="T34" fmla="*/ 16 w 154"/>
                <a:gd name="T35" fmla="*/ 128 h 132"/>
                <a:gd name="T36" fmla="*/ 0 w 154"/>
                <a:gd name="T37" fmla="*/ 64 h 132"/>
                <a:gd name="T38" fmla="*/ 25 w 154"/>
                <a:gd name="T39" fmla="*/ 63 h 132"/>
                <a:gd name="T40" fmla="*/ 30 w 154"/>
                <a:gd name="T41" fmla="*/ 36 h 132"/>
                <a:gd name="T42" fmla="*/ 31 w 154"/>
                <a:gd name="T43" fmla="*/ 36 h 132"/>
                <a:gd name="T44" fmla="*/ 43 w 154"/>
                <a:gd name="T45" fmla="*/ 39 h 132"/>
                <a:gd name="T46" fmla="*/ 58 w 154"/>
                <a:gd name="T47" fmla="*/ 49 h 132"/>
                <a:gd name="T48" fmla="*/ 61 w 154"/>
                <a:gd name="T49" fmla="*/ 48 h 132"/>
                <a:gd name="T50" fmla="*/ 65 w 154"/>
                <a:gd name="T51" fmla="*/ 46 h 132"/>
                <a:gd name="T52" fmla="*/ 68 w 154"/>
                <a:gd name="T53" fmla="*/ 48 h 132"/>
                <a:gd name="T54" fmla="*/ 80 w 154"/>
                <a:gd name="T55" fmla="*/ 54 h 132"/>
                <a:gd name="T56" fmla="*/ 102 w 154"/>
                <a:gd name="T57" fmla="*/ 69 h 132"/>
                <a:gd name="T58" fmla="*/ 92 w 154"/>
                <a:gd name="T59" fmla="*/ 55 h 132"/>
                <a:gd name="T60" fmla="*/ 90 w 154"/>
                <a:gd name="T61" fmla="*/ 30 h 132"/>
                <a:gd name="T62" fmla="*/ 95 w 154"/>
                <a:gd name="T63" fmla="*/ 5 h 132"/>
                <a:gd name="T64" fmla="*/ 98 w 154"/>
                <a:gd name="T65" fmla="*/ 3 h 132"/>
                <a:gd name="T66" fmla="*/ 105 w 154"/>
                <a:gd name="T67"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32">
                  <a:moveTo>
                    <a:pt x="110" y="0"/>
                  </a:moveTo>
                  <a:lnTo>
                    <a:pt x="114" y="0"/>
                  </a:lnTo>
                  <a:lnTo>
                    <a:pt x="114" y="6"/>
                  </a:lnTo>
                  <a:lnTo>
                    <a:pt x="118" y="8"/>
                  </a:lnTo>
                  <a:lnTo>
                    <a:pt x="120" y="6"/>
                  </a:lnTo>
                  <a:lnTo>
                    <a:pt x="145" y="17"/>
                  </a:lnTo>
                  <a:lnTo>
                    <a:pt x="147" y="17"/>
                  </a:lnTo>
                  <a:lnTo>
                    <a:pt x="154" y="33"/>
                  </a:lnTo>
                  <a:lnTo>
                    <a:pt x="154" y="34"/>
                  </a:lnTo>
                  <a:lnTo>
                    <a:pt x="151" y="37"/>
                  </a:lnTo>
                  <a:lnTo>
                    <a:pt x="150" y="46"/>
                  </a:lnTo>
                  <a:lnTo>
                    <a:pt x="150" y="54"/>
                  </a:lnTo>
                  <a:lnTo>
                    <a:pt x="151" y="57"/>
                  </a:lnTo>
                  <a:lnTo>
                    <a:pt x="151" y="58"/>
                  </a:lnTo>
                  <a:lnTo>
                    <a:pt x="147" y="61"/>
                  </a:lnTo>
                  <a:lnTo>
                    <a:pt x="142" y="73"/>
                  </a:lnTo>
                  <a:lnTo>
                    <a:pt x="147" y="79"/>
                  </a:lnTo>
                  <a:lnTo>
                    <a:pt x="107" y="94"/>
                  </a:lnTo>
                  <a:lnTo>
                    <a:pt x="110" y="100"/>
                  </a:lnTo>
                  <a:lnTo>
                    <a:pt x="110" y="101"/>
                  </a:lnTo>
                  <a:lnTo>
                    <a:pt x="107" y="101"/>
                  </a:lnTo>
                  <a:lnTo>
                    <a:pt x="105" y="100"/>
                  </a:lnTo>
                  <a:lnTo>
                    <a:pt x="102" y="100"/>
                  </a:lnTo>
                  <a:lnTo>
                    <a:pt x="89" y="104"/>
                  </a:lnTo>
                  <a:lnTo>
                    <a:pt x="87" y="114"/>
                  </a:lnTo>
                  <a:lnTo>
                    <a:pt x="77" y="119"/>
                  </a:lnTo>
                  <a:lnTo>
                    <a:pt x="65" y="132"/>
                  </a:lnTo>
                  <a:lnTo>
                    <a:pt x="64" y="132"/>
                  </a:lnTo>
                  <a:lnTo>
                    <a:pt x="41" y="129"/>
                  </a:lnTo>
                  <a:lnTo>
                    <a:pt x="37" y="126"/>
                  </a:lnTo>
                  <a:lnTo>
                    <a:pt x="28" y="125"/>
                  </a:lnTo>
                  <a:lnTo>
                    <a:pt x="27" y="125"/>
                  </a:lnTo>
                  <a:lnTo>
                    <a:pt x="25" y="126"/>
                  </a:lnTo>
                  <a:lnTo>
                    <a:pt x="21" y="126"/>
                  </a:lnTo>
                  <a:lnTo>
                    <a:pt x="18" y="128"/>
                  </a:lnTo>
                  <a:lnTo>
                    <a:pt x="16" y="128"/>
                  </a:lnTo>
                  <a:lnTo>
                    <a:pt x="0" y="113"/>
                  </a:lnTo>
                  <a:lnTo>
                    <a:pt x="0" y="64"/>
                  </a:lnTo>
                  <a:lnTo>
                    <a:pt x="27" y="64"/>
                  </a:lnTo>
                  <a:lnTo>
                    <a:pt x="25" y="63"/>
                  </a:lnTo>
                  <a:lnTo>
                    <a:pt x="27" y="36"/>
                  </a:lnTo>
                  <a:lnTo>
                    <a:pt x="30" y="36"/>
                  </a:lnTo>
                  <a:lnTo>
                    <a:pt x="31" y="34"/>
                  </a:lnTo>
                  <a:lnTo>
                    <a:pt x="31" y="36"/>
                  </a:lnTo>
                  <a:lnTo>
                    <a:pt x="34" y="42"/>
                  </a:lnTo>
                  <a:lnTo>
                    <a:pt x="43" y="39"/>
                  </a:lnTo>
                  <a:lnTo>
                    <a:pt x="47" y="43"/>
                  </a:lnTo>
                  <a:lnTo>
                    <a:pt x="58" y="49"/>
                  </a:lnTo>
                  <a:lnTo>
                    <a:pt x="59" y="49"/>
                  </a:lnTo>
                  <a:lnTo>
                    <a:pt x="61" y="48"/>
                  </a:lnTo>
                  <a:lnTo>
                    <a:pt x="64" y="48"/>
                  </a:lnTo>
                  <a:lnTo>
                    <a:pt x="65" y="46"/>
                  </a:lnTo>
                  <a:lnTo>
                    <a:pt x="68" y="46"/>
                  </a:lnTo>
                  <a:lnTo>
                    <a:pt x="68" y="48"/>
                  </a:lnTo>
                  <a:lnTo>
                    <a:pt x="73" y="52"/>
                  </a:lnTo>
                  <a:lnTo>
                    <a:pt x="80" y="54"/>
                  </a:lnTo>
                  <a:lnTo>
                    <a:pt x="92" y="66"/>
                  </a:lnTo>
                  <a:lnTo>
                    <a:pt x="102" y="69"/>
                  </a:lnTo>
                  <a:lnTo>
                    <a:pt x="101" y="55"/>
                  </a:lnTo>
                  <a:lnTo>
                    <a:pt x="92" y="55"/>
                  </a:lnTo>
                  <a:lnTo>
                    <a:pt x="86" y="48"/>
                  </a:lnTo>
                  <a:lnTo>
                    <a:pt x="90" y="30"/>
                  </a:lnTo>
                  <a:lnTo>
                    <a:pt x="89" y="14"/>
                  </a:lnTo>
                  <a:lnTo>
                    <a:pt x="95" y="5"/>
                  </a:lnTo>
                  <a:lnTo>
                    <a:pt x="95" y="3"/>
                  </a:lnTo>
                  <a:lnTo>
                    <a:pt x="98" y="3"/>
                  </a:lnTo>
                  <a:lnTo>
                    <a:pt x="102" y="2"/>
                  </a:lnTo>
                  <a:lnTo>
                    <a:pt x="105" y="2"/>
                  </a:lnTo>
                  <a:lnTo>
                    <a:pt x="1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9" name="Western Sahara">
              <a:extLst>
                <a:ext uri="{FF2B5EF4-FFF2-40B4-BE49-F238E27FC236}">
                  <a16:creationId xmlns:a16="http://schemas.microsoft.com/office/drawing/2014/main" id="{ECF6A3E9-7435-32FB-7D06-01A20CBA4FA6}"/>
                </a:ext>
              </a:extLst>
            </p:cNvPr>
            <p:cNvSpPr>
              <a:spLocks/>
            </p:cNvSpPr>
            <p:nvPr/>
          </p:nvSpPr>
          <p:spPr bwMode="auto">
            <a:xfrm>
              <a:off x="5428290" y="3907952"/>
              <a:ext cx="198776" cy="177092"/>
            </a:xfrm>
            <a:custGeom>
              <a:avLst/>
              <a:gdLst>
                <a:gd name="T0" fmla="*/ 52 w 110"/>
                <a:gd name="T1" fmla="*/ 0 h 98"/>
                <a:gd name="T2" fmla="*/ 110 w 110"/>
                <a:gd name="T3" fmla="*/ 0 h 98"/>
                <a:gd name="T4" fmla="*/ 110 w 110"/>
                <a:gd name="T5" fmla="*/ 8 h 98"/>
                <a:gd name="T6" fmla="*/ 108 w 110"/>
                <a:gd name="T7" fmla="*/ 27 h 98"/>
                <a:gd name="T8" fmla="*/ 68 w 110"/>
                <a:gd name="T9" fmla="*/ 27 h 98"/>
                <a:gd name="T10" fmla="*/ 67 w 110"/>
                <a:gd name="T11" fmla="*/ 63 h 98"/>
                <a:gd name="T12" fmla="*/ 55 w 110"/>
                <a:gd name="T13" fmla="*/ 66 h 98"/>
                <a:gd name="T14" fmla="*/ 52 w 110"/>
                <a:gd name="T15" fmla="*/ 72 h 98"/>
                <a:gd name="T16" fmla="*/ 53 w 110"/>
                <a:gd name="T17" fmla="*/ 91 h 98"/>
                <a:gd name="T18" fmla="*/ 53 w 110"/>
                <a:gd name="T19" fmla="*/ 92 h 98"/>
                <a:gd name="T20" fmla="*/ 4 w 110"/>
                <a:gd name="T21" fmla="*/ 92 h 98"/>
                <a:gd name="T22" fmla="*/ 1 w 110"/>
                <a:gd name="T23" fmla="*/ 98 h 98"/>
                <a:gd name="T24" fmla="*/ 0 w 110"/>
                <a:gd name="T25" fmla="*/ 98 h 98"/>
                <a:gd name="T26" fmla="*/ 0 w 110"/>
                <a:gd name="T27" fmla="*/ 97 h 98"/>
                <a:gd name="T28" fmla="*/ 3 w 110"/>
                <a:gd name="T29" fmla="*/ 81 h 98"/>
                <a:gd name="T30" fmla="*/ 3 w 110"/>
                <a:gd name="T31" fmla="*/ 79 h 98"/>
                <a:gd name="T32" fmla="*/ 6 w 110"/>
                <a:gd name="T33" fmla="*/ 78 h 98"/>
                <a:gd name="T34" fmla="*/ 16 w 110"/>
                <a:gd name="T35" fmla="*/ 55 h 98"/>
                <a:gd name="T36" fmla="*/ 28 w 110"/>
                <a:gd name="T37" fmla="*/ 40 h 98"/>
                <a:gd name="T38" fmla="*/ 33 w 110"/>
                <a:gd name="T39" fmla="*/ 26 h 98"/>
                <a:gd name="T40" fmla="*/ 46 w 110"/>
                <a:gd name="T41" fmla="*/ 15 h 98"/>
                <a:gd name="T42" fmla="*/ 52 w 110"/>
                <a:gd name="T43" fmla="*/ 2 h 98"/>
                <a:gd name="T44" fmla="*/ 52 w 110"/>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98">
                  <a:moveTo>
                    <a:pt x="52" y="0"/>
                  </a:moveTo>
                  <a:lnTo>
                    <a:pt x="110" y="0"/>
                  </a:lnTo>
                  <a:lnTo>
                    <a:pt x="110" y="8"/>
                  </a:lnTo>
                  <a:lnTo>
                    <a:pt x="108" y="27"/>
                  </a:lnTo>
                  <a:lnTo>
                    <a:pt x="68" y="27"/>
                  </a:lnTo>
                  <a:lnTo>
                    <a:pt x="67" y="63"/>
                  </a:lnTo>
                  <a:lnTo>
                    <a:pt x="55" y="66"/>
                  </a:lnTo>
                  <a:lnTo>
                    <a:pt x="52" y="72"/>
                  </a:lnTo>
                  <a:lnTo>
                    <a:pt x="53" y="91"/>
                  </a:lnTo>
                  <a:lnTo>
                    <a:pt x="53" y="92"/>
                  </a:lnTo>
                  <a:lnTo>
                    <a:pt x="4" y="92"/>
                  </a:lnTo>
                  <a:lnTo>
                    <a:pt x="1" y="98"/>
                  </a:lnTo>
                  <a:lnTo>
                    <a:pt x="0" y="98"/>
                  </a:lnTo>
                  <a:lnTo>
                    <a:pt x="0" y="97"/>
                  </a:lnTo>
                  <a:lnTo>
                    <a:pt x="3" y="81"/>
                  </a:lnTo>
                  <a:lnTo>
                    <a:pt x="3" y="79"/>
                  </a:lnTo>
                  <a:lnTo>
                    <a:pt x="6" y="78"/>
                  </a:lnTo>
                  <a:lnTo>
                    <a:pt x="16" y="55"/>
                  </a:lnTo>
                  <a:lnTo>
                    <a:pt x="28" y="40"/>
                  </a:lnTo>
                  <a:lnTo>
                    <a:pt x="33" y="26"/>
                  </a:lnTo>
                  <a:lnTo>
                    <a:pt x="46" y="15"/>
                  </a:lnTo>
                  <a:lnTo>
                    <a:pt x="52" y="2"/>
                  </a:lnTo>
                  <a:lnTo>
                    <a:pt x="5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0" name="Uganda">
              <a:extLst>
                <a:ext uri="{FF2B5EF4-FFF2-40B4-BE49-F238E27FC236}">
                  <a16:creationId xmlns:a16="http://schemas.microsoft.com/office/drawing/2014/main" id="{41130121-27E9-EAF5-1CD8-D93C39D5476B}"/>
                </a:ext>
              </a:extLst>
            </p:cNvPr>
            <p:cNvSpPr>
              <a:spLocks/>
            </p:cNvSpPr>
            <p:nvPr/>
          </p:nvSpPr>
          <p:spPr bwMode="auto">
            <a:xfrm>
              <a:off x="6528791" y="4493441"/>
              <a:ext cx="128302" cy="128302"/>
            </a:xfrm>
            <a:custGeom>
              <a:avLst/>
              <a:gdLst>
                <a:gd name="T0" fmla="*/ 55 w 71"/>
                <a:gd name="T1" fmla="*/ 0 h 71"/>
                <a:gd name="T2" fmla="*/ 61 w 71"/>
                <a:gd name="T3" fmla="*/ 1 h 71"/>
                <a:gd name="T4" fmla="*/ 64 w 71"/>
                <a:gd name="T5" fmla="*/ 12 h 71"/>
                <a:gd name="T6" fmla="*/ 68 w 71"/>
                <a:gd name="T7" fmla="*/ 16 h 71"/>
                <a:gd name="T8" fmla="*/ 71 w 71"/>
                <a:gd name="T9" fmla="*/ 25 h 71"/>
                <a:gd name="T10" fmla="*/ 68 w 71"/>
                <a:gd name="T11" fmla="*/ 34 h 71"/>
                <a:gd name="T12" fmla="*/ 56 w 71"/>
                <a:gd name="T13" fmla="*/ 50 h 71"/>
                <a:gd name="T14" fmla="*/ 54 w 71"/>
                <a:gd name="T15" fmla="*/ 50 h 71"/>
                <a:gd name="T16" fmla="*/ 51 w 71"/>
                <a:gd name="T17" fmla="*/ 49 h 71"/>
                <a:gd name="T18" fmla="*/ 48 w 71"/>
                <a:gd name="T19" fmla="*/ 49 h 71"/>
                <a:gd name="T20" fmla="*/ 45 w 71"/>
                <a:gd name="T21" fmla="*/ 53 h 71"/>
                <a:gd name="T22" fmla="*/ 43 w 71"/>
                <a:gd name="T23" fmla="*/ 53 h 71"/>
                <a:gd name="T24" fmla="*/ 39 w 71"/>
                <a:gd name="T25" fmla="*/ 52 h 71"/>
                <a:gd name="T26" fmla="*/ 30 w 71"/>
                <a:gd name="T27" fmla="*/ 55 h 71"/>
                <a:gd name="T28" fmla="*/ 28 w 71"/>
                <a:gd name="T29" fmla="*/ 65 h 71"/>
                <a:gd name="T30" fmla="*/ 28 w 71"/>
                <a:gd name="T31" fmla="*/ 66 h 71"/>
                <a:gd name="T32" fmla="*/ 11 w 71"/>
                <a:gd name="T33" fmla="*/ 66 h 71"/>
                <a:gd name="T34" fmla="*/ 6 w 71"/>
                <a:gd name="T35" fmla="*/ 71 h 71"/>
                <a:gd name="T36" fmla="*/ 5 w 71"/>
                <a:gd name="T37" fmla="*/ 71 h 71"/>
                <a:gd name="T38" fmla="*/ 0 w 71"/>
                <a:gd name="T39" fmla="*/ 69 h 71"/>
                <a:gd name="T40" fmla="*/ 2 w 71"/>
                <a:gd name="T41" fmla="*/ 47 h 71"/>
                <a:gd name="T42" fmla="*/ 11 w 71"/>
                <a:gd name="T43" fmla="*/ 37 h 71"/>
                <a:gd name="T44" fmla="*/ 12 w 71"/>
                <a:gd name="T45" fmla="*/ 37 h 71"/>
                <a:gd name="T46" fmla="*/ 13 w 71"/>
                <a:gd name="T47" fmla="*/ 38 h 71"/>
                <a:gd name="T48" fmla="*/ 19 w 71"/>
                <a:gd name="T49" fmla="*/ 31 h 71"/>
                <a:gd name="T50" fmla="*/ 19 w 71"/>
                <a:gd name="T51" fmla="*/ 23 h 71"/>
                <a:gd name="T52" fmla="*/ 15 w 71"/>
                <a:gd name="T53" fmla="*/ 19 h 71"/>
                <a:gd name="T54" fmla="*/ 13 w 71"/>
                <a:gd name="T55" fmla="*/ 19 h 71"/>
                <a:gd name="T56" fmla="*/ 15 w 71"/>
                <a:gd name="T57" fmla="*/ 6 h 71"/>
                <a:gd name="T58" fmla="*/ 49 w 71"/>
                <a:gd name="T59" fmla="*/ 3 h 71"/>
                <a:gd name="T60" fmla="*/ 55 w 71"/>
                <a:gd name="T6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1" h="71">
                  <a:moveTo>
                    <a:pt x="55" y="0"/>
                  </a:moveTo>
                  <a:lnTo>
                    <a:pt x="61" y="1"/>
                  </a:lnTo>
                  <a:lnTo>
                    <a:pt x="64" y="12"/>
                  </a:lnTo>
                  <a:lnTo>
                    <a:pt x="68" y="16"/>
                  </a:lnTo>
                  <a:lnTo>
                    <a:pt x="71" y="25"/>
                  </a:lnTo>
                  <a:lnTo>
                    <a:pt x="68" y="34"/>
                  </a:lnTo>
                  <a:lnTo>
                    <a:pt x="56" y="50"/>
                  </a:lnTo>
                  <a:lnTo>
                    <a:pt x="54" y="50"/>
                  </a:lnTo>
                  <a:lnTo>
                    <a:pt x="51" y="49"/>
                  </a:lnTo>
                  <a:lnTo>
                    <a:pt x="48" y="49"/>
                  </a:lnTo>
                  <a:lnTo>
                    <a:pt x="45" y="53"/>
                  </a:lnTo>
                  <a:lnTo>
                    <a:pt x="43" y="53"/>
                  </a:lnTo>
                  <a:lnTo>
                    <a:pt x="39" y="52"/>
                  </a:lnTo>
                  <a:lnTo>
                    <a:pt x="30" y="55"/>
                  </a:lnTo>
                  <a:lnTo>
                    <a:pt x="28" y="65"/>
                  </a:lnTo>
                  <a:lnTo>
                    <a:pt x="28" y="66"/>
                  </a:lnTo>
                  <a:lnTo>
                    <a:pt x="11" y="66"/>
                  </a:lnTo>
                  <a:lnTo>
                    <a:pt x="6" y="71"/>
                  </a:lnTo>
                  <a:lnTo>
                    <a:pt x="5" y="71"/>
                  </a:lnTo>
                  <a:lnTo>
                    <a:pt x="0" y="69"/>
                  </a:lnTo>
                  <a:lnTo>
                    <a:pt x="2" y="47"/>
                  </a:lnTo>
                  <a:lnTo>
                    <a:pt x="11" y="37"/>
                  </a:lnTo>
                  <a:lnTo>
                    <a:pt x="12" y="37"/>
                  </a:lnTo>
                  <a:lnTo>
                    <a:pt x="13" y="38"/>
                  </a:lnTo>
                  <a:lnTo>
                    <a:pt x="19" y="31"/>
                  </a:lnTo>
                  <a:lnTo>
                    <a:pt x="19" y="23"/>
                  </a:lnTo>
                  <a:lnTo>
                    <a:pt x="15" y="19"/>
                  </a:lnTo>
                  <a:lnTo>
                    <a:pt x="13" y="19"/>
                  </a:lnTo>
                  <a:lnTo>
                    <a:pt x="15" y="6"/>
                  </a:lnTo>
                  <a:lnTo>
                    <a:pt x="49" y="3"/>
                  </a:lnTo>
                  <a:lnTo>
                    <a:pt x="5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1" name="Tunisia">
              <a:extLst>
                <a:ext uri="{FF2B5EF4-FFF2-40B4-BE49-F238E27FC236}">
                  <a16:creationId xmlns:a16="http://schemas.microsoft.com/office/drawing/2014/main" id="{D1205580-BCB0-376F-B971-2B6EA2C08DBE}"/>
                </a:ext>
              </a:extLst>
            </p:cNvPr>
            <p:cNvSpPr>
              <a:spLocks/>
            </p:cNvSpPr>
            <p:nvPr/>
          </p:nvSpPr>
          <p:spPr bwMode="auto">
            <a:xfrm>
              <a:off x="6001130" y="3640507"/>
              <a:ext cx="93967" cy="200584"/>
            </a:xfrm>
            <a:custGeom>
              <a:avLst/>
              <a:gdLst>
                <a:gd name="T0" fmla="*/ 30 w 52"/>
                <a:gd name="T1" fmla="*/ 0 h 111"/>
                <a:gd name="T2" fmla="*/ 37 w 52"/>
                <a:gd name="T3" fmla="*/ 2 h 111"/>
                <a:gd name="T4" fmla="*/ 39 w 52"/>
                <a:gd name="T5" fmla="*/ 3 h 111"/>
                <a:gd name="T6" fmla="*/ 39 w 52"/>
                <a:gd name="T7" fmla="*/ 9 h 111"/>
                <a:gd name="T8" fmla="*/ 40 w 52"/>
                <a:gd name="T9" fmla="*/ 11 h 111"/>
                <a:gd name="T10" fmla="*/ 48 w 52"/>
                <a:gd name="T11" fmla="*/ 5 h 111"/>
                <a:gd name="T12" fmla="*/ 49 w 52"/>
                <a:gd name="T13" fmla="*/ 5 h 111"/>
                <a:gd name="T14" fmla="*/ 49 w 52"/>
                <a:gd name="T15" fmla="*/ 9 h 111"/>
                <a:gd name="T16" fmla="*/ 42 w 52"/>
                <a:gd name="T17" fmla="*/ 21 h 111"/>
                <a:gd name="T18" fmla="*/ 43 w 52"/>
                <a:gd name="T19" fmla="*/ 25 h 111"/>
                <a:gd name="T20" fmla="*/ 49 w 52"/>
                <a:gd name="T21" fmla="*/ 28 h 111"/>
                <a:gd name="T22" fmla="*/ 49 w 52"/>
                <a:gd name="T23" fmla="*/ 34 h 111"/>
                <a:gd name="T24" fmla="*/ 46 w 52"/>
                <a:gd name="T25" fmla="*/ 42 h 111"/>
                <a:gd name="T26" fmla="*/ 37 w 52"/>
                <a:gd name="T27" fmla="*/ 49 h 111"/>
                <a:gd name="T28" fmla="*/ 36 w 52"/>
                <a:gd name="T29" fmla="*/ 54 h 111"/>
                <a:gd name="T30" fmla="*/ 36 w 52"/>
                <a:gd name="T31" fmla="*/ 55 h 111"/>
                <a:gd name="T32" fmla="*/ 34 w 52"/>
                <a:gd name="T33" fmla="*/ 54 h 111"/>
                <a:gd name="T34" fmla="*/ 33 w 52"/>
                <a:gd name="T35" fmla="*/ 54 h 111"/>
                <a:gd name="T36" fmla="*/ 33 w 52"/>
                <a:gd name="T37" fmla="*/ 55 h 111"/>
                <a:gd name="T38" fmla="*/ 37 w 52"/>
                <a:gd name="T39" fmla="*/ 60 h 111"/>
                <a:gd name="T40" fmla="*/ 42 w 52"/>
                <a:gd name="T41" fmla="*/ 61 h 111"/>
                <a:gd name="T42" fmla="*/ 46 w 52"/>
                <a:gd name="T43" fmla="*/ 61 h 111"/>
                <a:gd name="T44" fmla="*/ 49 w 52"/>
                <a:gd name="T45" fmla="*/ 67 h 111"/>
                <a:gd name="T46" fmla="*/ 52 w 52"/>
                <a:gd name="T47" fmla="*/ 67 h 111"/>
                <a:gd name="T48" fmla="*/ 52 w 52"/>
                <a:gd name="T49" fmla="*/ 80 h 111"/>
                <a:gd name="T50" fmla="*/ 51 w 52"/>
                <a:gd name="T51" fmla="*/ 80 h 111"/>
                <a:gd name="T52" fmla="*/ 36 w 52"/>
                <a:gd name="T53" fmla="*/ 92 h 111"/>
                <a:gd name="T54" fmla="*/ 36 w 52"/>
                <a:gd name="T55" fmla="*/ 105 h 111"/>
                <a:gd name="T56" fmla="*/ 27 w 52"/>
                <a:gd name="T57" fmla="*/ 111 h 111"/>
                <a:gd name="T58" fmla="*/ 21 w 52"/>
                <a:gd name="T59" fmla="*/ 85 h 111"/>
                <a:gd name="T60" fmla="*/ 11 w 52"/>
                <a:gd name="T61" fmla="*/ 79 h 111"/>
                <a:gd name="T62" fmla="*/ 9 w 52"/>
                <a:gd name="T63" fmla="*/ 70 h 111"/>
                <a:gd name="T64" fmla="*/ 3 w 52"/>
                <a:gd name="T65" fmla="*/ 67 h 111"/>
                <a:gd name="T66" fmla="*/ 2 w 52"/>
                <a:gd name="T67" fmla="*/ 67 h 111"/>
                <a:gd name="T68" fmla="*/ 0 w 52"/>
                <a:gd name="T69" fmla="*/ 55 h 111"/>
                <a:gd name="T70" fmla="*/ 11 w 52"/>
                <a:gd name="T71" fmla="*/ 45 h 111"/>
                <a:gd name="T72" fmla="*/ 13 w 52"/>
                <a:gd name="T73" fmla="*/ 36 h 111"/>
                <a:gd name="T74" fmla="*/ 12 w 52"/>
                <a:gd name="T75" fmla="*/ 25 h 111"/>
                <a:gd name="T76" fmla="*/ 13 w 52"/>
                <a:gd name="T77" fmla="*/ 17 h 111"/>
                <a:gd name="T78" fmla="*/ 12 w 52"/>
                <a:gd name="T79" fmla="*/ 15 h 111"/>
                <a:gd name="T80" fmla="*/ 11 w 52"/>
                <a:gd name="T81" fmla="*/ 15 h 111"/>
                <a:gd name="T82" fmla="*/ 11 w 52"/>
                <a:gd name="T83" fmla="*/ 14 h 111"/>
                <a:gd name="T84" fmla="*/ 16 w 52"/>
                <a:gd name="T85" fmla="*/ 8 h 111"/>
                <a:gd name="T86" fmla="*/ 30 w 52"/>
                <a:gd name="T8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11">
                  <a:moveTo>
                    <a:pt x="30" y="0"/>
                  </a:moveTo>
                  <a:lnTo>
                    <a:pt x="37" y="2"/>
                  </a:lnTo>
                  <a:lnTo>
                    <a:pt x="39" y="3"/>
                  </a:lnTo>
                  <a:lnTo>
                    <a:pt x="39" y="9"/>
                  </a:lnTo>
                  <a:lnTo>
                    <a:pt x="40" y="11"/>
                  </a:lnTo>
                  <a:lnTo>
                    <a:pt x="48" y="5"/>
                  </a:lnTo>
                  <a:lnTo>
                    <a:pt x="49" y="5"/>
                  </a:lnTo>
                  <a:lnTo>
                    <a:pt x="49" y="9"/>
                  </a:lnTo>
                  <a:lnTo>
                    <a:pt x="42" y="21"/>
                  </a:lnTo>
                  <a:lnTo>
                    <a:pt x="43" y="25"/>
                  </a:lnTo>
                  <a:lnTo>
                    <a:pt x="49" y="28"/>
                  </a:lnTo>
                  <a:lnTo>
                    <a:pt x="49" y="34"/>
                  </a:lnTo>
                  <a:lnTo>
                    <a:pt x="46" y="42"/>
                  </a:lnTo>
                  <a:lnTo>
                    <a:pt x="37" y="49"/>
                  </a:lnTo>
                  <a:lnTo>
                    <a:pt x="36" y="54"/>
                  </a:lnTo>
                  <a:lnTo>
                    <a:pt x="36" y="55"/>
                  </a:lnTo>
                  <a:lnTo>
                    <a:pt x="34" y="54"/>
                  </a:lnTo>
                  <a:lnTo>
                    <a:pt x="33" y="54"/>
                  </a:lnTo>
                  <a:lnTo>
                    <a:pt x="33" y="55"/>
                  </a:lnTo>
                  <a:lnTo>
                    <a:pt x="37" y="60"/>
                  </a:lnTo>
                  <a:lnTo>
                    <a:pt x="42" y="61"/>
                  </a:lnTo>
                  <a:lnTo>
                    <a:pt x="46" y="61"/>
                  </a:lnTo>
                  <a:lnTo>
                    <a:pt x="49" y="67"/>
                  </a:lnTo>
                  <a:lnTo>
                    <a:pt x="52" y="67"/>
                  </a:lnTo>
                  <a:lnTo>
                    <a:pt x="52" y="80"/>
                  </a:lnTo>
                  <a:lnTo>
                    <a:pt x="51" y="80"/>
                  </a:lnTo>
                  <a:lnTo>
                    <a:pt x="36" y="92"/>
                  </a:lnTo>
                  <a:lnTo>
                    <a:pt x="36" y="105"/>
                  </a:lnTo>
                  <a:lnTo>
                    <a:pt x="27" y="111"/>
                  </a:lnTo>
                  <a:lnTo>
                    <a:pt x="21" y="85"/>
                  </a:lnTo>
                  <a:lnTo>
                    <a:pt x="11" y="79"/>
                  </a:lnTo>
                  <a:lnTo>
                    <a:pt x="9" y="70"/>
                  </a:lnTo>
                  <a:lnTo>
                    <a:pt x="3" y="67"/>
                  </a:lnTo>
                  <a:lnTo>
                    <a:pt x="2" y="67"/>
                  </a:lnTo>
                  <a:lnTo>
                    <a:pt x="0" y="55"/>
                  </a:lnTo>
                  <a:lnTo>
                    <a:pt x="11" y="45"/>
                  </a:lnTo>
                  <a:lnTo>
                    <a:pt x="13" y="36"/>
                  </a:lnTo>
                  <a:lnTo>
                    <a:pt x="12" y="25"/>
                  </a:lnTo>
                  <a:lnTo>
                    <a:pt x="13" y="17"/>
                  </a:lnTo>
                  <a:lnTo>
                    <a:pt x="12" y="15"/>
                  </a:lnTo>
                  <a:lnTo>
                    <a:pt x="11" y="15"/>
                  </a:lnTo>
                  <a:lnTo>
                    <a:pt x="11" y="14"/>
                  </a:lnTo>
                  <a:lnTo>
                    <a:pt x="16" y="8"/>
                  </a:lnTo>
                  <a:lnTo>
                    <a:pt x="3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2" name="Togo">
              <a:extLst>
                <a:ext uri="{FF2B5EF4-FFF2-40B4-BE49-F238E27FC236}">
                  <a16:creationId xmlns:a16="http://schemas.microsoft.com/office/drawing/2014/main" id="{6124FEAB-3D3A-0023-8900-1C79D98222C9}"/>
                </a:ext>
              </a:extLst>
            </p:cNvPr>
            <p:cNvSpPr>
              <a:spLocks/>
            </p:cNvSpPr>
            <p:nvPr/>
          </p:nvSpPr>
          <p:spPr bwMode="auto">
            <a:xfrm>
              <a:off x="5822230" y="4323577"/>
              <a:ext cx="52405" cy="122880"/>
            </a:xfrm>
            <a:custGeom>
              <a:avLst/>
              <a:gdLst>
                <a:gd name="T0" fmla="*/ 0 w 29"/>
                <a:gd name="T1" fmla="*/ 0 h 68"/>
                <a:gd name="T2" fmla="*/ 1 w 29"/>
                <a:gd name="T3" fmla="*/ 0 h 68"/>
                <a:gd name="T4" fmla="*/ 10 w 29"/>
                <a:gd name="T5" fmla="*/ 3 h 68"/>
                <a:gd name="T6" fmla="*/ 12 w 29"/>
                <a:gd name="T7" fmla="*/ 3 h 68"/>
                <a:gd name="T8" fmla="*/ 15 w 29"/>
                <a:gd name="T9" fmla="*/ 2 h 68"/>
                <a:gd name="T10" fmla="*/ 15 w 29"/>
                <a:gd name="T11" fmla="*/ 11 h 68"/>
                <a:gd name="T12" fmla="*/ 21 w 29"/>
                <a:gd name="T13" fmla="*/ 17 h 68"/>
                <a:gd name="T14" fmla="*/ 27 w 29"/>
                <a:gd name="T15" fmla="*/ 33 h 68"/>
                <a:gd name="T16" fmla="*/ 27 w 29"/>
                <a:gd name="T17" fmla="*/ 60 h 68"/>
                <a:gd name="T18" fmla="*/ 29 w 29"/>
                <a:gd name="T19" fmla="*/ 66 h 68"/>
                <a:gd name="T20" fmla="*/ 29 w 29"/>
                <a:gd name="T21" fmla="*/ 67 h 68"/>
                <a:gd name="T22" fmla="*/ 28 w 29"/>
                <a:gd name="T23" fmla="*/ 67 h 68"/>
                <a:gd name="T24" fmla="*/ 21 w 29"/>
                <a:gd name="T25" fmla="*/ 68 h 68"/>
                <a:gd name="T26" fmla="*/ 19 w 29"/>
                <a:gd name="T27" fmla="*/ 68 h 68"/>
                <a:gd name="T28" fmla="*/ 12 w 29"/>
                <a:gd name="T29" fmla="*/ 58 h 68"/>
                <a:gd name="T30" fmla="*/ 9 w 29"/>
                <a:gd name="T31" fmla="*/ 25 h 68"/>
                <a:gd name="T32" fmla="*/ 7 w 29"/>
                <a:gd name="T33" fmla="*/ 14 h 68"/>
                <a:gd name="T34" fmla="*/ 1 w 29"/>
                <a:gd name="T35" fmla="*/ 8 h 68"/>
                <a:gd name="T36" fmla="*/ 1 w 29"/>
                <a:gd name="T37" fmla="*/ 3 h 68"/>
                <a:gd name="T38" fmla="*/ 0 w 29"/>
                <a:gd name="T39" fmla="*/ 2 h 68"/>
                <a:gd name="T40" fmla="*/ 0 w 29"/>
                <a:gd name="T4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8">
                  <a:moveTo>
                    <a:pt x="0" y="0"/>
                  </a:moveTo>
                  <a:lnTo>
                    <a:pt x="1" y="0"/>
                  </a:lnTo>
                  <a:lnTo>
                    <a:pt x="10" y="3"/>
                  </a:lnTo>
                  <a:lnTo>
                    <a:pt x="12" y="3"/>
                  </a:lnTo>
                  <a:lnTo>
                    <a:pt x="15" y="2"/>
                  </a:lnTo>
                  <a:lnTo>
                    <a:pt x="15" y="11"/>
                  </a:lnTo>
                  <a:lnTo>
                    <a:pt x="21" y="17"/>
                  </a:lnTo>
                  <a:lnTo>
                    <a:pt x="27" y="33"/>
                  </a:lnTo>
                  <a:lnTo>
                    <a:pt x="27" y="60"/>
                  </a:lnTo>
                  <a:lnTo>
                    <a:pt x="29" y="66"/>
                  </a:lnTo>
                  <a:lnTo>
                    <a:pt x="29" y="67"/>
                  </a:lnTo>
                  <a:lnTo>
                    <a:pt x="28" y="67"/>
                  </a:lnTo>
                  <a:lnTo>
                    <a:pt x="21" y="68"/>
                  </a:lnTo>
                  <a:lnTo>
                    <a:pt x="19" y="68"/>
                  </a:lnTo>
                  <a:lnTo>
                    <a:pt x="12" y="58"/>
                  </a:lnTo>
                  <a:lnTo>
                    <a:pt x="9" y="25"/>
                  </a:lnTo>
                  <a:lnTo>
                    <a:pt x="7" y="14"/>
                  </a:lnTo>
                  <a:lnTo>
                    <a:pt x="1" y="8"/>
                  </a:lnTo>
                  <a:lnTo>
                    <a:pt x="1" y="3"/>
                  </a:lnTo>
                  <a:lnTo>
                    <a:pt x="0" y="2"/>
                  </a:lnTo>
                  <a:lnTo>
                    <a:pt x="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3" name="Tanzania">
              <a:extLst>
                <a:ext uri="{FF2B5EF4-FFF2-40B4-BE49-F238E27FC236}">
                  <a16:creationId xmlns:a16="http://schemas.microsoft.com/office/drawing/2014/main" id="{7F17E481-D73A-3479-8910-5A833346AD1B}"/>
                </a:ext>
              </a:extLst>
            </p:cNvPr>
            <p:cNvSpPr>
              <a:spLocks/>
            </p:cNvSpPr>
            <p:nvPr/>
          </p:nvSpPr>
          <p:spPr bwMode="auto">
            <a:xfrm>
              <a:off x="6526984" y="4610898"/>
              <a:ext cx="256602" cy="254796"/>
            </a:xfrm>
            <a:custGeom>
              <a:avLst/>
              <a:gdLst>
                <a:gd name="T0" fmla="*/ 10 w 142"/>
                <a:gd name="T1" fmla="*/ 0 h 141"/>
                <a:gd name="T2" fmla="*/ 29 w 142"/>
                <a:gd name="T3" fmla="*/ 0 h 141"/>
                <a:gd name="T4" fmla="*/ 28 w 142"/>
                <a:gd name="T5" fmla="*/ 15 h 141"/>
                <a:gd name="T6" fmla="*/ 29 w 142"/>
                <a:gd name="T7" fmla="*/ 22 h 141"/>
                <a:gd name="T8" fmla="*/ 34 w 142"/>
                <a:gd name="T9" fmla="*/ 21 h 141"/>
                <a:gd name="T10" fmla="*/ 34 w 142"/>
                <a:gd name="T11" fmla="*/ 16 h 141"/>
                <a:gd name="T12" fmla="*/ 35 w 142"/>
                <a:gd name="T13" fmla="*/ 16 h 141"/>
                <a:gd name="T14" fmla="*/ 40 w 142"/>
                <a:gd name="T15" fmla="*/ 21 h 141"/>
                <a:gd name="T16" fmla="*/ 43 w 142"/>
                <a:gd name="T17" fmla="*/ 21 h 141"/>
                <a:gd name="T18" fmla="*/ 43 w 142"/>
                <a:gd name="T19" fmla="*/ 22 h 141"/>
                <a:gd name="T20" fmla="*/ 44 w 142"/>
                <a:gd name="T21" fmla="*/ 19 h 141"/>
                <a:gd name="T22" fmla="*/ 53 w 142"/>
                <a:gd name="T23" fmla="*/ 16 h 141"/>
                <a:gd name="T24" fmla="*/ 49 w 142"/>
                <a:gd name="T25" fmla="*/ 15 h 141"/>
                <a:gd name="T26" fmla="*/ 47 w 142"/>
                <a:gd name="T27" fmla="*/ 15 h 141"/>
                <a:gd name="T28" fmla="*/ 47 w 142"/>
                <a:gd name="T29" fmla="*/ 13 h 141"/>
                <a:gd name="T30" fmla="*/ 59 w 142"/>
                <a:gd name="T31" fmla="*/ 0 h 141"/>
                <a:gd name="T32" fmla="*/ 60 w 142"/>
                <a:gd name="T33" fmla="*/ 0 h 141"/>
                <a:gd name="T34" fmla="*/ 105 w 142"/>
                <a:gd name="T35" fmla="*/ 27 h 141"/>
                <a:gd name="T36" fmla="*/ 106 w 142"/>
                <a:gd name="T37" fmla="*/ 27 h 141"/>
                <a:gd name="T38" fmla="*/ 109 w 142"/>
                <a:gd name="T39" fmla="*/ 37 h 141"/>
                <a:gd name="T40" fmla="*/ 127 w 142"/>
                <a:gd name="T41" fmla="*/ 47 h 141"/>
                <a:gd name="T42" fmla="*/ 127 w 142"/>
                <a:gd name="T43" fmla="*/ 49 h 141"/>
                <a:gd name="T44" fmla="*/ 123 w 142"/>
                <a:gd name="T45" fmla="*/ 70 h 141"/>
                <a:gd name="T46" fmla="*/ 132 w 142"/>
                <a:gd name="T47" fmla="*/ 80 h 141"/>
                <a:gd name="T48" fmla="*/ 127 w 142"/>
                <a:gd name="T49" fmla="*/ 96 h 141"/>
                <a:gd name="T50" fmla="*/ 129 w 142"/>
                <a:gd name="T51" fmla="*/ 104 h 141"/>
                <a:gd name="T52" fmla="*/ 135 w 142"/>
                <a:gd name="T53" fmla="*/ 119 h 141"/>
                <a:gd name="T54" fmla="*/ 142 w 142"/>
                <a:gd name="T55" fmla="*/ 123 h 141"/>
                <a:gd name="T56" fmla="*/ 142 w 142"/>
                <a:gd name="T57" fmla="*/ 126 h 141"/>
                <a:gd name="T58" fmla="*/ 136 w 142"/>
                <a:gd name="T59" fmla="*/ 132 h 141"/>
                <a:gd name="T60" fmla="*/ 121 w 142"/>
                <a:gd name="T61" fmla="*/ 136 h 141"/>
                <a:gd name="T62" fmla="*/ 114 w 142"/>
                <a:gd name="T63" fmla="*/ 135 h 141"/>
                <a:gd name="T64" fmla="*/ 105 w 142"/>
                <a:gd name="T65" fmla="*/ 139 h 141"/>
                <a:gd name="T66" fmla="*/ 99 w 142"/>
                <a:gd name="T67" fmla="*/ 139 h 141"/>
                <a:gd name="T68" fmla="*/ 95 w 142"/>
                <a:gd name="T69" fmla="*/ 141 h 141"/>
                <a:gd name="T70" fmla="*/ 89 w 142"/>
                <a:gd name="T71" fmla="*/ 141 h 141"/>
                <a:gd name="T72" fmla="*/ 83 w 142"/>
                <a:gd name="T73" fmla="*/ 138 h 141"/>
                <a:gd name="T74" fmla="*/ 80 w 142"/>
                <a:gd name="T75" fmla="*/ 138 h 141"/>
                <a:gd name="T76" fmla="*/ 77 w 142"/>
                <a:gd name="T77" fmla="*/ 139 h 141"/>
                <a:gd name="T78" fmla="*/ 69 w 142"/>
                <a:gd name="T79" fmla="*/ 139 h 141"/>
                <a:gd name="T80" fmla="*/ 65 w 142"/>
                <a:gd name="T81" fmla="*/ 133 h 141"/>
                <a:gd name="T82" fmla="*/ 62 w 142"/>
                <a:gd name="T83" fmla="*/ 119 h 141"/>
                <a:gd name="T84" fmla="*/ 56 w 142"/>
                <a:gd name="T85" fmla="*/ 114 h 141"/>
                <a:gd name="T86" fmla="*/ 52 w 142"/>
                <a:gd name="T87" fmla="*/ 114 h 141"/>
                <a:gd name="T88" fmla="*/ 44 w 142"/>
                <a:gd name="T89" fmla="*/ 111 h 141"/>
                <a:gd name="T90" fmla="*/ 19 w 142"/>
                <a:gd name="T91" fmla="*/ 101 h 141"/>
                <a:gd name="T92" fmla="*/ 19 w 142"/>
                <a:gd name="T93" fmla="*/ 99 h 141"/>
                <a:gd name="T94" fmla="*/ 12 w 142"/>
                <a:gd name="T95" fmla="*/ 84 h 141"/>
                <a:gd name="T96" fmla="*/ 12 w 142"/>
                <a:gd name="T97" fmla="*/ 78 h 141"/>
                <a:gd name="T98" fmla="*/ 3 w 142"/>
                <a:gd name="T99" fmla="*/ 71 h 141"/>
                <a:gd name="T100" fmla="*/ 3 w 142"/>
                <a:gd name="T101" fmla="*/ 70 h 141"/>
                <a:gd name="T102" fmla="*/ 4 w 142"/>
                <a:gd name="T103" fmla="*/ 64 h 141"/>
                <a:gd name="T104" fmla="*/ 0 w 142"/>
                <a:gd name="T105" fmla="*/ 44 h 141"/>
                <a:gd name="T106" fmla="*/ 1 w 142"/>
                <a:gd name="T107" fmla="*/ 44 h 141"/>
                <a:gd name="T108" fmla="*/ 7 w 142"/>
                <a:gd name="T109" fmla="*/ 41 h 141"/>
                <a:gd name="T110" fmla="*/ 14 w 142"/>
                <a:gd name="T111" fmla="*/ 30 h 141"/>
                <a:gd name="T112" fmla="*/ 12 w 142"/>
                <a:gd name="T113" fmla="*/ 24 h 141"/>
                <a:gd name="T114" fmla="*/ 12 w 142"/>
                <a:gd name="T115" fmla="*/ 22 h 141"/>
                <a:gd name="T116" fmla="*/ 13 w 142"/>
                <a:gd name="T117" fmla="*/ 18 h 141"/>
                <a:gd name="T118" fmla="*/ 16 w 142"/>
                <a:gd name="T119" fmla="*/ 13 h 141"/>
                <a:gd name="T120" fmla="*/ 10 w 142"/>
                <a:gd name="T121" fmla="*/ 1 h 141"/>
                <a:gd name="T122" fmla="*/ 10 w 142"/>
                <a:gd name="T123"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 h="141">
                  <a:moveTo>
                    <a:pt x="10" y="0"/>
                  </a:moveTo>
                  <a:lnTo>
                    <a:pt x="29" y="0"/>
                  </a:lnTo>
                  <a:lnTo>
                    <a:pt x="28" y="15"/>
                  </a:lnTo>
                  <a:lnTo>
                    <a:pt x="29" y="22"/>
                  </a:lnTo>
                  <a:lnTo>
                    <a:pt x="34" y="21"/>
                  </a:lnTo>
                  <a:lnTo>
                    <a:pt x="34" y="16"/>
                  </a:lnTo>
                  <a:lnTo>
                    <a:pt x="35" y="16"/>
                  </a:lnTo>
                  <a:lnTo>
                    <a:pt x="40" y="21"/>
                  </a:lnTo>
                  <a:lnTo>
                    <a:pt x="43" y="21"/>
                  </a:lnTo>
                  <a:lnTo>
                    <a:pt x="43" y="22"/>
                  </a:lnTo>
                  <a:lnTo>
                    <a:pt x="44" y="19"/>
                  </a:lnTo>
                  <a:lnTo>
                    <a:pt x="53" y="16"/>
                  </a:lnTo>
                  <a:lnTo>
                    <a:pt x="49" y="15"/>
                  </a:lnTo>
                  <a:lnTo>
                    <a:pt x="47" y="15"/>
                  </a:lnTo>
                  <a:lnTo>
                    <a:pt x="47" y="13"/>
                  </a:lnTo>
                  <a:lnTo>
                    <a:pt x="59" y="0"/>
                  </a:lnTo>
                  <a:lnTo>
                    <a:pt x="60" y="0"/>
                  </a:lnTo>
                  <a:lnTo>
                    <a:pt x="105" y="27"/>
                  </a:lnTo>
                  <a:lnTo>
                    <a:pt x="106" y="27"/>
                  </a:lnTo>
                  <a:lnTo>
                    <a:pt x="109" y="37"/>
                  </a:lnTo>
                  <a:lnTo>
                    <a:pt x="127" y="47"/>
                  </a:lnTo>
                  <a:lnTo>
                    <a:pt x="127" y="49"/>
                  </a:lnTo>
                  <a:lnTo>
                    <a:pt x="123" y="70"/>
                  </a:lnTo>
                  <a:lnTo>
                    <a:pt x="132" y="80"/>
                  </a:lnTo>
                  <a:lnTo>
                    <a:pt x="127" y="96"/>
                  </a:lnTo>
                  <a:lnTo>
                    <a:pt x="129" y="104"/>
                  </a:lnTo>
                  <a:lnTo>
                    <a:pt x="135" y="119"/>
                  </a:lnTo>
                  <a:lnTo>
                    <a:pt x="142" y="123"/>
                  </a:lnTo>
                  <a:lnTo>
                    <a:pt x="142" y="126"/>
                  </a:lnTo>
                  <a:lnTo>
                    <a:pt x="136" y="132"/>
                  </a:lnTo>
                  <a:lnTo>
                    <a:pt x="121" y="136"/>
                  </a:lnTo>
                  <a:lnTo>
                    <a:pt x="114" y="135"/>
                  </a:lnTo>
                  <a:lnTo>
                    <a:pt x="105" y="139"/>
                  </a:lnTo>
                  <a:lnTo>
                    <a:pt x="99" y="139"/>
                  </a:lnTo>
                  <a:lnTo>
                    <a:pt x="95" y="141"/>
                  </a:lnTo>
                  <a:lnTo>
                    <a:pt x="89" y="141"/>
                  </a:lnTo>
                  <a:lnTo>
                    <a:pt x="83" y="138"/>
                  </a:lnTo>
                  <a:lnTo>
                    <a:pt x="80" y="138"/>
                  </a:lnTo>
                  <a:lnTo>
                    <a:pt x="77" y="139"/>
                  </a:lnTo>
                  <a:lnTo>
                    <a:pt x="69" y="139"/>
                  </a:lnTo>
                  <a:lnTo>
                    <a:pt x="65" y="133"/>
                  </a:lnTo>
                  <a:lnTo>
                    <a:pt x="62" y="119"/>
                  </a:lnTo>
                  <a:lnTo>
                    <a:pt x="56" y="114"/>
                  </a:lnTo>
                  <a:lnTo>
                    <a:pt x="52" y="114"/>
                  </a:lnTo>
                  <a:lnTo>
                    <a:pt x="44" y="111"/>
                  </a:lnTo>
                  <a:lnTo>
                    <a:pt x="19" y="101"/>
                  </a:lnTo>
                  <a:lnTo>
                    <a:pt x="19" y="99"/>
                  </a:lnTo>
                  <a:lnTo>
                    <a:pt x="12" y="84"/>
                  </a:lnTo>
                  <a:lnTo>
                    <a:pt x="12" y="78"/>
                  </a:lnTo>
                  <a:lnTo>
                    <a:pt x="3" y="71"/>
                  </a:lnTo>
                  <a:lnTo>
                    <a:pt x="3" y="70"/>
                  </a:lnTo>
                  <a:lnTo>
                    <a:pt x="4" y="64"/>
                  </a:lnTo>
                  <a:lnTo>
                    <a:pt x="0" y="44"/>
                  </a:lnTo>
                  <a:lnTo>
                    <a:pt x="1" y="44"/>
                  </a:lnTo>
                  <a:lnTo>
                    <a:pt x="7" y="41"/>
                  </a:lnTo>
                  <a:lnTo>
                    <a:pt x="14" y="30"/>
                  </a:lnTo>
                  <a:lnTo>
                    <a:pt x="12" y="24"/>
                  </a:lnTo>
                  <a:lnTo>
                    <a:pt x="12" y="22"/>
                  </a:lnTo>
                  <a:lnTo>
                    <a:pt x="13" y="18"/>
                  </a:lnTo>
                  <a:lnTo>
                    <a:pt x="16" y="13"/>
                  </a:lnTo>
                  <a:lnTo>
                    <a:pt x="10" y="1"/>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4" name="Swaziland">
              <a:extLst>
                <a:ext uri="{FF2B5EF4-FFF2-40B4-BE49-F238E27FC236}">
                  <a16:creationId xmlns:a16="http://schemas.microsoft.com/office/drawing/2014/main" id="{F1652D2E-AB53-9D13-AD3E-C689537C42E8}"/>
                </a:ext>
              </a:extLst>
            </p:cNvPr>
            <p:cNvSpPr>
              <a:spLocks/>
            </p:cNvSpPr>
            <p:nvPr/>
          </p:nvSpPr>
          <p:spPr bwMode="auto">
            <a:xfrm>
              <a:off x="6552283" y="5210844"/>
              <a:ext cx="32527" cy="43369"/>
            </a:xfrm>
            <a:custGeom>
              <a:avLst/>
              <a:gdLst>
                <a:gd name="T0" fmla="*/ 9 w 18"/>
                <a:gd name="T1" fmla="*/ 0 h 24"/>
                <a:gd name="T2" fmla="*/ 14 w 18"/>
                <a:gd name="T3" fmla="*/ 3 h 24"/>
                <a:gd name="T4" fmla="*/ 15 w 18"/>
                <a:gd name="T5" fmla="*/ 3 h 24"/>
                <a:gd name="T6" fmla="*/ 15 w 18"/>
                <a:gd name="T7" fmla="*/ 1 h 24"/>
                <a:gd name="T8" fmla="*/ 17 w 18"/>
                <a:gd name="T9" fmla="*/ 1 h 24"/>
                <a:gd name="T10" fmla="*/ 17 w 18"/>
                <a:gd name="T11" fmla="*/ 3 h 24"/>
                <a:gd name="T12" fmla="*/ 18 w 18"/>
                <a:gd name="T13" fmla="*/ 16 h 24"/>
                <a:gd name="T14" fmla="*/ 14 w 18"/>
                <a:gd name="T15" fmla="*/ 24 h 24"/>
                <a:gd name="T16" fmla="*/ 9 w 18"/>
                <a:gd name="T17" fmla="*/ 24 h 24"/>
                <a:gd name="T18" fmla="*/ 3 w 18"/>
                <a:gd name="T19" fmla="*/ 22 h 24"/>
                <a:gd name="T20" fmla="*/ 0 w 18"/>
                <a:gd name="T21" fmla="*/ 15 h 24"/>
                <a:gd name="T22" fmla="*/ 0 w 18"/>
                <a:gd name="T23" fmla="*/ 13 h 24"/>
                <a:gd name="T24" fmla="*/ 6 w 18"/>
                <a:gd name="T25" fmla="*/ 3 h 24"/>
                <a:gd name="T26" fmla="*/ 9 w 18"/>
                <a:gd name="T2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4">
                  <a:moveTo>
                    <a:pt x="9" y="0"/>
                  </a:moveTo>
                  <a:lnTo>
                    <a:pt x="14" y="3"/>
                  </a:lnTo>
                  <a:lnTo>
                    <a:pt x="15" y="3"/>
                  </a:lnTo>
                  <a:lnTo>
                    <a:pt x="15" y="1"/>
                  </a:lnTo>
                  <a:lnTo>
                    <a:pt x="17" y="1"/>
                  </a:lnTo>
                  <a:lnTo>
                    <a:pt x="17" y="3"/>
                  </a:lnTo>
                  <a:lnTo>
                    <a:pt x="18" y="16"/>
                  </a:lnTo>
                  <a:lnTo>
                    <a:pt x="14" y="24"/>
                  </a:lnTo>
                  <a:lnTo>
                    <a:pt x="9" y="24"/>
                  </a:lnTo>
                  <a:lnTo>
                    <a:pt x="3" y="22"/>
                  </a:lnTo>
                  <a:lnTo>
                    <a:pt x="0" y="15"/>
                  </a:lnTo>
                  <a:lnTo>
                    <a:pt x="0" y="13"/>
                  </a:lnTo>
                  <a:lnTo>
                    <a:pt x="6" y="3"/>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5" name="Sudan">
              <a:extLst>
                <a:ext uri="{FF2B5EF4-FFF2-40B4-BE49-F238E27FC236}">
                  <a16:creationId xmlns:a16="http://schemas.microsoft.com/office/drawing/2014/main" id="{E4D046B7-C0FE-2B4F-A39D-411BAD6808EC}"/>
                </a:ext>
              </a:extLst>
            </p:cNvPr>
            <p:cNvSpPr>
              <a:spLocks/>
            </p:cNvSpPr>
            <p:nvPr/>
          </p:nvSpPr>
          <p:spPr bwMode="auto">
            <a:xfrm>
              <a:off x="6340857" y="4032639"/>
              <a:ext cx="393940" cy="338292"/>
            </a:xfrm>
            <a:custGeom>
              <a:avLst/>
              <a:gdLst>
                <a:gd name="connsiteX0" fmla="*/ 4413035 w 5344675"/>
                <a:gd name="connsiteY0" fmla="*/ 0 h 4589698"/>
                <a:gd name="connsiteX1" fmla="*/ 4437552 w 5344675"/>
                <a:gd name="connsiteY1" fmla="*/ 0 h 4589698"/>
                <a:gd name="connsiteX2" fmla="*/ 4854338 w 5344675"/>
                <a:gd name="connsiteY2" fmla="*/ 343236 h 4589698"/>
                <a:gd name="connsiteX3" fmla="*/ 4878855 w 5344675"/>
                <a:gd name="connsiteY3" fmla="*/ 539370 h 4589698"/>
                <a:gd name="connsiteX4" fmla="*/ 4952406 w 5344675"/>
                <a:gd name="connsiteY4" fmla="*/ 637438 h 4589698"/>
                <a:gd name="connsiteX5" fmla="*/ 5025956 w 5344675"/>
                <a:gd name="connsiteY5" fmla="*/ 1397459 h 4589698"/>
                <a:gd name="connsiteX6" fmla="*/ 5344675 w 5344675"/>
                <a:gd name="connsiteY6" fmla="*/ 1691661 h 4589698"/>
                <a:gd name="connsiteX7" fmla="*/ 5320158 w 5344675"/>
                <a:gd name="connsiteY7" fmla="*/ 1838762 h 4589698"/>
                <a:gd name="connsiteX8" fmla="*/ 4878855 w 5344675"/>
                <a:gd name="connsiteY8" fmla="*/ 2034897 h 4589698"/>
                <a:gd name="connsiteX9" fmla="*/ 4731754 w 5344675"/>
                <a:gd name="connsiteY9" fmla="*/ 2745885 h 4589698"/>
                <a:gd name="connsiteX10" fmla="*/ 4731754 w 5344675"/>
                <a:gd name="connsiteY10" fmla="*/ 3040087 h 4589698"/>
                <a:gd name="connsiteX11" fmla="*/ 4633686 w 5344675"/>
                <a:gd name="connsiteY11" fmla="*/ 3407839 h 4589698"/>
                <a:gd name="connsiteX12" fmla="*/ 4265934 w 5344675"/>
                <a:gd name="connsiteY12" fmla="*/ 3800109 h 4589698"/>
                <a:gd name="connsiteX13" fmla="*/ 4216900 w 5344675"/>
                <a:gd name="connsiteY13" fmla="*/ 4020760 h 4589698"/>
                <a:gd name="connsiteX14" fmla="*/ 4216900 w 5344675"/>
                <a:gd name="connsiteY14" fmla="*/ 4069794 h 4589698"/>
                <a:gd name="connsiteX15" fmla="*/ 3996248 w 5344675"/>
                <a:gd name="connsiteY15" fmla="*/ 4216895 h 4589698"/>
                <a:gd name="connsiteX16" fmla="*/ 3982381 w 5344675"/>
                <a:gd name="connsiteY16" fmla="*/ 4535837 h 4589698"/>
                <a:gd name="connsiteX17" fmla="*/ 3896876 w 5344675"/>
                <a:gd name="connsiteY17" fmla="*/ 4532548 h 4589698"/>
                <a:gd name="connsiteX18" fmla="*/ 3906401 w 5344675"/>
                <a:gd name="connsiteY18" fmla="*/ 4332523 h 4589698"/>
                <a:gd name="connsiteX19" fmla="*/ 3706376 w 5344675"/>
                <a:gd name="connsiteY19" fmla="*/ 4122973 h 4589698"/>
                <a:gd name="connsiteX20" fmla="*/ 3649226 w 5344675"/>
                <a:gd name="connsiteY20" fmla="*/ 3846748 h 4589698"/>
                <a:gd name="connsiteX21" fmla="*/ 3696851 w 5344675"/>
                <a:gd name="connsiteY21" fmla="*/ 3646723 h 4589698"/>
                <a:gd name="connsiteX22" fmla="*/ 3534926 w 5344675"/>
                <a:gd name="connsiteY22" fmla="*/ 3646723 h 4589698"/>
                <a:gd name="connsiteX23" fmla="*/ 3534926 w 5344675"/>
                <a:gd name="connsiteY23" fmla="*/ 3722923 h 4589698"/>
                <a:gd name="connsiteX24" fmla="*/ 3325376 w 5344675"/>
                <a:gd name="connsiteY24" fmla="*/ 3741973 h 4589698"/>
                <a:gd name="connsiteX25" fmla="*/ 3420626 w 5344675"/>
                <a:gd name="connsiteY25" fmla="*/ 3818173 h 4589698"/>
                <a:gd name="connsiteX26" fmla="*/ 3420626 w 5344675"/>
                <a:gd name="connsiteY26" fmla="*/ 4037248 h 4589698"/>
                <a:gd name="connsiteX27" fmla="*/ 3068201 w 5344675"/>
                <a:gd name="connsiteY27" fmla="*/ 4446823 h 4589698"/>
                <a:gd name="connsiteX28" fmla="*/ 2906276 w 5344675"/>
                <a:gd name="connsiteY28" fmla="*/ 4465873 h 4589698"/>
                <a:gd name="connsiteX29" fmla="*/ 2620526 w 5344675"/>
                <a:gd name="connsiteY29" fmla="*/ 4275373 h 4589698"/>
                <a:gd name="connsiteX30" fmla="*/ 2487176 w 5344675"/>
                <a:gd name="connsiteY30" fmla="*/ 4342048 h 4589698"/>
                <a:gd name="connsiteX31" fmla="*/ 2487176 w 5344675"/>
                <a:gd name="connsiteY31" fmla="*/ 4456348 h 4589698"/>
                <a:gd name="connsiteX32" fmla="*/ 2325251 w 5344675"/>
                <a:gd name="connsiteY32" fmla="*/ 4456348 h 4589698"/>
                <a:gd name="connsiteX33" fmla="*/ 2239526 w 5344675"/>
                <a:gd name="connsiteY33" fmla="*/ 4589698 h 4589698"/>
                <a:gd name="connsiteX34" fmla="*/ 2049026 w 5344675"/>
                <a:gd name="connsiteY34" fmla="*/ 4589698 h 4589698"/>
                <a:gd name="connsiteX35" fmla="*/ 1963301 w 5344675"/>
                <a:gd name="connsiteY35" fmla="*/ 4503973 h 4589698"/>
                <a:gd name="connsiteX36" fmla="*/ 1706126 w 5344675"/>
                <a:gd name="connsiteY36" fmla="*/ 4503973 h 4589698"/>
                <a:gd name="connsiteX37" fmla="*/ 1591826 w 5344675"/>
                <a:gd name="connsiteY37" fmla="*/ 4561123 h 4589698"/>
                <a:gd name="connsiteX38" fmla="*/ 1448951 w 5344675"/>
                <a:gd name="connsiteY38" fmla="*/ 4494448 h 4589698"/>
                <a:gd name="connsiteX39" fmla="*/ 1296551 w 5344675"/>
                <a:gd name="connsiteY39" fmla="*/ 4237273 h 4589698"/>
                <a:gd name="connsiteX40" fmla="*/ 1067951 w 5344675"/>
                <a:gd name="connsiteY40" fmla="*/ 4284898 h 4589698"/>
                <a:gd name="connsiteX41" fmla="*/ 1029851 w 5344675"/>
                <a:gd name="connsiteY41" fmla="*/ 4427773 h 4589698"/>
                <a:gd name="connsiteX42" fmla="*/ 563888 w 5344675"/>
                <a:gd name="connsiteY42" fmla="*/ 4494339 h 4589698"/>
                <a:gd name="connsiteX43" fmla="*/ 563888 w 5344675"/>
                <a:gd name="connsiteY43" fmla="*/ 4314962 h 4589698"/>
                <a:gd name="connsiteX44" fmla="*/ 294202 w 5344675"/>
                <a:gd name="connsiteY44" fmla="*/ 4020760 h 4589698"/>
                <a:gd name="connsiteX45" fmla="*/ 343236 w 5344675"/>
                <a:gd name="connsiteY45" fmla="*/ 3947209 h 4589698"/>
                <a:gd name="connsiteX46" fmla="*/ 196135 w 5344675"/>
                <a:gd name="connsiteY46" fmla="*/ 3628491 h 4589698"/>
                <a:gd name="connsiteX47" fmla="*/ 147101 w 5344675"/>
                <a:gd name="connsiteY47" fmla="*/ 3481390 h 4589698"/>
                <a:gd name="connsiteX48" fmla="*/ 0 w 5344675"/>
                <a:gd name="connsiteY48" fmla="*/ 3481390 h 4589698"/>
                <a:gd name="connsiteX49" fmla="*/ 0 w 5344675"/>
                <a:gd name="connsiteY49" fmla="*/ 3383323 h 4589698"/>
                <a:gd name="connsiteX50" fmla="*/ 122584 w 5344675"/>
                <a:gd name="connsiteY50" fmla="*/ 3089120 h 4589698"/>
                <a:gd name="connsiteX51" fmla="*/ 147101 w 5344675"/>
                <a:gd name="connsiteY51" fmla="*/ 3015570 h 4589698"/>
                <a:gd name="connsiteX52" fmla="*/ 147101 w 5344675"/>
                <a:gd name="connsiteY52" fmla="*/ 2892986 h 4589698"/>
                <a:gd name="connsiteX53" fmla="*/ 343236 w 5344675"/>
                <a:gd name="connsiteY53" fmla="*/ 2647818 h 4589698"/>
                <a:gd name="connsiteX54" fmla="*/ 367753 w 5344675"/>
                <a:gd name="connsiteY54" fmla="*/ 2500717 h 4589698"/>
                <a:gd name="connsiteX55" fmla="*/ 367753 w 5344675"/>
                <a:gd name="connsiteY55" fmla="*/ 2451683 h 4589698"/>
                <a:gd name="connsiteX56" fmla="*/ 710989 w 5344675"/>
                <a:gd name="connsiteY56" fmla="*/ 2427166 h 4589698"/>
                <a:gd name="connsiteX57" fmla="*/ 710989 w 5344675"/>
                <a:gd name="connsiteY57" fmla="*/ 1005190 h 4589698"/>
                <a:gd name="connsiteX58" fmla="*/ 1029708 w 5344675"/>
                <a:gd name="connsiteY58" fmla="*/ 1005190 h 4589698"/>
                <a:gd name="connsiteX59" fmla="*/ 1029708 w 5344675"/>
                <a:gd name="connsiteY59" fmla="*/ 343236 h 4589698"/>
                <a:gd name="connsiteX60" fmla="*/ 3015574 w 5344675"/>
                <a:gd name="connsiteY60" fmla="*/ 343236 h 4589698"/>
                <a:gd name="connsiteX61" fmla="*/ 3064607 w 5344675"/>
                <a:gd name="connsiteY61" fmla="*/ 294202 h 4589698"/>
                <a:gd name="connsiteX62" fmla="*/ 3138158 w 5344675"/>
                <a:gd name="connsiteY62" fmla="*/ 294202 h 4589698"/>
                <a:gd name="connsiteX63" fmla="*/ 3138158 w 5344675"/>
                <a:gd name="connsiteY63" fmla="*/ 343236 h 4589698"/>
                <a:gd name="connsiteX64" fmla="*/ 3653012 w 5344675"/>
                <a:gd name="connsiteY64" fmla="*/ 343236 h 4589698"/>
                <a:gd name="connsiteX65" fmla="*/ 3800113 w 5344675"/>
                <a:gd name="connsiteY65" fmla="*/ 416786 h 4589698"/>
                <a:gd name="connsiteX66" fmla="*/ 3898181 w 5344675"/>
                <a:gd name="connsiteY66" fmla="*/ 416786 h 4589698"/>
                <a:gd name="connsiteX67" fmla="*/ 3971731 w 5344675"/>
                <a:gd name="connsiteY67" fmla="*/ 294202 h 4589698"/>
                <a:gd name="connsiteX68" fmla="*/ 4118832 w 5344675"/>
                <a:gd name="connsiteY68" fmla="*/ 245168 h 4589698"/>
                <a:gd name="connsiteX69" fmla="*/ 4192383 w 5344675"/>
                <a:gd name="connsiteY69" fmla="*/ 73551 h 4589698"/>
                <a:gd name="connsiteX70" fmla="*/ 4290450 w 5344675"/>
                <a:gd name="connsiteY70" fmla="*/ 73551 h 458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344675" h="4589698">
                  <a:moveTo>
                    <a:pt x="4413035" y="0"/>
                  </a:moveTo>
                  <a:lnTo>
                    <a:pt x="4437552" y="0"/>
                  </a:lnTo>
                  <a:lnTo>
                    <a:pt x="4854338" y="343236"/>
                  </a:lnTo>
                  <a:lnTo>
                    <a:pt x="4878855" y="539370"/>
                  </a:lnTo>
                  <a:lnTo>
                    <a:pt x="4952406" y="637438"/>
                  </a:lnTo>
                  <a:lnTo>
                    <a:pt x="5025956" y="1397459"/>
                  </a:lnTo>
                  <a:lnTo>
                    <a:pt x="5344675" y="1691661"/>
                  </a:lnTo>
                  <a:lnTo>
                    <a:pt x="5320158" y="1838762"/>
                  </a:lnTo>
                  <a:lnTo>
                    <a:pt x="4878855" y="2034897"/>
                  </a:lnTo>
                  <a:lnTo>
                    <a:pt x="4731754" y="2745885"/>
                  </a:lnTo>
                  <a:lnTo>
                    <a:pt x="4731754" y="3040087"/>
                  </a:lnTo>
                  <a:lnTo>
                    <a:pt x="4633686" y="3407839"/>
                  </a:lnTo>
                  <a:lnTo>
                    <a:pt x="4265934" y="3800109"/>
                  </a:lnTo>
                  <a:lnTo>
                    <a:pt x="4216900" y="4020760"/>
                  </a:lnTo>
                  <a:lnTo>
                    <a:pt x="4216900" y="4069794"/>
                  </a:lnTo>
                  <a:lnTo>
                    <a:pt x="3996248" y="4216895"/>
                  </a:lnTo>
                  <a:lnTo>
                    <a:pt x="3982381" y="4535837"/>
                  </a:lnTo>
                  <a:lnTo>
                    <a:pt x="3896876" y="4532548"/>
                  </a:lnTo>
                  <a:lnTo>
                    <a:pt x="3906401" y="4332523"/>
                  </a:lnTo>
                  <a:lnTo>
                    <a:pt x="3706376" y="4122973"/>
                  </a:lnTo>
                  <a:lnTo>
                    <a:pt x="3649226" y="3846748"/>
                  </a:lnTo>
                  <a:lnTo>
                    <a:pt x="3696851" y="3646723"/>
                  </a:lnTo>
                  <a:lnTo>
                    <a:pt x="3534926" y="3646723"/>
                  </a:lnTo>
                  <a:lnTo>
                    <a:pt x="3534926" y="3722923"/>
                  </a:lnTo>
                  <a:lnTo>
                    <a:pt x="3325376" y="3741973"/>
                  </a:lnTo>
                  <a:lnTo>
                    <a:pt x="3420626" y="3818173"/>
                  </a:lnTo>
                  <a:lnTo>
                    <a:pt x="3420626" y="4037248"/>
                  </a:lnTo>
                  <a:lnTo>
                    <a:pt x="3068201" y="4446823"/>
                  </a:lnTo>
                  <a:lnTo>
                    <a:pt x="2906276" y="4465873"/>
                  </a:lnTo>
                  <a:lnTo>
                    <a:pt x="2620526" y="4275373"/>
                  </a:lnTo>
                  <a:lnTo>
                    <a:pt x="2487176" y="4342048"/>
                  </a:lnTo>
                  <a:lnTo>
                    <a:pt x="2487176" y="4456348"/>
                  </a:lnTo>
                  <a:lnTo>
                    <a:pt x="2325251" y="4456348"/>
                  </a:lnTo>
                  <a:lnTo>
                    <a:pt x="2239526" y="4589698"/>
                  </a:lnTo>
                  <a:lnTo>
                    <a:pt x="2049026" y="4589698"/>
                  </a:lnTo>
                  <a:lnTo>
                    <a:pt x="1963301" y="4503973"/>
                  </a:lnTo>
                  <a:lnTo>
                    <a:pt x="1706126" y="4503973"/>
                  </a:lnTo>
                  <a:lnTo>
                    <a:pt x="1591826" y="4561123"/>
                  </a:lnTo>
                  <a:lnTo>
                    <a:pt x="1448951" y="4494448"/>
                  </a:lnTo>
                  <a:lnTo>
                    <a:pt x="1296551" y="4237273"/>
                  </a:lnTo>
                  <a:lnTo>
                    <a:pt x="1067951" y="4284898"/>
                  </a:lnTo>
                  <a:lnTo>
                    <a:pt x="1029851" y="4427773"/>
                  </a:lnTo>
                  <a:lnTo>
                    <a:pt x="563888" y="4494339"/>
                  </a:lnTo>
                  <a:lnTo>
                    <a:pt x="563888" y="4314962"/>
                  </a:lnTo>
                  <a:lnTo>
                    <a:pt x="294202" y="4020760"/>
                  </a:lnTo>
                  <a:lnTo>
                    <a:pt x="343236" y="3947209"/>
                  </a:lnTo>
                  <a:lnTo>
                    <a:pt x="196135" y="3628491"/>
                  </a:lnTo>
                  <a:lnTo>
                    <a:pt x="147101" y="3481390"/>
                  </a:lnTo>
                  <a:lnTo>
                    <a:pt x="0" y="3481390"/>
                  </a:lnTo>
                  <a:lnTo>
                    <a:pt x="0" y="3383323"/>
                  </a:lnTo>
                  <a:lnTo>
                    <a:pt x="122584" y="3089120"/>
                  </a:lnTo>
                  <a:lnTo>
                    <a:pt x="147101" y="3015570"/>
                  </a:lnTo>
                  <a:lnTo>
                    <a:pt x="147101" y="2892986"/>
                  </a:lnTo>
                  <a:lnTo>
                    <a:pt x="343236" y="2647818"/>
                  </a:lnTo>
                  <a:lnTo>
                    <a:pt x="367753" y="2500717"/>
                  </a:lnTo>
                  <a:lnTo>
                    <a:pt x="367753" y="2451683"/>
                  </a:lnTo>
                  <a:lnTo>
                    <a:pt x="710989" y="2427166"/>
                  </a:lnTo>
                  <a:lnTo>
                    <a:pt x="710989" y="1005190"/>
                  </a:lnTo>
                  <a:lnTo>
                    <a:pt x="1029708" y="1005190"/>
                  </a:lnTo>
                  <a:lnTo>
                    <a:pt x="1029708" y="343236"/>
                  </a:lnTo>
                  <a:lnTo>
                    <a:pt x="3015574" y="343236"/>
                  </a:lnTo>
                  <a:lnTo>
                    <a:pt x="3064607" y="294202"/>
                  </a:lnTo>
                  <a:lnTo>
                    <a:pt x="3138158" y="294202"/>
                  </a:lnTo>
                  <a:lnTo>
                    <a:pt x="3138158" y="343236"/>
                  </a:lnTo>
                  <a:lnTo>
                    <a:pt x="3653012" y="343236"/>
                  </a:lnTo>
                  <a:lnTo>
                    <a:pt x="3800113" y="416786"/>
                  </a:lnTo>
                  <a:lnTo>
                    <a:pt x="3898181" y="416786"/>
                  </a:lnTo>
                  <a:lnTo>
                    <a:pt x="3971731" y="294202"/>
                  </a:lnTo>
                  <a:lnTo>
                    <a:pt x="4118832" y="245168"/>
                  </a:lnTo>
                  <a:lnTo>
                    <a:pt x="4192383" y="73551"/>
                  </a:lnTo>
                  <a:lnTo>
                    <a:pt x="4290450" y="7355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6" name="South Sudan">
              <a:extLst>
                <a:ext uri="{FF2B5EF4-FFF2-40B4-BE49-F238E27FC236}">
                  <a16:creationId xmlns:a16="http://schemas.microsoft.com/office/drawing/2014/main" id="{D741F6A5-655E-07BA-F288-74C3D972BFAA}"/>
                </a:ext>
              </a:extLst>
            </p:cNvPr>
            <p:cNvSpPr>
              <a:spLocks/>
            </p:cNvSpPr>
            <p:nvPr/>
          </p:nvSpPr>
          <p:spPr bwMode="auto">
            <a:xfrm>
              <a:off x="6382420" y="4301427"/>
              <a:ext cx="294551" cy="204662"/>
            </a:xfrm>
            <a:custGeom>
              <a:avLst/>
              <a:gdLst>
                <a:gd name="connsiteX0" fmla="*/ 2971038 w 3996248"/>
                <a:gd name="connsiteY0" fmla="*/ 0 h 2776686"/>
                <a:gd name="connsiteX1" fmla="*/ 3132963 w 3996248"/>
                <a:gd name="connsiteY1" fmla="*/ 0 h 2776686"/>
                <a:gd name="connsiteX2" fmla="*/ 3085338 w 3996248"/>
                <a:gd name="connsiteY2" fmla="*/ 200025 h 2776686"/>
                <a:gd name="connsiteX3" fmla="*/ 3142488 w 3996248"/>
                <a:gd name="connsiteY3" fmla="*/ 476250 h 2776686"/>
                <a:gd name="connsiteX4" fmla="*/ 3342513 w 3996248"/>
                <a:gd name="connsiteY4" fmla="*/ 685800 h 2776686"/>
                <a:gd name="connsiteX5" fmla="*/ 3332988 w 3996248"/>
                <a:gd name="connsiteY5" fmla="*/ 885825 h 2776686"/>
                <a:gd name="connsiteX6" fmla="*/ 3418493 w 3996248"/>
                <a:gd name="connsiteY6" fmla="*/ 889114 h 2776686"/>
                <a:gd name="connsiteX7" fmla="*/ 3407843 w 3996248"/>
                <a:gd name="connsiteY7" fmla="*/ 1134059 h 2776686"/>
                <a:gd name="connsiteX8" fmla="*/ 3309776 w 3996248"/>
                <a:gd name="connsiteY8" fmla="*/ 1207609 h 2776686"/>
                <a:gd name="connsiteX9" fmla="*/ 3113641 w 3996248"/>
                <a:gd name="connsiteY9" fmla="*/ 1256643 h 2776686"/>
                <a:gd name="connsiteX10" fmla="*/ 3089124 w 3996248"/>
                <a:gd name="connsiteY10" fmla="*/ 1354710 h 2776686"/>
                <a:gd name="connsiteX11" fmla="*/ 3309776 w 3996248"/>
                <a:gd name="connsiteY11" fmla="*/ 1477294 h 2776686"/>
                <a:gd name="connsiteX12" fmla="*/ 3407843 w 3996248"/>
                <a:gd name="connsiteY12" fmla="*/ 1624395 h 2776686"/>
                <a:gd name="connsiteX13" fmla="*/ 3628495 w 3996248"/>
                <a:gd name="connsiteY13" fmla="*/ 1771496 h 2776686"/>
                <a:gd name="connsiteX14" fmla="*/ 3726562 w 3996248"/>
                <a:gd name="connsiteY14" fmla="*/ 2090215 h 2776686"/>
                <a:gd name="connsiteX15" fmla="*/ 3947214 w 3996248"/>
                <a:gd name="connsiteY15" fmla="*/ 2163766 h 2776686"/>
                <a:gd name="connsiteX16" fmla="*/ 3996248 w 3996248"/>
                <a:gd name="connsiteY16" fmla="*/ 2188282 h 2776686"/>
                <a:gd name="connsiteX17" fmla="*/ 3996248 w 3996248"/>
                <a:gd name="connsiteY17" fmla="*/ 2457967 h 2776686"/>
                <a:gd name="connsiteX18" fmla="*/ 3505911 w 3996248"/>
                <a:gd name="connsiteY18" fmla="*/ 2457967 h 2776686"/>
                <a:gd name="connsiteX19" fmla="*/ 3358809 w 3996248"/>
                <a:gd name="connsiteY19" fmla="*/ 2605068 h 2776686"/>
                <a:gd name="connsiteX20" fmla="*/ 3187191 w 3996248"/>
                <a:gd name="connsiteY20" fmla="*/ 2703136 h 2776686"/>
                <a:gd name="connsiteX21" fmla="*/ 3113641 w 3996248"/>
                <a:gd name="connsiteY21" fmla="*/ 2703136 h 2776686"/>
                <a:gd name="connsiteX22" fmla="*/ 2892989 w 3996248"/>
                <a:gd name="connsiteY22" fmla="*/ 2752169 h 2776686"/>
                <a:gd name="connsiteX23" fmla="*/ 2647820 w 3996248"/>
                <a:gd name="connsiteY23" fmla="*/ 2752169 h 2776686"/>
                <a:gd name="connsiteX24" fmla="*/ 2427169 w 3996248"/>
                <a:gd name="connsiteY24" fmla="*/ 2776686 h 2776686"/>
                <a:gd name="connsiteX25" fmla="*/ 2353618 w 3996248"/>
                <a:gd name="connsiteY25" fmla="*/ 2776686 h 2776686"/>
                <a:gd name="connsiteX26" fmla="*/ 2353618 w 3996248"/>
                <a:gd name="connsiteY26" fmla="*/ 2752169 h 2776686"/>
                <a:gd name="connsiteX27" fmla="*/ 1985865 w 3996248"/>
                <a:gd name="connsiteY27" fmla="*/ 2457967 h 2776686"/>
                <a:gd name="connsiteX28" fmla="*/ 1887798 w 3996248"/>
                <a:gd name="connsiteY28" fmla="*/ 2482484 h 2776686"/>
                <a:gd name="connsiteX29" fmla="*/ 1691663 w 3996248"/>
                <a:gd name="connsiteY29" fmla="*/ 2482484 h 2776686"/>
                <a:gd name="connsiteX30" fmla="*/ 1618112 w 3996248"/>
                <a:gd name="connsiteY30" fmla="*/ 2531518 h 2776686"/>
                <a:gd name="connsiteX31" fmla="*/ 1593596 w 3996248"/>
                <a:gd name="connsiteY31" fmla="*/ 2531518 h 2776686"/>
                <a:gd name="connsiteX32" fmla="*/ 1446495 w 3996248"/>
                <a:gd name="connsiteY32" fmla="*/ 2457967 h 2776686"/>
                <a:gd name="connsiteX33" fmla="*/ 1299393 w 3996248"/>
                <a:gd name="connsiteY33" fmla="*/ 2261833 h 2776686"/>
                <a:gd name="connsiteX34" fmla="*/ 1201326 w 3996248"/>
                <a:gd name="connsiteY34" fmla="*/ 2090215 h 2776686"/>
                <a:gd name="connsiteX35" fmla="*/ 1005191 w 3996248"/>
                <a:gd name="connsiteY35" fmla="*/ 1967631 h 2776686"/>
                <a:gd name="connsiteX36" fmla="*/ 858090 w 3996248"/>
                <a:gd name="connsiteY36" fmla="*/ 1722463 h 2776686"/>
                <a:gd name="connsiteX37" fmla="*/ 563888 w 3996248"/>
                <a:gd name="connsiteY37" fmla="*/ 1501811 h 2776686"/>
                <a:gd name="connsiteX38" fmla="*/ 539371 w 3996248"/>
                <a:gd name="connsiteY38" fmla="*/ 1501811 h 2776686"/>
                <a:gd name="connsiteX39" fmla="*/ 539371 w 3996248"/>
                <a:gd name="connsiteY39" fmla="*/ 1477294 h 2776686"/>
                <a:gd name="connsiteX40" fmla="*/ 490337 w 3996248"/>
                <a:gd name="connsiteY40" fmla="*/ 1330193 h 2776686"/>
                <a:gd name="connsiteX41" fmla="*/ 220652 w 3996248"/>
                <a:gd name="connsiteY41" fmla="*/ 1256643 h 2776686"/>
                <a:gd name="connsiteX42" fmla="*/ 220652 w 3996248"/>
                <a:gd name="connsiteY42" fmla="*/ 1207609 h 2776686"/>
                <a:gd name="connsiteX43" fmla="*/ 171618 w 3996248"/>
                <a:gd name="connsiteY43" fmla="*/ 1134059 h 2776686"/>
                <a:gd name="connsiteX44" fmla="*/ 0 w 3996248"/>
                <a:gd name="connsiteY44" fmla="*/ 1060508 h 2776686"/>
                <a:gd name="connsiteX45" fmla="*/ 0 w 3996248"/>
                <a:gd name="connsiteY45" fmla="*/ 847616 h 2776686"/>
                <a:gd name="connsiteX46" fmla="*/ 465963 w 3996248"/>
                <a:gd name="connsiteY46" fmla="*/ 781050 h 2776686"/>
                <a:gd name="connsiteX47" fmla="*/ 504063 w 3996248"/>
                <a:gd name="connsiteY47" fmla="*/ 638175 h 2776686"/>
                <a:gd name="connsiteX48" fmla="*/ 732663 w 3996248"/>
                <a:gd name="connsiteY48" fmla="*/ 590550 h 2776686"/>
                <a:gd name="connsiteX49" fmla="*/ 885063 w 3996248"/>
                <a:gd name="connsiteY49" fmla="*/ 847725 h 2776686"/>
                <a:gd name="connsiteX50" fmla="*/ 1027938 w 3996248"/>
                <a:gd name="connsiteY50" fmla="*/ 914400 h 2776686"/>
                <a:gd name="connsiteX51" fmla="*/ 1142238 w 3996248"/>
                <a:gd name="connsiteY51" fmla="*/ 857250 h 2776686"/>
                <a:gd name="connsiteX52" fmla="*/ 1399413 w 3996248"/>
                <a:gd name="connsiteY52" fmla="*/ 857250 h 2776686"/>
                <a:gd name="connsiteX53" fmla="*/ 1485138 w 3996248"/>
                <a:gd name="connsiteY53" fmla="*/ 942975 h 2776686"/>
                <a:gd name="connsiteX54" fmla="*/ 1675638 w 3996248"/>
                <a:gd name="connsiteY54" fmla="*/ 942975 h 2776686"/>
                <a:gd name="connsiteX55" fmla="*/ 1761363 w 3996248"/>
                <a:gd name="connsiteY55" fmla="*/ 809625 h 2776686"/>
                <a:gd name="connsiteX56" fmla="*/ 1923288 w 3996248"/>
                <a:gd name="connsiteY56" fmla="*/ 809625 h 2776686"/>
                <a:gd name="connsiteX57" fmla="*/ 1923288 w 3996248"/>
                <a:gd name="connsiteY57" fmla="*/ 695325 h 2776686"/>
                <a:gd name="connsiteX58" fmla="*/ 2056638 w 3996248"/>
                <a:gd name="connsiteY58" fmla="*/ 628650 h 2776686"/>
                <a:gd name="connsiteX59" fmla="*/ 2342388 w 3996248"/>
                <a:gd name="connsiteY59" fmla="*/ 819150 h 2776686"/>
                <a:gd name="connsiteX60" fmla="*/ 2504313 w 3996248"/>
                <a:gd name="connsiteY60" fmla="*/ 800100 h 2776686"/>
                <a:gd name="connsiteX61" fmla="*/ 2856738 w 3996248"/>
                <a:gd name="connsiteY61" fmla="*/ 390525 h 2776686"/>
                <a:gd name="connsiteX62" fmla="*/ 2856738 w 3996248"/>
                <a:gd name="connsiteY62" fmla="*/ 171450 h 2776686"/>
                <a:gd name="connsiteX63" fmla="*/ 2761488 w 3996248"/>
                <a:gd name="connsiteY63" fmla="*/ 95250 h 2776686"/>
                <a:gd name="connsiteX64" fmla="*/ 2971038 w 3996248"/>
                <a:gd name="connsiteY64" fmla="*/ 76200 h 277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96248" h="2776686">
                  <a:moveTo>
                    <a:pt x="2971038" y="0"/>
                  </a:moveTo>
                  <a:lnTo>
                    <a:pt x="3132963" y="0"/>
                  </a:lnTo>
                  <a:lnTo>
                    <a:pt x="3085338" y="200025"/>
                  </a:lnTo>
                  <a:lnTo>
                    <a:pt x="3142488" y="476250"/>
                  </a:lnTo>
                  <a:lnTo>
                    <a:pt x="3342513" y="685800"/>
                  </a:lnTo>
                  <a:lnTo>
                    <a:pt x="3332988" y="885825"/>
                  </a:lnTo>
                  <a:lnTo>
                    <a:pt x="3418493" y="889114"/>
                  </a:lnTo>
                  <a:lnTo>
                    <a:pt x="3407843" y="1134059"/>
                  </a:lnTo>
                  <a:lnTo>
                    <a:pt x="3309776" y="1207609"/>
                  </a:lnTo>
                  <a:lnTo>
                    <a:pt x="3113641" y="1256643"/>
                  </a:lnTo>
                  <a:lnTo>
                    <a:pt x="3089124" y="1354710"/>
                  </a:lnTo>
                  <a:lnTo>
                    <a:pt x="3309776" y="1477294"/>
                  </a:lnTo>
                  <a:lnTo>
                    <a:pt x="3407843" y="1624395"/>
                  </a:lnTo>
                  <a:lnTo>
                    <a:pt x="3628495" y="1771496"/>
                  </a:lnTo>
                  <a:lnTo>
                    <a:pt x="3726562" y="2090215"/>
                  </a:lnTo>
                  <a:lnTo>
                    <a:pt x="3947214" y="2163766"/>
                  </a:lnTo>
                  <a:lnTo>
                    <a:pt x="3996248" y="2188282"/>
                  </a:lnTo>
                  <a:lnTo>
                    <a:pt x="3996248" y="2457967"/>
                  </a:lnTo>
                  <a:lnTo>
                    <a:pt x="3505911" y="2457967"/>
                  </a:lnTo>
                  <a:lnTo>
                    <a:pt x="3358809" y="2605068"/>
                  </a:lnTo>
                  <a:lnTo>
                    <a:pt x="3187191" y="2703136"/>
                  </a:lnTo>
                  <a:lnTo>
                    <a:pt x="3113641" y="2703136"/>
                  </a:lnTo>
                  <a:lnTo>
                    <a:pt x="2892989" y="2752169"/>
                  </a:lnTo>
                  <a:lnTo>
                    <a:pt x="2647820" y="2752169"/>
                  </a:lnTo>
                  <a:lnTo>
                    <a:pt x="2427169" y="2776686"/>
                  </a:lnTo>
                  <a:lnTo>
                    <a:pt x="2353618" y="2776686"/>
                  </a:lnTo>
                  <a:lnTo>
                    <a:pt x="2353618" y="2752169"/>
                  </a:lnTo>
                  <a:lnTo>
                    <a:pt x="1985865" y="2457967"/>
                  </a:lnTo>
                  <a:lnTo>
                    <a:pt x="1887798" y="2482484"/>
                  </a:lnTo>
                  <a:lnTo>
                    <a:pt x="1691663" y="2482484"/>
                  </a:lnTo>
                  <a:lnTo>
                    <a:pt x="1618112" y="2531518"/>
                  </a:lnTo>
                  <a:lnTo>
                    <a:pt x="1593596" y="2531518"/>
                  </a:lnTo>
                  <a:lnTo>
                    <a:pt x="1446495" y="2457967"/>
                  </a:lnTo>
                  <a:lnTo>
                    <a:pt x="1299393" y="2261833"/>
                  </a:lnTo>
                  <a:lnTo>
                    <a:pt x="1201326" y="2090215"/>
                  </a:lnTo>
                  <a:lnTo>
                    <a:pt x="1005191" y="1967631"/>
                  </a:lnTo>
                  <a:lnTo>
                    <a:pt x="858090" y="1722463"/>
                  </a:lnTo>
                  <a:lnTo>
                    <a:pt x="563888" y="1501811"/>
                  </a:lnTo>
                  <a:lnTo>
                    <a:pt x="539371" y="1501811"/>
                  </a:lnTo>
                  <a:lnTo>
                    <a:pt x="539371" y="1477294"/>
                  </a:lnTo>
                  <a:lnTo>
                    <a:pt x="490337" y="1330193"/>
                  </a:lnTo>
                  <a:lnTo>
                    <a:pt x="220652" y="1256643"/>
                  </a:lnTo>
                  <a:lnTo>
                    <a:pt x="220652" y="1207609"/>
                  </a:lnTo>
                  <a:lnTo>
                    <a:pt x="171618" y="1134059"/>
                  </a:lnTo>
                  <a:lnTo>
                    <a:pt x="0" y="1060508"/>
                  </a:lnTo>
                  <a:lnTo>
                    <a:pt x="0" y="847616"/>
                  </a:lnTo>
                  <a:lnTo>
                    <a:pt x="465963" y="781050"/>
                  </a:lnTo>
                  <a:lnTo>
                    <a:pt x="504063" y="638175"/>
                  </a:lnTo>
                  <a:lnTo>
                    <a:pt x="732663" y="590550"/>
                  </a:lnTo>
                  <a:lnTo>
                    <a:pt x="885063" y="847725"/>
                  </a:lnTo>
                  <a:lnTo>
                    <a:pt x="1027938" y="914400"/>
                  </a:lnTo>
                  <a:lnTo>
                    <a:pt x="1142238" y="857250"/>
                  </a:lnTo>
                  <a:lnTo>
                    <a:pt x="1399413" y="857250"/>
                  </a:lnTo>
                  <a:lnTo>
                    <a:pt x="1485138" y="942975"/>
                  </a:lnTo>
                  <a:lnTo>
                    <a:pt x="1675638" y="942975"/>
                  </a:lnTo>
                  <a:lnTo>
                    <a:pt x="1761363" y="809625"/>
                  </a:lnTo>
                  <a:lnTo>
                    <a:pt x="1923288" y="809625"/>
                  </a:lnTo>
                  <a:lnTo>
                    <a:pt x="1923288" y="695325"/>
                  </a:lnTo>
                  <a:lnTo>
                    <a:pt x="2056638" y="628650"/>
                  </a:lnTo>
                  <a:lnTo>
                    <a:pt x="2342388" y="819150"/>
                  </a:lnTo>
                  <a:lnTo>
                    <a:pt x="2504313" y="800100"/>
                  </a:lnTo>
                  <a:lnTo>
                    <a:pt x="2856738" y="390525"/>
                  </a:lnTo>
                  <a:lnTo>
                    <a:pt x="2856738" y="171450"/>
                  </a:lnTo>
                  <a:lnTo>
                    <a:pt x="2761488" y="95250"/>
                  </a:lnTo>
                  <a:lnTo>
                    <a:pt x="2971038" y="7620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7" name="South Africa">
              <a:extLst>
                <a:ext uri="{FF2B5EF4-FFF2-40B4-BE49-F238E27FC236}">
                  <a16:creationId xmlns:a16="http://schemas.microsoft.com/office/drawing/2014/main" id="{D491CA7B-FA75-F305-6DCB-AFD7DC02D1C4}"/>
                </a:ext>
              </a:extLst>
            </p:cNvPr>
            <p:cNvSpPr>
              <a:spLocks/>
            </p:cNvSpPr>
            <p:nvPr/>
          </p:nvSpPr>
          <p:spPr bwMode="auto">
            <a:xfrm>
              <a:off x="6212555" y="5120490"/>
              <a:ext cx="392133" cy="339728"/>
            </a:xfrm>
            <a:custGeom>
              <a:avLst/>
              <a:gdLst>
                <a:gd name="T0" fmla="*/ 188 w 217"/>
                <a:gd name="T1" fmla="*/ 1 h 188"/>
                <a:gd name="T2" fmla="*/ 203 w 217"/>
                <a:gd name="T3" fmla="*/ 31 h 188"/>
                <a:gd name="T4" fmla="*/ 203 w 217"/>
                <a:gd name="T5" fmla="*/ 54 h 188"/>
                <a:gd name="T6" fmla="*/ 197 w 217"/>
                <a:gd name="T7" fmla="*/ 51 h 188"/>
                <a:gd name="T8" fmla="*/ 190 w 217"/>
                <a:gd name="T9" fmla="*/ 63 h 188"/>
                <a:gd name="T10" fmla="*/ 197 w 217"/>
                <a:gd name="T11" fmla="*/ 72 h 188"/>
                <a:gd name="T12" fmla="*/ 205 w 217"/>
                <a:gd name="T13" fmla="*/ 66 h 188"/>
                <a:gd name="T14" fmla="*/ 217 w 217"/>
                <a:gd name="T15" fmla="*/ 65 h 188"/>
                <a:gd name="T16" fmla="*/ 211 w 217"/>
                <a:gd name="T17" fmla="*/ 92 h 188"/>
                <a:gd name="T18" fmla="*/ 180 w 217"/>
                <a:gd name="T19" fmla="*/ 133 h 188"/>
                <a:gd name="T20" fmla="*/ 143 w 217"/>
                <a:gd name="T21" fmla="*/ 170 h 188"/>
                <a:gd name="T22" fmla="*/ 123 w 217"/>
                <a:gd name="T23" fmla="*/ 178 h 188"/>
                <a:gd name="T24" fmla="*/ 116 w 217"/>
                <a:gd name="T25" fmla="*/ 176 h 188"/>
                <a:gd name="T26" fmla="*/ 111 w 217"/>
                <a:gd name="T27" fmla="*/ 179 h 188"/>
                <a:gd name="T28" fmla="*/ 107 w 217"/>
                <a:gd name="T29" fmla="*/ 180 h 188"/>
                <a:gd name="T30" fmla="*/ 91 w 217"/>
                <a:gd name="T31" fmla="*/ 179 h 188"/>
                <a:gd name="T32" fmla="*/ 80 w 217"/>
                <a:gd name="T33" fmla="*/ 178 h 188"/>
                <a:gd name="T34" fmla="*/ 54 w 217"/>
                <a:gd name="T35" fmla="*/ 183 h 188"/>
                <a:gd name="T36" fmla="*/ 31 w 217"/>
                <a:gd name="T37" fmla="*/ 182 h 188"/>
                <a:gd name="T38" fmla="*/ 27 w 217"/>
                <a:gd name="T39" fmla="*/ 178 h 188"/>
                <a:gd name="T40" fmla="*/ 20 w 217"/>
                <a:gd name="T41" fmla="*/ 160 h 188"/>
                <a:gd name="T42" fmla="*/ 22 w 217"/>
                <a:gd name="T43" fmla="*/ 155 h 188"/>
                <a:gd name="T44" fmla="*/ 24 w 217"/>
                <a:gd name="T45" fmla="*/ 143 h 188"/>
                <a:gd name="T46" fmla="*/ 0 w 217"/>
                <a:gd name="T47" fmla="*/ 94 h 188"/>
                <a:gd name="T48" fmla="*/ 9 w 217"/>
                <a:gd name="T49" fmla="*/ 89 h 188"/>
                <a:gd name="T50" fmla="*/ 18 w 217"/>
                <a:gd name="T51" fmla="*/ 99 h 188"/>
                <a:gd name="T52" fmla="*/ 46 w 217"/>
                <a:gd name="T53" fmla="*/ 92 h 188"/>
                <a:gd name="T54" fmla="*/ 58 w 217"/>
                <a:gd name="T55" fmla="*/ 50 h 188"/>
                <a:gd name="T56" fmla="*/ 67 w 217"/>
                <a:gd name="T57" fmla="*/ 66 h 188"/>
                <a:gd name="T58" fmla="*/ 91 w 217"/>
                <a:gd name="T59" fmla="*/ 47 h 188"/>
                <a:gd name="T60" fmla="*/ 97 w 217"/>
                <a:gd name="T61" fmla="*/ 46 h 188"/>
                <a:gd name="T62" fmla="*/ 119 w 217"/>
                <a:gd name="T63" fmla="*/ 49 h 188"/>
                <a:gd name="T64" fmla="*/ 146 w 217"/>
                <a:gd name="T65" fmla="*/ 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188">
                  <a:moveTo>
                    <a:pt x="169" y="0"/>
                  </a:moveTo>
                  <a:lnTo>
                    <a:pt x="188" y="1"/>
                  </a:lnTo>
                  <a:lnTo>
                    <a:pt x="199" y="7"/>
                  </a:lnTo>
                  <a:lnTo>
                    <a:pt x="203" y="31"/>
                  </a:lnTo>
                  <a:lnTo>
                    <a:pt x="205" y="53"/>
                  </a:lnTo>
                  <a:lnTo>
                    <a:pt x="203" y="54"/>
                  </a:lnTo>
                  <a:lnTo>
                    <a:pt x="202" y="54"/>
                  </a:lnTo>
                  <a:lnTo>
                    <a:pt x="197" y="51"/>
                  </a:lnTo>
                  <a:lnTo>
                    <a:pt x="194" y="53"/>
                  </a:lnTo>
                  <a:lnTo>
                    <a:pt x="190" y="63"/>
                  </a:lnTo>
                  <a:lnTo>
                    <a:pt x="193" y="71"/>
                  </a:lnTo>
                  <a:lnTo>
                    <a:pt x="197" y="72"/>
                  </a:lnTo>
                  <a:lnTo>
                    <a:pt x="200" y="72"/>
                  </a:lnTo>
                  <a:lnTo>
                    <a:pt x="205" y="66"/>
                  </a:lnTo>
                  <a:lnTo>
                    <a:pt x="205" y="65"/>
                  </a:lnTo>
                  <a:lnTo>
                    <a:pt x="217" y="65"/>
                  </a:lnTo>
                  <a:lnTo>
                    <a:pt x="217" y="66"/>
                  </a:lnTo>
                  <a:lnTo>
                    <a:pt x="211" y="92"/>
                  </a:lnTo>
                  <a:lnTo>
                    <a:pt x="197" y="103"/>
                  </a:lnTo>
                  <a:lnTo>
                    <a:pt x="180" y="133"/>
                  </a:lnTo>
                  <a:lnTo>
                    <a:pt x="160" y="155"/>
                  </a:lnTo>
                  <a:lnTo>
                    <a:pt x="143" y="170"/>
                  </a:lnTo>
                  <a:lnTo>
                    <a:pt x="123" y="173"/>
                  </a:lnTo>
                  <a:lnTo>
                    <a:pt x="123" y="178"/>
                  </a:lnTo>
                  <a:lnTo>
                    <a:pt x="119" y="178"/>
                  </a:lnTo>
                  <a:lnTo>
                    <a:pt x="116" y="176"/>
                  </a:lnTo>
                  <a:lnTo>
                    <a:pt x="113" y="176"/>
                  </a:lnTo>
                  <a:lnTo>
                    <a:pt x="111" y="179"/>
                  </a:lnTo>
                  <a:lnTo>
                    <a:pt x="111" y="180"/>
                  </a:lnTo>
                  <a:lnTo>
                    <a:pt x="107" y="180"/>
                  </a:lnTo>
                  <a:lnTo>
                    <a:pt x="100" y="179"/>
                  </a:lnTo>
                  <a:lnTo>
                    <a:pt x="91" y="179"/>
                  </a:lnTo>
                  <a:lnTo>
                    <a:pt x="83" y="178"/>
                  </a:lnTo>
                  <a:lnTo>
                    <a:pt x="80" y="178"/>
                  </a:lnTo>
                  <a:lnTo>
                    <a:pt x="71" y="182"/>
                  </a:lnTo>
                  <a:lnTo>
                    <a:pt x="54" y="183"/>
                  </a:lnTo>
                  <a:lnTo>
                    <a:pt x="48" y="188"/>
                  </a:lnTo>
                  <a:lnTo>
                    <a:pt x="31" y="182"/>
                  </a:lnTo>
                  <a:lnTo>
                    <a:pt x="31" y="178"/>
                  </a:lnTo>
                  <a:lnTo>
                    <a:pt x="27" y="178"/>
                  </a:lnTo>
                  <a:lnTo>
                    <a:pt x="27" y="172"/>
                  </a:lnTo>
                  <a:lnTo>
                    <a:pt x="20" y="160"/>
                  </a:lnTo>
                  <a:lnTo>
                    <a:pt x="20" y="155"/>
                  </a:lnTo>
                  <a:lnTo>
                    <a:pt x="22" y="155"/>
                  </a:lnTo>
                  <a:lnTo>
                    <a:pt x="24" y="152"/>
                  </a:lnTo>
                  <a:lnTo>
                    <a:pt x="24" y="143"/>
                  </a:lnTo>
                  <a:lnTo>
                    <a:pt x="14" y="124"/>
                  </a:lnTo>
                  <a:lnTo>
                    <a:pt x="0" y="94"/>
                  </a:lnTo>
                  <a:lnTo>
                    <a:pt x="0" y="93"/>
                  </a:lnTo>
                  <a:lnTo>
                    <a:pt x="9" y="89"/>
                  </a:lnTo>
                  <a:lnTo>
                    <a:pt x="17" y="93"/>
                  </a:lnTo>
                  <a:lnTo>
                    <a:pt x="18" y="99"/>
                  </a:lnTo>
                  <a:lnTo>
                    <a:pt x="36" y="99"/>
                  </a:lnTo>
                  <a:lnTo>
                    <a:pt x="46" y="92"/>
                  </a:lnTo>
                  <a:lnTo>
                    <a:pt x="46" y="37"/>
                  </a:lnTo>
                  <a:lnTo>
                    <a:pt x="58" y="50"/>
                  </a:lnTo>
                  <a:lnTo>
                    <a:pt x="58" y="65"/>
                  </a:lnTo>
                  <a:lnTo>
                    <a:pt x="67" y="66"/>
                  </a:lnTo>
                  <a:lnTo>
                    <a:pt x="76" y="63"/>
                  </a:lnTo>
                  <a:lnTo>
                    <a:pt x="91" y="47"/>
                  </a:lnTo>
                  <a:lnTo>
                    <a:pt x="91" y="46"/>
                  </a:lnTo>
                  <a:lnTo>
                    <a:pt x="97" y="46"/>
                  </a:lnTo>
                  <a:lnTo>
                    <a:pt x="110" y="50"/>
                  </a:lnTo>
                  <a:lnTo>
                    <a:pt x="119" y="49"/>
                  </a:lnTo>
                  <a:lnTo>
                    <a:pt x="123" y="38"/>
                  </a:lnTo>
                  <a:lnTo>
                    <a:pt x="146" y="14"/>
                  </a:lnTo>
                  <a:lnTo>
                    <a:pt x="16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8" name="Somalia">
              <a:extLst>
                <a:ext uri="{FF2B5EF4-FFF2-40B4-BE49-F238E27FC236}">
                  <a16:creationId xmlns:a16="http://schemas.microsoft.com/office/drawing/2014/main" id="{E0EB6E25-99F6-68F7-7BF7-57E4FFDA6358}"/>
                </a:ext>
              </a:extLst>
            </p:cNvPr>
            <p:cNvSpPr>
              <a:spLocks/>
            </p:cNvSpPr>
            <p:nvPr/>
          </p:nvSpPr>
          <p:spPr bwMode="auto">
            <a:xfrm>
              <a:off x="6794428" y="4305506"/>
              <a:ext cx="243954" cy="323464"/>
            </a:xfrm>
            <a:custGeom>
              <a:avLst/>
              <a:gdLst>
                <a:gd name="T0" fmla="*/ 126 w 135"/>
                <a:gd name="T1" fmla="*/ 0 h 179"/>
                <a:gd name="T2" fmla="*/ 133 w 135"/>
                <a:gd name="T3" fmla="*/ 3 h 179"/>
                <a:gd name="T4" fmla="*/ 133 w 135"/>
                <a:gd name="T5" fmla="*/ 4 h 179"/>
                <a:gd name="T6" fmla="*/ 132 w 135"/>
                <a:gd name="T7" fmla="*/ 10 h 179"/>
                <a:gd name="T8" fmla="*/ 133 w 135"/>
                <a:gd name="T9" fmla="*/ 19 h 179"/>
                <a:gd name="T10" fmla="*/ 132 w 135"/>
                <a:gd name="T11" fmla="*/ 21 h 179"/>
                <a:gd name="T12" fmla="*/ 135 w 135"/>
                <a:gd name="T13" fmla="*/ 22 h 179"/>
                <a:gd name="T14" fmla="*/ 135 w 135"/>
                <a:gd name="T15" fmla="*/ 24 h 179"/>
                <a:gd name="T16" fmla="*/ 129 w 135"/>
                <a:gd name="T17" fmla="*/ 24 h 179"/>
                <a:gd name="T18" fmla="*/ 127 w 135"/>
                <a:gd name="T19" fmla="*/ 38 h 179"/>
                <a:gd name="T20" fmla="*/ 120 w 135"/>
                <a:gd name="T21" fmla="*/ 50 h 179"/>
                <a:gd name="T22" fmla="*/ 116 w 135"/>
                <a:gd name="T23" fmla="*/ 53 h 179"/>
                <a:gd name="T24" fmla="*/ 104 w 135"/>
                <a:gd name="T25" fmla="*/ 83 h 179"/>
                <a:gd name="T26" fmla="*/ 96 w 135"/>
                <a:gd name="T27" fmla="*/ 92 h 179"/>
                <a:gd name="T28" fmla="*/ 87 w 135"/>
                <a:gd name="T29" fmla="*/ 105 h 179"/>
                <a:gd name="T30" fmla="*/ 64 w 135"/>
                <a:gd name="T31" fmla="*/ 127 h 179"/>
                <a:gd name="T32" fmla="*/ 52 w 135"/>
                <a:gd name="T33" fmla="*/ 135 h 179"/>
                <a:gd name="T34" fmla="*/ 27 w 135"/>
                <a:gd name="T35" fmla="*/ 159 h 179"/>
                <a:gd name="T36" fmla="*/ 22 w 135"/>
                <a:gd name="T37" fmla="*/ 160 h 179"/>
                <a:gd name="T38" fmla="*/ 21 w 135"/>
                <a:gd name="T39" fmla="*/ 164 h 179"/>
                <a:gd name="T40" fmla="*/ 9 w 135"/>
                <a:gd name="T41" fmla="*/ 179 h 179"/>
                <a:gd name="T42" fmla="*/ 7 w 135"/>
                <a:gd name="T43" fmla="*/ 179 h 179"/>
                <a:gd name="T44" fmla="*/ 0 w 135"/>
                <a:gd name="T45" fmla="*/ 169 h 179"/>
                <a:gd name="T46" fmla="*/ 0 w 135"/>
                <a:gd name="T47" fmla="*/ 120 h 179"/>
                <a:gd name="T48" fmla="*/ 12 w 135"/>
                <a:gd name="T49" fmla="*/ 105 h 179"/>
                <a:gd name="T50" fmla="*/ 38 w 135"/>
                <a:gd name="T51" fmla="*/ 92 h 179"/>
                <a:gd name="T52" fmla="*/ 53 w 135"/>
                <a:gd name="T53" fmla="*/ 90 h 179"/>
                <a:gd name="T54" fmla="*/ 89 w 135"/>
                <a:gd name="T55" fmla="*/ 56 h 179"/>
                <a:gd name="T56" fmla="*/ 90 w 135"/>
                <a:gd name="T57" fmla="*/ 52 h 179"/>
                <a:gd name="T58" fmla="*/ 80 w 135"/>
                <a:gd name="T59" fmla="*/ 53 h 179"/>
                <a:gd name="T60" fmla="*/ 40 w 135"/>
                <a:gd name="T61" fmla="*/ 38 h 179"/>
                <a:gd name="T62" fmla="*/ 25 w 135"/>
                <a:gd name="T63" fmla="*/ 24 h 179"/>
                <a:gd name="T64" fmla="*/ 25 w 135"/>
                <a:gd name="T65" fmla="*/ 15 h 179"/>
                <a:gd name="T66" fmla="*/ 28 w 135"/>
                <a:gd name="T67" fmla="*/ 7 h 179"/>
                <a:gd name="T68" fmla="*/ 30 w 135"/>
                <a:gd name="T69" fmla="*/ 6 h 179"/>
                <a:gd name="T70" fmla="*/ 46 w 135"/>
                <a:gd name="T71" fmla="*/ 21 h 179"/>
                <a:gd name="T72" fmla="*/ 52 w 135"/>
                <a:gd name="T73" fmla="*/ 21 h 179"/>
                <a:gd name="T74" fmla="*/ 62 w 135"/>
                <a:gd name="T75" fmla="*/ 15 h 179"/>
                <a:gd name="T76" fmla="*/ 73 w 135"/>
                <a:gd name="T77" fmla="*/ 16 h 179"/>
                <a:gd name="T78" fmla="*/ 81 w 135"/>
                <a:gd name="T79" fmla="*/ 12 h 179"/>
                <a:gd name="T80" fmla="*/ 107 w 135"/>
                <a:gd name="T81" fmla="*/ 7 h 179"/>
                <a:gd name="T82" fmla="*/ 118 w 135"/>
                <a:gd name="T83" fmla="*/ 6 h 179"/>
                <a:gd name="T84" fmla="*/ 126 w 135"/>
                <a:gd name="T85"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79">
                  <a:moveTo>
                    <a:pt x="126" y="0"/>
                  </a:moveTo>
                  <a:lnTo>
                    <a:pt x="133" y="3"/>
                  </a:lnTo>
                  <a:lnTo>
                    <a:pt x="133" y="4"/>
                  </a:lnTo>
                  <a:lnTo>
                    <a:pt x="132" y="10"/>
                  </a:lnTo>
                  <a:lnTo>
                    <a:pt x="133" y="19"/>
                  </a:lnTo>
                  <a:lnTo>
                    <a:pt x="132" y="21"/>
                  </a:lnTo>
                  <a:lnTo>
                    <a:pt x="135" y="22"/>
                  </a:lnTo>
                  <a:lnTo>
                    <a:pt x="135" y="24"/>
                  </a:lnTo>
                  <a:lnTo>
                    <a:pt x="129" y="24"/>
                  </a:lnTo>
                  <a:lnTo>
                    <a:pt x="127" y="38"/>
                  </a:lnTo>
                  <a:lnTo>
                    <a:pt x="120" y="50"/>
                  </a:lnTo>
                  <a:lnTo>
                    <a:pt x="116" y="53"/>
                  </a:lnTo>
                  <a:lnTo>
                    <a:pt x="104" y="83"/>
                  </a:lnTo>
                  <a:lnTo>
                    <a:pt x="96" y="92"/>
                  </a:lnTo>
                  <a:lnTo>
                    <a:pt x="87" y="105"/>
                  </a:lnTo>
                  <a:lnTo>
                    <a:pt x="64" y="127"/>
                  </a:lnTo>
                  <a:lnTo>
                    <a:pt x="52" y="135"/>
                  </a:lnTo>
                  <a:lnTo>
                    <a:pt x="27" y="159"/>
                  </a:lnTo>
                  <a:lnTo>
                    <a:pt x="22" y="160"/>
                  </a:lnTo>
                  <a:lnTo>
                    <a:pt x="21" y="164"/>
                  </a:lnTo>
                  <a:lnTo>
                    <a:pt x="9" y="179"/>
                  </a:lnTo>
                  <a:lnTo>
                    <a:pt x="7" y="179"/>
                  </a:lnTo>
                  <a:lnTo>
                    <a:pt x="0" y="169"/>
                  </a:lnTo>
                  <a:lnTo>
                    <a:pt x="0" y="120"/>
                  </a:lnTo>
                  <a:lnTo>
                    <a:pt x="12" y="105"/>
                  </a:lnTo>
                  <a:lnTo>
                    <a:pt x="38" y="92"/>
                  </a:lnTo>
                  <a:lnTo>
                    <a:pt x="53" y="90"/>
                  </a:lnTo>
                  <a:lnTo>
                    <a:pt x="89" y="56"/>
                  </a:lnTo>
                  <a:lnTo>
                    <a:pt x="90" y="52"/>
                  </a:lnTo>
                  <a:lnTo>
                    <a:pt x="80" y="53"/>
                  </a:lnTo>
                  <a:lnTo>
                    <a:pt x="40" y="38"/>
                  </a:lnTo>
                  <a:lnTo>
                    <a:pt x="25" y="24"/>
                  </a:lnTo>
                  <a:lnTo>
                    <a:pt x="25" y="15"/>
                  </a:lnTo>
                  <a:lnTo>
                    <a:pt x="28" y="7"/>
                  </a:lnTo>
                  <a:lnTo>
                    <a:pt x="30" y="6"/>
                  </a:lnTo>
                  <a:lnTo>
                    <a:pt x="46" y="21"/>
                  </a:lnTo>
                  <a:lnTo>
                    <a:pt x="52" y="21"/>
                  </a:lnTo>
                  <a:lnTo>
                    <a:pt x="62" y="15"/>
                  </a:lnTo>
                  <a:lnTo>
                    <a:pt x="73" y="16"/>
                  </a:lnTo>
                  <a:lnTo>
                    <a:pt x="81" y="12"/>
                  </a:lnTo>
                  <a:lnTo>
                    <a:pt x="107" y="7"/>
                  </a:lnTo>
                  <a:lnTo>
                    <a:pt x="118" y="6"/>
                  </a:lnTo>
                  <a:lnTo>
                    <a:pt x="12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9" name="Senegal">
              <a:extLst>
                <a:ext uri="{FF2B5EF4-FFF2-40B4-BE49-F238E27FC236}">
                  <a16:creationId xmlns:a16="http://schemas.microsoft.com/office/drawing/2014/main" id="{9186E719-CBE9-BEEE-164B-2A2B44A20E7B}"/>
                </a:ext>
              </a:extLst>
            </p:cNvPr>
            <p:cNvSpPr>
              <a:spLocks/>
            </p:cNvSpPr>
            <p:nvPr/>
          </p:nvSpPr>
          <p:spPr bwMode="auto">
            <a:xfrm>
              <a:off x="5412028" y="4189854"/>
              <a:ext cx="149986" cy="106617"/>
            </a:xfrm>
            <a:custGeom>
              <a:avLst/>
              <a:gdLst>
                <a:gd name="T0" fmla="*/ 39 w 83"/>
                <a:gd name="T1" fmla="*/ 0 h 59"/>
                <a:gd name="T2" fmla="*/ 43 w 83"/>
                <a:gd name="T3" fmla="*/ 0 h 59"/>
                <a:gd name="T4" fmla="*/ 50 w 83"/>
                <a:gd name="T5" fmla="*/ 8 h 59"/>
                <a:gd name="T6" fmla="*/ 55 w 83"/>
                <a:gd name="T7" fmla="*/ 8 h 59"/>
                <a:gd name="T8" fmla="*/ 62 w 83"/>
                <a:gd name="T9" fmla="*/ 19 h 59"/>
                <a:gd name="T10" fmla="*/ 73 w 83"/>
                <a:gd name="T11" fmla="*/ 25 h 59"/>
                <a:gd name="T12" fmla="*/ 76 w 83"/>
                <a:gd name="T13" fmla="*/ 37 h 59"/>
                <a:gd name="T14" fmla="*/ 74 w 83"/>
                <a:gd name="T15" fmla="*/ 42 h 59"/>
                <a:gd name="T16" fmla="*/ 83 w 83"/>
                <a:gd name="T17" fmla="*/ 51 h 59"/>
                <a:gd name="T18" fmla="*/ 83 w 83"/>
                <a:gd name="T19" fmla="*/ 58 h 59"/>
                <a:gd name="T20" fmla="*/ 80 w 83"/>
                <a:gd name="T21" fmla="*/ 58 h 59"/>
                <a:gd name="T22" fmla="*/ 76 w 83"/>
                <a:gd name="T23" fmla="*/ 59 h 59"/>
                <a:gd name="T24" fmla="*/ 70 w 83"/>
                <a:gd name="T25" fmla="*/ 59 h 59"/>
                <a:gd name="T26" fmla="*/ 50 w 83"/>
                <a:gd name="T27" fmla="*/ 55 h 59"/>
                <a:gd name="T28" fmla="*/ 33 w 83"/>
                <a:gd name="T29" fmla="*/ 55 h 59"/>
                <a:gd name="T30" fmla="*/ 25 w 83"/>
                <a:gd name="T31" fmla="*/ 58 h 59"/>
                <a:gd name="T32" fmla="*/ 10 w 83"/>
                <a:gd name="T33" fmla="*/ 58 h 59"/>
                <a:gd name="T34" fmla="*/ 10 w 83"/>
                <a:gd name="T35" fmla="*/ 49 h 59"/>
                <a:gd name="T36" fmla="*/ 22 w 83"/>
                <a:gd name="T37" fmla="*/ 46 h 59"/>
                <a:gd name="T38" fmla="*/ 33 w 83"/>
                <a:gd name="T39" fmla="*/ 42 h 59"/>
                <a:gd name="T40" fmla="*/ 46 w 83"/>
                <a:gd name="T41" fmla="*/ 46 h 59"/>
                <a:gd name="T42" fmla="*/ 49 w 83"/>
                <a:gd name="T43" fmla="*/ 45 h 59"/>
                <a:gd name="T44" fmla="*/ 49 w 83"/>
                <a:gd name="T45" fmla="*/ 43 h 59"/>
                <a:gd name="T46" fmla="*/ 43 w 83"/>
                <a:gd name="T47" fmla="*/ 45 h 59"/>
                <a:gd name="T48" fmla="*/ 34 w 83"/>
                <a:gd name="T49" fmla="*/ 40 h 59"/>
                <a:gd name="T50" fmla="*/ 27 w 83"/>
                <a:gd name="T51" fmla="*/ 43 h 59"/>
                <a:gd name="T52" fmla="*/ 13 w 83"/>
                <a:gd name="T53" fmla="*/ 43 h 59"/>
                <a:gd name="T54" fmla="*/ 13 w 83"/>
                <a:gd name="T55" fmla="*/ 42 h 59"/>
                <a:gd name="T56" fmla="*/ 3 w 83"/>
                <a:gd name="T57" fmla="*/ 28 h 59"/>
                <a:gd name="T58" fmla="*/ 0 w 83"/>
                <a:gd name="T59" fmla="*/ 27 h 59"/>
                <a:gd name="T60" fmla="*/ 0 w 83"/>
                <a:gd name="T61" fmla="*/ 25 h 59"/>
                <a:gd name="T62" fmla="*/ 9 w 83"/>
                <a:gd name="T63" fmla="*/ 21 h 59"/>
                <a:gd name="T64" fmla="*/ 13 w 83"/>
                <a:gd name="T65" fmla="*/ 13 h 59"/>
                <a:gd name="T66" fmla="*/ 13 w 83"/>
                <a:gd name="T67" fmla="*/ 8 h 59"/>
                <a:gd name="T68" fmla="*/ 16 w 83"/>
                <a:gd name="T69" fmla="*/ 3 h 59"/>
                <a:gd name="T70" fmla="*/ 16 w 83"/>
                <a:gd name="T71" fmla="*/ 2 h 59"/>
                <a:gd name="T72" fmla="*/ 30 w 83"/>
                <a:gd name="T73" fmla="*/ 2 h 59"/>
                <a:gd name="T74" fmla="*/ 39 w 83"/>
                <a:gd name="T7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59">
                  <a:moveTo>
                    <a:pt x="39" y="0"/>
                  </a:moveTo>
                  <a:lnTo>
                    <a:pt x="43" y="0"/>
                  </a:lnTo>
                  <a:lnTo>
                    <a:pt x="50" y="8"/>
                  </a:lnTo>
                  <a:lnTo>
                    <a:pt x="55" y="8"/>
                  </a:lnTo>
                  <a:lnTo>
                    <a:pt x="62" y="19"/>
                  </a:lnTo>
                  <a:lnTo>
                    <a:pt x="73" y="25"/>
                  </a:lnTo>
                  <a:lnTo>
                    <a:pt x="76" y="37"/>
                  </a:lnTo>
                  <a:lnTo>
                    <a:pt x="74" y="42"/>
                  </a:lnTo>
                  <a:lnTo>
                    <a:pt x="83" y="51"/>
                  </a:lnTo>
                  <a:lnTo>
                    <a:pt x="83" y="58"/>
                  </a:lnTo>
                  <a:lnTo>
                    <a:pt x="80" y="58"/>
                  </a:lnTo>
                  <a:lnTo>
                    <a:pt x="76" y="59"/>
                  </a:lnTo>
                  <a:lnTo>
                    <a:pt x="70" y="59"/>
                  </a:lnTo>
                  <a:lnTo>
                    <a:pt x="50" y="55"/>
                  </a:lnTo>
                  <a:lnTo>
                    <a:pt x="33" y="55"/>
                  </a:lnTo>
                  <a:lnTo>
                    <a:pt x="25" y="58"/>
                  </a:lnTo>
                  <a:lnTo>
                    <a:pt x="10" y="58"/>
                  </a:lnTo>
                  <a:lnTo>
                    <a:pt x="10" y="49"/>
                  </a:lnTo>
                  <a:lnTo>
                    <a:pt x="22" y="46"/>
                  </a:lnTo>
                  <a:lnTo>
                    <a:pt x="33" y="42"/>
                  </a:lnTo>
                  <a:lnTo>
                    <a:pt x="46" y="46"/>
                  </a:lnTo>
                  <a:lnTo>
                    <a:pt x="49" y="45"/>
                  </a:lnTo>
                  <a:lnTo>
                    <a:pt x="49" y="43"/>
                  </a:lnTo>
                  <a:lnTo>
                    <a:pt x="43" y="45"/>
                  </a:lnTo>
                  <a:lnTo>
                    <a:pt x="34" y="40"/>
                  </a:lnTo>
                  <a:lnTo>
                    <a:pt x="27" y="43"/>
                  </a:lnTo>
                  <a:lnTo>
                    <a:pt x="13" y="43"/>
                  </a:lnTo>
                  <a:lnTo>
                    <a:pt x="13" y="42"/>
                  </a:lnTo>
                  <a:lnTo>
                    <a:pt x="3" y="28"/>
                  </a:lnTo>
                  <a:lnTo>
                    <a:pt x="0" y="27"/>
                  </a:lnTo>
                  <a:lnTo>
                    <a:pt x="0" y="25"/>
                  </a:lnTo>
                  <a:lnTo>
                    <a:pt x="9" y="21"/>
                  </a:lnTo>
                  <a:lnTo>
                    <a:pt x="13" y="13"/>
                  </a:lnTo>
                  <a:lnTo>
                    <a:pt x="13" y="8"/>
                  </a:lnTo>
                  <a:lnTo>
                    <a:pt x="16" y="3"/>
                  </a:lnTo>
                  <a:lnTo>
                    <a:pt x="16" y="2"/>
                  </a:lnTo>
                  <a:lnTo>
                    <a:pt x="30" y="2"/>
                  </a:lnTo>
                  <a:lnTo>
                    <a:pt x="3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0" name="Sierra Leone">
              <a:extLst>
                <a:ext uri="{FF2B5EF4-FFF2-40B4-BE49-F238E27FC236}">
                  <a16:creationId xmlns:a16="http://schemas.microsoft.com/office/drawing/2014/main" id="{58FB2EBC-D1E4-E0A1-812F-1A3C7E49DC44}"/>
                </a:ext>
              </a:extLst>
            </p:cNvPr>
            <p:cNvSpPr>
              <a:spLocks/>
            </p:cNvSpPr>
            <p:nvPr/>
          </p:nvSpPr>
          <p:spPr bwMode="auto">
            <a:xfrm>
              <a:off x="5513223" y="4354296"/>
              <a:ext cx="72283" cy="72283"/>
            </a:xfrm>
            <a:custGeom>
              <a:avLst/>
              <a:gdLst>
                <a:gd name="T0" fmla="*/ 12 w 40"/>
                <a:gd name="T1" fmla="*/ 0 h 40"/>
                <a:gd name="T2" fmla="*/ 29 w 40"/>
                <a:gd name="T3" fmla="*/ 0 h 40"/>
                <a:gd name="T4" fmla="*/ 37 w 40"/>
                <a:gd name="T5" fmla="*/ 13 h 40"/>
                <a:gd name="T6" fmla="*/ 34 w 40"/>
                <a:gd name="T7" fmla="*/ 20 h 40"/>
                <a:gd name="T8" fmla="*/ 39 w 40"/>
                <a:gd name="T9" fmla="*/ 19 h 40"/>
                <a:gd name="T10" fmla="*/ 40 w 40"/>
                <a:gd name="T11" fmla="*/ 19 h 40"/>
                <a:gd name="T12" fmla="*/ 40 w 40"/>
                <a:gd name="T13" fmla="*/ 23 h 40"/>
                <a:gd name="T14" fmla="*/ 37 w 40"/>
                <a:gd name="T15" fmla="*/ 25 h 40"/>
                <a:gd name="T16" fmla="*/ 37 w 40"/>
                <a:gd name="T17" fmla="*/ 29 h 40"/>
                <a:gd name="T18" fmla="*/ 36 w 40"/>
                <a:gd name="T19" fmla="*/ 29 h 40"/>
                <a:gd name="T20" fmla="*/ 24 w 40"/>
                <a:gd name="T21" fmla="*/ 40 h 40"/>
                <a:gd name="T22" fmla="*/ 12 w 40"/>
                <a:gd name="T23" fmla="*/ 34 h 40"/>
                <a:gd name="T24" fmla="*/ 0 w 40"/>
                <a:gd name="T25" fmla="*/ 22 h 40"/>
                <a:gd name="T26" fmla="*/ 0 w 40"/>
                <a:gd name="T27" fmla="*/ 20 h 40"/>
                <a:gd name="T28" fmla="*/ 2 w 40"/>
                <a:gd name="T29" fmla="*/ 20 h 40"/>
                <a:gd name="T30" fmla="*/ 3 w 40"/>
                <a:gd name="T31" fmla="*/ 19 h 40"/>
                <a:gd name="T32" fmla="*/ 0 w 40"/>
                <a:gd name="T33" fmla="*/ 11 h 40"/>
                <a:gd name="T34" fmla="*/ 0 w 40"/>
                <a:gd name="T35" fmla="*/ 10 h 40"/>
                <a:gd name="T36" fmla="*/ 3 w 40"/>
                <a:gd name="T37" fmla="*/ 10 h 40"/>
                <a:gd name="T38" fmla="*/ 12 w 40"/>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12" y="0"/>
                  </a:moveTo>
                  <a:lnTo>
                    <a:pt x="29" y="0"/>
                  </a:lnTo>
                  <a:lnTo>
                    <a:pt x="37" y="13"/>
                  </a:lnTo>
                  <a:lnTo>
                    <a:pt x="34" y="20"/>
                  </a:lnTo>
                  <a:lnTo>
                    <a:pt x="39" y="19"/>
                  </a:lnTo>
                  <a:lnTo>
                    <a:pt x="40" y="19"/>
                  </a:lnTo>
                  <a:lnTo>
                    <a:pt x="40" y="23"/>
                  </a:lnTo>
                  <a:lnTo>
                    <a:pt x="37" y="25"/>
                  </a:lnTo>
                  <a:lnTo>
                    <a:pt x="37" y="29"/>
                  </a:lnTo>
                  <a:lnTo>
                    <a:pt x="36" y="29"/>
                  </a:lnTo>
                  <a:lnTo>
                    <a:pt x="24" y="40"/>
                  </a:lnTo>
                  <a:lnTo>
                    <a:pt x="12" y="34"/>
                  </a:lnTo>
                  <a:lnTo>
                    <a:pt x="0" y="22"/>
                  </a:lnTo>
                  <a:lnTo>
                    <a:pt x="0" y="20"/>
                  </a:lnTo>
                  <a:lnTo>
                    <a:pt x="2" y="20"/>
                  </a:lnTo>
                  <a:lnTo>
                    <a:pt x="3" y="19"/>
                  </a:lnTo>
                  <a:lnTo>
                    <a:pt x="0" y="11"/>
                  </a:lnTo>
                  <a:lnTo>
                    <a:pt x="0" y="10"/>
                  </a:lnTo>
                  <a:lnTo>
                    <a:pt x="3" y="10"/>
                  </a:lnTo>
                  <a:lnTo>
                    <a:pt x="1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1" name="Rwanda">
              <a:extLst>
                <a:ext uri="{FF2B5EF4-FFF2-40B4-BE49-F238E27FC236}">
                  <a16:creationId xmlns:a16="http://schemas.microsoft.com/office/drawing/2014/main" id="{A3D3DB4F-0EB8-08EE-F105-D87D2D414FBA}"/>
                </a:ext>
              </a:extLst>
            </p:cNvPr>
            <p:cNvSpPr>
              <a:spLocks/>
            </p:cNvSpPr>
            <p:nvPr/>
          </p:nvSpPr>
          <p:spPr bwMode="auto">
            <a:xfrm>
              <a:off x="6510721" y="4610898"/>
              <a:ext cx="46983" cy="43369"/>
            </a:xfrm>
            <a:custGeom>
              <a:avLst/>
              <a:gdLst>
                <a:gd name="T0" fmla="*/ 21 w 26"/>
                <a:gd name="T1" fmla="*/ 0 h 24"/>
                <a:gd name="T2" fmla="*/ 21 w 26"/>
                <a:gd name="T3" fmla="*/ 1 h 24"/>
                <a:gd name="T4" fmla="*/ 26 w 26"/>
                <a:gd name="T5" fmla="*/ 13 h 24"/>
                <a:gd name="T6" fmla="*/ 23 w 26"/>
                <a:gd name="T7" fmla="*/ 19 h 24"/>
                <a:gd name="T8" fmla="*/ 15 w 26"/>
                <a:gd name="T9" fmla="*/ 19 h 24"/>
                <a:gd name="T10" fmla="*/ 13 w 26"/>
                <a:gd name="T11" fmla="*/ 24 h 24"/>
                <a:gd name="T12" fmla="*/ 7 w 26"/>
                <a:gd name="T13" fmla="*/ 24 h 24"/>
                <a:gd name="T14" fmla="*/ 4 w 26"/>
                <a:gd name="T15" fmla="*/ 21 h 24"/>
                <a:gd name="T16" fmla="*/ 4 w 26"/>
                <a:gd name="T17" fmla="*/ 24 h 24"/>
                <a:gd name="T18" fmla="*/ 3 w 26"/>
                <a:gd name="T19" fmla="*/ 24 h 24"/>
                <a:gd name="T20" fmla="*/ 0 w 26"/>
                <a:gd name="T21" fmla="*/ 19 h 24"/>
                <a:gd name="T22" fmla="*/ 0 w 26"/>
                <a:gd name="T23" fmla="*/ 18 h 24"/>
                <a:gd name="T24" fmla="*/ 10 w 26"/>
                <a:gd name="T25" fmla="*/ 4 h 24"/>
                <a:gd name="T26" fmla="*/ 10 w 26"/>
                <a:gd name="T27" fmla="*/ 3 h 24"/>
                <a:gd name="T28" fmla="*/ 13 w 26"/>
                <a:gd name="T29" fmla="*/ 4 h 24"/>
                <a:gd name="T30" fmla="*/ 15 w 26"/>
                <a:gd name="T31" fmla="*/ 4 h 24"/>
                <a:gd name="T32" fmla="*/ 21 w 26"/>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4">
                  <a:moveTo>
                    <a:pt x="21" y="0"/>
                  </a:moveTo>
                  <a:lnTo>
                    <a:pt x="21" y="1"/>
                  </a:lnTo>
                  <a:lnTo>
                    <a:pt x="26" y="13"/>
                  </a:lnTo>
                  <a:lnTo>
                    <a:pt x="23" y="19"/>
                  </a:lnTo>
                  <a:lnTo>
                    <a:pt x="15" y="19"/>
                  </a:lnTo>
                  <a:lnTo>
                    <a:pt x="13" y="24"/>
                  </a:lnTo>
                  <a:lnTo>
                    <a:pt x="7" y="24"/>
                  </a:lnTo>
                  <a:lnTo>
                    <a:pt x="4" y="21"/>
                  </a:lnTo>
                  <a:lnTo>
                    <a:pt x="4" y="24"/>
                  </a:lnTo>
                  <a:lnTo>
                    <a:pt x="3" y="24"/>
                  </a:lnTo>
                  <a:lnTo>
                    <a:pt x="0" y="19"/>
                  </a:lnTo>
                  <a:lnTo>
                    <a:pt x="0" y="18"/>
                  </a:lnTo>
                  <a:lnTo>
                    <a:pt x="10" y="4"/>
                  </a:lnTo>
                  <a:lnTo>
                    <a:pt x="10" y="3"/>
                  </a:lnTo>
                  <a:lnTo>
                    <a:pt x="13" y="4"/>
                  </a:lnTo>
                  <a:lnTo>
                    <a:pt x="15" y="4"/>
                  </a:lnTo>
                  <a:lnTo>
                    <a:pt x="2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2" name="Nigeria">
              <a:extLst>
                <a:ext uri="{FF2B5EF4-FFF2-40B4-BE49-F238E27FC236}">
                  <a16:creationId xmlns:a16="http://schemas.microsoft.com/office/drawing/2014/main" id="{A71E2290-3CB4-35BB-7585-F4EEA660B802}"/>
                </a:ext>
              </a:extLst>
            </p:cNvPr>
            <p:cNvSpPr>
              <a:spLocks/>
            </p:cNvSpPr>
            <p:nvPr/>
          </p:nvSpPr>
          <p:spPr bwMode="auto">
            <a:xfrm>
              <a:off x="5890898" y="4260329"/>
              <a:ext cx="276481" cy="233112"/>
            </a:xfrm>
            <a:custGeom>
              <a:avLst/>
              <a:gdLst>
                <a:gd name="T0" fmla="*/ 36 w 153"/>
                <a:gd name="T1" fmla="*/ 0 h 129"/>
                <a:gd name="T2" fmla="*/ 39 w 153"/>
                <a:gd name="T3" fmla="*/ 0 h 129"/>
                <a:gd name="T4" fmla="*/ 55 w 153"/>
                <a:gd name="T5" fmla="*/ 12 h 129"/>
                <a:gd name="T6" fmla="*/ 69 w 153"/>
                <a:gd name="T7" fmla="*/ 6 h 129"/>
                <a:gd name="T8" fmla="*/ 77 w 153"/>
                <a:gd name="T9" fmla="*/ 12 h 129"/>
                <a:gd name="T10" fmla="*/ 86 w 153"/>
                <a:gd name="T11" fmla="*/ 15 h 129"/>
                <a:gd name="T12" fmla="*/ 98 w 153"/>
                <a:gd name="T13" fmla="*/ 6 h 129"/>
                <a:gd name="T14" fmla="*/ 116 w 153"/>
                <a:gd name="T15" fmla="*/ 6 h 129"/>
                <a:gd name="T16" fmla="*/ 125 w 153"/>
                <a:gd name="T17" fmla="*/ 9 h 129"/>
                <a:gd name="T18" fmla="*/ 134 w 153"/>
                <a:gd name="T19" fmla="*/ 3 h 129"/>
                <a:gd name="T20" fmla="*/ 135 w 153"/>
                <a:gd name="T21" fmla="*/ 0 h 129"/>
                <a:gd name="T22" fmla="*/ 150 w 153"/>
                <a:gd name="T23" fmla="*/ 17 h 129"/>
                <a:gd name="T24" fmla="*/ 153 w 153"/>
                <a:gd name="T25" fmla="*/ 22 h 129"/>
                <a:gd name="T26" fmla="*/ 153 w 153"/>
                <a:gd name="T27" fmla="*/ 29 h 129"/>
                <a:gd name="T28" fmla="*/ 141 w 153"/>
                <a:gd name="T29" fmla="*/ 40 h 129"/>
                <a:gd name="T30" fmla="*/ 132 w 153"/>
                <a:gd name="T31" fmla="*/ 66 h 129"/>
                <a:gd name="T32" fmla="*/ 125 w 153"/>
                <a:gd name="T33" fmla="*/ 72 h 129"/>
                <a:gd name="T34" fmla="*/ 115 w 153"/>
                <a:gd name="T35" fmla="*/ 96 h 129"/>
                <a:gd name="T36" fmla="*/ 115 w 153"/>
                <a:gd name="T37" fmla="*/ 98 h 129"/>
                <a:gd name="T38" fmla="*/ 109 w 153"/>
                <a:gd name="T39" fmla="*/ 99 h 129"/>
                <a:gd name="T40" fmla="*/ 109 w 153"/>
                <a:gd name="T41" fmla="*/ 98 h 129"/>
                <a:gd name="T42" fmla="*/ 103 w 153"/>
                <a:gd name="T43" fmla="*/ 93 h 129"/>
                <a:gd name="T44" fmla="*/ 89 w 153"/>
                <a:gd name="T45" fmla="*/ 93 h 129"/>
                <a:gd name="T46" fmla="*/ 80 w 153"/>
                <a:gd name="T47" fmla="*/ 106 h 129"/>
                <a:gd name="T48" fmla="*/ 76 w 153"/>
                <a:gd name="T49" fmla="*/ 121 h 129"/>
                <a:gd name="T50" fmla="*/ 74 w 153"/>
                <a:gd name="T51" fmla="*/ 121 h 129"/>
                <a:gd name="T52" fmla="*/ 73 w 153"/>
                <a:gd name="T53" fmla="*/ 120 h 129"/>
                <a:gd name="T54" fmla="*/ 72 w 153"/>
                <a:gd name="T55" fmla="*/ 124 h 129"/>
                <a:gd name="T56" fmla="*/ 64 w 153"/>
                <a:gd name="T57" fmla="*/ 124 h 129"/>
                <a:gd name="T58" fmla="*/ 61 w 153"/>
                <a:gd name="T59" fmla="*/ 123 h 129"/>
                <a:gd name="T60" fmla="*/ 58 w 153"/>
                <a:gd name="T61" fmla="*/ 123 h 129"/>
                <a:gd name="T62" fmla="*/ 55 w 153"/>
                <a:gd name="T63" fmla="*/ 126 h 129"/>
                <a:gd name="T64" fmla="*/ 46 w 153"/>
                <a:gd name="T65" fmla="*/ 129 h 129"/>
                <a:gd name="T66" fmla="*/ 36 w 153"/>
                <a:gd name="T67" fmla="*/ 120 h 129"/>
                <a:gd name="T68" fmla="*/ 36 w 153"/>
                <a:gd name="T69" fmla="*/ 112 h 129"/>
                <a:gd name="T70" fmla="*/ 27 w 153"/>
                <a:gd name="T71" fmla="*/ 103 h 129"/>
                <a:gd name="T72" fmla="*/ 20 w 153"/>
                <a:gd name="T73" fmla="*/ 99 h 129"/>
                <a:gd name="T74" fmla="*/ 12 w 153"/>
                <a:gd name="T75" fmla="*/ 99 h 129"/>
                <a:gd name="T76" fmla="*/ 9 w 153"/>
                <a:gd name="T77" fmla="*/ 101 h 129"/>
                <a:gd name="T78" fmla="*/ 0 w 153"/>
                <a:gd name="T79" fmla="*/ 101 h 129"/>
                <a:gd name="T80" fmla="*/ 0 w 153"/>
                <a:gd name="T81" fmla="*/ 71 h 129"/>
                <a:gd name="T82" fmla="*/ 6 w 153"/>
                <a:gd name="T83" fmla="*/ 56 h 129"/>
                <a:gd name="T84" fmla="*/ 11 w 153"/>
                <a:gd name="T85" fmla="*/ 52 h 129"/>
                <a:gd name="T86" fmla="*/ 11 w 153"/>
                <a:gd name="T87" fmla="*/ 46 h 129"/>
                <a:gd name="T88" fmla="*/ 12 w 153"/>
                <a:gd name="T89" fmla="*/ 44 h 129"/>
                <a:gd name="T90" fmla="*/ 12 w 153"/>
                <a:gd name="T91" fmla="*/ 37 h 129"/>
                <a:gd name="T92" fmla="*/ 9 w 153"/>
                <a:gd name="T93" fmla="*/ 34 h 129"/>
                <a:gd name="T94" fmla="*/ 9 w 153"/>
                <a:gd name="T95" fmla="*/ 32 h 129"/>
                <a:gd name="T96" fmla="*/ 11 w 153"/>
                <a:gd name="T97" fmla="*/ 29 h 129"/>
                <a:gd name="T98" fmla="*/ 11 w 153"/>
                <a:gd name="T99" fmla="*/ 19 h 129"/>
                <a:gd name="T100" fmla="*/ 15 w 153"/>
                <a:gd name="T101" fmla="*/ 13 h 129"/>
                <a:gd name="T102" fmla="*/ 18 w 153"/>
                <a:gd name="T103" fmla="*/ 6 h 129"/>
                <a:gd name="T104" fmla="*/ 29 w 153"/>
                <a:gd name="T105" fmla="*/ 1 h 129"/>
                <a:gd name="T106" fmla="*/ 32 w 153"/>
                <a:gd name="T107" fmla="*/ 1 h 129"/>
                <a:gd name="T108" fmla="*/ 36 w 153"/>
                <a:gd name="T10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 h="129">
                  <a:moveTo>
                    <a:pt x="36" y="0"/>
                  </a:moveTo>
                  <a:lnTo>
                    <a:pt x="39" y="0"/>
                  </a:lnTo>
                  <a:lnTo>
                    <a:pt x="55" y="12"/>
                  </a:lnTo>
                  <a:lnTo>
                    <a:pt x="69" y="6"/>
                  </a:lnTo>
                  <a:lnTo>
                    <a:pt x="77" y="12"/>
                  </a:lnTo>
                  <a:lnTo>
                    <a:pt x="86" y="15"/>
                  </a:lnTo>
                  <a:lnTo>
                    <a:pt x="98" y="6"/>
                  </a:lnTo>
                  <a:lnTo>
                    <a:pt x="116" y="6"/>
                  </a:lnTo>
                  <a:lnTo>
                    <a:pt x="125" y="9"/>
                  </a:lnTo>
                  <a:lnTo>
                    <a:pt x="134" y="3"/>
                  </a:lnTo>
                  <a:lnTo>
                    <a:pt x="135" y="0"/>
                  </a:lnTo>
                  <a:lnTo>
                    <a:pt x="150" y="17"/>
                  </a:lnTo>
                  <a:lnTo>
                    <a:pt x="153" y="22"/>
                  </a:lnTo>
                  <a:lnTo>
                    <a:pt x="153" y="29"/>
                  </a:lnTo>
                  <a:lnTo>
                    <a:pt x="141" y="40"/>
                  </a:lnTo>
                  <a:lnTo>
                    <a:pt x="132" y="66"/>
                  </a:lnTo>
                  <a:lnTo>
                    <a:pt x="125" y="72"/>
                  </a:lnTo>
                  <a:lnTo>
                    <a:pt x="115" y="96"/>
                  </a:lnTo>
                  <a:lnTo>
                    <a:pt x="115" y="98"/>
                  </a:lnTo>
                  <a:lnTo>
                    <a:pt x="109" y="99"/>
                  </a:lnTo>
                  <a:lnTo>
                    <a:pt x="109" y="98"/>
                  </a:lnTo>
                  <a:lnTo>
                    <a:pt x="103" y="93"/>
                  </a:lnTo>
                  <a:lnTo>
                    <a:pt x="89" y="93"/>
                  </a:lnTo>
                  <a:lnTo>
                    <a:pt x="80" y="106"/>
                  </a:lnTo>
                  <a:lnTo>
                    <a:pt x="76" y="121"/>
                  </a:lnTo>
                  <a:lnTo>
                    <a:pt x="74" y="121"/>
                  </a:lnTo>
                  <a:lnTo>
                    <a:pt x="73" y="120"/>
                  </a:lnTo>
                  <a:lnTo>
                    <a:pt x="72" y="124"/>
                  </a:lnTo>
                  <a:lnTo>
                    <a:pt x="64" y="124"/>
                  </a:lnTo>
                  <a:lnTo>
                    <a:pt x="61" y="123"/>
                  </a:lnTo>
                  <a:lnTo>
                    <a:pt x="58" y="123"/>
                  </a:lnTo>
                  <a:lnTo>
                    <a:pt x="55" y="126"/>
                  </a:lnTo>
                  <a:lnTo>
                    <a:pt x="46" y="129"/>
                  </a:lnTo>
                  <a:lnTo>
                    <a:pt x="36" y="120"/>
                  </a:lnTo>
                  <a:lnTo>
                    <a:pt x="36" y="112"/>
                  </a:lnTo>
                  <a:lnTo>
                    <a:pt x="27" y="103"/>
                  </a:lnTo>
                  <a:lnTo>
                    <a:pt x="20" y="99"/>
                  </a:lnTo>
                  <a:lnTo>
                    <a:pt x="12" y="99"/>
                  </a:lnTo>
                  <a:lnTo>
                    <a:pt x="9" y="101"/>
                  </a:lnTo>
                  <a:lnTo>
                    <a:pt x="0" y="101"/>
                  </a:lnTo>
                  <a:lnTo>
                    <a:pt x="0" y="71"/>
                  </a:lnTo>
                  <a:lnTo>
                    <a:pt x="6" y="56"/>
                  </a:lnTo>
                  <a:lnTo>
                    <a:pt x="11" y="52"/>
                  </a:lnTo>
                  <a:lnTo>
                    <a:pt x="11" y="46"/>
                  </a:lnTo>
                  <a:lnTo>
                    <a:pt x="12" y="44"/>
                  </a:lnTo>
                  <a:lnTo>
                    <a:pt x="12" y="37"/>
                  </a:lnTo>
                  <a:lnTo>
                    <a:pt x="9" y="34"/>
                  </a:lnTo>
                  <a:lnTo>
                    <a:pt x="9" y="32"/>
                  </a:lnTo>
                  <a:lnTo>
                    <a:pt x="11" y="29"/>
                  </a:lnTo>
                  <a:lnTo>
                    <a:pt x="11" y="19"/>
                  </a:lnTo>
                  <a:lnTo>
                    <a:pt x="15" y="13"/>
                  </a:lnTo>
                  <a:lnTo>
                    <a:pt x="18" y="6"/>
                  </a:lnTo>
                  <a:lnTo>
                    <a:pt x="29" y="1"/>
                  </a:lnTo>
                  <a:lnTo>
                    <a:pt x="32" y="1"/>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3" name="Niger">
              <a:extLst>
                <a:ext uri="{FF2B5EF4-FFF2-40B4-BE49-F238E27FC236}">
                  <a16:creationId xmlns:a16="http://schemas.microsoft.com/office/drawing/2014/main" id="{919A3480-03FB-229F-151D-8E6A4B6E58AC}"/>
                </a:ext>
              </a:extLst>
            </p:cNvPr>
            <p:cNvSpPr>
              <a:spLocks/>
            </p:cNvSpPr>
            <p:nvPr/>
          </p:nvSpPr>
          <p:spPr bwMode="auto">
            <a:xfrm>
              <a:off x="5827652" y="4021797"/>
              <a:ext cx="379483" cy="290938"/>
            </a:xfrm>
            <a:custGeom>
              <a:avLst/>
              <a:gdLst>
                <a:gd name="T0" fmla="*/ 152 w 210"/>
                <a:gd name="T1" fmla="*/ 0 h 161"/>
                <a:gd name="T2" fmla="*/ 181 w 210"/>
                <a:gd name="T3" fmla="*/ 0 h 161"/>
                <a:gd name="T4" fmla="*/ 192 w 210"/>
                <a:gd name="T5" fmla="*/ 7 h 161"/>
                <a:gd name="T6" fmla="*/ 195 w 210"/>
                <a:gd name="T7" fmla="*/ 6 h 161"/>
                <a:gd name="T8" fmla="*/ 197 w 210"/>
                <a:gd name="T9" fmla="*/ 6 h 161"/>
                <a:gd name="T10" fmla="*/ 197 w 210"/>
                <a:gd name="T11" fmla="*/ 28 h 161"/>
                <a:gd name="T12" fmla="*/ 201 w 210"/>
                <a:gd name="T13" fmla="*/ 35 h 161"/>
                <a:gd name="T14" fmla="*/ 209 w 210"/>
                <a:gd name="T15" fmla="*/ 41 h 161"/>
                <a:gd name="T16" fmla="*/ 210 w 210"/>
                <a:gd name="T17" fmla="*/ 41 h 161"/>
                <a:gd name="T18" fmla="*/ 210 w 210"/>
                <a:gd name="T19" fmla="*/ 43 h 161"/>
                <a:gd name="T20" fmla="*/ 209 w 210"/>
                <a:gd name="T21" fmla="*/ 43 h 161"/>
                <a:gd name="T22" fmla="*/ 206 w 210"/>
                <a:gd name="T23" fmla="*/ 49 h 161"/>
                <a:gd name="T24" fmla="*/ 203 w 210"/>
                <a:gd name="T25" fmla="*/ 68 h 161"/>
                <a:gd name="T26" fmla="*/ 201 w 210"/>
                <a:gd name="T27" fmla="*/ 90 h 161"/>
                <a:gd name="T28" fmla="*/ 178 w 210"/>
                <a:gd name="T29" fmla="*/ 115 h 161"/>
                <a:gd name="T30" fmla="*/ 175 w 210"/>
                <a:gd name="T31" fmla="*/ 124 h 161"/>
                <a:gd name="T32" fmla="*/ 178 w 210"/>
                <a:gd name="T33" fmla="*/ 124 h 161"/>
                <a:gd name="T34" fmla="*/ 178 w 210"/>
                <a:gd name="T35" fmla="*/ 126 h 161"/>
                <a:gd name="T36" fmla="*/ 170 w 210"/>
                <a:gd name="T37" fmla="*/ 126 h 161"/>
                <a:gd name="T38" fmla="*/ 170 w 210"/>
                <a:gd name="T39" fmla="*/ 136 h 161"/>
                <a:gd name="T40" fmla="*/ 161 w 210"/>
                <a:gd name="T41" fmla="*/ 142 h 161"/>
                <a:gd name="T42" fmla="*/ 160 w 210"/>
                <a:gd name="T43" fmla="*/ 142 h 161"/>
                <a:gd name="T44" fmla="*/ 151 w 210"/>
                <a:gd name="T45" fmla="*/ 139 h 161"/>
                <a:gd name="T46" fmla="*/ 135 w 210"/>
                <a:gd name="T47" fmla="*/ 139 h 161"/>
                <a:gd name="T48" fmla="*/ 121 w 210"/>
                <a:gd name="T49" fmla="*/ 148 h 161"/>
                <a:gd name="T50" fmla="*/ 112 w 210"/>
                <a:gd name="T51" fmla="*/ 145 h 161"/>
                <a:gd name="T52" fmla="*/ 104 w 210"/>
                <a:gd name="T53" fmla="*/ 139 h 161"/>
                <a:gd name="T54" fmla="*/ 90 w 210"/>
                <a:gd name="T55" fmla="*/ 145 h 161"/>
                <a:gd name="T56" fmla="*/ 74 w 210"/>
                <a:gd name="T57" fmla="*/ 133 h 161"/>
                <a:gd name="T58" fmla="*/ 64 w 210"/>
                <a:gd name="T59" fmla="*/ 135 h 161"/>
                <a:gd name="T60" fmla="*/ 55 w 210"/>
                <a:gd name="T61" fmla="*/ 138 h 161"/>
                <a:gd name="T62" fmla="*/ 52 w 210"/>
                <a:gd name="T63" fmla="*/ 145 h 161"/>
                <a:gd name="T64" fmla="*/ 47 w 210"/>
                <a:gd name="T65" fmla="*/ 151 h 161"/>
                <a:gd name="T66" fmla="*/ 47 w 210"/>
                <a:gd name="T67" fmla="*/ 161 h 161"/>
                <a:gd name="T68" fmla="*/ 46 w 210"/>
                <a:gd name="T69" fmla="*/ 161 h 161"/>
                <a:gd name="T70" fmla="*/ 37 w 210"/>
                <a:gd name="T71" fmla="*/ 152 h 161"/>
                <a:gd name="T72" fmla="*/ 32 w 210"/>
                <a:gd name="T73" fmla="*/ 154 h 161"/>
                <a:gd name="T74" fmla="*/ 32 w 210"/>
                <a:gd name="T75" fmla="*/ 157 h 161"/>
                <a:gd name="T76" fmla="*/ 31 w 210"/>
                <a:gd name="T77" fmla="*/ 158 h 161"/>
                <a:gd name="T78" fmla="*/ 26 w 210"/>
                <a:gd name="T79" fmla="*/ 154 h 161"/>
                <a:gd name="T80" fmla="*/ 26 w 210"/>
                <a:gd name="T81" fmla="*/ 152 h 161"/>
                <a:gd name="T82" fmla="*/ 28 w 210"/>
                <a:gd name="T83" fmla="*/ 151 h 161"/>
                <a:gd name="T84" fmla="*/ 26 w 210"/>
                <a:gd name="T85" fmla="*/ 148 h 161"/>
                <a:gd name="T86" fmla="*/ 18 w 210"/>
                <a:gd name="T87" fmla="*/ 148 h 161"/>
                <a:gd name="T88" fmla="*/ 4 w 210"/>
                <a:gd name="T89" fmla="*/ 130 h 161"/>
                <a:gd name="T90" fmla="*/ 0 w 210"/>
                <a:gd name="T91" fmla="*/ 123 h 161"/>
                <a:gd name="T92" fmla="*/ 1 w 210"/>
                <a:gd name="T93" fmla="*/ 117 h 161"/>
                <a:gd name="T94" fmla="*/ 10 w 210"/>
                <a:gd name="T95" fmla="*/ 117 h 161"/>
                <a:gd name="T96" fmla="*/ 16 w 210"/>
                <a:gd name="T97" fmla="*/ 111 h 161"/>
                <a:gd name="T98" fmla="*/ 44 w 210"/>
                <a:gd name="T99" fmla="*/ 111 h 161"/>
                <a:gd name="T100" fmla="*/ 50 w 210"/>
                <a:gd name="T101" fmla="*/ 104 h 161"/>
                <a:gd name="T102" fmla="*/ 53 w 210"/>
                <a:gd name="T103" fmla="*/ 102 h 161"/>
                <a:gd name="T104" fmla="*/ 53 w 210"/>
                <a:gd name="T105" fmla="*/ 59 h 161"/>
                <a:gd name="T106" fmla="*/ 74 w 210"/>
                <a:gd name="T107" fmla="*/ 55 h 161"/>
                <a:gd name="T108" fmla="*/ 102 w 210"/>
                <a:gd name="T109" fmla="*/ 32 h 161"/>
                <a:gd name="T110" fmla="*/ 152 w 210"/>
                <a:gd name="T11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0" h="161">
                  <a:moveTo>
                    <a:pt x="152" y="0"/>
                  </a:moveTo>
                  <a:lnTo>
                    <a:pt x="181" y="0"/>
                  </a:lnTo>
                  <a:lnTo>
                    <a:pt x="192" y="7"/>
                  </a:lnTo>
                  <a:lnTo>
                    <a:pt x="195" y="6"/>
                  </a:lnTo>
                  <a:lnTo>
                    <a:pt x="197" y="6"/>
                  </a:lnTo>
                  <a:lnTo>
                    <a:pt x="197" y="28"/>
                  </a:lnTo>
                  <a:lnTo>
                    <a:pt x="201" y="35"/>
                  </a:lnTo>
                  <a:lnTo>
                    <a:pt x="209" y="41"/>
                  </a:lnTo>
                  <a:lnTo>
                    <a:pt x="210" y="41"/>
                  </a:lnTo>
                  <a:lnTo>
                    <a:pt x="210" y="43"/>
                  </a:lnTo>
                  <a:lnTo>
                    <a:pt x="209" y="43"/>
                  </a:lnTo>
                  <a:lnTo>
                    <a:pt x="206" y="49"/>
                  </a:lnTo>
                  <a:lnTo>
                    <a:pt x="203" y="68"/>
                  </a:lnTo>
                  <a:lnTo>
                    <a:pt x="201" y="90"/>
                  </a:lnTo>
                  <a:lnTo>
                    <a:pt x="178" y="115"/>
                  </a:lnTo>
                  <a:lnTo>
                    <a:pt x="175" y="124"/>
                  </a:lnTo>
                  <a:lnTo>
                    <a:pt x="178" y="124"/>
                  </a:lnTo>
                  <a:lnTo>
                    <a:pt x="178" y="126"/>
                  </a:lnTo>
                  <a:lnTo>
                    <a:pt x="170" y="126"/>
                  </a:lnTo>
                  <a:lnTo>
                    <a:pt x="170" y="136"/>
                  </a:lnTo>
                  <a:lnTo>
                    <a:pt x="161" y="142"/>
                  </a:lnTo>
                  <a:lnTo>
                    <a:pt x="160" y="142"/>
                  </a:lnTo>
                  <a:lnTo>
                    <a:pt x="151" y="139"/>
                  </a:lnTo>
                  <a:lnTo>
                    <a:pt x="135" y="139"/>
                  </a:lnTo>
                  <a:lnTo>
                    <a:pt x="121" y="148"/>
                  </a:lnTo>
                  <a:lnTo>
                    <a:pt x="112" y="145"/>
                  </a:lnTo>
                  <a:lnTo>
                    <a:pt x="104" y="139"/>
                  </a:lnTo>
                  <a:lnTo>
                    <a:pt x="90" y="145"/>
                  </a:lnTo>
                  <a:lnTo>
                    <a:pt x="74" y="133"/>
                  </a:lnTo>
                  <a:lnTo>
                    <a:pt x="64" y="135"/>
                  </a:lnTo>
                  <a:lnTo>
                    <a:pt x="55" y="138"/>
                  </a:lnTo>
                  <a:lnTo>
                    <a:pt x="52" y="145"/>
                  </a:lnTo>
                  <a:lnTo>
                    <a:pt x="47" y="151"/>
                  </a:lnTo>
                  <a:lnTo>
                    <a:pt x="47" y="161"/>
                  </a:lnTo>
                  <a:lnTo>
                    <a:pt x="46" y="161"/>
                  </a:lnTo>
                  <a:lnTo>
                    <a:pt x="37" y="152"/>
                  </a:lnTo>
                  <a:lnTo>
                    <a:pt x="32" y="154"/>
                  </a:lnTo>
                  <a:lnTo>
                    <a:pt x="32" y="157"/>
                  </a:lnTo>
                  <a:lnTo>
                    <a:pt x="31" y="158"/>
                  </a:lnTo>
                  <a:lnTo>
                    <a:pt x="26" y="154"/>
                  </a:lnTo>
                  <a:lnTo>
                    <a:pt x="26" y="152"/>
                  </a:lnTo>
                  <a:lnTo>
                    <a:pt x="28" y="151"/>
                  </a:lnTo>
                  <a:lnTo>
                    <a:pt x="26" y="148"/>
                  </a:lnTo>
                  <a:lnTo>
                    <a:pt x="18" y="148"/>
                  </a:lnTo>
                  <a:lnTo>
                    <a:pt x="4" y="130"/>
                  </a:lnTo>
                  <a:lnTo>
                    <a:pt x="0" y="123"/>
                  </a:lnTo>
                  <a:lnTo>
                    <a:pt x="1" y="117"/>
                  </a:lnTo>
                  <a:lnTo>
                    <a:pt x="10" y="117"/>
                  </a:lnTo>
                  <a:lnTo>
                    <a:pt x="16" y="111"/>
                  </a:lnTo>
                  <a:lnTo>
                    <a:pt x="44" y="111"/>
                  </a:lnTo>
                  <a:lnTo>
                    <a:pt x="50" y="104"/>
                  </a:lnTo>
                  <a:lnTo>
                    <a:pt x="53" y="102"/>
                  </a:lnTo>
                  <a:lnTo>
                    <a:pt x="53" y="59"/>
                  </a:lnTo>
                  <a:lnTo>
                    <a:pt x="74" y="55"/>
                  </a:lnTo>
                  <a:lnTo>
                    <a:pt x="102" y="32"/>
                  </a:lnTo>
                  <a:lnTo>
                    <a:pt x="152"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4" name="Namibia">
              <a:extLst>
                <a:ext uri="{FF2B5EF4-FFF2-40B4-BE49-F238E27FC236}">
                  <a16:creationId xmlns:a16="http://schemas.microsoft.com/office/drawing/2014/main" id="{D0C011CD-3F5F-2759-07A1-AF7B167E0D56}"/>
                </a:ext>
              </a:extLst>
            </p:cNvPr>
            <p:cNvSpPr>
              <a:spLocks/>
            </p:cNvSpPr>
            <p:nvPr/>
          </p:nvSpPr>
          <p:spPr bwMode="auto">
            <a:xfrm>
              <a:off x="6100517" y="4988576"/>
              <a:ext cx="321657" cy="312622"/>
            </a:xfrm>
            <a:custGeom>
              <a:avLst/>
              <a:gdLst>
                <a:gd name="T0" fmla="*/ 13 w 178"/>
                <a:gd name="T1" fmla="*/ 0 h 173"/>
                <a:gd name="T2" fmla="*/ 19 w 178"/>
                <a:gd name="T3" fmla="*/ 0 h 173"/>
                <a:gd name="T4" fmla="*/ 30 w 178"/>
                <a:gd name="T5" fmla="*/ 6 h 173"/>
                <a:gd name="T6" fmla="*/ 87 w 178"/>
                <a:gd name="T7" fmla="*/ 6 h 173"/>
                <a:gd name="T8" fmla="*/ 98 w 178"/>
                <a:gd name="T9" fmla="*/ 12 h 173"/>
                <a:gd name="T10" fmla="*/ 111 w 178"/>
                <a:gd name="T11" fmla="*/ 12 h 173"/>
                <a:gd name="T12" fmla="*/ 129 w 178"/>
                <a:gd name="T13" fmla="*/ 16 h 173"/>
                <a:gd name="T14" fmla="*/ 151 w 178"/>
                <a:gd name="T15" fmla="*/ 10 h 173"/>
                <a:gd name="T16" fmla="*/ 163 w 178"/>
                <a:gd name="T17" fmla="*/ 7 h 173"/>
                <a:gd name="T18" fmla="*/ 172 w 178"/>
                <a:gd name="T19" fmla="*/ 9 h 173"/>
                <a:gd name="T20" fmla="*/ 178 w 178"/>
                <a:gd name="T21" fmla="*/ 13 h 173"/>
                <a:gd name="T22" fmla="*/ 172 w 178"/>
                <a:gd name="T23" fmla="*/ 13 h 173"/>
                <a:gd name="T24" fmla="*/ 165 w 178"/>
                <a:gd name="T25" fmla="*/ 18 h 173"/>
                <a:gd name="T26" fmla="*/ 157 w 178"/>
                <a:gd name="T27" fmla="*/ 25 h 173"/>
                <a:gd name="T28" fmla="*/ 156 w 178"/>
                <a:gd name="T29" fmla="*/ 25 h 173"/>
                <a:gd name="T30" fmla="*/ 153 w 178"/>
                <a:gd name="T31" fmla="*/ 19 h 173"/>
                <a:gd name="T32" fmla="*/ 147 w 178"/>
                <a:gd name="T33" fmla="*/ 18 h 173"/>
                <a:gd name="T34" fmla="*/ 122 w 178"/>
                <a:gd name="T35" fmla="*/ 24 h 173"/>
                <a:gd name="T36" fmla="*/ 122 w 178"/>
                <a:gd name="T37" fmla="*/ 71 h 173"/>
                <a:gd name="T38" fmla="*/ 110 w 178"/>
                <a:gd name="T39" fmla="*/ 71 h 173"/>
                <a:gd name="T40" fmla="*/ 110 w 178"/>
                <a:gd name="T41" fmla="*/ 166 h 173"/>
                <a:gd name="T42" fmla="*/ 108 w 178"/>
                <a:gd name="T43" fmla="*/ 166 h 173"/>
                <a:gd name="T44" fmla="*/ 98 w 178"/>
                <a:gd name="T45" fmla="*/ 173 h 173"/>
                <a:gd name="T46" fmla="*/ 80 w 178"/>
                <a:gd name="T47" fmla="*/ 173 h 173"/>
                <a:gd name="T48" fmla="*/ 79 w 178"/>
                <a:gd name="T49" fmla="*/ 172 h 173"/>
                <a:gd name="T50" fmla="*/ 77 w 178"/>
                <a:gd name="T51" fmla="*/ 166 h 173"/>
                <a:gd name="T52" fmla="*/ 71 w 178"/>
                <a:gd name="T53" fmla="*/ 163 h 173"/>
                <a:gd name="T54" fmla="*/ 64 w 178"/>
                <a:gd name="T55" fmla="*/ 167 h 173"/>
                <a:gd name="T56" fmla="*/ 62 w 178"/>
                <a:gd name="T57" fmla="*/ 167 h 173"/>
                <a:gd name="T58" fmla="*/ 53 w 178"/>
                <a:gd name="T59" fmla="*/ 160 h 173"/>
                <a:gd name="T60" fmla="*/ 46 w 178"/>
                <a:gd name="T61" fmla="*/ 150 h 173"/>
                <a:gd name="T62" fmla="*/ 41 w 178"/>
                <a:gd name="T63" fmla="*/ 124 h 173"/>
                <a:gd name="T64" fmla="*/ 40 w 178"/>
                <a:gd name="T65" fmla="*/ 114 h 173"/>
                <a:gd name="T66" fmla="*/ 36 w 178"/>
                <a:gd name="T67" fmla="*/ 102 h 173"/>
                <a:gd name="T68" fmla="*/ 36 w 178"/>
                <a:gd name="T69" fmla="*/ 80 h 173"/>
                <a:gd name="T70" fmla="*/ 13 w 178"/>
                <a:gd name="T71" fmla="*/ 37 h 173"/>
                <a:gd name="T72" fmla="*/ 0 w 178"/>
                <a:gd name="T73" fmla="*/ 18 h 173"/>
                <a:gd name="T74" fmla="*/ 0 w 178"/>
                <a:gd name="T75" fmla="*/ 6 h 173"/>
                <a:gd name="T76" fmla="*/ 6 w 178"/>
                <a:gd name="T77" fmla="*/ 3 h 173"/>
                <a:gd name="T78" fmla="*/ 7 w 178"/>
                <a:gd name="T79" fmla="*/ 3 h 173"/>
                <a:gd name="T80" fmla="*/ 13 w 178"/>
                <a:gd name="T8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173">
                  <a:moveTo>
                    <a:pt x="13" y="0"/>
                  </a:moveTo>
                  <a:lnTo>
                    <a:pt x="19" y="0"/>
                  </a:lnTo>
                  <a:lnTo>
                    <a:pt x="30" y="6"/>
                  </a:lnTo>
                  <a:lnTo>
                    <a:pt x="87" y="6"/>
                  </a:lnTo>
                  <a:lnTo>
                    <a:pt x="98" y="12"/>
                  </a:lnTo>
                  <a:lnTo>
                    <a:pt x="111" y="12"/>
                  </a:lnTo>
                  <a:lnTo>
                    <a:pt x="129" y="16"/>
                  </a:lnTo>
                  <a:lnTo>
                    <a:pt x="151" y="10"/>
                  </a:lnTo>
                  <a:lnTo>
                    <a:pt x="163" y="7"/>
                  </a:lnTo>
                  <a:lnTo>
                    <a:pt x="172" y="9"/>
                  </a:lnTo>
                  <a:lnTo>
                    <a:pt x="178" y="13"/>
                  </a:lnTo>
                  <a:lnTo>
                    <a:pt x="172" y="13"/>
                  </a:lnTo>
                  <a:lnTo>
                    <a:pt x="165" y="18"/>
                  </a:lnTo>
                  <a:lnTo>
                    <a:pt x="157" y="25"/>
                  </a:lnTo>
                  <a:lnTo>
                    <a:pt x="156" y="25"/>
                  </a:lnTo>
                  <a:lnTo>
                    <a:pt x="153" y="19"/>
                  </a:lnTo>
                  <a:lnTo>
                    <a:pt x="147" y="18"/>
                  </a:lnTo>
                  <a:lnTo>
                    <a:pt x="122" y="24"/>
                  </a:lnTo>
                  <a:lnTo>
                    <a:pt x="122" y="71"/>
                  </a:lnTo>
                  <a:lnTo>
                    <a:pt x="110" y="71"/>
                  </a:lnTo>
                  <a:lnTo>
                    <a:pt x="110" y="166"/>
                  </a:lnTo>
                  <a:lnTo>
                    <a:pt x="108" y="166"/>
                  </a:lnTo>
                  <a:lnTo>
                    <a:pt x="98" y="173"/>
                  </a:lnTo>
                  <a:lnTo>
                    <a:pt x="80" y="173"/>
                  </a:lnTo>
                  <a:lnTo>
                    <a:pt x="79" y="172"/>
                  </a:lnTo>
                  <a:lnTo>
                    <a:pt x="77" y="166"/>
                  </a:lnTo>
                  <a:lnTo>
                    <a:pt x="71" y="163"/>
                  </a:lnTo>
                  <a:lnTo>
                    <a:pt x="64" y="167"/>
                  </a:lnTo>
                  <a:lnTo>
                    <a:pt x="62" y="167"/>
                  </a:lnTo>
                  <a:lnTo>
                    <a:pt x="53" y="160"/>
                  </a:lnTo>
                  <a:lnTo>
                    <a:pt x="46" y="150"/>
                  </a:lnTo>
                  <a:lnTo>
                    <a:pt x="41" y="124"/>
                  </a:lnTo>
                  <a:lnTo>
                    <a:pt x="40" y="114"/>
                  </a:lnTo>
                  <a:lnTo>
                    <a:pt x="36" y="102"/>
                  </a:lnTo>
                  <a:lnTo>
                    <a:pt x="36" y="80"/>
                  </a:lnTo>
                  <a:lnTo>
                    <a:pt x="13" y="37"/>
                  </a:lnTo>
                  <a:lnTo>
                    <a:pt x="0" y="18"/>
                  </a:lnTo>
                  <a:lnTo>
                    <a:pt x="0" y="6"/>
                  </a:lnTo>
                  <a:lnTo>
                    <a:pt x="6" y="3"/>
                  </a:lnTo>
                  <a:lnTo>
                    <a:pt x="7" y="3"/>
                  </a:lnTo>
                  <a:lnTo>
                    <a:pt x="1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5" name="Mali">
              <a:extLst>
                <a:ext uri="{FF2B5EF4-FFF2-40B4-BE49-F238E27FC236}">
                  <a16:creationId xmlns:a16="http://schemas.microsoft.com/office/drawing/2014/main" id="{BC1F7792-5654-10C4-7F4F-C7E2D6F69E29}"/>
                </a:ext>
              </a:extLst>
            </p:cNvPr>
            <p:cNvSpPr>
              <a:spLocks/>
            </p:cNvSpPr>
            <p:nvPr/>
          </p:nvSpPr>
          <p:spPr bwMode="auto">
            <a:xfrm>
              <a:off x="5540328" y="3980235"/>
              <a:ext cx="386711" cy="370448"/>
            </a:xfrm>
            <a:custGeom>
              <a:avLst/>
              <a:gdLst>
                <a:gd name="T0" fmla="*/ 95 w 214"/>
                <a:gd name="T1" fmla="*/ 0 h 205"/>
                <a:gd name="T2" fmla="*/ 175 w 214"/>
                <a:gd name="T3" fmla="*/ 58 h 205"/>
                <a:gd name="T4" fmla="*/ 184 w 214"/>
                <a:gd name="T5" fmla="*/ 66 h 205"/>
                <a:gd name="T6" fmla="*/ 202 w 214"/>
                <a:gd name="T7" fmla="*/ 73 h 205"/>
                <a:gd name="T8" fmla="*/ 202 w 214"/>
                <a:gd name="T9" fmla="*/ 85 h 205"/>
                <a:gd name="T10" fmla="*/ 214 w 214"/>
                <a:gd name="T11" fmla="*/ 82 h 205"/>
                <a:gd name="T12" fmla="*/ 211 w 214"/>
                <a:gd name="T13" fmla="*/ 128 h 205"/>
                <a:gd name="T14" fmla="*/ 177 w 214"/>
                <a:gd name="T15" fmla="*/ 135 h 205"/>
                <a:gd name="T16" fmla="*/ 160 w 214"/>
                <a:gd name="T17" fmla="*/ 141 h 205"/>
                <a:gd name="T18" fmla="*/ 128 w 214"/>
                <a:gd name="T19" fmla="*/ 159 h 205"/>
                <a:gd name="T20" fmla="*/ 104 w 214"/>
                <a:gd name="T21" fmla="*/ 177 h 205"/>
                <a:gd name="T22" fmla="*/ 92 w 214"/>
                <a:gd name="T23" fmla="*/ 202 h 205"/>
                <a:gd name="T24" fmla="*/ 86 w 214"/>
                <a:gd name="T25" fmla="*/ 201 h 205"/>
                <a:gd name="T26" fmla="*/ 79 w 214"/>
                <a:gd name="T27" fmla="*/ 204 h 205"/>
                <a:gd name="T28" fmla="*/ 77 w 214"/>
                <a:gd name="T29" fmla="*/ 198 h 205"/>
                <a:gd name="T30" fmla="*/ 71 w 214"/>
                <a:gd name="T31" fmla="*/ 201 h 205"/>
                <a:gd name="T32" fmla="*/ 68 w 214"/>
                <a:gd name="T33" fmla="*/ 204 h 205"/>
                <a:gd name="T34" fmla="*/ 61 w 214"/>
                <a:gd name="T35" fmla="*/ 201 h 205"/>
                <a:gd name="T36" fmla="*/ 55 w 214"/>
                <a:gd name="T37" fmla="*/ 205 h 205"/>
                <a:gd name="T38" fmla="*/ 51 w 214"/>
                <a:gd name="T39" fmla="*/ 199 h 205"/>
                <a:gd name="T40" fmla="*/ 46 w 214"/>
                <a:gd name="T41" fmla="*/ 195 h 205"/>
                <a:gd name="T42" fmla="*/ 45 w 214"/>
                <a:gd name="T43" fmla="*/ 193 h 205"/>
                <a:gd name="T44" fmla="*/ 43 w 214"/>
                <a:gd name="T45" fmla="*/ 184 h 205"/>
                <a:gd name="T46" fmla="*/ 37 w 214"/>
                <a:gd name="T47" fmla="*/ 174 h 205"/>
                <a:gd name="T48" fmla="*/ 33 w 214"/>
                <a:gd name="T49" fmla="*/ 180 h 205"/>
                <a:gd name="T50" fmla="*/ 25 w 214"/>
                <a:gd name="T51" fmla="*/ 177 h 205"/>
                <a:gd name="T52" fmla="*/ 17 w 214"/>
                <a:gd name="T53" fmla="*/ 177 h 205"/>
                <a:gd name="T54" fmla="*/ 11 w 214"/>
                <a:gd name="T55" fmla="*/ 167 h 205"/>
                <a:gd name="T56" fmla="*/ 3 w 214"/>
                <a:gd name="T57" fmla="*/ 153 h 205"/>
                <a:gd name="T58" fmla="*/ 0 w 214"/>
                <a:gd name="T59" fmla="*/ 141 h 205"/>
                <a:gd name="T60" fmla="*/ 9 w 214"/>
                <a:gd name="T61" fmla="*/ 127 h 205"/>
                <a:gd name="T62" fmla="*/ 14 w 214"/>
                <a:gd name="T63" fmla="*/ 128 h 205"/>
                <a:gd name="T64" fmla="*/ 21 w 214"/>
                <a:gd name="T65" fmla="*/ 137 h 205"/>
                <a:gd name="T66" fmla="*/ 86 w 214"/>
                <a:gd name="T67" fmla="*/ 132 h 205"/>
                <a:gd name="T68" fmla="*/ 85 w 214"/>
                <a:gd name="T69" fmla="*/ 122 h 205"/>
                <a:gd name="T70" fmla="*/ 71 w 214"/>
                <a:gd name="T71" fmla="*/ 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05">
                  <a:moveTo>
                    <a:pt x="71" y="0"/>
                  </a:moveTo>
                  <a:lnTo>
                    <a:pt x="95" y="0"/>
                  </a:lnTo>
                  <a:lnTo>
                    <a:pt x="174" y="54"/>
                  </a:lnTo>
                  <a:lnTo>
                    <a:pt x="175" y="58"/>
                  </a:lnTo>
                  <a:lnTo>
                    <a:pt x="180" y="61"/>
                  </a:lnTo>
                  <a:lnTo>
                    <a:pt x="184" y="66"/>
                  </a:lnTo>
                  <a:lnTo>
                    <a:pt x="200" y="73"/>
                  </a:lnTo>
                  <a:lnTo>
                    <a:pt x="202" y="73"/>
                  </a:lnTo>
                  <a:lnTo>
                    <a:pt x="200" y="84"/>
                  </a:lnTo>
                  <a:lnTo>
                    <a:pt x="202" y="85"/>
                  </a:lnTo>
                  <a:lnTo>
                    <a:pt x="212" y="82"/>
                  </a:lnTo>
                  <a:lnTo>
                    <a:pt x="214" y="82"/>
                  </a:lnTo>
                  <a:lnTo>
                    <a:pt x="214" y="127"/>
                  </a:lnTo>
                  <a:lnTo>
                    <a:pt x="211" y="128"/>
                  </a:lnTo>
                  <a:lnTo>
                    <a:pt x="205" y="135"/>
                  </a:lnTo>
                  <a:lnTo>
                    <a:pt x="177" y="135"/>
                  </a:lnTo>
                  <a:lnTo>
                    <a:pt x="171" y="141"/>
                  </a:lnTo>
                  <a:lnTo>
                    <a:pt x="160" y="141"/>
                  </a:lnTo>
                  <a:lnTo>
                    <a:pt x="148" y="143"/>
                  </a:lnTo>
                  <a:lnTo>
                    <a:pt x="128" y="159"/>
                  </a:lnTo>
                  <a:lnTo>
                    <a:pt x="108" y="165"/>
                  </a:lnTo>
                  <a:lnTo>
                    <a:pt x="104" y="177"/>
                  </a:lnTo>
                  <a:lnTo>
                    <a:pt x="94" y="187"/>
                  </a:lnTo>
                  <a:lnTo>
                    <a:pt x="92" y="202"/>
                  </a:lnTo>
                  <a:lnTo>
                    <a:pt x="88" y="202"/>
                  </a:lnTo>
                  <a:lnTo>
                    <a:pt x="86" y="201"/>
                  </a:lnTo>
                  <a:lnTo>
                    <a:pt x="83" y="201"/>
                  </a:lnTo>
                  <a:lnTo>
                    <a:pt x="79" y="204"/>
                  </a:lnTo>
                  <a:lnTo>
                    <a:pt x="77" y="204"/>
                  </a:lnTo>
                  <a:lnTo>
                    <a:pt x="77" y="198"/>
                  </a:lnTo>
                  <a:lnTo>
                    <a:pt x="73" y="198"/>
                  </a:lnTo>
                  <a:lnTo>
                    <a:pt x="71" y="201"/>
                  </a:lnTo>
                  <a:lnTo>
                    <a:pt x="71" y="202"/>
                  </a:lnTo>
                  <a:lnTo>
                    <a:pt x="68" y="204"/>
                  </a:lnTo>
                  <a:lnTo>
                    <a:pt x="67" y="204"/>
                  </a:lnTo>
                  <a:lnTo>
                    <a:pt x="61" y="201"/>
                  </a:lnTo>
                  <a:lnTo>
                    <a:pt x="55" y="204"/>
                  </a:lnTo>
                  <a:lnTo>
                    <a:pt x="55" y="205"/>
                  </a:lnTo>
                  <a:lnTo>
                    <a:pt x="54" y="204"/>
                  </a:lnTo>
                  <a:lnTo>
                    <a:pt x="51" y="199"/>
                  </a:lnTo>
                  <a:lnTo>
                    <a:pt x="51" y="193"/>
                  </a:lnTo>
                  <a:lnTo>
                    <a:pt x="46" y="195"/>
                  </a:lnTo>
                  <a:lnTo>
                    <a:pt x="45" y="195"/>
                  </a:lnTo>
                  <a:lnTo>
                    <a:pt x="45" y="193"/>
                  </a:lnTo>
                  <a:lnTo>
                    <a:pt x="49" y="187"/>
                  </a:lnTo>
                  <a:lnTo>
                    <a:pt x="43" y="184"/>
                  </a:lnTo>
                  <a:lnTo>
                    <a:pt x="40" y="174"/>
                  </a:lnTo>
                  <a:lnTo>
                    <a:pt x="37" y="174"/>
                  </a:lnTo>
                  <a:lnTo>
                    <a:pt x="33" y="178"/>
                  </a:lnTo>
                  <a:lnTo>
                    <a:pt x="33" y="180"/>
                  </a:lnTo>
                  <a:lnTo>
                    <a:pt x="31" y="180"/>
                  </a:lnTo>
                  <a:lnTo>
                    <a:pt x="25" y="177"/>
                  </a:lnTo>
                  <a:lnTo>
                    <a:pt x="21" y="181"/>
                  </a:lnTo>
                  <a:lnTo>
                    <a:pt x="17" y="177"/>
                  </a:lnTo>
                  <a:lnTo>
                    <a:pt x="11" y="180"/>
                  </a:lnTo>
                  <a:lnTo>
                    <a:pt x="11" y="167"/>
                  </a:lnTo>
                  <a:lnTo>
                    <a:pt x="2" y="158"/>
                  </a:lnTo>
                  <a:lnTo>
                    <a:pt x="3" y="153"/>
                  </a:lnTo>
                  <a:lnTo>
                    <a:pt x="0" y="143"/>
                  </a:lnTo>
                  <a:lnTo>
                    <a:pt x="0" y="141"/>
                  </a:lnTo>
                  <a:lnTo>
                    <a:pt x="5" y="137"/>
                  </a:lnTo>
                  <a:lnTo>
                    <a:pt x="9" y="127"/>
                  </a:lnTo>
                  <a:lnTo>
                    <a:pt x="11" y="127"/>
                  </a:lnTo>
                  <a:lnTo>
                    <a:pt x="14" y="128"/>
                  </a:lnTo>
                  <a:lnTo>
                    <a:pt x="18" y="135"/>
                  </a:lnTo>
                  <a:lnTo>
                    <a:pt x="21" y="137"/>
                  </a:lnTo>
                  <a:lnTo>
                    <a:pt x="27" y="131"/>
                  </a:lnTo>
                  <a:lnTo>
                    <a:pt x="86" y="132"/>
                  </a:lnTo>
                  <a:lnTo>
                    <a:pt x="89" y="122"/>
                  </a:lnTo>
                  <a:lnTo>
                    <a:pt x="85" y="122"/>
                  </a:lnTo>
                  <a:lnTo>
                    <a:pt x="83" y="121"/>
                  </a:lnTo>
                  <a:lnTo>
                    <a:pt x="71" y="2"/>
                  </a:lnTo>
                  <a:lnTo>
                    <a:pt x="7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6" name="Madagascar">
              <a:extLst>
                <a:ext uri="{FF2B5EF4-FFF2-40B4-BE49-F238E27FC236}">
                  <a16:creationId xmlns:a16="http://schemas.microsoft.com/office/drawing/2014/main" id="{344819FE-E1F3-E2FA-9B04-C697D32D0094}"/>
                </a:ext>
              </a:extLst>
            </p:cNvPr>
            <p:cNvSpPr>
              <a:spLocks/>
            </p:cNvSpPr>
            <p:nvPr/>
          </p:nvSpPr>
          <p:spPr bwMode="auto">
            <a:xfrm>
              <a:off x="6843220" y="4876538"/>
              <a:ext cx="169864" cy="336114"/>
            </a:xfrm>
            <a:custGeom>
              <a:avLst/>
              <a:gdLst>
                <a:gd name="T0" fmla="*/ 78 w 94"/>
                <a:gd name="T1" fmla="*/ 0 h 186"/>
                <a:gd name="T2" fmla="*/ 87 w 94"/>
                <a:gd name="T3" fmla="*/ 12 h 186"/>
                <a:gd name="T4" fmla="*/ 94 w 94"/>
                <a:gd name="T5" fmla="*/ 43 h 186"/>
                <a:gd name="T6" fmla="*/ 93 w 94"/>
                <a:gd name="T7" fmla="*/ 50 h 186"/>
                <a:gd name="T8" fmla="*/ 90 w 94"/>
                <a:gd name="T9" fmla="*/ 50 h 186"/>
                <a:gd name="T10" fmla="*/ 89 w 94"/>
                <a:gd name="T11" fmla="*/ 44 h 186"/>
                <a:gd name="T12" fmla="*/ 87 w 94"/>
                <a:gd name="T13" fmla="*/ 44 h 186"/>
                <a:gd name="T14" fmla="*/ 87 w 94"/>
                <a:gd name="T15" fmla="*/ 59 h 186"/>
                <a:gd name="T16" fmla="*/ 83 w 94"/>
                <a:gd name="T17" fmla="*/ 66 h 186"/>
                <a:gd name="T18" fmla="*/ 80 w 94"/>
                <a:gd name="T19" fmla="*/ 87 h 186"/>
                <a:gd name="T20" fmla="*/ 54 w 94"/>
                <a:gd name="T21" fmla="*/ 170 h 186"/>
                <a:gd name="T22" fmla="*/ 47 w 94"/>
                <a:gd name="T23" fmla="*/ 179 h 186"/>
                <a:gd name="T24" fmla="*/ 38 w 94"/>
                <a:gd name="T25" fmla="*/ 181 h 186"/>
                <a:gd name="T26" fmla="*/ 26 w 94"/>
                <a:gd name="T27" fmla="*/ 186 h 186"/>
                <a:gd name="T28" fmla="*/ 26 w 94"/>
                <a:gd name="T29" fmla="*/ 185 h 186"/>
                <a:gd name="T30" fmla="*/ 11 w 94"/>
                <a:gd name="T31" fmla="*/ 176 h 186"/>
                <a:gd name="T32" fmla="*/ 8 w 94"/>
                <a:gd name="T33" fmla="*/ 172 h 186"/>
                <a:gd name="T34" fmla="*/ 7 w 94"/>
                <a:gd name="T35" fmla="*/ 155 h 186"/>
                <a:gd name="T36" fmla="*/ 1 w 94"/>
                <a:gd name="T37" fmla="*/ 143 h 186"/>
                <a:gd name="T38" fmla="*/ 0 w 94"/>
                <a:gd name="T39" fmla="*/ 132 h 186"/>
                <a:gd name="T40" fmla="*/ 17 w 94"/>
                <a:gd name="T41" fmla="*/ 103 h 186"/>
                <a:gd name="T42" fmla="*/ 8 w 94"/>
                <a:gd name="T43" fmla="*/ 72 h 186"/>
                <a:gd name="T44" fmla="*/ 8 w 94"/>
                <a:gd name="T45" fmla="*/ 71 h 186"/>
                <a:gd name="T46" fmla="*/ 16 w 94"/>
                <a:gd name="T47" fmla="*/ 59 h 186"/>
                <a:gd name="T48" fmla="*/ 16 w 94"/>
                <a:gd name="T49" fmla="*/ 55 h 186"/>
                <a:gd name="T50" fmla="*/ 26 w 94"/>
                <a:gd name="T51" fmla="*/ 50 h 186"/>
                <a:gd name="T52" fmla="*/ 28 w 94"/>
                <a:gd name="T53" fmla="*/ 52 h 186"/>
                <a:gd name="T54" fmla="*/ 37 w 94"/>
                <a:gd name="T55" fmla="*/ 47 h 186"/>
                <a:gd name="T56" fmla="*/ 38 w 94"/>
                <a:gd name="T57" fmla="*/ 47 h 186"/>
                <a:gd name="T58" fmla="*/ 41 w 94"/>
                <a:gd name="T59" fmla="*/ 52 h 186"/>
                <a:gd name="T60" fmla="*/ 44 w 94"/>
                <a:gd name="T61" fmla="*/ 52 h 186"/>
                <a:gd name="T62" fmla="*/ 41 w 94"/>
                <a:gd name="T63" fmla="*/ 46 h 186"/>
                <a:gd name="T64" fmla="*/ 41 w 94"/>
                <a:gd name="T65" fmla="*/ 44 h 186"/>
                <a:gd name="T66" fmla="*/ 47 w 94"/>
                <a:gd name="T67" fmla="*/ 41 h 186"/>
                <a:gd name="T68" fmla="*/ 48 w 94"/>
                <a:gd name="T69" fmla="*/ 41 h 186"/>
                <a:gd name="T70" fmla="*/ 50 w 94"/>
                <a:gd name="T71" fmla="*/ 44 h 186"/>
                <a:gd name="T72" fmla="*/ 51 w 94"/>
                <a:gd name="T73" fmla="*/ 44 h 186"/>
                <a:gd name="T74" fmla="*/ 50 w 94"/>
                <a:gd name="T75" fmla="*/ 40 h 186"/>
                <a:gd name="T76" fmla="*/ 53 w 94"/>
                <a:gd name="T77" fmla="*/ 35 h 186"/>
                <a:gd name="T78" fmla="*/ 54 w 94"/>
                <a:gd name="T79" fmla="*/ 32 h 186"/>
                <a:gd name="T80" fmla="*/ 56 w 94"/>
                <a:gd name="T81" fmla="*/ 32 h 186"/>
                <a:gd name="T82" fmla="*/ 56 w 94"/>
                <a:gd name="T83" fmla="*/ 37 h 186"/>
                <a:gd name="T84" fmla="*/ 59 w 94"/>
                <a:gd name="T85" fmla="*/ 32 h 186"/>
                <a:gd name="T86" fmla="*/ 62 w 94"/>
                <a:gd name="T87" fmla="*/ 32 h 186"/>
                <a:gd name="T88" fmla="*/ 59 w 94"/>
                <a:gd name="T89" fmla="*/ 29 h 186"/>
                <a:gd name="T90" fmla="*/ 57 w 94"/>
                <a:gd name="T91" fmla="*/ 29 h 186"/>
                <a:gd name="T92" fmla="*/ 60 w 94"/>
                <a:gd name="T93" fmla="*/ 25 h 186"/>
                <a:gd name="T94" fmla="*/ 62 w 94"/>
                <a:gd name="T95" fmla="*/ 25 h 186"/>
                <a:gd name="T96" fmla="*/ 60 w 94"/>
                <a:gd name="T97" fmla="*/ 19 h 186"/>
                <a:gd name="T98" fmla="*/ 65 w 94"/>
                <a:gd name="T99" fmla="*/ 19 h 186"/>
                <a:gd name="T100" fmla="*/ 65 w 94"/>
                <a:gd name="T101" fmla="*/ 20 h 186"/>
                <a:gd name="T102" fmla="*/ 68 w 94"/>
                <a:gd name="T103" fmla="*/ 15 h 186"/>
                <a:gd name="T104" fmla="*/ 72 w 94"/>
                <a:gd name="T105" fmla="*/ 15 h 186"/>
                <a:gd name="T106" fmla="*/ 72 w 94"/>
                <a:gd name="T107" fmla="*/ 3 h 186"/>
                <a:gd name="T108" fmla="*/ 78 w 94"/>
                <a:gd name="T10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 h="186">
                  <a:moveTo>
                    <a:pt x="78" y="0"/>
                  </a:moveTo>
                  <a:lnTo>
                    <a:pt x="87" y="12"/>
                  </a:lnTo>
                  <a:lnTo>
                    <a:pt x="94" y="43"/>
                  </a:lnTo>
                  <a:lnTo>
                    <a:pt x="93" y="50"/>
                  </a:lnTo>
                  <a:lnTo>
                    <a:pt x="90" y="50"/>
                  </a:lnTo>
                  <a:lnTo>
                    <a:pt x="89" y="44"/>
                  </a:lnTo>
                  <a:lnTo>
                    <a:pt x="87" y="44"/>
                  </a:lnTo>
                  <a:lnTo>
                    <a:pt x="87" y="59"/>
                  </a:lnTo>
                  <a:lnTo>
                    <a:pt x="83" y="66"/>
                  </a:lnTo>
                  <a:lnTo>
                    <a:pt x="80" y="87"/>
                  </a:lnTo>
                  <a:lnTo>
                    <a:pt x="54" y="170"/>
                  </a:lnTo>
                  <a:lnTo>
                    <a:pt x="47" y="179"/>
                  </a:lnTo>
                  <a:lnTo>
                    <a:pt x="38" y="181"/>
                  </a:lnTo>
                  <a:lnTo>
                    <a:pt x="26" y="186"/>
                  </a:lnTo>
                  <a:lnTo>
                    <a:pt x="26" y="185"/>
                  </a:lnTo>
                  <a:lnTo>
                    <a:pt x="11" y="176"/>
                  </a:lnTo>
                  <a:lnTo>
                    <a:pt x="8" y="172"/>
                  </a:lnTo>
                  <a:lnTo>
                    <a:pt x="7" y="155"/>
                  </a:lnTo>
                  <a:lnTo>
                    <a:pt x="1" y="143"/>
                  </a:lnTo>
                  <a:lnTo>
                    <a:pt x="0" y="132"/>
                  </a:lnTo>
                  <a:lnTo>
                    <a:pt x="17" y="103"/>
                  </a:lnTo>
                  <a:lnTo>
                    <a:pt x="8" y="72"/>
                  </a:lnTo>
                  <a:lnTo>
                    <a:pt x="8" y="71"/>
                  </a:lnTo>
                  <a:lnTo>
                    <a:pt x="16" y="59"/>
                  </a:lnTo>
                  <a:lnTo>
                    <a:pt x="16" y="55"/>
                  </a:lnTo>
                  <a:lnTo>
                    <a:pt x="26" y="50"/>
                  </a:lnTo>
                  <a:lnTo>
                    <a:pt x="28" y="52"/>
                  </a:lnTo>
                  <a:lnTo>
                    <a:pt x="37" y="47"/>
                  </a:lnTo>
                  <a:lnTo>
                    <a:pt x="38" y="47"/>
                  </a:lnTo>
                  <a:lnTo>
                    <a:pt x="41" y="52"/>
                  </a:lnTo>
                  <a:lnTo>
                    <a:pt x="44" y="52"/>
                  </a:lnTo>
                  <a:lnTo>
                    <a:pt x="41" y="46"/>
                  </a:lnTo>
                  <a:lnTo>
                    <a:pt x="41" y="44"/>
                  </a:lnTo>
                  <a:lnTo>
                    <a:pt x="47" y="41"/>
                  </a:lnTo>
                  <a:lnTo>
                    <a:pt x="48" y="41"/>
                  </a:lnTo>
                  <a:lnTo>
                    <a:pt x="50" y="44"/>
                  </a:lnTo>
                  <a:lnTo>
                    <a:pt x="51" y="44"/>
                  </a:lnTo>
                  <a:lnTo>
                    <a:pt x="50" y="40"/>
                  </a:lnTo>
                  <a:lnTo>
                    <a:pt x="53" y="35"/>
                  </a:lnTo>
                  <a:lnTo>
                    <a:pt x="54" y="32"/>
                  </a:lnTo>
                  <a:lnTo>
                    <a:pt x="56" y="32"/>
                  </a:lnTo>
                  <a:lnTo>
                    <a:pt x="56" y="37"/>
                  </a:lnTo>
                  <a:lnTo>
                    <a:pt x="59" y="32"/>
                  </a:lnTo>
                  <a:lnTo>
                    <a:pt x="62" y="32"/>
                  </a:lnTo>
                  <a:lnTo>
                    <a:pt x="59" y="29"/>
                  </a:lnTo>
                  <a:lnTo>
                    <a:pt x="57" y="29"/>
                  </a:lnTo>
                  <a:lnTo>
                    <a:pt x="60" y="25"/>
                  </a:lnTo>
                  <a:lnTo>
                    <a:pt x="62" y="25"/>
                  </a:lnTo>
                  <a:lnTo>
                    <a:pt x="60" y="19"/>
                  </a:lnTo>
                  <a:lnTo>
                    <a:pt x="65" y="19"/>
                  </a:lnTo>
                  <a:lnTo>
                    <a:pt x="65" y="20"/>
                  </a:lnTo>
                  <a:lnTo>
                    <a:pt x="68" y="15"/>
                  </a:lnTo>
                  <a:lnTo>
                    <a:pt x="72" y="15"/>
                  </a:lnTo>
                  <a:lnTo>
                    <a:pt x="72" y="3"/>
                  </a:lnTo>
                  <a:lnTo>
                    <a:pt x="7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7" name="Mauritania">
              <a:extLst>
                <a:ext uri="{FF2B5EF4-FFF2-40B4-BE49-F238E27FC236}">
                  <a16:creationId xmlns:a16="http://schemas.microsoft.com/office/drawing/2014/main" id="{4E0742A1-15A9-3AF3-C3E5-82AF90DF36D0}"/>
                </a:ext>
              </a:extLst>
            </p:cNvPr>
            <p:cNvSpPr>
              <a:spLocks/>
            </p:cNvSpPr>
            <p:nvPr/>
          </p:nvSpPr>
          <p:spPr bwMode="auto">
            <a:xfrm>
              <a:off x="5428290" y="3922409"/>
              <a:ext cx="287323" cy="316236"/>
            </a:xfrm>
            <a:custGeom>
              <a:avLst/>
              <a:gdLst>
                <a:gd name="T0" fmla="*/ 108 w 159"/>
                <a:gd name="T1" fmla="*/ 0 h 175"/>
                <a:gd name="T2" fmla="*/ 110 w 159"/>
                <a:gd name="T3" fmla="*/ 0 h 175"/>
                <a:gd name="T4" fmla="*/ 157 w 159"/>
                <a:gd name="T5" fmla="*/ 32 h 175"/>
                <a:gd name="T6" fmla="*/ 159 w 159"/>
                <a:gd name="T7" fmla="*/ 34 h 175"/>
                <a:gd name="T8" fmla="*/ 135 w 159"/>
                <a:gd name="T9" fmla="*/ 34 h 175"/>
                <a:gd name="T10" fmla="*/ 147 w 159"/>
                <a:gd name="T11" fmla="*/ 153 h 175"/>
                <a:gd name="T12" fmla="*/ 153 w 159"/>
                <a:gd name="T13" fmla="*/ 154 h 175"/>
                <a:gd name="T14" fmla="*/ 150 w 159"/>
                <a:gd name="T15" fmla="*/ 166 h 175"/>
                <a:gd name="T16" fmla="*/ 119 w 159"/>
                <a:gd name="T17" fmla="*/ 166 h 175"/>
                <a:gd name="T18" fmla="*/ 105 w 159"/>
                <a:gd name="T19" fmla="*/ 164 h 175"/>
                <a:gd name="T20" fmla="*/ 89 w 159"/>
                <a:gd name="T21" fmla="*/ 164 h 175"/>
                <a:gd name="T22" fmla="*/ 83 w 159"/>
                <a:gd name="T23" fmla="*/ 170 h 175"/>
                <a:gd name="T24" fmla="*/ 80 w 159"/>
                <a:gd name="T25" fmla="*/ 170 h 175"/>
                <a:gd name="T26" fmla="*/ 79 w 159"/>
                <a:gd name="T27" fmla="*/ 169 h 175"/>
                <a:gd name="T28" fmla="*/ 74 w 159"/>
                <a:gd name="T29" fmla="*/ 161 h 175"/>
                <a:gd name="T30" fmla="*/ 73 w 159"/>
                <a:gd name="T31" fmla="*/ 160 h 175"/>
                <a:gd name="T32" fmla="*/ 68 w 159"/>
                <a:gd name="T33" fmla="*/ 170 h 175"/>
                <a:gd name="T34" fmla="*/ 64 w 159"/>
                <a:gd name="T35" fmla="*/ 175 h 175"/>
                <a:gd name="T36" fmla="*/ 62 w 159"/>
                <a:gd name="T37" fmla="*/ 175 h 175"/>
                <a:gd name="T38" fmla="*/ 53 w 159"/>
                <a:gd name="T39" fmla="*/ 167 h 175"/>
                <a:gd name="T40" fmla="*/ 46 w 159"/>
                <a:gd name="T41" fmla="*/ 157 h 175"/>
                <a:gd name="T42" fmla="*/ 40 w 159"/>
                <a:gd name="T43" fmla="*/ 157 h 175"/>
                <a:gd name="T44" fmla="*/ 33 w 159"/>
                <a:gd name="T45" fmla="*/ 150 h 175"/>
                <a:gd name="T46" fmla="*/ 9 w 159"/>
                <a:gd name="T47" fmla="*/ 151 h 175"/>
                <a:gd name="T48" fmla="*/ 6 w 159"/>
                <a:gd name="T49" fmla="*/ 157 h 175"/>
                <a:gd name="T50" fmla="*/ 4 w 159"/>
                <a:gd name="T51" fmla="*/ 157 h 175"/>
                <a:gd name="T52" fmla="*/ 4 w 159"/>
                <a:gd name="T53" fmla="*/ 156 h 175"/>
                <a:gd name="T54" fmla="*/ 10 w 159"/>
                <a:gd name="T55" fmla="*/ 135 h 175"/>
                <a:gd name="T56" fmla="*/ 10 w 159"/>
                <a:gd name="T57" fmla="*/ 124 h 175"/>
                <a:gd name="T58" fmla="*/ 6 w 159"/>
                <a:gd name="T59" fmla="*/ 111 h 175"/>
                <a:gd name="T60" fmla="*/ 9 w 159"/>
                <a:gd name="T61" fmla="*/ 105 h 175"/>
                <a:gd name="T62" fmla="*/ 7 w 159"/>
                <a:gd name="T63" fmla="*/ 99 h 175"/>
                <a:gd name="T64" fmla="*/ 1 w 159"/>
                <a:gd name="T65" fmla="*/ 89 h 175"/>
                <a:gd name="T66" fmla="*/ 0 w 159"/>
                <a:gd name="T67" fmla="*/ 90 h 175"/>
                <a:gd name="T68" fmla="*/ 0 w 159"/>
                <a:gd name="T69" fmla="*/ 89 h 175"/>
                <a:gd name="T70" fmla="*/ 3 w 159"/>
                <a:gd name="T71" fmla="*/ 83 h 175"/>
                <a:gd name="T72" fmla="*/ 52 w 159"/>
                <a:gd name="T73" fmla="*/ 83 h 175"/>
                <a:gd name="T74" fmla="*/ 50 w 159"/>
                <a:gd name="T75" fmla="*/ 62 h 175"/>
                <a:gd name="T76" fmla="*/ 53 w 159"/>
                <a:gd name="T77" fmla="*/ 58 h 175"/>
                <a:gd name="T78" fmla="*/ 65 w 159"/>
                <a:gd name="T79" fmla="*/ 53 h 175"/>
                <a:gd name="T80" fmla="*/ 67 w 159"/>
                <a:gd name="T81" fmla="*/ 18 h 175"/>
                <a:gd name="T82" fmla="*/ 108 w 159"/>
                <a:gd name="T83" fmla="*/ 18 h 175"/>
                <a:gd name="T84" fmla="*/ 108 w 159"/>
                <a:gd name="T85"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9" h="175">
                  <a:moveTo>
                    <a:pt x="108" y="0"/>
                  </a:moveTo>
                  <a:lnTo>
                    <a:pt x="110" y="0"/>
                  </a:lnTo>
                  <a:lnTo>
                    <a:pt x="157" y="32"/>
                  </a:lnTo>
                  <a:lnTo>
                    <a:pt x="159" y="34"/>
                  </a:lnTo>
                  <a:lnTo>
                    <a:pt x="135" y="34"/>
                  </a:lnTo>
                  <a:lnTo>
                    <a:pt x="147" y="153"/>
                  </a:lnTo>
                  <a:lnTo>
                    <a:pt x="153" y="154"/>
                  </a:lnTo>
                  <a:lnTo>
                    <a:pt x="150" y="166"/>
                  </a:lnTo>
                  <a:lnTo>
                    <a:pt x="119" y="166"/>
                  </a:lnTo>
                  <a:lnTo>
                    <a:pt x="105" y="164"/>
                  </a:lnTo>
                  <a:lnTo>
                    <a:pt x="89" y="164"/>
                  </a:lnTo>
                  <a:lnTo>
                    <a:pt x="83" y="170"/>
                  </a:lnTo>
                  <a:lnTo>
                    <a:pt x="80" y="170"/>
                  </a:lnTo>
                  <a:lnTo>
                    <a:pt x="79" y="169"/>
                  </a:lnTo>
                  <a:lnTo>
                    <a:pt x="74" y="161"/>
                  </a:lnTo>
                  <a:lnTo>
                    <a:pt x="73" y="160"/>
                  </a:lnTo>
                  <a:lnTo>
                    <a:pt x="68" y="170"/>
                  </a:lnTo>
                  <a:lnTo>
                    <a:pt x="64" y="175"/>
                  </a:lnTo>
                  <a:lnTo>
                    <a:pt x="62" y="175"/>
                  </a:lnTo>
                  <a:lnTo>
                    <a:pt x="53" y="167"/>
                  </a:lnTo>
                  <a:lnTo>
                    <a:pt x="46" y="157"/>
                  </a:lnTo>
                  <a:lnTo>
                    <a:pt x="40" y="157"/>
                  </a:lnTo>
                  <a:lnTo>
                    <a:pt x="33" y="150"/>
                  </a:lnTo>
                  <a:lnTo>
                    <a:pt x="9" y="151"/>
                  </a:lnTo>
                  <a:lnTo>
                    <a:pt x="6" y="157"/>
                  </a:lnTo>
                  <a:lnTo>
                    <a:pt x="4" y="157"/>
                  </a:lnTo>
                  <a:lnTo>
                    <a:pt x="4" y="156"/>
                  </a:lnTo>
                  <a:lnTo>
                    <a:pt x="10" y="135"/>
                  </a:lnTo>
                  <a:lnTo>
                    <a:pt x="10" y="124"/>
                  </a:lnTo>
                  <a:lnTo>
                    <a:pt x="6" y="111"/>
                  </a:lnTo>
                  <a:lnTo>
                    <a:pt x="9" y="105"/>
                  </a:lnTo>
                  <a:lnTo>
                    <a:pt x="7" y="99"/>
                  </a:lnTo>
                  <a:lnTo>
                    <a:pt x="1" y="89"/>
                  </a:lnTo>
                  <a:lnTo>
                    <a:pt x="0" y="90"/>
                  </a:lnTo>
                  <a:lnTo>
                    <a:pt x="0" y="89"/>
                  </a:lnTo>
                  <a:lnTo>
                    <a:pt x="3" y="83"/>
                  </a:lnTo>
                  <a:lnTo>
                    <a:pt x="52" y="83"/>
                  </a:lnTo>
                  <a:lnTo>
                    <a:pt x="50" y="62"/>
                  </a:lnTo>
                  <a:lnTo>
                    <a:pt x="53" y="58"/>
                  </a:lnTo>
                  <a:lnTo>
                    <a:pt x="65" y="53"/>
                  </a:lnTo>
                  <a:lnTo>
                    <a:pt x="67" y="18"/>
                  </a:lnTo>
                  <a:lnTo>
                    <a:pt x="108" y="18"/>
                  </a:lnTo>
                  <a:lnTo>
                    <a:pt x="10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8" name="Mozambique">
              <a:extLst>
                <a:ext uri="{FF2B5EF4-FFF2-40B4-BE49-F238E27FC236}">
                  <a16:creationId xmlns:a16="http://schemas.microsoft.com/office/drawing/2014/main" id="{4683A3E2-330E-4DAA-34FE-6A90D5272A63}"/>
                </a:ext>
              </a:extLst>
            </p:cNvPr>
            <p:cNvSpPr>
              <a:spLocks/>
            </p:cNvSpPr>
            <p:nvPr/>
          </p:nvSpPr>
          <p:spPr bwMode="auto">
            <a:xfrm>
              <a:off x="6534212" y="4833168"/>
              <a:ext cx="254796" cy="406590"/>
            </a:xfrm>
            <a:custGeom>
              <a:avLst/>
              <a:gdLst>
                <a:gd name="T0" fmla="*/ 138 w 141"/>
                <a:gd name="T1" fmla="*/ 0 h 225"/>
                <a:gd name="T2" fmla="*/ 136 w 141"/>
                <a:gd name="T3" fmla="*/ 19 h 225"/>
                <a:gd name="T4" fmla="*/ 138 w 141"/>
                <a:gd name="T5" fmla="*/ 50 h 225"/>
                <a:gd name="T6" fmla="*/ 136 w 141"/>
                <a:gd name="T7" fmla="*/ 64 h 225"/>
                <a:gd name="T8" fmla="*/ 138 w 141"/>
                <a:gd name="T9" fmla="*/ 70 h 225"/>
                <a:gd name="T10" fmla="*/ 128 w 141"/>
                <a:gd name="T11" fmla="*/ 83 h 225"/>
                <a:gd name="T12" fmla="*/ 96 w 141"/>
                <a:gd name="T13" fmla="*/ 98 h 225"/>
                <a:gd name="T14" fmla="*/ 88 w 141"/>
                <a:gd name="T15" fmla="*/ 107 h 225"/>
                <a:gd name="T16" fmla="*/ 82 w 141"/>
                <a:gd name="T17" fmla="*/ 116 h 225"/>
                <a:gd name="T18" fmla="*/ 79 w 141"/>
                <a:gd name="T19" fmla="*/ 113 h 225"/>
                <a:gd name="T20" fmla="*/ 61 w 141"/>
                <a:gd name="T21" fmla="*/ 129 h 225"/>
                <a:gd name="T22" fmla="*/ 65 w 141"/>
                <a:gd name="T23" fmla="*/ 142 h 225"/>
                <a:gd name="T24" fmla="*/ 73 w 141"/>
                <a:gd name="T25" fmla="*/ 160 h 225"/>
                <a:gd name="T26" fmla="*/ 70 w 141"/>
                <a:gd name="T27" fmla="*/ 184 h 225"/>
                <a:gd name="T28" fmla="*/ 71 w 141"/>
                <a:gd name="T29" fmla="*/ 188 h 225"/>
                <a:gd name="T30" fmla="*/ 37 w 141"/>
                <a:gd name="T31" fmla="*/ 209 h 225"/>
                <a:gd name="T32" fmla="*/ 36 w 141"/>
                <a:gd name="T33" fmla="*/ 218 h 225"/>
                <a:gd name="T34" fmla="*/ 39 w 141"/>
                <a:gd name="T35" fmla="*/ 215 h 225"/>
                <a:gd name="T36" fmla="*/ 27 w 141"/>
                <a:gd name="T37" fmla="*/ 225 h 225"/>
                <a:gd name="T38" fmla="*/ 24 w 141"/>
                <a:gd name="T39" fmla="*/ 190 h 225"/>
                <a:gd name="T40" fmla="*/ 21 w 141"/>
                <a:gd name="T41" fmla="*/ 159 h 225"/>
                <a:gd name="T42" fmla="*/ 37 w 141"/>
                <a:gd name="T43" fmla="*/ 129 h 225"/>
                <a:gd name="T44" fmla="*/ 39 w 141"/>
                <a:gd name="T45" fmla="*/ 105 h 225"/>
                <a:gd name="T46" fmla="*/ 34 w 141"/>
                <a:gd name="T47" fmla="*/ 83 h 225"/>
                <a:gd name="T48" fmla="*/ 5 w 141"/>
                <a:gd name="T49" fmla="*/ 74 h 225"/>
                <a:gd name="T50" fmla="*/ 3 w 141"/>
                <a:gd name="T51" fmla="*/ 70 h 225"/>
                <a:gd name="T52" fmla="*/ 0 w 141"/>
                <a:gd name="T53" fmla="*/ 62 h 225"/>
                <a:gd name="T54" fmla="*/ 48 w 141"/>
                <a:gd name="T55" fmla="*/ 55 h 225"/>
                <a:gd name="T56" fmla="*/ 55 w 141"/>
                <a:gd name="T57" fmla="*/ 53 h 225"/>
                <a:gd name="T58" fmla="*/ 59 w 141"/>
                <a:gd name="T59" fmla="*/ 56 h 225"/>
                <a:gd name="T60" fmla="*/ 58 w 141"/>
                <a:gd name="T61" fmla="*/ 74 h 225"/>
                <a:gd name="T62" fmla="*/ 68 w 141"/>
                <a:gd name="T63" fmla="*/ 86 h 225"/>
                <a:gd name="T64" fmla="*/ 70 w 141"/>
                <a:gd name="T65" fmla="*/ 89 h 225"/>
                <a:gd name="T66" fmla="*/ 70 w 141"/>
                <a:gd name="T67" fmla="*/ 79 h 225"/>
                <a:gd name="T68" fmla="*/ 77 w 141"/>
                <a:gd name="T69" fmla="*/ 61 h 225"/>
                <a:gd name="T70" fmla="*/ 61 w 141"/>
                <a:gd name="T71" fmla="*/ 27 h 225"/>
                <a:gd name="T72" fmla="*/ 79 w 141"/>
                <a:gd name="T73" fmla="*/ 13 h 225"/>
                <a:gd name="T74" fmla="*/ 101 w 141"/>
                <a:gd name="T75" fmla="*/ 15 h 225"/>
                <a:gd name="T76" fmla="*/ 117 w 141"/>
                <a:gd name="T77" fmla="*/ 12 h 225"/>
                <a:gd name="T78" fmla="*/ 136 w 141"/>
                <a:gd name="T79"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1" h="225">
                  <a:moveTo>
                    <a:pt x="136" y="0"/>
                  </a:moveTo>
                  <a:lnTo>
                    <a:pt x="138" y="0"/>
                  </a:lnTo>
                  <a:lnTo>
                    <a:pt x="141" y="7"/>
                  </a:lnTo>
                  <a:lnTo>
                    <a:pt x="136" y="19"/>
                  </a:lnTo>
                  <a:lnTo>
                    <a:pt x="136" y="50"/>
                  </a:lnTo>
                  <a:lnTo>
                    <a:pt x="138" y="50"/>
                  </a:lnTo>
                  <a:lnTo>
                    <a:pt x="141" y="58"/>
                  </a:lnTo>
                  <a:lnTo>
                    <a:pt x="136" y="64"/>
                  </a:lnTo>
                  <a:lnTo>
                    <a:pt x="138" y="65"/>
                  </a:lnTo>
                  <a:lnTo>
                    <a:pt x="138" y="70"/>
                  </a:lnTo>
                  <a:lnTo>
                    <a:pt x="128" y="80"/>
                  </a:lnTo>
                  <a:lnTo>
                    <a:pt x="128" y="83"/>
                  </a:lnTo>
                  <a:lnTo>
                    <a:pt x="117" y="90"/>
                  </a:lnTo>
                  <a:lnTo>
                    <a:pt x="96" y="98"/>
                  </a:lnTo>
                  <a:lnTo>
                    <a:pt x="86" y="105"/>
                  </a:lnTo>
                  <a:lnTo>
                    <a:pt x="88" y="107"/>
                  </a:lnTo>
                  <a:lnTo>
                    <a:pt x="88" y="108"/>
                  </a:lnTo>
                  <a:lnTo>
                    <a:pt x="82" y="116"/>
                  </a:lnTo>
                  <a:lnTo>
                    <a:pt x="80" y="116"/>
                  </a:lnTo>
                  <a:lnTo>
                    <a:pt x="79" y="113"/>
                  </a:lnTo>
                  <a:lnTo>
                    <a:pt x="79" y="116"/>
                  </a:lnTo>
                  <a:lnTo>
                    <a:pt x="61" y="129"/>
                  </a:lnTo>
                  <a:lnTo>
                    <a:pt x="61" y="138"/>
                  </a:lnTo>
                  <a:lnTo>
                    <a:pt x="65" y="142"/>
                  </a:lnTo>
                  <a:lnTo>
                    <a:pt x="70" y="160"/>
                  </a:lnTo>
                  <a:lnTo>
                    <a:pt x="73" y="160"/>
                  </a:lnTo>
                  <a:lnTo>
                    <a:pt x="68" y="185"/>
                  </a:lnTo>
                  <a:lnTo>
                    <a:pt x="70" y="184"/>
                  </a:lnTo>
                  <a:lnTo>
                    <a:pt x="71" y="184"/>
                  </a:lnTo>
                  <a:lnTo>
                    <a:pt x="71" y="188"/>
                  </a:lnTo>
                  <a:lnTo>
                    <a:pt x="62" y="197"/>
                  </a:lnTo>
                  <a:lnTo>
                    <a:pt x="37" y="209"/>
                  </a:lnTo>
                  <a:lnTo>
                    <a:pt x="33" y="215"/>
                  </a:lnTo>
                  <a:lnTo>
                    <a:pt x="36" y="218"/>
                  </a:lnTo>
                  <a:lnTo>
                    <a:pt x="37" y="215"/>
                  </a:lnTo>
                  <a:lnTo>
                    <a:pt x="39" y="215"/>
                  </a:lnTo>
                  <a:lnTo>
                    <a:pt x="39" y="225"/>
                  </a:lnTo>
                  <a:lnTo>
                    <a:pt x="27" y="225"/>
                  </a:lnTo>
                  <a:lnTo>
                    <a:pt x="25" y="212"/>
                  </a:lnTo>
                  <a:lnTo>
                    <a:pt x="24" y="190"/>
                  </a:lnTo>
                  <a:lnTo>
                    <a:pt x="19" y="166"/>
                  </a:lnTo>
                  <a:lnTo>
                    <a:pt x="21" y="159"/>
                  </a:lnTo>
                  <a:lnTo>
                    <a:pt x="27" y="153"/>
                  </a:lnTo>
                  <a:lnTo>
                    <a:pt x="37" y="129"/>
                  </a:lnTo>
                  <a:lnTo>
                    <a:pt x="34" y="116"/>
                  </a:lnTo>
                  <a:lnTo>
                    <a:pt x="39" y="105"/>
                  </a:lnTo>
                  <a:lnTo>
                    <a:pt x="39" y="95"/>
                  </a:lnTo>
                  <a:lnTo>
                    <a:pt x="34" y="83"/>
                  </a:lnTo>
                  <a:lnTo>
                    <a:pt x="18" y="76"/>
                  </a:lnTo>
                  <a:lnTo>
                    <a:pt x="5" y="74"/>
                  </a:lnTo>
                  <a:lnTo>
                    <a:pt x="3" y="74"/>
                  </a:lnTo>
                  <a:lnTo>
                    <a:pt x="3" y="70"/>
                  </a:lnTo>
                  <a:lnTo>
                    <a:pt x="0" y="64"/>
                  </a:lnTo>
                  <a:lnTo>
                    <a:pt x="0" y="62"/>
                  </a:lnTo>
                  <a:lnTo>
                    <a:pt x="42" y="49"/>
                  </a:lnTo>
                  <a:lnTo>
                    <a:pt x="48" y="55"/>
                  </a:lnTo>
                  <a:lnTo>
                    <a:pt x="51" y="55"/>
                  </a:lnTo>
                  <a:lnTo>
                    <a:pt x="55" y="53"/>
                  </a:lnTo>
                  <a:lnTo>
                    <a:pt x="58" y="53"/>
                  </a:lnTo>
                  <a:lnTo>
                    <a:pt x="59" y="56"/>
                  </a:lnTo>
                  <a:lnTo>
                    <a:pt x="61" y="65"/>
                  </a:lnTo>
                  <a:lnTo>
                    <a:pt x="58" y="74"/>
                  </a:lnTo>
                  <a:lnTo>
                    <a:pt x="59" y="79"/>
                  </a:lnTo>
                  <a:lnTo>
                    <a:pt x="68" y="86"/>
                  </a:lnTo>
                  <a:lnTo>
                    <a:pt x="68" y="89"/>
                  </a:lnTo>
                  <a:lnTo>
                    <a:pt x="70" y="89"/>
                  </a:lnTo>
                  <a:lnTo>
                    <a:pt x="68" y="83"/>
                  </a:lnTo>
                  <a:lnTo>
                    <a:pt x="70" y="79"/>
                  </a:lnTo>
                  <a:lnTo>
                    <a:pt x="76" y="74"/>
                  </a:lnTo>
                  <a:lnTo>
                    <a:pt x="77" y="61"/>
                  </a:lnTo>
                  <a:lnTo>
                    <a:pt x="64" y="43"/>
                  </a:lnTo>
                  <a:lnTo>
                    <a:pt x="61" y="27"/>
                  </a:lnTo>
                  <a:lnTo>
                    <a:pt x="65" y="15"/>
                  </a:lnTo>
                  <a:lnTo>
                    <a:pt x="79" y="13"/>
                  </a:lnTo>
                  <a:lnTo>
                    <a:pt x="85" y="18"/>
                  </a:lnTo>
                  <a:lnTo>
                    <a:pt x="101" y="15"/>
                  </a:lnTo>
                  <a:lnTo>
                    <a:pt x="110" y="10"/>
                  </a:lnTo>
                  <a:lnTo>
                    <a:pt x="117" y="12"/>
                  </a:lnTo>
                  <a:lnTo>
                    <a:pt x="131" y="7"/>
                  </a:lnTo>
                  <a:lnTo>
                    <a:pt x="136" y="1"/>
                  </a:lnTo>
                  <a:lnTo>
                    <a:pt x="1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9" name="Morocco">
              <a:extLst>
                <a:ext uri="{FF2B5EF4-FFF2-40B4-BE49-F238E27FC236}">
                  <a16:creationId xmlns:a16="http://schemas.microsoft.com/office/drawing/2014/main" id="{C7923D3D-7B3E-B639-0872-78751134F3B5}"/>
                </a:ext>
              </a:extLst>
            </p:cNvPr>
            <p:cNvSpPr>
              <a:spLocks/>
            </p:cNvSpPr>
            <p:nvPr/>
          </p:nvSpPr>
          <p:spPr bwMode="auto">
            <a:xfrm>
              <a:off x="5522258" y="3683876"/>
              <a:ext cx="280095" cy="227690"/>
            </a:xfrm>
            <a:custGeom>
              <a:avLst/>
              <a:gdLst>
                <a:gd name="T0" fmla="*/ 99 w 155"/>
                <a:gd name="T1" fmla="*/ 0 h 126"/>
                <a:gd name="T2" fmla="*/ 101 w 155"/>
                <a:gd name="T3" fmla="*/ 0 h 126"/>
                <a:gd name="T4" fmla="*/ 105 w 155"/>
                <a:gd name="T5" fmla="*/ 7 h 126"/>
                <a:gd name="T6" fmla="*/ 114 w 155"/>
                <a:gd name="T7" fmla="*/ 12 h 126"/>
                <a:gd name="T8" fmla="*/ 130 w 155"/>
                <a:gd name="T9" fmla="*/ 9 h 126"/>
                <a:gd name="T10" fmla="*/ 144 w 155"/>
                <a:gd name="T11" fmla="*/ 13 h 126"/>
                <a:gd name="T12" fmla="*/ 144 w 155"/>
                <a:gd name="T13" fmla="*/ 15 h 126"/>
                <a:gd name="T14" fmla="*/ 142 w 155"/>
                <a:gd name="T15" fmla="*/ 15 h 126"/>
                <a:gd name="T16" fmla="*/ 147 w 155"/>
                <a:gd name="T17" fmla="*/ 18 h 126"/>
                <a:gd name="T18" fmla="*/ 148 w 155"/>
                <a:gd name="T19" fmla="*/ 18 h 126"/>
                <a:gd name="T20" fmla="*/ 150 w 155"/>
                <a:gd name="T21" fmla="*/ 44 h 126"/>
                <a:gd name="T22" fmla="*/ 155 w 155"/>
                <a:gd name="T23" fmla="*/ 53 h 126"/>
                <a:gd name="T24" fmla="*/ 154 w 155"/>
                <a:gd name="T25" fmla="*/ 56 h 126"/>
                <a:gd name="T26" fmla="*/ 155 w 155"/>
                <a:gd name="T27" fmla="*/ 58 h 126"/>
                <a:gd name="T28" fmla="*/ 155 w 155"/>
                <a:gd name="T29" fmla="*/ 59 h 126"/>
                <a:gd name="T30" fmla="*/ 154 w 155"/>
                <a:gd name="T31" fmla="*/ 59 h 126"/>
                <a:gd name="T32" fmla="*/ 132 w 155"/>
                <a:gd name="T33" fmla="*/ 61 h 126"/>
                <a:gd name="T34" fmla="*/ 130 w 155"/>
                <a:gd name="T35" fmla="*/ 64 h 126"/>
                <a:gd name="T36" fmla="*/ 120 w 155"/>
                <a:gd name="T37" fmla="*/ 67 h 126"/>
                <a:gd name="T38" fmla="*/ 120 w 155"/>
                <a:gd name="T39" fmla="*/ 74 h 126"/>
                <a:gd name="T40" fmla="*/ 123 w 155"/>
                <a:gd name="T41" fmla="*/ 77 h 126"/>
                <a:gd name="T42" fmla="*/ 121 w 155"/>
                <a:gd name="T43" fmla="*/ 77 h 126"/>
                <a:gd name="T44" fmla="*/ 107 w 155"/>
                <a:gd name="T45" fmla="*/ 84 h 126"/>
                <a:gd name="T46" fmla="*/ 96 w 155"/>
                <a:gd name="T47" fmla="*/ 93 h 126"/>
                <a:gd name="T48" fmla="*/ 84 w 155"/>
                <a:gd name="T49" fmla="*/ 95 h 126"/>
                <a:gd name="T50" fmla="*/ 83 w 155"/>
                <a:gd name="T51" fmla="*/ 98 h 126"/>
                <a:gd name="T52" fmla="*/ 77 w 155"/>
                <a:gd name="T53" fmla="*/ 98 h 126"/>
                <a:gd name="T54" fmla="*/ 64 w 155"/>
                <a:gd name="T55" fmla="*/ 105 h 126"/>
                <a:gd name="T56" fmla="*/ 58 w 155"/>
                <a:gd name="T57" fmla="*/ 110 h 126"/>
                <a:gd name="T58" fmla="*/ 58 w 155"/>
                <a:gd name="T59" fmla="*/ 126 h 126"/>
                <a:gd name="T60" fmla="*/ 0 w 155"/>
                <a:gd name="T61" fmla="*/ 126 h 126"/>
                <a:gd name="T62" fmla="*/ 0 w 155"/>
                <a:gd name="T63" fmla="*/ 123 h 126"/>
                <a:gd name="T64" fmla="*/ 1 w 155"/>
                <a:gd name="T65" fmla="*/ 123 h 126"/>
                <a:gd name="T66" fmla="*/ 18 w 155"/>
                <a:gd name="T67" fmla="*/ 117 h 126"/>
                <a:gd name="T68" fmla="*/ 34 w 155"/>
                <a:gd name="T69" fmla="*/ 104 h 126"/>
                <a:gd name="T70" fmla="*/ 38 w 155"/>
                <a:gd name="T71" fmla="*/ 98 h 126"/>
                <a:gd name="T72" fmla="*/ 43 w 155"/>
                <a:gd name="T73" fmla="*/ 90 h 126"/>
                <a:gd name="T74" fmla="*/ 40 w 155"/>
                <a:gd name="T75" fmla="*/ 83 h 126"/>
                <a:gd name="T76" fmla="*/ 41 w 155"/>
                <a:gd name="T77" fmla="*/ 71 h 126"/>
                <a:gd name="T78" fmla="*/ 49 w 155"/>
                <a:gd name="T79" fmla="*/ 61 h 126"/>
                <a:gd name="T80" fmla="*/ 50 w 155"/>
                <a:gd name="T81" fmla="*/ 53 h 126"/>
                <a:gd name="T82" fmla="*/ 61 w 155"/>
                <a:gd name="T83" fmla="*/ 41 h 126"/>
                <a:gd name="T84" fmla="*/ 83 w 155"/>
                <a:gd name="T85" fmla="*/ 28 h 126"/>
                <a:gd name="T86" fmla="*/ 93 w 155"/>
                <a:gd name="T87" fmla="*/ 3 h 126"/>
                <a:gd name="T88" fmla="*/ 99 w 155"/>
                <a:gd name="T8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126">
                  <a:moveTo>
                    <a:pt x="99" y="0"/>
                  </a:moveTo>
                  <a:lnTo>
                    <a:pt x="101" y="0"/>
                  </a:lnTo>
                  <a:lnTo>
                    <a:pt x="105" y="7"/>
                  </a:lnTo>
                  <a:lnTo>
                    <a:pt x="114" y="12"/>
                  </a:lnTo>
                  <a:lnTo>
                    <a:pt x="130" y="9"/>
                  </a:lnTo>
                  <a:lnTo>
                    <a:pt x="144" y="13"/>
                  </a:lnTo>
                  <a:lnTo>
                    <a:pt x="144" y="15"/>
                  </a:lnTo>
                  <a:lnTo>
                    <a:pt x="142" y="15"/>
                  </a:lnTo>
                  <a:lnTo>
                    <a:pt x="147" y="18"/>
                  </a:lnTo>
                  <a:lnTo>
                    <a:pt x="148" y="18"/>
                  </a:lnTo>
                  <a:lnTo>
                    <a:pt x="150" y="44"/>
                  </a:lnTo>
                  <a:lnTo>
                    <a:pt x="155" y="53"/>
                  </a:lnTo>
                  <a:lnTo>
                    <a:pt x="154" y="56"/>
                  </a:lnTo>
                  <a:lnTo>
                    <a:pt x="155" y="58"/>
                  </a:lnTo>
                  <a:lnTo>
                    <a:pt x="155" y="59"/>
                  </a:lnTo>
                  <a:lnTo>
                    <a:pt x="154" y="59"/>
                  </a:lnTo>
                  <a:lnTo>
                    <a:pt x="132" y="61"/>
                  </a:lnTo>
                  <a:lnTo>
                    <a:pt x="130" y="64"/>
                  </a:lnTo>
                  <a:lnTo>
                    <a:pt x="120" y="67"/>
                  </a:lnTo>
                  <a:lnTo>
                    <a:pt x="120" y="74"/>
                  </a:lnTo>
                  <a:lnTo>
                    <a:pt x="123" y="77"/>
                  </a:lnTo>
                  <a:lnTo>
                    <a:pt x="121" y="77"/>
                  </a:lnTo>
                  <a:lnTo>
                    <a:pt x="107" y="84"/>
                  </a:lnTo>
                  <a:lnTo>
                    <a:pt x="96" y="93"/>
                  </a:lnTo>
                  <a:lnTo>
                    <a:pt x="84" y="95"/>
                  </a:lnTo>
                  <a:lnTo>
                    <a:pt x="83" y="98"/>
                  </a:lnTo>
                  <a:lnTo>
                    <a:pt x="77" y="98"/>
                  </a:lnTo>
                  <a:lnTo>
                    <a:pt x="64" y="105"/>
                  </a:lnTo>
                  <a:lnTo>
                    <a:pt x="58" y="110"/>
                  </a:lnTo>
                  <a:lnTo>
                    <a:pt x="58" y="126"/>
                  </a:lnTo>
                  <a:lnTo>
                    <a:pt x="0" y="126"/>
                  </a:lnTo>
                  <a:lnTo>
                    <a:pt x="0" y="123"/>
                  </a:lnTo>
                  <a:lnTo>
                    <a:pt x="1" y="123"/>
                  </a:lnTo>
                  <a:lnTo>
                    <a:pt x="18" y="117"/>
                  </a:lnTo>
                  <a:lnTo>
                    <a:pt x="34" y="104"/>
                  </a:lnTo>
                  <a:lnTo>
                    <a:pt x="38" y="98"/>
                  </a:lnTo>
                  <a:lnTo>
                    <a:pt x="43" y="90"/>
                  </a:lnTo>
                  <a:lnTo>
                    <a:pt x="40" y="83"/>
                  </a:lnTo>
                  <a:lnTo>
                    <a:pt x="41" y="71"/>
                  </a:lnTo>
                  <a:lnTo>
                    <a:pt x="49" y="61"/>
                  </a:lnTo>
                  <a:lnTo>
                    <a:pt x="50" y="53"/>
                  </a:lnTo>
                  <a:lnTo>
                    <a:pt x="61" y="41"/>
                  </a:lnTo>
                  <a:lnTo>
                    <a:pt x="83" y="28"/>
                  </a:lnTo>
                  <a:lnTo>
                    <a:pt x="93" y="3"/>
                  </a:lnTo>
                  <a:lnTo>
                    <a:pt x="9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0" name="Malawi">
              <a:extLst>
                <a:ext uri="{FF2B5EF4-FFF2-40B4-BE49-F238E27FC236}">
                  <a16:creationId xmlns:a16="http://schemas.microsoft.com/office/drawing/2014/main" id="{B19DF61C-98FC-B58D-F17D-E3E57E8F4046}"/>
                </a:ext>
              </a:extLst>
            </p:cNvPr>
            <p:cNvSpPr>
              <a:spLocks/>
            </p:cNvSpPr>
            <p:nvPr/>
          </p:nvSpPr>
          <p:spPr bwMode="auto">
            <a:xfrm>
              <a:off x="6599266" y="4809676"/>
              <a:ext cx="77705" cy="186128"/>
            </a:xfrm>
            <a:custGeom>
              <a:avLst/>
              <a:gdLst>
                <a:gd name="T0" fmla="*/ 4 w 43"/>
                <a:gd name="T1" fmla="*/ 0 h 103"/>
                <a:gd name="T2" fmla="*/ 12 w 43"/>
                <a:gd name="T3" fmla="*/ 3 h 103"/>
                <a:gd name="T4" fmla="*/ 17 w 43"/>
                <a:gd name="T5" fmla="*/ 3 h 103"/>
                <a:gd name="T6" fmla="*/ 16 w 43"/>
                <a:gd name="T7" fmla="*/ 7 h 103"/>
                <a:gd name="T8" fmla="*/ 20 w 43"/>
                <a:gd name="T9" fmla="*/ 13 h 103"/>
                <a:gd name="T10" fmla="*/ 20 w 43"/>
                <a:gd name="T11" fmla="*/ 31 h 103"/>
                <a:gd name="T12" fmla="*/ 17 w 43"/>
                <a:gd name="T13" fmla="*/ 40 h 103"/>
                <a:gd name="T14" fmla="*/ 25 w 43"/>
                <a:gd name="T15" fmla="*/ 59 h 103"/>
                <a:gd name="T16" fmla="*/ 25 w 43"/>
                <a:gd name="T17" fmla="*/ 63 h 103"/>
                <a:gd name="T18" fmla="*/ 28 w 43"/>
                <a:gd name="T19" fmla="*/ 62 h 103"/>
                <a:gd name="T20" fmla="*/ 29 w 43"/>
                <a:gd name="T21" fmla="*/ 62 h 103"/>
                <a:gd name="T22" fmla="*/ 32 w 43"/>
                <a:gd name="T23" fmla="*/ 65 h 103"/>
                <a:gd name="T24" fmla="*/ 28 w 43"/>
                <a:gd name="T25" fmla="*/ 56 h 103"/>
                <a:gd name="T26" fmla="*/ 28 w 43"/>
                <a:gd name="T27" fmla="*/ 54 h 103"/>
                <a:gd name="T28" fmla="*/ 29 w 43"/>
                <a:gd name="T29" fmla="*/ 54 h 103"/>
                <a:gd name="T30" fmla="*/ 43 w 43"/>
                <a:gd name="T31" fmla="*/ 72 h 103"/>
                <a:gd name="T32" fmla="*/ 43 w 43"/>
                <a:gd name="T33" fmla="*/ 74 h 103"/>
                <a:gd name="T34" fmla="*/ 41 w 43"/>
                <a:gd name="T35" fmla="*/ 87 h 103"/>
                <a:gd name="T36" fmla="*/ 35 w 43"/>
                <a:gd name="T37" fmla="*/ 92 h 103"/>
                <a:gd name="T38" fmla="*/ 34 w 43"/>
                <a:gd name="T39" fmla="*/ 96 h 103"/>
                <a:gd name="T40" fmla="*/ 35 w 43"/>
                <a:gd name="T41" fmla="*/ 103 h 103"/>
                <a:gd name="T42" fmla="*/ 31 w 43"/>
                <a:gd name="T43" fmla="*/ 103 h 103"/>
                <a:gd name="T44" fmla="*/ 31 w 43"/>
                <a:gd name="T45" fmla="*/ 100 h 103"/>
                <a:gd name="T46" fmla="*/ 22 w 43"/>
                <a:gd name="T47" fmla="*/ 92 h 103"/>
                <a:gd name="T48" fmla="*/ 20 w 43"/>
                <a:gd name="T49" fmla="*/ 87 h 103"/>
                <a:gd name="T50" fmla="*/ 25 w 43"/>
                <a:gd name="T51" fmla="*/ 78 h 103"/>
                <a:gd name="T52" fmla="*/ 22 w 43"/>
                <a:gd name="T53" fmla="*/ 69 h 103"/>
                <a:gd name="T54" fmla="*/ 22 w 43"/>
                <a:gd name="T55" fmla="*/ 68 h 103"/>
                <a:gd name="T56" fmla="*/ 19 w 43"/>
                <a:gd name="T57" fmla="*/ 68 h 103"/>
                <a:gd name="T58" fmla="*/ 15 w 43"/>
                <a:gd name="T59" fmla="*/ 69 h 103"/>
                <a:gd name="T60" fmla="*/ 12 w 43"/>
                <a:gd name="T61" fmla="*/ 69 h 103"/>
                <a:gd name="T62" fmla="*/ 6 w 43"/>
                <a:gd name="T63" fmla="*/ 62 h 103"/>
                <a:gd name="T64" fmla="*/ 1 w 43"/>
                <a:gd name="T65" fmla="*/ 57 h 103"/>
                <a:gd name="T66" fmla="*/ 0 w 43"/>
                <a:gd name="T67" fmla="*/ 57 h 103"/>
                <a:gd name="T68" fmla="*/ 0 w 43"/>
                <a:gd name="T69" fmla="*/ 56 h 103"/>
                <a:gd name="T70" fmla="*/ 4 w 43"/>
                <a:gd name="T71" fmla="*/ 44 h 103"/>
                <a:gd name="T72" fmla="*/ 9 w 43"/>
                <a:gd name="T73" fmla="*/ 41 h 103"/>
                <a:gd name="T74" fmla="*/ 7 w 43"/>
                <a:gd name="T75" fmla="*/ 38 h 103"/>
                <a:gd name="T76" fmla="*/ 7 w 43"/>
                <a:gd name="T77" fmla="*/ 29 h 103"/>
                <a:gd name="T78" fmla="*/ 9 w 43"/>
                <a:gd name="T79" fmla="*/ 20 h 103"/>
                <a:gd name="T80" fmla="*/ 12 w 43"/>
                <a:gd name="T81" fmla="*/ 17 h 103"/>
                <a:gd name="T82" fmla="*/ 4 w 43"/>
                <a:gd name="T83" fmla="*/ 1 h 103"/>
                <a:gd name="T84" fmla="*/ 4 w 43"/>
                <a:gd name="T8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103">
                  <a:moveTo>
                    <a:pt x="4" y="0"/>
                  </a:moveTo>
                  <a:lnTo>
                    <a:pt x="12" y="3"/>
                  </a:lnTo>
                  <a:lnTo>
                    <a:pt x="17" y="3"/>
                  </a:lnTo>
                  <a:lnTo>
                    <a:pt x="16" y="7"/>
                  </a:lnTo>
                  <a:lnTo>
                    <a:pt x="20" y="13"/>
                  </a:lnTo>
                  <a:lnTo>
                    <a:pt x="20" y="31"/>
                  </a:lnTo>
                  <a:lnTo>
                    <a:pt x="17" y="40"/>
                  </a:lnTo>
                  <a:lnTo>
                    <a:pt x="25" y="59"/>
                  </a:lnTo>
                  <a:lnTo>
                    <a:pt x="25" y="63"/>
                  </a:lnTo>
                  <a:lnTo>
                    <a:pt x="28" y="62"/>
                  </a:lnTo>
                  <a:lnTo>
                    <a:pt x="29" y="62"/>
                  </a:lnTo>
                  <a:lnTo>
                    <a:pt x="32" y="65"/>
                  </a:lnTo>
                  <a:lnTo>
                    <a:pt x="28" y="56"/>
                  </a:lnTo>
                  <a:lnTo>
                    <a:pt x="28" y="54"/>
                  </a:lnTo>
                  <a:lnTo>
                    <a:pt x="29" y="54"/>
                  </a:lnTo>
                  <a:lnTo>
                    <a:pt x="43" y="72"/>
                  </a:lnTo>
                  <a:lnTo>
                    <a:pt x="43" y="74"/>
                  </a:lnTo>
                  <a:lnTo>
                    <a:pt x="41" y="87"/>
                  </a:lnTo>
                  <a:lnTo>
                    <a:pt x="35" y="92"/>
                  </a:lnTo>
                  <a:lnTo>
                    <a:pt x="34" y="96"/>
                  </a:lnTo>
                  <a:lnTo>
                    <a:pt x="35" y="103"/>
                  </a:lnTo>
                  <a:lnTo>
                    <a:pt x="31" y="103"/>
                  </a:lnTo>
                  <a:lnTo>
                    <a:pt x="31" y="100"/>
                  </a:lnTo>
                  <a:lnTo>
                    <a:pt x="22" y="92"/>
                  </a:lnTo>
                  <a:lnTo>
                    <a:pt x="20" y="87"/>
                  </a:lnTo>
                  <a:lnTo>
                    <a:pt x="25" y="78"/>
                  </a:lnTo>
                  <a:lnTo>
                    <a:pt x="22" y="69"/>
                  </a:lnTo>
                  <a:lnTo>
                    <a:pt x="22" y="68"/>
                  </a:lnTo>
                  <a:lnTo>
                    <a:pt x="19" y="68"/>
                  </a:lnTo>
                  <a:lnTo>
                    <a:pt x="15" y="69"/>
                  </a:lnTo>
                  <a:lnTo>
                    <a:pt x="12" y="69"/>
                  </a:lnTo>
                  <a:lnTo>
                    <a:pt x="6" y="62"/>
                  </a:lnTo>
                  <a:lnTo>
                    <a:pt x="1" y="57"/>
                  </a:lnTo>
                  <a:lnTo>
                    <a:pt x="0" y="57"/>
                  </a:lnTo>
                  <a:lnTo>
                    <a:pt x="0" y="56"/>
                  </a:lnTo>
                  <a:lnTo>
                    <a:pt x="4" y="44"/>
                  </a:lnTo>
                  <a:lnTo>
                    <a:pt x="9" y="41"/>
                  </a:lnTo>
                  <a:lnTo>
                    <a:pt x="7" y="38"/>
                  </a:lnTo>
                  <a:lnTo>
                    <a:pt x="7" y="29"/>
                  </a:lnTo>
                  <a:lnTo>
                    <a:pt x="9" y="20"/>
                  </a:lnTo>
                  <a:lnTo>
                    <a:pt x="12" y="17"/>
                  </a:lnTo>
                  <a:lnTo>
                    <a:pt x="4" y="1"/>
                  </a:lnTo>
                  <a:lnTo>
                    <a:pt x="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1" name="Libya">
              <a:extLst>
                <a:ext uri="{FF2B5EF4-FFF2-40B4-BE49-F238E27FC236}">
                  <a16:creationId xmlns:a16="http://schemas.microsoft.com/office/drawing/2014/main" id="{6D35465E-CD8D-C1D6-E297-450CC3D93282}"/>
                </a:ext>
              </a:extLst>
            </p:cNvPr>
            <p:cNvSpPr>
              <a:spLocks/>
            </p:cNvSpPr>
            <p:nvPr/>
          </p:nvSpPr>
          <p:spPr bwMode="auto">
            <a:xfrm>
              <a:off x="6040885" y="3761580"/>
              <a:ext cx="377676" cy="361412"/>
            </a:xfrm>
            <a:custGeom>
              <a:avLst/>
              <a:gdLst>
                <a:gd name="T0" fmla="*/ 29 w 209"/>
                <a:gd name="T1" fmla="*/ 0 h 200"/>
                <a:gd name="T2" fmla="*/ 30 w 209"/>
                <a:gd name="T3" fmla="*/ 0 h 200"/>
                <a:gd name="T4" fmla="*/ 42 w 209"/>
                <a:gd name="T5" fmla="*/ 6 h 200"/>
                <a:gd name="T6" fmla="*/ 61 w 209"/>
                <a:gd name="T7" fmla="*/ 6 h 200"/>
                <a:gd name="T8" fmla="*/ 79 w 209"/>
                <a:gd name="T9" fmla="*/ 13 h 200"/>
                <a:gd name="T10" fmla="*/ 86 w 209"/>
                <a:gd name="T11" fmla="*/ 28 h 200"/>
                <a:gd name="T12" fmla="*/ 112 w 209"/>
                <a:gd name="T13" fmla="*/ 34 h 200"/>
                <a:gd name="T14" fmla="*/ 126 w 209"/>
                <a:gd name="T15" fmla="*/ 44 h 200"/>
                <a:gd name="T16" fmla="*/ 138 w 209"/>
                <a:gd name="T17" fmla="*/ 38 h 200"/>
                <a:gd name="T18" fmla="*/ 141 w 209"/>
                <a:gd name="T19" fmla="*/ 33 h 200"/>
                <a:gd name="T20" fmla="*/ 140 w 209"/>
                <a:gd name="T21" fmla="*/ 25 h 200"/>
                <a:gd name="T22" fmla="*/ 141 w 209"/>
                <a:gd name="T23" fmla="*/ 18 h 200"/>
                <a:gd name="T24" fmla="*/ 155 w 209"/>
                <a:gd name="T25" fmla="*/ 6 h 200"/>
                <a:gd name="T26" fmla="*/ 168 w 209"/>
                <a:gd name="T27" fmla="*/ 4 h 200"/>
                <a:gd name="T28" fmla="*/ 180 w 209"/>
                <a:gd name="T29" fmla="*/ 7 h 200"/>
                <a:gd name="T30" fmla="*/ 184 w 209"/>
                <a:gd name="T31" fmla="*/ 15 h 200"/>
                <a:gd name="T32" fmla="*/ 205 w 209"/>
                <a:gd name="T33" fmla="*/ 19 h 200"/>
                <a:gd name="T34" fmla="*/ 206 w 209"/>
                <a:gd name="T35" fmla="*/ 19 h 200"/>
                <a:gd name="T36" fmla="*/ 209 w 209"/>
                <a:gd name="T37" fmla="*/ 24 h 200"/>
                <a:gd name="T38" fmla="*/ 209 w 209"/>
                <a:gd name="T39" fmla="*/ 25 h 200"/>
                <a:gd name="T40" fmla="*/ 205 w 209"/>
                <a:gd name="T41" fmla="*/ 30 h 200"/>
                <a:gd name="T42" fmla="*/ 206 w 209"/>
                <a:gd name="T43" fmla="*/ 44 h 200"/>
                <a:gd name="T44" fmla="*/ 203 w 209"/>
                <a:gd name="T45" fmla="*/ 47 h 200"/>
                <a:gd name="T46" fmla="*/ 205 w 209"/>
                <a:gd name="T47" fmla="*/ 59 h 200"/>
                <a:gd name="T48" fmla="*/ 208 w 209"/>
                <a:gd name="T49" fmla="*/ 62 h 200"/>
                <a:gd name="T50" fmla="*/ 209 w 209"/>
                <a:gd name="T51" fmla="*/ 62 h 200"/>
                <a:gd name="T52" fmla="*/ 209 w 209"/>
                <a:gd name="T53" fmla="*/ 193 h 200"/>
                <a:gd name="T54" fmla="*/ 196 w 209"/>
                <a:gd name="T55" fmla="*/ 193 h 200"/>
                <a:gd name="T56" fmla="*/ 196 w 209"/>
                <a:gd name="T57" fmla="*/ 200 h 200"/>
                <a:gd name="T58" fmla="*/ 195 w 209"/>
                <a:gd name="T59" fmla="*/ 200 h 200"/>
                <a:gd name="T60" fmla="*/ 91 w 209"/>
                <a:gd name="T61" fmla="*/ 147 h 200"/>
                <a:gd name="T62" fmla="*/ 79 w 209"/>
                <a:gd name="T63" fmla="*/ 151 h 200"/>
                <a:gd name="T64" fmla="*/ 74 w 209"/>
                <a:gd name="T65" fmla="*/ 153 h 200"/>
                <a:gd name="T66" fmla="*/ 73 w 209"/>
                <a:gd name="T67" fmla="*/ 153 h 200"/>
                <a:gd name="T68" fmla="*/ 63 w 209"/>
                <a:gd name="T69" fmla="*/ 144 h 200"/>
                <a:gd name="T70" fmla="*/ 36 w 209"/>
                <a:gd name="T71" fmla="*/ 145 h 200"/>
                <a:gd name="T72" fmla="*/ 34 w 209"/>
                <a:gd name="T73" fmla="*/ 145 h 200"/>
                <a:gd name="T74" fmla="*/ 34 w 209"/>
                <a:gd name="T75" fmla="*/ 144 h 200"/>
                <a:gd name="T76" fmla="*/ 29 w 209"/>
                <a:gd name="T77" fmla="*/ 132 h 200"/>
                <a:gd name="T78" fmla="*/ 15 w 209"/>
                <a:gd name="T79" fmla="*/ 129 h 200"/>
                <a:gd name="T80" fmla="*/ 12 w 209"/>
                <a:gd name="T81" fmla="*/ 126 h 200"/>
                <a:gd name="T82" fmla="*/ 9 w 209"/>
                <a:gd name="T83" fmla="*/ 117 h 200"/>
                <a:gd name="T84" fmla="*/ 2 w 209"/>
                <a:gd name="T85" fmla="*/ 105 h 200"/>
                <a:gd name="T86" fmla="*/ 6 w 209"/>
                <a:gd name="T87" fmla="*/ 101 h 200"/>
                <a:gd name="T88" fmla="*/ 8 w 209"/>
                <a:gd name="T89" fmla="*/ 81 h 200"/>
                <a:gd name="T90" fmla="*/ 6 w 209"/>
                <a:gd name="T91" fmla="*/ 59 h 200"/>
                <a:gd name="T92" fmla="*/ 0 w 209"/>
                <a:gd name="T93" fmla="*/ 50 h 200"/>
                <a:gd name="T94" fmla="*/ 5 w 209"/>
                <a:gd name="T95" fmla="*/ 44 h 200"/>
                <a:gd name="T96" fmla="*/ 12 w 209"/>
                <a:gd name="T97" fmla="*/ 37 h 200"/>
                <a:gd name="T98" fmla="*/ 12 w 209"/>
                <a:gd name="T99" fmla="*/ 24 h 200"/>
                <a:gd name="T100" fmla="*/ 14 w 209"/>
                <a:gd name="T101" fmla="*/ 24 h 200"/>
                <a:gd name="T102" fmla="*/ 29 w 209"/>
                <a:gd name="T103" fmla="*/ 13 h 200"/>
                <a:gd name="T104" fmla="*/ 29 w 209"/>
                <a:gd name="T10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00">
                  <a:moveTo>
                    <a:pt x="29" y="0"/>
                  </a:moveTo>
                  <a:lnTo>
                    <a:pt x="30" y="0"/>
                  </a:lnTo>
                  <a:lnTo>
                    <a:pt x="42" y="6"/>
                  </a:lnTo>
                  <a:lnTo>
                    <a:pt x="61" y="6"/>
                  </a:lnTo>
                  <a:lnTo>
                    <a:pt x="79" y="13"/>
                  </a:lnTo>
                  <a:lnTo>
                    <a:pt x="86" y="28"/>
                  </a:lnTo>
                  <a:lnTo>
                    <a:pt x="112" y="34"/>
                  </a:lnTo>
                  <a:lnTo>
                    <a:pt x="126" y="44"/>
                  </a:lnTo>
                  <a:lnTo>
                    <a:pt x="138" y="38"/>
                  </a:lnTo>
                  <a:lnTo>
                    <a:pt x="141" y="33"/>
                  </a:lnTo>
                  <a:lnTo>
                    <a:pt x="140" y="25"/>
                  </a:lnTo>
                  <a:lnTo>
                    <a:pt x="141" y="18"/>
                  </a:lnTo>
                  <a:lnTo>
                    <a:pt x="155" y="6"/>
                  </a:lnTo>
                  <a:lnTo>
                    <a:pt x="168" y="4"/>
                  </a:lnTo>
                  <a:lnTo>
                    <a:pt x="180" y="7"/>
                  </a:lnTo>
                  <a:lnTo>
                    <a:pt x="184" y="15"/>
                  </a:lnTo>
                  <a:lnTo>
                    <a:pt x="205" y="19"/>
                  </a:lnTo>
                  <a:lnTo>
                    <a:pt x="206" y="19"/>
                  </a:lnTo>
                  <a:lnTo>
                    <a:pt x="209" y="24"/>
                  </a:lnTo>
                  <a:lnTo>
                    <a:pt x="209" y="25"/>
                  </a:lnTo>
                  <a:lnTo>
                    <a:pt x="205" y="30"/>
                  </a:lnTo>
                  <a:lnTo>
                    <a:pt x="206" y="44"/>
                  </a:lnTo>
                  <a:lnTo>
                    <a:pt x="203" y="47"/>
                  </a:lnTo>
                  <a:lnTo>
                    <a:pt x="205" y="59"/>
                  </a:lnTo>
                  <a:lnTo>
                    <a:pt x="208" y="62"/>
                  </a:lnTo>
                  <a:lnTo>
                    <a:pt x="209" y="62"/>
                  </a:lnTo>
                  <a:lnTo>
                    <a:pt x="209" y="193"/>
                  </a:lnTo>
                  <a:lnTo>
                    <a:pt x="196" y="193"/>
                  </a:lnTo>
                  <a:lnTo>
                    <a:pt x="196" y="200"/>
                  </a:lnTo>
                  <a:lnTo>
                    <a:pt x="195" y="200"/>
                  </a:lnTo>
                  <a:lnTo>
                    <a:pt x="91" y="147"/>
                  </a:lnTo>
                  <a:lnTo>
                    <a:pt x="79" y="151"/>
                  </a:lnTo>
                  <a:lnTo>
                    <a:pt x="74" y="153"/>
                  </a:lnTo>
                  <a:lnTo>
                    <a:pt x="73" y="153"/>
                  </a:lnTo>
                  <a:lnTo>
                    <a:pt x="63" y="144"/>
                  </a:lnTo>
                  <a:lnTo>
                    <a:pt x="36" y="145"/>
                  </a:lnTo>
                  <a:lnTo>
                    <a:pt x="34" y="145"/>
                  </a:lnTo>
                  <a:lnTo>
                    <a:pt x="34" y="144"/>
                  </a:lnTo>
                  <a:lnTo>
                    <a:pt x="29" y="132"/>
                  </a:lnTo>
                  <a:lnTo>
                    <a:pt x="15" y="129"/>
                  </a:lnTo>
                  <a:lnTo>
                    <a:pt x="12" y="126"/>
                  </a:lnTo>
                  <a:lnTo>
                    <a:pt x="9" y="117"/>
                  </a:lnTo>
                  <a:lnTo>
                    <a:pt x="2" y="105"/>
                  </a:lnTo>
                  <a:lnTo>
                    <a:pt x="6" y="101"/>
                  </a:lnTo>
                  <a:lnTo>
                    <a:pt x="8" y="81"/>
                  </a:lnTo>
                  <a:lnTo>
                    <a:pt x="6" y="59"/>
                  </a:lnTo>
                  <a:lnTo>
                    <a:pt x="0" y="50"/>
                  </a:lnTo>
                  <a:lnTo>
                    <a:pt x="5" y="44"/>
                  </a:lnTo>
                  <a:lnTo>
                    <a:pt x="12" y="37"/>
                  </a:lnTo>
                  <a:lnTo>
                    <a:pt x="12" y="24"/>
                  </a:lnTo>
                  <a:lnTo>
                    <a:pt x="14" y="24"/>
                  </a:lnTo>
                  <a:lnTo>
                    <a:pt x="29" y="13"/>
                  </a:lnTo>
                  <a:lnTo>
                    <a:pt x="2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2" name="Liberia">
              <a:extLst>
                <a:ext uri="{FF2B5EF4-FFF2-40B4-BE49-F238E27FC236}">
                  <a16:creationId xmlns:a16="http://schemas.microsoft.com/office/drawing/2014/main" id="{3A7F6B65-53CC-ED5E-61B4-59E219B5A927}"/>
                </a:ext>
              </a:extLst>
            </p:cNvPr>
            <p:cNvSpPr>
              <a:spLocks/>
            </p:cNvSpPr>
            <p:nvPr/>
          </p:nvSpPr>
          <p:spPr bwMode="auto">
            <a:xfrm>
              <a:off x="5554785" y="4385017"/>
              <a:ext cx="97581" cy="103003"/>
            </a:xfrm>
            <a:custGeom>
              <a:avLst/>
              <a:gdLst>
                <a:gd name="T0" fmla="*/ 23 w 54"/>
                <a:gd name="T1" fmla="*/ 0 h 57"/>
                <a:gd name="T2" fmla="*/ 25 w 54"/>
                <a:gd name="T3" fmla="*/ 0 h 57"/>
                <a:gd name="T4" fmla="*/ 28 w 54"/>
                <a:gd name="T5" fmla="*/ 3 h 57"/>
                <a:gd name="T6" fmla="*/ 29 w 54"/>
                <a:gd name="T7" fmla="*/ 11 h 57"/>
                <a:gd name="T8" fmla="*/ 28 w 54"/>
                <a:gd name="T9" fmla="*/ 17 h 57"/>
                <a:gd name="T10" fmla="*/ 34 w 54"/>
                <a:gd name="T11" fmla="*/ 18 h 57"/>
                <a:gd name="T12" fmla="*/ 37 w 54"/>
                <a:gd name="T13" fmla="*/ 12 h 57"/>
                <a:gd name="T14" fmla="*/ 38 w 54"/>
                <a:gd name="T15" fmla="*/ 12 h 57"/>
                <a:gd name="T16" fmla="*/ 41 w 54"/>
                <a:gd name="T17" fmla="*/ 14 h 57"/>
                <a:gd name="T18" fmla="*/ 44 w 54"/>
                <a:gd name="T19" fmla="*/ 20 h 57"/>
                <a:gd name="T20" fmla="*/ 41 w 54"/>
                <a:gd name="T21" fmla="*/ 29 h 57"/>
                <a:gd name="T22" fmla="*/ 47 w 54"/>
                <a:gd name="T23" fmla="*/ 30 h 57"/>
                <a:gd name="T24" fmla="*/ 49 w 54"/>
                <a:gd name="T25" fmla="*/ 30 h 57"/>
                <a:gd name="T26" fmla="*/ 50 w 54"/>
                <a:gd name="T27" fmla="*/ 36 h 57"/>
                <a:gd name="T28" fmla="*/ 54 w 54"/>
                <a:gd name="T29" fmla="*/ 36 h 57"/>
                <a:gd name="T30" fmla="*/ 53 w 54"/>
                <a:gd name="T31" fmla="*/ 55 h 57"/>
                <a:gd name="T32" fmla="*/ 53 w 54"/>
                <a:gd name="T33" fmla="*/ 57 h 57"/>
                <a:gd name="T34" fmla="*/ 29 w 54"/>
                <a:gd name="T35" fmla="*/ 46 h 57"/>
                <a:gd name="T36" fmla="*/ 1 w 54"/>
                <a:gd name="T37" fmla="*/ 23 h 57"/>
                <a:gd name="T38" fmla="*/ 0 w 54"/>
                <a:gd name="T39" fmla="*/ 23 h 57"/>
                <a:gd name="T40" fmla="*/ 0 w 54"/>
                <a:gd name="T41" fmla="*/ 21 h 57"/>
                <a:gd name="T42" fmla="*/ 1 w 54"/>
                <a:gd name="T43" fmla="*/ 21 h 57"/>
                <a:gd name="T44" fmla="*/ 13 w 54"/>
                <a:gd name="T45" fmla="*/ 12 h 57"/>
                <a:gd name="T46" fmla="*/ 13 w 54"/>
                <a:gd name="T47" fmla="*/ 6 h 57"/>
                <a:gd name="T48" fmla="*/ 16 w 54"/>
                <a:gd name="T49" fmla="*/ 6 h 57"/>
                <a:gd name="T50" fmla="*/ 16 w 54"/>
                <a:gd name="T51" fmla="*/ 3 h 57"/>
                <a:gd name="T52" fmla="*/ 23 w 54"/>
                <a:gd name="T5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7">
                  <a:moveTo>
                    <a:pt x="23" y="0"/>
                  </a:moveTo>
                  <a:lnTo>
                    <a:pt x="25" y="0"/>
                  </a:lnTo>
                  <a:lnTo>
                    <a:pt x="28" y="3"/>
                  </a:lnTo>
                  <a:lnTo>
                    <a:pt x="29" y="11"/>
                  </a:lnTo>
                  <a:lnTo>
                    <a:pt x="28" y="17"/>
                  </a:lnTo>
                  <a:lnTo>
                    <a:pt x="34" y="18"/>
                  </a:lnTo>
                  <a:lnTo>
                    <a:pt x="37" y="12"/>
                  </a:lnTo>
                  <a:lnTo>
                    <a:pt x="38" y="12"/>
                  </a:lnTo>
                  <a:lnTo>
                    <a:pt x="41" y="14"/>
                  </a:lnTo>
                  <a:lnTo>
                    <a:pt x="44" y="20"/>
                  </a:lnTo>
                  <a:lnTo>
                    <a:pt x="41" y="29"/>
                  </a:lnTo>
                  <a:lnTo>
                    <a:pt x="47" y="30"/>
                  </a:lnTo>
                  <a:lnTo>
                    <a:pt x="49" y="30"/>
                  </a:lnTo>
                  <a:lnTo>
                    <a:pt x="50" y="36"/>
                  </a:lnTo>
                  <a:lnTo>
                    <a:pt x="54" y="36"/>
                  </a:lnTo>
                  <a:lnTo>
                    <a:pt x="53" y="55"/>
                  </a:lnTo>
                  <a:lnTo>
                    <a:pt x="53" y="57"/>
                  </a:lnTo>
                  <a:lnTo>
                    <a:pt x="29" y="46"/>
                  </a:lnTo>
                  <a:lnTo>
                    <a:pt x="1" y="23"/>
                  </a:lnTo>
                  <a:lnTo>
                    <a:pt x="0" y="23"/>
                  </a:lnTo>
                  <a:lnTo>
                    <a:pt x="0" y="21"/>
                  </a:lnTo>
                  <a:lnTo>
                    <a:pt x="1" y="21"/>
                  </a:lnTo>
                  <a:lnTo>
                    <a:pt x="13" y="12"/>
                  </a:lnTo>
                  <a:lnTo>
                    <a:pt x="13" y="6"/>
                  </a:lnTo>
                  <a:lnTo>
                    <a:pt x="16" y="6"/>
                  </a:lnTo>
                  <a:lnTo>
                    <a:pt x="16" y="3"/>
                  </a:lnTo>
                  <a:lnTo>
                    <a:pt x="2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3" name="Lesotho">
              <a:extLst>
                <a:ext uri="{FF2B5EF4-FFF2-40B4-BE49-F238E27FC236}">
                  <a16:creationId xmlns:a16="http://schemas.microsoft.com/office/drawing/2014/main" id="{164ADEC8-AAB5-4ED4-2305-677E491A6F0F}"/>
                </a:ext>
              </a:extLst>
            </p:cNvPr>
            <p:cNvSpPr>
              <a:spLocks/>
            </p:cNvSpPr>
            <p:nvPr/>
          </p:nvSpPr>
          <p:spPr bwMode="auto">
            <a:xfrm>
              <a:off x="6465543" y="5286740"/>
              <a:ext cx="56019" cy="56019"/>
            </a:xfrm>
            <a:custGeom>
              <a:avLst/>
              <a:gdLst>
                <a:gd name="T0" fmla="*/ 16 w 31"/>
                <a:gd name="T1" fmla="*/ 0 h 31"/>
                <a:gd name="T2" fmla="*/ 23 w 31"/>
                <a:gd name="T3" fmla="*/ 1 h 31"/>
                <a:gd name="T4" fmla="*/ 31 w 31"/>
                <a:gd name="T5" fmla="*/ 11 h 31"/>
                <a:gd name="T6" fmla="*/ 26 w 31"/>
                <a:gd name="T7" fmla="*/ 23 h 31"/>
                <a:gd name="T8" fmla="*/ 14 w 31"/>
                <a:gd name="T9" fmla="*/ 31 h 31"/>
                <a:gd name="T10" fmla="*/ 13 w 31"/>
                <a:gd name="T11" fmla="*/ 31 h 31"/>
                <a:gd name="T12" fmla="*/ 6 w 31"/>
                <a:gd name="T13" fmla="*/ 28 h 31"/>
                <a:gd name="T14" fmla="*/ 0 w 31"/>
                <a:gd name="T15" fmla="*/ 17 h 31"/>
                <a:gd name="T16" fmla="*/ 6 w 31"/>
                <a:gd name="T17" fmla="*/ 5 h 31"/>
                <a:gd name="T18" fmla="*/ 16 w 31"/>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0"/>
                  </a:moveTo>
                  <a:lnTo>
                    <a:pt x="23" y="1"/>
                  </a:lnTo>
                  <a:lnTo>
                    <a:pt x="31" y="11"/>
                  </a:lnTo>
                  <a:lnTo>
                    <a:pt x="26" y="23"/>
                  </a:lnTo>
                  <a:lnTo>
                    <a:pt x="14" y="31"/>
                  </a:lnTo>
                  <a:lnTo>
                    <a:pt x="13" y="31"/>
                  </a:lnTo>
                  <a:lnTo>
                    <a:pt x="6" y="28"/>
                  </a:lnTo>
                  <a:lnTo>
                    <a:pt x="0" y="17"/>
                  </a:lnTo>
                  <a:lnTo>
                    <a:pt x="6" y="5"/>
                  </a:lnTo>
                  <a:lnTo>
                    <a:pt x="1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4" name="Kenya">
              <a:extLst>
                <a:ext uri="{FF2B5EF4-FFF2-40B4-BE49-F238E27FC236}">
                  <a16:creationId xmlns:a16="http://schemas.microsoft.com/office/drawing/2014/main" id="{C05BA621-B047-34CA-101B-D3ECA763570D}"/>
                </a:ext>
              </a:extLst>
            </p:cNvPr>
            <p:cNvSpPr>
              <a:spLocks/>
            </p:cNvSpPr>
            <p:nvPr/>
          </p:nvSpPr>
          <p:spPr bwMode="auto">
            <a:xfrm>
              <a:off x="6628179" y="4478984"/>
              <a:ext cx="189742" cy="220462"/>
            </a:xfrm>
            <a:custGeom>
              <a:avLst/>
              <a:gdLst>
                <a:gd name="T0" fmla="*/ 6 w 105"/>
                <a:gd name="T1" fmla="*/ 0 h 122"/>
                <a:gd name="T2" fmla="*/ 25 w 105"/>
                <a:gd name="T3" fmla="*/ 0 h 122"/>
                <a:gd name="T4" fmla="*/ 36 w 105"/>
                <a:gd name="T5" fmla="*/ 2 h 122"/>
                <a:gd name="T6" fmla="*/ 52 w 105"/>
                <a:gd name="T7" fmla="*/ 11 h 122"/>
                <a:gd name="T8" fmla="*/ 65 w 105"/>
                <a:gd name="T9" fmla="*/ 14 h 122"/>
                <a:gd name="T10" fmla="*/ 71 w 105"/>
                <a:gd name="T11" fmla="*/ 14 h 122"/>
                <a:gd name="T12" fmla="*/ 80 w 105"/>
                <a:gd name="T13" fmla="*/ 8 h 122"/>
                <a:gd name="T14" fmla="*/ 90 w 105"/>
                <a:gd name="T15" fmla="*/ 6 h 122"/>
                <a:gd name="T16" fmla="*/ 98 w 105"/>
                <a:gd name="T17" fmla="*/ 9 h 122"/>
                <a:gd name="T18" fmla="*/ 105 w 105"/>
                <a:gd name="T19" fmla="*/ 9 h 122"/>
                <a:gd name="T20" fmla="*/ 105 w 105"/>
                <a:gd name="T21" fmla="*/ 11 h 122"/>
                <a:gd name="T22" fmla="*/ 93 w 105"/>
                <a:gd name="T23" fmla="*/ 25 h 122"/>
                <a:gd name="T24" fmla="*/ 93 w 105"/>
                <a:gd name="T25" fmla="*/ 73 h 122"/>
                <a:gd name="T26" fmla="*/ 101 w 105"/>
                <a:gd name="T27" fmla="*/ 82 h 122"/>
                <a:gd name="T28" fmla="*/ 101 w 105"/>
                <a:gd name="T29" fmla="*/ 83 h 122"/>
                <a:gd name="T30" fmla="*/ 84 w 105"/>
                <a:gd name="T31" fmla="*/ 97 h 122"/>
                <a:gd name="T32" fmla="*/ 76 w 105"/>
                <a:gd name="T33" fmla="*/ 117 h 122"/>
                <a:gd name="T34" fmla="*/ 71 w 105"/>
                <a:gd name="T35" fmla="*/ 122 h 122"/>
                <a:gd name="T36" fmla="*/ 52 w 105"/>
                <a:gd name="T37" fmla="*/ 110 h 122"/>
                <a:gd name="T38" fmla="*/ 49 w 105"/>
                <a:gd name="T39" fmla="*/ 100 h 122"/>
                <a:gd name="T40" fmla="*/ 4 w 105"/>
                <a:gd name="T41" fmla="*/ 74 h 122"/>
                <a:gd name="T42" fmla="*/ 1 w 105"/>
                <a:gd name="T43" fmla="*/ 71 h 122"/>
                <a:gd name="T44" fmla="*/ 1 w 105"/>
                <a:gd name="T45" fmla="*/ 70 h 122"/>
                <a:gd name="T46" fmla="*/ 3 w 105"/>
                <a:gd name="T47" fmla="*/ 67 h 122"/>
                <a:gd name="T48" fmla="*/ 7 w 105"/>
                <a:gd name="T49" fmla="*/ 65 h 122"/>
                <a:gd name="T50" fmla="*/ 1 w 105"/>
                <a:gd name="T51" fmla="*/ 65 h 122"/>
                <a:gd name="T52" fmla="*/ 1 w 105"/>
                <a:gd name="T53" fmla="*/ 57 h 122"/>
                <a:gd name="T54" fmla="*/ 12 w 105"/>
                <a:gd name="T55" fmla="*/ 40 h 122"/>
                <a:gd name="T56" fmla="*/ 15 w 105"/>
                <a:gd name="T57" fmla="*/ 33 h 122"/>
                <a:gd name="T58" fmla="*/ 12 w 105"/>
                <a:gd name="T59" fmla="*/ 24 h 122"/>
                <a:gd name="T60" fmla="*/ 7 w 105"/>
                <a:gd name="T61" fmla="*/ 21 h 122"/>
                <a:gd name="T62" fmla="*/ 4 w 105"/>
                <a:gd name="T63" fmla="*/ 11 h 122"/>
                <a:gd name="T64" fmla="*/ 0 w 105"/>
                <a:gd name="T65" fmla="*/ 9 h 122"/>
                <a:gd name="T66" fmla="*/ 0 w 105"/>
                <a:gd name="T67" fmla="*/ 8 h 122"/>
                <a:gd name="T68" fmla="*/ 6 w 105"/>
                <a:gd name="T6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2">
                  <a:moveTo>
                    <a:pt x="6" y="0"/>
                  </a:moveTo>
                  <a:lnTo>
                    <a:pt x="25" y="0"/>
                  </a:lnTo>
                  <a:lnTo>
                    <a:pt x="36" y="2"/>
                  </a:lnTo>
                  <a:lnTo>
                    <a:pt x="52" y="11"/>
                  </a:lnTo>
                  <a:lnTo>
                    <a:pt x="65" y="14"/>
                  </a:lnTo>
                  <a:lnTo>
                    <a:pt x="71" y="14"/>
                  </a:lnTo>
                  <a:lnTo>
                    <a:pt x="80" y="8"/>
                  </a:lnTo>
                  <a:lnTo>
                    <a:pt x="90" y="6"/>
                  </a:lnTo>
                  <a:lnTo>
                    <a:pt x="98" y="9"/>
                  </a:lnTo>
                  <a:lnTo>
                    <a:pt x="105" y="9"/>
                  </a:lnTo>
                  <a:lnTo>
                    <a:pt x="105" y="11"/>
                  </a:lnTo>
                  <a:lnTo>
                    <a:pt x="93" y="25"/>
                  </a:lnTo>
                  <a:lnTo>
                    <a:pt x="93" y="73"/>
                  </a:lnTo>
                  <a:lnTo>
                    <a:pt x="101" y="82"/>
                  </a:lnTo>
                  <a:lnTo>
                    <a:pt x="101" y="83"/>
                  </a:lnTo>
                  <a:lnTo>
                    <a:pt x="84" y="97"/>
                  </a:lnTo>
                  <a:lnTo>
                    <a:pt x="76" y="117"/>
                  </a:lnTo>
                  <a:lnTo>
                    <a:pt x="71" y="122"/>
                  </a:lnTo>
                  <a:lnTo>
                    <a:pt x="52" y="110"/>
                  </a:lnTo>
                  <a:lnTo>
                    <a:pt x="49" y="100"/>
                  </a:lnTo>
                  <a:lnTo>
                    <a:pt x="4" y="74"/>
                  </a:lnTo>
                  <a:lnTo>
                    <a:pt x="1" y="71"/>
                  </a:lnTo>
                  <a:lnTo>
                    <a:pt x="1" y="70"/>
                  </a:lnTo>
                  <a:lnTo>
                    <a:pt x="3" y="67"/>
                  </a:lnTo>
                  <a:lnTo>
                    <a:pt x="7" y="65"/>
                  </a:lnTo>
                  <a:lnTo>
                    <a:pt x="1" y="65"/>
                  </a:lnTo>
                  <a:lnTo>
                    <a:pt x="1" y="57"/>
                  </a:lnTo>
                  <a:lnTo>
                    <a:pt x="12" y="40"/>
                  </a:lnTo>
                  <a:lnTo>
                    <a:pt x="15" y="33"/>
                  </a:lnTo>
                  <a:lnTo>
                    <a:pt x="12" y="24"/>
                  </a:lnTo>
                  <a:lnTo>
                    <a:pt x="7" y="21"/>
                  </a:lnTo>
                  <a:lnTo>
                    <a:pt x="4" y="11"/>
                  </a:lnTo>
                  <a:lnTo>
                    <a:pt x="0" y="9"/>
                  </a:lnTo>
                  <a:lnTo>
                    <a:pt x="0" y="8"/>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5" name="Guinea">
              <a:extLst>
                <a:ext uri="{FF2B5EF4-FFF2-40B4-BE49-F238E27FC236}">
                  <a16:creationId xmlns:a16="http://schemas.microsoft.com/office/drawing/2014/main" id="{17587A57-1084-D440-DCD3-874998BFB1CF}"/>
                </a:ext>
              </a:extLst>
            </p:cNvPr>
            <p:cNvSpPr>
              <a:spLocks/>
            </p:cNvSpPr>
            <p:nvPr/>
          </p:nvSpPr>
          <p:spPr bwMode="auto">
            <a:xfrm>
              <a:off x="5471661" y="4287435"/>
              <a:ext cx="175286" cy="133723"/>
            </a:xfrm>
            <a:custGeom>
              <a:avLst/>
              <a:gdLst>
                <a:gd name="T0" fmla="*/ 37 w 97"/>
                <a:gd name="T1" fmla="*/ 4 h 74"/>
                <a:gd name="T2" fmla="*/ 47 w 97"/>
                <a:gd name="T3" fmla="*/ 2 h 74"/>
                <a:gd name="T4" fmla="*/ 50 w 97"/>
                <a:gd name="T5" fmla="*/ 7 h 74"/>
                <a:gd name="T6" fmla="*/ 56 w 97"/>
                <a:gd name="T7" fmla="*/ 5 h 74"/>
                <a:gd name="T8" fmla="*/ 62 w 97"/>
                <a:gd name="T9" fmla="*/ 5 h 74"/>
                <a:gd name="T10" fmla="*/ 69 w 97"/>
                <a:gd name="T11" fmla="*/ 7 h 74"/>
                <a:gd name="T12" fmla="*/ 80 w 97"/>
                <a:gd name="T13" fmla="*/ 2 h 74"/>
                <a:gd name="T14" fmla="*/ 89 w 97"/>
                <a:gd name="T15" fmla="*/ 17 h 74"/>
                <a:gd name="T16" fmla="*/ 86 w 97"/>
                <a:gd name="T17" fmla="*/ 22 h 74"/>
                <a:gd name="T18" fmla="*/ 90 w 97"/>
                <a:gd name="T19" fmla="*/ 28 h 74"/>
                <a:gd name="T20" fmla="*/ 92 w 97"/>
                <a:gd name="T21" fmla="*/ 37 h 74"/>
                <a:gd name="T22" fmla="*/ 95 w 97"/>
                <a:gd name="T23" fmla="*/ 44 h 74"/>
                <a:gd name="T24" fmla="*/ 97 w 97"/>
                <a:gd name="T25" fmla="*/ 50 h 74"/>
                <a:gd name="T26" fmla="*/ 95 w 97"/>
                <a:gd name="T27" fmla="*/ 51 h 74"/>
                <a:gd name="T28" fmla="*/ 96 w 97"/>
                <a:gd name="T29" fmla="*/ 53 h 74"/>
                <a:gd name="T30" fmla="*/ 97 w 97"/>
                <a:gd name="T31" fmla="*/ 59 h 74"/>
                <a:gd name="T32" fmla="*/ 92 w 97"/>
                <a:gd name="T33" fmla="*/ 57 h 74"/>
                <a:gd name="T34" fmla="*/ 90 w 97"/>
                <a:gd name="T35" fmla="*/ 59 h 74"/>
                <a:gd name="T36" fmla="*/ 93 w 97"/>
                <a:gd name="T37" fmla="*/ 62 h 74"/>
                <a:gd name="T38" fmla="*/ 90 w 97"/>
                <a:gd name="T39" fmla="*/ 69 h 74"/>
                <a:gd name="T40" fmla="*/ 84 w 97"/>
                <a:gd name="T41" fmla="*/ 68 h 74"/>
                <a:gd name="T42" fmla="*/ 72 w 97"/>
                <a:gd name="T43" fmla="*/ 72 h 74"/>
                <a:gd name="T44" fmla="*/ 74 w 97"/>
                <a:gd name="T45" fmla="*/ 65 h 74"/>
                <a:gd name="T46" fmla="*/ 69 w 97"/>
                <a:gd name="T47" fmla="*/ 56 h 74"/>
                <a:gd name="T48" fmla="*/ 62 w 97"/>
                <a:gd name="T49" fmla="*/ 57 h 74"/>
                <a:gd name="T50" fmla="*/ 56 w 97"/>
                <a:gd name="T51" fmla="*/ 59 h 74"/>
                <a:gd name="T52" fmla="*/ 59 w 97"/>
                <a:gd name="T53" fmla="*/ 50 h 74"/>
                <a:gd name="T54" fmla="*/ 35 w 97"/>
                <a:gd name="T55" fmla="*/ 38 h 74"/>
                <a:gd name="T56" fmla="*/ 23 w 97"/>
                <a:gd name="T57" fmla="*/ 48 h 74"/>
                <a:gd name="T58" fmla="*/ 10 w 97"/>
                <a:gd name="T59" fmla="*/ 35 h 74"/>
                <a:gd name="T60" fmla="*/ 3 w 97"/>
                <a:gd name="T61" fmla="*/ 26 h 74"/>
                <a:gd name="T62" fmla="*/ 1 w 97"/>
                <a:gd name="T63" fmla="*/ 28 h 74"/>
                <a:gd name="T64" fmla="*/ 0 w 97"/>
                <a:gd name="T65" fmla="*/ 25 h 74"/>
                <a:gd name="T66" fmla="*/ 6 w 97"/>
                <a:gd name="T67" fmla="*/ 16 h 74"/>
                <a:gd name="T68" fmla="*/ 14 w 97"/>
                <a:gd name="T69" fmla="*/ 7 h 74"/>
                <a:gd name="T70" fmla="*/ 19 w 97"/>
                <a:gd name="T71"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74">
                  <a:moveTo>
                    <a:pt x="17" y="0"/>
                  </a:moveTo>
                  <a:lnTo>
                    <a:pt x="37" y="4"/>
                  </a:lnTo>
                  <a:lnTo>
                    <a:pt x="43" y="4"/>
                  </a:lnTo>
                  <a:lnTo>
                    <a:pt x="47" y="2"/>
                  </a:lnTo>
                  <a:lnTo>
                    <a:pt x="50" y="2"/>
                  </a:lnTo>
                  <a:lnTo>
                    <a:pt x="50" y="7"/>
                  </a:lnTo>
                  <a:lnTo>
                    <a:pt x="55" y="5"/>
                  </a:lnTo>
                  <a:lnTo>
                    <a:pt x="56" y="5"/>
                  </a:lnTo>
                  <a:lnTo>
                    <a:pt x="59" y="10"/>
                  </a:lnTo>
                  <a:lnTo>
                    <a:pt x="62" y="5"/>
                  </a:lnTo>
                  <a:lnTo>
                    <a:pt x="63" y="5"/>
                  </a:lnTo>
                  <a:lnTo>
                    <a:pt x="69" y="7"/>
                  </a:lnTo>
                  <a:lnTo>
                    <a:pt x="75" y="2"/>
                  </a:lnTo>
                  <a:lnTo>
                    <a:pt x="80" y="2"/>
                  </a:lnTo>
                  <a:lnTo>
                    <a:pt x="83" y="13"/>
                  </a:lnTo>
                  <a:lnTo>
                    <a:pt x="89" y="17"/>
                  </a:lnTo>
                  <a:lnTo>
                    <a:pt x="89" y="19"/>
                  </a:lnTo>
                  <a:lnTo>
                    <a:pt x="86" y="22"/>
                  </a:lnTo>
                  <a:lnTo>
                    <a:pt x="90" y="22"/>
                  </a:lnTo>
                  <a:lnTo>
                    <a:pt x="90" y="28"/>
                  </a:lnTo>
                  <a:lnTo>
                    <a:pt x="93" y="34"/>
                  </a:lnTo>
                  <a:lnTo>
                    <a:pt x="92" y="37"/>
                  </a:lnTo>
                  <a:lnTo>
                    <a:pt x="92" y="43"/>
                  </a:lnTo>
                  <a:lnTo>
                    <a:pt x="95" y="44"/>
                  </a:lnTo>
                  <a:lnTo>
                    <a:pt x="96" y="44"/>
                  </a:lnTo>
                  <a:lnTo>
                    <a:pt x="97" y="50"/>
                  </a:lnTo>
                  <a:lnTo>
                    <a:pt x="96" y="50"/>
                  </a:lnTo>
                  <a:lnTo>
                    <a:pt x="95" y="51"/>
                  </a:lnTo>
                  <a:lnTo>
                    <a:pt x="96" y="51"/>
                  </a:lnTo>
                  <a:lnTo>
                    <a:pt x="96" y="53"/>
                  </a:lnTo>
                  <a:lnTo>
                    <a:pt x="97" y="57"/>
                  </a:lnTo>
                  <a:lnTo>
                    <a:pt x="97" y="59"/>
                  </a:lnTo>
                  <a:lnTo>
                    <a:pt x="93" y="59"/>
                  </a:lnTo>
                  <a:lnTo>
                    <a:pt x="92" y="57"/>
                  </a:lnTo>
                  <a:lnTo>
                    <a:pt x="90" y="57"/>
                  </a:lnTo>
                  <a:lnTo>
                    <a:pt x="90" y="59"/>
                  </a:lnTo>
                  <a:lnTo>
                    <a:pt x="93" y="60"/>
                  </a:lnTo>
                  <a:lnTo>
                    <a:pt x="93" y="62"/>
                  </a:lnTo>
                  <a:lnTo>
                    <a:pt x="90" y="68"/>
                  </a:lnTo>
                  <a:lnTo>
                    <a:pt x="90" y="69"/>
                  </a:lnTo>
                  <a:lnTo>
                    <a:pt x="86" y="69"/>
                  </a:lnTo>
                  <a:lnTo>
                    <a:pt x="84" y="68"/>
                  </a:lnTo>
                  <a:lnTo>
                    <a:pt x="80" y="74"/>
                  </a:lnTo>
                  <a:lnTo>
                    <a:pt x="72" y="72"/>
                  </a:lnTo>
                  <a:lnTo>
                    <a:pt x="72" y="71"/>
                  </a:lnTo>
                  <a:lnTo>
                    <a:pt x="74" y="65"/>
                  </a:lnTo>
                  <a:lnTo>
                    <a:pt x="72" y="59"/>
                  </a:lnTo>
                  <a:lnTo>
                    <a:pt x="69" y="56"/>
                  </a:lnTo>
                  <a:lnTo>
                    <a:pt x="62" y="59"/>
                  </a:lnTo>
                  <a:lnTo>
                    <a:pt x="62" y="57"/>
                  </a:lnTo>
                  <a:lnTo>
                    <a:pt x="57" y="59"/>
                  </a:lnTo>
                  <a:lnTo>
                    <a:pt x="56" y="59"/>
                  </a:lnTo>
                  <a:lnTo>
                    <a:pt x="56" y="57"/>
                  </a:lnTo>
                  <a:lnTo>
                    <a:pt x="59" y="50"/>
                  </a:lnTo>
                  <a:lnTo>
                    <a:pt x="50" y="38"/>
                  </a:lnTo>
                  <a:lnTo>
                    <a:pt x="35" y="38"/>
                  </a:lnTo>
                  <a:lnTo>
                    <a:pt x="28" y="48"/>
                  </a:lnTo>
                  <a:lnTo>
                    <a:pt x="23" y="48"/>
                  </a:lnTo>
                  <a:lnTo>
                    <a:pt x="16" y="38"/>
                  </a:lnTo>
                  <a:lnTo>
                    <a:pt x="10" y="35"/>
                  </a:lnTo>
                  <a:lnTo>
                    <a:pt x="4" y="25"/>
                  </a:lnTo>
                  <a:lnTo>
                    <a:pt x="3" y="26"/>
                  </a:lnTo>
                  <a:lnTo>
                    <a:pt x="3" y="28"/>
                  </a:lnTo>
                  <a:lnTo>
                    <a:pt x="1" y="28"/>
                  </a:lnTo>
                  <a:lnTo>
                    <a:pt x="1" y="26"/>
                  </a:lnTo>
                  <a:lnTo>
                    <a:pt x="0" y="25"/>
                  </a:lnTo>
                  <a:lnTo>
                    <a:pt x="0" y="23"/>
                  </a:lnTo>
                  <a:lnTo>
                    <a:pt x="6" y="16"/>
                  </a:lnTo>
                  <a:lnTo>
                    <a:pt x="17" y="13"/>
                  </a:lnTo>
                  <a:lnTo>
                    <a:pt x="14" y="7"/>
                  </a:lnTo>
                  <a:lnTo>
                    <a:pt x="16" y="7"/>
                  </a:lnTo>
                  <a:lnTo>
                    <a:pt x="19" y="4"/>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6" name="Guinea-Bissau">
              <a:extLst>
                <a:ext uri="{FF2B5EF4-FFF2-40B4-BE49-F238E27FC236}">
                  <a16:creationId xmlns:a16="http://schemas.microsoft.com/office/drawing/2014/main" id="{B71C407A-EFF8-32CC-8F53-5D0E6139830F}"/>
                </a:ext>
              </a:extLst>
            </p:cNvPr>
            <p:cNvSpPr>
              <a:spLocks/>
            </p:cNvSpPr>
            <p:nvPr/>
          </p:nvSpPr>
          <p:spPr bwMode="auto">
            <a:xfrm>
              <a:off x="5430098" y="4287435"/>
              <a:ext cx="77705" cy="45177"/>
            </a:xfrm>
            <a:custGeom>
              <a:avLst/>
              <a:gdLst>
                <a:gd name="T0" fmla="*/ 23 w 43"/>
                <a:gd name="T1" fmla="*/ 0 h 25"/>
                <a:gd name="T2" fmla="*/ 42 w 43"/>
                <a:gd name="T3" fmla="*/ 0 h 25"/>
                <a:gd name="T4" fmla="*/ 43 w 43"/>
                <a:gd name="T5" fmla="*/ 4 h 25"/>
                <a:gd name="T6" fmla="*/ 43 w 43"/>
                <a:gd name="T7" fmla="*/ 5 h 25"/>
                <a:gd name="T8" fmla="*/ 40 w 43"/>
                <a:gd name="T9" fmla="*/ 7 h 25"/>
                <a:gd name="T10" fmla="*/ 42 w 43"/>
                <a:gd name="T11" fmla="*/ 13 h 25"/>
                <a:gd name="T12" fmla="*/ 42 w 43"/>
                <a:gd name="T13" fmla="*/ 14 h 25"/>
                <a:gd name="T14" fmla="*/ 40 w 43"/>
                <a:gd name="T15" fmla="*/ 14 h 25"/>
                <a:gd name="T16" fmla="*/ 30 w 43"/>
                <a:gd name="T17" fmla="*/ 17 h 25"/>
                <a:gd name="T18" fmla="*/ 24 w 43"/>
                <a:gd name="T19" fmla="*/ 25 h 25"/>
                <a:gd name="T20" fmla="*/ 23 w 43"/>
                <a:gd name="T21" fmla="*/ 25 h 25"/>
                <a:gd name="T22" fmla="*/ 20 w 43"/>
                <a:gd name="T23" fmla="*/ 20 h 25"/>
                <a:gd name="T24" fmla="*/ 18 w 43"/>
                <a:gd name="T25" fmla="*/ 14 h 25"/>
                <a:gd name="T26" fmla="*/ 18 w 43"/>
                <a:gd name="T27" fmla="*/ 13 h 25"/>
                <a:gd name="T28" fmla="*/ 14 w 43"/>
                <a:gd name="T29" fmla="*/ 14 h 25"/>
                <a:gd name="T30" fmla="*/ 12 w 43"/>
                <a:gd name="T31" fmla="*/ 14 h 25"/>
                <a:gd name="T32" fmla="*/ 0 w 43"/>
                <a:gd name="T33" fmla="*/ 4 h 25"/>
                <a:gd name="T34" fmla="*/ 0 w 43"/>
                <a:gd name="T35" fmla="*/ 2 h 25"/>
                <a:gd name="T36" fmla="*/ 14 w 43"/>
                <a:gd name="T37" fmla="*/ 2 h 25"/>
                <a:gd name="T38" fmla="*/ 23 w 43"/>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25">
                  <a:moveTo>
                    <a:pt x="23" y="0"/>
                  </a:moveTo>
                  <a:lnTo>
                    <a:pt x="42" y="0"/>
                  </a:lnTo>
                  <a:lnTo>
                    <a:pt x="43" y="4"/>
                  </a:lnTo>
                  <a:lnTo>
                    <a:pt x="43" y="5"/>
                  </a:lnTo>
                  <a:lnTo>
                    <a:pt x="40" y="7"/>
                  </a:lnTo>
                  <a:lnTo>
                    <a:pt x="42" y="13"/>
                  </a:lnTo>
                  <a:lnTo>
                    <a:pt x="42" y="14"/>
                  </a:lnTo>
                  <a:lnTo>
                    <a:pt x="40" y="14"/>
                  </a:lnTo>
                  <a:lnTo>
                    <a:pt x="30" y="17"/>
                  </a:lnTo>
                  <a:lnTo>
                    <a:pt x="24" y="25"/>
                  </a:lnTo>
                  <a:lnTo>
                    <a:pt x="23" y="25"/>
                  </a:lnTo>
                  <a:lnTo>
                    <a:pt x="20" y="20"/>
                  </a:lnTo>
                  <a:lnTo>
                    <a:pt x="18" y="14"/>
                  </a:lnTo>
                  <a:lnTo>
                    <a:pt x="18" y="13"/>
                  </a:lnTo>
                  <a:lnTo>
                    <a:pt x="14" y="14"/>
                  </a:lnTo>
                  <a:lnTo>
                    <a:pt x="12" y="14"/>
                  </a:lnTo>
                  <a:lnTo>
                    <a:pt x="0" y="4"/>
                  </a:lnTo>
                  <a:lnTo>
                    <a:pt x="0" y="2"/>
                  </a:lnTo>
                  <a:lnTo>
                    <a:pt x="14" y="2"/>
                  </a:lnTo>
                  <a:lnTo>
                    <a:pt x="2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7" name="Ghana">
              <a:extLst>
                <a:ext uri="{FF2B5EF4-FFF2-40B4-BE49-F238E27FC236}">
                  <a16:creationId xmlns:a16="http://schemas.microsoft.com/office/drawing/2014/main" id="{1D3A2BF6-39C0-21DB-A518-92E37042A6CA}"/>
                </a:ext>
              </a:extLst>
            </p:cNvPr>
            <p:cNvSpPr>
              <a:spLocks/>
            </p:cNvSpPr>
            <p:nvPr/>
          </p:nvSpPr>
          <p:spPr bwMode="auto">
            <a:xfrm>
              <a:off x="5751755" y="4323577"/>
              <a:ext cx="108424" cy="159021"/>
            </a:xfrm>
            <a:custGeom>
              <a:avLst/>
              <a:gdLst>
                <a:gd name="T0" fmla="*/ 39 w 60"/>
                <a:gd name="T1" fmla="*/ 0 h 88"/>
                <a:gd name="T2" fmla="*/ 40 w 60"/>
                <a:gd name="T3" fmla="*/ 0 h 88"/>
                <a:gd name="T4" fmla="*/ 42 w 60"/>
                <a:gd name="T5" fmla="*/ 3 h 88"/>
                <a:gd name="T6" fmla="*/ 42 w 60"/>
                <a:gd name="T7" fmla="*/ 8 h 88"/>
                <a:gd name="T8" fmla="*/ 46 w 60"/>
                <a:gd name="T9" fmla="*/ 14 h 88"/>
                <a:gd name="T10" fmla="*/ 49 w 60"/>
                <a:gd name="T11" fmla="*/ 25 h 88"/>
                <a:gd name="T12" fmla="*/ 52 w 60"/>
                <a:gd name="T13" fmla="*/ 58 h 88"/>
                <a:gd name="T14" fmla="*/ 60 w 60"/>
                <a:gd name="T15" fmla="*/ 67 h 88"/>
                <a:gd name="T16" fmla="*/ 60 w 60"/>
                <a:gd name="T17" fmla="*/ 68 h 88"/>
                <a:gd name="T18" fmla="*/ 55 w 60"/>
                <a:gd name="T19" fmla="*/ 73 h 88"/>
                <a:gd name="T20" fmla="*/ 45 w 60"/>
                <a:gd name="T21" fmla="*/ 74 h 88"/>
                <a:gd name="T22" fmla="*/ 17 w 60"/>
                <a:gd name="T23" fmla="*/ 88 h 88"/>
                <a:gd name="T24" fmla="*/ 0 w 60"/>
                <a:gd name="T25" fmla="*/ 82 h 88"/>
                <a:gd name="T26" fmla="*/ 0 w 60"/>
                <a:gd name="T27" fmla="*/ 80 h 88"/>
                <a:gd name="T28" fmla="*/ 2 w 60"/>
                <a:gd name="T29" fmla="*/ 80 h 88"/>
                <a:gd name="T30" fmla="*/ 6 w 60"/>
                <a:gd name="T31" fmla="*/ 79 h 88"/>
                <a:gd name="T32" fmla="*/ 6 w 60"/>
                <a:gd name="T33" fmla="*/ 74 h 88"/>
                <a:gd name="T34" fmla="*/ 3 w 60"/>
                <a:gd name="T35" fmla="*/ 71 h 88"/>
                <a:gd name="T36" fmla="*/ 0 w 60"/>
                <a:gd name="T37" fmla="*/ 61 h 88"/>
                <a:gd name="T38" fmla="*/ 6 w 60"/>
                <a:gd name="T39" fmla="*/ 43 h 88"/>
                <a:gd name="T40" fmla="*/ 9 w 60"/>
                <a:gd name="T41" fmla="*/ 39 h 88"/>
                <a:gd name="T42" fmla="*/ 6 w 60"/>
                <a:gd name="T43" fmla="*/ 28 h 88"/>
                <a:gd name="T44" fmla="*/ 6 w 60"/>
                <a:gd name="T45" fmla="*/ 23 h 88"/>
                <a:gd name="T46" fmla="*/ 3 w 60"/>
                <a:gd name="T47" fmla="*/ 8 h 88"/>
                <a:gd name="T48" fmla="*/ 3 w 60"/>
                <a:gd name="T49" fmla="*/ 3 h 88"/>
                <a:gd name="T50" fmla="*/ 5 w 60"/>
                <a:gd name="T51" fmla="*/ 2 h 88"/>
                <a:gd name="T52" fmla="*/ 9 w 60"/>
                <a:gd name="T53" fmla="*/ 2 h 88"/>
                <a:gd name="T54" fmla="*/ 18 w 60"/>
                <a:gd name="T55" fmla="*/ 3 h 88"/>
                <a:gd name="T56" fmla="*/ 31 w 60"/>
                <a:gd name="T57" fmla="*/ 3 h 88"/>
                <a:gd name="T58" fmla="*/ 39 w 60"/>
                <a:gd name="T5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88">
                  <a:moveTo>
                    <a:pt x="39" y="0"/>
                  </a:moveTo>
                  <a:lnTo>
                    <a:pt x="40" y="0"/>
                  </a:lnTo>
                  <a:lnTo>
                    <a:pt x="42" y="3"/>
                  </a:lnTo>
                  <a:lnTo>
                    <a:pt x="42" y="8"/>
                  </a:lnTo>
                  <a:lnTo>
                    <a:pt x="46" y="14"/>
                  </a:lnTo>
                  <a:lnTo>
                    <a:pt x="49" y="25"/>
                  </a:lnTo>
                  <a:lnTo>
                    <a:pt x="52" y="58"/>
                  </a:lnTo>
                  <a:lnTo>
                    <a:pt x="60" y="67"/>
                  </a:lnTo>
                  <a:lnTo>
                    <a:pt x="60" y="68"/>
                  </a:lnTo>
                  <a:lnTo>
                    <a:pt x="55" y="73"/>
                  </a:lnTo>
                  <a:lnTo>
                    <a:pt x="45" y="74"/>
                  </a:lnTo>
                  <a:lnTo>
                    <a:pt x="17" y="88"/>
                  </a:lnTo>
                  <a:lnTo>
                    <a:pt x="0" y="82"/>
                  </a:lnTo>
                  <a:lnTo>
                    <a:pt x="0" y="80"/>
                  </a:lnTo>
                  <a:lnTo>
                    <a:pt x="2" y="80"/>
                  </a:lnTo>
                  <a:lnTo>
                    <a:pt x="6" y="79"/>
                  </a:lnTo>
                  <a:lnTo>
                    <a:pt x="6" y="74"/>
                  </a:lnTo>
                  <a:lnTo>
                    <a:pt x="3" y="71"/>
                  </a:lnTo>
                  <a:lnTo>
                    <a:pt x="0" y="61"/>
                  </a:lnTo>
                  <a:lnTo>
                    <a:pt x="6" y="43"/>
                  </a:lnTo>
                  <a:lnTo>
                    <a:pt x="9" y="39"/>
                  </a:lnTo>
                  <a:lnTo>
                    <a:pt x="6" y="28"/>
                  </a:lnTo>
                  <a:lnTo>
                    <a:pt x="6" y="23"/>
                  </a:lnTo>
                  <a:lnTo>
                    <a:pt x="3" y="8"/>
                  </a:lnTo>
                  <a:lnTo>
                    <a:pt x="3" y="3"/>
                  </a:lnTo>
                  <a:lnTo>
                    <a:pt x="5" y="2"/>
                  </a:lnTo>
                  <a:lnTo>
                    <a:pt x="9" y="2"/>
                  </a:lnTo>
                  <a:lnTo>
                    <a:pt x="18" y="3"/>
                  </a:lnTo>
                  <a:lnTo>
                    <a:pt x="31" y="3"/>
                  </a:lnTo>
                  <a:lnTo>
                    <a:pt x="3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8" name="The Gambia">
              <a:extLst>
                <a:ext uri="{FF2B5EF4-FFF2-40B4-BE49-F238E27FC236}">
                  <a16:creationId xmlns:a16="http://schemas.microsoft.com/office/drawing/2014/main" id="{B5193509-2633-F9DD-6CB4-05A66F7BBA8F}"/>
                </a:ext>
              </a:extLst>
            </p:cNvPr>
            <p:cNvSpPr>
              <a:spLocks/>
            </p:cNvSpPr>
            <p:nvPr/>
          </p:nvSpPr>
          <p:spPr bwMode="auto">
            <a:xfrm>
              <a:off x="5430098" y="4256715"/>
              <a:ext cx="72283" cy="25299"/>
            </a:xfrm>
            <a:custGeom>
              <a:avLst/>
              <a:gdLst>
                <a:gd name="T0" fmla="*/ 24 w 40"/>
                <a:gd name="T1" fmla="*/ 0 h 14"/>
                <a:gd name="T2" fmla="*/ 24 w 40"/>
                <a:gd name="T3" fmla="*/ 2 h 14"/>
                <a:gd name="T4" fmla="*/ 33 w 40"/>
                <a:gd name="T5" fmla="*/ 6 h 14"/>
                <a:gd name="T6" fmla="*/ 40 w 40"/>
                <a:gd name="T7" fmla="*/ 5 h 14"/>
                <a:gd name="T8" fmla="*/ 40 w 40"/>
                <a:gd name="T9" fmla="*/ 8 h 14"/>
                <a:gd name="T10" fmla="*/ 36 w 40"/>
                <a:gd name="T11" fmla="*/ 11 h 14"/>
                <a:gd name="T12" fmla="*/ 23 w 40"/>
                <a:gd name="T13" fmla="*/ 6 h 14"/>
                <a:gd name="T14" fmla="*/ 14 w 40"/>
                <a:gd name="T15" fmla="*/ 11 h 14"/>
                <a:gd name="T16" fmla="*/ 12 w 40"/>
                <a:gd name="T17" fmla="*/ 11 h 14"/>
                <a:gd name="T18" fmla="*/ 11 w 40"/>
                <a:gd name="T19" fmla="*/ 12 h 14"/>
                <a:gd name="T20" fmla="*/ 5 w 40"/>
                <a:gd name="T21" fmla="*/ 12 h 14"/>
                <a:gd name="T22" fmla="*/ 3 w 40"/>
                <a:gd name="T23" fmla="*/ 14 h 14"/>
                <a:gd name="T24" fmla="*/ 0 w 40"/>
                <a:gd name="T25" fmla="*/ 14 h 14"/>
                <a:gd name="T26" fmla="*/ 0 w 40"/>
                <a:gd name="T27" fmla="*/ 8 h 14"/>
                <a:gd name="T28" fmla="*/ 3 w 40"/>
                <a:gd name="T29" fmla="*/ 5 h 14"/>
                <a:gd name="T30" fmla="*/ 17 w 40"/>
                <a:gd name="T31" fmla="*/ 5 h 14"/>
                <a:gd name="T32" fmla="*/ 23 w 40"/>
                <a:gd name="T33" fmla="*/ 2 h 14"/>
                <a:gd name="T34" fmla="*/ 24 w 4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14">
                  <a:moveTo>
                    <a:pt x="24" y="0"/>
                  </a:moveTo>
                  <a:lnTo>
                    <a:pt x="24" y="2"/>
                  </a:lnTo>
                  <a:lnTo>
                    <a:pt x="33" y="6"/>
                  </a:lnTo>
                  <a:lnTo>
                    <a:pt x="40" y="5"/>
                  </a:lnTo>
                  <a:lnTo>
                    <a:pt x="40" y="8"/>
                  </a:lnTo>
                  <a:lnTo>
                    <a:pt x="36" y="11"/>
                  </a:lnTo>
                  <a:lnTo>
                    <a:pt x="23" y="6"/>
                  </a:lnTo>
                  <a:lnTo>
                    <a:pt x="14" y="11"/>
                  </a:lnTo>
                  <a:lnTo>
                    <a:pt x="12" y="11"/>
                  </a:lnTo>
                  <a:lnTo>
                    <a:pt x="11" y="12"/>
                  </a:lnTo>
                  <a:lnTo>
                    <a:pt x="5" y="12"/>
                  </a:lnTo>
                  <a:lnTo>
                    <a:pt x="3" y="14"/>
                  </a:lnTo>
                  <a:lnTo>
                    <a:pt x="0" y="14"/>
                  </a:lnTo>
                  <a:lnTo>
                    <a:pt x="0" y="8"/>
                  </a:lnTo>
                  <a:lnTo>
                    <a:pt x="3" y="5"/>
                  </a:lnTo>
                  <a:lnTo>
                    <a:pt x="17" y="5"/>
                  </a:lnTo>
                  <a:lnTo>
                    <a:pt x="23" y="2"/>
                  </a:lnTo>
                  <a:lnTo>
                    <a:pt x="2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9" name="Gabon">
              <a:extLst>
                <a:ext uri="{FF2B5EF4-FFF2-40B4-BE49-F238E27FC236}">
                  <a16:creationId xmlns:a16="http://schemas.microsoft.com/office/drawing/2014/main" id="{CDDCD0D4-FF71-BE74-C28A-505B7D12FE0B}"/>
                </a:ext>
              </a:extLst>
            </p:cNvPr>
            <p:cNvSpPr>
              <a:spLocks/>
            </p:cNvSpPr>
            <p:nvPr/>
          </p:nvSpPr>
          <p:spPr bwMode="auto">
            <a:xfrm>
              <a:off x="6033656" y="4535002"/>
              <a:ext cx="131916" cy="148179"/>
            </a:xfrm>
            <a:custGeom>
              <a:avLst/>
              <a:gdLst>
                <a:gd name="T0" fmla="*/ 33 w 73"/>
                <a:gd name="T1" fmla="*/ 0 h 82"/>
                <a:gd name="T2" fmla="*/ 37 w 73"/>
                <a:gd name="T3" fmla="*/ 0 h 82"/>
                <a:gd name="T4" fmla="*/ 46 w 73"/>
                <a:gd name="T5" fmla="*/ 2 h 82"/>
                <a:gd name="T6" fmla="*/ 59 w 73"/>
                <a:gd name="T7" fmla="*/ 2 h 82"/>
                <a:gd name="T8" fmla="*/ 56 w 73"/>
                <a:gd name="T9" fmla="*/ 14 h 82"/>
                <a:gd name="T10" fmla="*/ 59 w 73"/>
                <a:gd name="T11" fmla="*/ 14 h 82"/>
                <a:gd name="T12" fmla="*/ 62 w 73"/>
                <a:gd name="T13" fmla="*/ 9 h 82"/>
                <a:gd name="T14" fmla="*/ 62 w 73"/>
                <a:gd name="T15" fmla="*/ 8 h 82"/>
                <a:gd name="T16" fmla="*/ 65 w 73"/>
                <a:gd name="T17" fmla="*/ 8 h 82"/>
                <a:gd name="T18" fmla="*/ 67 w 73"/>
                <a:gd name="T19" fmla="*/ 9 h 82"/>
                <a:gd name="T20" fmla="*/ 70 w 73"/>
                <a:gd name="T21" fmla="*/ 9 h 82"/>
                <a:gd name="T22" fmla="*/ 73 w 73"/>
                <a:gd name="T23" fmla="*/ 14 h 82"/>
                <a:gd name="T24" fmla="*/ 73 w 73"/>
                <a:gd name="T25" fmla="*/ 20 h 82"/>
                <a:gd name="T26" fmla="*/ 70 w 73"/>
                <a:gd name="T27" fmla="*/ 27 h 82"/>
                <a:gd name="T28" fmla="*/ 71 w 73"/>
                <a:gd name="T29" fmla="*/ 40 h 82"/>
                <a:gd name="T30" fmla="*/ 70 w 73"/>
                <a:gd name="T31" fmla="*/ 60 h 82"/>
                <a:gd name="T32" fmla="*/ 65 w 73"/>
                <a:gd name="T33" fmla="*/ 63 h 82"/>
                <a:gd name="T34" fmla="*/ 64 w 73"/>
                <a:gd name="T35" fmla="*/ 63 h 82"/>
                <a:gd name="T36" fmla="*/ 50 w 73"/>
                <a:gd name="T37" fmla="*/ 54 h 82"/>
                <a:gd name="T38" fmla="*/ 38 w 73"/>
                <a:gd name="T39" fmla="*/ 63 h 82"/>
                <a:gd name="T40" fmla="*/ 38 w 73"/>
                <a:gd name="T41" fmla="*/ 76 h 82"/>
                <a:gd name="T42" fmla="*/ 33 w 73"/>
                <a:gd name="T43" fmla="*/ 76 h 82"/>
                <a:gd name="T44" fmla="*/ 31 w 73"/>
                <a:gd name="T45" fmla="*/ 82 h 82"/>
                <a:gd name="T46" fmla="*/ 30 w 73"/>
                <a:gd name="T47" fmla="*/ 82 h 82"/>
                <a:gd name="T48" fmla="*/ 6 w 73"/>
                <a:gd name="T49" fmla="*/ 55 h 82"/>
                <a:gd name="T50" fmla="*/ 0 w 73"/>
                <a:gd name="T51" fmla="*/ 40 h 82"/>
                <a:gd name="T52" fmla="*/ 0 w 73"/>
                <a:gd name="T53" fmla="*/ 39 h 82"/>
                <a:gd name="T54" fmla="*/ 6 w 73"/>
                <a:gd name="T55" fmla="*/ 36 h 82"/>
                <a:gd name="T56" fmla="*/ 6 w 73"/>
                <a:gd name="T57" fmla="*/ 26 h 82"/>
                <a:gd name="T58" fmla="*/ 7 w 73"/>
                <a:gd name="T59" fmla="*/ 26 h 82"/>
                <a:gd name="T60" fmla="*/ 10 w 73"/>
                <a:gd name="T61" fmla="*/ 27 h 82"/>
                <a:gd name="T62" fmla="*/ 7 w 73"/>
                <a:gd name="T63" fmla="*/ 24 h 82"/>
                <a:gd name="T64" fmla="*/ 7 w 73"/>
                <a:gd name="T65" fmla="*/ 23 h 82"/>
                <a:gd name="T66" fmla="*/ 9 w 73"/>
                <a:gd name="T67" fmla="*/ 20 h 82"/>
                <a:gd name="T68" fmla="*/ 9 w 73"/>
                <a:gd name="T69" fmla="*/ 17 h 82"/>
                <a:gd name="T70" fmla="*/ 10 w 73"/>
                <a:gd name="T71" fmla="*/ 17 h 82"/>
                <a:gd name="T72" fmla="*/ 33 w 73"/>
                <a:gd name="T73" fmla="*/ 15 h 82"/>
                <a:gd name="T74" fmla="*/ 33 w 73"/>
                <a:gd name="T7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82">
                  <a:moveTo>
                    <a:pt x="33" y="0"/>
                  </a:moveTo>
                  <a:lnTo>
                    <a:pt x="37" y="0"/>
                  </a:lnTo>
                  <a:lnTo>
                    <a:pt x="46" y="2"/>
                  </a:lnTo>
                  <a:lnTo>
                    <a:pt x="59" y="2"/>
                  </a:lnTo>
                  <a:lnTo>
                    <a:pt x="56" y="14"/>
                  </a:lnTo>
                  <a:lnTo>
                    <a:pt x="59" y="14"/>
                  </a:lnTo>
                  <a:lnTo>
                    <a:pt x="62" y="9"/>
                  </a:lnTo>
                  <a:lnTo>
                    <a:pt x="62" y="8"/>
                  </a:lnTo>
                  <a:lnTo>
                    <a:pt x="65" y="8"/>
                  </a:lnTo>
                  <a:lnTo>
                    <a:pt x="67" y="9"/>
                  </a:lnTo>
                  <a:lnTo>
                    <a:pt x="70" y="9"/>
                  </a:lnTo>
                  <a:lnTo>
                    <a:pt x="73" y="14"/>
                  </a:lnTo>
                  <a:lnTo>
                    <a:pt x="73" y="20"/>
                  </a:lnTo>
                  <a:lnTo>
                    <a:pt x="70" y="27"/>
                  </a:lnTo>
                  <a:lnTo>
                    <a:pt x="71" y="40"/>
                  </a:lnTo>
                  <a:lnTo>
                    <a:pt x="70" y="60"/>
                  </a:lnTo>
                  <a:lnTo>
                    <a:pt x="65" y="63"/>
                  </a:lnTo>
                  <a:lnTo>
                    <a:pt x="64" y="63"/>
                  </a:lnTo>
                  <a:lnTo>
                    <a:pt x="50" y="54"/>
                  </a:lnTo>
                  <a:lnTo>
                    <a:pt x="38" y="63"/>
                  </a:lnTo>
                  <a:lnTo>
                    <a:pt x="38" y="76"/>
                  </a:lnTo>
                  <a:lnTo>
                    <a:pt x="33" y="76"/>
                  </a:lnTo>
                  <a:lnTo>
                    <a:pt x="31" y="82"/>
                  </a:lnTo>
                  <a:lnTo>
                    <a:pt x="30" y="82"/>
                  </a:lnTo>
                  <a:lnTo>
                    <a:pt x="6" y="55"/>
                  </a:lnTo>
                  <a:lnTo>
                    <a:pt x="0" y="40"/>
                  </a:lnTo>
                  <a:lnTo>
                    <a:pt x="0" y="39"/>
                  </a:lnTo>
                  <a:lnTo>
                    <a:pt x="6" y="36"/>
                  </a:lnTo>
                  <a:lnTo>
                    <a:pt x="6" y="26"/>
                  </a:lnTo>
                  <a:lnTo>
                    <a:pt x="7" y="26"/>
                  </a:lnTo>
                  <a:lnTo>
                    <a:pt x="10" y="27"/>
                  </a:lnTo>
                  <a:lnTo>
                    <a:pt x="7" y="24"/>
                  </a:lnTo>
                  <a:lnTo>
                    <a:pt x="7" y="23"/>
                  </a:lnTo>
                  <a:lnTo>
                    <a:pt x="9" y="20"/>
                  </a:lnTo>
                  <a:lnTo>
                    <a:pt x="9" y="17"/>
                  </a:lnTo>
                  <a:lnTo>
                    <a:pt x="10" y="17"/>
                  </a:lnTo>
                  <a:lnTo>
                    <a:pt x="33" y="15"/>
                  </a:lnTo>
                  <a:lnTo>
                    <a:pt x="3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0" name="Eritrea">
              <a:extLst>
                <a:ext uri="{FF2B5EF4-FFF2-40B4-BE49-F238E27FC236}">
                  <a16:creationId xmlns:a16="http://schemas.microsoft.com/office/drawing/2014/main" id="{7116937A-6AC5-D6AF-3132-38375565600D}"/>
                </a:ext>
              </a:extLst>
            </p:cNvPr>
            <p:cNvSpPr>
              <a:spLocks/>
            </p:cNvSpPr>
            <p:nvPr/>
          </p:nvSpPr>
          <p:spPr bwMode="auto">
            <a:xfrm>
              <a:off x="6687811" y="4157326"/>
              <a:ext cx="155407" cy="142758"/>
            </a:xfrm>
            <a:custGeom>
              <a:avLst/>
              <a:gdLst>
                <a:gd name="T0" fmla="*/ 25 w 86"/>
                <a:gd name="T1" fmla="*/ 0 h 79"/>
                <a:gd name="T2" fmla="*/ 31 w 86"/>
                <a:gd name="T3" fmla="*/ 8 h 79"/>
                <a:gd name="T4" fmla="*/ 35 w 86"/>
                <a:gd name="T5" fmla="*/ 29 h 79"/>
                <a:gd name="T6" fmla="*/ 43 w 86"/>
                <a:gd name="T7" fmla="*/ 39 h 79"/>
                <a:gd name="T8" fmla="*/ 44 w 86"/>
                <a:gd name="T9" fmla="*/ 40 h 79"/>
                <a:gd name="T10" fmla="*/ 44 w 86"/>
                <a:gd name="T11" fmla="*/ 36 h 79"/>
                <a:gd name="T12" fmla="*/ 49 w 86"/>
                <a:gd name="T13" fmla="*/ 43 h 79"/>
                <a:gd name="T14" fmla="*/ 53 w 86"/>
                <a:gd name="T15" fmla="*/ 43 h 79"/>
                <a:gd name="T16" fmla="*/ 63 w 86"/>
                <a:gd name="T17" fmla="*/ 48 h 79"/>
                <a:gd name="T18" fmla="*/ 78 w 86"/>
                <a:gd name="T19" fmla="*/ 66 h 79"/>
                <a:gd name="T20" fmla="*/ 86 w 86"/>
                <a:gd name="T21" fmla="*/ 72 h 79"/>
                <a:gd name="T22" fmla="*/ 75 w 86"/>
                <a:gd name="T23" fmla="*/ 79 h 79"/>
                <a:gd name="T24" fmla="*/ 59 w 86"/>
                <a:gd name="T25" fmla="*/ 57 h 79"/>
                <a:gd name="T26" fmla="*/ 47 w 86"/>
                <a:gd name="T27" fmla="*/ 51 h 79"/>
                <a:gd name="T28" fmla="*/ 34 w 86"/>
                <a:gd name="T29" fmla="*/ 51 h 79"/>
                <a:gd name="T30" fmla="*/ 23 w 86"/>
                <a:gd name="T31" fmla="*/ 49 h 79"/>
                <a:gd name="T32" fmla="*/ 17 w 86"/>
                <a:gd name="T33" fmla="*/ 58 h 79"/>
                <a:gd name="T34" fmla="*/ 14 w 86"/>
                <a:gd name="T35" fmla="*/ 54 h 79"/>
                <a:gd name="T36" fmla="*/ 1 w 86"/>
                <a:gd name="T37" fmla="*/ 55 h 79"/>
                <a:gd name="T38" fmla="*/ 0 w 86"/>
                <a:gd name="T39" fmla="*/ 43 h 79"/>
                <a:gd name="T40" fmla="*/ 7 w 86"/>
                <a:gd name="T41" fmla="*/ 14 h 79"/>
                <a:gd name="T42" fmla="*/ 25 w 86"/>
                <a:gd name="T43" fmla="*/ 6 h 79"/>
                <a:gd name="T44" fmla="*/ 25 w 86"/>
                <a:gd name="T4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9">
                  <a:moveTo>
                    <a:pt x="25" y="0"/>
                  </a:moveTo>
                  <a:lnTo>
                    <a:pt x="31" y="8"/>
                  </a:lnTo>
                  <a:lnTo>
                    <a:pt x="35" y="29"/>
                  </a:lnTo>
                  <a:lnTo>
                    <a:pt x="43" y="39"/>
                  </a:lnTo>
                  <a:lnTo>
                    <a:pt x="44" y="40"/>
                  </a:lnTo>
                  <a:lnTo>
                    <a:pt x="44" y="36"/>
                  </a:lnTo>
                  <a:lnTo>
                    <a:pt x="49" y="43"/>
                  </a:lnTo>
                  <a:lnTo>
                    <a:pt x="53" y="43"/>
                  </a:lnTo>
                  <a:lnTo>
                    <a:pt x="63" y="48"/>
                  </a:lnTo>
                  <a:lnTo>
                    <a:pt x="78" y="66"/>
                  </a:lnTo>
                  <a:lnTo>
                    <a:pt x="86" y="72"/>
                  </a:lnTo>
                  <a:lnTo>
                    <a:pt x="75" y="79"/>
                  </a:lnTo>
                  <a:lnTo>
                    <a:pt x="59" y="57"/>
                  </a:lnTo>
                  <a:lnTo>
                    <a:pt x="47" y="51"/>
                  </a:lnTo>
                  <a:lnTo>
                    <a:pt x="34" y="51"/>
                  </a:lnTo>
                  <a:lnTo>
                    <a:pt x="23" y="49"/>
                  </a:lnTo>
                  <a:lnTo>
                    <a:pt x="17" y="58"/>
                  </a:lnTo>
                  <a:lnTo>
                    <a:pt x="14" y="54"/>
                  </a:lnTo>
                  <a:lnTo>
                    <a:pt x="1" y="55"/>
                  </a:lnTo>
                  <a:lnTo>
                    <a:pt x="0" y="43"/>
                  </a:lnTo>
                  <a:lnTo>
                    <a:pt x="7" y="14"/>
                  </a:lnTo>
                  <a:lnTo>
                    <a:pt x="25" y="6"/>
                  </a:lnTo>
                  <a:lnTo>
                    <a:pt x="2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1" name="Equatorial Guinea">
              <a:extLst>
                <a:ext uri="{FF2B5EF4-FFF2-40B4-BE49-F238E27FC236}">
                  <a16:creationId xmlns:a16="http://schemas.microsoft.com/office/drawing/2014/main" id="{874E0E43-62B8-CC97-1463-3E59C35E70E2}"/>
                </a:ext>
              </a:extLst>
            </p:cNvPr>
            <p:cNvSpPr>
              <a:spLocks/>
            </p:cNvSpPr>
            <p:nvPr/>
          </p:nvSpPr>
          <p:spPr bwMode="auto">
            <a:xfrm>
              <a:off x="6046306" y="4535002"/>
              <a:ext cx="48791" cy="32527"/>
            </a:xfrm>
            <a:custGeom>
              <a:avLst/>
              <a:gdLst>
                <a:gd name="T0" fmla="*/ 17 w 27"/>
                <a:gd name="T1" fmla="*/ 0 h 18"/>
                <a:gd name="T2" fmla="*/ 27 w 27"/>
                <a:gd name="T3" fmla="*/ 0 h 18"/>
                <a:gd name="T4" fmla="*/ 27 w 27"/>
                <a:gd name="T5" fmla="*/ 17 h 18"/>
                <a:gd name="T6" fmla="*/ 17 w 27"/>
                <a:gd name="T7" fmla="*/ 17 h 18"/>
                <a:gd name="T8" fmla="*/ 12 w 27"/>
                <a:gd name="T9" fmla="*/ 18 h 18"/>
                <a:gd name="T10" fmla="*/ 3 w 27"/>
                <a:gd name="T11" fmla="*/ 18 h 18"/>
                <a:gd name="T12" fmla="*/ 0 w 27"/>
                <a:gd name="T13" fmla="*/ 14 h 18"/>
                <a:gd name="T14" fmla="*/ 3 w 27"/>
                <a:gd name="T15" fmla="*/ 2 h 18"/>
                <a:gd name="T16" fmla="*/ 14 w 27"/>
                <a:gd name="T17" fmla="*/ 2 h 18"/>
                <a:gd name="T18" fmla="*/ 17 w 27"/>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8">
                  <a:moveTo>
                    <a:pt x="17" y="0"/>
                  </a:moveTo>
                  <a:lnTo>
                    <a:pt x="27" y="0"/>
                  </a:lnTo>
                  <a:lnTo>
                    <a:pt x="27" y="17"/>
                  </a:lnTo>
                  <a:lnTo>
                    <a:pt x="17" y="17"/>
                  </a:lnTo>
                  <a:lnTo>
                    <a:pt x="12" y="18"/>
                  </a:lnTo>
                  <a:lnTo>
                    <a:pt x="3" y="18"/>
                  </a:lnTo>
                  <a:lnTo>
                    <a:pt x="0" y="14"/>
                  </a:lnTo>
                  <a:lnTo>
                    <a:pt x="3" y="2"/>
                  </a:lnTo>
                  <a:lnTo>
                    <a:pt x="14" y="2"/>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2" name="Ethiopia">
              <a:extLst>
                <a:ext uri="{FF2B5EF4-FFF2-40B4-BE49-F238E27FC236}">
                  <a16:creationId xmlns:a16="http://schemas.microsoft.com/office/drawing/2014/main" id="{A457D726-6D88-78BF-FE56-F5AA119BE4CC}"/>
                </a:ext>
              </a:extLst>
            </p:cNvPr>
            <p:cNvSpPr>
              <a:spLocks/>
            </p:cNvSpPr>
            <p:nvPr/>
          </p:nvSpPr>
          <p:spPr bwMode="auto">
            <a:xfrm>
              <a:off x="6606495" y="4245872"/>
              <a:ext cx="354183" cy="260217"/>
            </a:xfrm>
            <a:custGeom>
              <a:avLst/>
              <a:gdLst>
                <a:gd name="T0" fmla="*/ 68 w 196"/>
                <a:gd name="T1" fmla="*/ 0 h 144"/>
                <a:gd name="T2" fmla="*/ 79 w 196"/>
                <a:gd name="T3" fmla="*/ 2 h 144"/>
                <a:gd name="T4" fmla="*/ 92 w 196"/>
                <a:gd name="T5" fmla="*/ 2 h 144"/>
                <a:gd name="T6" fmla="*/ 104 w 196"/>
                <a:gd name="T7" fmla="*/ 8 h 144"/>
                <a:gd name="T8" fmla="*/ 120 w 196"/>
                <a:gd name="T9" fmla="*/ 30 h 144"/>
                <a:gd name="T10" fmla="*/ 116 w 196"/>
                <a:gd name="T11" fmla="*/ 43 h 144"/>
                <a:gd name="T12" fmla="*/ 117 w 196"/>
                <a:gd name="T13" fmla="*/ 48 h 144"/>
                <a:gd name="T14" fmla="*/ 126 w 196"/>
                <a:gd name="T15" fmla="*/ 45 h 144"/>
                <a:gd name="T16" fmla="*/ 129 w 196"/>
                <a:gd name="T17" fmla="*/ 48 h 144"/>
                <a:gd name="T18" fmla="*/ 129 w 196"/>
                <a:gd name="T19" fmla="*/ 57 h 144"/>
                <a:gd name="T20" fmla="*/ 144 w 196"/>
                <a:gd name="T21" fmla="*/ 71 h 144"/>
                <a:gd name="T22" fmla="*/ 184 w 196"/>
                <a:gd name="T23" fmla="*/ 86 h 144"/>
                <a:gd name="T24" fmla="*/ 196 w 196"/>
                <a:gd name="T25" fmla="*/ 85 h 144"/>
                <a:gd name="T26" fmla="*/ 194 w 196"/>
                <a:gd name="T27" fmla="*/ 89 h 144"/>
                <a:gd name="T28" fmla="*/ 157 w 196"/>
                <a:gd name="T29" fmla="*/ 125 h 144"/>
                <a:gd name="T30" fmla="*/ 142 w 196"/>
                <a:gd name="T31" fmla="*/ 125 h 144"/>
                <a:gd name="T32" fmla="*/ 116 w 196"/>
                <a:gd name="T33" fmla="*/ 138 h 144"/>
                <a:gd name="T34" fmla="*/ 110 w 196"/>
                <a:gd name="T35" fmla="*/ 140 h 144"/>
                <a:gd name="T36" fmla="*/ 102 w 196"/>
                <a:gd name="T37" fmla="*/ 135 h 144"/>
                <a:gd name="T38" fmla="*/ 94 w 196"/>
                <a:gd name="T39" fmla="*/ 138 h 144"/>
                <a:gd name="T40" fmla="*/ 83 w 196"/>
                <a:gd name="T41" fmla="*/ 144 h 144"/>
                <a:gd name="T42" fmla="*/ 77 w 196"/>
                <a:gd name="T43" fmla="*/ 144 h 144"/>
                <a:gd name="T44" fmla="*/ 64 w 196"/>
                <a:gd name="T45" fmla="*/ 141 h 144"/>
                <a:gd name="T46" fmla="*/ 48 w 196"/>
                <a:gd name="T47" fmla="*/ 131 h 144"/>
                <a:gd name="T48" fmla="*/ 37 w 196"/>
                <a:gd name="T49" fmla="*/ 131 h 144"/>
                <a:gd name="T50" fmla="*/ 37 w 196"/>
                <a:gd name="T51" fmla="*/ 120 h 144"/>
                <a:gd name="T52" fmla="*/ 28 w 196"/>
                <a:gd name="T53" fmla="*/ 117 h 144"/>
                <a:gd name="T54" fmla="*/ 22 w 196"/>
                <a:gd name="T55" fmla="*/ 103 h 144"/>
                <a:gd name="T56" fmla="*/ 15 w 196"/>
                <a:gd name="T57" fmla="*/ 98 h 144"/>
                <a:gd name="T58" fmla="*/ 11 w 196"/>
                <a:gd name="T59" fmla="*/ 91 h 144"/>
                <a:gd name="T60" fmla="*/ 0 w 196"/>
                <a:gd name="T61" fmla="*/ 88 h 144"/>
                <a:gd name="T62" fmla="*/ 3 w 196"/>
                <a:gd name="T63" fmla="*/ 80 h 144"/>
                <a:gd name="T64" fmla="*/ 11 w 196"/>
                <a:gd name="T65" fmla="*/ 80 h 144"/>
                <a:gd name="T66" fmla="*/ 15 w 196"/>
                <a:gd name="T67" fmla="*/ 77 h 144"/>
                <a:gd name="T68" fmla="*/ 16 w 196"/>
                <a:gd name="T69" fmla="*/ 52 h 144"/>
                <a:gd name="T70" fmla="*/ 25 w 196"/>
                <a:gd name="T71" fmla="*/ 46 h 144"/>
                <a:gd name="T72" fmla="*/ 27 w 196"/>
                <a:gd name="T73" fmla="*/ 37 h 144"/>
                <a:gd name="T74" fmla="*/ 42 w 196"/>
                <a:gd name="T75" fmla="*/ 20 h 144"/>
                <a:gd name="T76" fmla="*/ 46 w 196"/>
                <a:gd name="T77" fmla="*/ 6 h 144"/>
                <a:gd name="T78" fmla="*/ 59 w 196"/>
                <a:gd name="T79" fmla="*/ 5 h 144"/>
                <a:gd name="T80" fmla="*/ 62 w 196"/>
                <a:gd name="T81" fmla="*/ 9 h 144"/>
                <a:gd name="T82" fmla="*/ 68 w 196"/>
                <a:gd name="T8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6" h="144">
                  <a:moveTo>
                    <a:pt x="68" y="0"/>
                  </a:moveTo>
                  <a:lnTo>
                    <a:pt x="79" y="2"/>
                  </a:lnTo>
                  <a:lnTo>
                    <a:pt x="92" y="2"/>
                  </a:lnTo>
                  <a:lnTo>
                    <a:pt x="104" y="8"/>
                  </a:lnTo>
                  <a:lnTo>
                    <a:pt x="120" y="30"/>
                  </a:lnTo>
                  <a:lnTo>
                    <a:pt x="116" y="43"/>
                  </a:lnTo>
                  <a:lnTo>
                    <a:pt x="117" y="48"/>
                  </a:lnTo>
                  <a:lnTo>
                    <a:pt x="126" y="45"/>
                  </a:lnTo>
                  <a:lnTo>
                    <a:pt x="129" y="48"/>
                  </a:lnTo>
                  <a:lnTo>
                    <a:pt x="129" y="57"/>
                  </a:lnTo>
                  <a:lnTo>
                    <a:pt x="144" y="71"/>
                  </a:lnTo>
                  <a:lnTo>
                    <a:pt x="184" y="86"/>
                  </a:lnTo>
                  <a:lnTo>
                    <a:pt x="196" y="85"/>
                  </a:lnTo>
                  <a:lnTo>
                    <a:pt x="194" y="89"/>
                  </a:lnTo>
                  <a:lnTo>
                    <a:pt x="157" y="125"/>
                  </a:lnTo>
                  <a:lnTo>
                    <a:pt x="142" y="125"/>
                  </a:lnTo>
                  <a:lnTo>
                    <a:pt x="116" y="138"/>
                  </a:lnTo>
                  <a:lnTo>
                    <a:pt x="110" y="140"/>
                  </a:lnTo>
                  <a:lnTo>
                    <a:pt x="102" y="135"/>
                  </a:lnTo>
                  <a:lnTo>
                    <a:pt x="94" y="138"/>
                  </a:lnTo>
                  <a:lnTo>
                    <a:pt x="83" y="144"/>
                  </a:lnTo>
                  <a:lnTo>
                    <a:pt x="77" y="144"/>
                  </a:lnTo>
                  <a:lnTo>
                    <a:pt x="64" y="141"/>
                  </a:lnTo>
                  <a:lnTo>
                    <a:pt x="48" y="131"/>
                  </a:lnTo>
                  <a:lnTo>
                    <a:pt x="37" y="131"/>
                  </a:lnTo>
                  <a:lnTo>
                    <a:pt x="37" y="120"/>
                  </a:lnTo>
                  <a:lnTo>
                    <a:pt x="28" y="117"/>
                  </a:lnTo>
                  <a:lnTo>
                    <a:pt x="22" y="103"/>
                  </a:lnTo>
                  <a:lnTo>
                    <a:pt x="15" y="98"/>
                  </a:lnTo>
                  <a:lnTo>
                    <a:pt x="11" y="91"/>
                  </a:lnTo>
                  <a:lnTo>
                    <a:pt x="0" y="88"/>
                  </a:lnTo>
                  <a:lnTo>
                    <a:pt x="3" y="80"/>
                  </a:lnTo>
                  <a:lnTo>
                    <a:pt x="11" y="80"/>
                  </a:lnTo>
                  <a:lnTo>
                    <a:pt x="15" y="77"/>
                  </a:lnTo>
                  <a:lnTo>
                    <a:pt x="16" y="52"/>
                  </a:lnTo>
                  <a:lnTo>
                    <a:pt x="25" y="46"/>
                  </a:lnTo>
                  <a:lnTo>
                    <a:pt x="27" y="37"/>
                  </a:lnTo>
                  <a:lnTo>
                    <a:pt x="42" y="20"/>
                  </a:lnTo>
                  <a:lnTo>
                    <a:pt x="46" y="6"/>
                  </a:lnTo>
                  <a:lnTo>
                    <a:pt x="59" y="5"/>
                  </a:lnTo>
                  <a:lnTo>
                    <a:pt x="62" y="9"/>
                  </a:lnTo>
                  <a:lnTo>
                    <a:pt x="68"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3" name="Egypt">
              <a:extLst>
                <a:ext uri="{FF2B5EF4-FFF2-40B4-BE49-F238E27FC236}">
                  <a16:creationId xmlns:a16="http://schemas.microsoft.com/office/drawing/2014/main" id="{E8F8FF38-12AC-8291-D5A6-9FE537B304C1}"/>
                </a:ext>
              </a:extLst>
            </p:cNvPr>
            <p:cNvSpPr>
              <a:spLocks/>
            </p:cNvSpPr>
            <p:nvPr/>
          </p:nvSpPr>
          <p:spPr bwMode="auto">
            <a:xfrm>
              <a:off x="6405911" y="3804949"/>
              <a:ext cx="267445" cy="262024"/>
            </a:xfrm>
            <a:custGeom>
              <a:avLst/>
              <a:gdLst>
                <a:gd name="T0" fmla="*/ 6 w 148"/>
                <a:gd name="T1" fmla="*/ 0 h 145"/>
                <a:gd name="T2" fmla="*/ 10 w 148"/>
                <a:gd name="T3" fmla="*/ 0 h 145"/>
                <a:gd name="T4" fmla="*/ 15 w 148"/>
                <a:gd name="T5" fmla="*/ 1 h 145"/>
                <a:gd name="T6" fmla="*/ 22 w 148"/>
                <a:gd name="T7" fmla="*/ 1 h 145"/>
                <a:gd name="T8" fmla="*/ 27 w 148"/>
                <a:gd name="T9" fmla="*/ 3 h 145"/>
                <a:gd name="T10" fmla="*/ 30 w 148"/>
                <a:gd name="T11" fmla="*/ 3 h 145"/>
                <a:gd name="T12" fmla="*/ 58 w 148"/>
                <a:gd name="T13" fmla="*/ 12 h 145"/>
                <a:gd name="T14" fmla="*/ 80 w 148"/>
                <a:gd name="T15" fmla="*/ 3 h 145"/>
                <a:gd name="T16" fmla="*/ 87 w 148"/>
                <a:gd name="T17" fmla="*/ 3 h 145"/>
                <a:gd name="T18" fmla="*/ 92 w 148"/>
                <a:gd name="T19" fmla="*/ 1 h 145"/>
                <a:gd name="T20" fmla="*/ 96 w 148"/>
                <a:gd name="T21" fmla="*/ 1 h 145"/>
                <a:gd name="T22" fmla="*/ 99 w 148"/>
                <a:gd name="T23" fmla="*/ 6 h 145"/>
                <a:gd name="T24" fmla="*/ 105 w 148"/>
                <a:gd name="T25" fmla="*/ 10 h 145"/>
                <a:gd name="T26" fmla="*/ 113 w 148"/>
                <a:gd name="T27" fmla="*/ 9 h 145"/>
                <a:gd name="T28" fmla="*/ 124 w 148"/>
                <a:gd name="T29" fmla="*/ 6 h 145"/>
                <a:gd name="T30" fmla="*/ 126 w 148"/>
                <a:gd name="T31" fmla="*/ 6 h 145"/>
                <a:gd name="T32" fmla="*/ 135 w 148"/>
                <a:gd name="T33" fmla="*/ 35 h 145"/>
                <a:gd name="T34" fmla="*/ 129 w 148"/>
                <a:gd name="T35" fmla="*/ 56 h 145"/>
                <a:gd name="T36" fmla="*/ 129 w 148"/>
                <a:gd name="T37" fmla="*/ 57 h 145"/>
                <a:gd name="T38" fmla="*/ 124 w 148"/>
                <a:gd name="T39" fmla="*/ 59 h 145"/>
                <a:gd name="T40" fmla="*/ 124 w 148"/>
                <a:gd name="T41" fmla="*/ 57 h 145"/>
                <a:gd name="T42" fmla="*/ 114 w 148"/>
                <a:gd name="T43" fmla="*/ 47 h 145"/>
                <a:gd name="T44" fmla="*/ 105 w 148"/>
                <a:gd name="T45" fmla="*/ 26 h 145"/>
                <a:gd name="T46" fmla="*/ 102 w 148"/>
                <a:gd name="T47" fmla="*/ 31 h 145"/>
                <a:gd name="T48" fmla="*/ 107 w 148"/>
                <a:gd name="T49" fmla="*/ 43 h 145"/>
                <a:gd name="T50" fmla="*/ 117 w 148"/>
                <a:gd name="T51" fmla="*/ 55 h 145"/>
                <a:gd name="T52" fmla="*/ 124 w 148"/>
                <a:gd name="T53" fmla="*/ 77 h 145"/>
                <a:gd name="T54" fmla="*/ 139 w 148"/>
                <a:gd name="T55" fmla="*/ 105 h 145"/>
                <a:gd name="T56" fmla="*/ 148 w 148"/>
                <a:gd name="T57" fmla="*/ 112 h 145"/>
                <a:gd name="T58" fmla="*/ 148 w 148"/>
                <a:gd name="T59" fmla="*/ 114 h 145"/>
                <a:gd name="T60" fmla="*/ 147 w 148"/>
                <a:gd name="T61" fmla="*/ 114 h 145"/>
                <a:gd name="T62" fmla="*/ 144 w 148"/>
                <a:gd name="T63" fmla="*/ 115 h 145"/>
                <a:gd name="T64" fmla="*/ 145 w 148"/>
                <a:gd name="T65" fmla="*/ 126 h 145"/>
                <a:gd name="T66" fmla="*/ 139 w 148"/>
                <a:gd name="T67" fmla="*/ 130 h 145"/>
                <a:gd name="T68" fmla="*/ 136 w 148"/>
                <a:gd name="T69" fmla="*/ 130 h 145"/>
                <a:gd name="T70" fmla="*/ 133 w 148"/>
                <a:gd name="T71" fmla="*/ 136 h 145"/>
                <a:gd name="T72" fmla="*/ 133 w 148"/>
                <a:gd name="T73" fmla="*/ 138 h 145"/>
                <a:gd name="T74" fmla="*/ 126 w 148"/>
                <a:gd name="T75" fmla="*/ 139 h 145"/>
                <a:gd name="T76" fmla="*/ 124 w 148"/>
                <a:gd name="T77" fmla="*/ 143 h 145"/>
                <a:gd name="T78" fmla="*/ 124 w 148"/>
                <a:gd name="T79" fmla="*/ 145 h 145"/>
                <a:gd name="T80" fmla="*/ 119 w 148"/>
                <a:gd name="T81" fmla="*/ 145 h 145"/>
                <a:gd name="T82" fmla="*/ 113 w 148"/>
                <a:gd name="T83" fmla="*/ 142 h 145"/>
                <a:gd name="T84" fmla="*/ 6 w 148"/>
                <a:gd name="T85" fmla="*/ 142 h 145"/>
                <a:gd name="T86" fmla="*/ 6 w 148"/>
                <a:gd name="T87" fmla="*/ 40 h 145"/>
                <a:gd name="T88" fmla="*/ 3 w 148"/>
                <a:gd name="T89" fmla="*/ 37 h 145"/>
                <a:gd name="T90" fmla="*/ 0 w 148"/>
                <a:gd name="T91" fmla="*/ 23 h 145"/>
                <a:gd name="T92" fmla="*/ 3 w 148"/>
                <a:gd name="T93" fmla="*/ 20 h 145"/>
                <a:gd name="T94" fmla="*/ 1 w 148"/>
                <a:gd name="T95" fmla="*/ 4 h 145"/>
                <a:gd name="T96" fmla="*/ 3 w 148"/>
                <a:gd name="T97" fmla="*/ 4 h 145"/>
                <a:gd name="T98" fmla="*/ 6 w 148"/>
                <a:gd name="T99"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8" h="145">
                  <a:moveTo>
                    <a:pt x="6" y="0"/>
                  </a:moveTo>
                  <a:lnTo>
                    <a:pt x="10" y="0"/>
                  </a:lnTo>
                  <a:lnTo>
                    <a:pt x="15" y="1"/>
                  </a:lnTo>
                  <a:lnTo>
                    <a:pt x="22" y="1"/>
                  </a:lnTo>
                  <a:lnTo>
                    <a:pt x="27" y="3"/>
                  </a:lnTo>
                  <a:lnTo>
                    <a:pt x="30" y="3"/>
                  </a:lnTo>
                  <a:lnTo>
                    <a:pt x="58" y="12"/>
                  </a:lnTo>
                  <a:lnTo>
                    <a:pt x="80" y="3"/>
                  </a:lnTo>
                  <a:lnTo>
                    <a:pt x="87" y="3"/>
                  </a:lnTo>
                  <a:lnTo>
                    <a:pt x="92" y="1"/>
                  </a:lnTo>
                  <a:lnTo>
                    <a:pt x="96" y="1"/>
                  </a:lnTo>
                  <a:lnTo>
                    <a:pt x="99" y="6"/>
                  </a:lnTo>
                  <a:lnTo>
                    <a:pt x="105" y="10"/>
                  </a:lnTo>
                  <a:lnTo>
                    <a:pt x="113" y="9"/>
                  </a:lnTo>
                  <a:lnTo>
                    <a:pt x="124" y="6"/>
                  </a:lnTo>
                  <a:lnTo>
                    <a:pt x="126" y="6"/>
                  </a:lnTo>
                  <a:lnTo>
                    <a:pt x="135" y="35"/>
                  </a:lnTo>
                  <a:lnTo>
                    <a:pt x="129" y="56"/>
                  </a:lnTo>
                  <a:lnTo>
                    <a:pt x="129" y="57"/>
                  </a:lnTo>
                  <a:lnTo>
                    <a:pt x="124" y="59"/>
                  </a:lnTo>
                  <a:lnTo>
                    <a:pt x="124" y="57"/>
                  </a:lnTo>
                  <a:lnTo>
                    <a:pt x="114" y="47"/>
                  </a:lnTo>
                  <a:lnTo>
                    <a:pt x="105" y="26"/>
                  </a:lnTo>
                  <a:lnTo>
                    <a:pt x="102" y="31"/>
                  </a:lnTo>
                  <a:lnTo>
                    <a:pt x="107" y="43"/>
                  </a:lnTo>
                  <a:lnTo>
                    <a:pt x="117" y="55"/>
                  </a:lnTo>
                  <a:lnTo>
                    <a:pt x="124" y="77"/>
                  </a:lnTo>
                  <a:lnTo>
                    <a:pt x="139" y="105"/>
                  </a:lnTo>
                  <a:lnTo>
                    <a:pt x="148" y="112"/>
                  </a:lnTo>
                  <a:lnTo>
                    <a:pt x="148" y="114"/>
                  </a:lnTo>
                  <a:lnTo>
                    <a:pt x="147" y="114"/>
                  </a:lnTo>
                  <a:lnTo>
                    <a:pt x="144" y="115"/>
                  </a:lnTo>
                  <a:lnTo>
                    <a:pt x="145" y="126"/>
                  </a:lnTo>
                  <a:lnTo>
                    <a:pt x="139" y="130"/>
                  </a:lnTo>
                  <a:lnTo>
                    <a:pt x="136" y="130"/>
                  </a:lnTo>
                  <a:lnTo>
                    <a:pt x="133" y="136"/>
                  </a:lnTo>
                  <a:lnTo>
                    <a:pt x="133" y="138"/>
                  </a:lnTo>
                  <a:lnTo>
                    <a:pt x="126" y="139"/>
                  </a:lnTo>
                  <a:lnTo>
                    <a:pt x="124" y="143"/>
                  </a:lnTo>
                  <a:lnTo>
                    <a:pt x="124" y="145"/>
                  </a:lnTo>
                  <a:lnTo>
                    <a:pt x="119" y="145"/>
                  </a:lnTo>
                  <a:lnTo>
                    <a:pt x="113" y="142"/>
                  </a:lnTo>
                  <a:lnTo>
                    <a:pt x="6" y="142"/>
                  </a:lnTo>
                  <a:lnTo>
                    <a:pt x="6" y="40"/>
                  </a:lnTo>
                  <a:lnTo>
                    <a:pt x="3" y="37"/>
                  </a:lnTo>
                  <a:lnTo>
                    <a:pt x="0" y="23"/>
                  </a:lnTo>
                  <a:lnTo>
                    <a:pt x="3" y="20"/>
                  </a:lnTo>
                  <a:lnTo>
                    <a:pt x="1" y="4"/>
                  </a:lnTo>
                  <a:lnTo>
                    <a:pt x="3" y="4"/>
                  </a:lnTo>
                  <a:lnTo>
                    <a:pt x="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4" name="Djibouti">
              <a:extLst>
                <a:ext uri="{FF2B5EF4-FFF2-40B4-BE49-F238E27FC236}">
                  <a16:creationId xmlns:a16="http://schemas.microsoft.com/office/drawing/2014/main" id="{BE5580E7-1227-0409-D661-31E61DE641FD}"/>
                </a:ext>
              </a:extLst>
            </p:cNvPr>
            <p:cNvSpPr>
              <a:spLocks/>
            </p:cNvSpPr>
            <p:nvPr/>
          </p:nvSpPr>
          <p:spPr bwMode="auto">
            <a:xfrm>
              <a:off x="6812499" y="4287435"/>
              <a:ext cx="41563" cy="45177"/>
            </a:xfrm>
            <a:custGeom>
              <a:avLst/>
              <a:gdLst>
                <a:gd name="T0" fmla="*/ 17 w 23"/>
                <a:gd name="T1" fmla="*/ 0 h 25"/>
                <a:gd name="T2" fmla="*/ 18 w 23"/>
                <a:gd name="T3" fmla="*/ 0 h 25"/>
                <a:gd name="T4" fmla="*/ 21 w 23"/>
                <a:gd name="T5" fmla="*/ 4 h 25"/>
                <a:gd name="T6" fmla="*/ 23 w 23"/>
                <a:gd name="T7" fmla="*/ 10 h 25"/>
                <a:gd name="T8" fmla="*/ 23 w 23"/>
                <a:gd name="T9" fmla="*/ 11 h 25"/>
                <a:gd name="T10" fmla="*/ 12 w 23"/>
                <a:gd name="T11" fmla="*/ 16 h 25"/>
                <a:gd name="T12" fmla="*/ 20 w 23"/>
                <a:gd name="T13" fmla="*/ 16 h 25"/>
                <a:gd name="T14" fmla="*/ 20 w 23"/>
                <a:gd name="T15" fmla="*/ 17 h 25"/>
                <a:gd name="T16" fmla="*/ 17 w 23"/>
                <a:gd name="T17" fmla="*/ 25 h 25"/>
                <a:gd name="T18" fmla="*/ 15 w 23"/>
                <a:gd name="T19" fmla="*/ 25 h 25"/>
                <a:gd name="T20" fmla="*/ 12 w 23"/>
                <a:gd name="T21" fmla="*/ 23 h 25"/>
                <a:gd name="T22" fmla="*/ 3 w 23"/>
                <a:gd name="T23" fmla="*/ 25 h 25"/>
                <a:gd name="T24" fmla="*/ 2 w 23"/>
                <a:gd name="T25" fmla="*/ 25 h 25"/>
                <a:gd name="T26" fmla="*/ 0 w 23"/>
                <a:gd name="T27" fmla="*/ 20 h 25"/>
                <a:gd name="T28" fmla="*/ 6 w 23"/>
                <a:gd name="T29" fmla="*/ 7 h 25"/>
                <a:gd name="T30" fmla="*/ 17 w 23"/>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5">
                  <a:moveTo>
                    <a:pt x="17" y="0"/>
                  </a:moveTo>
                  <a:lnTo>
                    <a:pt x="18" y="0"/>
                  </a:lnTo>
                  <a:lnTo>
                    <a:pt x="21" y="4"/>
                  </a:lnTo>
                  <a:lnTo>
                    <a:pt x="23" y="10"/>
                  </a:lnTo>
                  <a:lnTo>
                    <a:pt x="23" y="11"/>
                  </a:lnTo>
                  <a:lnTo>
                    <a:pt x="12" y="16"/>
                  </a:lnTo>
                  <a:lnTo>
                    <a:pt x="20" y="16"/>
                  </a:lnTo>
                  <a:lnTo>
                    <a:pt x="20" y="17"/>
                  </a:lnTo>
                  <a:lnTo>
                    <a:pt x="17" y="25"/>
                  </a:lnTo>
                  <a:lnTo>
                    <a:pt x="15" y="25"/>
                  </a:lnTo>
                  <a:lnTo>
                    <a:pt x="12" y="23"/>
                  </a:lnTo>
                  <a:lnTo>
                    <a:pt x="3" y="25"/>
                  </a:lnTo>
                  <a:lnTo>
                    <a:pt x="2" y="25"/>
                  </a:lnTo>
                  <a:lnTo>
                    <a:pt x="0" y="20"/>
                  </a:lnTo>
                  <a:lnTo>
                    <a:pt x="6" y="7"/>
                  </a:lnTo>
                  <a:lnTo>
                    <a:pt x="1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5" name="Democratic Republic of the Congo">
              <a:extLst>
                <a:ext uri="{FF2B5EF4-FFF2-40B4-BE49-F238E27FC236}">
                  <a16:creationId xmlns:a16="http://schemas.microsoft.com/office/drawing/2014/main" id="{EC929CE6-5E2B-7B61-E68D-B402A6E7654D}"/>
                </a:ext>
              </a:extLst>
            </p:cNvPr>
            <p:cNvSpPr>
              <a:spLocks/>
            </p:cNvSpPr>
            <p:nvPr/>
          </p:nvSpPr>
          <p:spPr bwMode="auto">
            <a:xfrm>
              <a:off x="6116782" y="4462720"/>
              <a:ext cx="449959" cy="442731"/>
            </a:xfrm>
            <a:custGeom>
              <a:avLst/>
              <a:gdLst>
                <a:gd name="T0" fmla="*/ 184 w 249"/>
                <a:gd name="T1" fmla="*/ 0 h 245"/>
                <a:gd name="T2" fmla="*/ 188 w 249"/>
                <a:gd name="T3" fmla="*/ 2 h 245"/>
                <a:gd name="T4" fmla="*/ 191 w 249"/>
                <a:gd name="T5" fmla="*/ 3 h 245"/>
                <a:gd name="T6" fmla="*/ 200 w 249"/>
                <a:gd name="T7" fmla="*/ 2 h 245"/>
                <a:gd name="T8" fmla="*/ 212 w 249"/>
                <a:gd name="T9" fmla="*/ 12 h 245"/>
                <a:gd name="T10" fmla="*/ 224 w 249"/>
                <a:gd name="T11" fmla="*/ 11 h 245"/>
                <a:gd name="T12" fmla="*/ 228 w 249"/>
                <a:gd name="T13" fmla="*/ 9 h 245"/>
                <a:gd name="T14" fmla="*/ 243 w 249"/>
                <a:gd name="T15" fmla="*/ 34 h 245"/>
                <a:gd name="T16" fmla="*/ 249 w 249"/>
                <a:gd name="T17" fmla="*/ 42 h 245"/>
                <a:gd name="T18" fmla="*/ 240 w 249"/>
                <a:gd name="T19" fmla="*/ 54 h 245"/>
                <a:gd name="T20" fmla="*/ 230 w 249"/>
                <a:gd name="T21" fmla="*/ 86 h 245"/>
                <a:gd name="T22" fmla="*/ 222 w 249"/>
                <a:gd name="T23" fmla="*/ 104 h 245"/>
                <a:gd name="T24" fmla="*/ 222 w 249"/>
                <a:gd name="T25" fmla="*/ 137 h 245"/>
                <a:gd name="T26" fmla="*/ 224 w 249"/>
                <a:gd name="T27" fmla="*/ 153 h 245"/>
                <a:gd name="T28" fmla="*/ 237 w 249"/>
                <a:gd name="T29" fmla="*/ 168 h 245"/>
                <a:gd name="T30" fmla="*/ 240 w 249"/>
                <a:gd name="T31" fmla="*/ 177 h 245"/>
                <a:gd name="T32" fmla="*/ 222 w 249"/>
                <a:gd name="T33" fmla="*/ 180 h 245"/>
                <a:gd name="T34" fmla="*/ 218 w 249"/>
                <a:gd name="T35" fmla="*/ 205 h 245"/>
                <a:gd name="T36" fmla="*/ 219 w 249"/>
                <a:gd name="T37" fmla="*/ 229 h 245"/>
                <a:gd name="T38" fmla="*/ 230 w 249"/>
                <a:gd name="T39" fmla="*/ 244 h 245"/>
                <a:gd name="T40" fmla="*/ 228 w 249"/>
                <a:gd name="T41" fmla="*/ 245 h 245"/>
                <a:gd name="T42" fmla="*/ 206 w 249"/>
                <a:gd name="T43" fmla="*/ 230 h 245"/>
                <a:gd name="T44" fmla="*/ 193 w 249"/>
                <a:gd name="T45" fmla="*/ 224 h 245"/>
                <a:gd name="T46" fmla="*/ 172 w 249"/>
                <a:gd name="T47" fmla="*/ 220 h 245"/>
                <a:gd name="T48" fmla="*/ 160 w 249"/>
                <a:gd name="T49" fmla="*/ 218 h 245"/>
                <a:gd name="T50" fmla="*/ 154 w 249"/>
                <a:gd name="T51" fmla="*/ 212 h 245"/>
                <a:gd name="T52" fmla="*/ 130 w 249"/>
                <a:gd name="T53" fmla="*/ 218 h 245"/>
                <a:gd name="T54" fmla="*/ 126 w 249"/>
                <a:gd name="T55" fmla="*/ 214 h 245"/>
                <a:gd name="T56" fmla="*/ 124 w 249"/>
                <a:gd name="T57" fmla="*/ 193 h 245"/>
                <a:gd name="T58" fmla="*/ 121 w 249"/>
                <a:gd name="T59" fmla="*/ 165 h 245"/>
                <a:gd name="T60" fmla="*/ 110 w 249"/>
                <a:gd name="T61" fmla="*/ 160 h 245"/>
                <a:gd name="T62" fmla="*/ 92 w 249"/>
                <a:gd name="T63" fmla="*/ 174 h 245"/>
                <a:gd name="T64" fmla="*/ 83 w 249"/>
                <a:gd name="T65" fmla="*/ 175 h 245"/>
                <a:gd name="T66" fmla="*/ 75 w 249"/>
                <a:gd name="T67" fmla="*/ 177 h 245"/>
                <a:gd name="T68" fmla="*/ 61 w 249"/>
                <a:gd name="T69" fmla="*/ 165 h 245"/>
                <a:gd name="T70" fmla="*/ 52 w 249"/>
                <a:gd name="T71" fmla="*/ 146 h 245"/>
                <a:gd name="T72" fmla="*/ 1 w 249"/>
                <a:gd name="T73" fmla="*/ 152 h 245"/>
                <a:gd name="T74" fmla="*/ 0 w 249"/>
                <a:gd name="T75" fmla="*/ 146 h 245"/>
                <a:gd name="T76" fmla="*/ 3 w 249"/>
                <a:gd name="T77" fmla="*/ 135 h 245"/>
                <a:gd name="T78" fmla="*/ 9 w 249"/>
                <a:gd name="T79" fmla="*/ 129 h 245"/>
                <a:gd name="T80" fmla="*/ 19 w 249"/>
                <a:gd name="T81" fmla="*/ 128 h 245"/>
                <a:gd name="T82" fmla="*/ 27 w 249"/>
                <a:gd name="T83" fmla="*/ 126 h 245"/>
                <a:gd name="T84" fmla="*/ 30 w 249"/>
                <a:gd name="T85" fmla="*/ 132 h 245"/>
                <a:gd name="T86" fmla="*/ 50 w 249"/>
                <a:gd name="T87" fmla="*/ 112 h 245"/>
                <a:gd name="T88" fmla="*/ 58 w 249"/>
                <a:gd name="T89" fmla="*/ 88 h 245"/>
                <a:gd name="T90" fmla="*/ 74 w 249"/>
                <a:gd name="T91" fmla="*/ 43 h 245"/>
                <a:gd name="T92" fmla="*/ 83 w 249"/>
                <a:gd name="T93" fmla="*/ 23 h 245"/>
                <a:gd name="T94" fmla="*/ 86 w 249"/>
                <a:gd name="T95" fmla="*/ 20 h 245"/>
                <a:gd name="T96" fmla="*/ 93 w 249"/>
                <a:gd name="T97" fmla="*/ 2 h 245"/>
                <a:gd name="T98" fmla="*/ 110 w 249"/>
                <a:gd name="T99" fmla="*/ 9 h 245"/>
                <a:gd name="T100" fmla="*/ 121 w 249"/>
                <a:gd name="T101" fmla="*/ 12 h 245"/>
                <a:gd name="T102" fmla="*/ 138 w 249"/>
                <a:gd name="T103" fmla="*/ 6 h 245"/>
                <a:gd name="T104" fmla="*/ 145 w 249"/>
                <a:gd name="T105" fmla="*/ 8 h 245"/>
                <a:gd name="T106" fmla="*/ 164 w 249"/>
                <a:gd name="T107" fmla="*/ 5 h 245"/>
                <a:gd name="T108" fmla="*/ 169 w 249"/>
                <a:gd name="T109" fmla="*/ 2 h 245"/>
                <a:gd name="T110" fmla="*/ 179 w 249"/>
                <a:gd name="T11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9" h="245">
                  <a:moveTo>
                    <a:pt x="179" y="0"/>
                  </a:moveTo>
                  <a:lnTo>
                    <a:pt x="184" y="0"/>
                  </a:lnTo>
                  <a:lnTo>
                    <a:pt x="187" y="3"/>
                  </a:lnTo>
                  <a:lnTo>
                    <a:pt x="188" y="2"/>
                  </a:lnTo>
                  <a:lnTo>
                    <a:pt x="190" y="2"/>
                  </a:lnTo>
                  <a:lnTo>
                    <a:pt x="191" y="3"/>
                  </a:lnTo>
                  <a:lnTo>
                    <a:pt x="193" y="2"/>
                  </a:lnTo>
                  <a:lnTo>
                    <a:pt x="200" y="2"/>
                  </a:lnTo>
                  <a:lnTo>
                    <a:pt x="207" y="11"/>
                  </a:lnTo>
                  <a:lnTo>
                    <a:pt x="212" y="12"/>
                  </a:lnTo>
                  <a:lnTo>
                    <a:pt x="215" y="11"/>
                  </a:lnTo>
                  <a:lnTo>
                    <a:pt x="224" y="11"/>
                  </a:lnTo>
                  <a:lnTo>
                    <a:pt x="227" y="9"/>
                  </a:lnTo>
                  <a:lnTo>
                    <a:pt x="228" y="9"/>
                  </a:lnTo>
                  <a:lnTo>
                    <a:pt x="244" y="23"/>
                  </a:lnTo>
                  <a:lnTo>
                    <a:pt x="243" y="34"/>
                  </a:lnTo>
                  <a:lnTo>
                    <a:pt x="249" y="40"/>
                  </a:lnTo>
                  <a:lnTo>
                    <a:pt x="249" y="42"/>
                  </a:lnTo>
                  <a:lnTo>
                    <a:pt x="240" y="51"/>
                  </a:lnTo>
                  <a:lnTo>
                    <a:pt x="240" y="54"/>
                  </a:lnTo>
                  <a:lnTo>
                    <a:pt x="231" y="64"/>
                  </a:lnTo>
                  <a:lnTo>
                    <a:pt x="230" y="86"/>
                  </a:lnTo>
                  <a:lnTo>
                    <a:pt x="219" y="100"/>
                  </a:lnTo>
                  <a:lnTo>
                    <a:pt x="222" y="104"/>
                  </a:lnTo>
                  <a:lnTo>
                    <a:pt x="224" y="113"/>
                  </a:lnTo>
                  <a:lnTo>
                    <a:pt x="222" y="137"/>
                  </a:lnTo>
                  <a:lnTo>
                    <a:pt x="224" y="143"/>
                  </a:lnTo>
                  <a:lnTo>
                    <a:pt x="224" y="153"/>
                  </a:lnTo>
                  <a:lnTo>
                    <a:pt x="230" y="160"/>
                  </a:lnTo>
                  <a:lnTo>
                    <a:pt x="237" y="168"/>
                  </a:lnTo>
                  <a:lnTo>
                    <a:pt x="240" y="175"/>
                  </a:lnTo>
                  <a:lnTo>
                    <a:pt x="240" y="177"/>
                  </a:lnTo>
                  <a:lnTo>
                    <a:pt x="239" y="177"/>
                  </a:lnTo>
                  <a:lnTo>
                    <a:pt x="222" y="180"/>
                  </a:lnTo>
                  <a:lnTo>
                    <a:pt x="216" y="189"/>
                  </a:lnTo>
                  <a:lnTo>
                    <a:pt x="218" y="205"/>
                  </a:lnTo>
                  <a:lnTo>
                    <a:pt x="213" y="223"/>
                  </a:lnTo>
                  <a:lnTo>
                    <a:pt x="219" y="229"/>
                  </a:lnTo>
                  <a:lnTo>
                    <a:pt x="228" y="229"/>
                  </a:lnTo>
                  <a:lnTo>
                    <a:pt x="230" y="244"/>
                  </a:lnTo>
                  <a:lnTo>
                    <a:pt x="230" y="245"/>
                  </a:lnTo>
                  <a:lnTo>
                    <a:pt x="228" y="245"/>
                  </a:lnTo>
                  <a:lnTo>
                    <a:pt x="216" y="242"/>
                  </a:lnTo>
                  <a:lnTo>
                    <a:pt x="206" y="230"/>
                  </a:lnTo>
                  <a:lnTo>
                    <a:pt x="199" y="229"/>
                  </a:lnTo>
                  <a:lnTo>
                    <a:pt x="193" y="224"/>
                  </a:lnTo>
                  <a:lnTo>
                    <a:pt x="182" y="226"/>
                  </a:lnTo>
                  <a:lnTo>
                    <a:pt x="172" y="220"/>
                  </a:lnTo>
                  <a:lnTo>
                    <a:pt x="169" y="215"/>
                  </a:lnTo>
                  <a:lnTo>
                    <a:pt x="160" y="218"/>
                  </a:lnTo>
                  <a:lnTo>
                    <a:pt x="157" y="211"/>
                  </a:lnTo>
                  <a:lnTo>
                    <a:pt x="154" y="212"/>
                  </a:lnTo>
                  <a:lnTo>
                    <a:pt x="135" y="214"/>
                  </a:lnTo>
                  <a:lnTo>
                    <a:pt x="130" y="218"/>
                  </a:lnTo>
                  <a:lnTo>
                    <a:pt x="126" y="215"/>
                  </a:lnTo>
                  <a:lnTo>
                    <a:pt x="126" y="214"/>
                  </a:lnTo>
                  <a:lnTo>
                    <a:pt x="129" y="208"/>
                  </a:lnTo>
                  <a:lnTo>
                    <a:pt x="124" y="193"/>
                  </a:lnTo>
                  <a:lnTo>
                    <a:pt x="123" y="168"/>
                  </a:lnTo>
                  <a:lnTo>
                    <a:pt x="121" y="165"/>
                  </a:lnTo>
                  <a:lnTo>
                    <a:pt x="110" y="165"/>
                  </a:lnTo>
                  <a:lnTo>
                    <a:pt x="110" y="160"/>
                  </a:lnTo>
                  <a:lnTo>
                    <a:pt x="96" y="162"/>
                  </a:lnTo>
                  <a:lnTo>
                    <a:pt x="92" y="174"/>
                  </a:lnTo>
                  <a:lnTo>
                    <a:pt x="87" y="174"/>
                  </a:lnTo>
                  <a:lnTo>
                    <a:pt x="83" y="175"/>
                  </a:lnTo>
                  <a:lnTo>
                    <a:pt x="80" y="175"/>
                  </a:lnTo>
                  <a:lnTo>
                    <a:pt x="75" y="177"/>
                  </a:lnTo>
                  <a:lnTo>
                    <a:pt x="71" y="177"/>
                  </a:lnTo>
                  <a:lnTo>
                    <a:pt x="61" y="165"/>
                  </a:lnTo>
                  <a:lnTo>
                    <a:pt x="56" y="150"/>
                  </a:lnTo>
                  <a:lnTo>
                    <a:pt x="52" y="146"/>
                  </a:lnTo>
                  <a:lnTo>
                    <a:pt x="13" y="147"/>
                  </a:lnTo>
                  <a:lnTo>
                    <a:pt x="1" y="152"/>
                  </a:lnTo>
                  <a:lnTo>
                    <a:pt x="0" y="152"/>
                  </a:lnTo>
                  <a:lnTo>
                    <a:pt x="0" y="146"/>
                  </a:lnTo>
                  <a:lnTo>
                    <a:pt x="1" y="144"/>
                  </a:lnTo>
                  <a:lnTo>
                    <a:pt x="3" y="135"/>
                  </a:lnTo>
                  <a:lnTo>
                    <a:pt x="3" y="134"/>
                  </a:lnTo>
                  <a:lnTo>
                    <a:pt x="9" y="129"/>
                  </a:lnTo>
                  <a:lnTo>
                    <a:pt x="16" y="131"/>
                  </a:lnTo>
                  <a:lnTo>
                    <a:pt x="19" y="128"/>
                  </a:lnTo>
                  <a:lnTo>
                    <a:pt x="27" y="125"/>
                  </a:lnTo>
                  <a:lnTo>
                    <a:pt x="27" y="126"/>
                  </a:lnTo>
                  <a:lnTo>
                    <a:pt x="28" y="131"/>
                  </a:lnTo>
                  <a:lnTo>
                    <a:pt x="30" y="132"/>
                  </a:lnTo>
                  <a:lnTo>
                    <a:pt x="46" y="119"/>
                  </a:lnTo>
                  <a:lnTo>
                    <a:pt x="50" y="112"/>
                  </a:lnTo>
                  <a:lnTo>
                    <a:pt x="53" y="97"/>
                  </a:lnTo>
                  <a:lnTo>
                    <a:pt x="58" y="88"/>
                  </a:lnTo>
                  <a:lnTo>
                    <a:pt x="70" y="79"/>
                  </a:lnTo>
                  <a:lnTo>
                    <a:pt x="74" y="43"/>
                  </a:lnTo>
                  <a:lnTo>
                    <a:pt x="81" y="30"/>
                  </a:lnTo>
                  <a:lnTo>
                    <a:pt x="83" y="23"/>
                  </a:lnTo>
                  <a:lnTo>
                    <a:pt x="83" y="21"/>
                  </a:lnTo>
                  <a:lnTo>
                    <a:pt x="86" y="20"/>
                  </a:lnTo>
                  <a:lnTo>
                    <a:pt x="86" y="11"/>
                  </a:lnTo>
                  <a:lnTo>
                    <a:pt x="93" y="2"/>
                  </a:lnTo>
                  <a:lnTo>
                    <a:pt x="102" y="2"/>
                  </a:lnTo>
                  <a:lnTo>
                    <a:pt x="110" y="9"/>
                  </a:lnTo>
                  <a:lnTo>
                    <a:pt x="113" y="9"/>
                  </a:lnTo>
                  <a:lnTo>
                    <a:pt x="121" y="12"/>
                  </a:lnTo>
                  <a:lnTo>
                    <a:pt x="133" y="12"/>
                  </a:lnTo>
                  <a:lnTo>
                    <a:pt x="138" y="6"/>
                  </a:lnTo>
                  <a:lnTo>
                    <a:pt x="139" y="6"/>
                  </a:lnTo>
                  <a:lnTo>
                    <a:pt x="145" y="8"/>
                  </a:lnTo>
                  <a:lnTo>
                    <a:pt x="161" y="3"/>
                  </a:lnTo>
                  <a:lnTo>
                    <a:pt x="164" y="5"/>
                  </a:lnTo>
                  <a:lnTo>
                    <a:pt x="169" y="3"/>
                  </a:lnTo>
                  <a:lnTo>
                    <a:pt x="169" y="2"/>
                  </a:lnTo>
                  <a:lnTo>
                    <a:pt x="176" y="2"/>
                  </a:lnTo>
                  <a:lnTo>
                    <a:pt x="17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6" name="Cote d'Ivoire">
              <a:extLst>
                <a:ext uri="{FF2B5EF4-FFF2-40B4-BE49-F238E27FC236}">
                  <a16:creationId xmlns:a16="http://schemas.microsoft.com/office/drawing/2014/main" id="{E5C1375B-50CD-8FCE-AE92-917585B9A057}"/>
                </a:ext>
              </a:extLst>
            </p:cNvPr>
            <p:cNvSpPr>
              <a:spLocks/>
            </p:cNvSpPr>
            <p:nvPr/>
          </p:nvSpPr>
          <p:spPr bwMode="auto">
            <a:xfrm>
              <a:off x="5623454" y="4334418"/>
              <a:ext cx="148179" cy="153601"/>
            </a:xfrm>
            <a:custGeom>
              <a:avLst/>
              <a:gdLst>
                <a:gd name="T0" fmla="*/ 31 w 82"/>
                <a:gd name="T1" fmla="*/ 0 h 85"/>
                <a:gd name="T2" fmla="*/ 33 w 82"/>
                <a:gd name="T3" fmla="*/ 6 h 85"/>
                <a:gd name="T4" fmla="*/ 37 w 82"/>
                <a:gd name="T5" fmla="*/ 3 h 85"/>
                <a:gd name="T6" fmla="*/ 45 w 82"/>
                <a:gd name="T7" fmla="*/ 5 h 85"/>
                <a:gd name="T8" fmla="*/ 46 w 82"/>
                <a:gd name="T9" fmla="*/ 5 h 85"/>
                <a:gd name="T10" fmla="*/ 52 w 82"/>
                <a:gd name="T11" fmla="*/ 14 h 85"/>
                <a:gd name="T12" fmla="*/ 56 w 82"/>
                <a:gd name="T13" fmla="*/ 14 h 85"/>
                <a:gd name="T14" fmla="*/ 65 w 82"/>
                <a:gd name="T15" fmla="*/ 9 h 85"/>
                <a:gd name="T16" fmla="*/ 71 w 82"/>
                <a:gd name="T17" fmla="*/ 11 h 85"/>
                <a:gd name="T18" fmla="*/ 73 w 82"/>
                <a:gd name="T19" fmla="*/ 11 h 85"/>
                <a:gd name="T20" fmla="*/ 76 w 82"/>
                <a:gd name="T21" fmla="*/ 17 h 85"/>
                <a:gd name="T22" fmla="*/ 79 w 82"/>
                <a:gd name="T23" fmla="*/ 17 h 85"/>
                <a:gd name="T24" fmla="*/ 79 w 82"/>
                <a:gd name="T25" fmla="*/ 21 h 85"/>
                <a:gd name="T26" fmla="*/ 82 w 82"/>
                <a:gd name="T27" fmla="*/ 33 h 85"/>
                <a:gd name="T28" fmla="*/ 82 w 82"/>
                <a:gd name="T29" fmla="*/ 34 h 85"/>
                <a:gd name="T30" fmla="*/ 79 w 82"/>
                <a:gd name="T31" fmla="*/ 37 h 85"/>
                <a:gd name="T32" fmla="*/ 73 w 82"/>
                <a:gd name="T33" fmla="*/ 55 h 85"/>
                <a:gd name="T34" fmla="*/ 74 w 82"/>
                <a:gd name="T35" fmla="*/ 65 h 85"/>
                <a:gd name="T36" fmla="*/ 79 w 82"/>
                <a:gd name="T37" fmla="*/ 67 h 85"/>
                <a:gd name="T38" fmla="*/ 79 w 82"/>
                <a:gd name="T39" fmla="*/ 74 h 85"/>
                <a:gd name="T40" fmla="*/ 73 w 82"/>
                <a:gd name="T41" fmla="*/ 76 h 85"/>
                <a:gd name="T42" fmla="*/ 51 w 82"/>
                <a:gd name="T43" fmla="*/ 74 h 85"/>
                <a:gd name="T44" fmla="*/ 33 w 82"/>
                <a:gd name="T45" fmla="*/ 79 h 85"/>
                <a:gd name="T46" fmla="*/ 19 w 82"/>
                <a:gd name="T47" fmla="*/ 85 h 85"/>
                <a:gd name="T48" fmla="*/ 13 w 82"/>
                <a:gd name="T49" fmla="*/ 85 h 85"/>
                <a:gd name="T50" fmla="*/ 13 w 82"/>
                <a:gd name="T51" fmla="*/ 83 h 85"/>
                <a:gd name="T52" fmla="*/ 15 w 82"/>
                <a:gd name="T53" fmla="*/ 65 h 85"/>
                <a:gd name="T54" fmla="*/ 12 w 82"/>
                <a:gd name="T55" fmla="*/ 64 h 85"/>
                <a:gd name="T56" fmla="*/ 9 w 82"/>
                <a:gd name="T57" fmla="*/ 60 h 85"/>
                <a:gd name="T58" fmla="*/ 2 w 82"/>
                <a:gd name="T59" fmla="*/ 58 h 85"/>
                <a:gd name="T60" fmla="*/ 0 w 82"/>
                <a:gd name="T61" fmla="*/ 57 h 85"/>
                <a:gd name="T62" fmla="*/ 5 w 82"/>
                <a:gd name="T63" fmla="*/ 48 h 85"/>
                <a:gd name="T64" fmla="*/ 2 w 82"/>
                <a:gd name="T65" fmla="*/ 42 h 85"/>
                <a:gd name="T66" fmla="*/ 6 w 82"/>
                <a:gd name="T67" fmla="*/ 42 h 85"/>
                <a:gd name="T68" fmla="*/ 8 w 82"/>
                <a:gd name="T69" fmla="*/ 36 h 85"/>
                <a:gd name="T70" fmla="*/ 5 w 82"/>
                <a:gd name="T71" fmla="*/ 34 h 85"/>
                <a:gd name="T72" fmla="*/ 5 w 82"/>
                <a:gd name="T73" fmla="*/ 30 h 85"/>
                <a:gd name="T74" fmla="*/ 8 w 82"/>
                <a:gd name="T75" fmla="*/ 30 h 85"/>
                <a:gd name="T76" fmla="*/ 9 w 82"/>
                <a:gd name="T77" fmla="*/ 31 h 85"/>
                <a:gd name="T78" fmla="*/ 12 w 82"/>
                <a:gd name="T79" fmla="*/ 31 h 85"/>
                <a:gd name="T80" fmla="*/ 11 w 82"/>
                <a:gd name="T81" fmla="*/ 27 h 85"/>
                <a:gd name="T82" fmla="*/ 9 w 82"/>
                <a:gd name="T83" fmla="*/ 27 h 85"/>
                <a:gd name="T84" fmla="*/ 11 w 82"/>
                <a:gd name="T85" fmla="*/ 24 h 85"/>
                <a:gd name="T86" fmla="*/ 11 w 82"/>
                <a:gd name="T87" fmla="*/ 19 h 85"/>
                <a:gd name="T88" fmla="*/ 6 w 82"/>
                <a:gd name="T89" fmla="*/ 18 h 85"/>
                <a:gd name="T90" fmla="*/ 6 w 82"/>
                <a:gd name="T91" fmla="*/ 11 h 85"/>
                <a:gd name="T92" fmla="*/ 8 w 82"/>
                <a:gd name="T93" fmla="*/ 8 h 85"/>
                <a:gd name="T94" fmla="*/ 15 w 82"/>
                <a:gd name="T95" fmla="*/ 3 h 85"/>
                <a:gd name="T96" fmla="*/ 21 w 82"/>
                <a:gd name="T97" fmla="*/ 6 h 85"/>
                <a:gd name="T98" fmla="*/ 25 w 82"/>
                <a:gd name="T99" fmla="*/ 5 h 85"/>
                <a:gd name="T100" fmla="*/ 25 w 82"/>
                <a:gd name="T101" fmla="*/ 2 h 85"/>
                <a:gd name="T102" fmla="*/ 31 w 82"/>
                <a:gd name="T10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85">
                  <a:moveTo>
                    <a:pt x="31" y="0"/>
                  </a:moveTo>
                  <a:lnTo>
                    <a:pt x="33" y="6"/>
                  </a:lnTo>
                  <a:lnTo>
                    <a:pt x="37" y="3"/>
                  </a:lnTo>
                  <a:lnTo>
                    <a:pt x="45" y="5"/>
                  </a:lnTo>
                  <a:lnTo>
                    <a:pt x="46" y="5"/>
                  </a:lnTo>
                  <a:lnTo>
                    <a:pt x="52" y="14"/>
                  </a:lnTo>
                  <a:lnTo>
                    <a:pt x="56" y="14"/>
                  </a:lnTo>
                  <a:lnTo>
                    <a:pt x="65" y="9"/>
                  </a:lnTo>
                  <a:lnTo>
                    <a:pt x="71" y="11"/>
                  </a:lnTo>
                  <a:lnTo>
                    <a:pt x="73" y="11"/>
                  </a:lnTo>
                  <a:lnTo>
                    <a:pt x="76" y="17"/>
                  </a:lnTo>
                  <a:lnTo>
                    <a:pt x="79" y="17"/>
                  </a:lnTo>
                  <a:lnTo>
                    <a:pt x="79" y="21"/>
                  </a:lnTo>
                  <a:lnTo>
                    <a:pt x="82" y="33"/>
                  </a:lnTo>
                  <a:lnTo>
                    <a:pt x="82" y="34"/>
                  </a:lnTo>
                  <a:lnTo>
                    <a:pt x="79" y="37"/>
                  </a:lnTo>
                  <a:lnTo>
                    <a:pt x="73" y="55"/>
                  </a:lnTo>
                  <a:lnTo>
                    <a:pt x="74" y="65"/>
                  </a:lnTo>
                  <a:lnTo>
                    <a:pt x="79" y="67"/>
                  </a:lnTo>
                  <a:lnTo>
                    <a:pt x="79" y="74"/>
                  </a:lnTo>
                  <a:lnTo>
                    <a:pt x="73" y="76"/>
                  </a:lnTo>
                  <a:lnTo>
                    <a:pt x="51" y="74"/>
                  </a:lnTo>
                  <a:lnTo>
                    <a:pt x="33" y="79"/>
                  </a:lnTo>
                  <a:lnTo>
                    <a:pt x="19" y="85"/>
                  </a:lnTo>
                  <a:lnTo>
                    <a:pt x="13" y="85"/>
                  </a:lnTo>
                  <a:lnTo>
                    <a:pt x="13" y="83"/>
                  </a:lnTo>
                  <a:lnTo>
                    <a:pt x="15" y="65"/>
                  </a:lnTo>
                  <a:lnTo>
                    <a:pt x="12" y="64"/>
                  </a:lnTo>
                  <a:lnTo>
                    <a:pt x="9" y="60"/>
                  </a:lnTo>
                  <a:lnTo>
                    <a:pt x="2" y="58"/>
                  </a:lnTo>
                  <a:lnTo>
                    <a:pt x="0" y="57"/>
                  </a:lnTo>
                  <a:lnTo>
                    <a:pt x="5" y="48"/>
                  </a:lnTo>
                  <a:lnTo>
                    <a:pt x="2" y="42"/>
                  </a:lnTo>
                  <a:lnTo>
                    <a:pt x="6" y="42"/>
                  </a:lnTo>
                  <a:lnTo>
                    <a:pt x="8" y="36"/>
                  </a:lnTo>
                  <a:lnTo>
                    <a:pt x="5" y="34"/>
                  </a:lnTo>
                  <a:lnTo>
                    <a:pt x="5" y="30"/>
                  </a:lnTo>
                  <a:lnTo>
                    <a:pt x="8" y="30"/>
                  </a:lnTo>
                  <a:lnTo>
                    <a:pt x="9" y="31"/>
                  </a:lnTo>
                  <a:lnTo>
                    <a:pt x="12" y="31"/>
                  </a:lnTo>
                  <a:lnTo>
                    <a:pt x="11" y="27"/>
                  </a:lnTo>
                  <a:lnTo>
                    <a:pt x="9" y="27"/>
                  </a:lnTo>
                  <a:lnTo>
                    <a:pt x="11" y="24"/>
                  </a:lnTo>
                  <a:lnTo>
                    <a:pt x="11" y="19"/>
                  </a:lnTo>
                  <a:lnTo>
                    <a:pt x="6" y="18"/>
                  </a:lnTo>
                  <a:lnTo>
                    <a:pt x="6" y="11"/>
                  </a:lnTo>
                  <a:lnTo>
                    <a:pt x="8" y="8"/>
                  </a:lnTo>
                  <a:lnTo>
                    <a:pt x="15" y="3"/>
                  </a:lnTo>
                  <a:lnTo>
                    <a:pt x="21" y="6"/>
                  </a:lnTo>
                  <a:lnTo>
                    <a:pt x="25" y="5"/>
                  </a:lnTo>
                  <a:lnTo>
                    <a:pt x="25" y="2"/>
                  </a:lnTo>
                  <a:lnTo>
                    <a:pt x="3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7" name="Congo">
              <a:extLst>
                <a:ext uri="{FF2B5EF4-FFF2-40B4-BE49-F238E27FC236}">
                  <a16:creationId xmlns:a16="http://schemas.microsoft.com/office/drawing/2014/main" id="{F61BC3D7-2F1F-3D14-5745-7E5BEF500633}"/>
                </a:ext>
              </a:extLst>
            </p:cNvPr>
            <p:cNvSpPr>
              <a:spLocks/>
            </p:cNvSpPr>
            <p:nvPr/>
          </p:nvSpPr>
          <p:spPr bwMode="auto">
            <a:xfrm>
              <a:off x="6087868" y="4500668"/>
              <a:ext cx="180706" cy="209619"/>
            </a:xfrm>
            <a:custGeom>
              <a:avLst/>
              <a:gdLst>
                <a:gd name="T0" fmla="*/ 83 w 100"/>
                <a:gd name="T1" fmla="*/ 0 h 116"/>
                <a:gd name="T2" fmla="*/ 90 w 100"/>
                <a:gd name="T3" fmla="*/ 3 h 116"/>
                <a:gd name="T4" fmla="*/ 99 w 100"/>
                <a:gd name="T5" fmla="*/ 0 h 116"/>
                <a:gd name="T6" fmla="*/ 100 w 100"/>
                <a:gd name="T7" fmla="*/ 0 h 116"/>
                <a:gd name="T8" fmla="*/ 100 w 100"/>
                <a:gd name="T9" fmla="*/ 2 h 116"/>
                <a:gd name="T10" fmla="*/ 99 w 100"/>
                <a:gd name="T11" fmla="*/ 9 h 116"/>
                <a:gd name="T12" fmla="*/ 91 w 100"/>
                <a:gd name="T13" fmla="*/ 24 h 116"/>
                <a:gd name="T14" fmla="*/ 87 w 100"/>
                <a:gd name="T15" fmla="*/ 58 h 116"/>
                <a:gd name="T16" fmla="*/ 75 w 100"/>
                <a:gd name="T17" fmla="*/ 68 h 116"/>
                <a:gd name="T18" fmla="*/ 71 w 100"/>
                <a:gd name="T19" fmla="*/ 76 h 116"/>
                <a:gd name="T20" fmla="*/ 68 w 100"/>
                <a:gd name="T21" fmla="*/ 91 h 116"/>
                <a:gd name="T22" fmla="*/ 63 w 100"/>
                <a:gd name="T23" fmla="*/ 99 h 116"/>
                <a:gd name="T24" fmla="*/ 46 w 100"/>
                <a:gd name="T25" fmla="*/ 113 h 116"/>
                <a:gd name="T26" fmla="*/ 43 w 100"/>
                <a:gd name="T27" fmla="*/ 111 h 116"/>
                <a:gd name="T28" fmla="*/ 41 w 100"/>
                <a:gd name="T29" fmla="*/ 105 h 116"/>
                <a:gd name="T30" fmla="*/ 37 w 100"/>
                <a:gd name="T31" fmla="*/ 108 h 116"/>
                <a:gd name="T32" fmla="*/ 34 w 100"/>
                <a:gd name="T33" fmla="*/ 111 h 116"/>
                <a:gd name="T34" fmla="*/ 32 w 100"/>
                <a:gd name="T35" fmla="*/ 111 h 116"/>
                <a:gd name="T36" fmla="*/ 25 w 100"/>
                <a:gd name="T37" fmla="*/ 110 h 116"/>
                <a:gd name="T38" fmla="*/ 22 w 100"/>
                <a:gd name="T39" fmla="*/ 107 h 116"/>
                <a:gd name="T40" fmla="*/ 13 w 100"/>
                <a:gd name="T41" fmla="*/ 114 h 116"/>
                <a:gd name="T42" fmla="*/ 13 w 100"/>
                <a:gd name="T43" fmla="*/ 116 h 116"/>
                <a:gd name="T44" fmla="*/ 11 w 100"/>
                <a:gd name="T45" fmla="*/ 114 h 116"/>
                <a:gd name="T46" fmla="*/ 7 w 100"/>
                <a:gd name="T47" fmla="*/ 108 h 116"/>
                <a:gd name="T48" fmla="*/ 0 w 100"/>
                <a:gd name="T49" fmla="*/ 101 h 116"/>
                <a:gd name="T50" fmla="*/ 0 w 100"/>
                <a:gd name="T51" fmla="*/ 99 h 116"/>
                <a:gd name="T52" fmla="*/ 3 w 100"/>
                <a:gd name="T53" fmla="*/ 95 h 116"/>
                <a:gd name="T54" fmla="*/ 7 w 100"/>
                <a:gd name="T55" fmla="*/ 94 h 116"/>
                <a:gd name="T56" fmla="*/ 7 w 100"/>
                <a:gd name="T57" fmla="*/ 82 h 116"/>
                <a:gd name="T58" fmla="*/ 20 w 100"/>
                <a:gd name="T59" fmla="*/ 71 h 116"/>
                <a:gd name="T60" fmla="*/ 35 w 100"/>
                <a:gd name="T61" fmla="*/ 80 h 116"/>
                <a:gd name="T62" fmla="*/ 38 w 100"/>
                <a:gd name="T63" fmla="*/ 79 h 116"/>
                <a:gd name="T64" fmla="*/ 40 w 100"/>
                <a:gd name="T65" fmla="*/ 59 h 116"/>
                <a:gd name="T66" fmla="*/ 38 w 100"/>
                <a:gd name="T67" fmla="*/ 46 h 116"/>
                <a:gd name="T68" fmla="*/ 41 w 100"/>
                <a:gd name="T69" fmla="*/ 37 h 116"/>
                <a:gd name="T70" fmla="*/ 41 w 100"/>
                <a:gd name="T71" fmla="*/ 33 h 116"/>
                <a:gd name="T72" fmla="*/ 40 w 100"/>
                <a:gd name="T73" fmla="*/ 30 h 116"/>
                <a:gd name="T74" fmla="*/ 34 w 100"/>
                <a:gd name="T75" fmla="*/ 28 h 116"/>
                <a:gd name="T76" fmla="*/ 29 w 100"/>
                <a:gd name="T77" fmla="*/ 34 h 116"/>
                <a:gd name="T78" fmla="*/ 26 w 100"/>
                <a:gd name="T79" fmla="*/ 33 h 116"/>
                <a:gd name="T80" fmla="*/ 26 w 100"/>
                <a:gd name="T81" fmla="*/ 21 h 116"/>
                <a:gd name="T82" fmla="*/ 47 w 100"/>
                <a:gd name="T83" fmla="*/ 21 h 116"/>
                <a:gd name="T84" fmla="*/ 59 w 100"/>
                <a:gd name="T85" fmla="*/ 22 h 116"/>
                <a:gd name="T86" fmla="*/ 63 w 100"/>
                <a:gd name="T87" fmla="*/ 27 h 116"/>
                <a:gd name="T88" fmla="*/ 65 w 100"/>
                <a:gd name="T89" fmla="*/ 12 h 116"/>
                <a:gd name="T90" fmla="*/ 65 w 100"/>
                <a:gd name="T91" fmla="*/ 10 h 116"/>
                <a:gd name="T92" fmla="*/ 78 w 100"/>
                <a:gd name="T93" fmla="*/ 2 h 116"/>
                <a:gd name="T94" fmla="*/ 83 w 100"/>
                <a:gd name="T9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116">
                  <a:moveTo>
                    <a:pt x="83" y="0"/>
                  </a:moveTo>
                  <a:lnTo>
                    <a:pt x="90" y="3"/>
                  </a:lnTo>
                  <a:lnTo>
                    <a:pt x="99" y="0"/>
                  </a:lnTo>
                  <a:lnTo>
                    <a:pt x="100" y="0"/>
                  </a:lnTo>
                  <a:lnTo>
                    <a:pt x="100" y="2"/>
                  </a:lnTo>
                  <a:lnTo>
                    <a:pt x="99" y="9"/>
                  </a:lnTo>
                  <a:lnTo>
                    <a:pt x="91" y="24"/>
                  </a:lnTo>
                  <a:lnTo>
                    <a:pt x="87" y="58"/>
                  </a:lnTo>
                  <a:lnTo>
                    <a:pt x="75" y="68"/>
                  </a:lnTo>
                  <a:lnTo>
                    <a:pt x="71" y="76"/>
                  </a:lnTo>
                  <a:lnTo>
                    <a:pt x="68" y="91"/>
                  </a:lnTo>
                  <a:lnTo>
                    <a:pt x="63" y="99"/>
                  </a:lnTo>
                  <a:lnTo>
                    <a:pt x="46" y="113"/>
                  </a:lnTo>
                  <a:lnTo>
                    <a:pt x="43" y="111"/>
                  </a:lnTo>
                  <a:lnTo>
                    <a:pt x="41" y="105"/>
                  </a:lnTo>
                  <a:lnTo>
                    <a:pt x="37" y="108"/>
                  </a:lnTo>
                  <a:lnTo>
                    <a:pt x="34" y="111"/>
                  </a:lnTo>
                  <a:lnTo>
                    <a:pt x="32" y="111"/>
                  </a:lnTo>
                  <a:lnTo>
                    <a:pt x="25" y="110"/>
                  </a:lnTo>
                  <a:lnTo>
                    <a:pt x="22" y="107"/>
                  </a:lnTo>
                  <a:lnTo>
                    <a:pt x="13" y="114"/>
                  </a:lnTo>
                  <a:lnTo>
                    <a:pt x="13" y="116"/>
                  </a:lnTo>
                  <a:lnTo>
                    <a:pt x="11" y="114"/>
                  </a:lnTo>
                  <a:lnTo>
                    <a:pt x="7" y="108"/>
                  </a:lnTo>
                  <a:lnTo>
                    <a:pt x="0" y="101"/>
                  </a:lnTo>
                  <a:lnTo>
                    <a:pt x="0" y="99"/>
                  </a:lnTo>
                  <a:lnTo>
                    <a:pt x="3" y="95"/>
                  </a:lnTo>
                  <a:lnTo>
                    <a:pt x="7" y="94"/>
                  </a:lnTo>
                  <a:lnTo>
                    <a:pt x="7" y="82"/>
                  </a:lnTo>
                  <a:lnTo>
                    <a:pt x="20" y="71"/>
                  </a:lnTo>
                  <a:lnTo>
                    <a:pt x="35" y="80"/>
                  </a:lnTo>
                  <a:lnTo>
                    <a:pt x="38" y="79"/>
                  </a:lnTo>
                  <a:lnTo>
                    <a:pt x="40" y="59"/>
                  </a:lnTo>
                  <a:lnTo>
                    <a:pt x="38" y="46"/>
                  </a:lnTo>
                  <a:lnTo>
                    <a:pt x="41" y="37"/>
                  </a:lnTo>
                  <a:lnTo>
                    <a:pt x="41" y="33"/>
                  </a:lnTo>
                  <a:lnTo>
                    <a:pt x="40" y="30"/>
                  </a:lnTo>
                  <a:lnTo>
                    <a:pt x="34" y="28"/>
                  </a:lnTo>
                  <a:lnTo>
                    <a:pt x="29" y="34"/>
                  </a:lnTo>
                  <a:lnTo>
                    <a:pt x="26" y="33"/>
                  </a:lnTo>
                  <a:lnTo>
                    <a:pt x="26" y="21"/>
                  </a:lnTo>
                  <a:lnTo>
                    <a:pt x="47" y="21"/>
                  </a:lnTo>
                  <a:lnTo>
                    <a:pt x="59" y="22"/>
                  </a:lnTo>
                  <a:lnTo>
                    <a:pt x="63" y="27"/>
                  </a:lnTo>
                  <a:lnTo>
                    <a:pt x="65" y="12"/>
                  </a:lnTo>
                  <a:lnTo>
                    <a:pt x="65" y="10"/>
                  </a:lnTo>
                  <a:lnTo>
                    <a:pt x="78" y="2"/>
                  </a:lnTo>
                  <a:lnTo>
                    <a:pt x="83"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8" name="Chad">
              <a:extLst>
                <a:ext uri="{FF2B5EF4-FFF2-40B4-BE49-F238E27FC236}">
                  <a16:creationId xmlns:a16="http://schemas.microsoft.com/office/drawing/2014/main" id="{91102530-ADC6-5599-4DCF-72233F3A85DA}"/>
                </a:ext>
              </a:extLst>
            </p:cNvPr>
            <p:cNvSpPr>
              <a:spLocks/>
            </p:cNvSpPr>
            <p:nvPr/>
          </p:nvSpPr>
          <p:spPr bwMode="auto">
            <a:xfrm>
              <a:off x="6140272" y="4023604"/>
              <a:ext cx="254796" cy="392133"/>
            </a:xfrm>
            <a:custGeom>
              <a:avLst/>
              <a:gdLst>
                <a:gd name="T0" fmla="*/ 36 w 141"/>
                <a:gd name="T1" fmla="*/ 0 h 217"/>
                <a:gd name="T2" fmla="*/ 37 w 141"/>
                <a:gd name="T3" fmla="*/ 0 h 217"/>
                <a:gd name="T4" fmla="*/ 141 w 141"/>
                <a:gd name="T5" fmla="*/ 54 h 217"/>
                <a:gd name="T6" fmla="*/ 141 w 141"/>
                <a:gd name="T7" fmla="*/ 105 h 217"/>
                <a:gd name="T8" fmla="*/ 128 w 141"/>
                <a:gd name="T9" fmla="*/ 107 h 217"/>
                <a:gd name="T10" fmla="*/ 125 w 141"/>
                <a:gd name="T11" fmla="*/ 114 h 217"/>
                <a:gd name="T12" fmla="*/ 119 w 141"/>
                <a:gd name="T13" fmla="*/ 123 h 217"/>
                <a:gd name="T14" fmla="*/ 119 w 141"/>
                <a:gd name="T15" fmla="*/ 128 h 217"/>
                <a:gd name="T16" fmla="*/ 117 w 141"/>
                <a:gd name="T17" fmla="*/ 131 h 217"/>
                <a:gd name="T18" fmla="*/ 113 w 141"/>
                <a:gd name="T19" fmla="*/ 143 h 217"/>
                <a:gd name="T20" fmla="*/ 113 w 141"/>
                <a:gd name="T21" fmla="*/ 146 h 217"/>
                <a:gd name="T22" fmla="*/ 119 w 141"/>
                <a:gd name="T23" fmla="*/ 146 h 217"/>
                <a:gd name="T24" fmla="*/ 120 w 141"/>
                <a:gd name="T25" fmla="*/ 153 h 217"/>
                <a:gd name="T26" fmla="*/ 126 w 141"/>
                <a:gd name="T27" fmla="*/ 165 h 217"/>
                <a:gd name="T28" fmla="*/ 126 w 141"/>
                <a:gd name="T29" fmla="*/ 166 h 217"/>
                <a:gd name="T30" fmla="*/ 123 w 141"/>
                <a:gd name="T31" fmla="*/ 169 h 217"/>
                <a:gd name="T32" fmla="*/ 114 w 141"/>
                <a:gd name="T33" fmla="*/ 171 h 217"/>
                <a:gd name="T34" fmla="*/ 111 w 141"/>
                <a:gd name="T35" fmla="*/ 180 h 217"/>
                <a:gd name="T36" fmla="*/ 95 w 141"/>
                <a:gd name="T37" fmla="*/ 194 h 217"/>
                <a:gd name="T38" fmla="*/ 76 w 141"/>
                <a:gd name="T39" fmla="*/ 197 h 217"/>
                <a:gd name="T40" fmla="*/ 77 w 141"/>
                <a:gd name="T41" fmla="*/ 200 h 217"/>
                <a:gd name="T42" fmla="*/ 77 w 141"/>
                <a:gd name="T43" fmla="*/ 202 h 217"/>
                <a:gd name="T44" fmla="*/ 71 w 141"/>
                <a:gd name="T45" fmla="*/ 208 h 217"/>
                <a:gd name="T46" fmla="*/ 70 w 141"/>
                <a:gd name="T47" fmla="*/ 208 h 217"/>
                <a:gd name="T48" fmla="*/ 58 w 141"/>
                <a:gd name="T49" fmla="*/ 209 h 217"/>
                <a:gd name="T50" fmla="*/ 48 w 141"/>
                <a:gd name="T51" fmla="*/ 215 h 217"/>
                <a:gd name="T52" fmla="*/ 46 w 141"/>
                <a:gd name="T53" fmla="*/ 215 h 217"/>
                <a:gd name="T54" fmla="*/ 43 w 141"/>
                <a:gd name="T55" fmla="*/ 211 h 217"/>
                <a:gd name="T56" fmla="*/ 36 w 141"/>
                <a:gd name="T57" fmla="*/ 217 h 217"/>
                <a:gd name="T58" fmla="*/ 27 w 141"/>
                <a:gd name="T59" fmla="*/ 217 h 217"/>
                <a:gd name="T60" fmla="*/ 22 w 141"/>
                <a:gd name="T61" fmla="*/ 200 h 217"/>
                <a:gd name="T62" fmla="*/ 14 w 141"/>
                <a:gd name="T63" fmla="*/ 194 h 217"/>
                <a:gd name="T64" fmla="*/ 9 w 141"/>
                <a:gd name="T65" fmla="*/ 189 h 217"/>
                <a:gd name="T66" fmla="*/ 9 w 141"/>
                <a:gd name="T67" fmla="*/ 187 h 217"/>
                <a:gd name="T68" fmla="*/ 12 w 141"/>
                <a:gd name="T69" fmla="*/ 183 h 217"/>
                <a:gd name="T70" fmla="*/ 25 w 141"/>
                <a:gd name="T71" fmla="*/ 181 h 217"/>
                <a:gd name="T72" fmla="*/ 19 w 141"/>
                <a:gd name="T73" fmla="*/ 169 h 217"/>
                <a:gd name="T74" fmla="*/ 21 w 141"/>
                <a:gd name="T75" fmla="*/ 156 h 217"/>
                <a:gd name="T76" fmla="*/ 17 w 141"/>
                <a:gd name="T77" fmla="*/ 144 h 217"/>
                <a:gd name="T78" fmla="*/ 22 w 141"/>
                <a:gd name="T79" fmla="*/ 143 h 217"/>
                <a:gd name="T80" fmla="*/ 22 w 141"/>
                <a:gd name="T81" fmla="*/ 137 h 217"/>
                <a:gd name="T82" fmla="*/ 11 w 141"/>
                <a:gd name="T83" fmla="*/ 135 h 217"/>
                <a:gd name="T84" fmla="*/ 8 w 141"/>
                <a:gd name="T85" fmla="*/ 128 h 217"/>
                <a:gd name="T86" fmla="*/ 2 w 141"/>
                <a:gd name="T87" fmla="*/ 125 h 217"/>
                <a:gd name="T88" fmla="*/ 0 w 141"/>
                <a:gd name="T89" fmla="*/ 125 h 217"/>
                <a:gd name="T90" fmla="*/ 0 w 141"/>
                <a:gd name="T91" fmla="*/ 123 h 217"/>
                <a:gd name="T92" fmla="*/ 5 w 141"/>
                <a:gd name="T93" fmla="*/ 114 h 217"/>
                <a:gd name="T94" fmla="*/ 27 w 141"/>
                <a:gd name="T95" fmla="*/ 88 h 217"/>
                <a:gd name="T96" fmla="*/ 28 w 141"/>
                <a:gd name="T97" fmla="*/ 67 h 217"/>
                <a:gd name="T98" fmla="*/ 31 w 141"/>
                <a:gd name="T99" fmla="*/ 48 h 217"/>
                <a:gd name="T100" fmla="*/ 34 w 141"/>
                <a:gd name="T101" fmla="*/ 42 h 217"/>
                <a:gd name="T102" fmla="*/ 27 w 141"/>
                <a:gd name="T103" fmla="*/ 36 h 217"/>
                <a:gd name="T104" fmla="*/ 22 w 141"/>
                <a:gd name="T105" fmla="*/ 28 h 217"/>
                <a:gd name="T106" fmla="*/ 22 w 141"/>
                <a:gd name="T107" fmla="*/ 5 h 217"/>
                <a:gd name="T108" fmla="*/ 36 w 141"/>
                <a:gd name="T10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 h="217">
                  <a:moveTo>
                    <a:pt x="36" y="0"/>
                  </a:moveTo>
                  <a:lnTo>
                    <a:pt x="37" y="0"/>
                  </a:lnTo>
                  <a:lnTo>
                    <a:pt x="141" y="54"/>
                  </a:lnTo>
                  <a:lnTo>
                    <a:pt x="141" y="105"/>
                  </a:lnTo>
                  <a:lnTo>
                    <a:pt x="128" y="107"/>
                  </a:lnTo>
                  <a:lnTo>
                    <a:pt x="125" y="114"/>
                  </a:lnTo>
                  <a:lnTo>
                    <a:pt x="119" y="123"/>
                  </a:lnTo>
                  <a:lnTo>
                    <a:pt x="119" y="128"/>
                  </a:lnTo>
                  <a:lnTo>
                    <a:pt x="117" y="131"/>
                  </a:lnTo>
                  <a:lnTo>
                    <a:pt x="113" y="143"/>
                  </a:lnTo>
                  <a:lnTo>
                    <a:pt x="113" y="146"/>
                  </a:lnTo>
                  <a:lnTo>
                    <a:pt x="119" y="146"/>
                  </a:lnTo>
                  <a:lnTo>
                    <a:pt x="120" y="153"/>
                  </a:lnTo>
                  <a:lnTo>
                    <a:pt x="126" y="165"/>
                  </a:lnTo>
                  <a:lnTo>
                    <a:pt x="126" y="166"/>
                  </a:lnTo>
                  <a:lnTo>
                    <a:pt x="123" y="169"/>
                  </a:lnTo>
                  <a:lnTo>
                    <a:pt x="114" y="171"/>
                  </a:lnTo>
                  <a:lnTo>
                    <a:pt x="111" y="180"/>
                  </a:lnTo>
                  <a:lnTo>
                    <a:pt x="95" y="194"/>
                  </a:lnTo>
                  <a:lnTo>
                    <a:pt x="76" y="197"/>
                  </a:lnTo>
                  <a:lnTo>
                    <a:pt x="77" y="200"/>
                  </a:lnTo>
                  <a:lnTo>
                    <a:pt x="77" y="202"/>
                  </a:lnTo>
                  <a:lnTo>
                    <a:pt x="71" y="208"/>
                  </a:lnTo>
                  <a:lnTo>
                    <a:pt x="70" y="208"/>
                  </a:lnTo>
                  <a:lnTo>
                    <a:pt x="58" y="209"/>
                  </a:lnTo>
                  <a:lnTo>
                    <a:pt x="48" y="215"/>
                  </a:lnTo>
                  <a:lnTo>
                    <a:pt x="46" y="215"/>
                  </a:lnTo>
                  <a:lnTo>
                    <a:pt x="43" y="211"/>
                  </a:lnTo>
                  <a:lnTo>
                    <a:pt x="36" y="217"/>
                  </a:lnTo>
                  <a:lnTo>
                    <a:pt x="27" y="217"/>
                  </a:lnTo>
                  <a:lnTo>
                    <a:pt x="22" y="200"/>
                  </a:lnTo>
                  <a:lnTo>
                    <a:pt x="14" y="194"/>
                  </a:lnTo>
                  <a:lnTo>
                    <a:pt x="9" y="189"/>
                  </a:lnTo>
                  <a:lnTo>
                    <a:pt x="9" y="187"/>
                  </a:lnTo>
                  <a:lnTo>
                    <a:pt x="12" y="183"/>
                  </a:lnTo>
                  <a:lnTo>
                    <a:pt x="25" y="181"/>
                  </a:lnTo>
                  <a:lnTo>
                    <a:pt x="19" y="169"/>
                  </a:lnTo>
                  <a:lnTo>
                    <a:pt x="21" y="156"/>
                  </a:lnTo>
                  <a:lnTo>
                    <a:pt x="17" y="144"/>
                  </a:lnTo>
                  <a:lnTo>
                    <a:pt x="22" y="143"/>
                  </a:lnTo>
                  <a:lnTo>
                    <a:pt x="22" y="137"/>
                  </a:lnTo>
                  <a:lnTo>
                    <a:pt x="11" y="135"/>
                  </a:lnTo>
                  <a:lnTo>
                    <a:pt x="8" y="128"/>
                  </a:lnTo>
                  <a:lnTo>
                    <a:pt x="2" y="125"/>
                  </a:lnTo>
                  <a:lnTo>
                    <a:pt x="0" y="125"/>
                  </a:lnTo>
                  <a:lnTo>
                    <a:pt x="0" y="123"/>
                  </a:lnTo>
                  <a:lnTo>
                    <a:pt x="5" y="114"/>
                  </a:lnTo>
                  <a:lnTo>
                    <a:pt x="27" y="88"/>
                  </a:lnTo>
                  <a:lnTo>
                    <a:pt x="28" y="67"/>
                  </a:lnTo>
                  <a:lnTo>
                    <a:pt x="31" y="48"/>
                  </a:lnTo>
                  <a:lnTo>
                    <a:pt x="34" y="42"/>
                  </a:lnTo>
                  <a:lnTo>
                    <a:pt x="27" y="36"/>
                  </a:lnTo>
                  <a:lnTo>
                    <a:pt x="22" y="28"/>
                  </a:lnTo>
                  <a:lnTo>
                    <a:pt x="22" y="5"/>
                  </a:lnTo>
                  <a:lnTo>
                    <a:pt x="3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9" name="Central African Republic">
              <a:extLst>
                <a:ext uri="{FF2B5EF4-FFF2-40B4-BE49-F238E27FC236}">
                  <a16:creationId xmlns:a16="http://schemas.microsoft.com/office/drawing/2014/main" id="{46432183-476C-02E5-3088-D98571E290B4}"/>
                </a:ext>
              </a:extLst>
            </p:cNvPr>
            <p:cNvSpPr>
              <a:spLocks/>
            </p:cNvSpPr>
            <p:nvPr/>
          </p:nvSpPr>
          <p:spPr bwMode="auto">
            <a:xfrm>
              <a:off x="6167379" y="4327191"/>
              <a:ext cx="310814" cy="195162"/>
            </a:xfrm>
            <a:custGeom>
              <a:avLst/>
              <a:gdLst>
                <a:gd name="T0" fmla="*/ 105 w 172"/>
                <a:gd name="T1" fmla="*/ 0 h 108"/>
                <a:gd name="T2" fmla="*/ 108 w 172"/>
                <a:gd name="T3" fmla="*/ 0 h 108"/>
                <a:gd name="T4" fmla="*/ 108 w 172"/>
                <a:gd name="T5" fmla="*/ 1 h 108"/>
                <a:gd name="T6" fmla="*/ 120 w 172"/>
                <a:gd name="T7" fmla="*/ 13 h 108"/>
                <a:gd name="T8" fmla="*/ 120 w 172"/>
                <a:gd name="T9" fmla="*/ 28 h 108"/>
                <a:gd name="T10" fmla="*/ 128 w 172"/>
                <a:gd name="T11" fmla="*/ 31 h 108"/>
                <a:gd name="T12" fmla="*/ 128 w 172"/>
                <a:gd name="T13" fmla="*/ 32 h 108"/>
                <a:gd name="T14" fmla="*/ 129 w 172"/>
                <a:gd name="T15" fmla="*/ 35 h 108"/>
                <a:gd name="T16" fmla="*/ 141 w 172"/>
                <a:gd name="T17" fmla="*/ 38 h 108"/>
                <a:gd name="T18" fmla="*/ 141 w 172"/>
                <a:gd name="T19" fmla="*/ 40 h 108"/>
                <a:gd name="T20" fmla="*/ 142 w 172"/>
                <a:gd name="T21" fmla="*/ 46 h 108"/>
                <a:gd name="T22" fmla="*/ 156 w 172"/>
                <a:gd name="T23" fmla="*/ 55 h 108"/>
                <a:gd name="T24" fmla="*/ 160 w 172"/>
                <a:gd name="T25" fmla="*/ 65 h 108"/>
                <a:gd name="T26" fmla="*/ 169 w 172"/>
                <a:gd name="T27" fmla="*/ 71 h 108"/>
                <a:gd name="T28" fmla="*/ 172 w 172"/>
                <a:gd name="T29" fmla="*/ 77 h 108"/>
                <a:gd name="T30" fmla="*/ 172 w 172"/>
                <a:gd name="T31" fmla="*/ 78 h 108"/>
                <a:gd name="T32" fmla="*/ 166 w 172"/>
                <a:gd name="T33" fmla="*/ 78 h 108"/>
                <a:gd name="T34" fmla="*/ 163 w 172"/>
                <a:gd name="T35" fmla="*/ 80 h 108"/>
                <a:gd name="T36" fmla="*/ 162 w 172"/>
                <a:gd name="T37" fmla="*/ 80 h 108"/>
                <a:gd name="T38" fmla="*/ 160 w 172"/>
                <a:gd name="T39" fmla="*/ 78 h 108"/>
                <a:gd name="T40" fmla="*/ 159 w 172"/>
                <a:gd name="T41" fmla="*/ 80 h 108"/>
                <a:gd name="T42" fmla="*/ 156 w 172"/>
                <a:gd name="T43" fmla="*/ 77 h 108"/>
                <a:gd name="T44" fmla="*/ 142 w 172"/>
                <a:gd name="T45" fmla="*/ 78 h 108"/>
                <a:gd name="T46" fmla="*/ 141 w 172"/>
                <a:gd name="T47" fmla="*/ 80 h 108"/>
                <a:gd name="T48" fmla="*/ 136 w 172"/>
                <a:gd name="T49" fmla="*/ 81 h 108"/>
                <a:gd name="T50" fmla="*/ 135 w 172"/>
                <a:gd name="T51" fmla="*/ 81 h 108"/>
                <a:gd name="T52" fmla="*/ 133 w 172"/>
                <a:gd name="T53" fmla="*/ 80 h 108"/>
                <a:gd name="T54" fmla="*/ 117 w 172"/>
                <a:gd name="T55" fmla="*/ 84 h 108"/>
                <a:gd name="T56" fmla="*/ 111 w 172"/>
                <a:gd name="T57" fmla="*/ 83 h 108"/>
                <a:gd name="T58" fmla="*/ 105 w 172"/>
                <a:gd name="T59" fmla="*/ 89 h 108"/>
                <a:gd name="T60" fmla="*/ 93 w 172"/>
                <a:gd name="T61" fmla="*/ 89 h 108"/>
                <a:gd name="T62" fmla="*/ 85 w 172"/>
                <a:gd name="T63" fmla="*/ 86 h 108"/>
                <a:gd name="T64" fmla="*/ 82 w 172"/>
                <a:gd name="T65" fmla="*/ 87 h 108"/>
                <a:gd name="T66" fmla="*/ 80 w 172"/>
                <a:gd name="T67" fmla="*/ 86 h 108"/>
                <a:gd name="T68" fmla="*/ 74 w 172"/>
                <a:gd name="T69" fmla="*/ 78 h 108"/>
                <a:gd name="T70" fmla="*/ 67 w 172"/>
                <a:gd name="T71" fmla="*/ 78 h 108"/>
                <a:gd name="T72" fmla="*/ 59 w 172"/>
                <a:gd name="T73" fmla="*/ 86 h 108"/>
                <a:gd name="T74" fmla="*/ 59 w 172"/>
                <a:gd name="T75" fmla="*/ 96 h 108"/>
                <a:gd name="T76" fmla="*/ 58 w 172"/>
                <a:gd name="T77" fmla="*/ 96 h 108"/>
                <a:gd name="T78" fmla="*/ 56 w 172"/>
                <a:gd name="T79" fmla="*/ 98 h 108"/>
                <a:gd name="T80" fmla="*/ 46 w 172"/>
                <a:gd name="T81" fmla="*/ 101 h 108"/>
                <a:gd name="T82" fmla="*/ 37 w 172"/>
                <a:gd name="T83" fmla="*/ 98 h 108"/>
                <a:gd name="T84" fmla="*/ 34 w 172"/>
                <a:gd name="T85" fmla="*/ 99 h 108"/>
                <a:gd name="T86" fmla="*/ 22 w 172"/>
                <a:gd name="T87" fmla="*/ 108 h 108"/>
                <a:gd name="T88" fmla="*/ 21 w 172"/>
                <a:gd name="T89" fmla="*/ 108 h 108"/>
                <a:gd name="T90" fmla="*/ 12 w 172"/>
                <a:gd name="T91" fmla="*/ 101 h 108"/>
                <a:gd name="T92" fmla="*/ 2 w 172"/>
                <a:gd name="T93" fmla="*/ 83 h 108"/>
                <a:gd name="T94" fmla="*/ 0 w 172"/>
                <a:gd name="T95" fmla="*/ 68 h 108"/>
                <a:gd name="T96" fmla="*/ 12 w 172"/>
                <a:gd name="T97" fmla="*/ 47 h 108"/>
                <a:gd name="T98" fmla="*/ 21 w 172"/>
                <a:gd name="T99" fmla="*/ 47 h 108"/>
                <a:gd name="T100" fmla="*/ 28 w 172"/>
                <a:gd name="T101" fmla="*/ 41 h 108"/>
                <a:gd name="T102" fmla="*/ 33 w 172"/>
                <a:gd name="T103" fmla="*/ 46 h 108"/>
                <a:gd name="T104" fmla="*/ 43 w 172"/>
                <a:gd name="T105" fmla="*/ 40 h 108"/>
                <a:gd name="T106" fmla="*/ 55 w 172"/>
                <a:gd name="T107" fmla="*/ 38 h 108"/>
                <a:gd name="T108" fmla="*/ 61 w 172"/>
                <a:gd name="T109" fmla="*/ 32 h 108"/>
                <a:gd name="T110" fmla="*/ 59 w 172"/>
                <a:gd name="T111" fmla="*/ 28 h 108"/>
                <a:gd name="T112" fmla="*/ 61 w 172"/>
                <a:gd name="T113" fmla="*/ 28 h 108"/>
                <a:gd name="T114" fmla="*/ 79 w 172"/>
                <a:gd name="T115" fmla="*/ 25 h 108"/>
                <a:gd name="T116" fmla="*/ 95 w 172"/>
                <a:gd name="T117" fmla="*/ 10 h 108"/>
                <a:gd name="T118" fmla="*/ 98 w 172"/>
                <a:gd name="T119" fmla="*/ 3 h 108"/>
                <a:gd name="T120" fmla="*/ 98 w 172"/>
                <a:gd name="T121" fmla="*/ 1 h 108"/>
                <a:gd name="T122" fmla="*/ 101 w 172"/>
                <a:gd name="T123" fmla="*/ 1 h 108"/>
                <a:gd name="T124" fmla="*/ 105 w 172"/>
                <a:gd name="T12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08">
                  <a:moveTo>
                    <a:pt x="105" y="0"/>
                  </a:moveTo>
                  <a:lnTo>
                    <a:pt x="108" y="0"/>
                  </a:lnTo>
                  <a:lnTo>
                    <a:pt x="108" y="1"/>
                  </a:lnTo>
                  <a:lnTo>
                    <a:pt x="120" y="13"/>
                  </a:lnTo>
                  <a:lnTo>
                    <a:pt x="120" y="28"/>
                  </a:lnTo>
                  <a:lnTo>
                    <a:pt x="128" y="31"/>
                  </a:lnTo>
                  <a:lnTo>
                    <a:pt x="128" y="32"/>
                  </a:lnTo>
                  <a:lnTo>
                    <a:pt x="129" y="35"/>
                  </a:lnTo>
                  <a:lnTo>
                    <a:pt x="141" y="38"/>
                  </a:lnTo>
                  <a:lnTo>
                    <a:pt x="141" y="40"/>
                  </a:lnTo>
                  <a:lnTo>
                    <a:pt x="142" y="46"/>
                  </a:lnTo>
                  <a:lnTo>
                    <a:pt x="156" y="55"/>
                  </a:lnTo>
                  <a:lnTo>
                    <a:pt x="160" y="65"/>
                  </a:lnTo>
                  <a:lnTo>
                    <a:pt x="169" y="71"/>
                  </a:lnTo>
                  <a:lnTo>
                    <a:pt x="172" y="77"/>
                  </a:lnTo>
                  <a:lnTo>
                    <a:pt x="172" y="78"/>
                  </a:lnTo>
                  <a:lnTo>
                    <a:pt x="166" y="78"/>
                  </a:lnTo>
                  <a:lnTo>
                    <a:pt x="163" y="80"/>
                  </a:lnTo>
                  <a:lnTo>
                    <a:pt x="162" y="80"/>
                  </a:lnTo>
                  <a:lnTo>
                    <a:pt x="160" y="78"/>
                  </a:lnTo>
                  <a:lnTo>
                    <a:pt x="159" y="80"/>
                  </a:lnTo>
                  <a:lnTo>
                    <a:pt x="156" y="77"/>
                  </a:lnTo>
                  <a:lnTo>
                    <a:pt x="142" y="78"/>
                  </a:lnTo>
                  <a:lnTo>
                    <a:pt x="141" y="80"/>
                  </a:lnTo>
                  <a:lnTo>
                    <a:pt x="136" y="81"/>
                  </a:lnTo>
                  <a:lnTo>
                    <a:pt x="135" y="81"/>
                  </a:lnTo>
                  <a:lnTo>
                    <a:pt x="133" y="80"/>
                  </a:lnTo>
                  <a:lnTo>
                    <a:pt x="117" y="84"/>
                  </a:lnTo>
                  <a:lnTo>
                    <a:pt x="111" y="83"/>
                  </a:lnTo>
                  <a:lnTo>
                    <a:pt x="105" y="89"/>
                  </a:lnTo>
                  <a:lnTo>
                    <a:pt x="93" y="89"/>
                  </a:lnTo>
                  <a:lnTo>
                    <a:pt x="85" y="86"/>
                  </a:lnTo>
                  <a:lnTo>
                    <a:pt x="82" y="87"/>
                  </a:lnTo>
                  <a:lnTo>
                    <a:pt x="80" y="86"/>
                  </a:lnTo>
                  <a:lnTo>
                    <a:pt x="74" y="78"/>
                  </a:lnTo>
                  <a:lnTo>
                    <a:pt x="67" y="78"/>
                  </a:lnTo>
                  <a:lnTo>
                    <a:pt x="59" y="86"/>
                  </a:lnTo>
                  <a:lnTo>
                    <a:pt x="59" y="96"/>
                  </a:lnTo>
                  <a:lnTo>
                    <a:pt x="58" y="96"/>
                  </a:lnTo>
                  <a:lnTo>
                    <a:pt x="56" y="98"/>
                  </a:lnTo>
                  <a:lnTo>
                    <a:pt x="46" y="101"/>
                  </a:lnTo>
                  <a:lnTo>
                    <a:pt x="37" y="98"/>
                  </a:lnTo>
                  <a:lnTo>
                    <a:pt x="34" y="99"/>
                  </a:lnTo>
                  <a:lnTo>
                    <a:pt x="22" y="108"/>
                  </a:lnTo>
                  <a:lnTo>
                    <a:pt x="21" y="108"/>
                  </a:lnTo>
                  <a:lnTo>
                    <a:pt x="12" y="101"/>
                  </a:lnTo>
                  <a:lnTo>
                    <a:pt x="2" y="83"/>
                  </a:lnTo>
                  <a:lnTo>
                    <a:pt x="0" y="68"/>
                  </a:lnTo>
                  <a:lnTo>
                    <a:pt x="12" y="47"/>
                  </a:lnTo>
                  <a:lnTo>
                    <a:pt x="21" y="47"/>
                  </a:lnTo>
                  <a:lnTo>
                    <a:pt x="28" y="41"/>
                  </a:lnTo>
                  <a:lnTo>
                    <a:pt x="33" y="46"/>
                  </a:lnTo>
                  <a:lnTo>
                    <a:pt x="43" y="40"/>
                  </a:lnTo>
                  <a:lnTo>
                    <a:pt x="55" y="38"/>
                  </a:lnTo>
                  <a:lnTo>
                    <a:pt x="61" y="32"/>
                  </a:lnTo>
                  <a:lnTo>
                    <a:pt x="59" y="28"/>
                  </a:lnTo>
                  <a:lnTo>
                    <a:pt x="61" y="28"/>
                  </a:lnTo>
                  <a:lnTo>
                    <a:pt x="79" y="25"/>
                  </a:lnTo>
                  <a:lnTo>
                    <a:pt x="95" y="10"/>
                  </a:lnTo>
                  <a:lnTo>
                    <a:pt x="98" y="3"/>
                  </a:lnTo>
                  <a:lnTo>
                    <a:pt x="98" y="1"/>
                  </a:lnTo>
                  <a:lnTo>
                    <a:pt x="101" y="1"/>
                  </a:lnTo>
                  <a:lnTo>
                    <a:pt x="105"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0" name="Cameroon">
              <a:extLst>
                <a:ext uri="{FF2B5EF4-FFF2-40B4-BE49-F238E27FC236}">
                  <a16:creationId xmlns:a16="http://schemas.microsoft.com/office/drawing/2014/main" id="{4B665320-D4CC-0B9A-E6C4-82D4A0744177}"/>
                </a:ext>
              </a:extLst>
            </p:cNvPr>
            <p:cNvSpPr>
              <a:spLocks/>
            </p:cNvSpPr>
            <p:nvPr/>
          </p:nvSpPr>
          <p:spPr bwMode="auto">
            <a:xfrm>
              <a:off x="6024620" y="4283821"/>
              <a:ext cx="182514" cy="267445"/>
            </a:xfrm>
            <a:custGeom>
              <a:avLst/>
              <a:gdLst>
                <a:gd name="T0" fmla="*/ 81 w 101"/>
                <a:gd name="T1" fmla="*/ 0 h 148"/>
                <a:gd name="T2" fmla="*/ 82 w 101"/>
                <a:gd name="T3" fmla="*/ 0 h 148"/>
                <a:gd name="T4" fmla="*/ 86 w 101"/>
                <a:gd name="T5" fmla="*/ 12 h 148"/>
                <a:gd name="T6" fmla="*/ 85 w 101"/>
                <a:gd name="T7" fmla="*/ 25 h 148"/>
                <a:gd name="T8" fmla="*/ 91 w 101"/>
                <a:gd name="T9" fmla="*/ 39 h 148"/>
                <a:gd name="T10" fmla="*/ 76 w 101"/>
                <a:gd name="T11" fmla="*/ 40 h 148"/>
                <a:gd name="T12" fmla="*/ 75 w 101"/>
                <a:gd name="T13" fmla="*/ 43 h 148"/>
                <a:gd name="T14" fmla="*/ 78 w 101"/>
                <a:gd name="T15" fmla="*/ 50 h 148"/>
                <a:gd name="T16" fmla="*/ 86 w 101"/>
                <a:gd name="T17" fmla="*/ 55 h 148"/>
                <a:gd name="T18" fmla="*/ 88 w 101"/>
                <a:gd name="T19" fmla="*/ 55 h 148"/>
                <a:gd name="T20" fmla="*/ 92 w 101"/>
                <a:gd name="T21" fmla="*/ 71 h 148"/>
                <a:gd name="T22" fmla="*/ 92 w 101"/>
                <a:gd name="T23" fmla="*/ 73 h 148"/>
                <a:gd name="T24" fmla="*/ 81 w 101"/>
                <a:gd name="T25" fmla="*/ 92 h 148"/>
                <a:gd name="T26" fmla="*/ 82 w 101"/>
                <a:gd name="T27" fmla="*/ 105 h 148"/>
                <a:gd name="T28" fmla="*/ 92 w 101"/>
                <a:gd name="T29" fmla="*/ 125 h 148"/>
                <a:gd name="T30" fmla="*/ 101 w 101"/>
                <a:gd name="T31" fmla="*/ 130 h 148"/>
                <a:gd name="T32" fmla="*/ 101 w 101"/>
                <a:gd name="T33" fmla="*/ 132 h 148"/>
                <a:gd name="T34" fmla="*/ 100 w 101"/>
                <a:gd name="T35" fmla="*/ 148 h 148"/>
                <a:gd name="T36" fmla="*/ 98 w 101"/>
                <a:gd name="T37" fmla="*/ 148 h 148"/>
                <a:gd name="T38" fmla="*/ 94 w 101"/>
                <a:gd name="T39" fmla="*/ 144 h 148"/>
                <a:gd name="T40" fmla="*/ 81 w 101"/>
                <a:gd name="T41" fmla="*/ 142 h 148"/>
                <a:gd name="T42" fmla="*/ 64 w 101"/>
                <a:gd name="T43" fmla="*/ 142 h 148"/>
                <a:gd name="T44" fmla="*/ 38 w 101"/>
                <a:gd name="T45" fmla="*/ 141 h 148"/>
                <a:gd name="T46" fmla="*/ 29 w 101"/>
                <a:gd name="T47" fmla="*/ 141 h 148"/>
                <a:gd name="T48" fmla="*/ 26 w 101"/>
                <a:gd name="T49" fmla="*/ 142 h 148"/>
                <a:gd name="T50" fmla="*/ 17 w 101"/>
                <a:gd name="T51" fmla="*/ 142 h 148"/>
                <a:gd name="T52" fmla="*/ 15 w 101"/>
                <a:gd name="T53" fmla="*/ 141 h 148"/>
                <a:gd name="T54" fmla="*/ 20 w 101"/>
                <a:gd name="T55" fmla="*/ 126 h 148"/>
                <a:gd name="T56" fmla="*/ 15 w 101"/>
                <a:gd name="T57" fmla="*/ 122 h 148"/>
                <a:gd name="T58" fmla="*/ 14 w 101"/>
                <a:gd name="T59" fmla="*/ 122 h 148"/>
                <a:gd name="T60" fmla="*/ 14 w 101"/>
                <a:gd name="T61" fmla="*/ 120 h 148"/>
                <a:gd name="T62" fmla="*/ 15 w 101"/>
                <a:gd name="T63" fmla="*/ 117 h 148"/>
                <a:gd name="T64" fmla="*/ 8 w 101"/>
                <a:gd name="T65" fmla="*/ 117 h 148"/>
                <a:gd name="T66" fmla="*/ 8 w 101"/>
                <a:gd name="T67" fmla="*/ 116 h 148"/>
                <a:gd name="T68" fmla="*/ 5 w 101"/>
                <a:gd name="T69" fmla="*/ 111 h 148"/>
                <a:gd name="T70" fmla="*/ 2 w 101"/>
                <a:gd name="T71" fmla="*/ 111 h 148"/>
                <a:gd name="T72" fmla="*/ 2 w 101"/>
                <a:gd name="T73" fmla="*/ 110 h 148"/>
                <a:gd name="T74" fmla="*/ 0 w 101"/>
                <a:gd name="T75" fmla="*/ 108 h 148"/>
                <a:gd name="T76" fmla="*/ 5 w 101"/>
                <a:gd name="T77" fmla="*/ 92 h 148"/>
                <a:gd name="T78" fmla="*/ 14 w 101"/>
                <a:gd name="T79" fmla="*/ 79 h 148"/>
                <a:gd name="T80" fmla="*/ 29 w 101"/>
                <a:gd name="T81" fmla="*/ 79 h 148"/>
                <a:gd name="T82" fmla="*/ 35 w 101"/>
                <a:gd name="T83" fmla="*/ 85 h 148"/>
                <a:gd name="T84" fmla="*/ 41 w 101"/>
                <a:gd name="T85" fmla="*/ 83 h 148"/>
                <a:gd name="T86" fmla="*/ 51 w 101"/>
                <a:gd name="T87" fmla="*/ 58 h 148"/>
                <a:gd name="T88" fmla="*/ 57 w 101"/>
                <a:gd name="T89" fmla="*/ 52 h 148"/>
                <a:gd name="T90" fmla="*/ 66 w 101"/>
                <a:gd name="T91" fmla="*/ 25 h 148"/>
                <a:gd name="T92" fmla="*/ 78 w 101"/>
                <a:gd name="T93" fmla="*/ 15 h 148"/>
                <a:gd name="T94" fmla="*/ 78 w 101"/>
                <a:gd name="T95" fmla="*/ 9 h 148"/>
                <a:gd name="T96" fmla="*/ 75 w 101"/>
                <a:gd name="T97" fmla="*/ 6 h 148"/>
                <a:gd name="T98" fmla="*/ 75 w 101"/>
                <a:gd name="T99" fmla="*/ 4 h 148"/>
                <a:gd name="T100" fmla="*/ 81 w 101"/>
                <a:gd name="T10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1" h="148">
                  <a:moveTo>
                    <a:pt x="81" y="0"/>
                  </a:moveTo>
                  <a:lnTo>
                    <a:pt x="82" y="0"/>
                  </a:lnTo>
                  <a:lnTo>
                    <a:pt x="86" y="12"/>
                  </a:lnTo>
                  <a:lnTo>
                    <a:pt x="85" y="25"/>
                  </a:lnTo>
                  <a:lnTo>
                    <a:pt x="91" y="39"/>
                  </a:lnTo>
                  <a:lnTo>
                    <a:pt x="76" y="40"/>
                  </a:lnTo>
                  <a:lnTo>
                    <a:pt x="75" y="43"/>
                  </a:lnTo>
                  <a:lnTo>
                    <a:pt x="78" y="50"/>
                  </a:lnTo>
                  <a:lnTo>
                    <a:pt x="86" y="55"/>
                  </a:lnTo>
                  <a:lnTo>
                    <a:pt x="88" y="55"/>
                  </a:lnTo>
                  <a:lnTo>
                    <a:pt x="92" y="71"/>
                  </a:lnTo>
                  <a:lnTo>
                    <a:pt x="92" y="73"/>
                  </a:lnTo>
                  <a:lnTo>
                    <a:pt x="81" y="92"/>
                  </a:lnTo>
                  <a:lnTo>
                    <a:pt x="82" y="105"/>
                  </a:lnTo>
                  <a:lnTo>
                    <a:pt x="92" y="125"/>
                  </a:lnTo>
                  <a:lnTo>
                    <a:pt x="101" y="130"/>
                  </a:lnTo>
                  <a:lnTo>
                    <a:pt x="101" y="132"/>
                  </a:lnTo>
                  <a:lnTo>
                    <a:pt x="100" y="148"/>
                  </a:lnTo>
                  <a:lnTo>
                    <a:pt x="98" y="148"/>
                  </a:lnTo>
                  <a:lnTo>
                    <a:pt x="94" y="144"/>
                  </a:lnTo>
                  <a:lnTo>
                    <a:pt x="81" y="142"/>
                  </a:lnTo>
                  <a:lnTo>
                    <a:pt x="64" y="142"/>
                  </a:lnTo>
                  <a:lnTo>
                    <a:pt x="38" y="141"/>
                  </a:lnTo>
                  <a:lnTo>
                    <a:pt x="29" y="141"/>
                  </a:lnTo>
                  <a:lnTo>
                    <a:pt x="26" y="142"/>
                  </a:lnTo>
                  <a:lnTo>
                    <a:pt x="17" y="142"/>
                  </a:lnTo>
                  <a:lnTo>
                    <a:pt x="15" y="141"/>
                  </a:lnTo>
                  <a:lnTo>
                    <a:pt x="20" y="126"/>
                  </a:lnTo>
                  <a:lnTo>
                    <a:pt x="15" y="122"/>
                  </a:lnTo>
                  <a:lnTo>
                    <a:pt x="14" y="122"/>
                  </a:lnTo>
                  <a:lnTo>
                    <a:pt x="14" y="120"/>
                  </a:lnTo>
                  <a:lnTo>
                    <a:pt x="15" y="117"/>
                  </a:lnTo>
                  <a:lnTo>
                    <a:pt x="8" y="117"/>
                  </a:lnTo>
                  <a:lnTo>
                    <a:pt x="8" y="116"/>
                  </a:lnTo>
                  <a:lnTo>
                    <a:pt x="5" y="111"/>
                  </a:lnTo>
                  <a:lnTo>
                    <a:pt x="2" y="111"/>
                  </a:lnTo>
                  <a:lnTo>
                    <a:pt x="2" y="110"/>
                  </a:lnTo>
                  <a:lnTo>
                    <a:pt x="0" y="108"/>
                  </a:lnTo>
                  <a:lnTo>
                    <a:pt x="5" y="92"/>
                  </a:lnTo>
                  <a:lnTo>
                    <a:pt x="14" y="79"/>
                  </a:lnTo>
                  <a:lnTo>
                    <a:pt x="29" y="79"/>
                  </a:lnTo>
                  <a:lnTo>
                    <a:pt x="35" y="85"/>
                  </a:lnTo>
                  <a:lnTo>
                    <a:pt x="41" y="83"/>
                  </a:lnTo>
                  <a:lnTo>
                    <a:pt x="51" y="58"/>
                  </a:lnTo>
                  <a:lnTo>
                    <a:pt x="57" y="52"/>
                  </a:lnTo>
                  <a:lnTo>
                    <a:pt x="66" y="25"/>
                  </a:lnTo>
                  <a:lnTo>
                    <a:pt x="78" y="15"/>
                  </a:lnTo>
                  <a:lnTo>
                    <a:pt x="78" y="9"/>
                  </a:lnTo>
                  <a:lnTo>
                    <a:pt x="75" y="6"/>
                  </a:lnTo>
                  <a:lnTo>
                    <a:pt x="75" y="4"/>
                  </a:lnTo>
                  <a:lnTo>
                    <a:pt x="8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1" name="Cabinda (Province)">
              <a:extLst>
                <a:ext uri="{FF2B5EF4-FFF2-40B4-BE49-F238E27FC236}">
                  <a16:creationId xmlns:a16="http://schemas.microsoft.com/office/drawing/2014/main" id="{DB636C2F-27EF-0E38-A63C-B1C5647216ED}"/>
                </a:ext>
              </a:extLst>
            </p:cNvPr>
            <p:cNvSpPr>
              <a:spLocks/>
            </p:cNvSpPr>
            <p:nvPr/>
          </p:nvSpPr>
          <p:spPr bwMode="auto">
            <a:xfrm>
              <a:off x="6107746" y="4690410"/>
              <a:ext cx="27107" cy="37948"/>
            </a:xfrm>
            <a:custGeom>
              <a:avLst/>
              <a:gdLst>
                <a:gd name="T0" fmla="*/ 9 w 15"/>
                <a:gd name="T1" fmla="*/ 0 h 21"/>
                <a:gd name="T2" fmla="*/ 11 w 15"/>
                <a:gd name="T3" fmla="*/ 0 h 21"/>
                <a:gd name="T4" fmla="*/ 15 w 15"/>
                <a:gd name="T5" fmla="*/ 3 h 21"/>
                <a:gd name="T6" fmla="*/ 15 w 15"/>
                <a:gd name="T7" fmla="*/ 5 h 21"/>
                <a:gd name="T8" fmla="*/ 9 w 15"/>
                <a:gd name="T9" fmla="*/ 9 h 21"/>
                <a:gd name="T10" fmla="*/ 8 w 15"/>
                <a:gd name="T11" fmla="*/ 20 h 21"/>
                <a:gd name="T12" fmla="*/ 6 w 15"/>
                <a:gd name="T13" fmla="*/ 21 h 21"/>
                <a:gd name="T14" fmla="*/ 5 w 15"/>
                <a:gd name="T15" fmla="*/ 21 h 21"/>
                <a:gd name="T16" fmla="*/ 5 w 15"/>
                <a:gd name="T17" fmla="*/ 20 h 21"/>
                <a:gd name="T18" fmla="*/ 0 w 15"/>
                <a:gd name="T19" fmla="*/ 9 h 21"/>
                <a:gd name="T20" fmla="*/ 9 w 15"/>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1">
                  <a:moveTo>
                    <a:pt x="9" y="0"/>
                  </a:moveTo>
                  <a:lnTo>
                    <a:pt x="11" y="0"/>
                  </a:lnTo>
                  <a:lnTo>
                    <a:pt x="15" y="3"/>
                  </a:lnTo>
                  <a:lnTo>
                    <a:pt x="15" y="5"/>
                  </a:lnTo>
                  <a:lnTo>
                    <a:pt x="9" y="9"/>
                  </a:lnTo>
                  <a:lnTo>
                    <a:pt x="8" y="20"/>
                  </a:lnTo>
                  <a:lnTo>
                    <a:pt x="6" y="21"/>
                  </a:lnTo>
                  <a:lnTo>
                    <a:pt x="5" y="21"/>
                  </a:lnTo>
                  <a:lnTo>
                    <a:pt x="5" y="20"/>
                  </a:lnTo>
                  <a:lnTo>
                    <a:pt x="0" y="9"/>
                  </a:lnTo>
                  <a:lnTo>
                    <a:pt x="9"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2" name="Botswana">
              <a:extLst>
                <a:ext uri="{FF2B5EF4-FFF2-40B4-BE49-F238E27FC236}">
                  <a16:creationId xmlns:a16="http://schemas.microsoft.com/office/drawing/2014/main" id="{52CDE96D-1DFB-FBD2-D656-2D883D532CEF}"/>
                </a:ext>
              </a:extLst>
            </p:cNvPr>
            <p:cNvSpPr>
              <a:spLocks/>
            </p:cNvSpPr>
            <p:nvPr/>
          </p:nvSpPr>
          <p:spPr bwMode="auto">
            <a:xfrm>
              <a:off x="6295680" y="5010260"/>
              <a:ext cx="225883" cy="233112"/>
            </a:xfrm>
            <a:custGeom>
              <a:avLst/>
              <a:gdLst>
                <a:gd name="T0" fmla="*/ 64 w 125"/>
                <a:gd name="T1" fmla="*/ 0 h 129"/>
                <a:gd name="T2" fmla="*/ 70 w 125"/>
                <a:gd name="T3" fmla="*/ 0 h 129"/>
                <a:gd name="T4" fmla="*/ 70 w 125"/>
                <a:gd name="T5" fmla="*/ 1 h 129"/>
                <a:gd name="T6" fmla="*/ 82 w 125"/>
                <a:gd name="T7" fmla="*/ 22 h 129"/>
                <a:gd name="T8" fmla="*/ 104 w 125"/>
                <a:gd name="T9" fmla="*/ 40 h 129"/>
                <a:gd name="T10" fmla="*/ 105 w 125"/>
                <a:gd name="T11" fmla="*/ 52 h 129"/>
                <a:gd name="T12" fmla="*/ 123 w 125"/>
                <a:gd name="T13" fmla="*/ 61 h 129"/>
                <a:gd name="T14" fmla="*/ 125 w 125"/>
                <a:gd name="T15" fmla="*/ 61 h 129"/>
                <a:gd name="T16" fmla="*/ 123 w 125"/>
                <a:gd name="T17" fmla="*/ 62 h 129"/>
                <a:gd name="T18" fmla="*/ 100 w 125"/>
                <a:gd name="T19" fmla="*/ 77 h 129"/>
                <a:gd name="T20" fmla="*/ 79 w 125"/>
                <a:gd name="T21" fmla="*/ 99 h 129"/>
                <a:gd name="T22" fmla="*/ 74 w 125"/>
                <a:gd name="T23" fmla="*/ 110 h 129"/>
                <a:gd name="T24" fmla="*/ 74 w 125"/>
                <a:gd name="T25" fmla="*/ 111 h 129"/>
                <a:gd name="T26" fmla="*/ 64 w 125"/>
                <a:gd name="T27" fmla="*/ 112 h 129"/>
                <a:gd name="T28" fmla="*/ 51 w 125"/>
                <a:gd name="T29" fmla="*/ 108 h 129"/>
                <a:gd name="T30" fmla="*/ 45 w 125"/>
                <a:gd name="T31" fmla="*/ 108 h 129"/>
                <a:gd name="T32" fmla="*/ 31 w 125"/>
                <a:gd name="T33" fmla="*/ 126 h 129"/>
                <a:gd name="T34" fmla="*/ 21 w 125"/>
                <a:gd name="T35" fmla="*/ 129 h 129"/>
                <a:gd name="T36" fmla="*/ 11 w 125"/>
                <a:gd name="T37" fmla="*/ 127 h 129"/>
                <a:gd name="T38" fmla="*/ 11 w 125"/>
                <a:gd name="T39" fmla="*/ 111 h 129"/>
                <a:gd name="T40" fmla="*/ 0 w 125"/>
                <a:gd name="T41" fmla="*/ 98 h 129"/>
                <a:gd name="T42" fmla="*/ 0 w 125"/>
                <a:gd name="T43" fmla="*/ 58 h 129"/>
                <a:gd name="T44" fmla="*/ 12 w 125"/>
                <a:gd name="T45" fmla="*/ 58 h 129"/>
                <a:gd name="T46" fmla="*/ 12 w 125"/>
                <a:gd name="T47" fmla="*/ 10 h 129"/>
                <a:gd name="T48" fmla="*/ 14 w 125"/>
                <a:gd name="T49" fmla="*/ 10 h 129"/>
                <a:gd name="T50" fmla="*/ 39 w 125"/>
                <a:gd name="T51" fmla="*/ 4 h 129"/>
                <a:gd name="T52" fmla="*/ 45 w 125"/>
                <a:gd name="T53" fmla="*/ 6 h 129"/>
                <a:gd name="T54" fmla="*/ 46 w 125"/>
                <a:gd name="T55" fmla="*/ 6 h 129"/>
                <a:gd name="T56" fmla="*/ 48 w 125"/>
                <a:gd name="T57" fmla="*/ 12 h 129"/>
                <a:gd name="T58" fmla="*/ 55 w 125"/>
                <a:gd name="T59" fmla="*/ 4 h 129"/>
                <a:gd name="T60" fmla="*/ 64 w 125"/>
                <a:gd name="T6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 h="129">
                  <a:moveTo>
                    <a:pt x="64" y="0"/>
                  </a:moveTo>
                  <a:lnTo>
                    <a:pt x="70" y="0"/>
                  </a:lnTo>
                  <a:lnTo>
                    <a:pt x="70" y="1"/>
                  </a:lnTo>
                  <a:lnTo>
                    <a:pt x="82" y="22"/>
                  </a:lnTo>
                  <a:lnTo>
                    <a:pt x="104" y="40"/>
                  </a:lnTo>
                  <a:lnTo>
                    <a:pt x="105" y="52"/>
                  </a:lnTo>
                  <a:lnTo>
                    <a:pt x="123" y="61"/>
                  </a:lnTo>
                  <a:lnTo>
                    <a:pt x="125" y="61"/>
                  </a:lnTo>
                  <a:lnTo>
                    <a:pt x="123" y="62"/>
                  </a:lnTo>
                  <a:lnTo>
                    <a:pt x="100" y="77"/>
                  </a:lnTo>
                  <a:lnTo>
                    <a:pt x="79" y="99"/>
                  </a:lnTo>
                  <a:lnTo>
                    <a:pt x="74" y="110"/>
                  </a:lnTo>
                  <a:lnTo>
                    <a:pt x="74" y="111"/>
                  </a:lnTo>
                  <a:lnTo>
                    <a:pt x="64" y="112"/>
                  </a:lnTo>
                  <a:lnTo>
                    <a:pt x="51" y="108"/>
                  </a:lnTo>
                  <a:lnTo>
                    <a:pt x="45" y="108"/>
                  </a:lnTo>
                  <a:lnTo>
                    <a:pt x="31" y="126"/>
                  </a:lnTo>
                  <a:lnTo>
                    <a:pt x="21" y="129"/>
                  </a:lnTo>
                  <a:lnTo>
                    <a:pt x="11" y="127"/>
                  </a:lnTo>
                  <a:lnTo>
                    <a:pt x="11" y="111"/>
                  </a:lnTo>
                  <a:lnTo>
                    <a:pt x="0" y="98"/>
                  </a:lnTo>
                  <a:lnTo>
                    <a:pt x="0" y="58"/>
                  </a:lnTo>
                  <a:lnTo>
                    <a:pt x="12" y="58"/>
                  </a:lnTo>
                  <a:lnTo>
                    <a:pt x="12" y="10"/>
                  </a:lnTo>
                  <a:lnTo>
                    <a:pt x="14" y="10"/>
                  </a:lnTo>
                  <a:lnTo>
                    <a:pt x="39" y="4"/>
                  </a:lnTo>
                  <a:lnTo>
                    <a:pt x="45" y="6"/>
                  </a:lnTo>
                  <a:lnTo>
                    <a:pt x="46" y="6"/>
                  </a:lnTo>
                  <a:lnTo>
                    <a:pt x="48" y="12"/>
                  </a:lnTo>
                  <a:lnTo>
                    <a:pt x="55" y="4"/>
                  </a:lnTo>
                  <a:lnTo>
                    <a:pt x="64"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3" name="Burundi">
              <a:extLst>
                <a:ext uri="{FF2B5EF4-FFF2-40B4-BE49-F238E27FC236}">
                  <a16:creationId xmlns:a16="http://schemas.microsoft.com/office/drawing/2014/main" id="{15FC249F-7FB6-C9D4-2D1E-961792BB85FC}"/>
                </a:ext>
              </a:extLst>
            </p:cNvPr>
            <p:cNvSpPr>
              <a:spLocks/>
            </p:cNvSpPr>
            <p:nvPr/>
          </p:nvSpPr>
          <p:spPr bwMode="auto">
            <a:xfrm>
              <a:off x="6516141" y="4643426"/>
              <a:ext cx="39755" cy="50598"/>
            </a:xfrm>
            <a:custGeom>
              <a:avLst/>
              <a:gdLst>
                <a:gd name="T0" fmla="*/ 10 w 22"/>
                <a:gd name="T1" fmla="*/ 0 h 28"/>
                <a:gd name="T2" fmla="*/ 20 w 22"/>
                <a:gd name="T3" fmla="*/ 0 h 28"/>
                <a:gd name="T4" fmla="*/ 20 w 22"/>
                <a:gd name="T5" fmla="*/ 1 h 28"/>
                <a:gd name="T6" fmla="*/ 19 w 22"/>
                <a:gd name="T7" fmla="*/ 4 h 28"/>
                <a:gd name="T8" fmla="*/ 22 w 22"/>
                <a:gd name="T9" fmla="*/ 12 h 28"/>
                <a:gd name="T10" fmla="*/ 15 w 22"/>
                <a:gd name="T11" fmla="*/ 25 h 28"/>
                <a:gd name="T12" fmla="*/ 13 w 22"/>
                <a:gd name="T13" fmla="*/ 25 h 28"/>
                <a:gd name="T14" fmla="*/ 7 w 22"/>
                <a:gd name="T15" fmla="*/ 28 h 28"/>
                <a:gd name="T16" fmla="*/ 6 w 22"/>
                <a:gd name="T17" fmla="*/ 28 h 28"/>
                <a:gd name="T18" fmla="*/ 6 w 22"/>
                <a:gd name="T19" fmla="*/ 26 h 28"/>
                <a:gd name="T20" fmla="*/ 1 w 22"/>
                <a:gd name="T21" fmla="*/ 13 h 28"/>
                <a:gd name="T22" fmla="*/ 0 w 22"/>
                <a:gd name="T23" fmla="*/ 6 h 28"/>
                <a:gd name="T24" fmla="*/ 1 w 22"/>
                <a:gd name="T25" fmla="*/ 1 h 28"/>
                <a:gd name="T26" fmla="*/ 6 w 22"/>
                <a:gd name="T27" fmla="*/ 4 h 28"/>
                <a:gd name="T28" fmla="*/ 9 w 22"/>
                <a:gd name="T29" fmla="*/ 4 h 28"/>
                <a:gd name="T30" fmla="*/ 10 w 22"/>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8">
                  <a:moveTo>
                    <a:pt x="10" y="0"/>
                  </a:moveTo>
                  <a:lnTo>
                    <a:pt x="20" y="0"/>
                  </a:lnTo>
                  <a:lnTo>
                    <a:pt x="20" y="1"/>
                  </a:lnTo>
                  <a:lnTo>
                    <a:pt x="19" y="4"/>
                  </a:lnTo>
                  <a:lnTo>
                    <a:pt x="22" y="12"/>
                  </a:lnTo>
                  <a:lnTo>
                    <a:pt x="15" y="25"/>
                  </a:lnTo>
                  <a:lnTo>
                    <a:pt x="13" y="25"/>
                  </a:lnTo>
                  <a:lnTo>
                    <a:pt x="7" y="28"/>
                  </a:lnTo>
                  <a:lnTo>
                    <a:pt x="6" y="28"/>
                  </a:lnTo>
                  <a:lnTo>
                    <a:pt x="6" y="26"/>
                  </a:lnTo>
                  <a:lnTo>
                    <a:pt x="1" y="13"/>
                  </a:lnTo>
                  <a:lnTo>
                    <a:pt x="0" y="6"/>
                  </a:lnTo>
                  <a:lnTo>
                    <a:pt x="1" y="1"/>
                  </a:lnTo>
                  <a:lnTo>
                    <a:pt x="6" y="4"/>
                  </a:lnTo>
                  <a:lnTo>
                    <a:pt x="9" y="4"/>
                  </a:lnTo>
                  <a:lnTo>
                    <a:pt x="1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4" name="Burkina Faso">
              <a:extLst>
                <a:ext uri="{FF2B5EF4-FFF2-40B4-BE49-F238E27FC236}">
                  <a16:creationId xmlns:a16="http://schemas.microsoft.com/office/drawing/2014/main" id="{C31969AD-794B-0DE5-E45E-DBA66DB7F735}"/>
                </a:ext>
              </a:extLst>
            </p:cNvPr>
            <p:cNvSpPr>
              <a:spLocks/>
            </p:cNvSpPr>
            <p:nvPr/>
          </p:nvSpPr>
          <p:spPr bwMode="auto">
            <a:xfrm>
              <a:off x="5704771" y="4233223"/>
              <a:ext cx="178900" cy="133723"/>
            </a:xfrm>
            <a:custGeom>
              <a:avLst/>
              <a:gdLst>
                <a:gd name="T0" fmla="*/ 66 w 99"/>
                <a:gd name="T1" fmla="*/ 0 h 74"/>
                <a:gd name="T2" fmla="*/ 71 w 99"/>
                <a:gd name="T3" fmla="*/ 0 h 74"/>
                <a:gd name="T4" fmla="*/ 69 w 99"/>
                <a:gd name="T5" fmla="*/ 6 h 74"/>
                <a:gd name="T6" fmla="*/ 74 w 99"/>
                <a:gd name="T7" fmla="*/ 13 h 74"/>
                <a:gd name="T8" fmla="*/ 86 w 99"/>
                <a:gd name="T9" fmla="*/ 30 h 74"/>
                <a:gd name="T10" fmla="*/ 96 w 99"/>
                <a:gd name="T11" fmla="*/ 30 h 74"/>
                <a:gd name="T12" fmla="*/ 97 w 99"/>
                <a:gd name="T13" fmla="*/ 34 h 74"/>
                <a:gd name="T14" fmla="*/ 96 w 99"/>
                <a:gd name="T15" fmla="*/ 37 h 74"/>
                <a:gd name="T16" fmla="*/ 99 w 99"/>
                <a:gd name="T17" fmla="*/ 40 h 74"/>
                <a:gd name="T18" fmla="*/ 99 w 99"/>
                <a:gd name="T19" fmla="*/ 41 h 74"/>
                <a:gd name="T20" fmla="*/ 94 w 99"/>
                <a:gd name="T21" fmla="*/ 47 h 74"/>
                <a:gd name="T22" fmla="*/ 87 w 99"/>
                <a:gd name="T23" fmla="*/ 47 h 74"/>
                <a:gd name="T24" fmla="*/ 80 w 99"/>
                <a:gd name="T25" fmla="*/ 53 h 74"/>
                <a:gd name="T26" fmla="*/ 74 w 99"/>
                <a:gd name="T27" fmla="*/ 55 h 74"/>
                <a:gd name="T28" fmla="*/ 65 w 99"/>
                <a:gd name="T29" fmla="*/ 52 h 74"/>
                <a:gd name="T30" fmla="*/ 57 w 99"/>
                <a:gd name="T31" fmla="*/ 55 h 74"/>
                <a:gd name="T32" fmla="*/ 31 w 99"/>
                <a:gd name="T33" fmla="*/ 53 h 74"/>
                <a:gd name="T34" fmla="*/ 31 w 99"/>
                <a:gd name="T35" fmla="*/ 58 h 74"/>
                <a:gd name="T36" fmla="*/ 34 w 99"/>
                <a:gd name="T37" fmla="*/ 73 h 74"/>
                <a:gd name="T38" fmla="*/ 34 w 99"/>
                <a:gd name="T39" fmla="*/ 74 h 74"/>
                <a:gd name="T40" fmla="*/ 29 w 99"/>
                <a:gd name="T41" fmla="*/ 74 h 74"/>
                <a:gd name="T42" fmla="*/ 26 w 99"/>
                <a:gd name="T43" fmla="*/ 68 h 74"/>
                <a:gd name="T44" fmla="*/ 20 w 99"/>
                <a:gd name="T45" fmla="*/ 67 h 74"/>
                <a:gd name="T46" fmla="*/ 11 w 99"/>
                <a:gd name="T47" fmla="*/ 71 h 74"/>
                <a:gd name="T48" fmla="*/ 6 w 99"/>
                <a:gd name="T49" fmla="*/ 71 h 74"/>
                <a:gd name="T50" fmla="*/ 0 w 99"/>
                <a:gd name="T51" fmla="*/ 62 h 74"/>
                <a:gd name="T52" fmla="*/ 3 w 99"/>
                <a:gd name="T53" fmla="*/ 46 h 74"/>
                <a:gd name="T54" fmla="*/ 11 w 99"/>
                <a:gd name="T55" fmla="*/ 35 h 74"/>
                <a:gd name="T56" fmla="*/ 17 w 99"/>
                <a:gd name="T57" fmla="*/ 24 h 74"/>
                <a:gd name="T58" fmla="*/ 35 w 99"/>
                <a:gd name="T59" fmla="*/ 18 h 74"/>
                <a:gd name="T60" fmla="*/ 56 w 99"/>
                <a:gd name="T61" fmla="*/ 1 h 74"/>
                <a:gd name="T62" fmla="*/ 62 w 99"/>
                <a:gd name="T63" fmla="*/ 1 h 74"/>
                <a:gd name="T64" fmla="*/ 66 w 99"/>
                <a:gd name="T6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74">
                  <a:moveTo>
                    <a:pt x="66" y="0"/>
                  </a:moveTo>
                  <a:lnTo>
                    <a:pt x="71" y="0"/>
                  </a:lnTo>
                  <a:lnTo>
                    <a:pt x="69" y="6"/>
                  </a:lnTo>
                  <a:lnTo>
                    <a:pt x="74" y="13"/>
                  </a:lnTo>
                  <a:lnTo>
                    <a:pt x="86" y="30"/>
                  </a:lnTo>
                  <a:lnTo>
                    <a:pt x="96" y="30"/>
                  </a:lnTo>
                  <a:lnTo>
                    <a:pt x="97" y="34"/>
                  </a:lnTo>
                  <a:lnTo>
                    <a:pt x="96" y="37"/>
                  </a:lnTo>
                  <a:lnTo>
                    <a:pt x="99" y="40"/>
                  </a:lnTo>
                  <a:lnTo>
                    <a:pt x="99" y="41"/>
                  </a:lnTo>
                  <a:lnTo>
                    <a:pt x="94" y="47"/>
                  </a:lnTo>
                  <a:lnTo>
                    <a:pt x="87" y="47"/>
                  </a:lnTo>
                  <a:lnTo>
                    <a:pt x="80" y="53"/>
                  </a:lnTo>
                  <a:lnTo>
                    <a:pt x="74" y="55"/>
                  </a:lnTo>
                  <a:lnTo>
                    <a:pt x="65" y="52"/>
                  </a:lnTo>
                  <a:lnTo>
                    <a:pt x="57" y="55"/>
                  </a:lnTo>
                  <a:lnTo>
                    <a:pt x="31" y="53"/>
                  </a:lnTo>
                  <a:lnTo>
                    <a:pt x="31" y="58"/>
                  </a:lnTo>
                  <a:lnTo>
                    <a:pt x="34" y="73"/>
                  </a:lnTo>
                  <a:lnTo>
                    <a:pt x="34" y="74"/>
                  </a:lnTo>
                  <a:lnTo>
                    <a:pt x="29" y="74"/>
                  </a:lnTo>
                  <a:lnTo>
                    <a:pt x="26" y="68"/>
                  </a:lnTo>
                  <a:lnTo>
                    <a:pt x="20" y="67"/>
                  </a:lnTo>
                  <a:lnTo>
                    <a:pt x="11" y="71"/>
                  </a:lnTo>
                  <a:lnTo>
                    <a:pt x="6" y="71"/>
                  </a:lnTo>
                  <a:lnTo>
                    <a:pt x="0" y="62"/>
                  </a:lnTo>
                  <a:lnTo>
                    <a:pt x="3" y="46"/>
                  </a:lnTo>
                  <a:lnTo>
                    <a:pt x="11" y="35"/>
                  </a:lnTo>
                  <a:lnTo>
                    <a:pt x="17" y="24"/>
                  </a:lnTo>
                  <a:lnTo>
                    <a:pt x="35" y="18"/>
                  </a:lnTo>
                  <a:lnTo>
                    <a:pt x="56" y="1"/>
                  </a:lnTo>
                  <a:lnTo>
                    <a:pt x="62" y="1"/>
                  </a:lnTo>
                  <a:lnTo>
                    <a:pt x="6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5" name="Benin">
              <a:extLst>
                <a:ext uri="{FF2B5EF4-FFF2-40B4-BE49-F238E27FC236}">
                  <a16:creationId xmlns:a16="http://schemas.microsoft.com/office/drawing/2014/main" id="{0B23B221-8AF2-5204-92CA-346144A04F78}"/>
                </a:ext>
              </a:extLst>
            </p:cNvPr>
            <p:cNvSpPr>
              <a:spLocks/>
            </p:cNvSpPr>
            <p:nvPr/>
          </p:nvSpPr>
          <p:spPr bwMode="auto">
            <a:xfrm>
              <a:off x="5845723" y="4294663"/>
              <a:ext cx="70476" cy="149986"/>
            </a:xfrm>
            <a:custGeom>
              <a:avLst/>
              <a:gdLst>
                <a:gd name="T0" fmla="*/ 27 w 39"/>
                <a:gd name="T1" fmla="*/ 0 h 83"/>
                <a:gd name="T2" fmla="*/ 37 w 39"/>
                <a:gd name="T3" fmla="*/ 9 h 83"/>
                <a:gd name="T4" fmla="*/ 37 w 39"/>
                <a:gd name="T5" fmla="*/ 10 h 83"/>
                <a:gd name="T6" fmla="*/ 36 w 39"/>
                <a:gd name="T7" fmla="*/ 13 h 83"/>
                <a:gd name="T8" fmla="*/ 39 w 39"/>
                <a:gd name="T9" fmla="*/ 18 h 83"/>
                <a:gd name="T10" fmla="*/ 39 w 39"/>
                <a:gd name="T11" fmla="*/ 27 h 83"/>
                <a:gd name="T12" fmla="*/ 37 w 39"/>
                <a:gd name="T13" fmla="*/ 28 h 83"/>
                <a:gd name="T14" fmla="*/ 37 w 39"/>
                <a:gd name="T15" fmla="*/ 34 h 83"/>
                <a:gd name="T16" fmla="*/ 31 w 39"/>
                <a:gd name="T17" fmla="*/ 39 h 83"/>
                <a:gd name="T18" fmla="*/ 27 w 39"/>
                <a:gd name="T19" fmla="*/ 52 h 83"/>
                <a:gd name="T20" fmla="*/ 27 w 39"/>
                <a:gd name="T21" fmla="*/ 82 h 83"/>
                <a:gd name="T22" fmla="*/ 24 w 39"/>
                <a:gd name="T23" fmla="*/ 82 h 83"/>
                <a:gd name="T24" fmla="*/ 21 w 39"/>
                <a:gd name="T25" fmla="*/ 83 h 83"/>
                <a:gd name="T26" fmla="*/ 15 w 39"/>
                <a:gd name="T27" fmla="*/ 83 h 83"/>
                <a:gd name="T28" fmla="*/ 12 w 39"/>
                <a:gd name="T29" fmla="*/ 77 h 83"/>
                <a:gd name="T30" fmla="*/ 12 w 39"/>
                <a:gd name="T31" fmla="*/ 49 h 83"/>
                <a:gd name="T32" fmla="*/ 8 w 39"/>
                <a:gd name="T33" fmla="*/ 34 h 83"/>
                <a:gd name="T34" fmla="*/ 0 w 39"/>
                <a:gd name="T35" fmla="*/ 28 h 83"/>
                <a:gd name="T36" fmla="*/ 0 w 39"/>
                <a:gd name="T37" fmla="*/ 19 h 83"/>
                <a:gd name="T38" fmla="*/ 8 w 39"/>
                <a:gd name="T39" fmla="*/ 12 h 83"/>
                <a:gd name="T40" fmla="*/ 16 w 39"/>
                <a:gd name="T41" fmla="*/ 12 h 83"/>
                <a:gd name="T42" fmla="*/ 21 w 39"/>
                <a:gd name="T43" fmla="*/ 6 h 83"/>
                <a:gd name="T44" fmla="*/ 19 w 39"/>
                <a:gd name="T45" fmla="*/ 3 h 83"/>
                <a:gd name="T46" fmla="*/ 19 w 39"/>
                <a:gd name="T47" fmla="*/ 1 h 83"/>
                <a:gd name="T48" fmla="*/ 21 w 39"/>
                <a:gd name="T49" fmla="*/ 1 h 83"/>
                <a:gd name="T50" fmla="*/ 27 w 39"/>
                <a:gd name="T5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83">
                  <a:moveTo>
                    <a:pt x="27" y="0"/>
                  </a:moveTo>
                  <a:lnTo>
                    <a:pt x="37" y="9"/>
                  </a:lnTo>
                  <a:lnTo>
                    <a:pt x="37" y="10"/>
                  </a:lnTo>
                  <a:lnTo>
                    <a:pt x="36" y="13"/>
                  </a:lnTo>
                  <a:lnTo>
                    <a:pt x="39" y="18"/>
                  </a:lnTo>
                  <a:lnTo>
                    <a:pt x="39" y="27"/>
                  </a:lnTo>
                  <a:lnTo>
                    <a:pt x="37" y="28"/>
                  </a:lnTo>
                  <a:lnTo>
                    <a:pt x="37" y="34"/>
                  </a:lnTo>
                  <a:lnTo>
                    <a:pt x="31" y="39"/>
                  </a:lnTo>
                  <a:lnTo>
                    <a:pt x="27" y="52"/>
                  </a:lnTo>
                  <a:lnTo>
                    <a:pt x="27" y="82"/>
                  </a:lnTo>
                  <a:lnTo>
                    <a:pt x="24" y="82"/>
                  </a:lnTo>
                  <a:lnTo>
                    <a:pt x="21" y="83"/>
                  </a:lnTo>
                  <a:lnTo>
                    <a:pt x="15" y="83"/>
                  </a:lnTo>
                  <a:lnTo>
                    <a:pt x="12" y="77"/>
                  </a:lnTo>
                  <a:lnTo>
                    <a:pt x="12" y="49"/>
                  </a:lnTo>
                  <a:lnTo>
                    <a:pt x="8" y="34"/>
                  </a:lnTo>
                  <a:lnTo>
                    <a:pt x="0" y="28"/>
                  </a:lnTo>
                  <a:lnTo>
                    <a:pt x="0" y="19"/>
                  </a:lnTo>
                  <a:lnTo>
                    <a:pt x="8" y="12"/>
                  </a:lnTo>
                  <a:lnTo>
                    <a:pt x="16" y="12"/>
                  </a:lnTo>
                  <a:lnTo>
                    <a:pt x="21" y="6"/>
                  </a:lnTo>
                  <a:lnTo>
                    <a:pt x="19" y="3"/>
                  </a:lnTo>
                  <a:lnTo>
                    <a:pt x="19" y="1"/>
                  </a:lnTo>
                  <a:lnTo>
                    <a:pt x="21" y="1"/>
                  </a:lnTo>
                  <a:lnTo>
                    <a:pt x="27"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6" name="Angola">
              <a:extLst>
                <a:ext uri="{FF2B5EF4-FFF2-40B4-BE49-F238E27FC236}">
                  <a16:creationId xmlns:a16="http://schemas.microsoft.com/office/drawing/2014/main" id="{2857D686-B204-2B77-F782-14E17D0C4A85}"/>
                </a:ext>
              </a:extLst>
            </p:cNvPr>
            <p:cNvSpPr>
              <a:spLocks/>
            </p:cNvSpPr>
            <p:nvPr/>
          </p:nvSpPr>
          <p:spPr bwMode="auto">
            <a:xfrm>
              <a:off x="6100517" y="4722936"/>
              <a:ext cx="298166" cy="298166"/>
            </a:xfrm>
            <a:custGeom>
              <a:avLst/>
              <a:gdLst>
                <a:gd name="T0" fmla="*/ 61 w 165"/>
                <a:gd name="T1" fmla="*/ 0 h 165"/>
                <a:gd name="T2" fmla="*/ 67 w 165"/>
                <a:gd name="T3" fmla="*/ 5 h 165"/>
                <a:gd name="T4" fmla="*/ 71 w 165"/>
                <a:gd name="T5" fmla="*/ 21 h 165"/>
                <a:gd name="T6" fmla="*/ 80 w 165"/>
                <a:gd name="T7" fmla="*/ 31 h 165"/>
                <a:gd name="T8" fmla="*/ 99 w 165"/>
                <a:gd name="T9" fmla="*/ 28 h 165"/>
                <a:gd name="T10" fmla="*/ 104 w 165"/>
                <a:gd name="T11" fmla="*/ 16 h 165"/>
                <a:gd name="T12" fmla="*/ 110 w 165"/>
                <a:gd name="T13" fmla="*/ 16 h 165"/>
                <a:gd name="T14" fmla="*/ 114 w 165"/>
                <a:gd name="T15" fmla="*/ 15 h 165"/>
                <a:gd name="T16" fmla="*/ 122 w 165"/>
                <a:gd name="T17" fmla="*/ 15 h 165"/>
                <a:gd name="T18" fmla="*/ 120 w 165"/>
                <a:gd name="T19" fmla="*/ 19 h 165"/>
                <a:gd name="T20" fmla="*/ 132 w 165"/>
                <a:gd name="T21" fmla="*/ 19 h 165"/>
                <a:gd name="T22" fmla="*/ 133 w 165"/>
                <a:gd name="T23" fmla="*/ 24 h 165"/>
                <a:gd name="T24" fmla="*/ 133 w 165"/>
                <a:gd name="T25" fmla="*/ 49 h 165"/>
                <a:gd name="T26" fmla="*/ 139 w 165"/>
                <a:gd name="T27" fmla="*/ 64 h 165"/>
                <a:gd name="T28" fmla="*/ 136 w 165"/>
                <a:gd name="T29" fmla="*/ 70 h 165"/>
                <a:gd name="T30" fmla="*/ 139 w 165"/>
                <a:gd name="T31" fmla="*/ 73 h 165"/>
                <a:gd name="T32" fmla="*/ 142 w 165"/>
                <a:gd name="T33" fmla="*/ 68 h 165"/>
                <a:gd name="T34" fmla="*/ 151 w 165"/>
                <a:gd name="T35" fmla="*/ 68 h 165"/>
                <a:gd name="T36" fmla="*/ 154 w 165"/>
                <a:gd name="T37" fmla="*/ 67 h 165"/>
                <a:gd name="T38" fmla="*/ 163 w 165"/>
                <a:gd name="T39" fmla="*/ 67 h 165"/>
                <a:gd name="T40" fmla="*/ 162 w 165"/>
                <a:gd name="T41" fmla="*/ 94 h 165"/>
                <a:gd name="T42" fmla="*/ 165 w 165"/>
                <a:gd name="T43" fmla="*/ 95 h 165"/>
                <a:gd name="T44" fmla="*/ 165 w 165"/>
                <a:gd name="T45" fmla="*/ 97 h 165"/>
                <a:gd name="T46" fmla="*/ 136 w 165"/>
                <a:gd name="T47" fmla="*/ 97 h 165"/>
                <a:gd name="T48" fmla="*/ 136 w 165"/>
                <a:gd name="T49" fmla="*/ 144 h 165"/>
                <a:gd name="T50" fmla="*/ 153 w 165"/>
                <a:gd name="T51" fmla="*/ 157 h 165"/>
                <a:gd name="T52" fmla="*/ 153 w 165"/>
                <a:gd name="T53" fmla="*/ 159 h 165"/>
                <a:gd name="T54" fmla="*/ 129 w 165"/>
                <a:gd name="T55" fmla="*/ 165 h 165"/>
                <a:gd name="T56" fmla="*/ 111 w 165"/>
                <a:gd name="T57" fmla="*/ 160 h 165"/>
                <a:gd name="T58" fmla="*/ 98 w 165"/>
                <a:gd name="T59" fmla="*/ 160 h 165"/>
                <a:gd name="T60" fmla="*/ 86 w 165"/>
                <a:gd name="T61" fmla="*/ 154 h 165"/>
                <a:gd name="T62" fmla="*/ 30 w 165"/>
                <a:gd name="T63" fmla="*/ 154 h 165"/>
                <a:gd name="T64" fmla="*/ 19 w 165"/>
                <a:gd name="T65" fmla="*/ 148 h 165"/>
                <a:gd name="T66" fmla="*/ 15 w 165"/>
                <a:gd name="T67" fmla="*/ 148 h 165"/>
                <a:gd name="T68" fmla="*/ 7 w 165"/>
                <a:gd name="T69" fmla="*/ 153 h 165"/>
                <a:gd name="T70" fmla="*/ 7 w 165"/>
                <a:gd name="T71" fmla="*/ 151 h 165"/>
                <a:gd name="T72" fmla="*/ 6 w 165"/>
                <a:gd name="T73" fmla="*/ 151 h 165"/>
                <a:gd name="T74" fmla="*/ 0 w 165"/>
                <a:gd name="T75" fmla="*/ 154 h 165"/>
                <a:gd name="T76" fmla="*/ 0 w 165"/>
                <a:gd name="T77" fmla="*/ 135 h 165"/>
                <a:gd name="T78" fmla="*/ 9 w 165"/>
                <a:gd name="T79" fmla="*/ 107 h 165"/>
                <a:gd name="T80" fmla="*/ 16 w 165"/>
                <a:gd name="T81" fmla="*/ 94 h 165"/>
                <a:gd name="T82" fmla="*/ 25 w 165"/>
                <a:gd name="T83" fmla="*/ 85 h 165"/>
                <a:gd name="T84" fmla="*/ 27 w 165"/>
                <a:gd name="T85" fmla="*/ 70 h 165"/>
                <a:gd name="T86" fmla="*/ 27 w 165"/>
                <a:gd name="T87" fmla="*/ 64 h 165"/>
                <a:gd name="T88" fmla="*/ 22 w 165"/>
                <a:gd name="T89" fmla="*/ 58 h 165"/>
                <a:gd name="T90" fmla="*/ 19 w 165"/>
                <a:gd name="T91" fmla="*/ 46 h 165"/>
                <a:gd name="T92" fmla="*/ 19 w 165"/>
                <a:gd name="T93" fmla="*/ 45 h 165"/>
                <a:gd name="T94" fmla="*/ 22 w 165"/>
                <a:gd name="T95" fmla="*/ 40 h 165"/>
                <a:gd name="T96" fmla="*/ 19 w 165"/>
                <a:gd name="T97" fmla="*/ 34 h 165"/>
                <a:gd name="T98" fmla="*/ 9 w 165"/>
                <a:gd name="T99" fmla="*/ 8 h 165"/>
                <a:gd name="T100" fmla="*/ 9 w 165"/>
                <a:gd name="T101" fmla="*/ 6 h 165"/>
                <a:gd name="T102" fmla="*/ 22 w 165"/>
                <a:gd name="T103" fmla="*/ 2 h 165"/>
                <a:gd name="T104" fmla="*/ 61 w 165"/>
                <a:gd name="T10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 h="165">
                  <a:moveTo>
                    <a:pt x="61" y="0"/>
                  </a:moveTo>
                  <a:lnTo>
                    <a:pt x="67" y="5"/>
                  </a:lnTo>
                  <a:lnTo>
                    <a:pt x="71" y="21"/>
                  </a:lnTo>
                  <a:lnTo>
                    <a:pt x="80" y="31"/>
                  </a:lnTo>
                  <a:lnTo>
                    <a:pt x="99" y="28"/>
                  </a:lnTo>
                  <a:lnTo>
                    <a:pt x="104" y="16"/>
                  </a:lnTo>
                  <a:lnTo>
                    <a:pt x="110" y="16"/>
                  </a:lnTo>
                  <a:lnTo>
                    <a:pt x="114" y="15"/>
                  </a:lnTo>
                  <a:lnTo>
                    <a:pt x="122" y="15"/>
                  </a:lnTo>
                  <a:lnTo>
                    <a:pt x="120" y="19"/>
                  </a:lnTo>
                  <a:lnTo>
                    <a:pt x="132" y="19"/>
                  </a:lnTo>
                  <a:lnTo>
                    <a:pt x="133" y="24"/>
                  </a:lnTo>
                  <a:lnTo>
                    <a:pt x="133" y="49"/>
                  </a:lnTo>
                  <a:lnTo>
                    <a:pt x="139" y="64"/>
                  </a:lnTo>
                  <a:lnTo>
                    <a:pt x="136" y="70"/>
                  </a:lnTo>
                  <a:lnTo>
                    <a:pt x="139" y="73"/>
                  </a:lnTo>
                  <a:lnTo>
                    <a:pt x="142" y="68"/>
                  </a:lnTo>
                  <a:lnTo>
                    <a:pt x="151" y="68"/>
                  </a:lnTo>
                  <a:lnTo>
                    <a:pt x="154" y="67"/>
                  </a:lnTo>
                  <a:lnTo>
                    <a:pt x="163" y="67"/>
                  </a:lnTo>
                  <a:lnTo>
                    <a:pt x="162" y="94"/>
                  </a:lnTo>
                  <a:lnTo>
                    <a:pt x="165" y="95"/>
                  </a:lnTo>
                  <a:lnTo>
                    <a:pt x="165" y="97"/>
                  </a:lnTo>
                  <a:lnTo>
                    <a:pt x="136" y="97"/>
                  </a:lnTo>
                  <a:lnTo>
                    <a:pt x="136" y="144"/>
                  </a:lnTo>
                  <a:lnTo>
                    <a:pt x="153" y="157"/>
                  </a:lnTo>
                  <a:lnTo>
                    <a:pt x="153" y="159"/>
                  </a:lnTo>
                  <a:lnTo>
                    <a:pt x="129" y="165"/>
                  </a:lnTo>
                  <a:lnTo>
                    <a:pt x="111" y="160"/>
                  </a:lnTo>
                  <a:lnTo>
                    <a:pt x="98" y="160"/>
                  </a:lnTo>
                  <a:lnTo>
                    <a:pt x="86" y="154"/>
                  </a:lnTo>
                  <a:lnTo>
                    <a:pt x="30" y="154"/>
                  </a:lnTo>
                  <a:lnTo>
                    <a:pt x="19" y="148"/>
                  </a:lnTo>
                  <a:lnTo>
                    <a:pt x="15" y="148"/>
                  </a:lnTo>
                  <a:lnTo>
                    <a:pt x="7" y="153"/>
                  </a:lnTo>
                  <a:lnTo>
                    <a:pt x="7" y="151"/>
                  </a:lnTo>
                  <a:lnTo>
                    <a:pt x="6" y="151"/>
                  </a:lnTo>
                  <a:lnTo>
                    <a:pt x="0" y="154"/>
                  </a:lnTo>
                  <a:lnTo>
                    <a:pt x="0" y="135"/>
                  </a:lnTo>
                  <a:lnTo>
                    <a:pt x="9" y="107"/>
                  </a:lnTo>
                  <a:lnTo>
                    <a:pt x="16" y="94"/>
                  </a:lnTo>
                  <a:lnTo>
                    <a:pt x="25" y="85"/>
                  </a:lnTo>
                  <a:lnTo>
                    <a:pt x="27" y="70"/>
                  </a:lnTo>
                  <a:lnTo>
                    <a:pt x="27" y="64"/>
                  </a:lnTo>
                  <a:lnTo>
                    <a:pt x="22" y="58"/>
                  </a:lnTo>
                  <a:lnTo>
                    <a:pt x="19" y="46"/>
                  </a:lnTo>
                  <a:lnTo>
                    <a:pt x="19" y="45"/>
                  </a:lnTo>
                  <a:lnTo>
                    <a:pt x="22" y="40"/>
                  </a:lnTo>
                  <a:lnTo>
                    <a:pt x="19" y="34"/>
                  </a:lnTo>
                  <a:lnTo>
                    <a:pt x="9" y="8"/>
                  </a:lnTo>
                  <a:lnTo>
                    <a:pt x="9" y="6"/>
                  </a:lnTo>
                  <a:lnTo>
                    <a:pt x="22" y="2"/>
                  </a:lnTo>
                  <a:lnTo>
                    <a:pt x="61"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7" name="Algeria">
              <a:extLst>
                <a:ext uri="{FF2B5EF4-FFF2-40B4-BE49-F238E27FC236}">
                  <a16:creationId xmlns:a16="http://schemas.microsoft.com/office/drawing/2014/main" id="{428A7418-7651-0674-CED9-91A04BC5F7B7}"/>
                </a:ext>
              </a:extLst>
            </p:cNvPr>
            <p:cNvSpPr>
              <a:spLocks/>
            </p:cNvSpPr>
            <p:nvPr/>
          </p:nvSpPr>
          <p:spPr bwMode="auto">
            <a:xfrm>
              <a:off x="5623454" y="3653663"/>
              <a:ext cx="482486" cy="486100"/>
            </a:xfrm>
            <a:custGeom>
              <a:avLst/>
              <a:gdLst>
                <a:gd name="T0" fmla="*/ 203 w 267"/>
                <a:gd name="T1" fmla="*/ 3 h 269"/>
                <a:gd name="T2" fmla="*/ 217 w 267"/>
                <a:gd name="T3" fmla="*/ 3 h 269"/>
                <a:gd name="T4" fmla="*/ 224 w 267"/>
                <a:gd name="T5" fmla="*/ 1 h 269"/>
                <a:gd name="T6" fmla="*/ 227 w 267"/>
                <a:gd name="T7" fmla="*/ 3 h 269"/>
                <a:gd name="T8" fmla="*/ 224 w 267"/>
                <a:gd name="T9" fmla="*/ 10 h 269"/>
                <a:gd name="T10" fmla="*/ 224 w 267"/>
                <a:gd name="T11" fmla="*/ 31 h 269"/>
                <a:gd name="T12" fmla="*/ 211 w 267"/>
                <a:gd name="T13" fmla="*/ 50 h 269"/>
                <a:gd name="T14" fmla="*/ 218 w 267"/>
                <a:gd name="T15" fmla="*/ 63 h 269"/>
                <a:gd name="T16" fmla="*/ 231 w 267"/>
                <a:gd name="T17" fmla="*/ 78 h 269"/>
                <a:gd name="T18" fmla="*/ 236 w 267"/>
                <a:gd name="T19" fmla="*/ 106 h 269"/>
                <a:gd name="T20" fmla="*/ 239 w 267"/>
                <a:gd name="T21" fmla="*/ 121 h 269"/>
                <a:gd name="T22" fmla="*/ 239 w 267"/>
                <a:gd name="T23" fmla="*/ 163 h 269"/>
                <a:gd name="T24" fmla="*/ 242 w 267"/>
                <a:gd name="T25" fmla="*/ 179 h 269"/>
                <a:gd name="T26" fmla="*/ 246 w 267"/>
                <a:gd name="T27" fmla="*/ 189 h 269"/>
                <a:gd name="T28" fmla="*/ 267 w 267"/>
                <a:gd name="T29" fmla="*/ 206 h 269"/>
                <a:gd name="T30" fmla="*/ 187 w 267"/>
                <a:gd name="T31" fmla="*/ 262 h 269"/>
                <a:gd name="T32" fmla="*/ 157 w 267"/>
                <a:gd name="T33" fmla="*/ 269 h 269"/>
                <a:gd name="T34" fmla="*/ 153 w 267"/>
                <a:gd name="T35" fmla="*/ 268 h 269"/>
                <a:gd name="T36" fmla="*/ 154 w 267"/>
                <a:gd name="T37" fmla="*/ 256 h 269"/>
                <a:gd name="T38" fmla="*/ 134 w 267"/>
                <a:gd name="T39" fmla="*/ 246 h 269"/>
                <a:gd name="T40" fmla="*/ 126 w 267"/>
                <a:gd name="T41" fmla="*/ 238 h 269"/>
                <a:gd name="T42" fmla="*/ 2 w 267"/>
                <a:gd name="T43" fmla="*/ 152 h 269"/>
                <a:gd name="T44" fmla="*/ 0 w 267"/>
                <a:gd name="T45" fmla="*/ 129 h 269"/>
                <a:gd name="T46" fmla="*/ 21 w 267"/>
                <a:gd name="T47" fmla="*/ 115 h 269"/>
                <a:gd name="T48" fmla="*/ 28 w 267"/>
                <a:gd name="T49" fmla="*/ 112 h 269"/>
                <a:gd name="T50" fmla="*/ 51 w 267"/>
                <a:gd name="T51" fmla="*/ 102 h 269"/>
                <a:gd name="T52" fmla="*/ 62 w 267"/>
                <a:gd name="T53" fmla="*/ 93 h 269"/>
                <a:gd name="T54" fmla="*/ 64 w 267"/>
                <a:gd name="T55" fmla="*/ 84 h 269"/>
                <a:gd name="T56" fmla="*/ 74 w 267"/>
                <a:gd name="T57" fmla="*/ 78 h 269"/>
                <a:gd name="T58" fmla="*/ 96 w 267"/>
                <a:gd name="T59" fmla="*/ 77 h 269"/>
                <a:gd name="T60" fmla="*/ 98 w 267"/>
                <a:gd name="T61" fmla="*/ 72 h 269"/>
                <a:gd name="T62" fmla="*/ 91 w 267"/>
                <a:gd name="T63" fmla="*/ 37 h 269"/>
                <a:gd name="T64" fmla="*/ 88 w 267"/>
                <a:gd name="T65" fmla="*/ 32 h 269"/>
                <a:gd name="T66" fmla="*/ 102 w 267"/>
                <a:gd name="T67" fmla="*/ 22 h 269"/>
                <a:gd name="T68" fmla="*/ 117 w 267"/>
                <a:gd name="T69" fmla="*/ 16 h 269"/>
                <a:gd name="T70" fmla="*/ 165 w 267"/>
                <a:gd name="T71" fmla="*/ 3 h 269"/>
                <a:gd name="T72" fmla="*/ 182 w 267"/>
                <a:gd name="T73" fmla="*/ 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7" h="269">
                  <a:moveTo>
                    <a:pt x="196" y="0"/>
                  </a:moveTo>
                  <a:lnTo>
                    <a:pt x="203" y="3"/>
                  </a:lnTo>
                  <a:lnTo>
                    <a:pt x="208" y="0"/>
                  </a:lnTo>
                  <a:lnTo>
                    <a:pt x="217" y="3"/>
                  </a:lnTo>
                  <a:lnTo>
                    <a:pt x="220" y="3"/>
                  </a:lnTo>
                  <a:lnTo>
                    <a:pt x="224" y="1"/>
                  </a:lnTo>
                  <a:lnTo>
                    <a:pt x="227" y="1"/>
                  </a:lnTo>
                  <a:lnTo>
                    <a:pt x="227" y="3"/>
                  </a:lnTo>
                  <a:lnTo>
                    <a:pt x="222" y="9"/>
                  </a:lnTo>
                  <a:lnTo>
                    <a:pt x="224" y="10"/>
                  </a:lnTo>
                  <a:lnTo>
                    <a:pt x="222" y="20"/>
                  </a:lnTo>
                  <a:lnTo>
                    <a:pt x="224" y="31"/>
                  </a:lnTo>
                  <a:lnTo>
                    <a:pt x="221" y="41"/>
                  </a:lnTo>
                  <a:lnTo>
                    <a:pt x="211" y="50"/>
                  </a:lnTo>
                  <a:lnTo>
                    <a:pt x="212" y="60"/>
                  </a:lnTo>
                  <a:lnTo>
                    <a:pt x="218" y="63"/>
                  </a:lnTo>
                  <a:lnTo>
                    <a:pt x="221" y="72"/>
                  </a:lnTo>
                  <a:lnTo>
                    <a:pt x="231" y="78"/>
                  </a:lnTo>
                  <a:lnTo>
                    <a:pt x="231" y="80"/>
                  </a:lnTo>
                  <a:lnTo>
                    <a:pt x="236" y="106"/>
                  </a:lnTo>
                  <a:lnTo>
                    <a:pt x="233" y="112"/>
                  </a:lnTo>
                  <a:lnTo>
                    <a:pt x="239" y="121"/>
                  </a:lnTo>
                  <a:lnTo>
                    <a:pt x="240" y="143"/>
                  </a:lnTo>
                  <a:lnTo>
                    <a:pt x="239" y="163"/>
                  </a:lnTo>
                  <a:lnTo>
                    <a:pt x="234" y="167"/>
                  </a:lnTo>
                  <a:lnTo>
                    <a:pt x="242" y="179"/>
                  </a:lnTo>
                  <a:lnTo>
                    <a:pt x="243" y="186"/>
                  </a:lnTo>
                  <a:lnTo>
                    <a:pt x="246" y="189"/>
                  </a:lnTo>
                  <a:lnTo>
                    <a:pt x="261" y="194"/>
                  </a:lnTo>
                  <a:lnTo>
                    <a:pt x="267" y="206"/>
                  </a:lnTo>
                  <a:lnTo>
                    <a:pt x="217" y="240"/>
                  </a:lnTo>
                  <a:lnTo>
                    <a:pt x="187" y="262"/>
                  </a:lnTo>
                  <a:lnTo>
                    <a:pt x="168" y="267"/>
                  </a:lnTo>
                  <a:lnTo>
                    <a:pt x="157" y="269"/>
                  </a:lnTo>
                  <a:lnTo>
                    <a:pt x="156" y="269"/>
                  </a:lnTo>
                  <a:lnTo>
                    <a:pt x="153" y="268"/>
                  </a:lnTo>
                  <a:lnTo>
                    <a:pt x="153" y="267"/>
                  </a:lnTo>
                  <a:lnTo>
                    <a:pt x="154" y="256"/>
                  </a:lnTo>
                  <a:lnTo>
                    <a:pt x="137" y="250"/>
                  </a:lnTo>
                  <a:lnTo>
                    <a:pt x="134" y="246"/>
                  </a:lnTo>
                  <a:lnTo>
                    <a:pt x="128" y="243"/>
                  </a:lnTo>
                  <a:lnTo>
                    <a:pt x="126" y="238"/>
                  </a:lnTo>
                  <a:lnTo>
                    <a:pt x="49" y="185"/>
                  </a:lnTo>
                  <a:lnTo>
                    <a:pt x="2" y="152"/>
                  </a:lnTo>
                  <a:lnTo>
                    <a:pt x="0" y="152"/>
                  </a:lnTo>
                  <a:lnTo>
                    <a:pt x="0" y="129"/>
                  </a:lnTo>
                  <a:lnTo>
                    <a:pt x="6" y="123"/>
                  </a:lnTo>
                  <a:lnTo>
                    <a:pt x="21" y="115"/>
                  </a:lnTo>
                  <a:lnTo>
                    <a:pt x="27" y="115"/>
                  </a:lnTo>
                  <a:lnTo>
                    <a:pt x="28" y="112"/>
                  </a:lnTo>
                  <a:lnTo>
                    <a:pt x="40" y="111"/>
                  </a:lnTo>
                  <a:lnTo>
                    <a:pt x="51" y="102"/>
                  </a:lnTo>
                  <a:lnTo>
                    <a:pt x="64" y="96"/>
                  </a:lnTo>
                  <a:lnTo>
                    <a:pt x="62" y="93"/>
                  </a:lnTo>
                  <a:lnTo>
                    <a:pt x="62" y="86"/>
                  </a:lnTo>
                  <a:lnTo>
                    <a:pt x="64" y="84"/>
                  </a:lnTo>
                  <a:lnTo>
                    <a:pt x="74" y="83"/>
                  </a:lnTo>
                  <a:lnTo>
                    <a:pt x="74" y="78"/>
                  </a:lnTo>
                  <a:lnTo>
                    <a:pt x="76" y="78"/>
                  </a:lnTo>
                  <a:lnTo>
                    <a:pt x="96" y="77"/>
                  </a:lnTo>
                  <a:lnTo>
                    <a:pt x="96" y="74"/>
                  </a:lnTo>
                  <a:lnTo>
                    <a:pt x="98" y="72"/>
                  </a:lnTo>
                  <a:lnTo>
                    <a:pt x="92" y="65"/>
                  </a:lnTo>
                  <a:lnTo>
                    <a:pt x="91" y="37"/>
                  </a:lnTo>
                  <a:lnTo>
                    <a:pt x="83" y="32"/>
                  </a:lnTo>
                  <a:lnTo>
                    <a:pt x="88" y="32"/>
                  </a:lnTo>
                  <a:lnTo>
                    <a:pt x="96" y="28"/>
                  </a:lnTo>
                  <a:lnTo>
                    <a:pt x="102" y="22"/>
                  </a:lnTo>
                  <a:lnTo>
                    <a:pt x="114" y="19"/>
                  </a:lnTo>
                  <a:lnTo>
                    <a:pt x="117" y="16"/>
                  </a:lnTo>
                  <a:lnTo>
                    <a:pt x="131" y="9"/>
                  </a:lnTo>
                  <a:lnTo>
                    <a:pt x="165" y="3"/>
                  </a:lnTo>
                  <a:lnTo>
                    <a:pt x="178" y="3"/>
                  </a:lnTo>
                  <a:lnTo>
                    <a:pt x="182" y="6"/>
                  </a:lnTo>
                  <a:lnTo>
                    <a:pt x="196"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11090273"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10902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Tree>
    <p:extLst>
      <p:ext uri="{BB962C8B-B14F-4D97-AF65-F5344CB8AC3E}">
        <p14:creationId xmlns:p14="http://schemas.microsoft.com/office/powerpoint/2010/main" val="351712070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Green Lights - Full Detail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A3069A-5503-59F7-D61A-D5B5F0BC70E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1"/>
            <a:ext cx="12192002" cy="6858001"/>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359151" y="4274031"/>
            <a:ext cx="5473700" cy="252000"/>
          </a:xfrm>
          <a:prstGeom prst="rect">
            <a:avLst/>
          </a:prstGeom>
        </p:spPr>
        <p:txBody>
          <a:bodyPr lIns="0" tIns="0" rIns="0" bIns="0">
            <a:noAutofit/>
          </a:bodyPr>
          <a:lstStyle>
            <a:lvl1pPr marL="0" indent="0" algn="ctr">
              <a:lnSpc>
                <a:spcPct val="90000"/>
              </a:lnSpc>
              <a:buNone/>
              <a:defRPr sz="1800">
                <a:solidFill>
                  <a:schemeClr val="bg1"/>
                </a:solidFill>
                <a:latin typeface="+mj-lt"/>
              </a:defRPr>
            </a:lvl1pPr>
          </a:lstStyle>
          <a:p>
            <a:pPr lvl="0"/>
            <a:r>
              <a:rPr lang="en-US"/>
              <a:t>Forename Surname</a:t>
            </a:r>
            <a:endParaRPr lang="en-GB"/>
          </a:p>
        </p:txBody>
      </p:sp>
      <p:sp>
        <p:nvSpPr>
          <p:cNvPr id="18" name="Text Placeholder 9">
            <a:extLst>
              <a:ext uri="{FF2B5EF4-FFF2-40B4-BE49-F238E27FC236}">
                <a16:creationId xmlns:a16="http://schemas.microsoft.com/office/drawing/2014/main" id="{7E298FBE-14CA-2668-CBA1-51444BE8783F}"/>
              </a:ext>
            </a:extLst>
          </p:cNvPr>
          <p:cNvSpPr>
            <a:spLocks noGrp="1"/>
          </p:cNvSpPr>
          <p:nvPr>
            <p:ph type="body" sz="quarter" idx="14" hasCustomPrompt="1"/>
          </p:nvPr>
        </p:nvSpPr>
        <p:spPr>
          <a:xfrm>
            <a:off x="3359150" y="4540162"/>
            <a:ext cx="5473699" cy="252000"/>
          </a:xfrm>
          <a:prstGeom prst="rect">
            <a:avLst/>
          </a:prstGeom>
        </p:spPr>
        <p:txBody>
          <a:bodyPr lIns="0" tIns="0" rIns="0" bIns="0">
            <a:noAutofit/>
          </a:bodyPr>
          <a:lstStyle>
            <a:lvl1pPr marL="0" indent="0" algn="ctr">
              <a:lnSpc>
                <a:spcPct val="90000"/>
              </a:lnSpc>
              <a:buNone/>
              <a:defRPr sz="1800">
                <a:solidFill>
                  <a:schemeClr val="bg1"/>
                </a:solidFill>
                <a:latin typeface="+mn-lt"/>
              </a:defRPr>
            </a:lvl1pPr>
          </a:lstStyle>
          <a:p>
            <a:pPr lvl="0"/>
            <a:r>
              <a:rPr lang="en-US"/>
              <a:t>forename.surname@clarivate.com</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3359151" y="4834830"/>
            <a:ext cx="5473699" cy="252000"/>
          </a:xfrm>
          <a:prstGeom prst="rect">
            <a:avLst/>
          </a:prstGeom>
        </p:spPr>
        <p:txBody>
          <a:bodyPr lIns="0" tIns="0" rIns="0" bIns="0">
            <a:noAutofit/>
          </a:bodyPr>
          <a:lstStyle>
            <a:lvl1pPr marL="0" indent="0" algn="ctr">
              <a:lnSpc>
                <a:spcPct val="90000"/>
              </a:lnSpc>
              <a:buNone/>
              <a:defRPr sz="1700">
                <a:solidFill>
                  <a:schemeClr val="bg1"/>
                </a:solidFill>
                <a:latin typeface="+mn-lt"/>
              </a:defRPr>
            </a:lvl1pPr>
          </a:lstStyle>
          <a:p>
            <a:pPr lvl="0"/>
            <a:r>
              <a:rPr lang="en-US"/>
              <a:t>+000 0000 0000</a:t>
            </a:r>
            <a:endParaRPr lang="en-GB"/>
          </a:p>
        </p:txBody>
      </p:sp>
      <p:sp>
        <p:nvSpPr>
          <p:cNvPr id="20" name="Text Placeholder 9">
            <a:extLst>
              <a:ext uri="{FF2B5EF4-FFF2-40B4-BE49-F238E27FC236}">
                <a16:creationId xmlns:a16="http://schemas.microsoft.com/office/drawing/2014/main" id="{97390884-694C-EA75-63FD-50D2649429CF}"/>
              </a:ext>
            </a:extLst>
          </p:cNvPr>
          <p:cNvSpPr>
            <a:spLocks noGrp="1"/>
          </p:cNvSpPr>
          <p:nvPr>
            <p:ph type="body" sz="quarter" idx="16" hasCustomPrompt="1"/>
          </p:nvPr>
        </p:nvSpPr>
        <p:spPr>
          <a:xfrm>
            <a:off x="554037" y="2901862"/>
            <a:ext cx="11094244" cy="719138"/>
          </a:xfrm>
          <a:prstGeom prst="rect">
            <a:avLst/>
          </a:prstGeom>
        </p:spPr>
        <p:txBody>
          <a:bodyPr lIns="0" tIns="36000" rIns="0" bIns="0" anchor="ctr" anchorCtr="0">
            <a:noAutofit/>
          </a:bodyPr>
          <a:lstStyle>
            <a:lvl1pPr marL="0" indent="0" algn="ctr">
              <a:lnSpc>
                <a:spcPct val="90000"/>
              </a:lnSpc>
              <a:buNone/>
              <a:defRPr sz="4400">
                <a:solidFill>
                  <a:schemeClr val="bg1"/>
                </a:solidFill>
                <a:latin typeface="+mj-lt"/>
              </a:defRPr>
            </a:lvl1pPr>
          </a:lstStyle>
          <a:p>
            <a:pPr lvl="0"/>
            <a:r>
              <a:rPr lang="en-US"/>
              <a:t>Thank you</a:t>
            </a:r>
            <a:endParaRPr lang="en-GB"/>
          </a:p>
        </p:txBody>
      </p:sp>
      <p:sp>
        <p:nvSpPr>
          <p:cNvPr id="5" name="TextBox 4">
            <a:extLst>
              <a:ext uri="{FF2B5EF4-FFF2-40B4-BE49-F238E27FC236}">
                <a16:creationId xmlns:a16="http://schemas.microsoft.com/office/drawing/2014/main" id="{47EC7D1E-62E3-3E63-06C1-118A7ED2A8FB}"/>
              </a:ext>
            </a:extLst>
          </p:cNvPr>
          <p:cNvSpPr txBox="1"/>
          <p:nvPr userDrawn="1"/>
        </p:nvSpPr>
        <p:spPr>
          <a:xfrm>
            <a:off x="8901583" y="6065125"/>
            <a:ext cx="2746698" cy="684803"/>
          </a:xfrm>
          <a:prstGeom prst="rect">
            <a:avLst/>
          </a:prstGeom>
          <a:noFill/>
        </p:spPr>
        <p:txBody>
          <a:bodyPr wrap="square" rtlCol="0">
            <a:spAutoFit/>
          </a:bodyPr>
          <a:lstStyle/>
          <a:p>
            <a:pPr marL="0" algn="l" defTabSz="914400" rtl="0" eaLnBrk="1" latinLnBrk="0" hangingPunct="1">
              <a:spcAft>
                <a:spcPts val="300"/>
              </a:spcAft>
            </a:pPr>
            <a:r>
              <a:rPr lang="en-US" sz="900" kern="1200">
                <a:solidFill>
                  <a:schemeClr val="bg1"/>
                </a:solidFill>
                <a:latin typeface="+mj-lt"/>
                <a:ea typeface="+mn-ea"/>
                <a:cs typeface="+mn-cs"/>
              </a:rPr>
              <a:t>© 2023 Clarivate</a:t>
            </a:r>
          </a:p>
          <a:p>
            <a:r>
              <a:rPr lang="en-US" sz="900">
                <a:solidFill>
                  <a:schemeClr val="bg1"/>
                </a:solidFill>
              </a:rPr>
              <a:t>Clarivate and its logo, as well as all other trademarks </a:t>
            </a:r>
            <a:r>
              <a:rPr lang="en-US" sz="900" noProof="0">
                <a:solidFill>
                  <a:schemeClr val="bg1"/>
                </a:solidFill>
              </a:rPr>
              <a:t>used</a:t>
            </a:r>
            <a:r>
              <a:rPr lang="en-US" sz="900">
                <a:solidFill>
                  <a:schemeClr val="bg1"/>
                </a:solidFill>
              </a:rPr>
              <a:t> herein are trademarks of their respective owners and used under license.</a:t>
            </a:r>
          </a:p>
        </p:txBody>
      </p:sp>
      <p:sp>
        <p:nvSpPr>
          <p:cNvPr id="6" name="TextBox 5">
            <a:extLst>
              <a:ext uri="{FF2B5EF4-FFF2-40B4-BE49-F238E27FC236}">
                <a16:creationId xmlns:a16="http://schemas.microsoft.com/office/drawing/2014/main" id="{87AB04B5-3D56-0BB5-9DDB-477262BE3C48}"/>
              </a:ext>
            </a:extLst>
          </p:cNvPr>
          <p:cNvSpPr txBox="1"/>
          <p:nvPr userDrawn="1"/>
        </p:nvSpPr>
        <p:spPr>
          <a:xfrm>
            <a:off x="481400" y="6065125"/>
            <a:ext cx="8351450" cy="684803"/>
          </a:xfrm>
          <a:prstGeom prst="rect">
            <a:avLst/>
          </a:prstGeom>
          <a:noFill/>
        </p:spPr>
        <p:txBody>
          <a:bodyPr wrap="square" rtlCol="0">
            <a:spAutoFit/>
          </a:bodyPr>
          <a:lstStyle/>
          <a:p>
            <a:pPr>
              <a:spcAft>
                <a:spcPts val="300"/>
              </a:spcAft>
            </a:pPr>
            <a:r>
              <a:rPr lang="en-US" sz="900">
                <a:solidFill>
                  <a:schemeClr val="bg1"/>
                </a:solidFill>
                <a:latin typeface="+mj-lt"/>
              </a:rPr>
              <a:t>About Clarivate</a:t>
            </a:r>
          </a:p>
          <a:p>
            <a:r>
              <a:rPr lang="en-GB" sz="900" b="0" i="0" u="none" strike="noStrike">
                <a:solidFill>
                  <a:schemeClr val="bg1"/>
                </a:solidFill>
                <a:effectLst/>
              </a:rPr>
              <a:t>Clarivate is the leading global information services provider. We connect </a:t>
            </a:r>
            <a:r>
              <a:rPr lang="en-US" sz="900" b="0" i="0" u="none" strike="noStrike" noProof="0">
                <a:solidFill>
                  <a:schemeClr val="bg1"/>
                </a:solidFill>
                <a:effectLst/>
              </a:rPr>
              <a:t>people</a:t>
            </a:r>
            <a:r>
              <a:rPr lang="en-GB" sz="900" b="0" i="0" u="none" strike="noStrike">
                <a:solidFill>
                  <a:schemeClr val="bg1"/>
                </a:solidFill>
                <a:effectLst/>
              </a:rPr>
              <a:t> and </a:t>
            </a:r>
            <a:r>
              <a:rPr lang="en-US" sz="900" b="0" i="0" u="none" strike="noStrike" noProof="0">
                <a:solidFill>
                  <a:schemeClr val="bg1"/>
                </a:solidFill>
                <a:effectLst/>
              </a:rPr>
              <a:t>organizations</a:t>
            </a:r>
            <a:r>
              <a:rPr lang="en-GB" sz="900" b="0" i="0" u="none" strike="noStrike">
                <a:solidFill>
                  <a:schemeClr val="bg1"/>
                </a:solidFill>
                <a:effectLst/>
              </a:rPr>
              <a:t> to intelligence they can trust to transform their perspective, their work and our world. Our subscription </a:t>
            </a:r>
            <a:r>
              <a:rPr lang="en-US" sz="900" b="0" i="0" u="none" strike="noStrike" noProof="0">
                <a:solidFill>
                  <a:schemeClr val="bg1"/>
                </a:solidFill>
                <a:effectLst/>
              </a:rPr>
              <a:t>and</a:t>
            </a:r>
            <a:r>
              <a:rPr lang="en-GB" sz="900" b="0" i="0" u="none" strike="noStrike">
                <a:solidFill>
                  <a:schemeClr val="bg1"/>
                </a:solidFill>
                <a:effectLst/>
              </a:rPr>
              <a:t> technology-based solutions are coupled with deep domain expertise and cover the areas </a:t>
            </a:r>
            <a:br>
              <a:rPr lang="en-GB" sz="900" b="0" i="0" u="none" strike="noStrike">
                <a:solidFill>
                  <a:schemeClr val="bg1"/>
                </a:solidFill>
                <a:effectLst/>
              </a:rPr>
            </a:br>
            <a:r>
              <a:rPr lang="en-GB" sz="900" b="0" i="0" u="none" strike="noStrike">
                <a:solidFill>
                  <a:schemeClr val="bg1"/>
                </a:solidFill>
                <a:effectLst/>
              </a:rPr>
              <a:t>of Academia &amp; Government, Life Sciences &amp; Healthcare and Intellectual Property. For more information, please visit </a:t>
            </a:r>
            <a:r>
              <a:rPr lang="en-GB" sz="900" b="0" i="0">
                <a:solidFill>
                  <a:schemeClr val="bg1"/>
                </a:solidFill>
                <a:effectLst/>
                <a:hlinkClick r:id="rId5" tooltip="http://clarivate.com">
                  <a:extLst>
                    <a:ext uri="{A12FA001-AC4F-418D-AE19-62706E023703}">
                      <ahyp:hlinkClr xmlns:ahyp="http://schemas.microsoft.com/office/drawing/2018/hyperlinkcolor" val="tx"/>
                    </a:ext>
                  </a:extLst>
                </a:hlinkClick>
              </a:rPr>
              <a:t>clarivate.com</a:t>
            </a:r>
            <a:endParaRPr lang="en-US" sz="900">
              <a:solidFill>
                <a:schemeClr val="bg1"/>
              </a:solidFill>
            </a:endParaRPr>
          </a:p>
        </p:txBody>
      </p:sp>
    </p:spTree>
    <p:extLst>
      <p:ext uri="{BB962C8B-B14F-4D97-AF65-F5344CB8AC3E}">
        <p14:creationId xmlns:p14="http://schemas.microsoft.com/office/powerpoint/2010/main" val="2622338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een Lights - Copyright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A3069A-5503-59F7-D61A-D5B5F0BC70E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1"/>
            <a:ext cx="12192002" cy="6858001"/>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359151" y="4274031"/>
            <a:ext cx="5473700" cy="252000"/>
          </a:xfrm>
          <a:prstGeom prst="rect">
            <a:avLst/>
          </a:prstGeom>
        </p:spPr>
        <p:txBody>
          <a:bodyPr lIns="0" tIns="0" rIns="0" bIns="0">
            <a:noAutofit/>
          </a:bodyPr>
          <a:lstStyle>
            <a:lvl1pPr marL="0" indent="0" algn="ctr">
              <a:lnSpc>
                <a:spcPct val="90000"/>
              </a:lnSpc>
              <a:buNone/>
              <a:defRPr sz="1800">
                <a:solidFill>
                  <a:schemeClr val="bg1"/>
                </a:solidFill>
                <a:latin typeface="+mj-lt"/>
              </a:defRPr>
            </a:lvl1pPr>
          </a:lstStyle>
          <a:p>
            <a:pPr lvl="0"/>
            <a:r>
              <a:rPr lang="en-US"/>
              <a:t>Forename Surname</a:t>
            </a:r>
            <a:endParaRPr lang="en-GB"/>
          </a:p>
        </p:txBody>
      </p:sp>
      <p:sp>
        <p:nvSpPr>
          <p:cNvPr id="18" name="Text Placeholder 9">
            <a:extLst>
              <a:ext uri="{FF2B5EF4-FFF2-40B4-BE49-F238E27FC236}">
                <a16:creationId xmlns:a16="http://schemas.microsoft.com/office/drawing/2014/main" id="{7E298FBE-14CA-2668-CBA1-51444BE8783F}"/>
              </a:ext>
            </a:extLst>
          </p:cNvPr>
          <p:cNvSpPr>
            <a:spLocks noGrp="1"/>
          </p:cNvSpPr>
          <p:nvPr>
            <p:ph type="body" sz="quarter" idx="14" hasCustomPrompt="1"/>
          </p:nvPr>
        </p:nvSpPr>
        <p:spPr>
          <a:xfrm>
            <a:off x="3359150" y="4540162"/>
            <a:ext cx="5473699" cy="252000"/>
          </a:xfrm>
          <a:prstGeom prst="rect">
            <a:avLst/>
          </a:prstGeom>
        </p:spPr>
        <p:txBody>
          <a:bodyPr lIns="0" tIns="0" rIns="0" bIns="0">
            <a:noAutofit/>
          </a:bodyPr>
          <a:lstStyle>
            <a:lvl1pPr marL="0" indent="0" algn="ctr">
              <a:lnSpc>
                <a:spcPct val="90000"/>
              </a:lnSpc>
              <a:buNone/>
              <a:defRPr sz="1800">
                <a:solidFill>
                  <a:schemeClr val="bg1"/>
                </a:solidFill>
                <a:latin typeface="+mn-lt"/>
              </a:defRPr>
            </a:lvl1pPr>
          </a:lstStyle>
          <a:p>
            <a:pPr lvl="0"/>
            <a:r>
              <a:rPr lang="en-US"/>
              <a:t>forename.surname@clarivate.com</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3359151" y="4834830"/>
            <a:ext cx="5473699" cy="252000"/>
          </a:xfrm>
          <a:prstGeom prst="rect">
            <a:avLst/>
          </a:prstGeom>
        </p:spPr>
        <p:txBody>
          <a:bodyPr lIns="0" tIns="0" rIns="0" bIns="0">
            <a:noAutofit/>
          </a:bodyPr>
          <a:lstStyle>
            <a:lvl1pPr marL="0" indent="0" algn="ctr">
              <a:lnSpc>
                <a:spcPct val="90000"/>
              </a:lnSpc>
              <a:buNone/>
              <a:defRPr sz="1700">
                <a:solidFill>
                  <a:schemeClr val="bg1"/>
                </a:solidFill>
                <a:latin typeface="+mn-lt"/>
              </a:defRPr>
            </a:lvl1pPr>
          </a:lstStyle>
          <a:p>
            <a:pPr lvl="0"/>
            <a:r>
              <a:rPr lang="en-US"/>
              <a:t>+000 0000 0000</a:t>
            </a:r>
            <a:endParaRPr lang="en-GB"/>
          </a:p>
        </p:txBody>
      </p:sp>
      <p:sp>
        <p:nvSpPr>
          <p:cNvPr id="20" name="Text Placeholder 9">
            <a:extLst>
              <a:ext uri="{FF2B5EF4-FFF2-40B4-BE49-F238E27FC236}">
                <a16:creationId xmlns:a16="http://schemas.microsoft.com/office/drawing/2014/main" id="{97390884-694C-EA75-63FD-50D2649429CF}"/>
              </a:ext>
            </a:extLst>
          </p:cNvPr>
          <p:cNvSpPr>
            <a:spLocks noGrp="1"/>
          </p:cNvSpPr>
          <p:nvPr>
            <p:ph type="body" sz="quarter" idx="16" hasCustomPrompt="1"/>
          </p:nvPr>
        </p:nvSpPr>
        <p:spPr>
          <a:xfrm>
            <a:off x="554037" y="2901862"/>
            <a:ext cx="11094244" cy="719138"/>
          </a:xfrm>
          <a:prstGeom prst="rect">
            <a:avLst/>
          </a:prstGeom>
        </p:spPr>
        <p:txBody>
          <a:bodyPr lIns="0" tIns="36000" rIns="0" bIns="0" anchor="ctr" anchorCtr="0">
            <a:noAutofit/>
          </a:bodyPr>
          <a:lstStyle>
            <a:lvl1pPr marL="0" indent="0" algn="ctr">
              <a:lnSpc>
                <a:spcPct val="90000"/>
              </a:lnSpc>
              <a:buNone/>
              <a:defRPr sz="4400">
                <a:solidFill>
                  <a:schemeClr val="bg1"/>
                </a:solidFill>
                <a:latin typeface="+mj-lt"/>
              </a:defRPr>
            </a:lvl1pPr>
          </a:lstStyle>
          <a:p>
            <a:pPr lvl="0"/>
            <a:r>
              <a:rPr lang="en-US"/>
              <a:t>Thank you</a:t>
            </a:r>
            <a:endParaRPr lang="en-GB"/>
          </a:p>
        </p:txBody>
      </p:sp>
      <p:sp>
        <p:nvSpPr>
          <p:cNvPr id="5" name="TextBox 4">
            <a:extLst>
              <a:ext uri="{FF2B5EF4-FFF2-40B4-BE49-F238E27FC236}">
                <a16:creationId xmlns:a16="http://schemas.microsoft.com/office/drawing/2014/main" id="{47EC7D1E-62E3-3E63-06C1-118A7ED2A8FB}"/>
              </a:ext>
            </a:extLst>
          </p:cNvPr>
          <p:cNvSpPr txBox="1"/>
          <p:nvPr userDrawn="1"/>
        </p:nvSpPr>
        <p:spPr>
          <a:xfrm>
            <a:off x="481400" y="6065125"/>
            <a:ext cx="2746698" cy="684803"/>
          </a:xfrm>
          <a:prstGeom prst="rect">
            <a:avLst/>
          </a:prstGeom>
          <a:noFill/>
        </p:spPr>
        <p:txBody>
          <a:bodyPr wrap="square" rtlCol="0">
            <a:spAutoFit/>
          </a:bodyPr>
          <a:lstStyle/>
          <a:p>
            <a:pPr marL="0" algn="l" defTabSz="914400" rtl="0" eaLnBrk="1" latinLnBrk="0" hangingPunct="1">
              <a:spcAft>
                <a:spcPts val="300"/>
              </a:spcAft>
            </a:pPr>
            <a:r>
              <a:rPr lang="en-US" sz="900" kern="1200" noProof="0">
                <a:solidFill>
                  <a:schemeClr val="bg1"/>
                </a:solidFill>
                <a:latin typeface="+mj-lt"/>
                <a:ea typeface="+mn-ea"/>
                <a:cs typeface="+mn-cs"/>
              </a:rPr>
              <a:t>© 2023 Clarivate</a:t>
            </a:r>
          </a:p>
          <a:p>
            <a:r>
              <a:rPr lang="en-US" sz="900" noProof="0">
                <a:solidFill>
                  <a:schemeClr val="bg1"/>
                </a:solidFill>
              </a:rPr>
              <a:t>Clarivate and its logo, as well as all other trademarks used herein are trademarks of their respective owners and used under license.</a:t>
            </a:r>
          </a:p>
        </p:txBody>
      </p:sp>
    </p:spTree>
    <p:extLst>
      <p:ext uri="{BB962C8B-B14F-4D97-AF65-F5344CB8AC3E}">
        <p14:creationId xmlns:p14="http://schemas.microsoft.com/office/powerpoint/2010/main" val="71376661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each Shore - Full Detail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A3069A-5503-59F7-D61A-D5B5F0BC70E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2192003" cy="6858001"/>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359151" y="4274031"/>
            <a:ext cx="5473700" cy="252000"/>
          </a:xfrm>
          <a:prstGeom prst="rect">
            <a:avLst/>
          </a:prstGeom>
        </p:spPr>
        <p:txBody>
          <a:bodyPr lIns="0" tIns="0" rIns="0" bIns="0">
            <a:noAutofit/>
          </a:bodyPr>
          <a:lstStyle>
            <a:lvl1pPr marL="0" indent="0" algn="ctr">
              <a:lnSpc>
                <a:spcPct val="90000"/>
              </a:lnSpc>
              <a:buNone/>
              <a:defRPr sz="1800">
                <a:solidFill>
                  <a:schemeClr val="bg1"/>
                </a:solidFill>
                <a:latin typeface="+mj-lt"/>
              </a:defRPr>
            </a:lvl1pPr>
          </a:lstStyle>
          <a:p>
            <a:pPr lvl="0"/>
            <a:r>
              <a:rPr lang="en-US"/>
              <a:t>Forename Surname</a:t>
            </a:r>
            <a:endParaRPr lang="en-GB"/>
          </a:p>
        </p:txBody>
      </p:sp>
      <p:sp>
        <p:nvSpPr>
          <p:cNvPr id="18" name="Text Placeholder 9">
            <a:extLst>
              <a:ext uri="{FF2B5EF4-FFF2-40B4-BE49-F238E27FC236}">
                <a16:creationId xmlns:a16="http://schemas.microsoft.com/office/drawing/2014/main" id="{7E298FBE-14CA-2668-CBA1-51444BE8783F}"/>
              </a:ext>
            </a:extLst>
          </p:cNvPr>
          <p:cNvSpPr>
            <a:spLocks noGrp="1"/>
          </p:cNvSpPr>
          <p:nvPr>
            <p:ph type="body" sz="quarter" idx="14" hasCustomPrompt="1"/>
          </p:nvPr>
        </p:nvSpPr>
        <p:spPr>
          <a:xfrm>
            <a:off x="3359150" y="4540162"/>
            <a:ext cx="5473699" cy="252000"/>
          </a:xfrm>
          <a:prstGeom prst="rect">
            <a:avLst/>
          </a:prstGeom>
        </p:spPr>
        <p:txBody>
          <a:bodyPr lIns="0" tIns="0" rIns="0" bIns="0">
            <a:noAutofit/>
          </a:bodyPr>
          <a:lstStyle>
            <a:lvl1pPr marL="0" indent="0" algn="ctr">
              <a:lnSpc>
                <a:spcPct val="90000"/>
              </a:lnSpc>
              <a:buNone/>
              <a:defRPr sz="1800">
                <a:solidFill>
                  <a:schemeClr val="bg1"/>
                </a:solidFill>
                <a:latin typeface="+mn-lt"/>
              </a:defRPr>
            </a:lvl1pPr>
          </a:lstStyle>
          <a:p>
            <a:pPr lvl="0"/>
            <a:r>
              <a:rPr lang="en-US"/>
              <a:t>forename.surname@clarivate.com</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3359151" y="4834830"/>
            <a:ext cx="5473699" cy="252000"/>
          </a:xfrm>
          <a:prstGeom prst="rect">
            <a:avLst/>
          </a:prstGeom>
        </p:spPr>
        <p:txBody>
          <a:bodyPr lIns="0" tIns="0" rIns="0" bIns="0">
            <a:noAutofit/>
          </a:bodyPr>
          <a:lstStyle>
            <a:lvl1pPr marL="0" indent="0" algn="ctr">
              <a:lnSpc>
                <a:spcPct val="90000"/>
              </a:lnSpc>
              <a:buNone/>
              <a:defRPr sz="1700">
                <a:solidFill>
                  <a:schemeClr val="bg1"/>
                </a:solidFill>
                <a:latin typeface="+mn-lt"/>
              </a:defRPr>
            </a:lvl1pPr>
          </a:lstStyle>
          <a:p>
            <a:pPr lvl="0"/>
            <a:r>
              <a:rPr lang="en-US"/>
              <a:t>+000 0000 0000</a:t>
            </a:r>
            <a:endParaRPr lang="en-GB"/>
          </a:p>
        </p:txBody>
      </p:sp>
      <p:sp>
        <p:nvSpPr>
          <p:cNvPr id="20" name="Text Placeholder 9">
            <a:extLst>
              <a:ext uri="{FF2B5EF4-FFF2-40B4-BE49-F238E27FC236}">
                <a16:creationId xmlns:a16="http://schemas.microsoft.com/office/drawing/2014/main" id="{97390884-694C-EA75-63FD-50D2649429CF}"/>
              </a:ext>
            </a:extLst>
          </p:cNvPr>
          <p:cNvSpPr>
            <a:spLocks noGrp="1"/>
          </p:cNvSpPr>
          <p:nvPr>
            <p:ph type="body" sz="quarter" idx="16" hasCustomPrompt="1"/>
          </p:nvPr>
        </p:nvSpPr>
        <p:spPr>
          <a:xfrm>
            <a:off x="554037" y="2901862"/>
            <a:ext cx="11094244" cy="719138"/>
          </a:xfrm>
          <a:prstGeom prst="rect">
            <a:avLst/>
          </a:prstGeom>
        </p:spPr>
        <p:txBody>
          <a:bodyPr lIns="0" tIns="36000" rIns="0" bIns="0" anchor="ctr" anchorCtr="0">
            <a:noAutofit/>
          </a:bodyPr>
          <a:lstStyle>
            <a:lvl1pPr marL="0" indent="0" algn="ctr">
              <a:lnSpc>
                <a:spcPct val="90000"/>
              </a:lnSpc>
              <a:buNone/>
              <a:defRPr sz="4400">
                <a:solidFill>
                  <a:schemeClr val="bg1"/>
                </a:solidFill>
                <a:latin typeface="+mj-lt"/>
              </a:defRPr>
            </a:lvl1pPr>
          </a:lstStyle>
          <a:p>
            <a:pPr lvl="0"/>
            <a:r>
              <a:rPr lang="en-US"/>
              <a:t>Thank you</a:t>
            </a:r>
            <a:endParaRPr lang="en-GB"/>
          </a:p>
        </p:txBody>
      </p:sp>
      <p:sp>
        <p:nvSpPr>
          <p:cNvPr id="5" name="TextBox 4">
            <a:extLst>
              <a:ext uri="{FF2B5EF4-FFF2-40B4-BE49-F238E27FC236}">
                <a16:creationId xmlns:a16="http://schemas.microsoft.com/office/drawing/2014/main" id="{47EC7D1E-62E3-3E63-06C1-118A7ED2A8FB}"/>
              </a:ext>
            </a:extLst>
          </p:cNvPr>
          <p:cNvSpPr txBox="1"/>
          <p:nvPr userDrawn="1"/>
        </p:nvSpPr>
        <p:spPr>
          <a:xfrm>
            <a:off x="8901583" y="6065125"/>
            <a:ext cx="2746698" cy="684803"/>
          </a:xfrm>
          <a:prstGeom prst="rect">
            <a:avLst/>
          </a:prstGeom>
          <a:noFill/>
        </p:spPr>
        <p:txBody>
          <a:bodyPr wrap="square" rtlCol="0">
            <a:spAutoFit/>
          </a:bodyPr>
          <a:lstStyle/>
          <a:p>
            <a:pPr marL="0" algn="l" defTabSz="914400" rtl="0" eaLnBrk="1" latinLnBrk="0" hangingPunct="1">
              <a:spcAft>
                <a:spcPts val="300"/>
              </a:spcAft>
            </a:pPr>
            <a:r>
              <a:rPr lang="en-GB" sz="900" kern="1200">
                <a:solidFill>
                  <a:schemeClr val="bg1"/>
                </a:solidFill>
                <a:latin typeface="+mj-lt"/>
                <a:ea typeface="+mn-ea"/>
                <a:cs typeface="+mn-cs"/>
              </a:rPr>
              <a:t>© 2023 Clarivate</a:t>
            </a:r>
          </a:p>
          <a:p>
            <a:r>
              <a:rPr lang="en-GB" sz="900">
                <a:solidFill>
                  <a:schemeClr val="bg1"/>
                </a:solidFill>
              </a:rPr>
              <a:t>Clarivate and </a:t>
            </a:r>
            <a:r>
              <a:rPr lang="en-US" sz="900" noProof="0">
                <a:solidFill>
                  <a:schemeClr val="bg1"/>
                </a:solidFill>
              </a:rPr>
              <a:t>its</a:t>
            </a:r>
            <a:r>
              <a:rPr lang="en-GB" sz="900">
                <a:solidFill>
                  <a:schemeClr val="bg1"/>
                </a:solidFill>
              </a:rPr>
              <a:t> logo, as well as all other trademarks used herein are trademarks of their respective owners and used under license.</a:t>
            </a:r>
          </a:p>
        </p:txBody>
      </p:sp>
      <p:sp>
        <p:nvSpPr>
          <p:cNvPr id="6" name="TextBox 5">
            <a:extLst>
              <a:ext uri="{FF2B5EF4-FFF2-40B4-BE49-F238E27FC236}">
                <a16:creationId xmlns:a16="http://schemas.microsoft.com/office/drawing/2014/main" id="{87AB04B5-3D56-0BB5-9DDB-477262BE3C48}"/>
              </a:ext>
            </a:extLst>
          </p:cNvPr>
          <p:cNvSpPr txBox="1"/>
          <p:nvPr userDrawn="1"/>
        </p:nvSpPr>
        <p:spPr>
          <a:xfrm>
            <a:off x="481400" y="6065125"/>
            <a:ext cx="8351450" cy="684803"/>
          </a:xfrm>
          <a:prstGeom prst="rect">
            <a:avLst/>
          </a:prstGeom>
          <a:noFill/>
        </p:spPr>
        <p:txBody>
          <a:bodyPr wrap="square" rtlCol="0">
            <a:spAutoFit/>
          </a:bodyPr>
          <a:lstStyle/>
          <a:p>
            <a:pPr>
              <a:spcAft>
                <a:spcPts val="300"/>
              </a:spcAft>
            </a:pPr>
            <a:r>
              <a:rPr lang="en-US" sz="900" noProof="0">
                <a:solidFill>
                  <a:schemeClr val="bg1"/>
                </a:solidFill>
                <a:latin typeface="+mj-lt"/>
              </a:rPr>
              <a:t>About Clarivate</a:t>
            </a:r>
          </a:p>
          <a:p>
            <a:r>
              <a:rPr lang="en-US" sz="900" b="0" i="0" u="none" strike="noStrike" noProof="0">
                <a:solidFill>
                  <a:schemeClr val="bg1"/>
                </a:solidFill>
                <a:effectLst/>
              </a:rPr>
              <a:t>Clarivate is the leading global information services provider. We connect people and organizations to intelligence they can trust to transform their perspective, their work and our world. Our subscription and technology-based solutions are coupled with deep domain expertise and cover the areas </a:t>
            </a:r>
            <a:br>
              <a:rPr lang="en-US" sz="900" b="0" i="0" u="none" strike="noStrike" noProof="0">
                <a:solidFill>
                  <a:schemeClr val="bg1"/>
                </a:solidFill>
                <a:effectLst/>
              </a:rPr>
            </a:br>
            <a:r>
              <a:rPr lang="en-US" sz="900" b="0" i="0" u="none" strike="noStrike" noProof="0">
                <a:solidFill>
                  <a:schemeClr val="bg1"/>
                </a:solidFill>
                <a:effectLst/>
              </a:rPr>
              <a:t>of Academia &amp; Government, Life Sciences &amp; Healthcare and Intellectual Property. For more information, please visit </a:t>
            </a:r>
            <a:r>
              <a:rPr lang="en-US" sz="900" b="0" i="0" noProof="0">
                <a:solidFill>
                  <a:schemeClr val="bg1"/>
                </a:solidFill>
                <a:effectLst/>
                <a:hlinkClick r:id="rId5" tooltip="http://clarivate.com">
                  <a:extLst>
                    <a:ext uri="{A12FA001-AC4F-418D-AE19-62706E023703}">
                      <ahyp:hlinkClr xmlns:ahyp="http://schemas.microsoft.com/office/drawing/2018/hyperlinkcolor" val="tx"/>
                    </a:ext>
                  </a:extLst>
                </a:hlinkClick>
              </a:rPr>
              <a:t>clarivate.com</a:t>
            </a:r>
            <a:endParaRPr lang="en-US" sz="900" noProof="0">
              <a:solidFill>
                <a:schemeClr val="bg1"/>
              </a:solidFill>
            </a:endParaRPr>
          </a:p>
        </p:txBody>
      </p:sp>
    </p:spTree>
    <p:extLst>
      <p:ext uri="{BB962C8B-B14F-4D97-AF65-F5344CB8AC3E}">
        <p14:creationId xmlns:p14="http://schemas.microsoft.com/office/powerpoint/2010/main" val="2286884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each Shore - Copyright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A3069A-5503-59F7-D61A-D5B5F0BC70E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2192003" cy="6858001"/>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359151" y="4274031"/>
            <a:ext cx="5473700" cy="252000"/>
          </a:xfrm>
          <a:prstGeom prst="rect">
            <a:avLst/>
          </a:prstGeom>
        </p:spPr>
        <p:txBody>
          <a:bodyPr lIns="0" tIns="0" rIns="0" bIns="0">
            <a:noAutofit/>
          </a:bodyPr>
          <a:lstStyle>
            <a:lvl1pPr marL="0" indent="0" algn="ctr">
              <a:lnSpc>
                <a:spcPct val="90000"/>
              </a:lnSpc>
              <a:buNone/>
              <a:defRPr sz="1800">
                <a:solidFill>
                  <a:schemeClr val="bg1"/>
                </a:solidFill>
                <a:latin typeface="+mj-lt"/>
              </a:defRPr>
            </a:lvl1pPr>
          </a:lstStyle>
          <a:p>
            <a:pPr lvl="0"/>
            <a:r>
              <a:rPr lang="en-US"/>
              <a:t>Forename Surname</a:t>
            </a:r>
            <a:endParaRPr lang="en-GB"/>
          </a:p>
        </p:txBody>
      </p:sp>
      <p:sp>
        <p:nvSpPr>
          <p:cNvPr id="18" name="Text Placeholder 9">
            <a:extLst>
              <a:ext uri="{FF2B5EF4-FFF2-40B4-BE49-F238E27FC236}">
                <a16:creationId xmlns:a16="http://schemas.microsoft.com/office/drawing/2014/main" id="{7E298FBE-14CA-2668-CBA1-51444BE8783F}"/>
              </a:ext>
            </a:extLst>
          </p:cNvPr>
          <p:cNvSpPr>
            <a:spLocks noGrp="1"/>
          </p:cNvSpPr>
          <p:nvPr>
            <p:ph type="body" sz="quarter" idx="14" hasCustomPrompt="1"/>
          </p:nvPr>
        </p:nvSpPr>
        <p:spPr>
          <a:xfrm>
            <a:off x="3359150" y="4540162"/>
            <a:ext cx="5473699" cy="252000"/>
          </a:xfrm>
          <a:prstGeom prst="rect">
            <a:avLst/>
          </a:prstGeom>
        </p:spPr>
        <p:txBody>
          <a:bodyPr lIns="0" tIns="0" rIns="0" bIns="0">
            <a:noAutofit/>
          </a:bodyPr>
          <a:lstStyle>
            <a:lvl1pPr marL="0" indent="0" algn="ctr">
              <a:lnSpc>
                <a:spcPct val="90000"/>
              </a:lnSpc>
              <a:buNone/>
              <a:defRPr sz="1800">
                <a:solidFill>
                  <a:schemeClr val="bg1"/>
                </a:solidFill>
                <a:latin typeface="+mn-lt"/>
              </a:defRPr>
            </a:lvl1pPr>
          </a:lstStyle>
          <a:p>
            <a:pPr lvl="0"/>
            <a:r>
              <a:rPr lang="en-US"/>
              <a:t>forename.surname@clarivate.com</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3359151" y="4834830"/>
            <a:ext cx="5473699" cy="252000"/>
          </a:xfrm>
          <a:prstGeom prst="rect">
            <a:avLst/>
          </a:prstGeom>
        </p:spPr>
        <p:txBody>
          <a:bodyPr lIns="0" tIns="0" rIns="0" bIns="0">
            <a:noAutofit/>
          </a:bodyPr>
          <a:lstStyle>
            <a:lvl1pPr marL="0" indent="0" algn="ctr">
              <a:lnSpc>
                <a:spcPct val="90000"/>
              </a:lnSpc>
              <a:buNone/>
              <a:defRPr sz="1700">
                <a:solidFill>
                  <a:schemeClr val="bg1"/>
                </a:solidFill>
                <a:latin typeface="+mn-lt"/>
              </a:defRPr>
            </a:lvl1pPr>
          </a:lstStyle>
          <a:p>
            <a:pPr lvl="0"/>
            <a:r>
              <a:rPr lang="en-US"/>
              <a:t>+000 0000 0000</a:t>
            </a:r>
            <a:endParaRPr lang="en-GB"/>
          </a:p>
        </p:txBody>
      </p:sp>
      <p:sp>
        <p:nvSpPr>
          <p:cNvPr id="20" name="Text Placeholder 9">
            <a:extLst>
              <a:ext uri="{FF2B5EF4-FFF2-40B4-BE49-F238E27FC236}">
                <a16:creationId xmlns:a16="http://schemas.microsoft.com/office/drawing/2014/main" id="{97390884-694C-EA75-63FD-50D2649429CF}"/>
              </a:ext>
            </a:extLst>
          </p:cNvPr>
          <p:cNvSpPr>
            <a:spLocks noGrp="1"/>
          </p:cNvSpPr>
          <p:nvPr>
            <p:ph type="body" sz="quarter" idx="16" hasCustomPrompt="1"/>
          </p:nvPr>
        </p:nvSpPr>
        <p:spPr>
          <a:xfrm>
            <a:off x="554037" y="2901862"/>
            <a:ext cx="11094244" cy="719138"/>
          </a:xfrm>
          <a:prstGeom prst="rect">
            <a:avLst/>
          </a:prstGeom>
        </p:spPr>
        <p:txBody>
          <a:bodyPr lIns="0" tIns="36000" rIns="0" bIns="0" anchor="ctr" anchorCtr="0">
            <a:noAutofit/>
          </a:bodyPr>
          <a:lstStyle>
            <a:lvl1pPr marL="0" indent="0" algn="ctr">
              <a:lnSpc>
                <a:spcPct val="90000"/>
              </a:lnSpc>
              <a:buNone/>
              <a:defRPr sz="4400">
                <a:solidFill>
                  <a:schemeClr val="bg1"/>
                </a:solidFill>
                <a:latin typeface="+mj-lt"/>
              </a:defRPr>
            </a:lvl1pPr>
          </a:lstStyle>
          <a:p>
            <a:pPr lvl="0"/>
            <a:r>
              <a:rPr lang="en-US"/>
              <a:t>Thank you</a:t>
            </a:r>
            <a:endParaRPr lang="en-GB"/>
          </a:p>
        </p:txBody>
      </p:sp>
      <p:sp>
        <p:nvSpPr>
          <p:cNvPr id="5" name="TextBox 4">
            <a:extLst>
              <a:ext uri="{FF2B5EF4-FFF2-40B4-BE49-F238E27FC236}">
                <a16:creationId xmlns:a16="http://schemas.microsoft.com/office/drawing/2014/main" id="{47EC7D1E-62E3-3E63-06C1-118A7ED2A8FB}"/>
              </a:ext>
            </a:extLst>
          </p:cNvPr>
          <p:cNvSpPr txBox="1"/>
          <p:nvPr userDrawn="1"/>
        </p:nvSpPr>
        <p:spPr>
          <a:xfrm>
            <a:off x="481400" y="6065125"/>
            <a:ext cx="2746698" cy="684803"/>
          </a:xfrm>
          <a:prstGeom prst="rect">
            <a:avLst/>
          </a:prstGeom>
          <a:noFill/>
        </p:spPr>
        <p:txBody>
          <a:bodyPr wrap="square" rtlCol="0">
            <a:spAutoFit/>
          </a:bodyPr>
          <a:lstStyle/>
          <a:p>
            <a:pPr marL="0" algn="l" defTabSz="914400" rtl="0" eaLnBrk="1" latinLnBrk="0" hangingPunct="1">
              <a:spcAft>
                <a:spcPts val="300"/>
              </a:spcAft>
            </a:pPr>
            <a:r>
              <a:rPr lang="en-US" sz="900" kern="1200" noProof="0">
                <a:solidFill>
                  <a:schemeClr val="bg1"/>
                </a:solidFill>
                <a:latin typeface="+mj-lt"/>
                <a:ea typeface="+mn-ea"/>
                <a:cs typeface="+mn-cs"/>
              </a:rPr>
              <a:t>© 2023 Clarivate</a:t>
            </a:r>
          </a:p>
          <a:p>
            <a:r>
              <a:rPr lang="en-US" sz="900" noProof="0">
                <a:solidFill>
                  <a:schemeClr val="bg1"/>
                </a:solidFill>
              </a:rPr>
              <a:t>Clarivate and its logo, as well as all other trademarks used herein are trademarks of their respective owners and used under license.</a:t>
            </a:r>
          </a:p>
        </p:txBody>
      </p:sp>
    </p:spTree>
    <p:extLst>
      <p:ext uri="{BB962C8B-B14F-4D97-AF65-F5344CB8AC3E}">
        <p14:creationId xmlns:p14="http://schemas.microsoft.com/office/powerpoint/2010/main" val="293145681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urple Stars - Full Detail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A3069A-5503-59F7-D61A-D5B5F0BC70E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3"/>
            <a:ext cx="12192004" cy="6858003"/>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359151" y="4274031"/>
            <a:ext cx="5473700" cy="252000"/>
          </a:xfrm>
          <a:prstGeom prst="rect">
            <a:avLst/>
          </a:prstGeom>
        </p:spPr>
        <p:txBody>
          <a:bodyPr lIns="0" tIns="0" rIns="0" bIns="0">
            <a:noAutofit/>
          </a:bodyPr>
          <a:lstStyle>
            <a:lvl1pPr marL="0" indent="0" algn="ctr">
              <a:lnSpc>
                <a:spcPct val="90000"/>
              </a:lnSpc>
              <a:buNone/>
              <a:defRPr sz="1800">
                <a:solidFill>
                  <a:schemeClr val="bg1"/>
                </a:solidFill>
                <a:latin typeface="+mj-lt"/>
              </a:defRPr>
            </a:lvl1pPr>
          </a:lstStyle>
          <a:p>
            <a:pPr lvl="0"/>
            <a:r>
              <a:rPr lang="en-US"/>
              <a:t>Forename Surname</a:t>
            </a:r>
            <a:endParaRPr lang="en-GB"/>
          </a:p>
        </p:txBody>
      </p:sp>
      <p:sp>
        <p:nvSpPr>
          <p:cNvPr id="18" name="Text Placeholder 9">
            <a:extLst>
              <a:ext uri="{FF2B5EF4-FFF2-40B4-BE49-F238E27FC236}">
                <a16:creationId xmlns:a16="http://schemas.microsoft.com/office/drawing/2014/main" id="{7E298FBE-14CA-2668-CBA1-51444BE8783F}"/>
              </a:ext>
            </a:extLst>
          </p:cNvPr>
          <p:cNvSpPr>
            <a:spLocks noGrp="1"/>
          </p:cNvSpPr>
          <p:nvPr>
            <p:ph type="body" sz="quarter" idx="14" hasCustomPrompt="1"/>
          </p:nvPr>
        </p:nvSpPr>
        <p:spPr>
          <a:xfrm>
            <a:off x="3359150" y="4540162"/>
            <a:ext cx="5473699" cy="252000"/>
          </a:xfrm>
          <a:prstGeom prst="rect">
            <a:avLst/>
          </a:prstGeom>
        </p:spPr>
        <p:txBody>
          <a:bodyPr lIns="0" tIns="0" rIns="0" bIns="0">
            <a:noAutofit/>
          </a:bodyPr>
          <a:lstStyle>
            <a:lvl1pPr marL="0" indent="0" algn="ctr">
              <a:lnSpc>
                <a:spcPct val="90000"/>
              </a:lnSpc>
              <a:buNone/>
              <a:defRPr sz="1800">
                <a:solidFill>
                  <a:schemeClr val="bg1"/>
                </a:solidFill>
                <a:latin typeface="+mn-lt"/>
              </a:defRPr>
            </a:lvl1pPr>
          </a:lstStyle>
          <a:p>
            <a:pPr lvl="0"/>
            <a:r>
              <a:rPr lang="en-US"/>
              <a:t>forename.surname@clarivate.com</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3359151" y="4834830"/>
            <a:ext cx="5473699" cy="252000"/>
          </a:xfrm>
          <a:prstGeom prst="rect">
            <a:avLst/>
          </a:prstGeom>
        </p:spPr>
        <p:txBody>
          <a:bodyPr lIns="0" tIns="0" rIns="0" bIns="0">
            <a:noAutofit/>
          </a:bodyPr>
          <a:lstStyle>
            <a:lvl1pPr marL="0" indent="0" algn="ctr">
              <a:lnSpc>
                <a:spcPct val="90000"/>
              </a:lnSpc>
              <a:buNone/>
              <a:defRPr sz="1700">
                <a:solidFill>
                  <a:schemeClr val="bg1"/>
                </a:solidFill>
                <a:latin typeface="+mn-lt"/>
              </a:defRPr>
            </a:lvl1pPr>
          </a:lstStyle>
          <a:p>
            <a:pPr lvl="0"/>
            <a:r>
              <a:rPr lang="en-US"/>
              <a:t>+000 0000 0000</a:t>
            </a:r>
            <a:endParaRPr lang="en-GB"/>
          </a:p>
        </p:txBody>
      </p:sp>
      <p:sp>
        <p:nvSpPr>
          <p:cNvPr id="20" name="Text Placeholder 9">
            <a:extLst>
              <a:ext uri="{FF2B5EF4-FFF2-40B4-BE49-F238E27FC236}">
                <a16:creationId xmlns:a16="http://schemas.microsoft.com/office/drawing/2014/main" id="{97390884-694C-EA75-63FD-50D2649429CF}"/>
              </a:ext>
            </a:extLst>
          </p:cNvPr>
          <p:cNvSpPr>
            <a:spLocks noGrp="1"/>
          </p:cNvSpPr>
          <p:nvPr>
            <p:ph type="body" sz="quarter" idx="16" hasCustomPrompt="1"/>
          </p:nvPr>
        </p:nvSpPr>
        <p:spPr>
          <a:xfrm>
            <a:off x="554037" y="2901862"/>
            <a:ext cx="11094244" cy="719138"/>
          </a:xfrm>
          <a:prstGeom prst="rect">
            <a:avLst/>
          </a:prstGeom>
        </p:spPr>
        <p:txBody>
          <a:bodyPr lIns="0" tIns="36000" rIns="0" bIns="0" anchor="ctr" anchorCtr="0">
            <a:noAutofit/>
          </a:bodyPr>
          <a:lstStyle>
            <a:lvl1pPr marL="0" indent="0" algn="ctr">
              <a:lnSpc>
                <a:spcPct val="90000"/>
              </a:lnSpc>
              <a:buNone/>
              <a:defRPr sz="4400">
                <a:solidFill>
                  <a:schemeClr val="bg1"/>
                </a:solidFill>
                <a:latin typeface="+mj-lt"/>
              </a:defRPr>
            </a:lvl1pPr>
          </a:lstStyle>
          <a:p>
            <a:pPr lvl="0"/>
            <a:r>
              <a:rPr lang="en-US"/>
              <a:t>Thank you</a:t>
            </a:r>
            <a:endParaRPr lang="en-GB"/>
          </a:p>
        </p:txBody>
      </p:sp>
      <p:sp>
        <p:nvSpPr>
          <p:cNvPr id="5" name="TextBox 4">
            <a:extLst>
              <a:ext uri="{FF2B5EF4-FFF2-40B4-BE49-F238E27FC236}">
                <a16:creationId xmlns:a16="http://schemas.microsoft.com/office/drawing/2014/main" id="{47EC7D1E-62E3-3E63-06C1-118A7ED2A8FB}"/>
              </a:ext>
            </a:extLst>
          </p:cNvPr>
          <p:cNvSpPr txBox="1"/>
          <p:nvPr userDrawn="1"/>
        </p:nvSpPr>
        <p:spPr>
          <a:xfrm>
            <a:off x="8901583" y="6065125"/>
            <a:ext cx="2746698" cy="684803"/>
          </a:xfrm>
          <a:prstGeom prst="rect">
            <a:avLst/>
          </a:prstGeom>
          <a:noFill/>
        </p:spPr>
        <p:txBody>
          <a:bodyPr wrap="square" rtlCol="0">
            <a:spAutoFit/>
          </a:bodyPr>
          <a:lstStyle/>
          <a:p>
            <a:pPr marL="0" algn="l" defTabSz="914400" rtl="0" eaLnBrk="1" latinLnBrk="0" hangingPunct="1">
              <a:spcAft>
                <a:spcPts val="300"/>
              </a:spcAft>
            </a:pPr>
            <a:r>
              <a:rPr lang="en-US" sz="900" kern="1200" noProof="0">
                <a:solidFill>
                  <a:schemeClr val="bg1"/>
                </a:solidFill>
                <a:latin typeface="+mj-lt"/>
                <a:ea typeface="+mn-ea"/>
                <a:cs typeface="+mn-cs"/>
              </a:rPr>
              <a:t>© 2023 Clarivate</a:t>
            </a:r>
          </a:p>
          <a:p>
            <a:r>
              <a:rPr lang="en-US" sz="900" noProof="0">
                <a:solidFill>
                  <a:schemeClr val="bg1"/>
                </a:solidFill>
              </a:rPr>
              <a:t>Clarivate and its logo, as well as all other trademarks used herein are trademarks of their respective owners and used under license.</a:t>
            </a:r>
          </a:p>
        </p:txBody>
      </p:sp>
      <p:sp>
        <p:nvSpPr>
          <p:cNvPr id="6" name="TextBox 5">
            <a:extLst>
              <a:ext uri="{FF2B5EF4-FFF2-40B4-BE49-F238E27FC236}">
                <a16:creationId xmlns:a16="http://schemas.microsoft.com/office/drawing/2014/main" id="{87AB04B5-3D56-0BB5-9DDB-477262BE3C48}"/>
              </a:ext>
            </a:extLst>
          </p:cNvPr>
          <p:cNvSpPr txBox="1"/>
          <p:nvPr userDrawn="1"/>
        </p:nvSpPr>
        <p:spPr>
          <a:xfrm>
            <a:off x="481400" y="6065125"/>
            <a:ext cx="8351450" cy="684803"/>
          </a:xfrm>
          <a:prstGeom prst="rect">
            <a:avLst/>
          </a:prstGeom>
          <a:noFill/>
        </p:spPr>
        <p:txBody>
          <a:bodyPr wrap="square" rtlCol="0">
            <a:spAutoFit/>
          </a:bodyPr>
          <a:lstStyle/>
          <a:p>
            <a:pPr>
              <a:spcAft>
                <a:spcPts val="300"/>
              </a:spcAft>
            </a:pPr>
            <a:r>
              <a:rPr lang="en-US" sz="900" noProof="0">
                <a:solidFill>
                  <a:schemeClr val="bg1"/>
                </a:solidFill>
                <a:latin typeface="+mj-lt"/>
              </a:rPr>
              <a:t>About Clarivate</a:t>
            </a:r>
          </a:p>
          <a:p>
            <a:r>
              <a:rPr lang="en-US" sz="900" b="0" i="0" u="none" strike="noStrike" noProof="0">
                <a:solidFill>
                  <a:schemeClr val="bg1"/>
                </a:solidFill>
                <a:effectLst/>
              </a:rPr>
              <a:t>Clarivate is the leading global information services provider. We connect people and organizations to intelligence they can trust to transform their perspective, their work and our world. Our subscription and technology-based solutions are coupled with deep domain expertise and cover the areas </a:t>
            </a:r>
            <a:br>
              <a:rPr lang="en-US" sz="900" b="0" i="0" u="none" strike="noStrike" noProof="0">
                <a:solidFill>
                  <a:schemeClr val="bg1"/>
                </a:solidFill>
                <a:effectLst/>
              </a:rPr>
            </a:br>
            <a:r>
              <a:rPr lang="en-US" sz="900" b="0" i="0" u="none" strike="noStrike" noProof="0">
                <a:solidFill>
                  <a:schemeClr val="bg1"/>
                </a:solidFill>
                <a:effectLst/>
              </a:rPr>
              <a:t>of Academia &amp; Government, Life Sciences &amp; Healthcare and Intellectual Property. For more information, please visit </a:t>
            </a:r>
            <a:r>
              <a:rPr lang="en-US" sz="900" b="0" i="0" noProof="0">
                <a:solidFill>
                  <a:schemeClr val="bg1"/>
                </a:solidFill>
                <a:effectLst/>
                <a:hlinkClick r:id="rId5" tooltip="http://clarivate.com">
                  <a:extLst>
                    <a:ext uri="{A12FA001-AC4F-418D-AE19-62706E023703}">
                      <ahyp:hlinkClr xmlns:ahyp="http://schemas.microsoft.com/office/drawing/2018/hyperlinkcolor" val="tx"/>
                    </a:ext>
                  </a:extLst>
                </a:hlinkClick>
              </a:rPr>
              <a:t>clarivate.com</a:t>
            </a:r>
            <a:endParaRPr lang="en-US" sz="900" noProof="0">
              <a:solidFill>
                <a:schemeClr val="bg1"/>
              </a:solidFill>
            </a:endParaRPr>
          </a:p>
        </p:txBody>
      </p:sp>
    </p:spTree>
    <p:extLst>
      <p:ext uri="{BB962C8B-B14F-4D97-AF65-F5344CB8AC3E}">
        <p14:creationId xmlns:p14="http://schemas.microsoft.com/office/powerpoint/2010/main" val="13640191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urple Stars - Copyright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A3069A-5503-59F7-D61A-D5B5F0BC70E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3"/>
            <a:ext cx="12192004" cy="6858003"/>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359151" y="4274031"/>
            <a:ext cx="5473700" cy="252000"/>
          </a:xfrm>
          <a:prstGeom prst="rect">
            <a:avLst/>
          </a:prstGeom>
        </p:spPr>
        <p:txBody>
          <a:bodyPr lIns="0" tIns="0" rIns="0" bIns="0">
            <a:noAutofit/>
          </a:bodyPr>
          <a:lstStyle>
            <a:lvl1pPr marL="0" indent="0" algn="ctr">
              <a:lnSpc>
                <a:spcPct val="90000"/>
              </a:lnSpc>
              <a:buNone/>
              <a:defRPr sz="1800">
                <a:solidFill>
                  <a:schemeClr val="bg1"/>
                </a:solidFill>
                <a:latin typeface="+mj-lt"/>
              </a:defRPr>
            </a:lvl1pPr>
          </a:lstStyle>
          <a:p>
            <a:pPr lvl="0"/>
            <a:r>
              <a:rPr lang="en-US"/>
              <a:t>Forename Surname</a:t>
            </a:r>
            <a:endParaRPr lang="en-GB"/>
          </a:p>
        </p:txBody>
      </p:sp>
      <p:sp>
        <p:nvSpPr>
          <p:cNvPr id="18" name="Text Placeholder 9">
            <a:extLst>
              <a:ext uri="{FF2B5EF4-FFF2-40B4-BE49-F238E27FC236}">
                <a16:creationId xmlns:a16="http://schemas.microsoft.com/office/drawing/2014/main" id="{7E298FBE-14CA-2668-CBA1-51444BE8783F}"/>
              </a:ext>
            </a:extLst>
          </p:cNvPr>
          <p:cNvSpPr>
            <a:spLocks noGrp="1"/>
          </p:cNvSpPr>
          <p:nvPr>
            <p:ph type="body" sz="quarter" idx="14" hasCustomPrompt="1"/>
          </p:nvPr>
        </p:nvSpPr>
        <p:spPr>
          <a:xfrm>
            <a:off x="3359150" y="4540162"/>
            <a:ext cx="5473699" cy="252000"/>
          </a:xfrm>
          <a:prstGeom prst="rect">
            <a:avLst/>
          </a:prstGeom>
        </p:spPr>
        <p:txBody>
          <a:bodyPr lIns="0" tIns="0" rIns="0" bIns="0">
            <a:noAutofit/>
          </a:bodyPr>
          <a:lstStyle>
            <a:lvl1pPr marL="0" indent="0" algn="ctr">
              <a:lnSpc>
                <a:spcPct val="90000"/>
              </a:lnSpc>
              <a:buNone/>
              <a:defRPr sz="1800">
                <a:solidFill>
                  <a:schemeClr val="bg1"/>
                </a:solidFill>
                <a:latin typeface="+mn-lt"/>
              </a:defRPr>
            </a:lvl1pPr>
          </a:lstStyle>
          <a:p>
            <a:pPr lvl="0"/>
            <a:r>
              <a:rPr lang="en-US"/>
              <a:t>forename.surname@clarivate.com</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3359151" y="4834830"/>
            <a:ext cx="5473699" cy="252000"/>
          </a:xfrm>
          <a:prstGeom prst="rect">
            <a:avLst/>
          </a:prstGeom>
        </p:spPr>
        <p:txBody>
          <a:bodyPr lIns="0" tIns="0" rIns="0" bIns="0">
            <a:noAutofit/>
          </a:bodyPr>
          <a:lstStyle>
            <a:lvl1pPr marL="0" indent="0" algn="ctr">
              <a:lnSpc>
                <a:spcPct val="90000"/>
              </a:lnSpc>
              <a:buNone/>
              <a:defRPr sz="1700">
                <a:solidFill>
                  <a:schemeClr val="bg1"/>
                </a:solidFill>
                <a:latin typeface="+mn-lt"/>
              </a:defRPr>
            </a:lvl1pPr>
          </a:lstStyle>
          <a:p>
            <a:pPr lvl="0"/>
            <a:r>
              <a:rPr lang="en-US"/>
              <a:t>+000 0000 0000</a:t>
            </a:r>
            <a:endParaRPr lang="en-GB"/>
          </a:p>
        </p:txBody>
      </p:sp>
      <p:sp>
        <p:nvSpPr>
          <p:cNvPr id="20" name="Text Placeholder 9">
            <a:extLst>
              <a:ext uri="{FF2B5EF4-FFF2-40B4-BE49-F238E27FC236}">
                <a16:creationId xmlns:a16="http://schemas.microsoft.com/office/drawing/2014/main" id="{97390884-694C-EA75-63FD-50D2649429CF}"/>
              </a:ext>
            </a:extLst>
          </p:cNvPr>
          <p:cNvSpPr>
            <a:spLocks noGrp="1"/>
          </p:cNvSpPr>
          <p:nvPr>
            <p:ph type="body" sz="quarter" idx="16" hasCustomPrompt="1"/>
          </p:nvPr>
        </p:nvSpPr>
        <p:spPr>
          <a:xfrm>
            <a:off x="554037" y="2901862"/>
            <a:ext cx="11094244" cy="719138"/>
          </a:xfrm>
          <a:prstGeom prst="rect">
            <a:avLst/>
          </a:prstGeom>
        </p:spPr>
        <p:txBody>
          <a:bodyPr lIns="0" tIns="36000" rIns="0" bIns="0" anchor="ctr" anchorCtr="0">
            <a:noAutofit/>
          </a:bodyPr>
          <a:lstStyle>
            <a:lvl1pPr marL="0" indent="0" algn="ctr">
              <a:lnSpc>
                <a:spcPct val="90000"/>
              </a:lnSpc>
              <a:buNone/>
              <a:defRPr sz="4400">
                <a:solidFill>
                  <a:schemeClr val="bg1"/>
                </a:solidFill>
                <a:latin typeface="+mj-lt"/>
              </a:defRPr>
            </a:lvl1pPr>
          </a:lstStyle>
          <a:p>
            <a:pPr lvl="0"/>
            <a:r>
              <a:rPr lang="en-US"/>
              <a:t>Thank you</a:t>
            </a:r>
            <a:endParaRPr lang="en-GB"/>
          </a:p>
        </p:txBody>
      </p:sp>
      <p:sp>
        <p:nvSpPr>
          <p:cNvPr id="5" name="TextBox 4">
            <a:extLst>
              <a:ext uri="{FF2B5EF4-FFF2-40B4-BE49-F238E27FC236}">
                <a16:creationId xmlns:a16="http://schemas.microsoft.com/office/drawing/2014/main" id="{47EC7D1E-62E3-3E63-06C1-118A7ED2A8FB}"/>
              </a:ext>
            </a:extLst>
          </p:cNvPr>
          <p:cNvSpPr txBox="1"/>
          <p:nvPr userDrawn="1"/>
        </p:nvSpPr>
        <p:spPr>
          <a:xfrm>
            <a:off x="481400" y="6065125"/>
            <a:ext cx="2746698" cy="684803"/>
          </a:xfrm>
          <a:prstGeom prst="rect">
            <a:avLst/>
          </a:prstGeom>
          <a:noFill/>
        </p:spPr>
        <p:txBody>
          <a:bodyPr wrap="square" rtlCol="0">
            <a:spAutoFit/>
          </a:bodyPr>
          <a:lstStyle/>
          <a:p>
            <a:pPr marL="0" algn="l" defTabSz="914400" rtl="0" eaLnBrk="1" latinLnBrk="0" hangingPunct="1">
              <a:spcAft>
                <a:spcPts val="300"/>
              </a:spcAft>
            </a:pPr>
            <a:r>
              <a:rPr lang="en-US" sz="900" kern="1200" noProof="0">
                <a:solidFill>
                  <a:schemeClr val="bg1"/>
                </a:solidFill>
                <a:latin typeface="+mj-lt"/>
                <a:ea typeface="+mn-ea"/>
                <a:cs typeface="+mn-cs"/>
              </a:rPr>
              <a:t>© 2023 Clarivate</a:t>
            </a:r>
          </a:p>
          <a:p>
            <a:r>
              <a:rPr lang="en-US" sz="900" noProof="0">
                <a:solidFill>
                  <a:schemeClr val="bg1"/>
                </a:solidFill>
              </a:rPr>
              <a:t>Clarivate and its logo, as well as all other trademarks used herein are trademarks of their respective owners and used under license.</a:t>
            </a:r>
          </a:p>
        </p:txBody>
      </p:sp>
    </p:spTree>
    <p:extLst>
      <p:ext uri="{BB962C8B-B14F-4D97-AF65-F5344CB8AC3E}">
        <p14:creationId xmlns:p14="http://schemas.microsoft.com/office/powerpoint/2010/main" val="25186433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ight image - 2 or 3 lines">
    <p:bg>
      <p:bgPr>
        <a:solidFill>
          <a:schemeClr val="tx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588C067-B393-9489-E4ED-1958F0FE3BBD}"/>
              </a:ext>
            </a:extLst>
          </p:cNvPr>
          <p:cNvSpPr>
            <a:spLocks noGrp="1"/>
          </p:cNvSpPr>
          <p:nvPr>
            <p:ph type="pic" sz="quarter" idx="10" hasCustomPrompt="1"/>
          </p:nvPr>
        </p:nvSpPr>
        <p:spPr>
          <a:xfrm>
            <a:off x="0" y="0"/>
            <a:ext cx="12192000" cy="6858000"/>
          </a:xfrm>
          <a:custGeom>
            <a:avLst/>
            <a:gdLst>
              <a:gd name="connsiteX0" fmla="*/ 5969925 w 12192000"/>
              <a:gd name="connsiteY0" fmla="*/ 446137 h 6858000"/>
              <a:gd name="connsiteX1" fmla="*/ 5932287 w 12192000"/>
              <a:gd name="connsiteY1" fmla="*/ 448451 h 6858000"/>
              <a:gd name="connsiteX2" fmla="*/ 5932287 w 12192000"/>
              <a:gd name="connsiteY2" fmla="*/ 671046 h 6858000"/>
              <a:gd name="connsiteX3" fmla="*/ 5969925 w 12192000"/>
              <a:gd name="connsiteY3" fmla="*/ 673360 h 6858000"/>
              <a:gd name="connsiteX4" fmla="*/ 6022220 w 12192000"/>
              <a:gd name="connsiteY4" fmla="*/ 669042 h 6858000"/>
              <a:gd name="connsiteX5" fmla="*/ 6022220 w 12192000"/>
              <a:gd name="connsiteY5" fmla="*/ 669000 h 6858000"/>
              <a:gd name="connsiteX6" fmla="*/ 6022331 w 12192000"/>
              <a:gd name="connsiteY6" fmla="*/ 668971 h 6858000"/>
              <a:gd name="connsiteX7" fmla="*/ 6044431 w 12192000"/>
              <a:gd name="connsiteY7" fmla="*/ 716091 h 6858000"/>
              <a:gd name="connsiteX8" fmla="*/ 6065257 w 12192000"/>
              <a:gd name="connsiteY8" fmla="*/ 747714 h 6858000"/>
              <a:gd name="connsiteX9" fmla="*/ 6257771 w 12192000"/>
              <a:gd name="connsiteY9" fmla="*/ 636493 h 6858000"/>
              <a:gd name="connsiteX10" fmla="*/ 6210878 w 12192000"/>
              <a:gd name="connsiteY10" fmla="*/ 559826 h 6858000"/>
              <a:gd name="connsiteX11" fmla="*/ 6076795 w 12192000"/>
              <a:gd name="connsiteY11" fmla="*/ 654536 h 6858000"/>
              <a:gd name="connsiteX12" fmla="*/ 6022331 w 12192000"/>
              <a:gd name="connsiteY12" fmla="*/ 668971 h 6858000"/>
              <a:gd name="connsiteX13" fmla="*/ 6022220 w 12192000"/>
              <a:gd name="connsiteY13" fmla="*/ 668736 h 6858000"/>
              <a:gd name="connsiteX14" fmla="*/ 6022220 w 12192000"/>
              <a:gd name="connsiteY14" fmla="*/ 668732 h 6858000"/>
              <a:gd name="connsiteX15" fmla="*/ 6013273 w 12192000"/>
              <a:gd name="connsiteY15" fmla="*/ 478531 h 6858000"/>
              <a:gd name="connsiteX16" fmla="*/ 6022220 w 12192000"/>
              <a:gd name="connsiteY16" fmla="*/ 450456 h 6858000"/>
              <a:gd name="connsiteX17" fmla="*/ 5969925 w 12192000"/>
              <a:gd name="connsiteY17" fmla="*/ 446137 h 6858000"/>
              <a:gd name="connsiteX18" fmla="*/ 6065258 w 12192000"/>
              <a:gd name="connsiteY18" fmla="*/ 371476 h 6858000"/>
              <a:gd name="connsiteX19" fmla="*/ 6022220 w 12192000"/>
              <a:gd name="connsiteY19" fmla="*/ 450457 h 6858000"/>
              <a:gd name="connsiteX20" fmla="*/ 6211033 w 12192000"/>
              <a:gd name="connsiteY20" fmla="*/ 559673 h 6858000"/>
              <a:gd name="connsiteX21" fmla="*/ 6257926 w 12192000"/>
              <a:gd name="connsiteY21" fmla="*/ 483005 h 6858000"/>
              <a:gd name="connsiteX22" fmla="*/ 6065258 w 12192000"/>
              <a:gd name="connsiteY22" fmla="*/ 371476 h 6858000"/>
              <a:gd name="connsiteX23" fmla="*/ 0 w 12192000"/>
              <a:gd name="connsiteY23" fmla="*/ 0 h 6858000"/>
              <a:gd name="connsiteX24" fmla="*/ 12192000 w 12192000"/>
              <a:gd name="connsiteY24" fmla="*/ 0 h 6858000"/>
              <a:gd name="connsiteX25" fmla="*/ 12192000 w 12192000"/>
              <a:gd name="connsiteY25" fmla="*/ 6858000 h 6858000"/>
              <a:gd name="connsiteX26" fmla="*/ 0 w 12192000"/>
              <a:gd name="connsiteY2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192000" h="6858000">
                <a:moveTo>
                  <a:pt x="5969925" y="446137"/>
                </a:moveTo>
                <a:cubicBezTo>
                  <a:pt x="5957277" y="446137"/>
                  <a:pt x="5944627" y="446908"/>
                  <a:pt x="5932287" y="448451"/>
                </a:cubicBezTo>
                <a:cubicBezTo>
                  <a:pt x="5911615" y="520027"/>
                  <a:pt x="5910689" y="597156"/>
                  <a:pt x="5932287" y="671046"/>
                </a:cubicBezTo>
                <a:cubicBezTo>
                  <a:pt x="5944627" y="672589"/>
                  <a:pt x="5957123" y="673360"/>
                  <a:pt x="5969925" y="673360"/>
                </a:cubicBezTo>
                <a:cubicBezTo>
                  <a:pt x="5987666" y="673360"/>
                  <a:pt x="6005251" y="671818"/>
                  <a:pt x="6022220" y="669042"/>
                </a:cubicBezTo>
                <a:lnTo>
                  <a:pt x="6022220" y="669000"/>
                </a:lnTo>
                <a:lnTo>
                  <a:pt x="6022331" y="668971"/>
                </a:lnTo>
                <a:lnTo>
                  <a:pt x="6044431" y="716091"/>
                </a:lnTo>
                <a:cubicBezTo>
                  <a:pt x="6050756" y="727042"/>
                  <a:pt x="6057698" y="737533"/>
                  <a:pt x="6065257" y="747714"/>
                </a:cubicBezTo>
                <a:cubicBezTo>
                  <a:pt x="6139919" y="729358"/>
                  <a:pt x="6206250" y="690175"/>
                  <a:pt x="6257771" y="636493"/>
                </a:cubicBezTo>
                <a:cubicBezTo>
                  <a:pt x="6245895" y="608571"/>
                  <a:pt x="6230005" y="582812"/>
                  <a:pt x="6210878" y="559826"/>
                </a:cubicBezTo>
                <a:cubicBezTo>
                  <a:pt x="6175707" y="602285"/>
                  <a:pt x="6129515" y="635287"/>
                  <a:pt x="6076795" y="654536"/>
                </a:cubicBezTo>
                <a:lnTo>
                  <a:pt x="6022331" y="668971"/>
                </a:lnTo>
                <a:lnTo>
                  <a:pt x="6022220" y="668736"/>
                </a:lnTo>
                <a:lnTo>
                  <a:pt x="6022220" y="668732"/>
                </a:lnTo>
                <a:cubicBezTo>
                  <a:pt x="5999543" y="608109"/>
                  <a:pt x="5996150" y="542241"/>
                  <a:pt x="6013273" y="478531"/>
                </a:cubicBezTo>
                <a:cubicBezTo>
                  <a:pt x="6015894" y="468968"/>
                  <a:pt x="6018827" y="459558"/>
                  <a:pt x="6022220" y="450456"/>
                </a:cubicBezTo>
                <a:cubicBezTo>
                  <a:pt x="6005251" y="447525"/>
                  <a:pt x="5987819" y="446137"/>
                  <a:pt x="5969925" y="446137"/>
                </a:cubicBezTo>
                <a:close/>
                <a:moveTo>
                  <a:pt x="6065258" y="371476"/>
                </a:moveTo>
                <a:cubicBezTo>
                  <a:pt x="6047364" y="395386"/>
                  <a:pt x="6032863" y="421918"/>
                  <a:pt x="6022220" y="450457"/>
                </a:cubicBezTo>
                <a:cubicBezTo>
                  <a:pt x="6097806" y="463260"/>
                  <a:pt x="6164138" y="503059"/>
                  <a:pt x="6211033" y="559673"/>
                </a:cubicBezTo>
                <a:cubicBezTo>
                  <a:pt x="6230160" y="536687"/>
                  <a:pt x="6246050" y="510771"/>
                  <a:pt x="6257926" y="483005"/>
                </a:cubicBezTo>
                <a:cubicBezTo>
                  <a:pt x="6206405" y="429014"/>
                  <a:pt x="6139919" y="389832"/>
                  <a:pt x="6065258" y="371476"/>
                </a:cubicBezTo>
                <a:close/>
                <a:moveTo>
                  <a:pt x="0" y="0"/>
                </a:moveTo>
                <a:lnTo>
                  <a:pt x="12192000" y="0"/>
                </a:lnTo>
                <a:lnTo>
                  <a:pt x="12192000" y="6858000"/>
                </a:lnTo>
                <a:lnTo>
                  <a:pt x="0" y="6858000"/>
                </a:lnTo>
                <a:close/>
              </a:path>
            </a:pathLst>
          </a:custGeom>
          <a:solidFill>
            <a:schemeClr val="bg1">
              <a:lumMod val="95000"/>
            </a:schemeClr>
          </a:solidFill>
        </p:spPr>
        <p:txBody>
          <a:bodyPr wrap="square" tIns="108000">
            <a:noAutofit/>
          </a:bodyPr>
          <a:lstStyle>
            <a:lvl1pPr marL="0" indent="0" algn="ctr">
              <a:buNone/>
              <a:defRPr sz="1000">
                <a:solidFill>
                  <a:schemeClr val="accent2"/>
                </a:solidFill>
              </a:defRPr>
            </a:lvl1pPr>
          </a:lstStyle>
          <a:p>
            <a:r>
              <a:rPr lang="en-US"/>
              <a:t>Drag picture file here or click </a:t>
            </a:r>
            <a:r>
              <a:rPr lang="en-US" noProof="0"/>
              <a:t>center</a:t>
            </a:r>
            <a:r>
              <a:rPr lang="en-US"/>
              <a:t> icon to insert light image</a:t>
            </a:r>
          </a:p>
          <a:p>
            <a:endParaRPr lang="en-GB"/>
          </a:p>
        </p:txBody>
      </p:sp>
      <p:sp>
        <p:nvSpPr>
          <p:cNvPr id="4" name="Text Placeholder 9">
            <a:extLst>
              <a:ext uri="{FF2B5EF4-FFF2-40B4-BE49-F238E27FC236}">
                <a16:creationId xmlns:a16="http://schemas.microsoft.com/office/drawing/2014/main" id="{727ADA16-810E-4756-F9FD-B28B2D16B91E}"/>
              </a:ext>
            </a:extLst>
          </p:cNvPr>
          <p:cNvSpPr>
            <a:spLocks noGrp="1"/>
          </p:cNvSpPr>
          <p:nvPr>
            <p:ph type="body" sz="quarter" idx="17" hasCustomPrompt="1"/>
          </p:nvPr>
        </p:nvSpPr>
        <p:spPr>
          <a:xfrm>
            <a:off x="3359150" y="4139077"/>
            <a:ext cx="5473700" cy="281703"/>
          </a:xfrm>
          <a:prstGeom prst="rect">
            <a:avLst/>
          </a:prstGeom>
        </p:spPr>
        <p:txBody>
          <a:bodyPr lIns="0" tIns="36000" rIns="0" bIns="0" anchor="t" anchorCtr="0">
            <a:noAutofit/>
          </a:bodyPr>
          <a:lstStyle>
            <a:lvl1pPr marL="0" indent="0" algn="ctr">
              <a:lnSpc>
                <a:spcPct val="85000"/>
              </a:lnSpc>
              <a:buNone/>
              <a:defRPr sz="2000">
                <a:solidFill>
                  <a:schemeClr val="tx1"/>
                </a:solidFill>
                <a:latin typeface="+mn-lt"/>
              </a:defRPr>
            </a:lvl1pPr>
          </a:lstStyle>
          <a:p>
            <a:pPr lvl="0"/>
            <a:r>
              <a:rPr lang="en-US"/>
              <a:t>Section break subtitle here</a:t>
            </a:r>
          </a:p>
        </p:txBody>
      </p:sp>
      <p:sp>
        <p:nvSpPr>
          <p:cNvPr id="5" name="Text Placeholder 9">
            <a:extLst>
              <a:ext uri="{FF2B5EF4-FFF2-40B4-BE49-F238E27FC236}">
                <a16:creationId xmlns:a16="http://schemas.microsoft.com/office/drawing/2014/main" id="{0C73479D-FCC5-E466-025F-FC70E9C8DDA5}"/>
              </a:ext>
            </a:extLst>
          </p:cNvPr>
          <p:cNvSpPr>
            <a:spLocks noGrp="1"/>
          </p:cNvSpPr>
          <p:nvPr>
            <p:ph type="body" sz="quarter" idx="16" hasCustomPrompt="1"/>
          </p:nvPr>
        </p:nvSpPr>
        <p:spPr>
          <a:xfrm>
            <a:off x="3359151" y="2442689"/>
            <a:ext cx="5473700" cy="1567891"/>
          </a:xfrm>
          <a:prstGeom prst="rect">
            <a:avLst/>
          </a:prstGeom>
        </p:spPr>
        <p:txBody>
          <a:bodyPr lIns="0" tIns="36000" rIns="0" bIns="0" anchor="b" anchorCtr="0">
            <a:noAutofit/>
          </a:bodyPr>
          <a:lstStyle>
            <a:lvl1pPr marL="0" indent="0" algn="ctr">
              <a:lnSpc>
                <a:spcPct val="85000"/>
              </a:lnSpc>
              <a:spcBef>
                <a:spcPts val="0"/>
              </a:spcBef>
              <a:buNone/>
              <a:defRPr sz="3600">
                <a:solidFill>
                  <a:schemeClr val="tx1"/>
                </a:solidFill>
                <a:latin typeface="+mj-lt"/>
              </a:defRPr>
            </a:lvl1pPr>
          </a:lstStyle>
          <a:p>
            <a:pPr lvl="0"/>
            <a:r>
              <a:rPr lang="en-US"/>
              <a:t>Section break two or three lines lorem ipsum dolor</a:t>
            </a:r>
          </a:p>
        </p:txBody>
      </p:sp>
    </p:spTree>
    <p:extLst>
      <p:ext uri="{BB962C8B-B14F-4D97-AF65-F5344CB8AC3E}">
        <p14:creationId xmlns:p14="http://schemas.microsoft.com/office/powerpoint/2010/main" val="28058294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1078982-E876-DB4D-B751-C248FF87BC1B}"/>
              </a:ext>
            </a:extLst>
          </p:cNvPr>
          <p:cNvSpPr/>
          <p:nvPr userDrawn="1"/>
        </p:nvSpPr>
        <p:spPr>
          <a:xfrm>
            <a:off x="4906317" y="0"/>
            <a:ext cx="6096000"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7">
            <a:extLst>
              <a:ext uri="{FF2B5EF4-FFF2-40B4-BE49-F238E27FC236}">
                <a16:creationId xmlns:a16="http://schemas.microsoft.com/office/drawing/2014/main" id="{4F6CA065-C6A9-6D4D-9666-F1585FD1F464}"/>
              </a:ext>
            </a:extLst>
          </p:cNvPr>
          <p:cNvSpPr>
            <a:spLocks noGrp="1"/>
          </p:cNvSpPr>
          <p:nvPr>
            <p:ph type="body" sz="quarter" idx="13" hasCustomPrompt="1"/>
          </p:nvPr>
        </p:nvSpPr>
        <p:spPr>
          <a:xfrm>
            <a:off x="592202" y="3692457"/>
            <a:ext cx="4675123" cy="1180708"/>
          </a:xfrm>
        </p:spPr>
        <p:txBody>
          <a:bodyPr wrap="square">
            <a:spAutoFit/>
          </a:bodyPr>
          <a:lstStyle>
            <a:lvl1pPr marL="0" indent="0">
              <a:lnSpc>
                <a:spcPct val="85000"/>
              </a:lnSpc>
              <a:spcAft>
                <a:spcPts val="0"/>
              </a:spcAft>
              <a:buNone/>
              <a:defRPr sz="3000" b="1" spc="0" baseline="0">
                <a:solidFill>
                  <a:schemeClr val="tx1"/>
                </a:solidFill>
              </a:defRPr>
            </a:lvl1pPr>
          </a:lstStyle>
          <a:p>
            <a:pPr lvl="0"/>
            <a:r>
              <a:rPr lang="en-US"/>
              <a:t>Title to be inserted here over three lines and </a:t>
            </a:r>
            <a:r>
              <a:rPr lang="en-US" err="1"/>
              <a:t>approx</a:t>
            </a:r>
            <a:r>
              <a:rPr lang="en-US"/>
              <a:t> 90 characters including spaces</a:t>
            </a:r>
          </a:p>
        </p:txBody>
      </p:sp>
      <p:sp>
        <p:nvSpPr>
          <p:cNvPr id="11" name="Text Placeholder 4">
            <a:extLst>
              <a:ext uri="{FF2B5EF4-FFF2-40B4-BE49-F238E27FC236}">
                <a16:creationId xmlns:a16="http://schemas.microsoft.com/office/drawing/2014/main" id="{AC5CE028-53F0-5B43-9D5B-F98C09A97673}"/>
              </a:ext>
            </a:extLst>
          </p:cNvPr>
          <p:cNvSpPr>
            <a:spLocks noGrp="1"/>
          </p:cNvSpPr>
          <p:nvPr>
            <p:ph type="body" sz="quarter" idx="11" hasCustomPrompt="1"/>
          </p:nvPr>
        </p:nvSpPr>
        <p:spPr>
          <a:xfrm>
            <a:off x="590878" y="5352405"/>
            <a:ext cx="4676448" cy="748895"/>
          </a:xfrm>
        </p:spPr>
        <p:txBody>
          <a:bodyPr>
            <a:noAutofit/>
          </a:bodyPr>
          <a:lstStyle>
            <a:lvl1pPr marL="0" indent="0">
              <a:lnSpc>
                <a:spcPct val="85000"/>
              </a:lnSpc>
              <a:spcAft>
                <a:spcPts val="0"/>
              </a:spcAft>
              <a:buNone/>
              <a:defRPr sz="1400">
                <a:solidFill>
                  <a:schemeClr val="tx1"/>
                </a:solidFill>
              </a:defRPr>
            </a:lvl1pPr>
            <a:lvl2pPr marL="457189" indent="0">
              <a:buNone/>
              <a:defRPr/>
            </a:lvl2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a:t>
            </a:r>
            <a:r>
              <a:rPr lang="en-US" err="1"/>
              <a:t>elementum</a:t>
            </a:r>
            <a:r>
              <a:rPr lang="en-US"/>
              <a:t> </a:t>
            </a:r>
            <a:r>
              <a:rPr lang="en-US" err="1"/>
              <a:t>maecenas</a:t>
            </a:r>
            <a:r>
              <a:rPr lang="en-US"/>
              <a:t>.</a:t>
            </a:r>
          </a:p>
        </p:txBody>
      </p:sp>
      <p:sp>
        <p:nvSpPr>
          <p:cNvPr id="12" name="Text Placeholder 4">
            <a:extLst>
              <a:ext uri="{FF2B5EF4-FFF2-40B4-BE49-F238E27FC236}">
                <a16:creationId xmlns:a16="http://schemas.microsoft.com/office/drawing/2014/main" id="{93F3CAD4-27EE-FE4F-9EDC-356DA0A4F809}"/>
              </a:ext>
            </a:extLst>
          </p:cNvPr>
          <p:cNvSpPr>
            <a:spLocks noGrp="1"/>
          </p:cNvSpPr>
          <p:nvPr>
            <p:ph type="body" sz="quarter" idx="15" hasCustomPrompt="1"/>
          </p:nvPr>
        </p:nvSpPr>
        <p:spPr>
          <a:xfrm>
            <a:off x="590877" y="3409439"/>
            <a:ext cx="4676448" cy="164775"/>
          </a:xfrm>
        </p:spPr>
        <p:txBody>
          <a:bodyPr>
            <a:noAutofit/>
          </a:bodyPr>
          <a:lstStyle>
            <a:lvl1pPr marL="0" indent="0">
              <a:lnSpc>
                <a:spcPct val="85000"/>
              </a:lnSpc>
              <a:spcAft>
                <a:spcPts val="0"/>
              </a:spcAft>
              <a:buNone/>
              <a:defRPr sz="1400" b="0">
                <a:solidFill>
                  <a:schemeClr val="tx1"/>
                </a:solidFill>
              </a:defRPr>
            </a:lvl1pPr>
            <a:lvl2pPr marL="457189" indent="0">
              <a:buNone/>
              <a:defRPr/>
            </a:lvl2pPr>
          </a:lstStyle>
          <a:p>
            <a:pPr lvl="0"/>
            <a:r>
              <a:rPr lang="en-IN">
                <a:effectLst/>
              </a:rPr>
              <a:t>Clarivate Consulting Services</a:t>
            </a:r>
            <a:endParaRPr lang="en-US"/>
          </a:p>
        </p:txBody>
      </p:sp>
      <p:pic>
        <p:nvPicPr>
          <p:cNvPr id="13" name="Picture 12" descr="A close up of a flower&#10;&#10;Description automatically generated">
            <a:extLst>
              <a:ext uri="{FF2B5EF4-FFF2-40B4-BE49-F238E27FC236}">
                <a16:creationId xmlns:a16="http://schemas.microsoft.com/office/drawing/2014/main" id="{ECDC26B0-32B6-9B4D-A494-F3C8A9F4AF1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0222" y="267631"/>
            <a:ext cx="2006918" cy="600873"/>
          </a:xfrm>
          <a:prstGeom prst="rect">
            <a:avLst/>
          </a:prstGeom>
        </p:spPr>
      </p:pic>
      <p:pic>
        <p:nvPicPr>
          <p:cNvPr id="14" name="Picture 13">
            <a:extLst>
              <a:ext uri="{FF2B5EF4-FFF2-40B4-BE49-F238E27FC236}">
                <a16:creationId xmlns:a16="http://schemas.microsoft.com/office/drawing/2014/main" id="{AEDB919B-D3B8-8140-A0EB-7CC9F0C3169A}"/>
              </a:ext>
            </a:extLst>
          </p:cNvPr>
          <p:cNvPicPr>
            <a:picLocks noChangeAspect="1"/>
          </p:cNvPicPr>
          <p:nvPr userDrawn="1"/>
        </p:nvPicPr>
        <p:blipFill rotWithShape="1">
          <a:blip r:embed="rId3"/>
          <a:srcRect l="50080"/>
          <a:stretch/>
        </p:blipFill>
        <p:spPr>
          <a:xfrm>
            <a:off x="6105788" y="-1"/>
            <a:ext cx="6086212" cy="6858000"/>
          </a:xfrm>
          <a:prstGeom prst="rect">
            <a:avLst/>
          </a:prstGeom>
        </p:spPr>
      </p:pic>
      <p:sp>
        <p:nvSpPr>
          <p:cNvPr id="15" name="Text Placeholder 7">
            <a:extLst>
              <a:ext uri="{FF2B5EF4-FFF2-40B4-BE49-F238E27FC236}">
                <a16:creationId xmlns:a16="http://schemas.microsoft.com/office/drawing/2014/main" id="{05F74135-8FDA-0743-AEA0-DD42A25C99A8}"/>
              </a:ext>
            </a:extLst>
          </p:cNvPr>
          <p:cNvSpPr>
            <a:spLocks noGrp="1"/>
          </p:cNvSpPr>
          <p:nvPr>
            <p:ph type="body" sz="quarter" idx="16" hasCustomPrompt="1"/>
          </p:nvPr>
        </p:nvSpPr>
        <p:spPr>
          <a:xfrm>
            <a:off x="590878" y="6442421"/>
            <a:ext cx="1516062" cy="161925"/>
          </a:xfrm>
        </p:spPr>
        <p:txBody>
          <a:bodyPr/>
          <a:lstStyle>
            <a:lvl1pPr marL="0" indent="0">
              <a:buNone/>
              <a:defRPr sz="1000"/>
            </a:lvl1pPr>
            <a:lvl2pPr marL="182880" indent="0">
              <a:buNone/>
              <a:defRPr sz="1000"/>
            </a:lvl2pPr>
            <a:lvl3pPr marL="365760" indent="0">
              <a:buNone/>
              <a:defRPr sz="1000"/>
            </a:lvl3pPr>
            <a:lvl4pPr marL="548640" indent="0">
              <a:buNone/>
              <a:defRPr sz="1000"/>
            </a:lvl4pPr>
            <a:lvl5pPr marL="731520" indent="0">
              <a:buNone/>
              <a:defRPr sz="1000"/>
            </a:lvl5pPr>
          </a:lstStyle>
          <a:p>
            <a:pPr lvl="0"/>
            <a:r>
              <a:rPr lang="en-GB"/>
              <a:t>00 January</a:t>
            </a:r>
            <a:endParaRPr lang="en-US"/>
          </a:p>
        </p:txBody>
      </p:sp>
    </p:spTree>
    <p:extLst>
      <p:ext uri="{BB962C8B-B14F-4D97-AF65-F5344CB8AC3E}">
        <p14:creationId xmlns:p14="http://schemas.microsoft.com/office/powerpoint/2010/main" val="326294809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over_1">
    <p:bg>
      <p:bgPr>
        <a:solidFill>
          <a:schemeClr val="bg1"/>
        </a:solidFill>
        <a:effectLst/>
      </p:bgPr>
    </p:bg>
    <p:spTree>
      <p:nvGrpSpPr>
        <p:cNvPr id="1" name=""/>
        <p:cNvGrpSpPr/>
        <p:nvPr/>
      </p:nvGrpSpPr>
      <p:grpSpPr>
        <a:xfrm>
          <a:off x="0" y="0"/>
          <a:ext cx="0" cy="0"/>
          <a:chOff x="0" y="0"/>
          <a:chExt cx="0" cy="0"/>
        </a:xfrm>
      </p:grpSpPr>
      <p:pic>
        <p:nvPicPr>
          <p:cNvPr id="4" name="Picture 3" descr="A close up of a plastic container&#10;&#10;Description automatically generated">
            <a:extLst>
              <a:ext uri="{FF2B5EF4-FFF2-40B4-BE49-F238E27FC236}">
                <a16:creationId xmlns:a16="http://schemas.microsoft.com/office/drawing/2014/main" id="{79730179-A2E5-924F-8633-A78FE5615860}"/>
              </a:ext>
            </a:extLst>
          </p:cNvPr>
          <p:cNvPicPr>
            <a:picLocks noChangeAspect="1"/>
          </p:cNvPicPr>
          <p:nvPr userDrawn="1"/>
        </p:nvPicPr>
        <p:blipFill rotWithShape="1">
          <a:blip r:embed="rId2"/>
          <a:srcRect t="19270" r="19270"/>
          <a:stretch/>
        </p:blipFill>
        <p:spPr>
          <a:xfrm>
            <a:off x="0" y="0"/>
            <a:ext cx="12192000" cy="6858000"/>
          </a:xfrm>
          <a:prstGeom prst="rect">
            <a:avLst/>
          </a:prstGeom>
        </p:spPr>
      </p:pic>
      <p:sp>
        <p:nvSpPr>
          <p:cNvPr id="8" name="Text Placeholder 7">
            <a:extLst>
              <a:ext uri="{FF2B5EF4-FFF2-40B4-BE49-F238E27FC236}">
                <a16:creationId xmlns:a16="http://schemas.microsoft.com/office/drawing/2014/main" id="{AC44A526-AA54-984C-ADF9-EDF39E204F3C}"/>
              </a:ext>
            </a:extLst>
          </p:cNvPr>
          <p:cNvSpPr>
            <a:spLocks noGrp="1"/>
          </p:cNvSpPr>
          <p:nvPr>
            <p:ph type="body" sz="quarter" idx="13" hasCustomPrompt="1"/>
          </p:nvPr>
        </p:nvSpPr>
        <p:spPr>
          <a:xfrm>
            <a:off x="592202" y="3692457"/>
            <a:ext cx="4675123" cy="1180708"/>
          </a:xfrm>
        </p:spPr>
        <p:txBody>
          <a:bodyPr wrap="square">
            <a:spAutoFit/>
          </a:bodyPr>
          <a:lstStyle>
            <a:lvl1pPr marL="0" indent="0">
              <a:lnSpc>
                <a:spcPct val="85000"/>
              </a:lnSpc>
              <a:spcAft>
                <a:spcPts val="0"/>
              </a:spcAft>
              <a:buNone/>
              <a:defRPr sz="3000" b="1" spc="0" baseline="0">
                <a:solidFill>
                  <a:schemeClr val="tx1"/>
                </a:solidFill>
              </a:defRPr>
            </a:lvl1pPr>
          </a:lstStyle>
          <a:p>
            <a:pPr lvl="0"/>
            <a:r>
              <a:rPr lang="en-US"/>
              <a:t>Title to be inserted here over three lines and </a:t>
            </a:r>
            <a:r>
              <a:rPr lang="en-US" err="1"/>
              <a:t>approx</a:t>
            </a:r>
            <a:r>
              <a:rPr lang="en-US"/>
              <a:t> 90 characters including spaces</a:t>
            </a:r>
          </a:p>
        </p:txBody>
      </p:sp>
      <p:sp>
        <p:nvSpPr>
          <p:cNvPr id="10" name="Text Placeholder 4">
            <a:extLst>
              <a:ext uri="{FF2B5EF4-FFF2-40B4-BE49-F238E27FC236}">
                <a16:creationId xmlns:a16="http://schemas.microsoft.com/office/drawing/2014/main" id="{7882D06F-B06A-F649-BD50-08D055AF2257}"/>
              </a:ext>
            </a:extLst>
          </p:cNvPr>
          <p:cNvSpPr>
            <a:spLocks noGrp="1"/>
          </p:cNvSpPr>
          <p:nvPr>
            <p:ph type="body" sz="quarter" idx="11" hasCustomPrompt="1"/>
          </p:nvPr>
        </p:nvSpPr>
        <p:spPr>
          <a:xfrm>
            <a:off x="590878" y="5352405"/>
            <a:ext cx="4676448" cy="748895"/>
          </a:xfrm>
        </p:spPr>
        <p:txBody>
          <a:bodyPr>
            <a:noAutofit/>
          </a:bodyPr>
          <a:lstStyle>
            <a:lvl1pPr marL="0" indent="0">
              <a:lnSpc>
                <a:spcPct val="85000"/>
              </a:lnSpc>
              <a:spcAft>
                <a:spcPts val="0"/>
              </a:spcAft>
              <a:buNone/>
              <a:defRPr sz="1400">
                <a:solidFill>
                  <a:schemeClr val="tx1"/>
                </a:solidFill>
              </a:defRPr>
            </a:lvl1pPr>
            <a:lvl2pPr marL="457189" indent="0">
              <a:buNone/>
              <a:defRPr/>
            </a:lvl2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a:t>
            </a:r>
            <a:r>
              <a:rPr lang="en-US" err="1"/>
              <a:t>elementum</a:t>
            </a:r>
            <a:r>
              <a:rPr lang="en-US"/>
              <a:t> </a:t>
            </a:r>
            <a:r>
              <a:rPr lang="en-US" err="1"/>
              <a:t>maecenas</a:t>
            </a:r>
            <a:r>
              <a:rPr lang="en-US"/>
              <a:t>.</a:t>
            </a:r>
          </a:p>
        </p:txBody>
      </p:sp>
      <p:sp>
        <p:nvSpPr>
          <p:cNvPr id="11" name="Text Placeholder 4">
            <a:extLst>
              <a:ext uri="{FF2B5EF4-FFF2-40B4-BE49-F238E27FC236}">
                <a16:creationId xmlns:a16="http://schemas.microsoft.com/office/drawing/2014/main" id="{0ADE469E-3E0A-A342-B561-0F05CC2901DA}"/>
              </a:ext>
            </a:extLst>
          </p:cNvPr>
          <p:cNvSpPr>
            <a:spLocks noGrp="1"/>
          </p:cNvSpPr>
          <p:nvPr>
            <p:ph type="body" sz="quarter" idx="15" hasCustomPrompt="1"/>
          </p:nvPr>
        </p:nvSpPr>
        <p:spPr>
          <a:xfrm>
            <a:off x="590877" y="3409439"/>
            <a:ext cx="4676448" cy="164775"/>
          </a:xfrm>
        </p:spPr>
        <p:txBody>
          <a:bodyPr>
            <a:noAutofit/>
          </a:bodyPr>
          <a:lstStyle>
            <a:lvl1pPr marL="0" indent="0">
              <a:lnSpc>
                <a:spcPct val="85000"/>
              </a:lnSpc>
              <a:spcAft>
                <a:spcPts val="0"/>
              </a:spcAft>
              <a:buNone/>
              <a:defRPr sz="1400" b="0">
                <a:solidFill>
                  <a:schemeClr val="tx1"/>
                </a:solidFill>
              </a:defRPr>
            </a:lvl1pPr>
            <a:lvl2pPr marL="457189" indent="0">
              <a:buNone/>
              <a:defRPr/>
            </a:lvl2pPr>
          </a:lstStyle>
          <a:p>
            <a:pPr lvl="0"/>
            <a:r>
              <a:rPr lang="en-IN">
                <a:effectLst/>
              </a:rPr>
              <a:t>Clarivate Consulting Services</a:t>
            </a:r>
            <a:endParaRPr lang="en-US"/>
          </a:p>
        </p:txBody>
      </p:sp>
      <p:sp>
        <p:nvSpPr>
          <p:cNvPr id="12" name="Text Placeholder 7">
            <a:extLst>
              <a:ext uri="{FF2B5EF4-FFF2-40B4-BE49-F238E27FC236}">
                <a16:creationId xmlns:a16="http://schemas.microsoft.com/office/drawing/2014/main" id="{1B447B35-3285-8D46-9AB2-26C2A8CA1EF0}"/>
              </a:ext>
            </a:extLst>
          </p:cNvPr>
          <p:cNvSpPr>
            <a:spLocks noGrp="1"/>
          </p:cNvSpPr>
          <p:nvPr>
            <p:ph type="body" sz="quarter" idx="16" hasCustomPrompt="1"/>
          </p:nvPr>
        </p:nvSpPr>
        <p:spPr>
          <a:xfrm>
            <a:off x="590878" y="6442421"/>
            <a:ext cx="1516062" cy="161925"/>
          </a:xfrm>
        </p:spPr>
        <p:txBody>
          <a:bodyPr/>
          <a:lstStyle>
            <a:lvl1pPr marL="0" indent="0">
              <a:buNone/>
              <a:defRPr sz="1000"/>
            </a:lvl1pPr>
            <a:lvl2pPr marL="182880" indent="0">
              <a:buNone/>
              <a:defRPr sz="1000"/>
            </a:lvl2pPr>
            <a:lvl3pPr marL="365760" indent="0">
              <a:buNone/>
              <a:defRPr sz="1000"/>
            </a:lvl3pPr>
            <a:lvl4pPr marL="548640" indent="0">
              <a:buNone/>
              <a:defRPr sz="1000"/>
            </a:lvl4pPr>
            <a:lvl5pPr marL="731520" indent="0">
              <a:buNone/>
              <a:defRPr sz="1000"/>
            </a:lvl5pPr>
          </a:lstStyle>
          <a:p>
            <a:pPr lvl="0"/>
            <a:r>
              <a:rPr lang="en-GB"/>
              <a:t>00 January</a:t>
            </a:r>
            <a:endParaRPr lang="en-US"/>
          </a:p>
        </p:txBody>
      </p:sp>
      <p:pic>
        <p:nvPicPr>
          <p:cNvPr id="13" name="Picture 12" descr="A close up of a flower&#10;&#10;Description automatically generated">
            <a:extLst>
              <a:ext uri="{FF2B5EF4-FFF2-40B4-BE49-F238E27FC236}">
                <a16:creationId xmlns:a16="http://schemas.microsoft.com/office/drawing/2014/main" id="{FE69F921-E732-FF4D-B194-838C54DBCFA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0222" y="267631"/>
            <a:ext cx="2006918" cy="600873"/>
          </a:xfrm>
          <a:prstGeom prst="rect">
            <a:avLst/>
          </a:prstGeom>
        </p:spPr>
      </p:pic>
    </p:spTree>
    <p:extLst>
      <p:ext uri="{BB962C8B-B14F-4D97-AF65-F5344CB8AC3E}">
        <p14:creationId xmlns:p14="http://schemas.microsoft.com/office/powerpoint/2010/main" val="1120031877"/>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9" name="Picture 8" descr="A picture containing iron, indoor, appliance, white&#10;&#10;Description automatically generated">
            <a:extLst>
              <a:ext uri="{FF2B5EF4-FFF2-40B4-BE49-F238E27FC236}">
                <a16:creationId xmlns:a16="http://schemas.microsoft.com/office/drawing/2014/main" id="{29B68BCB-20ED-F445-8DB4-A1BAE2BE5AA0}"/>
              </a:ext>
            </a:extLst>
          </p:cNvPr>
          <p:cNvPicPr>
            <a:picLocks noChangeAspect="1"/>
          </p:cNvPicPr>
          <p:nvPr userDrawn="1"/>
        </p:nvPicPr>
        <p:blipFill rotWithShape="1">
          <a:blip r:embed="rId2"/>
          <a:srcRect l="2095" t="7827" r="13561" b="7827"/>
          <a:stretch/>
        </p:blipFill>
        <p:spPr>
          <a:xfrm>
            <a:off x="0" y="0"/>
            <a:ext cx="12192000" cy="6858000"/>
          </a:xfrm>
          <a:prstGeom prst="rect">
            <a:avLst/>
          </a:prstGeom>
        </p:spPr>
      </p:pic>
      <p:sp>
        <p:nvSpPr>
          <p:cNvPr id="8" name="Text Placeholder 7">
            <a:extLst>
              <a:ext uri="{FF2B5EF4-FFF2-40B4-BE49-F238E27FC236}">
                <a16:creationId xmlns:a16="http://schemas.microsoft.com/office/drawing/2014/main" id="{0DEBA672-942E-7D44-B183-72924C718686}"/>
              </a:ext>
            </a:extLst>
          </p:cNvPr>
          <p:cNvSpPr>
            <a:spLocks noGrp="1"/>
          </p:cNvSpPr>
          <p:nvPr>
            <p:ph type="body" sz="quarter" idx="13" hasCustomPrompt="1"/>
          </p:nvPr>
        </p:nvSpPr>
        <p:spPr>
          <a:xfrm>
            <a:off x="592202" y="3692457"/>
            <a:ext cx="4675123" cy="1180708"/>
          </a:xfrm>
        </p:spPr>
        <p:txBody>
          <a:bodyPr wrap="square">
            <a:spAutoFit/>
          </a:bodyPr>
          <a:lstStyle>
            <a:lvl1pPr marL="0" indent="0">
              <a:lnSpc>
                <a:spcPct val="85000"/>
              </a:lnSpc>
              <a:spcAft>
                <a:spcPts val="0"/>
              </a:spcAft>
              <a:buNone/>
              <a:defRPr sz="3000" b="1" spc="0" baseline="0">
                <a:solidFill>
                  <a:schemeClr val="tx1"/>
                </a:solidFill>
              </a:defRPr>
            </a:lvl1pPr>
          </a:lstStyle>
          <a:p>
            <a:pPr lvl="0"/>
            <a:r>
              <a:rPr lang="en-US"/>
              <a:t>Title to be inserted here over three lines and </a:t>
            </a:r>
            <a:r>
              <a:rPr lang="en-US" err="1"/>
              <a:t>approx</a:t>
            </a:r>
            <a:r>
              <a:rPr lang="en-US"/>
              <a:t> 90 characters including spaces</a:t>
            </a:r>
          </a:p>
        </p:txBody>
      </p:sp>
      <p:sp>
        <p:nvSpPr>
          <p:cNvPr id="13" name="Text Placeholder 4">
            <a:extLst>
              <a:ext uri="{FF2B5EF4-FFF2-40B4-BE49-F238E27FC236}">
                <a16:creationId xmlns:a16="http://schemas.microsoft.com/office/drawing/2014/main" id="{E9EB396B-1AC8-2341-9751-8D63BD9BF1F7}"/>
              </a:ext>
            </a:extLst>
          </p:cNvPr>
          <p:cNvSpPr>
            <a:spLocks noGrp="1"/>
          </p:cNvSpPr>
          <p:nvPr>
            <p:ph type="body" sz="quarter" idx="11" hasCustomPrompt="1"/>
          </p:nvPr>
        </p:nvSpPr>
        <p:spPr>
          <a:xfrm>
            <a:off x="590878" y="5352405"/>
            <a:ext cx="4676448" cy="748895"/>
          </a:xfrm>
        </p:spPr>
        <p:txBody>
          <a:bodyPr>
            <a:noAutofit/>
          </a:bodyPr>
          <a:lstStyle>
            <a:lvl1pPr marL="0" indent="0">
              <a:lnSpc>
                <a:spcPct val="85000"/>
              </a:lnSpc>
              <a:spcAft>
                <a:spcPts val="0"/>
              </a:spcAft>
              <a:buNone/>
              <a:defRPr sz="1400">
                <a:solidFill>
                  <a:schemeClr val="tx1"/>
                </a:solidFill>
              </a:defRPr>
            </a:lvl1pPr>
            <a:lvl2pPr marL="457189" indent="0">
              <a:buNone/>
              <a:defRPr/>
            </a:lvl2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a:t>
            </a:r>
            <a:r>
              <a:rPr lang="en-US" err="1"/>
              <a:t>elementum</a:t>
            </a:r>
            <a:r>
              <a:rPr lang="en-US"/>
              <a:t> </a:t>
            </a:r>
            <a:r>
              <a:rPr lang="en-US" err="1"/>
              <a:t>maecenas</a:t>
            </a:r>
            <a:r>
              <a:rPr lang="en-US"/>
              <a:t>.</a:t>
            </a:r>
          </a:p>
        </p:txBody>
      </p:sp>
      <p:sp>
        <p:nvSpPr>
          <p:cNvPr id="15" name="Text Placeholder 4">
            <a:extLst>
              <a:ext uri="{FF2B5EF4-FFF2-40B4-BE49-F238E27FC236}">
                <a16:creationId xmlns:a16="http://schemas.microsoft.com/office/drawing/2014/main" id="{88B6E358-A4A4-8547-9232-BD02A9505D3F}"/>
              </a:ext>
            </a:extLst>
          </p:cNvPr>
          <p:cNvSpPr>
            <a:spLocks noGrp="1"/>
          </p:cNvSpPr>
          <p:nvPr>
            <p:ph type="body" sz="quarter" idx="15" hasCustomPrompt="1"/>
          </p:nvPr>
        </p:nvSpPr>
        <p:spPr>
          <a:xfrm>
            <a:off x="590877" y="3409439"/>
            <a:ext cx="4676448" cy="164775"/>
          </a:xfrm>
        </p:spPr>
        <p:txBody>
          <a:bodyPr>
            <a:noAutofit/>
          </a:bodyPr>
          <a:lstStyle>
            <a:lvl1pPr marL="0" indent="0">
              <a:lnSpc>
                <a:spcPct val="85000"/>
              </a:lnSpc>
              <a:spcAft>
                <a:spcPts val="0"/>
              </a:spcAft>
              <a:buNone/>
              <a:defRPr sz="1400" b="0">
                <a:solidFill>
                  <a:schemeClr val="tx1"/>
                </a:solidFill>
              </a:defRPr>
            </a:lvl1pPr>
            <a:lvl2pPr marL="457189" indent="0">
              <a:buNone/>
              <a:defRPr/>
            </a:lvl2pPr>
          </a:lstStyle>
          <a:p>
            <a:pPr lvl="0"/>
            <a:r>
              <a:rPr lang="en-IN">
                <a:effectLst/>
              </a:rPr>
              <a:t>Clarivate Consulting Services</a:t>
            </a:r>
            <a:endParaRPr lang="en-US"/>
          </a:p>
        </p:txBody>
      </p:sp>
      <p:sp>
        <p:nvSpPr>
          <p:cNvPr id="17" name="Text Placeholder 7">
            <a:extLst>
              <a:ext uri="{FF2B5EF4-FFF2-40B4-BE49-F238E27FC236}">
                <a16:creationId xmlns:a16="http://schemas.microsoft.com/office/drawing/2014/main" id="{2885C64F-31B1-F448-A026-BE3BA1B0F729}"/>
              </a:ext>
            </a:extLst>
          </p:cNvPr>
          <p:cNvSpPr>
            <a:spLocks noGrp="1"/>
          </p:cNvSpPr>
          <p:nvPr>
            <p:ph type="body" sz="quarter" idx="16" hasCustomPrompt="1"/>
          </p:nvPr>
        </p:nvSpPr>
        <p:spPr>
          <a:xfrm>
            <a:off x="590878" y="6442421"/>
            <a:ext cx="1516062" cy="161925"/>
          </a:xfrm>
        </p:spPr>
        <p:txBody>
          <a:bodyPr/>
          <a:lstStyle>
            <a:lvl1pPr marL="0" indent="0">
              <a:buNone/>
              <a:defRPr sz="1000"/>
            </a:lvl1pPr>
            <a:lvl2pPr marL="182880" indent="0">
              <a:buNone/>
              <a:defRPr sz="1000"/>
            </a:lvl2pPr>
            <a:lvl3pPr marL="365760" indent="0">
              <a:buNone/>
              <a:defRPr sz="1000"/>
            </a:lvl3pPr>
            <a:lvl4pPr marL="548640" indent="0">
              <a:buNone/>
              <a:defRPr sz="1000"/>
            </a:lvl4pPr>
            <a:lvl5pPr marL="731520" indent="0">
              <a:buNone/>
              <a:defRPr sz="1000"/>
            </a:lvl5pPr>
          </a:lstStyle>
          <a:p>
            <a:pPr lvl="0"/>
            <a:r>
              <a:rPr lang="en-GB"/>
              <a:t>00 January</a:t>
            </a:r>
            <a:endParaRPr lang="en-US"/>
          </a:p>
        </p:txBody>
      </p:sp>
      <p:pic>
        <p:nvPicPr>
          <p:cNvPr id="18" name="Picture 17" descr="A close up of a flower&#10;&#10;Description automatically generated">
            <a:extLst>
              <a:ext uri="{FF2B5EF4-FFF2-40B4-BE49-F238E27FC236}">
                <a16:creationId xmlns:a16="http://schemas.microsoft.com/office/drawing/2014/main" id="{71F1A23D-5D89-4847-AF5B-6048ABFBA11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0222" y="267631"/>
            <a:ext cx="2006918" cy="600873"/>
          </a:xfrm>
          <a:prstGeom prst="rect">
            <a:avLst/>
          </a:prstGeom>
        </p:spPr>
      </p:pic>
    </p:spTree>
    <p:extLst>
      <p:ext uri="{BB962C8B-B14F-4D97-AF65-F5344CB8AC3E}">
        <p14:creationId xmlns:p14="http://schemas.microsoft.com/office/powerpoint/2010/main" val="4238879483"/>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umbrella, white, holding, stool&#10;&#10;Description automatically generated">
            <a:extLst>
              <a:ext uri="{FF2B5EF4-FFF2-40B4-BE49-F238E27FC236}">
                <a16:creationId xmlns:a16="http://schemas.microsoft.com/office/drawing/2014/main" id="{A63896A6-D463-0842-B1CF-0818FC5B1CBA}"/>
              </a:ext>
            </a:extLst>
          </p:cNvPr>
          <p:cNvPicPr>
            <a:picLocks noChangeAspect="1"/>
          </p:cNvPicPr>
          <p:nvPr userDrawn="1"/>
        </p:nvPicPr>
        <p:blipFill rotWithShape="1">
          <a:blip r:embed="rId2"/>
          <a:srcRect t="10133" r="10133"/>
          <a:stretch/>
        </p:blipFill>
        <p:spPr>
          <a:xfrm>
            <a:off x="0" y="0"/>
            <a:ext cx="12192000" cy="6858000"/>
          </a:xfrm>
          <a:prstGeom prst="rect">
            <a:avLst/>
          </a:prstGeom>
        </p:spPr>
      </p:pic>
      <p:sp>
        <p:nvSpPr>
          <p:cNvPr id="8" name="Text Placeholder 7">
            <a:extLst>
              <a:ext uri="{FF2B5EF4-FFF2-40B4-BE49-F238E27FC236}">
                <a16:creationId xmlns:a16="http://schemas.microsoft.com/office/drawing/2014/main" id="{0EBA6461-A25E-474C-BD91-0EACED6B8E15}"/>
              </a:ext>
            </a:extLst>
          </p:cNvPr>
          <p:cNvSpPr>
            <a:spLocks noGrp="1"/>
          </p:cNvSpPr>
          <p:nvPr>
            <p:ph type="body" sz="quarter" idx="13" hasCustomPrompt="1"/>
          </p:nvPr>
        </p:nvSpPr>
        <p:spPr>
          <a:xfrm>
            <a:off x="592202" y="3692457"/>
            <a:ext cx="4675123" cy="1180708"/>
          </a:xfrm>
        </p:spPr>
        <p:txBody>
          <a:bodyPr wrap="square">
            <a:spAutoFit/>
          </a:bodyPr>
          <a:lstStyle>
            <a:lvl1pPr marL="0" indent="0">
              <a:lnSpc>
                <a:spcPct val="85000"/>
              </a:lnSpc>
              <a:spcAft>
                <a:spcPts val="0"/>
              </a:spcAft>
              <a:buNone/>
              <a:defRPr sz="3000" b="1" spc="0" baseline="0">
                <a:solidFill>
                  <a:schemeClr val="tx1"/>
                </a:solidFill>
              </a:defRPr>
            </a:lvl1pPr>
          </a:lstStyle>
          <a:p>
            <a:pPr lvl="0"/>
            <a:r>
              <a:rPr lang="en-US"/>
              <a:t>Title to be inserted here over three lines and </a:t>
            </a:r>
            <a:r>
              <a:rPr lang="en-US" err="1"/>
              <a:t>approx</a:t>
            </a:r>
            <a:r>
              <a:rPr lang="en-US"/>
              <a:t> 90 characters including spaces</a:t>
            </a:r>
          </a:p>
        </p:txBody>
      </p:sp>
      <p:sp>
        <p:nvSpPr>
          <p:cNvPr id="12" name="Text Placeholder 4">
            <a:extLst>
              <a:ext uri="{FF2B5EF4-FFF2-40B4-BE49-F238E27FC236}">
                <a16:creationId xmlns:a16="http://schemas.microsoft.com/office/drawing/2014/main" id="{D14C3B1A-48E7-2C47-815B-4FE2DE51A945}"/>
              </a:ext>
            </a:extLst>
          </p:cNvPr>
          <p:cNvSpPr>
            <a:spLocks noGrp="1"/>
          </p:cNvSpPr>
          <p:nvPr>
            <p:ph type="body" sz="quarter" idx="11" hasCustomPrompt="1"/>
          </p:nvPr>
        </p:nvSpPr>
        <p:spPr>
          <a:xfrm>
            <a:off x="590878" y="5352405"/>
            <a:ext cx="4676448" cy="748895"/>
          </a:xfrm>
        </p:spPr>
        <p:txBody>
          <a:bodyPr>
            <a:noAutofit/>
          </a:bodyPr>
          <a:lstStyle>
            <a:lvl1pPr marL="0" indent="0">
              <a:lnSpc>
                <a:spcPct val="85000"/>
              </a:lnSpc>
              <a:spcAft>
                <a:spcPts val="0"/>
              </a:spcAft>
              <a:buNone/>
              <a:defRPr sz="1400">
                <a:solidFill>
                  <a:schemeClr val="tx1"/>
                </a:solidFill>
              </a:defRPr>
            </a:lvl1pPr>
            <a:lvl2pPr marL="457189" indent="0">
              <a:buNone/>
              <a:defRPr/>
            </a:lvl2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a:t>
            </a:r>
            <a:r>
              <a:rPr lang="en-US" err="1"/>
              <a:t>elementum</a:t>
            </a:r>
            <a:r>
              <a:rPr lang="en-US"/>
              <a:t> </a:t>
            </a:r>
            <a:r>
              <a:rPr lang="en-US" err="1"/>
              <a:t>maecenas</a:t>
            </a:r>
            <a:r>
              <a:rPr lang="en-US"/>
              <a:t>.</a:t>
            </a:r>
          </a:p>
        </p:txBody>
      </p:sp>
      <p:sp>
        <p:nvSpPr>
          <p:cNvPr id="13" name="Text Placeholder 4">
            <a:extLst>
              <a:ext uri="{FF2B5EF4-FFF2-40B4-BE49-F238E27FC236}">
                <a16:creationId xmlns:a16="http://schemas.microsoft.com/office/drawing/2014/main" id="{EC67FC5D-2FE8-094B-9F94-EFD814E72F41}"/>
              </a:ext>
            </a:extLst>
          </p:cNvPr>
          <p:cNvSpPr>
            <a:spLocks noGrp="1"/>
          </p:cNvSpPr>
          <p:nvPr>
            <p:ph type="body" sz="quarter" idx="15" hasCustomPrompt="1"/>
          </p:nvPr>
        </p:nvSpPr>
        <p:spPr>
          <a:xfrm>
            <a:off x="590877" y="3409439"/>
            <a:ext cx="4676448" cy="164775"/>
          </a:xfrm>
        </p:spPr>
        <p:txBody>
          <a:bodyPr>
            <a:noAutofit/>
          </a:bodyPr>
          <a:lstStyle>
            <a:lvl1pPr marL="0" indent="0">
              <a:lnSpc>
                <a:spcPct val="85000"/>
              </a:lnSpc>
              <a:spcAft>
                <a:spcPts val="0"/>
              </a:spcAft>
              <a:buNone/>
              <a:defRPr sz="1400" b="0">
                <a:solidFill>
                  <a:schemeClr val="tx1"/>
                </a:solidFill>
              </a:defRPr>
            </a:lvl1pPr>
            <a:lvl2pPr marL="457189" indent="0">
              <a:buNone/>
              <a:defRPr/>
            </a:lvl2pPr>
          </a:lstStyle>
          <a:p>
            <a:pPr lvl="0"/>
            <a:r>
              <a:rPr lang="en-IN">
                <a:effectLst/>
              </a:rPr>
              <a:t>Clarivate Consulting Services</a:t>
            </a:r>
            <a:endParaRPr lang="en-US"/>
          </a:p>
        </p:txBody>
      </p:sp>
      <p:sp>
        <p:nvSpPr>
          <p:cNvPr id="14" name="Text Placeholder 7">
            <a:extLst>
              <a:ext uri="{FF2B5EF4-FFF2-40B4-BE49-F238E27FC236}">
                <a16:creationId xmlns:a16="http://schemas.microsoft.com/office/drawing/2014/main" id="{6C5D1737-161D-2840-987A-D42010CFDE80}"/>
              </a:ext>
            </a:extLst>
          </p:cNvPr>
          <p:cNvSpPr>
            <a:spLocks noGrp="1"/>
          </p:cNvSpPr>
          <p:nvPr>
            <p:ph type="body" sz="quarter" idx="16" hasCustomPrompt="1"/>
          </p:nvPr>
        </p:nvSpPr>
        <p:spPr>
          <a:xfrm>
            <a:off x="590878" y="6442421"/>
            <a:ext cx="1516062" cy="161925"/>
          </a:xfrm>
        </p:spPr>
        <p:txBody>
          <a:bodyPr/>
          <a:lstStyle>
            <a:lvl1pPr marL="0" indent="0">
              <a:buNone/>
              <a:defRPr sz="1000"/>
            </a:lvl1pPr>
            <a:lvl2pPr marL="182880" indent="0">
              <a:buNone/>
              <a:defRPr sz="1000"/>
            </a:lvl2pPr>
            <a:lvl3pPr marL="365760" indent="0">
              <a:buNone/>
              <a:defRPr sz="1000"/>
            </a:lvl3pPr>
            <a:lvl4pPr marL="548640" indent="0">
              <a:buNone/>
              <a:defRPr sz="1000"/>
            </a:lvl4pPr>
            <a:lvl5pPr marL="731520" indent="0">
              <a:buNone/>
              <a:defRPr sz="1000"/>
            </a:lvl5pPr>
          </a:lstStyle>
          <a:p>
            <a:pPr lvl="0"/>
            <a:r>
              <a:rPr lang="en-GB"/>
              <a:t>00 January</a:t>
            </a:r>
            <a:endParaRPr lang="en-US"/>
          </a:p>
        </p:txBody>
      </p:sp>
      <p:pic>
        <p:nvPicPr>
          <p:cNvPr id="15" name="Picture 14" descr="A close up of a flower&#10;&#10;Description automatically generated">
            <a:extLst>
              <a:ext uri="{FF2B5EF4-FFF2-40B4-BE49-F238E27FC236}">
                <a16:creationId xmlns:a16="http://schemas.microsoft.com/office/drawing/2014/main" id="{2709D602-BBD2-834A-BDB4-E779DB0B0CD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0222" y="267631"/>
            <a:ext cx="2006918" cy="600873"/>
          </a:xfrm>
          <a:prstGeom prst="rect">
            <a:avLst/>
          </a:prstGeom>
        </p:spPr>
      </p:pic>
    </p:spTree>
    <p:extLst>
      <p:ext uri="{BB962C8B-B14F-4D97-AF65-F5344CB8AC3E}">
        <p14:creationId xmlns:p14="http://schemas.microsoft.com/office/powerpoint/2010/main" val="4229444582"/>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indoor, sitting, white, cup&#10;&#10;Description automatically generated">
            <a:extLst>
              <a:ext uri="{FF2B5EF4-FFF2-40B4-BE49-F238E27FC236}">
                <a16:creationId xmlns:a16="http://schemas.microsoft.com/office/drawing/2014/main" id="{830763DA-AA90-BE40-9D4B-E629D916AB78}"/>
              </a:ext>
            </a:extLst>
          </p:cNvPr>
          <p:cNvPicPr>
            <a:picLocks noChangeAspect="1"/>
          </p:cNvPicPr>
          <p:nvPr userDrawn="1"/>
        </p:nvPicPr>
        <p:blipFill rotWithShape="1">
          <a:blip r:embed="rId2"/>
          <a:srcRect t="13018" r="13018"/>
          <a:stretch/>
        </p:blipFill>
        <p:spPr>
          <a:xfrm>
            <a:off x="0" y="0"/>
            <a:ext cx="12192000" cy="6858000"/>
          </a:xfrm>
          <a:prstGeom prst="rect">
            <a:avLst/>
          </a:prstGeom>
        </p:spPr>
      </p:pic>
      <p:sp>
        <p:nvSpPr>
          <p:cNvPr id="8" name="Text Placeholder 7">
            <a:extLst>
              <a:ext uri="{FF2B5EF4-FFF2-40B4-BE49-F238E27FC236}">
                <a16:creationId xmlns:a16="http://schemas.microsoft.com/office/drawing/2014/main" id="{EBB37BF8-BC3C-0645-9A00-F04184FF1B59}"/>
              </a:ext>
            </a:extLst>
          </p:cNvPr>
          <p:cNvSpPr>
            <a:spLocks noGrp="1"/>
          </p:cNvSpPr>
          <p:nvPr>
            <p:ph type="body" sz="quarter" idx="13" hasCustomPrompt="1"/>
          </p:nvPr>
        </p:nvSpPr>
        <p:spPr>
          <a:xfrm>
            <a:off x="592202" y="3692457"/>
            <a:ext cx="4675123" cy="1180708"/>
          </a:xfrm>
        </p:spPr>
        <p:txBody>
          <a:bodyPr wrap="square">
            <a:spAutoFit/>
          </a:bodyPr>
          <a:lstStyle>
            <a:lvl1pPr marL="0" indent="0">
              <a:lnSpc>
                <a:spcPct val="85000"/>
              </a:lnSpc>
              <a:spcAft>
                <a:spcPts val="0"/>
              </a:spcAft>
              <a:buNone/>
              <a:defRPr sz="3000" b="1" spc="0" baseline="0">
                <a:solidFill>
                  <a:schemeClr val="tx1"/>
                </a:solidFill>
              </a:defRPr>
            </a:lvl1pPr>
          </a:lstStyle>
          <a:p>
            <a:pPr lvl="0"/>
            <a:r>
              <a:rPr lang="en-US"/>
              <a:t>Title to be inserted here over three lines and </a:t>
            </a:r>
            <a:r>
              <a:rPr lang="en-US" err="1"/>
              <a:t>approx</a:t>
            </a:r>
            <a:r>
              <a:rPr lang="en-US"/>
              <a:t> 90 characters including spaces</a:t>
            </a:r>
          </a:p>
        </p:txBody>
      </p:sp>
      <p:sp>
        <p:nvSpPr>
          <p:cNvPr id="12" name="Text Placeholder 4">
            <a:extLst>
              <a:ext uri="{FF2B5EF4-FFF2-40B4-BE49-F238E27FC236}">
                <a16:creationId xmlns:a16="http://schemas.microsoft.com/office/drawing/2014/main" id="{1E4CF1BA-FF97-AB49-BE41-C3EC520EF800}"/>
              </a:ext>
            </a:extLst>
          </p:cNvPr>
          <p:cNvSpPr>
            <a:spLocks noGrp="1"/>
          </p:cNvSpPr>
          <p:nvPr>
            <p:ph type="body" sz="quarter" idx="11" hasCustomPrompt="1"/>
          </p:nvPr>
        </p:nvSpPr>
        <p:spPr>
          <a:xfrm>
            <a:off x="590878" y="5352405"/>
            <a:ext cx="4676448" cy="748895"/>
          </a:xfrm>
        </p:spPr>
        <p:txBody>
          <a:bodyPr>
            <a:noAutofit/>
          </a:bodyPr>
          <a:lstStyle>
            <a:lvl1pPr marL="0" indent="0">
              <a:lnSpc>
                <a:spcPct val="85000"/>
              </a:lnSpc>
              <a:spcAft>
                <a:spcPts val="0"/>
              </a:spcAft>
              <a:buNone/>
              <a:defRPr sz="1400">
                <a:solidFill>
                  <a:schemeClr val="tx1"/>
                </a:solidFill>
              </a:defRPr>
            </a:lvl1pPr>
            <a:lvl2pPr marL="457189" indent="0">
              <a:buNone/>
              <a:defRPr/>
            </a:lvl2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a:t>
            </a:r>
            <a:r>
              <a:rPr lang="en-US" err="1"/>
              <a:t>elementum</a:t>
            </a:r>
            <a:r>
              <a:rPr lang="en-US"/>
              <a:t> </a:t>
            </a:r>
            <a:r>
              <a:rPr lang="en-US" err="1"/>
              <a:t>maecenas</a:t>
            </a:r>
            <a:r>
              <a:rPr lang="en-US"/>
              <a:t>.</a:t>
            </a:r>
          </a:p>
        </p:txBody>
      </p:sp>
      <p:sp>
        <p:nvSpPr>
          <p:cNvPr id="13" name="Text Placeholder 4">
            <a:extLst>
              <a:ext uri="{FF2B5EF4-FFF2-40B4-BE49-F238E27FC236}">
                <a16:creationId xmlns:a16="http://schemas.microsoft.com/office/drawing/2014/main" id="{F792A500-BC49-EC41-ABAE-9E60EDFE5083}"/>
              </a:ext>
            </a:extLst>
          </p:cNvPr>
          <p:cNvSpPr>
            <a:spLocks noGrp="1"/>
          </p:cNvSpPr>
          <p:nvPr>
            <p:ph type="body" sz="quarter" idx="15" hasCustomPrompt="1"/>
          </p:nvPr>
        </p:nvSpPr>
        <p:spPr>
          <a:xfrm>
            <a:off x="590877" y="3409439"/>
            <a:ext cx="4676448" cy="164775"/>
          </a:xfrm>
        </p:spPr>
        <p:txBody>
          <a:bodyPr>
            <a:noAutofit/>
          </a:bodyPr>
          <a:lstStyle>
            <a:lvl1pPr marL="0" indent="0">
              <a:lnSpc>
                <a:spcPct val="85000"/>
              </a:lnSpc>
              <a:spcAft>
                <a:spcPts val="0"/>
              </a:spcAft>
              <a:buNone/>
              <a:defRPr sz="1400" b="0">
                <a:solidFill>
                  <a:schemeClr val="tx1"/>
                </a:solidFill>
              </a:defRPr>
            </a:lvl1pPr>
            <a:lvl2pPr marL="457189" indent="0">
              <a:buNone/>
              <a:defRPr/>
            </a:lvl2pPr>
          </a:lstStyle>
          <a:p>
            <a:pPr lvl="0"/>
            <a:r>
              <a:rPr lang="en-IN">
                <a:effectLst/>
              </a:rPr>
              <a:t>Clarivate Consulting Services</a:t>
            </a:r>
            <a:endParaRPr lang="en-US"/>
          </a:p>
        </p:txBody>
      </p:sp>
      <p:sp>
        <p:nvSpPr>
          <p:cNvPr id="14" name="Text Placeholder 7">
            <a:extLst>
              <a:ext uri="{FF2B5EF4-FFF2-40B4-BE49-F238E27FC236}">
                <a16:creationId xmlns:a16="http://schemas.microsoft.com/office/drawing/2014/main" id="{3BF6C7AE-CA55-424F-B6B2-CF1B1CDC1B5E}"/>
              </a:ext>
            </a:extLst>
          </p:cNvPr>
          <p:cNvSpPr>
            <a:spLocks noGrp="1"/>
          </p:cNvSpPr>
          <p:nvPr>
            <p:ph type="body" sz="quarter" idx="16" hasCustomPrompt="1"/>
          </p:nvPr>
        </p:nvSpPr>
        <p:spPr>
          <a:xfrm>
            <a:off x="590878" y="6442421"/>
            <a:ext cx="1516062" cy="161925"/>
          </a:xfrm>
        </p:spPr>
        <p:txBody>
          <a:bodyPr/>
          <a:lstStyle>
            <a:lvl1pPr marL="0" indent="0">
              <a:buNone/>
              <a:defRPr sz="1000"/>
            </a:lvl1pPr>
            <a:lvl2pPr marL="182880" indent="0">
              <a:buNone/>
              <a:defRPr sz="1000"/>
            </a:lvl2pPr>
            <a:lvl3pPr marL="365760" indent="0">
              <a:buNone/>
              <a:defRPr sz="1000"/>
            </a:lvl3pPr>
            <a:lvl4pPr marL="548640" indent="0">
              <a:buNone/>
              <a:defRPr sz="1000"/>
            </a:lvl4pPr>
            <a:lvl5pPr marL="731520" indent="0">
              <a:buNone/>
              <a:defRPr sz="1000"/>
            </a:lvl5pPr>
          </a:lstStyle>
          <a:p>
            <a:pPr lvl="0"/>
            <a:r>
              <a:rPr lang="en-GB"/>
              <a:t>00 January</a:t>
            </a:r>
            <a:endParaRPr lang="en-US"/>
          </a:p>
        </p:txBody>
      </p:sp>
      <p:pic>
        <p:nvPicPr>
          <p:cNvPr id="15" name="Picture 14" descr="A close up of a flower&#10;&#10;Description automatically generated">
            <a:extLst>
              <a:ext uri="{FF2B5EF4-FFF2-40B4-BE49-F238E27FC236}">
                <a16:creationId xmlns:a16="http://schemas.microsoft.com/office/drawing/2014/main" id="{5DBABA01-5BE0-F245-B88B-E785F5BCB61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0222" y="267631"/>
            <a:ext cx="2006918" cy="600873"/>
          </a:xfrm>
          <a:prstGeom prst="rect">
            <a:avLst/>
          </a:prstGeom>
        </p:spPr>
      </p:pic>
    </p:spTree>
    <p:extLst>
      <p:ext uri="{BB962C8B-B14F-4D97-AF65-F5344CB8AC3E}">
        <p14:creationId xmlns:p14="http://schemas.microsoft.com/office/powerpoint/2010/main" val="275805022"/>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white, laying, sitting, holding&#10;&#10;Description automatically generated">
            <a:extLst>
              <a:ext uri="{FF2B5EF4-FFF2-40B4-BE49-F238E27FC236}">
                <a16:creationId xmlns:a16="http://schemas.microsoft.com/office/drawing/2014/main" id="{1817003C-D643-6344-B23D-17D656602913}"/>
              </a:ext>
            </a:extLst>
          </p:cNvPr>
          <p:cNvPicPr>
            <a:picLocks noChangeAspect="1"/>
          </p:cNvPicPr>
          <p:nvPr userDrawn="1"/>
        </p:nvPicPr>
        <p:blipFill rotWithShape="1">
          <a:blip r:embed="rId2"/>
          <a:srcRect t="9816" r="9816"/>
          <a:stretch/>
        </p:blipFill>
        <p:spPr>
          <a:xfrm>
            <a:off x="0" y="0"/>
            <a:ext cx="12192000" cy="6858000"/>
          </a:xfrm>
          <a:prstGeom prst="rect">
            <a:avLst/>
          </a:prstGeom>
        </p:spPr>
      </p:pic>
      <p:sp>
        <p:nvSpPr>
          <p:cNvPr id="8" name="Text Placeholder 7">
            <a:extLst>
              <a:ext uri="{FF2B5EF4-FFF2-40B4-BE49-F238E27FC236}">
                <a16:creationId xmlns:a16="http://schemas.microsoft.com/office/drawing/2014/main" id="{E850EB5D-E3E4-2E4B-8819-89C6ECE19B1C}"/>
              </a:ext>
            </a:extLst>
          </p:cNvPr>
          <p:cNvSpPr>
            <a:spLocks noGrp="1"/>
          </p:cNvSpPr>
          <p:nvPr>
            <p:ph type="body" sz="quarter" idx="13" hasCustomPrompt="1"/>
          </p:nvPr>
        </p:nvSpPr>
        <p:spPr>
          <a:xfrm>
            <a:off x="592202" y="3692457"/>
            <a:ext cx="4675123" cy="1180708"/>
          </a:xfrm>
        </p:spPr>
        <p:txBody>
          <a:bodyPr wrap="square">
            <a:spAutoFit/>
          </a:bodyPr>
          <a:lstStyle>
            <a:lvl1pPr marL="0" indent="0">
              <a:lnSpc>
                <a:spcPct val="85000"/>
              </a:lnSpc>
              <a:spcAft>
                <a:spcPts val="0"/>
              </a:spcAft>
              <a:buNone/>
              <a:defRPr sz="3000" b="1" spc="0" baseline="0">
                <a:solidFill>
                  <a:schemeClr val="tx1"/>
                </a:solidFill>
              </a:defRPr>
            </a:lvl1pPr>
          </a:lstStyle>
          <a:p>
            <a:pPr lvl="0"/>
            <a:r>
              <a:rPr lang="en-US"/>
              <a:t>Title to be inserted here over three lines and </a:t>
            </a:r>
            <a:r>
              <a:rPr lang="en-US" err="1"/>
              <a:t>approx</a:t>
            </a:r>
            <a:r>
              <a:rPr lang="en-US"/>
              <a:t> 90 characters including spaces</a:t>
            </a:r>
          </a:p>
        </p:txBody>
      </p:sp>
      <p:sp>
        <p:nvSpPr>
          <p:cNvPr id="12" name="Text Placeholder 4">
            <a:extLst>
              <a:ext uri="{FF2B5EF4-FFF2-40B4-BE49-F238E27FC236}">
                <a16:creationId xmlns:a16="http://schemas.microsoft.com/office/drawing/2014/main" id="{F617692A-4D7C-C342-8209-7E2F25ED9052}"/>
              </a:ext>
            </a:extLst>
          </p:cNvPr>
          <p:cNvSpPr>
            <a:spLocks noGrp="1"/>
          </p:cNvSpPr>
          <p:nvPr>
            <p:ph type="body" sz="quarter" idx="11" hasCustomPrompt="1"/>
          </p:nvPr>
        </p:nvSpPr>
        <p:spPr>
          <a:xfrm>
            <a:off x="590878" y="5352405"/>
            <a:ext cx="4676448" cy="748895"/>
          </a:xfrm>
        </p:spPr>
        <p:txBody>
          <a:bodyPr>
            <a:noAutofit/>
          </a:bodyPr>
          <a:lstStyle>
            <a:lvl1pPr marL="0" indent="0">
              <a:lnSpc>
                <a:spcPct val="85000"/>
              </a:lnSpc>
              <a:spcAft>
                <a:spcPts val="0"/>
              </a:spcAft>
              <a:buNone/>
              <a:defRPr sz="1400">
                <a:solidFill>
                  <a:schemeClr val="tx1"/>
                </a:solidFill>
              </a:defRPr>
            </a:lvl1pPr>
            <a:lvl2pPr marL="457189" indent="0">
              <a:buNone/>
              <a:defRPr/>
            </a:lvl2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a:t>
            </a:r>
            <a:r>
              <a:rPr lang="en-US" err="1"/>
              <a:t>elementum</a:t>
            </a:r>
            <a:r>
              <a:rPr lang="en-US"/>
              <a:t> </a:t>
            </a:r>
            <a:r>
              <a:rPr lang="en-US" err="1"/>
              <a:t>maecenas</a:t>
            </a:r>
            <a:r>
              <a:rPr lang="en-US"/>
              <a:t>.</a:t>
            </a:r>
          </a:p>
        </p:txBody>
      </p:sp>
      <p:sp>
        <p:nvSpPr>
          <p:cNvPr id="13" name="Text Placeholder 4">
            <a:extLst>
              <a:ext uri="{FF2B5EF4-FFF2-40B4-BE49-F238E27FC236}">
                <a16:creationId xmlns:a16="http://schemas.microsoft.com/office/drawing/2014/main" id="{6D7D598E-A5D4-2149-B0A3-82CD06C0B091}"/>
              </a:ext>
            </a:extLst>
          </p:cNvPr>
          <p:cNvSpPr>
            <a:spLocks noGrp="1"/>
          </p:cNvSpPr>
          <p:nvPr>
            <p:ph type="body" sz="quarter" idx="15" hasCustomPrompt="1"/>
          </p:nvPr>
        </p:nvSpPr>
        <p:spPr>
          <a:xfrm>
            <a:off x="590877" y="3409439"/>
            <a:ext cx="4676448" cy="164775"/>
          </a:xfrm>
        </p:spPr>
        <p:txBody>
          <a:bodyPr>
            <a:noAutofit/>
          </a:bodyPr>
          <a:lstStyle>
            <a:lvl1pPr marL="0" indent="0">
              <a:lnSpc>
                <a:spcPct val="85000"/>
              </a:lnSpc>
              <a:spcAft>
                <a:spcPts val="0"/>
              </a:spcAft>
              <a:buNone/>
              <a:defRPr sz="1400" b="0">
                <a:solidFill>
                  <a:schemeClr val="tx1"/>
                </a:solidFill>
              </a:defRPr>
            </a:lvl1pPr>
            <a:lvl2pPr marL="457189" indent="0">
              <a:buNone/>
              <a:defRPr/>
            </a:lvl2pPr>
          </a:lstStyle>
          <a:p>
            <a:pPr lvl="0"/>
            <a:r>
              <a:rPr lang="en-IN">
                <a:effectLst/>
              </a:rPr>
              <a:t>Clarivate Consulting Services</a:t>
            </a:r>
            <a:endParaRPr lang="en-US"/>
          </a:p>
        </p:txBody>
      </p:sp>
      <p:sp>
        <p:nvSpPr>
          <p:cNvPr id="14" name="Text Placeholder 7">
            <a:extLst>
              <a:ext uri="{FF2B5EF4-FFF2-40B4-BE49-F238E27FC236}">
                <a16:creationId xmlns:a16="http://schemas.microsoft.com/office/drawing/2014/main" id="{E535AB32-B6E2-8B48-B76F-794D8CF4753A}"/>
              </a:ext>
            </a:extLst>
          </p:cNvPr>
          <p:cNvSpPr>
            <a:spLocks noGrp="1"/>
          </p:cNvSpPr>
          <p:nvPr>
            <p:ph type="body" sz="quarter" idx="16" hasCustomPrompt="1"/>
          </p:nvPr>
        </p:nvSpPr>
        <p:spPr>
          <a:xfrm>
            <a:off x="590878" y="6442421"/>
            <a:ext cx="1516062" cy="161925"/>
          </a:xfrm>
        </p:spPr>
        <p:txBody>
          <a:bodyPr/>
          <a:lstStyle>
            <a:lvl1pPr marL="0" indent="0">
              <a:buNone/>
              <a:defRPr sz="1000"/>
            </a:lvl1pPr>
            <a:lvl2pPr marL="182880" indent="0">
              <a:buNone/>
              <a:defRPr sz="1000"/>
            </a:lvl2pPr>
            <a:lvl3pPr marL="365760" indent="0">
              <a:buNone/>
              <a:defRPr sz="1000"/>
            </a:lvl3pPr>
            <a:lvl4pPr marL="548640" indent="0">
              <a:buNone/>
              <a:defRPr sz="1000"/>
            </a:lvl4pPr>
            <a:lvl5pPr marL="731520" indent="0">
              <a:buNone/>
              <a:defRPr sz="1000"/>
            </a:lvl5pPr>
          </a:lstStyle>
          <a:p>
            <a:pPr lvl="0"/>
            <a:r>
              <a:rPr lang="en-GB"/>
              <a:t>00 January</a:t>
            </a:r>
            <a:endParaRPr lang="en-US"/>
          </a:p>
        </p:txBody>
      </p:sp>
      <p:pic>
        <p:nvPicPr>
          <p:cNvPr id="15" name="Picture 14" descr="A close up of a flower&#10;&#10;Description automatically generated">
            <a:extLst>
              <a:ext uri="{FF2B5EF4-FFF2-40B4-BE49-F238E27FC236}">
                <a16:creationId xmlns:a16="http://schemas.microsoft.com/office/drawing/2014/main" id="{439497FB-FFEA-8947-BEA0-602362D8B24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0222" y="267631"/>
            <a:ext cx="2006918" cy="600873"/>
          </a:xfrm>
          <a:prstGeom prst="rect">
            <a:avLst/>
          </a:prstGeom>
        </p:spPr>
      </p:pic>
    </p:spTree>
    <p:extLst>
      <p:ext uri="{BB962C8B-B14F-4D97-AF65-F5344CB8AC3E}">
        <p14:creationId xmlns:p14="http://schemas.microsoft.com/office/powerpoint/2010/main" val="341591743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iron, toothbrush, sitting, white&#10;&#10;Description automatically generated">
            <a:extLst>
              <a:ext uri="{FF2B5EF4-FFF2-40B4-BE49-F238E27FC236}">
                <a16:creationId xmlns:a16="http://schemas.microsoft.com/office/drawing/2014/main" id="{BCDE52C6-F876-BA43-8C32-DA921FF5A0F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Text Placeholder 7">
            <a:extLst>
              <a:ext uri="{FF2B5EF4-FFF2-40B4-BE49-F238E27FC236}">
                <a16:creationId xmlns:a16="http://schemas.microsoft.com/office/drawing/2014/main" id="{EB59683A-28D0-8345-B5C7-9A9F45E7CD97}"/>
              </a:ext>
            </a:extLst>
          </p:cNvPr>
          <p:cNvSpPr>
            <a:spLocks noGrp="1"/>
          </p:cNvSpPr>
          <p:nvPr>
            <p:ph type="body" sz="quarter" idx="13" hasCustomPrompt="1"/>
          </p:nvPr>
        </p:nvSpPr>
        <p:spPr>
          <a:xfrm>
            <a:off x="592202" y="3692457"/>
            <a:ext cx="4675123" cy="1180708"/>
          </a:xfrm>
        </p:spPr>
        <p:txBody>
          <a:bodyPr wrap="square">
            <a:spAutoFit/>
          </a:bodyPr>
          <a:lstStyle>
            <a:lvl1pPr marL="0" indent="0">
              <a:lnSpc>
                <a:spcPct val="85000"/>
              </a:lnSpc>
              <a:spcAft>
                <a:spcPts val="0"/>
              </a:spcAft>
              <a:buNone/>
              <a:defRPr sz="3000" b="1" spc="0" baseline="0">
                <a:solidFill>
                  <a:schemeClr val="tx1"/>
                </a:solidFill>
              </a:defRPr>
            </a:lvl1pPr>
          </a:lstStyle>
          <a:p>
            <a:pPr lvl="0"/>
            <a:r>
              <a:rPr lang="en-US"/>
              <a:t>Title to be inserted here over three lines and </a:t>
            </a:r>
            <a:r>
              <a:rPr lang="en-US" err="1"/>
              <a:t>approx</a:t>
            </a:r>
            <a:r>
              <a:rPr lang="en-US"/>
              <a:t> 90 characters including spaces</a:t>
            </a:r>
          </a:p>
        </p:txBody>
      </p:sp>
      <p:sp>
        <p:nvSpPr>
          <p:cNvPr id="12" name="Text Placeholder 4">
            <a:extLst>
              <a:ext uri="{FF2B5EF4-FFF2-40B4-BE49-F238E27FC236}">
                <a16:creationId xmlns:a16="http://schemas.microsoft.com/office/drawing/2014/main" id="{4143AA74-0098-0D43-9B14-47E022AF66C1}"/>
              </a:ext>
            </a:extLst>
          </p:cNvPr>
          <p:cNvSpPr>
            <a:spLocks noGrp="1"/>
          </p:cNvSpPr>
          <p:nvPr>
            <p:ph type="body" sz="quarter" idx="11" hasCustomPrompt="1"/>
          </p:nvPr>
        </p:nvSpPr>
        <p:spPr>
          <a:xfrm>
            <a:off x="590878" y="5352405"/>
            <a:ext cx="4676448" cy="748895"/>
          </a:xfrm>
        </p:spPr>
        <p:txBody>
          <a:bodyPr>
            <a:noAutofit/>
          </a:bodyPr>
          <a:lstStyle>
            <a:lvl1pPr marL="0" indent="0">
              <a:lnSpc>
                <a:spcPct val="85000"/>
              </a:lnSpc>
              <a:spcAft>
                <a:spcPts val="0"/>
              </a:spcAft>
              <a:buNone/>
              <a:defRPr sz="1400">
                <a:solidFill>
                  <a:schemeClr val="tx1"/>
                </a:solidFill>
              </a:defRPr>
            </a:lvl1pPr>
            <a:lvl2pPr marL="457189" indent="0">
              <a:buNone/>
              <a:defRPr/>
            </a:lvl2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a:t>
            </a:r>
            <a:r>
              <a:rPr lang="en-US" err="1"/>
              <a:t>elementum</a:t>
            </a:r>
            <a:r>
              <a:rPr lang="en-US"/>
              <a:t> </a:t>
            </a:r>
            <a:r>
              <a:rPr lang="en-US" err="1"/>
              <a:t>maecenas</a:t>
            </a:r>
            <a:r>
              <a:rPr lang="en-US"/>
              <a:t>.</a:t>
            </a:r>
          </a:p>
        </p:txBody>
      </p:sp>
      <p:sp>
        <p:nvSpPr>
          <p:cNvPr id="13" name="Text Placeholder 4">
            <a:extLst>
              <a:ext uri="{FF2B5EF4-FFF2-40B4-BE49-F238E27FC236}">
                <a16:creationId xmlns:a16="http://schemas.microsoft.com/office/drawing/2014/main" id="{E20A0CDA-9AE7-1A4C-B3F7-EFF4519C868F}"/>
              </a:ext>
            </a:extLst>
          </p:cNvPr>
          <p:cNvSpPr>
            <a:spLocks noGrp="1"/>
          </p:cNvSpPr>
          <p:nvPr>
            <p:ph type="body" sz="quarter" idx="15" hasCustomPrompt="1"/>
          </p:nvPr>
        </p:nvSpPr>
        <p:spPr>
          <a:xfrm>
            <a:off x="590877" y="3409439"/>
            <a:ext cx="4676448" cy="164775"/>
          </a:xfrm>
        </p:spPr>
        <p:txBody>
          <a:bodyPr>
            <a:noAutofit/>
          </a:bodyPr>
          <a:lstStyle>
            <a:lvl1pPr marL="0" indent="0">
              <a:lnSpc>
                <a:spcPct val="85000"/>
              </a:lnSpc>
              <a:spcAft>
                <a:spcPts val="0"/>
              </a:spcAft>
              <a:buNone/>
              <a:defRPr sz="1400" b="0">
                <a:solidFill>
                  <a:schemeClr val="tx1"/>
                </a:solidFill>
              </a:defRPr>
            </a:lvl1pPr>
            <a:lvl2pPr marL="457189" indent="0">
              <a:buNone/>
              <a:defRPr/>
            </a:lvl2pPr>
          </a:lstStyle>
          <a:p>
            <a:pPr lvl="0"/>
            <a:r>
              <a:rPr lang="en-IN">
                <a:effectLst/>
              </a:rPr>
              <a:t>Clarivate Consulting Services</a:t>
            </a:r>
            <a:endParaRPr lang="en-US"/>
          </a:p>
        </p:txBody>
      </p:sp>
      <p:sp>
        <p:nvSpPr>
          <p:cNvPr id="14" name="Text Placeholder 7">
            <a:extLst>
              <a:ext uri="{FF2B5EF4-FFF2-40B4-BE49-F238E27FC236}">
                <a16:creationId xmlns:a16="http://schemas.microsoft.com/office/drawing/2014/main" id="{E606F64A-EA73-ED49-B520-F8B83233945D}"/>
              </a:ext>
            </a:extLst>
          </p:cNvPr>
          <p:cNvSpPr>
            <a:spLocks noGrp="1"/>
          </p:cNvSpPr>
          <p:nvPr>
            <p:ph type="body" sz="quarter" idx="16" hasCustomPrompt="1"/>
          </p:nvPr>
        </p:nvSpPr>
        <p:spPr>
          <a:xfrm>
            <a:off x="590878" y="6442421"/>
            <a:ext cx="1516062" cy="161925"/>
          </a:xfrm>
        </p:spPr>
        <p:txBody>
          <a:bodyPr/>
          <a:lstStyle>
            <a:lvl1pPr marL="0" indent="0">
              <a:buNone/>
              <a:defRPr sz="1000"/>
            </a:lvl1pPr>
            <a:lvl2pPr marL="182880" indent="0">
              <a:buNone/>
              <a:defRPr sz="1000"/>
            </a:lvl2pPr>
            <a:lvl3pPr marL="365760" indent="0">
              <a:buNone/>
              <a:defRPr sz="1000"/>
            </a:lvl3pPr>
            <a:lvl4pPr marL="548640" indent="0">
              <a:buNone/>
              <a:defRPr sz="1000"/>
            </a:lvl4pPr>
            <a:lvl5pPr marL="731520" indent="0">
              <a:buNone/>
              <a:defRPr sz="1000"/>
            </a:lvl5pPr>
          </a:lstStyle>
          <a:p>
            <a:pPr lvl="0"/>
            <a:r>
              <a:rPr lang="en-GB"/>
              <a:t>00 January</a:t>
            </a:r>
            <a:endParaRPr lang="en-US"/>
          </a:p>
        </p:txBody>
      </p:sp>
      <p:pic>
        <p:nvPicPr>
          <p:cNvPr id="15" name="Picture 14" descr="A close up of a flower&#10;&#10;Description automatically generated">
            <a:extLst>
              <a:ext uri="{FF2B5EF4-FFF2-40B4-BE49-F238E27FC236}">
                <a16:creationId xmlns:a16="http://schemas.microsoft.com/office/drawing/2014/main" id="{18680492-9E15-C142-B30D-EA9ABACB398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0222" y="267631"/>
            <a:ext cx="2006918" cy="600873"/>
          </a:xfrm>
          <a:prstGeom prst="rect">
            <a:avLst/>
          </a:prstGeom>
        </p:spPr>
      </p:pic>
    </p:spTree>
    <p:extLst>
      <p:ext uri="{BB962C8B-B14F-4D97-AF65-F5344CB8AC3E}">
        <p14:creationId xmlns:p14="http://schemas.microsoft.com/office/powerpoint/2010/main" val="902660988"/>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TOC gray">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A27AE02-820B-2942-BDE7-A723A06A451C}"/>
              </a:ext>
            </a:extLst>
          </p:cNvPr>
          <p:cNvSpPr/>
          <p:nvPr/>
        </p:nvSpPr>
        <p:spPr>
          <a:xfrm>
            <a:off x="2459038" y="404814"/>
            <a:ext cx="9732962" cy="6453186"/>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1" name="Title 1">
            <a:extLst>
              <a:ext uri="{FF2B5EF4-FFF2-40B4-BE49-F238E27FC236}">
                <a16:creationId xmlns:a16="http://schemas.microsoft.com/office/drawing/2014/main" id="{0F161D65-15AB-2646-A22F-A7338D7511FA}"/>
              </a:ext>
            </a:extLst>
          </p:cNvPr>
          <p:cNvSpPr>
            <a:spLocks noGrp="1"/>
          </p:cNvSpPr>
          <p:nvPr>
            <p:ph type="title" hasCustomPrompt="1"/>
          </p:nvPr>
        </p:nvSpPr>
        <p:spPr>
          <a:xfrm>
            <a:off x="587375" y="812799"/>
            <a:ext cx="1692274" cy="722313"/>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Agenda</a:t>
            </a:r>
            <a:endParaRPr lang="en-GB"/>
          </a:p>
        </p:txBody>
      </p:sp>
      <p:sp>
        <p:nvSpPr>
          <p:cNvPr id="2" name="Footer Placeholder 1">
            <a:extLst>
              <a:ext uri="{FF2B5EF4-FFF2-40B4-BE49-F238E27FC236}">
                <a16:creationId xmlns:a16="http://schemas.microsoft.com/office/drawing/2014/main" id="{35D2B8B0-1BCB-734C-80C0-54019DF6EE51}"/>
              </a:ext>
            </a:extLst>
          </p:cNvPr>
          <p:cNvSpPr>
            <a:spLocks noGrp="1"/>
          </p:cNvSpPr>
          <p:nvPr>
            <p:ph type="ftr" sz="quarter" idx="31"/>
          </p:nvPr>
        </p:nvSpPr>
        <p:spPr/>
        <p:txBody>
          <a:bodyPr/>
          <a:lstStyle/>
          <a:p>
            <a:endParaRPr lang="en-GB"/>
          </a:p>
        </p:txBody>
      </p:sp>
      <p:sp>
        <p:nvSpPr>
          <p:cNvPr id="3" name="Slide Number Placeholder 2">
            <a:extLst>
              <a:ext uri="{FF2B5EF4-FFF2-40B4-BE49-F238E27FC236}">
                <a16:creationId xmlns:a16="http://schemas.microsoft.com/office/drawing/2014/main" id="{A7466154-E08D-1349-9D9D-9210FDE20B48}"/>
              </a:ext>
            </a:extLst>
          </p:cNvPr>
          <p:cNvSpPr>
            <a:spLocks noGrp="1"/>
          </p:cNvSpPr>
          <p:nvPr>
            <p:ph type="sldNum" sz="quarter" idx="32"/>
          </p:nvPr>
        </p:nvSpPr>
        <p:spPr/>
        <p:txBody>
          <a:bodyPr/>
          <a:lstStyle/>
          <a:p>
            <a:fld id="{F18EFF25-22D3-7349-97D6-73D11F9E5B0D}" type="slidenum">
              <a:rPr lang="en-GB" smtClean="0"/>
              <a:pPr/>
              <a:t>‹#›</a:t>
            </a:fld>
            <a:endParaRPr lang="en-GB"/>
          </a:p>
        </p:txBody>
      </p:sp>
      <p:sp>
        <p:nvSpPr>
          <p:cNvPr id="9" name="Text Placeholder 13">
            <a:extLst>
              <a:ext uri="{FF2B5EF4-FFF2-40B4-BE49-F238E27FC236}">
                <a16:creationId xmlns:a16="http://schemas.microsoft.com/office/drawing/2014/main" id="{D7F65E76-B9D9-CC4F-8906-03266A9E6649}"/>
              </a:ext>
            </a:extLst>
          </p:cNvPr>
          <p:cNvSpPr>
            <a:spLocks noGrp="1"/>
          </p:cNvSpPr>
          <p:nvPr>
            <p:ph type="body" sz="quarter" idx="30" hasCustomPrompt="1"/>
          </p:nvPr>
        </p:nvSpPr>
        <p:spPr>
          <a:xfrm>
            <a:off x="3395664" y="1535113"/>
            <a:ext cx="3939801" cy="4560887"/>
          </a:xfrm>
        </p:spPr>
        <p:txBody>
          <a:bodyPr>
            <a:noAutofit/>
          </a:bodyPr>
          <a:lstStyle>
            <a:lvl1pPr marL="406400" indent="-406400">
              <a:lnSpc>
                <a:spcPct val="100000"/>
              </a:lnSpc>
              <a:spcBef>
                <a:spcPts val="0"/>
              </a:spcBef>
              <a:spcAft>
                <a:spcPts val="0"/>
              </a:spcAft>
              <a:buClr>
                <a:schemeClr val="tx1"/>
              </a:buClr>
              <a:buFont typeface="+mj-lt"/>
              <a:buAutoNum type="arabicPeriod"/>
              <a:tabLst/>
              <a:defRPr sz="2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ection</a:t>
            </a:r>
          </a:p>
          <a:p>
            <a:pPr lvl="0"/>
            <a:endParaRPr lang="en-US"/>
          </a:p>
          <a:p>
            <a:pPr lvl="0"/>
            <a:r>
              <a:rPr lang="en-US"/>
              <a:t>Section</a:t>
            </a:r>
            <a:endParaRPr lang="en-GB"/>
          </a:p>
        </p:txBody>
      </p:sp>
      <p:sp>
        <p:nvSpPr>
          <p:cNvPr id="10" name="Text Placeholder 13">
            <a:extLst>
              <a:ext uri="{FF2B5EF4-FFF2-40B4-BE49-F238E27FC236}">
                <a16:creationId xmlns:a16="http://schemas.microsoft.com/office/drawing/2014/main" id="{EF9965E2-76D8-FE4C-8046-075B769E5BBE}"/>
              </a:ext>
            </a:extLst>
          </p:cNvPr>
          <p:cNvSpPr>
            <a:spLocks noGrp="1"/>
          </p:cNvSpPr>
          <p:nvPr>
            <p:ph type="body" sz="quarter" idx="33" hasCustomPrompt="1"/>
          </p:nvPr>
        </p:nvSpPr>
        <p:spPr>
          <a:xfrm>
            <a:off x="7664824" y="1535112"/>
            <a:ext cx="3939801" cy="4560887"/>
          </a:xfrm>
        </p:spPr>
        <p:txBody>
          <a:bodyPr>
            <a:noAutofit/>
          </a:bodyPr>
          <a:lstStyle>
            <a:lvl1pPr marL="406400" indent="-406400">
              <a:lnSpc>
                <a:spcPct val="100000"/>
              </a:lnSpc>
              <a:spcBef>
                <a:spcPts val="0"/>
              </a:spcBef>
              <a:spcAft>
                <a:spcPts val="0"/>
              </a:spcAft>
              <a:buClr>
                <a:schemeClr val="tx1"/>
              </a:buClr>
              <a:buFont typeface="+mj-lt"/>
              <a:buAutoNum type="arabicPeriod"/>
              <a:tabLst/>
              <a:defRPr sz="2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peaker</a:t>
            </a:r>
          </a:p>
          <a:p>
            <a:pPr lvl="0"/>
            <a:endParaRPr lang="en-US"/>
          </a:p>
          <a:p>
            <a:pPr lvl="0"/>
            <a:r>
              <a:rPr lang="en-US"/>
              <a:t>Speaker</a:t>
            </a:r>
            <a:endParaRPr lang="en-GB"/>
          </a:p>
        </p:txBody>
      </p:sp>
    </p:spTree>
    <p:extLst>
      <p:ext uri="{BB962C8B-B14F-4D97-AF65-F5344CB8AC3E}">
        <p14:creationId xmlns:p14="http://schemas.microsoft.com/office/powerpoint/2010/main" val="361824022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genda TOC purpl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2459038" y="404814"/>
            <a:ext cx="9732962" cy="64531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7" name="Title 1">
            <a:extLst>
              <a:ext uri="{FF2B5EF4-FFF2-40B4-BE49-F238E27FC236}">
                <a16:creationId xmlns:a16="http://schemas.microsoft.com/office/drawing/2014/main" id="{BC23F402-CC9D-E740-ABAF-E98ED37A035A}"/>
              </a:ext>
            </a:extLst>
          </p:cNvPr>
          <p:cNvSpPr>
            <a:spLocks noGrp="1"/>
          </p:cNvSpPr>
          <p:nvPr>
            <p:ph type="title" hasCustomPrompt="1"/>
          </p:nvPr>
        </p:nvSpPr>
        <p:spPr>
          <a:xfrm>
            <a:off x="587375" y="812799"/>
            <a:ext cx="1692274" cy="722313"/>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Table of contents</a:t>
            </a:r>
            <a:endParaRPr lang="en-GB"/>
          </a:p>
        </p:txBody>
      </p:sp>
      <p:sp>
        <p:nvSpPr>
          <p:cNvPr id="2" name="Footer Placeholder 1">
            <a:extLst>
              <a:ext uri="{FF2B5EF4-FFF2-40B4-BE49-F238E27FC236}">
                <a16:creationId xmlns:a16="http://schemas.microsoft.com/office/drawing/2014/main" id="{0C2EA07B-950E-B243-A708-CDE845703D07}"/>
              </a:ext>
            </a:extLst>
          </p:cNvPr>
          <p:cNvSpPr>
            <a:spLocks noGrp="1"/>
          </p:cNvSpPr>
          <p:nvPr>
            <p:ph type="ftr" sz="quarter" idx="31"/>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3BF99341-2E77-6D40-98A3-DF6C7ACA577B}"/>
              </a:ext>
            </a:extLst>
          </p:cNvPr>
          <p:cNvSpPr>
            <a:spLocks noGrp="1"/>
          </p:cNvSpPr>
          <p:nvPr>
            <p:ph type="sldNum" sz="quarter" idx="32"/>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9" name="Text Placeholder 13">
            <a:extLst>
              <a:ext uri="{FF2B5EF4-FFF2-40B4-BE49-F238E27FC236}">
                <a16:creationId xmlns:a16="http://schemas.microsoft.com/office/drawing/2014/main" id="{E6938025-BD21-4A44-86A2-8FA956FB5F2D}"/>
              </a:ext>
            </a:extLst>
          </p:cNvPr>
          <p:cNvSpPr>
            <a:spLocks noGrp="1"/>
          </p:cNvSpPr>
          <p:nvPr>
            <p:ph type="body" sz="quarter" idx="30" hasCustomPrompt="1"/>
          </p:nvPr>
        </p:nvSpPr>
        <p:spPr>
          <a:xfrm>
            <a:off x="3395664" y="1535113"/>
            <a:ext cx="3939801" cy="4560887"/>
          </a:xfrm>
        </p:spPr>
        <p:txBody>
          <a:bodyPr>
            <a:noAutofit/>
          </a:bodyPr>
          <a:lstStyle>
            <a:lvl1pPr marL="406400" indent="-406400">
              <a:lnSpc>
                <a:spcPct val="100000"/>
              </a:lnSpc>
              <a:spcBef>
                <a:spcPts val="0"/>
              </a:spcBef>
              <a:spcAft>
                <a:spcPts val="0"/>
              </a:spcAft>
              <a:buClr>
                <a:schemeClr val="bg1"/>
              </a:buClr>
              <a:buFont typeface="+mj-lt"/>
              <a:buAutoNum type="arabicPeriod"/>
              <a:tabLst/>
              <a:defRPr sz="2000">
                <a:solidFill>
                  <a:schemeClr val="bg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ection</a:t>
            </a:r>
          </a:p>
          <a:p>
            <a:pPr lvl="0"/>
            <a:endParaRPr lang="en-US"/>
          </a:p>
          <a:p>
            <a:pPr lvl="0"/>
            <a:r>
              <a:rPr lang="en-US"/>
              <a:t>Section</a:t>
            </a:r>
            <a:endParaRPr lang="en-GB"/>
          </a:p>
        </p:txBody>
      </p:sp>
      <p:sp>
        <p:nvSpPr>
          <p:cNvPr id="13" name="Text Placeholder 13">
            <a:extLst>
              <a:ext uri="{FF2B5EF4-FFF2-40B4-BE49-F238E27FC236}">
                <a16:creationId xmlns:a16="http://schemas.microsoft.com/office/drawing/2014/main" id="{72657177-7861-1849-92B3-93D8E8A11460}"/>
              </a:ext>
            </a:extLst>
          </p:cNvPr>
          <p:cNvSpPr>
            <a:spLocks noGrp="1"/>
          </p:cNvSpPr>
          <p:nvPr>
            <p:ph type="body" sz="quarter" idx="33" hasCustomPrompt="1"/>
          </p:nvPr>
        </p:nvSpPr>
        <p:spPr>
          <a:xfrm>
            <a:off x="7664824" y="1535112"/>
            <a:ext cx="3939801" cy="4560887"/>
          </a:xfrm>
        </p:spPr>
        <p:txBody>
          <a:bodyPr>
            <a:noAutofit/>
          </a:bodyPr>
          <a:lstStyle>
            <a:lvl1pPr marL="406400" indent="-406400">
              <a:lnSpc>
                <a:spcPct val="100000"/>
              </a:lnSpc>
              <a:spcBef>
                <a:spcPts val="0"/>
              </a:spcBef>
              <a:spcAft>
                <a:spcPts val="0"/>
              </a:spcAft>
              <a:buClr>
                <a:schemeClr val="bg1"/>
              </a:buClr>
              <a:buFont typeface="+mj-lt"/>
              <a:buAutoNum type="arabicPeriod"/>
              <a:tabLst/>
              <a:defRPr sz="2000">
                <a:solidFill>
                  <a:schemeClr val="bg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peaker</a:t>
            </a:r>
          </a:p>
          <a:p>
            <a:pPr lvl="0"/>
            <a:endParaRPr lang="en-US"/>
          </a:p>
          <a:p>
            <a:pPr lvl="0"/>
            <a:r>
              <a:rPr lang="en-US"/>
              <a:t>Speaker</a:t>
            </a:r>
            <a:endParaRPr lang="en-GB"/>
          </a:p>
        </p:txBody>
      </p:sp>
    </p:spTree>
    <p:extLst>
      <p:ext uri="{BB962C8B-B14F-4D97-AF65-F5344CB8AC3E}">
        <p14:creationId xmlns:p14="http://schemas.microsoft.com/office/powerpoint/2010/main" val="288757099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break image">
    <p:bg>
      <p:bgPr>
        <a:solidFill>
          <a:schemeClr val="bg1"/>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6DD5E0BA-60C5-904A-9906-963386C34186}"/>
              </a:ext>
            </a:extLst>
          </p:cNvPr>
          <p:cNvSpPr>
            <a:spLocks noGrp="1"/>
          </p:cNvSpPr>
          <p:nvPr>
            <p:ph type="pic" sz="quarter" idx="11" hasCustomPrompt="1"/>
          </p:nvPr>
        </p:nvSpPr>
        <p:spPr>
          <a:xfrm>
            <a:off x="0" y="13176"/>
            <a:ext cx="12192000" cy="6858000"/>
          </a:xfrm>
          <a:solidFill>
            <a:schemeClr val="bg1"/>
          </a:solidFill>
        </p:spPr>
        <p:txBody>
          <a:bodyPr>
            <a:noAutofit/>
          </a:bodyPr>
          <a:lstStyle>
            <a:lvl1pPr marL="0" indent="0" algn="l">
              <a:buNone/>
              <a:defRPr sz="2200">
                <a:solidFill>
                  <a:schemeClr val="tx1"/>
                </a:solidFill>
              </a:defRPr>
            </a:lvl1pPr>
          </a:lstStyle>
          <a:p>
            <a:r>
              <a:rPr lang="en-GB"/>
              <a:t>To add and an image: drag and drop an image on to this frame or click the icon in the centre of the page</a:t>
            </a:r>
          </a:p>
        </p:txBody>
      </p:sp>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tx1"/>
                </a:solidFill>
                <a:latin typeface="+mn-lt"/>
                <a:ea typeface="+mn-ea"/>
                <a:cs typeface="+mn-cs"/>
              </a:defRPr>
            </a:lvl1pPr>
            <a:lvl2pPr marL="0" indent="-216000">
              <a:spcBef>
                <a:spcPts val="2000"/>
              </a:spcBef>
              <a:spcAft>
                <a:spcPts val="200"/>
              </a:spcAft>
              <a:buClr>
                <a:schemeClr val="tx1"/>
              </a:buClr>
              <a:buFont typeface="Arial" panose="020B0604020202020204" pitchFamily="34" charset="0"/>
              <a:buChar char="•"/>
              <a:defRPr sz="2000" b="0">
                <a:solidFill>
                  <a:schemeClr val="tx1"/>
                </a:solidFill>
              </a:defRPr>
            </a:lvl2pPr>
            <a:lvl3pPr marL="393192" indent="-216000">
              <a:spcBef>
                <a:spcPts val="300"/>
              </a:spcBef>
              <a:spcAft>
                <a:spcPts val="200"/>
              </a:spcAft>
              <a:buClr>
                <a:schemeClr val="tx1"/>
              </a:buClr>
              <a:defRPr sz="18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3" name="Footer Placeholder 2">
            <a:extLst>
              <a:ext uri="{FF2B5EF4-FFF2-40B4-BE49-F238E27FC236}">
                <a16:creationId xmlns:a16="http://schemas.microsoft.com/office/drawing/2014/main" id="{A2A65C27-6CBE-AB40-8B17-DC84C811E5DF}"/>
              </a:ext>
            </a:extLst>
          </p:cNvPr>
          <p:cNvSpPr>
            <a:spLocks noGrp="1"/>
          </p:cNvSpPr>
          <p:nvPr>
            <p:ph type="ftr" sz="quarter" idx="59"/>
          </p:nvPr>
        </p:nvSpPr>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EA31775C-D68B-B24C-BB5A-055A2A2D1321}"/>
              </a:ext>
            </a:extLst>
          </p:cNvPr>
          <p:cNvSpPr>
            <a:spLocks noGrp="1"/>
          </p:cNvSpPr>
          <p:nvPr>
            <p:ph type="sldNum" sz="quarter" idx="60"/>
          </p:nvPr>
        </p:nvSpPr>
        <p:spPr/>
        <p:txBody>
          <a:bodyPr/>
          <a:lstStyle>
            <a:lvl1pPr>
              <a:defRPr>
                <a:solidFill>
                  <a:schemeClr val="tx1"/>
                </a:solidFill>
              </a:defRPr>
            </a:lvl1pPr>
          </a:lstStyle>
          <a:p>
            <a:fld id="{F18EFF25-22D3-7349-97D6-73D11F9E5B0D}" type="slidenum">
              <a:rPr lang="en-GB" smtClean="0"/>
              <a:pPr/>
              <a:t>‹#›</a:t>
            </a:fld>
            <a:endParaRPr lang="en-GB"/>
          </a:p>
        </p:txBody>
      </p:sp>
      <p:pic>
        <p:nvPicPr>
          <p:cNvPr id="9" name="Picture 8" descr="A close up of a flower&#10;&#10;Description automatically generated">
            <a:extLst>
              <a:ext uri="{FF2B5EF4-FFF2-40B4-BE49-F238E27FC236}">
                <a16:creationId xmlns:a16="http://schemas.microsoft.com/office/drawing/2014/main" id="{EE0E3ED2-E69E-864A-A0B1-5D5A1A2DE7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2274187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rk image - 1 line only">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588C067-B393-9489-E4ED-1958F0FE3BBD}"/>
              </a:ext>
            </a:extLst>
          </p:cNvPr>
          <p:cNvSpPr>
            <a:spLocks noGrp="1"/>
          </p:cNvSpPr>
          <p:nvPr>
            <p:ph type="pic" sz="quarter" idx="10" hasCustomPrompt="1"/>
          </p:nvPr>
        </p:nvSpPr>
        <p:spPr>
          <a:xfrm>
            <a:off x="0" y="0"/>
            <a:ext cx="12192000" cy="6858000"/>
          </a:xfrm>
          <a:custGeom>
            <a:avLst/>
            <a:gdLst>
              <a:gd name="connsiteX0" fmla="*/ 5969925 w 12192000"/>
              <a:gd name="connsiteY0" fmla="*/ 446137 h 6858000"/>
              <a:gd name="connsiteX1" fmla="*/ 5932287 w 12192000"/>
              <a:gd name="connsiteY1" fmla="*/ 448451 h 6858000"/>
              <a:gd name="connsiteX2" fmla="*/ 5932287 w 12192000"/>
              <a:gd name="connsiteY2" fmla="*/ 671046 h 6858000"/>
              <a:gd name="connsiteX3" fmla="*/ 5969925 w 12192000"/>
              <a:gd name="connsiteY3" fmla="*/ 673360 h 6858000"/>
              <a:gd name="connsiteX4" fmla="*/ 6022220 w 12192000"/>
              <a:gd name="connsiteY4" fmla="*/ 669042 h 6858000"/>
              <a:gd name="connsiteX5" fmla="*/ 6022220 w 12192000"/>
              <a:gd name="connsiteY5" fmla="*/ 669000 h 6858000"/>
              <a:gd name="connsiteX6" fmla="*/ 6022331 w 12192000"/>
              <a:gd name="connsiteY6" fmla="*/ 668971 h 6858000"/>
              <a:gd name="connsiteX7" fmla="*/ 6044431 w 12192000"/>
              <a:gd name="connsiteY7" fmla="*/ 716091 h 6858000"/>
              <a:gd name="connsiteX8" fmla="*/ 6065257 w 12192000"/>
              <a:gd name="connsiteY8" fmla="*/ 747714 h 6858000"/>
              <a:gd name="connsiteX9" fmla="*/ 6257771 w 12192000"/>
              <a:gd name="connsiteY9" fmla="*/ 636493 h 6858000"/>
              <a:gd name="connsiteX10" fmla="*/ 6210878 w 12192000"/>
              <a:gd name="connsiteY10" fmla="*/ 559826 h 6858000"/>
              <a:gd name="connsiteX11" fmla="*/ 6076795 w 12192000"/>
              <a:gd name="connsiteY11" fmla="*/ 654536 h 6858000"/>
              <a:gd name="connsiteX12" fmla="*/ 6022331 w 12192000"/>
              <a:gd name="connsiteY12" fmla="*/ 668971 h 6858000"/>
              <a:gd name="connsiteX13" fmla="*/ 6022220 w 12192000"/>
              <a:gd name="connsiteY13" fmla="*/ 668736 h 6858000"/>
              <a:gd name="connsiteX14" fmla="*/ 6022220 w 12192000"/>
              <a:gd name="connsiteY14" fmla="*/ 668732 h 6858000"/>
              <a:gd name="connsiteX15" fmla="*/ 6013273 w 12192000"/>
              <a:gd name="connsiteY15" fmla="*/ 478531 h 6858000"/>
              <a:gd name="connsiteX16" fmla="*/ 6022220 w 12192000"/>
              <a:gd name="connsiteY16" fmla="*/ 450456 h 6858000"/>
              <a:gd name="connsiteX17" fmla="*/ 5969925 w 12192000"/>
              <a:gd name="connsiteY17" fmla="*/ 446137 h 6858000"/>
              <a:gd name="connsiteX18" fmla="*/ 6065258 w 12192000"/>
              <a:gd name="connsiteY18" fmla="*/ 371476 h 6858000"/>
              <a:gd name="connsiteX19" fmla="*/ 6022220 w 12192000"/>
              <a:gd name="connsiteY19" fmla="*/ 450457 h 6858000"/>
              <a:gd name="connsiteX20" fmla="*/ 6211033 w 12192000"/>
              <a:gd name="connsiteY20" fmla="*/ 559673 h 6858000"/>
              <a:gd name="connsiteX21" fmla="*/ 6257926 w 12192000"/>
              <a:gd name="connsiteY21" fmla="*/ 483005 h 6858000"/>
              <a:gd name="connsiteX22" fmla="*/ 6065258 w 12192000"/>
              <a:gd name="connsiteY22" fmla="*/ 371476 h 6858000"/>
              <a:gd name="connsiteX23" fmla="*/ 0 w 12192000"/>
              <a:gd name="connsiteY23" fmla="*/ 0 h 6858000"/>
              <a:gd name="connsiteX24" fmla="*/ 12192000 w 12192000"/>
              <a:gd name="connsiteY24" fmla="*/ 0 h 6858000"/>
              <a:gd name="connsiteX25" fmla="*/ 12192000 w 12192000"/>
              <a:gd name="connsiteY25" fmla="*/ 6858000 h 6858000"/>
              <a:gd name="connsiteX26" fmla="*/ 0 w 12192000"/>
              <a:gd name="connsiteY2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192000" h="6858000">
                <a:moveTo>
                  <a:pt x="5969925" y="446137"/>
                </a:moveTo>
                <a:cubicBezTo>
                  <a:pt x="5957277" y="446137"/>
                  <a:pt x="5944627" y="446908"/>
                  <a:pt x="5932287" y="448451"/>
                </a:cubicBezTo>
                <a:cubicBezTo>
                  <a:pt x="5911615" y="520027"/>
                  <a:pt x="5910689" y="597156"/>
                  <a:pt x="5932287" y="671046"/>
                </a:cubicBezTo>
                <a:cubicBezTo>
                  <a:pt x="5944627" y="672589"/>
                  <a:pt x="5957123" y="673360"/>
                  <a:pt x="5969925" y="673360"/>
                </a:cubicBezTo>
                <a:cubicBezTo>
                  <a:pt x="5987666" y="673360"/>
                  <a:pt x="6005251" y="671818"/>
                  <a:pt x="6022220" y="669042"/>
                </a:cubicBezTo>
                <a:lnTo>
                  <a:pt x="6022220" y="669000"/>
                </a:lnTo>
                <a:lnTo>
                  <a:pt x="6022331" y="668971"/>
                </a:lnTo>
                <a:lnTo>
                  <a:pt x="6044431" y="716091"/>
                </a:lnTo>
                <a:cubicBezTo>
                  <a:pt x="6050756" y="727042"/>
                  <a:pt x="6057698" y="737533"/>
                  <a:pt x="6065257" y="747714"/>
                </a:cubicBezTo>
                <a:cubicBezTo>
                  <a:pt x="6139919" y="729358"/>
                  <a:pt x="6206250" y="690175"/>
                  <a:pt x="6257771" y="636493"/>
                </a:cubicBezTo>
                <a:cubicBezTo>
                  <a:pt x="6245895" y="608571"/>
                  <a:pt x="6230005" y="582812"/>
                  <a:pt x="6210878" y="559826"/>
                </a:cubicBezTo>
                <a:cubicBezTo>
                  <a:pt x="6175707" y="602285"/>
                  <a:pt x="6129515" y="635287"/>
                  <a:pt x="6076795" y="654536"/>
                </a:cubicBezTo>
                <a:lnTo>
                  <a:pt x="6022331" y="668971"/>
                </a:lnTo>
                <a:lnTo>
                  <a:pt x="6022220" y="668736"/>
                </a:lnTo>
                <a:lnTo>
                  <a:pt x="6022220" y="668732"/>
                </a:lnTo>
                <a:cubicBezTo>
                  <a:pt x="5999543" y="608109"/>
                  <a:pt x="5996150" y="542241"/>
                  <a:pt x="6013273" y="478531"/>
                </a:cubicBezTo>
                <a:cubicBezTo>
                  <a:pt x="6015894" y="468968"/>
                  <a:pt x="6018827" y="459558"/>
                  <a:pt x="6022220" y="450456"/>
                </a:cubicBezTo>
                <a:cubicBezTo>
                  <a:pt x="6005251" y="447525"/>
                  <a:pt x="5987819" y="446137"/>
                  <a:pt x="5969925" y="446137"/>
                </a:cubicBezTo>
                <a:close/>
                <a:moveTo>
                  <a:pt x="6065258" y="371476"/>
                </a:moveTo>
                <a:cubicBezTo>
                  <a:pt x="6047364" y="395386"/>
                  <a:pt x="6032863" y="421918"/>
                  <a:pt x="6022220" y="450457"/>
                </a:cubicBezTo>
                <a:cubicBezTo>
                  <a:pt x="6097806" y="463260"/>
                  <a:pt x="6164138" y="503059"/>
                  <a:pt x="6211033" y="559673"/>
                </a:cubicBezTo>
                <a:cubicBezTo>
                  <a:pt x="6230160" y="536687"/>
                  <a:pt x="6246050" y="510771"/>
                  <a:pt x="6257926" y="483005"/>
                </a:cubicBezTo>
                <a:cubicBezTo>
                  <a:pt x="6206405" y="429014"/>
                  <a:pt x="6139919" y="389832"/>
                  <a:pt x="6065258" y="371476"/>
                </a:cubicBezTo>
                <a:close/>
                <a:moveTo>
                  <a:pt x="0" y="0"/>
                </a:moveTo>
                <a:lnTo>
                  <a:pt x="12192000" y="0"/>
                </a:lnTo>
                <a:lnTo>
                  <a:pt x="12192000" y="6858000"/>
                </a:lnTo>
                <a:lnTo>
                  <a:pt x="0" y="6858000"/>
                </a:lnTo>
                <a:close/>
              </a:path>
            </a:pathLst>
          </a:custGeom>
          <a:solidFill>
            <a:schemeClr val="tx1">
              <a:lumMod val="75000"/>
              <a:lumOff val="25000"/>
            </a:schemeClr>
          </a:solidFill>
        </p:spPr>
        <p:txBody>
          <a:bodyPr wrap="square" tIns="108000">
            <a:noAutofit/>
          </a:bodyPr>
          <a:lstStyle>
            <a:lvl1pPr marL="0" indent="0" algn="ctr">
              <a:buNone/>
              <a:defRPr sz="1000">
                <a:solidFill>
                  <a:schemeClr val="accent1"/>
                </a:solidFill>
              </a:defRPr>
            </a:lvl1pPr>
          </a:lstStyle>
          <a:p>
            <a:r>
              <a:rPr lang="en-US"/>
              <a:t>Drag picture file here or click </a:t>
            </a:r>
            <a:r>
              <a:rPr lang="en-US" noProof="0"/>
              <a:t>center</a:t>
            </a:r>
            <a:r>
              <a:rPr lang="en-US"/>
              <a:t> icon to insert dark image</a:t>
            </a:r>
          </a:p>
        </p:txBody>
      </p:sp>
      <p:sp>
        <p:nvSpPr>
          <p:cNvPr id="3" name="Text Placeholder 9">
            <a:extLst>
              <a:ext uri="{FF2B5EF4-FFF2-40B4-BE49-F238E27FC236}">
                <a16:creationId xmlns:a16="http://schemas.microsoft.com/office/drawing/2014/main" id="{6E57A2C4-59D9-2771-7F7C-85AB94B2718D}"/>
              </a:ext>
            </a:extLst>
          </p:cNvPr>
          <p:cNvSpPr>
            <a:spLocks noGrp="1"/>
          </p:cNvSpPr>
          <p:nvPr>
            <p:ph type="body" sz="quarter" idx="16" hasCustomPrompt="1"/>
          </p:nvPr>
        </p:nvSpPr>
        <p:spPr>
          <a:xfrm>
            <a:off x="1487487" y="2500384"/>
            <a:ext cx="9217026" cy="1030130"/>
          </a:xfrm>
          <a:prstGeom prst="rect">
            <a:avLst/>
          </a:prstGeom>
        </p:spPr>
        <p:txBody>
          <a:bodyPr lIns="0" tIns="36000" rIns="0" bIns="0" anchor="b" anchorCtr="0">
            <a:noAutofit/>
          </a:bodyPr>
          <a:lstStyle>
            <a:lvl1pPr marL="0" indent="0" algn="ctr">
              <a:lnSpc>
                <a:spcPct val="85000"/>
              </a:lnSpc>
              <a:spcBef>
                <a:spcPts val="0"/>
              </a:spcBef>
              <a:buNone/>
              <a:defRPr sz="3600">
                <a:solidFill>
                  <a:schemeClr val="accent1"/>
                </a:solidFill>
                <a:latin typeface="+mj-lt"/>
              </a:defRPr>
            </a:lvl1pPr>
          </a:lstStyle>
          <a:p>
            <a:pPr lvl="0"/>
            <a:r>
              <a:rPr lang="en-US"/>
              <a:t>Section break one line</a:t>
            </a:r>
          </a:p>
        </p:txBody>
      </p:sp>
      <p:sp>
        <p:nvSpPr>
          <p:cNvPr id="4" name="Text Placeholder 9">
            <a:extLst>
              <a:ext uri="{FF2B5EF4-FFF2-40B4-BE49-F238E27FC236}">
                <a16:creationId xmlns:a16="http://schemas.microsoft.com/office/drawing/2014/main" id="{EF52E4A2-526B-92C0-3BC8-41B3956FCFBA}"/>
              </a:ext>
            </a:extLst>
          </p:cNvPr>
          <p:cNvSpPr>
            <a:spLocks noGrp="1"/>
          </p:cNvSpPr>
          <p:nvPr>
            <p:ph type="body" sz="quarter" idx="17" hasCustomPrompt="1"/>
          </p:nvPr>
        </p:nvSpPr>
        <p:spPr>
          <a:xfrm>
            <a:off x="1487487" y="3659011"/>
            <a:ext cx="9213525" cy="281703"/>
          </a:xfrm>
          <a:prstGeom prst="rect">
            <a:avLst/>
          </a:prstGeom>
        </p:spPr>
        <p:txBody>
          <a:bodyPr lIns="0" tIns="36000" rIns="0" bIns="0" anchor="t" anchorCtr="0">
            <a:noAutofit/>
          </a:bodyPr>
          <a:lstStyle>
            <a:lvl1pPr marL="0" indent="0" algn="ctr">
              <a:lnSpc>
                <a:spcPct val="85000"/>
              </a:lnSpc>
              <a:buNone/>
              <a:defRPr sz="2000">
                <a:solidFill>
                  <a:schemeClr val="bg1"/>
                </a:solidFill>
                <a:latin typeface="+mn-lt"/>
              </a:defRPr>
            </a:lvl1pPr>
          </a:lstStyle>
          <a:p>
            <a:pPr lvl="0"/>
            <a:r>
              <a:rPr lang="en-US"/>
              <a:t>Section break subtitle here</a:t>
            </a:r>
          </a:p>
        </p:txBody>
      </p:sp>
    </p:spTree>
    <p:extLst>
      <p:ext uri="{BB962C8B-B14F-4D97-AF65-F5344CB8AC3E}">
        <p14:creationId xmlns:p14="http://schemas.microsoft.com/office/powerpoint/2010/main" val="34517019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break purpl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8" name="Picture 7" descr="A picture containing drawing&#10;&#10;Description automatically generated">
            <a:extLst>
              <a:ext uri="{FF2B5EF4-FFF2-40B4-BE49-F238E27FC236}">
                <a16:creationId xmlns:a16="http://schemas.microsoft.com/office/drawing/2014/main" id="{03BC3B61-BD64-4241-A8F7-CE056318FC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bg1"/>
                </a:solidFill>
                <a:latin typeface="+mn-lt"/>
                <a:ea typeface="+mn-ea"/>
                <a:cs typeface="+mn-cs"/>
              </a:defRPr>
            </a:lvl1pPr>
            <a:lvl2pPr marL="0" indent="-216000">
              <a:spcBef>
                <a:spcPts val="2000"/>
              </a:spcBef>
              <a:spcAft>
                <a:spcPts val="200"/>
              </a:spcAft>
              <a:buClr>
                <a:schemeClr val="bg1"/>
              </a:buClr>
              <a:buFont typeface="Arial" panose="020B0604020202020204" pitchFamily="34" charset="0"/>
              <a:buChar char="•"/>
              <a:defRPr sz="2000" b="0">
                <a:solidFill>
                  <a:schemeClr val="bg1"/>
                </a:solidFill>
              </a:defRPr>
            </a:lvl2pPr>
            <a:lvl3pPr marL="393192" indent="-216000">
              <a:spcBef>
                <a:spcPts val="300"/>
              </a:spcBef>
              <a:spcAft>
                <a:spcPts val="200"/>
              </a:spcAft>
              <a:buClr>
                <a:schemeClr val="bg1"/>
              </a:buClr>
              <a:defRPr sz="1800" b="0">
                <a:solidFill>
                  <a:schemeClr val="bg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3" name="Footer Placeholder 2">
            <a:extLst>
              <a:ext uri="{FF2B5EF4-FFF2-40B4-BE49-F238E27FC236}">
                <a16:creationId xmlns:a16="http://schemas.microsoft.com/office/drawing/2014/main" id="{A2A65C27-6CBE-AB40-8B17-DC84C811E5DF}"/>
              </a:ext>
            </a:extLst>
          </p:cNvPr>
          <p:cNvSpPr>
            <a:spLocks noGrp="1"/>
          </p:cNvSpPr>
          <p:nvPr>
            <p:ph type="ftr" sz="quarter" idx="59"/>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EA31775C-D68B-B24C-BB5A-055A2A2D1321}"/>
              </a:ext>
            </a:extLst>
          </p:cNvPr>
          <p:cNvSpPr>
            <a:spLocks noGrp="1"/>
          </p:cNvSpPr>
          <p:nvPr>
            <p:ph type="sldNum" sz="quarter" idx="6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91669705"/>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break midnight blu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8" name="Picture 7" descr="A picture containing drawing&#10;&#10;Description automatically generated">
            <a:extLst>
              <a:ext uri="{FF2B5EF4-FFF2-40B4-BE49-F238E27FC236}">
                <a16:creationId xmlns:a16="http://schemas.microsoft.com/office/drawing/2014/main" id="{03BC3B61-BD64-4241-A8F7-CE056318FC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bg1"/>
                </a:solidFill>
                <a:latin typeface="+mn-lt"/>
                <a:ea typeface="+mn-ea"/>
                <a:cs typeface="+mn-cs"/>
              </a:defRPr>
            </a:lvl1pPr>
            <a:lvl2pPr marL="0" indent="-216000">
              <a:spcBef>
                <a:spcPts val="2000"/>
              </a:spcBef>
              <a:spcAft>
                <a:spcPts val="200"/>
              </a:spcAft>
              <a:buClr>
                <a:schemeClr val="bg1"/>
              </a:buClr>
              <a:buFont typeface="Arial" panose="020B0604020202020204" pitchFamily="34" charset="0"/>
              <a:buChar char="•"/>
              <a:defRPr sz="2000" b="0">
                <a:solidFill>
                  <a:schemeClr val="bg1"/>
                </a:solidFill>
              </a:defRPr>
            </a:lvl2pPr>
            <a:lvl3pPr marL="393192" indent="-216000">
              <a:spcBef>
                <a:spcPts val="300"/>
              </a:spcBef>
              <a:spcAft>
                <a:spcPts val="200"/>
              </a:spcAft>
              <a:buClr>
                <a:schemeClr val="bg1"/>
              </a:buClr>
              <a:defRPr sz="1800" b="0">
                <a:solidFill>
                  <a:schemeClr val="bg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2" name="Footer Placeholder 1">
            <a:extLst>
              <a:ext uri="{FF2B5EF4-FFF2-40B4-BE49-F238E27FC236}">
                <a16:creationId xmlns:a16="http://schemas.microsoft.com/office/drawing/2014/main" id="{CEAF5B36-5C24-4146-BCDA-E7ADD526C45E}"/>
              </a:ext>
            </a:extLst>
          </p:cNvPr>
          <p:cNvSpPr>
            <a:spLocks noGrp="1"/>
          </p:cNvSpPr>
          <p:nvPr>
            <p:ph type="ftr" sz="quarter" idx="5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880DC8FF-E538-F547-B953-F2A27D46A0B7}"/>
              </a:ext>
            </a:extLst>
          </p:cNvPr>
          <p:cNvSpPr>
            <a:spLocks noGrp="1"/>
          </p:cNvSpPr>
          <p:nvPr>
            <p:ph type="sldNum" sz="quarter" idx="6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461618978"/>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break teal">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8" name="Picture 7" descr="A picture containing drawing&#10;&#10;Description automatically generated">
            <a:extLst>
              <a:ext uri="{FF2B5EF4-FFF2-40B4-BE49-F238E27FC236}">
                <a16:creationId xmlns:a16="http://schemas.microsoft.com/office/drawing/2014/main" id="{03BC3B61-BD64-4241-A8F7-CE056318FC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bg1"/>
                </a:solidFill>
                <a:latin typeface="+mn-lt"/>
                <a:ea typeface="+mn-ea"/>
                <a:cs typeface="+mn-cs"/>
              </a:defRPr>
            </a:lvl1pPr>
            <a:lvl2pPr marL="0" indent="-216000">
              <a:spcBef>
                <a:spcPts val="2000"/>
              </a:spcBef>
              <a:spcAft>
                <a:spcPts val="200"/>
              </a:spcAft>
              <a:buClr>
                <a:schemeClr val="bg1"/>
              </a:buClr>
              <a:buFont typeface="Arial" panose="020B0604020202020204" pitchFamily="34" charset="0"/>
              <a:buChar char="•"/>
              <a:defRPr sz="2000" b="0">
                <a:solidFill>
                  <a:schemeClr val="bg1"/>
                </a:solidFill>
              </a:defRPr>
            </a:lvl2pPr>
            <a:lvl3pPr marL="393192" indent="-216000">
              <a:spcBef>
                <a:spcPts val="300"/>
              </a:spcBef>
              <a:spcAft>
                <a:spcPts val="200"/>
              </a:spcAft>
              <a:buClr>
                <a:schemeClr val="bg1"/>
              </a:buClr>
              <a:defRPr sz="1800" b="0">
                <a:solidFill>
                  <a:schemeClr val="bg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2" name="Footer Placeholder 1">
            <a:extLst>
              <a:ext uri="{FF2B5EF4-FFF2-40B4-BE49-F238E27FC236}">
                <a16:creationId xmlns:a16="http://schemas.microsoft.com/office/drawing/2014/main" id="{9DAC6DDE-45BE-5942-A27B-C07513728AE8}"/>
              </a:ext>
            </a:extLst>
          </p:cNvPr>
          <p:cNvSpPr>
            <a:spLocks noGrp="1"/>
          </p:cNvSpPr>
          <p:nvPr>
            <p:ph type="ftr" sz="quarter" idx="5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C6ED1EA1-C1F3-7046-9ECC-499B0E6AB6A3}"/>
              </a:ext>
            </a:extLst>
          </p:cNvPr>
          <p:cNvSpPr>
            <a:spLocks noGrp="1"/>
          </p:cNvSpPr>
          <p:nvPr>
            <p:ph type="sldNum" sz="quarter" idx="6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327881363"/>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Main text 1 column whit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AB9627D-36D4-F74B-893E-0B2B44A3E5E5}"/>
              </a:ext>
            </a:extLst>
          </p:cNvPr>
          <p:cNvSpPr>
            <a:spLocks noGrp="1"/>
          </p:cNvSpPr>
          <p:nvPr>
            <p:ph type="title" hasCustomPrompt="1"/>
          </p:nvPr>
        </p:nvSpPr>
        <p:spPr>
          <a:xfrm>
            <a:off x="576000" y="816951"/>
            <a:ext cx="7283711"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7">
            <a:extLst>
              <a:ext uri="{FF2B5EF4-FFF2-40B4-BE49-F238E27FC236}">
                <a16:creationId xmlns:a16="http://schemas.microsoft.com/office/drawing/2014/main" id="{D5EDC5DA-66CA-044F-B098-1EAECD84F0D7}"/>
              </a:ext>
            </a:extLst>
          </p:cNvPr>
          <p:cNvSpPr>
            <a:spLocks noGrp="1"/>
          </p:cNvSpPr>
          <p:nvPr>
            <p:ph type="body" sz="quarter" idx="29" hasCustomPrompt="1"/>
          </p:nvPr>
        </p:nvSpPr>
        <p:spPr>
          <a:xfrm>
            <a:off x="576000" y="1193187"/>
            <a:ext cx="7283711"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9" name="Text Placeholder 13">
            <a:extLst>
              <a:ext uri="{FF2B5EF4-FFF2-40B4-BE49-F238E27FC236}">
                <a16:creationId xmlns:a16="http://schemas.microsoft.com/office/drawing/2014/main" id="{C708081B-2A5A-E841-B642-F43CA803E59D}"/>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8D6893CA-DBDC-5540-A26C-AE48C0517D8C}"/>
              </a:ext>
            </a:extLst>
          </p:cNvPr>
          <p:cNvSpPr>
            <a:spLocks noGrp="1"/>
          </p:cNvSpPr>
          <p:nvPr>
            <p:ph type="ftr" sz="quarter" idx="32"/>
          </p:nvPr>
        </p:nvSpPr>
        <p:spPr/>
        <p:txBody>
          <a:bodyPr/>
          <a:lstStyle/>
          <a:p>
            <a:endParaRPr lang="en-GB"/>
          </a:p>
        </p:txBody>
      </p:sp>
      <p:sp>
        <p:nvSpPr>
          <p:cNvPr id="3" name="Slide Number Placeholder 2">
            <a:extLst>
              <a:ext uri="{FF2B5EF4-FFF2-40B4-BE49-F238E27FC236}">
                <a16:creationId xmlns:a16="http://schemas.microsoft.com/office/drawing/2014/main" id="{6CFAE913-424F-5646-A9A0-8E9C42C568CD}"/>
              </a:ext>
            </a:extLst>
          </p:cNvPr>
          <p:cNvSpPr>
            <a:spLocks noGrp="1"/>
          </p:cNvSpPr>
          <p:nvPr>
            <p:ph type="sldNum" sz="quarter" idx="33"/>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419922336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ain text 1 column purp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6000" y="816951"/>
            <a:ext cx="7282071"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8" name="Text Placeholder 17">
            <a:extLst>
              <a:ext uri="{FF2B5EF4-FFF2-40B4-BE49-F238E27FC236}">
                <a16:creationId xmlns:a16="http://schemas.microsoft.com/office/drawing/2014/main" id="{EF14D82F-147E-DB44-92D3-B0294E172A3F}"/>
              </a:ext>
            </a:extLst>
          </p:cNvPr>
          <p:cNvSpPr>
            <a:spLocks noGrp="1"/>
          </p:cNvSpPr>
          <p:nvPr>
            <p:ph type="body" sz="quarter" idx="29" hasCustomPrompt="1"/>
          </p:nvPr>
        </p:nvSpPr>
        <p:spPr>
          <a:xfrm>
            <a:off x="576000" y="1193187"/>
            <a:ext cx="7285707"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3" name="Text Placeholder 13">
            <a:extLst>
              <a:ext uri="{FF2B5EF4-FFF2-40B4-BE49-F238E27FC236}">
                <a16:creationId xmlns:a16="http://schemas.microsoft.com/office/drawing/2014/main" id="{7079CC3B-BA9E-4844-9B96-BD331747AE3B}"/>
              </a:ext>
            </a:extLst>
          </p:cNvPr>
          <p:cNvSpPr>
            <a:spLocks noGrp="1"/>
          </p:cNvSpPr>
          <p:nvPr>
            <p:ph type="body" sz="quarter" idx="30" hasCustomPrompt="1"/>
          </p:nvPr>
        </p:nvSpPr>
        <p:spPr>
          <a:xfrm>
            <a:off x="576000" y="1828800"/>
            <a:ext cx="72828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picture containing drawing&#10;&#10;Description automatically generated">
            <a:extLst>
              <a:ext uri="{FF2B5EF4-FFF2-40B4-BE49-F238E27FC236}">
                <a16:creationId xmlns:a16="http://schemas.microsoft.com/office/drawing/2014/main" id="{E9E0A01B-80B7-2F47-97A8-2419F8891D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F7A1FC6B-ED60-8B47-B7C0-EA755D815B08}"/>
              </a:ext>
            </a:extLst>
          </p:cNvPr>
          <p:cNvSpPr>
            <a:spLocks noGrp="1"/>
          </p:cNvSpPr>
          <p:nvPr>
            <p:ph type="ftr" sz="quarter" idx="32"/>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A1A2797A-67BA-BE47-82CD-242E3E7C7D93}"/>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86738594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Main text 1 column light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2" name="Title 1">
            <a:extLst>
              <a:ext uri="{FF2B5EF4-FFF2-40B4-BE49-F238E27FC236}">
                <a16:creationId xmlns:a16="http://schemas.microsoft.com/office/drawing/2014/main" id="{09624B7A-70A1-674A-B958-2F6B0DF8F2C9}"/>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tx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D6C47EEA-3AAF-BC4D-BB07-21CF58EDFDD1}"/>
              </a:ext>
            </a:extLst>
          </p:cNvPr>
          <p:cNvSpPr>
            <a:spLocks noGrp="1"/>
          </p:cNvSpPr>
          <p:nvPr>
            <p:ph type="body" sz="quarter" idx="29" hasCustomPrompt="1"/>
          </p:nvPr>
        </p:nvSpPr>
        <p:spPr>
          <a:xfrm>
            <a:off x="576001" y="1193187"/>
            <a:ext cx="7286026" cy="34192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9" name="Text Placeholder 13">
            <a:extLst>
              <a:ext uri="{FF2B5EF4-FFF2-40B4-BE49-F238E27FC236}">
                <a16:creationId xmlns:a16="http://schemas.microsoft.com/office/drawing/2014/main" id="{3B854FF2-43EB-EE4B-9D57-920B1540C8A9}"/>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0A5986AB-ED93-3848-A07D-F94FDD4861F9}"/>
              </a:ext>
            </a:extLst>
          </p:cNvPr>
          <p:cNvSpPr>
            <a:spLocks noGrp="1"/>
          </p:cNvSpPr>
          <p:nvPr>
            <p:ph type="ftr" sz="quarter" idx="32"/>
          </p:nvPr>
        </p:nvSpPr>
        <p:spPr/>
        <p:txBody>
          <a:bodyPr/>
          <a:lstStyle/>
          <a:p>
            <a:endParaRPr lang="en-GB"/>
          </a:p>
        </p:txBody>
      </p:sp>
      <p:sp>
        <p:nvSpPr>
          <p:cNvPr id="3" name="Slide Number Placeholder 2">
            <a:extLst>
              <a:ext uri="{FF2B5EF4-FFF2-40B4-BE49-F238E27FC236}">
                <a16:creationId xmlns:a16="http://schemas.microsoft.com/office/drawing/2014/main" id="{8B46D1B3-9E6C-9643-ABAE-2A0B0D2B4BB8}"/>
              </a:ext>
            </a:extLst>
          </p:cNvPr>
          <p:cNvSpPr>
            <a:spLocks noGrp="1"/>
          </p:cNvSpPr>
          <p:nvPr>
            <p:ph type="sldNum" sz="quarter" idx="33"/>
          </p:nvPr>
        </p:nvSpPr>
        <p:spPr/>
        <p:txBody>
          <a:bodyPr/>
          <a:lstStyle/>
          <a:p>
            <a:fld id="{F18EFF25-22D3-7349-97D6-73D11F9E5B0D}" type="slidenum">
              <a:rPr lang="en-GB" smtClean="0"/>
              <a:pPr/>
              <a:t>‹#›</a:t>
            </a:fld>
            <a:endParaRPr lang="en-GB"/>
          </a:p>
        </p:txBody>
      </p:sp>
      <p:pic>
        <p:nvPicPr>
          <p:cNvPr id="13" name="Picture 12" descr="A close up of a flower&#10;&#10;Description automatically generated">
            <a:extLst>
              <a:ext uri="{FF2B5EF4-FFF2-40B4-BE49-F238E27FC236}">
                <a16:creationId xmlns:a16="http://schemas.microsoft.com/office/drawing/2014/main" id="{F3EDB5D7-B905-4240-9E74-682D63AABA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73414838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Main text 1 column midnight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6000" y="816951"/>
            <a:ext cx="7282071"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8" name="Text Placeholder 17">
            <a:extLst>
              <a:ext uri="{FF2B5EF4-FFF2-40B4-BE49-F238E27FC236}">
                <a16:creationId xmlns:a16="http://schemas.microsoft.com/office/drawing/2014/main" id="{EF14D82F-147E-DB44-92D3-B0294E172A3F}"/>
              </a:ext>
            </a:extLst>
          </p:cNvPr>
          <p:cNvSpPr>
            <a:spLocks noGrp="1"/>
          </p:cNvSpPr>
          <p:nvPr>
            <p:ph type="body" sz="quarter" idx="29" hasCustomPrompt="1"/>
          </p:nvPr>
        </p:nvSpPr>
        <p:spPr>
          <a:xfrm>
            <a:off x="576000" y="1193187"/>
            <a:ext cx="7285707"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3" name="Text Placeholder 13">
            <a:extLst>
              <a:ext uri="{FF2B5EF4-FFF2-40B4-BE49-F238E27FC236}">
                <a16:creationId xmlns:a16="http://schemas.microsoft.com/office/drawing/2014/main" id="{7079CC3B-BA9E-4844-9B96-BD331747AE3B}"/>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picture containing drawing&#10;&#10;Description automatically generated">
            <a:extLst>
              <a:ext uri="{FF2B5EF4-FFF2-40B4-BE49-F238E27FC236}">
                <a16:creationId xmlns:a16="http://schemas.microsoft.com/office/drawing/2014/main" id="{E9E0A01B-80B7-2F47-97A8-2419F8891D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2232703-359C-9647-BD3E-AA72A5E97263}"/>
              </a:ext>
            </a:extLst>
          </p:cNvPr>
          <p:cNvSpPr>
            <a:spLocks noGrp="1"/>
          </p:cNvSpPr>
          <p:nvPr>
            <p:ph type="ftr" sz="quarter" idx="32"/>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B9C3BFF9-7CC5-D648-BE06-A5A275779052}"/>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9597712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Main text 1 column teal">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6000" y="816951"/>
            <a:ext cx="7282071"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8" name="Text Placeholder 17">
            <a:extLst>
              <a:ext uri="{FF2B5EF4-FFF2-40B4-BE49-F238E27FC236}">
                <a16:creationId xmlns:a16="http://schemas.microsoft.com/office/drawing/2014/main" id="{EF14D82F-147E-DB44-92D3-B0294E172A3F}"/>
              </a:ext>
            </a:extLst>
          </p:cNvPr>
          <p:cNvSpPr>
            <a:spLocks noGrp="1"/>
          </p:cNvSpPr>
          <p:nvPr>
            <p:ph type="body" sz="quarter" idx="29" hasCustomPrompt="1"/>
          </p:nvPr>
        </p:nvSpPr>
        <p:spPr>
          <a:xfrm>
            <a:off x="576000" y="1193187"/>
            <a:ext cx="7285707"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3" name="Text Placeholder 13">
            <a:extLst>
              <a:ext uri="{FF2B5EF4-FFF2-40B4-BE49-F238E27FC236}">
                <a16:creationId xmlns:a16="http://schemas.microsoft.com/office/drawing/2014/main" id="{7079CC3B-BA9E-4844-9B96-BD331747AE3B}"/>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picture containing drawing&#10;&#10;Description automatically generated">
            <a:extLst>
              <a:ext uri="{FF2B5EF4-FFF2-40B4-BE49-F238E27FC236}">
                <a16:creationId xmlns:a16="http://schemas.microsoft.com/office/drawing/2014/main" id="{E9E0A01B-80B7-2F47-97A8-2419F8891D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5B651D4-545F-3F48-A80D-0D737C7031D1}"/>
              </a:ext>
            </a:extLst>
          </p:cNvPr>
          <p:cNvSpPr>
            <a:spLocks noGrp="1"/>
          </p:cNvSpPr>
          <p:nvPr>
            <p:ph type="ftr" sz="quarter" idx="32"/>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44F43B0F-EDD9-2645-97B2-454C1B3837CA}"/>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75866123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Main text 2 column white w/header">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34006E6-1C84-6A4F-B3A5-6B8249A56F06}"/>
              </a:ext>
            </a:extLst>
          </p:cNvPr>
          <p:cNvSpPr>
            <a:spLocks noGrp="1"/>
          </p:cNvSpPr>
          <p:nvPr>
            <p:ph type="body" sz="quarter" idx="33" hasCustomPrompt="1"/>
          </p:nvPr>
        </p:nvSpPr>
        <p:spPr>
          <a:xfrm>
            <a:off x="576000" y="1828800"/>
            <a:ext cx="5421600"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2" name="Text Placeholder 3">
            <a:extLst>
              <a:ext uri="{FF2B5EF4-FFF2-40B4-BE49-F238E27FC236}">
                <a16:creationId xmlns:a16="http://schemas.microsoft.com/office/drawing/2014/main" id="{C1012110-9642-9945-A607-364F317A84BC}"/>
              </a:ext>
            </a:extLst>
          </p:cNvPr>
          <p:cNvSpPr>
            <a:spLocks noGrp="1"/>
          </p:cNvSpPr>
          <p:nvPr>
            <p:ph type="body" sz="quarter" idx="34" hasCustomPrompt="1"/>
          </p:nvPr>
        </p:nvSpPr>
        <p:spPr>
          <a:xfrm>
            <a:off x="6182126" y="1828800"/>
            <a:ext cx="54229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362200"/>
            <a:ext cx="5421600" cy="3733800"/>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181726" y="2362200"/>
            <a:ext cx="5421600" cy="3733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itle 1">
            <a:extLst>
              <a:ext uri="{FF2B5EF4-FFF2-40B4-BE49-F238E27FC236}">
                <a16:creationId xmlns:a16="http://schemas.microsoft.com/office/drawing/2014/main" id="{C12EE3E1-14CA-C74D-998E-79AE83931083}"/>
              </a:ext>
            </a:extLst>
          </p:cNvPr>
          <p:cNvSpPr>
            <a:spLocks noGrp="1"/>
          </p:cNvSpPr>
          <p:nvPr>
            <p:ph type="title" hasCustomPrompt="1"/>
          </p:nvPr>
        </p:nvSpPr>
        <p:spPr>
          <a:xfrm>
            <a:off x="576001" y="816951"/>
            <a:ext cx="733701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CE33869C-E996-B548-97A4-970ADEEF4F9B}"/>
              </a:ext>
            </a:extLst>
          </p:cNvPr>
          <p:cNvSpPr>
            <a:spLocks noGrp="1"/>
          </p:cNvSpPr>
          <p:nvPr>
            <p:ph type="body" sz="quarter" idx="29" hasCustomPrompt="1"/>
          </p:nvPr>
        </p:nvSpPr>
        <p:spPr>
          <a:xfrm>
            <a:off x="576001" y="1193187"/>
            <a:ext cx="7337016"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2903855-7B50-304D-8FD4-B4E613820BDA}"/>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6149AFC7-3FEA-FE49-9E66-327622EF22A9}"/>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48507488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Main text 2 column white w/o header">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1828800"/>
            <a:ext cx="5421600" cy="4266000"/>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181726" y="1828800"/>
            <a:ext cx="5421600" cy="42660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itle 1">
            <a:extLst>
              <a:ext uri="{FF2B5EF4-FFF2-40B4-BE49-F238E27FC236}">
                <a16:creationId xmlns:a16="http://schemas.microsoft.com/office/drawing/2014/main" id="{C12EE3E1-14CA-C74D-998E-79AE83931083}"/>
              </a:ext>
            </a:extLst>
          </p:cNvPr>
          <p:cNvSpPr>
            <a:spLocks noGrp="1"/>
          </p:cNvSpPr>
          <p:nvPr>
            <p:ph type="title" hasCustomPrompt="1"/>
          </p:nvPr>
        </p:nvSpPr>
        <p:spPr>
          <a:xfrm>
            <a:off x="576001" y="816951"/>
            <a:ext cx="733701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CE33869C-E996-B548-97A4-970ADEEF4F9B}"/>
              </a:ext>
            </a:extLst>
          </p:cNvPr>
          <p:cNvSpPr>
            <a:spLocks noGrp="1"/>
          </p:cNvSpPr>
          <p:nvPr>
            <p:ph type="body" sz="quarter" idx="29" hasCustomPrompt="1"/>
          </p:nvPr>
        </p:nvSpPr>
        <p:spPr>
          <a:xfrm>
            <a:off x="576001" y="1193187"/>
            <a:ext cx="7337016"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2903855-7B50-304D-8FD4-B4E613820BDA}"/>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6149AFC7-3FEA-FE49-9E66-327622EF22A9}"/>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186479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rk image - 2 or 3 lines">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588C067-B393-9489-E4ED-1958F0FE3BBD}"/>
              </a:ext>
            </a:extLst>
          </p:cNvPr>
          <p:cNvSpPr>
            <a:spLocks noGrp="1"/>
          </p:cNvSpPr>
          <p:nvPr>
            <p:ph type="pic" sz="quarter" idx="10" hasCustomPrompt="1"/>
          </p:nvPr>
        </p:nvSpPr>
        <p:spPr>
          <a:xfrm>
            <a:off x="0" y="0"/>
            <a:ext cx="12192000" cy="6858000"/>
          </a:xfrm>
          <a:custGeom>
            <a:avLst/>
            <a:gdLst>
              <a:gd name="connsiteX0" fmla="*/ 5969925 w 12192000"/>
              <a:gd name="connsiteY0" fmla="*/ 446137 h 6858000"/>
              <a:gd name="connsiteX1" fmla="*/ 5932287 w 12192000"/>
              <a:gd name="connsiteY1" fmla="*/ 448451 h 6858000"/>
              <a:gd name="connsiteX2" fmla="*/ 5932287 w 12192000"/>
              <a:gd name="connsiteY2" fmla="*/ 671046 h 6858000"/>
              <a:gd name="connsiteX3" fmla="*/ 5969925 w 12192000"/>
              <a:gd name="connsiteY3" fmla="*/ 673360 h 6858000"/>
              <a:gd name="connsiteX4" fmla="*/ 6022220 w 12192000"/>
              <a:gd name="connsiteY4" fmla="*/ 669042 h 6858000"/>
              <a:gd name="connsiteX5" fmla="*/ 6022220 w 12192000"/>
              <a:gd name="connsiteY5" fmla="*/ 669000 h 6858000"/>
              <a:gd name="connsiteX6" fmla="*/ 6022331 w 12192000"/>
              <a:gd name="connsiteY6" fmla="*/ 668971 h 6858000"/>
              <a:gd name="connsiteX7" fmla="*/ 6044431 w 12192000"/>
              <a:gd name="connsiteY7" fmla="*/ 716091 h 6858000"/>
              <a:gd name="connsiteX8" fmla="*/ 6065257 w 12192000"/>
              <a:gd name="connsiteY8" fmla="*/ 747714 h 6858000"/>
              <a:gd name="connsiteX9" fmla="*/ 6257771 w 12192000"/>
              <a:gd name="connsiteY9" fmla="*/ 636493 h 6858000"/>
              <a:gd name="connsiteX10" fmla="*/ 6210878 w 12192000"/>
              <a:gd name="connsiteY10" fmla="*/ 559826 h 6858000"/>
              <a:gd name="connsiteX11" fmla="*/ 6076795 w 12192000"/>
              <a:gd name="connsiteY11" fmla="*/ 654536 h 6858000"/>
              <a:gd name="connsiteX12" fmla="*/ 6022331 w 12192000"/>
              <a:gd name="connsiteY12" fmla="*/ 668971 h 6858000"/>
              <a:gd name="connsiteX13" fmla="*/ 6022220 w 12192000"/>
              <a:gd name="connsiteY13" fmla="*/ 668736 h 6858000"/>
              <a:gd name="connsiteX14" fmla="*/ 6022220 w 12192000"/>
              <a:gd name="connsiteY14" fmla="*/ 668732 h 6858000"/>
              <a:gd name="connsiteX15" fmla="*/ 6013273 w 12192000"/>
              <a:gd name="connsiteY15" fmla="*/ 478531 h 6858000"/>
              <a:gd name="connsiteX16" fmla="*/ 6022220 w 12192000"/>
              <a:gd name="connsiteY16" fmla="*/ 450456 h 6858000"/>
              <a:gd name="connsiteX17" fmla="*/ 5969925 w 12192000"/>
              <a:gd name="connsiteY17" fmla="*/ 446137 h 6858000"/>
              <a:gd name="connsiteX18" fmla="*/ 6065258 w 12192000"/>
              <a:gd name="connsiteY18" fmla="*/ 371476 h 6858000"/>
              <a:gd name="connsiteX19" fmla="*/ 6022220 w 12192000"/>
              <a:gd name="connsiteY19" fmla="*/ 450457 h 6858000"/>
              <a:gd name="connsiteX20" fmla="*/ 6211033 w 12192000"/>
              <a:gd name="connsiteY20" fmla="*/ 559673 h 6858000"/>
              <a:gd name="connsiteX21" fmla="*/ 6257926 w 12192000"/>
              <a:gd name="connsiteY21" fmla="*/ 483005 h 6858000"/>
              <a:gd name="connsiteX22" fmla="*/ 6065258 w 12192000"/>
              <a:gd name="connsiteY22" fmla="*/ 371476 h 6858000"/>
              <a:gd name="connsiteX23" fmla="*/ 0 w 12192000"/>
              <a:gd name="connsiteY23" fmla="*/ 0 h 6858000"/>
              <a:gd name="connsiteX24" fmla="*/ 12192000 w 12192000"/>
              <a:gd name="connsiteY24" fmla="*/ 0 h 6858000"/>
              <a:gd name="connsiteX25" fmla="*/ 12192000 w 12192000"/>
              <a:gd name="connsiteY25" fmla="*/ 6858000 h 6858000"/>
              <a:gd name="connsiteX26" fmla="*/ 0 w 12192000"/>
              <a:gd name="connsiteY2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192000" h="6858000">
                <a:moveTo>
                  <a:pt x="5969925" y="446137"/>
                </a:moveTo>
                <a:cubicBezTo>
                  <a:pt x="5957277" y="446137"/>
                  <a:pt x="5944627" y="446908"/>
                  <a:pt x="5932287" y="448451"/>
                </a:cubicBezTo>
                <a:cubicBezTo>
                  <a:pt x="5911615" y="520027"/>
                  <a:pt x="5910689" y="597156"/>
                  <a:pt x="5932287" y="671046"/>
                </a:cubicBezTo>
                <a:cubicBezTo>
                  <a:pt x="5944627" y="672589"/>
                  <a:pt x="5957123" y="673360"/>
                  <a:pt x="5969925" y="673360"/>
                </a:cubicBezTo>
                <a:cubicBezTo>
                  <a:pt x="5987666" y="673360"/>
                  <a:pt x="6005251" y="671818"/>
                  <a:pt x="6022220" y="669042"/>
                </a:cubicBezTo>
                <a:lnTo>
                  <a:pt x="6022220" y="669000"/>
                </a:lnTo>
                <a:lnTo>
                  <a:pt x="6022331" y="668971"/>
                </a:lnTo>
                <a:lnTo>
                  <a:pt x="6044431" y="716091"/>
                </a:lnTo>
                <a:cubicBezTo>
                  <a:pt x="6050756" y="727042"/>
                  <a:pt x="6057698" y="737533"/>
                  <a:pt x="6065257" y="747714"/>
                </a:cubicBezTo>
                <a:cubicBezTo>
                  <a:pt x="6139919" y="729358"/>
                  <a:pt x="6206250" y="690175"/>
                  <a:pt x="6257771" y="636493"/>
                </a:cubicBezTo>
                <a:cubicBezTo>
                  <a:pt x="6245895" y="608571"/>
                  <a:pt x="6230005" y="582812"/>
                  <a:pt x="6210878" y="559826"/>
                </a:cubicBezTo>
                <a:cubicBezTo>
                  <a:pt x="6175707" y="602285"/>
                  <a:pt x="6129515" y="635287"/>
                  <a:pt x="6076795" y="654536"/>
                </a:cubicBezTo>
                <a:lnTo>
                  <a:pt x="6022331" y="668971"/>
                </a:lnTo>
                <a:lnTo>
                  <a:pt x="6022220" y="668736"/>
                </a:lnTo>
                <a:lnTo>
                  <a:pt x="6022220" y="668732"/>
                </a:lnTo>
                <a:cubicBezTo>
                  <a:pt x="5999543" y="608109"/>
                  <a:pt x="5996150" y="542241"/>
                  <a:pt x="6013273" y="478531"/>
                </a:cubicBezTo>
                <a:cubicBezTo>
                  <a:pt x="6015894" y="468968"/>
                  <a:pt x="6018827" y="459558"/>
                  <a:pt x="6022220" y="450456"/>
                </a:cubicBezTo>
                <a:cubicBezTo>
                  <a:pt x="6005251" y="447525"/>
                  <a:pt x="5987819" y="446137"/>
                  <a:pt x="5969925" y="446137"/>
                </a:cubicBezTo>
                <a:close/>
                <a:moveTo>
                  <a:pt x="6065258" y="371476"/>
                </a:moveTo>
                <a:cubicBezTo>
                  <a:pt x="6047364" y="395386"/>
                  <a:pt x="6032863" y="421918"/>
                  <a:pt x="6022220" y="450457"/>
                </a:cubicBezTo>
                <a:cubicBezTo>
                  <a:pt x="6097806" y="463260"/>
                  <a:pt x="6164138" y="503059"/>
                  <a:pt x="6211033" y="559673"/>
                </a:cubicBezTo>
                <a:cubicBezTo>
                  <a:pt x="6230160" y="536687"/>
                  <a:pt x="6246050" y="510771"/>
                  <a:pt x="6257926" y="483005"/>
                </a:cubicBezTo>
                <a:cubicBezTo>
                  <a:pt x="6206405" y="429014"/>
                  <a:pt x="6139919" y="389832"/>
                  <a:pt x="6065258" y="371476"/>
                </a:cubicBezTo>
                <a:close/>
                <a:moveTo>
                  <a:pt x="0" y="0"/>
                </a:moveTo>
                <a:lnTo>
                  <a:pt x="12192000" y="0"/>
                </a:lnTo>
                <a:lnTo>
                  <a:pt x="12192000" y="6858000"/>
                </a:lnTo>
                <a:lnTo>
                  <a:pt x="0" y="6858000"/>
                </a:lnTo>
                <a:close/>
              </a:path>
            </a:pathLst>
          </a:custGeom>
          <a:solidFill>
            <a:schemeClr val="tx1">
              <a:lumMod val="75000"/>
              <a:lumOff val="25000"/>
            </a:schemeClr>
          </a:solidFill>
        </p:spPr>
        <p:txBody>
          <a:bodyPr wrap="square" tIns="108000">
            <a:noAutofit/>
          </a:bodyPr>
          <a:lstStyle>
            <a:lvl1pPr marL="0" indent="0" algn="ctr">
              <a:buNone/>
              <a:defRPr sz="1000">
                <a:solidFill>
                  <a:schemeClr val="accent1"/>
                </a:solidFill>
              </a:defRPr>
            </a:lvl1pPr>
          </a:lstStyle>
          <a:p>
            <a:r>
              <a:rPr lang="en-US"/>
              <a:t>Drag picture file here or click </a:t>
            </a:r>
            <a:r>
              <a:rPr lang="en-US" noProof="0"/>
              <a:t>center</a:t>
            </a:r>
            <a:r>
              <a:rPr lang="en-US"/>
              <a:t> icon to insert dark image</a:t>
            </a:r>
          </a:p>
          <a:p>
            <a:endParaRPr lang="en-GB"/>
          </a:p>
        </p:txBody>
      </p:sp>
      <p:sp>
        <p:nvSpPr>
          <p:cNvPr id="4" name="Text Placeholder 9">
            <a:extLst>
              <a:ext uri="{FF2B5EF4-FFF2-40B4-BE49-F238E27FC236}">
                <a16:creationId xmlns:a16="http://schemas.microsoft.com/office/drawing/2014/main" id="{727ADA16-810E-4756-F9FD-B28B2D16B91E}"/>
              </a:ext>
            </a:extLst>
          </p:cNvPr>
          <p:cNvSpPr>
            <a:spLocks noGrp="1"/>
          </p:cNvSpPr>
          <p:nvPr>
            <p:ph type="body" sz="quarter" idx="17" hasCustomPrompt="1"/>
          </p:nvPr>
        </p:nvSpPr>
        <p:spPr>
          <a:xfrm>
            <a:off x="3359150" y="4139077"/>
            <a:ext cx="5473700" cy="281703"/>
          </a:xfrm>
          <a:prstGeom prst="rect">
            <a:avLst/>
          </a:prstGeom>
        </p:spPr>
        <p:txBody>
          <a:bodyPr lIns="0" tIns="36000" rIns="0" bIns="0" anchor="t" anchorCtr="0">
            <a:noAutofit/>
          </a:bodyPr>
          <a:lstStyle>
            <a:lvl1pPr marL="0" indent="0" algn="ctr">
              <a:lnSpc>
                <a:spcPct val="85000"/>
              </a:lnSpc>
              <a:buNone/>
              <a:defRPr sz="2000">
                <a:solidFill>
                  <a:schemeClr val="bg1"/>
                </a:solidFill>
                <a:latin typeface="+mn-lt"/>
              </a:defRPr>
            </a:lvl1pPr>
          </a:lstStyle>
          <a:p>
            <a:pPr lvl="0"/>
            <a:r>
              <a:rPr lang="en-US"/>
              <a:t>Section break subtitle here</a:t>
            </a:r>
          </a:p>
        </p:txBody>
      </p:sp>
      <p:sp>
        <p:nvSpPr>
          <p:cNvPr id="5" name="Text Placeholder 9">
            <a:extLst>
              <a:ext uri="{FF2B5EF4-FFF2-40B4-BE49-F238E27FC236}">
                <a16:creationId xmlns:a16="http://schemas.microsoft.com/office/drawing/2014/main" id="{0C73479D-FCC5-E466-025F-FC70E9C8DDA5}"/>
              </a:ext>
            </a:extLst>
          </p:cNvPr>
          <p:cNvSpPr>
            <a:spLocks noGrp="1"/>
          </p:cNvSpPr>
          <p:nvPr>
            <p:ph type="body" sz="quarter" idx="16" hasCustomPrompt="1"/>
          </p:nvPr>
        </p:nvSpPr>
        <p:spPr>
          <a:xfrm>
            <a:off x="3359151" y="2442689"/>
            <a:ext cx="5473700" cy="1567891"/>
          </a:xfrm>
          <a:prstGeom prst="rect">
            <a:avLst/>
          </a:prstGeom>
        </p:spPr>
        <p:txBody>
          <a:bodyPr lIns="0" tIns="36000" rIns="0" bIns="0" anchor="b" anchorCtr="0">
            <a:noAutofit/>
          </a:bodyPr>
          <a:lstStyle>
            <a:lvl1pPr marL="0" indent="0" algn="ctr">
              <a:lnSpc>
                <a:spcPct val="85000"/>
              </a:lnSpc>
              <a:spcBef>
                <a:spcPts val="0"/>
              </a:spcBef>
              <a:buNone/>
              <a:defRPr sz="3600">
                <a:solidFill>
                  <a:schemeClr val="accent1"/>
                </a:solidFill>
                <a:latin typeface="+mj-lt"/>
              </a:defRPr>
            </a:lvl1pPr>
          </a:lstStyle>
          <a:p>
            <a:pPr lvl="0"/>
            <a:r>
              <a:rPr lang="en-US"/>
              <a:t>Section break two or three lines lorem ipsum dolor</a:t>
            </a:r>
          </a:p>
        </p:txBody>
      </p:sp>
    </p:spTree>
    <p:extLst>
      <p:ext uri="{BB962C8B-B14F-4D97-AF65-F5344CB8AC3E}">
        <p14:creationId xmlns:p14="http://schemas.microsoft.com/office/powerpoint/2010/main" val="22293801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Main text 50/50 white/grey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5AD33BE-D6EC-8048-AABB-B981F6436FE8}"/>
              </a:ext>
            </a:extLst>
          </p:cNvPr>
          <p:cNvSpPr/>
          <p:nvPr userDrawn="1"/>
        </p:nvSpPr>
        <p:spPr>
          <a:xfrm>
            <a:off x="6095998" y="1818000"/>
            <a:ext cx="6094800"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3">
            <a:extLst>
              <a:ext uri="{FF2B5EF4-FFF2-40B4-BE49-F238E27FC236}">
                <a16:creationId xmlns:a16="http://schemas.microsoft.com/office/drawing/2014/main" id="{A34006E6-1C84-6A4F-B3A5-6B8249A56F06}"/>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2" name="Text Placeholder 3">
            <a:extLst>
              <a:ext uri="{FF2B5EF4-FFF2-40B4-BE49-F238E27FC236}">
                <a16:creationId xmlns:a16="http://schemas.microsoft.com/office/drawing/2014/main" id="{C1012110-9642-9945-A607-364F317A84B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tx1"/>
                </a:solidFill>
              </a:defRPr>
            </a:lvl1pPr>
          </a:lstStyle>
          <a:p>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tx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4888515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Main text 50/50 white/grey w/o hea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568225-A33A-7544-8FD4-5E942BF9578C}"/>
              </a:ext>
            </a:extLst>
          </p:cNvPr>
          <p:cNvSpPr/>
          <p:nvPr userDrawn="1"/>
        </p:nvSpPr>
        <p:spPr>
          <a:xfrm>
            <a:off x="6095998" y="1818000"/>
            <a:ext cx="6094800"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tx1"/>
                </a:solidFill>
              </a:defRPr>
            </a:lvl1pPr>
          </a:lstStyle>
          <a:p>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tx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57377635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Main text 50/50 grey/whit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5" name="Text Placeholder 3">
            <a:extLst>
              <a:ext uri="{FF2B5EF4-FFF2-40B4-BE49-F238E27FC236}">
                <a16:creationId xmlns:a16="http://schemas.microsoft.com/office/drawing/2014/main" id="{0C24916B-7073-A645-AC28-AC50E4EE6AB2}"/>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3">
            <a:extLst>
              <a:ext uri="{FF2B5EF4-FFF2-40B4-BE49-F238E27FC236}">
                <a16:creationId xmlns:a16="http://schemas.microsoft.com/office/drawing/2014/main" id="{B255BB57-C512-7F4F-A455-728B309F967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E9CCCD57-DCFF-3B47-9D18-30F717FF1873}"/>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8" name="Text Placeholder 13">
            <a:extLst>
              <a:ext uri="{FF2B5EF4-FFF2-40B4-BE49-F238E27FC236}">
                <a16:creationId xmlns:a16="http://schemas.microsoft.com/office/drawing/2014/main" id="{F0B2163E-8C3E-5044-8665-2B1096B195BF}"/>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pic>
        <p:nvPicPr>
          <p:cNvPr id="12" name="Picture 11" descr="A close up of a flower&#10;&#10;Description automatically generated">
            <a:extLst>
              <a:ext uri="{FF2B5EF4-FFF2-40B4-BE49-F238E27FC236}">
                <a16:creationId xmlns:a16="http://schemas.microsoft.com/office/drawing/2014/main" id="{BEE46FBC-FA0C-544B-9413-A51580C854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387210662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Main text 50/50 grey/whit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12B5E11-0CAF-4846-B932-00CD64790CF8}"/>
              </a:ext>
            </a:extLst>
          </p:cNvPr>
          <p:cNvSpPr/>
          <p:nvPr userDrawn="1"/>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3">
            <a:extLst>
              <a:ext uri="{FF2B5EF4-FFF2-40B4-BE49-F238E27FC236}">
                <a16:creationId xmlns:a16="http://schemas.microsoft.com/office/drawing/2014/main" id="{99812FF6-2997-044C-8E32-806330582092}"/>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3" name="Text Placeholder 13">
            <a:extLst>
              <a:ext uri="{FF2B5EF4-FFF2-40B4-BE49-F238E27FC236}">
                <a16:creationId xmlns:a16="http://schemas.microsoft.com/office/drawing/2014/main" id="{9B615BFB-7BA2-F446-9DDC-E4359726B8A0}"/>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close up of a flower&#10;&#10;Description automatically generated">
            <a:extLst>
              <a:ext uri="{FF2B5EF4-FFF2-40B4-BE49-F238E27FC236}">
                <a16:creationId xmlns:a16="http://schemas.microsoft.com/office/drawing/2014/main" id="{FDED906E-CCC8-1F43-8487-492D706E25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329719441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Main text 50/50 white/purpl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5AD33BE-D6EC-8048-AABB-B981F6436FE8}"/>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3">
            <a:extLst>
              <a:ext uri="{FF2B5EF4-FFF2-40B4-BE49-F238E27FC236}">
                <a16:creationId xmlns:a16="http://schemas.microsoft.com/office/drawing/2014/main" id="{A34006E6-1C84-6A4F-B3A5-6B8249A56F06}"/>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2" name="Text Placeholder 3">
            <a:extLst>
              <a:ext uri="{FF2B5EF4-FFF2-40B4-BE49-F238E27FC236}">
                <a16:creationId xmlns:a16="http://schemas.microsoft.com/office/drawing/2014/main" id="{C1012110-9642-9945-A607-364F317A84B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71779297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Main text 50/50 white/purple w/o hea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568225-A33A-7544-8FD4-5E942BF9578C}"/>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44812800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Main text 50/50 purple/whit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5" name="Text Placeholder 3">
            <a:extLst>
              <a:ext uri="{FF2B5EF4-FFF2-40B4-BE49-F238E27FC236}">
                <a16:creationId xmlns:a16="http://schemas.microsoft.com/office/drawing/2014/main" id="{0C24916B-7073-A645-AC28-AC50E4EE6AB2}"/>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3">
            <a:extLst>
              <a:ext uri="{FF2B5EF4-FFF2-40B4-BE49-F238E27FC236}">
                <a16:creationId xmlns:a16="http://schemas.microsoft.com/office/drawing/2014/main" id="{B255BB57-C512-7F4F-A455-728B309F967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E9CCCD57-DCFF-3B47-9D18-30F717FF1873}"/>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8" name="Text Placeholder 13">
            <a:extLst>
              <a:ext uri="{FF2B5EF4-FFF2-40B4-BE49-F238E27FC236}">
                <a16:creationId xmlns:a16="http://schemas.microsoft.com/office/drawing/2014/main" id="{F0B2163E-8C3E-5044-8665-2B1096B195BF}"/>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60097708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ain text 50/50 purple/whit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12B5E11-0CAF-4846-B932-00CD64790CF8}"/>
              </a:ext>
            </a:extLst>
          </p:cNvPr>
          <p:cNvSpPr/>
          <p:nvPr userDrawn="1"/>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3">
            <a:extLst>
              <a:ext uri="{FF2B5EF4-FFF2-40B4-BE49-F238E27FC236}">
                <a16:creationId xmlns:a16="http://schemas.microsoft.com/office/drawing/2014/main" id="{99812FF6-2997-044C-8E32-806330582092}"/>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3" name="Text Placeholder 13">
            <a:extLst>
              <a:ext uri="{FF2B5EF4-FFF2-40B4-BE49-F238E27FC236}">
                <a16:creationId xmlns:a16="http://schemas.microsoft.com/office/drawing/2014/main" id="{9B615BFB-7BA2-F446-9DDC-E4359726B8A0}"/>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99592011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Main text 50/50 grey/purple w/header">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A0E6EEF-0319-8241-A315-2462BE25EBFE}"/>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95FC9F1E-3F15-7C4B-A204-DFEC8755F70D}"/>
              </a:ext>
            </a:extLst>
          </p:cNvPr>
          <p:cNvSpPr/>
          <p:nvPr userDrawn="1"/>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itle 1">
            <a:extLst>
              <a:ext uri="{FF2B5EF4-FFF2-40B4-BE49-F238E27FC236}">
                <a16:creationId xmlns:a16="http://schemas.microsoft.com/office/drawing/2014/main" id="{8AEEBF1F-8BED-EB4A-9EBC-BE827A56536A}"/>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9BECE40E-1419-2C48-96A9-BAFF6A660FA8}"/>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738B9CE-910D-5F44-85DB-A50BD7E67043}"/>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A7FA612B-694A-5B4B-95A0-DAC880C5FCBC}"/>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pic>
        <p:nvPicPr>
          <p:cNvPr id="19" name="Picture 18" descr="A close up of a flower&#10;&#10;Description automatically generated">
            <a:extLst>
              <a:ext uri="{FF2B5EF4-FFF2-40B4-BE49-F238E27FC236}">
                <a16:creationId xmlns:a16="http://schemas.microsoft.com/office/drawing/2014/main" id="{62CF73ED-33EB-664C-8650-561CF42FB2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16" name="Text Placeholder 3">
            <a:extLst>
              <a:ext uri="{FF2B5EF4-FFF2-40B4-BE49-F238E27FC236}">
                <a16:creationId xmlns:a16="http://schemas.microsoft.com/office/drawing/2014/main" id="{860FAD30-A284-6D46-8A2F-79D1EBA52390}"/>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1AF2F8FB-7695-7941-A7BE-D85B30974C40}"/>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3">
            <a:extLst>
              <a:ext uri="{FF2B5EF4-FFF2-40B4-BE49-F238E27FC236}">
                <a16:creationId xmlns:a16="http://schemas.microsoft.com/office/drawing/2014/main" id="{B7666B61-4B2A-154C-91C2-3F583EB183E0}"/>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5E486D05-B147-A34C-97DF-42FF5C99B9E9}"/>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34246385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Main text 50/50 grey/purple w/o header">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9A5ABF3D-F116-9D43-A201-D322D867AE26}"/>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FA76278E-1C64-7147-862D-32E70158FA6C}"/>
              </a:ext>
            </a:extLst>
          </p:cNvPr>
          <p:cNvSpPr/>
          <p:nvPr userDrawn="1"/>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itle 1">
            <a:extLst>
              <a:ext uri="{FF2B5EF4-FFF2-40B4-BE49-F238E27FC236}">
                <a16:creationId xmlns:a16="http://schemas.microsoft.com/office/drawing/2014/main" id="{8AEEBF1F-8BED-EB4A-9EBC-BE827A56536A}"/>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9BECE40E-1419-2C48-96A9-BAFF6A660FA8}"/>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738B9CE-910D-5F44-85DB-A50BD7E67043}"/>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A7FA612B-694A-5B4B-95A0-DAC880C5FCBC}"/>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pic>
        <p:nvPicPr>
          <p:cNvPr id="19" name="Picture 18" descr="A close up of a flower&#10;&#10;Description automatically generated">
            <a:extLst>
              <a:ext uri="{FF2B5EF4-FFF2-40B4-BE49-F238E27FC236}">
                <a16:creationId xmlns:a16="http://schemas.microsoft.com/office/drawing/2014/main" id="{62CF73ED-33EB-664C-8650-561CF42FB2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22" name="Text Placeholder 13">
            <a:extLst>
              <a:ext uri="{FF2B5EF4-FFF2-40B4-BE49-F238E27FC236}">
                <a16:creationId xmlns:a16="http://schemas.microsoft.com/office/drawing/2014/main" id="{5B2F66DD-006E-C74F-A313-C48CCC1D810D}"/>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ext Placeholder 13">
            <a:extLst>
              <a:ext uri="{FF2B5EF4-FFF2-40B4-BE49-F238E27FC236}">
                <a16:creationId xmlns:a16="http://schemas.microsoft.com/office/drawing/2014/main" id="{D3F14257-1662-7548-B1D5-F8F7D94055DA}"/>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3848740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x Columns / Big Stat">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4227518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Main text 50/50 purple/grey w/header">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8B846F1-26D2-F94C-8ABB-CA83B1151E53}"/>
              </a:ext>
            </a:extLst>
          </p:cNvPr>
          <p:cNvSpPr/>
          <p:nvPr userDrawn="1"/>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897F294D-54AB-7244-86AF-892FE611833D}"/>
              </a:ext>
            </a:extLst>
          </p:cNvPr>
          <p:cNvSpPr/>
          <p:nvPr userDrawn="1"/>
        </p:nvSpPr>
        <p:spPr>
          <a:xfrm>
            <a:off x="6096000" y="1812925"/>
            <a:ext cx="6100583"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itle 1">
            <a:extLst>
              <a:ext uri="{FF2B5EF4-FFF2-40B4-BE49-F238E27FC236}">
                <a16:creationId xmlns:a16="http://schemas.microsoft.com/office/drawing/2014/main" id="{D9E25C16-CF5F-2140-AD46-53B984FF4FC8}"/>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8E881D06-3B4E-9D47-95D1-84101E9D8D14}"/>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pic>
        <p:nvPicPr>
          <p:cNvPr id="32" name="Picture 31" descr="A picture containing drawing&#10;&#10;Description automatically generated">
            <a:extLst>
              <a:ext uri="{FF2B5EF4-FFF2-40B4-BE49-F238E27FC236}">
                <a16:creationId xmlns:a16="http://schemas.microsoft.com/office/drawing/2014/main" id="{E614C72A-D76C-794F-96DE-2FC3DFE91AF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60044A12-BB34-DD43-878F-0E26A90C9766}"/>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3EBECE8C-54A8-DB41-8A82-A9E26444772B}"/>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3">
            <a:extLst>
              <a:ext uri="{FF2B5EF4-FFF2-40B4-BE49-F238E27FC236}">
                <a16:creationId xmlns:a16="http://schemas.microsoft.com/office/drawing/2014/main" id="{8AA3D5A8-B1D6-6B41-BDBD-5A23B2A796E4}"/>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3">
            <a:extLst>
              <a:ext uri="{FF2B5EF4-FFF2-40B4-BE49-F238E27FC236}">
                <a16:creationId xmlns:a16="http://schemas.microsoft.com/office/drawing/2014/main" id="{8DFCF092-810A-7142-A0DD-8DDFA03B0284}"/>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D954E7F4-1086-EE4F-9C6A-78FDAACAD95D}"/>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C7F9F7FF-15D7-E246-9627-2357B6ADE86E}"/>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88962469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Main text 50/50 purple/grey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C8A08ED-C3C7-BA49-A2BF-BA3752BE5CD9}"/>
              </a:ext>
            </a:extLst>
          </p:cNvPr>
          <p:cNvSpPr/>
          <p:nvPr userDrawn="1"/>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D14C3603-F372-C748-B62E-BC914F420AF7}"/>
              </a:ext>
            </a:extLst>
          </p:cNvPr>
          <p:cNvSpPr/>
          <p:nvPr userDrawn="1"/>
        </p:nvSpPr>
        <p:spPr>
          <a:xfrm>
            <a:off x="6096000" y="1812925"/>
            <a:ext cx="6100583"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itle 1">
            <a:extLst>
              <a:ext uri="{FF2B5EF4-FFF2-40B4-BE49-F238E27FC236}">
                <a16:creationId xmlns:a16="http://schemas.microsoft.com/office/drawing/2014/main" id="{D9E25C16-CF5F-2140-AD46-53B984FF4FC8}"/>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8E881D06-3B4E-9D47-95D1-84101E9D8D14}"/>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pic>
        <p:nvPicPr>
          <p:cNvPr id="32" name="Picture 31" descr="A picture containing drawing&#10;&#10;Description automatically generated">
            <a:extLst>
              <a:ext uri="{FF2B5EF4-FFF2-40B4-BE49-F238E27FC236}">
                <a16:creationId xmlns:a16="http://schemas.microsoft.com/office/drawing/2014/main" id="{E614C72A-D76C-794F-96DE-2FC3DFE91AF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60044A12-BB34-DD43-878F-0E26A90C9766}"/>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3EBECE8C-54A8-DB41-8A82-A9E26444772B}"/>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4B708AB6-666D-D746-A2AD-3537AA35393D}"/>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4E4977B-5707-3E44-8FAC-E36B3F72E1C2}"/>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41178977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Main text 50/50 white/midnight blu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2D333B6-8BC3-5346-AB39-40E350E1DBA2}"/>
              </a:ext>
            </a:extLst>
          </p:cNvPr>
          <p:cNvSpPr/>
          <p:nvPr userDrawn="1"/>
        </p:nvSpPr>
        <p:spPr>
          <a:xfrm>
            <a:off x="6095998" y="1818000"/>
            <a:ext cx="6094800"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Placeholder 3">
            <a:extLst>
              <a:ext uri="{FF2B5EF4-FFF2-40B4-BE49-F238E27FC236}">
                <a16:creationId xmlns:a16="http://schemas.microsoft.com/office/drawing/2014/main" id="{2DCB46C7-DCCD-F644-A545-D6271453EFC9}"/>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8" name="Text Placeholder 3">
            <a:extLst>
              <a:ext uri="{FF2B5EF4-FFF2-40B4-BE49-F238E27FC236}">
                <a16:creationId xmlns:a16="http://schemas.microsoft.com/office/drawing/2014/main" id="{004A4DBF-BC06-1641-B863-B95B146DB88B}"/>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9" name="Text Placeholder 13">
            <a:extLst>
              <a:ext uri="{FF2B5EF4-FFF2-40B4-BE49-F238E27FC236}">
                <a16:creationId xmlns:a16="http://schemas.microsoft.com/office/drawing/2014/main" id="{2F8C1D8B-C9DB-004A-9164-B099722F306E}"/>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6DE5BC52-A639-4544-8180-97445AE61AE9}"/>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507DAECC-FCFF-394A-BA95-B06C09B3671E}"/>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F4C2DD84-1244-F344-B61E-13DE5265E758}"/>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86700445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Main text 50/50 white/midnight blue w/o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DF32596-A4B8-A848-BF99-D874D4ECFADE}"/>
              </a:ext>
            </a:extLst>
          </p:cNvPr>
          <p:cNvSpPr/>
          <p:nvPr userDrawn="1"/>
        </p:nvSpPr>
        <p:spPr>
          <a:xfrm>
            <a:off x="6095998" y="1818000"/>
            <a:ext cx="6094800"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13">
            <a:extLst>
              <a:ext uri="{FF2B5EF4-FFF2-40B4-BE49-F238E27FC236}">
                <a16:creationId xmlns:a16="http://schemas.microsoft.com/office/drawing/2014/main" id="{98B810A6-8959-324B-BFF8-9B25C275C8D0}"/>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13">
            <a:extLst>
              <a:ext uri="{FF2B5EF4-FFF2-40B4-BE49-F238E27FC236}">
                <a16:creationId xmlns:a16="http://schemas.microsoft.com/office/drawing/2014/main" id="{115BAD31-53A4-994D-8A40-73A3780F3DAB}"/>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507DAECC-FCFF-394A-BA95-B06C09B3671E}"/>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F4C2DD84-1244-F344-B61E-13DE5265E758}"/>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59950514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Main text 50/50 midnight blue/white w/heade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0A4B1A6-9DEB-3840-8E30-9618FDE23056}"/>
              </a:ext>
            </a:extLst>
          </p:cNvPr>
          <p:cNvSpPr/>
          <p:nvPr userDrawn="1"/>
        </p:nvSpPr>
        <p:spPr>
          <a:xfrm>
            <a:off x="0" y="1812925"/>
            <a:ext cx="6113935"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8BF6138-1CBE-314C-ADA5-C8977110BBE8}"/>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F78CC495-7A54-9B43-BB34-A31238DF5AF5}"/>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764716BC-D6A0-E842-90CD-EEF716DE153B}"/>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3" name="Text Placeholder 3">
            <a:extLst>
              <a:ext uri="{FF2B5EF4-FFF2-40B4-BE49-F238E27FC236}">
                <a16:creationId xmlns:a16="http://schemas.microsoft.com/office/drawing/2014/main" id="{69CC457F-61C8-204A-A792-8CDB92191F2F}"/>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3">
            <a:extLst>
              <a:ext uri="{FF2B5EF4-FFF2-40B4-BE49-F238E27FC236}">
                <a16:creationId xmlns:a16="http://schemas.microsoft.com/office/drawing/2014/main" id="{47325CA7-B014-8743-95D3-D820F6D8B87F}"/>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963E425E-363B-6C48-8C4D-82E2397C2585}"/>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2" name="Text Placeholder 13">
            <a:extLst>
              <a:ext uri="{FF2B5EF4-FFF2-40B4-BE49-F238E27FC236}">
                <a16:creationId xmlns:a16="http://schemas.microsoft.com/office/drawing/2014/main" id="{8C6A7F6F-0865-E948-AFBA-F15ABDA2EBC7}"/>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48484339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Main text 50/50 midnight blue/white w/o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21FEFC-1349-3442-9840-F49FC2CB01BD}"/>
              </a:ext>
            </a:extLst>
          </p:cNvPr>
          <p:cNvSpPr/>
          <p:nvPr userDrawn="1"/>
        </p:nvSpPr>
        <p:spPr>
          <a:xfrm>
            <a:off x="0" y="1812925"/>
            <a:ext cx="6113935"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8BF6138-1CBE-314C-ADA5-C8977110BBE8}"/>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F78CC495-7A54-9B43-BB34-A31238DF5AF5}"/>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7">
            <a:extLst>
              <a:ext uri="{FF2B5EF4-FFF2-40B4-BE49-F238E27FC236}">
                <a16:creationId xmlns:a16="http://schemas.microsoft.com/office/drawing/2014/main" id="{ACC065DA-B1E8-9547-96CF-B3C6A161D1EB}"/>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13">
            <a:extLst>
              <a:ext uri="{FF2B5EF4-FFF2-40B4-BE49-F238E27FC236}">
                <a16:creationId xmlns:a16="http://schemas.microsoft.com/office/drawing/2014/main" id="{DB41F25A-176B-404D-969B-1AA2EFDE3649}"/>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8FC7BFAB-4AE2-E640-9130-68F96BDA5EAC}"/>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66938370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Main text 50/50 white/teal w/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CE9B79D-F150-234B-9334-7703A681ADEB}"/>
              </a:ext>
            </a:extLst>
          </p:cNvPr>
          <p:cNvSpPr/>
          <p:nvPr userDrawn="1"/>
        </p:nvSpPr>
        <p:spPr>
          <a:xfrm>
            <a:off x="6095998" y="1818000"/>
            <a:ext cx="6094800"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FF4BE348-6172-C540-B69F-9DE30B28336F}"/>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C6B64D4E-940E-0945-BFDE-7F31E7DDA9DB}"/>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4" name="Text Placeholder 17">
            <a:extLst>
              <a:ext uri="{FF2B5EF4-FFF2-40B4-BE49-F238E27FC236}">
                <a16:creationId xmlns:a16="http://schemas.microsoft.com/office/drawing/2014/main" id="{A41A244A-0E94-C743-9CCF-9622ED3BE60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2" name="Text Placeholder 3">
            <a:extLst>
              <a:ext uri="{FF2B5EF4-FFF2-40B4-BE49-F238E27FC236}">
                <a16:creationId xmlns:a16="http://schemas.microsoft.com/office/drawing/2014/main" id="{3CEA5745-D3F2-7F44-A26C-0D15CE49CAA8}"/>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3">
            <a:extLst>
              <a:ext uri="{FF2B5EF4-FFF2-40B4-BE49-F238E27FC236}">
                <a16:creationId xmlns:a16="http://schemas.microsoft.com/office/drawing/2014/main" id="{344E1AFF-215A-244B-BF91-6A66BD3354BD}"/>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13">
            <a:extLst>
              <a:ext uri="{FF2B5EF4-FFF2-40B4-BE49-F238E27FC236}">
                <a16:creationId xmlns:a16="http://schemas.microsoft.com/office/drawing/2014/main" id="{8C577060-88B8-6C43-9E1B-1752D84963AC}"/>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7" name="Text Placeholder 13">
            <a:extLst>
              <a:ext uri="{FF2B5EF4-FFF2-40B4-BE49-F238E27FC236}">
                <a16:creationId xmlns:a16="http://schemas.microsoft.com/office/drawing/2014/main" id="{5362F7DA-5F6F-1949-B145-A9F180729CFD}"/>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55852736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Main text 50/50 white/teal w/o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8E957C0-9CB7-F34C-9D3F-BDB3AF70BB26}"/>
              </a:ext>
            </a:extLst>
          </p:cNvPr>
          <p:cNvSpPr/>
          <p:nvPr userDrawn="1"/>
        </p:nvSpPr>
        <p:spPr>
          <a:xfrm>
            <a:off x="6095998" y="1818000"/>
            <a:ext cx="6094800"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FF4BE348-6172-C540-B69F-9DE30B28336F}"/>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C6B64D4E-940E-0945-BFDE-7F31E7DDA9DB}"/>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4" name="Text Placeholder 17">
            <a:extLst>
              <a:ext uri="{FF2B5EF4-FFF2-40B4-BE49-F238E27FC236}">
                <a16:creationId xmlns:a16="http://schemas.microsoft.com/office/drawing/2014/main" id="{08D7DC17-D82A-4541-8324-5873EB15188B}"/>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0" name="Text Placeholder 13">
            <a:extLst>
              <a:ext uri="{FF2B5EF4-FFF2-40B4-BE49-F238E27FC236}">
                <a16:creationId xmlns:a16="http://schemas.microsoft.com/office/drawing/2014/main" id="{9B32D610-504C-1747-A184-FEDB798234AA}"/>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13">
            <a:extLst>
              <a:ext uri="{FF2B5EF4-FFF2-40B4-BE49-F238E27FC236}">
                <a16:creationId xmlns:a16="http://schemas.microsoft.com/office/drawing/2014/main" id="{5BE1D52D-7F4E-084B-BF4E-6F6D6B915928}"/>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25253389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Main text 50/50 teal/white w/heade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4157A42-44B8-844A-BD5A-9366E35442F4}"/>
              </a:ext>
            </a:extLst>
          </p:cNvPr>
          <p:cNvSpPr/>
          <p:nvPr userDrawn="1"/>
        </p:nvSpPr>
        <p:spPr>
          <a:xfrm>
            <a:off x="0" y="1812925"/>
            <a:ext cx="6113935"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3">
            <a:extLst>
              <a:ext uri="{FF2B5EF4-FFF2-40B4-BE49-F238E27FC236}">
                <a16:creationId xmlns:a16="http://schemas.microsoft.com/office/drawing/2014/main" id="{03299CE2-F83A-954F-B086-9821797DEBF0}"/>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3">
            <a:extLst>
              <a:ext uri="{FF2B5EF4-FFF2-40B4-BE49-F238E27FC236}">
                <a16:creationId xmlns:a16="http://schemas.microsoft.com/office/drawing/2014/main" id="{2F967615-8EAD-184B-9CF4-1F33BBE004AA}"/>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26689692-E3DF-F34F-8015-C71F85583EFD}"/>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B20E8C6-D337-6146-BFCE-2927AE23CE6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8829ADB6-6425-694B-AC2D-032E7D9C5C79}"/>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611DCC5B-D73F-7E48-8BBB-5EDC48C2E4C7}"/>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13">
            <a:extLst>
              <a:ext uri="{FF2B5EF4-FFF2-40B4-BE49-F238E27FC236}">
                <a16:creationId xmlns:a16="http://schemas.microsoft.com/office/drawing/2014/main" id="{DC3754CE-2934-4642-9675-3A5455A18298}"/>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57104114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Main text 50/50 teal/white w/o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0BFAB3E-2631-0946-A3BA-B24614F39DFC}"/>
              </a:ext>
            </a:extLst>
          </p:cNvPr>
          <p:cNvSpPr/>
          <p:nvPr userDrawn="1"/>
        </p:nvSpPr>
        <p:spPr>
          <a:xfrm>
            <a:off x="0" y="1812925"/>
            <a:ext cx="6113935"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B20E8C6-D337-6146-BFCE-2927AE23CE6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8829ADB6-6425-694B-AC2D-032E7D9C5C79}"/>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7">
            <a:extLst>
              <a:ext uri="{FF2B5EF4-FFF2-40B4-BE49-F238E27FC236}">
                <a16:creationId xmlns:a16="http://schemas.microsoft.com/office/drawing/2014/main" id="{EC643DD7-8DCA-1743-9A15-D5DB561A27E8}"/>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13">
            <a:extLst>
              <a:ext uri="{FF2B5EF4-FFF2-40B4-BE49-F238E27FC236}">
                <a16:creationId xmlns:a16="http://schemas.microsoft.com/office/drawing/2014/main" id="{04014A15-5D94-2B4B-A365-9CEB803627FC}"/>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126767C9-03AC-C448-B453-518E3C08BD6E}"/>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0296076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856284"/>
      </p:ext>
    </p:extLst>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Main text 2/3 white left w/header ">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3" name="Straight Connector 2">
            <a:extLst>
              <a:ext uri="{FF2B5EF4-FFF2-40B4-BE49-F238E27FC236}">
                <a16:creationId xmlns:a16="http://schemas.microsoft.com/office/drawing/2014/main" id="{0BB342F3-2AEF-2A4B-8212-B7DD3E4ABE38}"/>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C846A06-A38A-1F4A-B997-32809391CD12}"/>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4CE51DDD-655C-2040-89FB-6EB47DF313DF}"/>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3" name="Text Placeholder 3">
            <a:extLst>
              <a:ext uri="{FF2B5EF4-FFF2-40B4-BE49-F238E27FC236}">
                <a16:creationId xmlns:a16="http://schemas.microsoft.com/office/drawing/2014/main" id="{E2A3375C-F4DA-534A-8FFE-E3ECCA85F8BC}"/>
              </a:ext>
            </a:extLst>
          </p:cNvPr>
          <p:cNvSpPr>
            <a:spLocks noGrp="1"/>
          </p:cNvSpPr>
          <p:nvPr>
            <p:ph type="body" sz="quarter" idx="33" hasCustomPrompt="1"/>
          </p:nvPr>
        </p:nvSpPr>
        <p:spPr>
          <a:xfrm>
            <a:off x="8309230" y="1828800"/>
            <a:ext cx="3313419" cy="328768"/>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0" name="Text Placeholder 3">
            <a:extLst>
              <a:ext uri="{FF2B5EF4-FFF2-40B4-BE49-F238E27FC236}">
                <a16:creationId xmlns:a16="http://schemas.microsoft.com/office/drawing/2014/main" id="{8120790D-39D6-F84E-8E29-B0A7B97BF9C1}"/>
              </a:ext>
            </a:extLst>
          </p:cNvPr>
          <p:cNvSpPr>
            <a:spLocks noGrp="1"/>
          </p:cNvSpPr>
          <p:nvPr>
            <p:ph type="body" sz="quarter" idx="35" hasCustomPrompt="1"/>
          </p:nvPr>
        </p:nvSpPr>
        <p:spPr>
          <a:xfrm>
            <a:off x="576000" y="1828800"/>
            <a:ext cx="6840000" cy="328768"/>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8EBA9C20-39C2-5242-A06C-5284C3FFBB8A}"/>
              </a:ext>
            </a:extLst>
          </p:cNvPr>
          <p:cNvSpPr>
            <a:spLocks noGrp="1"/>
          </p:cNvSpPr>
          <p:nvPr>
            <p:ph type="body" sz="quarter" idx="36" hasCustomPrompt="1"/>
          </p:nvPr>
        </p:nvSpPr>
        <p:spPr>
          <a:xfrm>
            <a:off x="576000"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2" name="Text Placeholder 13">
            <a:extLst>
              <a:ext uri="{FF2B5EF4-FFF2-40B4-BE49-F238E27FC236}">
                <a16:creationId xmlns:a16="http://schemas.microsoft.com/office/drawing/2014/main" id="{7AD8EF7B-17C3-BE4A-9C63-52432223E5AB}"/>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D2F59A6E-D3BB-A44A-9EBE-13185639BEB1}"/>
              </a:ext>
            </a:extLst>
          </p:cNvPr>
          <p:cNvSpPr>
            <a:spLocks noGrp="1"/>
          </p:cNvSpPr>
          <p:nvPr>
            <p:ph type="ftr" sz="quarter" idx="38"/>
          </p:nvPr>
        </p:nvSpPr>
        <p:spPr/>
        <p:txBody>
          <a:bodyPr/>
          <a:lstStyle/>
          <a:p>
            <a:endParaRPr lang="en-GB"/>
          </a:p>
        </p:txBody>
      </p:sp>
      <p:sp>
        <p:nvSpPr>
          <p:cNvPr id="4" name="Slide Number Placeholder 3">
            <a:extLst>
              <a:ext uri="{FF2B5EF4-FFF2-40B4-BE49-F238E27FC236}">
                <a16:creationId xmlns:a16="http://schemas.microsoft.com/office/drawing/2014/main" id="{4002871F-6982-AF49-A935-DB98796CCC0C}"/>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88126609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ain text 2/3 white left w/o header ">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3" name="Straight Connector 2">
            <a:extLst>
              <a:ext uri="{FF2B5EF4-FFF2-40B4-BE49-F238E27FC236}">
                <a16:creationId xmlns:a16="http://schemas.microsoft.com/office/drawing/2014/main" id="{0BB342F3-2AEF-2A4B-8212-B7DD3E4ABE38}"/>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C846A06-A38A-1F4A-B997-32809391CD12}"/>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4CE51DDD-655C-2040-89FB-6EB47DF313DF}"/>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3" name="Text Placeholder 3">
            <a:extLst>
              <a:ext uri="{FF2B5EF4-FFF2-40B4-BE49-F238E27FC236}">
                <a16:creationId xmlns:a16="http://schemas.microsoft.com/office/drawing/2014/main" id="{E2A3375C-F4DA-534A-8FFE-E3ECCA85F8BC}"/>
              </a:ext>
            </a:extLst>
          </p:cNvPr>
          <p:cNvSpPr>
            <a:spLocks noGrp="1"/>
          </p:cNvSpPr>
          <p:nvPr>
            <p:ph type="body" sz="quarter" idx="33" hasCustomPrompt="1"/>
          </p:nvPr>
        </p:nvSpPr>
        <p:spPr>
          <a:xfrm>
            <a:off x="8309230" y="1828800"/>
            <a:ext cx="3313419" cy="328768"/>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8EBA9C20-39C2-5242-A06C-5284C3FFBB8A}"/>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2" name="Text Placeholder 13">
            <a:extLst>
              <a:ext uri="{FF2B5EF4-FFF2-40B4-BE49-F238E27FC236}">
                <a16:creationId xmlns:a16="http://schemas.microsoft.com/office/drawing/2014/main" id="{7AD8EF7B-17C3-BE4A-9C63-52432223E5AB}"/>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D2F59A6E-D3BB-A44A-9EBE-13185639BEB1}"/>
              </a:ext>
            </a:extLst>
          </p:cNvPr>
          <p:cNvSpPr>
            <a:spLocks noGrp="1"/>
          </p:cNvSpPr>
          <p:nvPr>
            <p:ph type="ftr" sz="quarter" idx="38"/>
          </p:nvPr>
        </p:nvSpPr>
        <p:spPr/>
        <p:txBody>
          <a:bodyPr/>
          <a:lstStyle/>
          <a:p>
            <a:endParaRPr lang="en-GB"/>
          </a:p>
        </p:txBody>
      </p:sp>
      <p:sp>
        <p:nvSpPr>
          <p:cNvPr id="4" name="Slide Number Placeholder 3">
            <a:extLst>
              <a:ext uri="{FF2B5EF4-FFF2-40B4-BE49-F238E27FC236}">
                <a16:creationId xmlns:a16="http://schemas.microsoft.com/office/drawing/2014/main" id="{4002871F-6982-AF49-A935-DB98796CCC0C}"/>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407273738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Main text 2/3 grey left w/header ">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6DDE75E-4FAB-C544-959F-6812E06E29A2}"/>
              </a:ext>
            </a:extLst>
          </p:cNvPr>
          <p:cNvSpPr/>
          <p:nvPr userDrawn="1"/>
        </p:nvSpPr>
        <p:spPr>
          <a:xfrm>
            <a:off x="0" y="0"/>
            <a:ext cx="7859713"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6" name="Title 1">
            <a:extLst>
              <a:ext uri="{FF2B5EF4-FFF2-40B4-BE49-F238E27FC236}">
                <a16:creationId xmlns:a16="http://schemas.microsoft.com/office/drawing/2014/main" id="{4CFD23E7-B20B-CC42-9CEC-6DFA7E93B886}"/>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F9EBC56F-7636-F248-AD91-406ED947F330}"/>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3">
            <a:extLst>
              <a:ext uri="{FF2B5EF4-FFF2-40B4-BE49-F238E27FC236}">
                <a16:creationId xmlns:a16="http://schemas.microsoft.com/office/drawing/2014/main" id="{63D8BF02-01B0-1046-91D6-3413EB64299A}"/>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84A777FF-E194-0D49-9569-FA55251196D3}"/>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7" name="Straight Connector 16">
            <a:extLst>
              <a:ext uri="{FF2B5EF4-FFF2-40B4-BE49-F238E27FC236}">
                <a16:creationId xmlns:a16="http://schemas.microsoft.com/office/drawing/2014/main" id="{F610E490-0A27-B041-985C-C1E8A1E49BD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B90EAE31-A6A2-2246-B481-CB4D7C8622DE}"/>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5C58590B-0EA4-1147-8322-60FF52D4DA21}"/>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084B0DA6-B4C7-B547-BB86-24CABE178B99}"/>
              </a:ext>
            </a:extLst>
          </p:cNvPr>
          <p:cNvSpPr>
            <a:spLocks noGrp="1"/>
          </p:cNvSpPr>
          <p:nvPr>
            <p:ph type="ftr" sz="quarter" idx="38"/>
          </p:nvPr>
        </p:nvSpPr>
        <p:spPr>
          <a:xfrm>
            <a:off x="8040688" y="6541200"/>
            <a:ext cx="2910462" cy="162000"/>
          </a:xfrm>
        </p:spPr>
        <p:txBody>
          <a:bodyPr/>
          <a:lstStyle/>
          <a:p>
            <a:endParaRPr lang="en-GB"/>
          </a:p>
        </p:txBody>
      </p:sp>
      <p:sp>
        <p:nvSpPr>
          <p:cNvPr id="3" name="Slide Number Placeholder 2">
            <a:extLst>
              <a:ext uri="{FF2B5EF4-FFF2-40B4-BE49-F238E27FC236}">
                <a16:creationId xmlns:a16="http://schemas.microsoft.com/office/drawing/2014/main" id="{65CF9687-0AB9-B449-86A8-E2251CA2DE21}"/>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4" name="Picture 23" descr="A close up of a flower&#10;&#10;Description automatically generated">
            <a:extLst>
              <a:ext uri="{FF2B5EF4-FFF2-40B4-BE49-F238E27FC236}">
                <a16:creationId xmlns:a16="http://schemas.microsoft.com/office/drawing/2014/main" id="{9E24E914-75CF-9646-89C4-92E0B041A5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52332341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Main text 2/3 grey left w/o header ">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6DDE75E-4FAB-C544-959F-6812E06E29A2}"/>
              </a:ext>
            </a:extLst>
          </p:cNvPr>
          <p:cNvSpPr/>
          <p:nvPr userDrawn="1"/>
        </p:nvSpPr>
        <p:spPr>
          <a:xfrm>
            <a:off x="0" y="0"/>
            <a:ext cx="7859713"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6" name="Title 1">
            <a:extLst>
              <a:ext uri="{FF2B5EF4-FFF2-40B4-BE49-F238E27FC236}">
                <a16:creationId xmlns:a16="http://schemas.microsoft.com/office/drawing/2014/main" id="{4CFD23E7-B20B-CC42-9CEC-6DFA7E93B886}"/>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F9EBC56F-7636-F248-AD91-406ED947F330}"/>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17" name="Straight Connector 16">
            <a:extLst>
              <a:ext uri="{FF2B5EF4-FFF2-40B4-BE49-F238E27FC236}">
                <a16:creationId xmlns:a16="http://schemas.microsoft.com/office/drawing/2014/main" id="{F610E490-0A27-B041-985C-C1E8A1E49BD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B90EAE31-A6A2-2246-B481-CB4D7C8622DE}"/>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5C58590B-0EA4-1147-8322-60FF52D4DA21}"/>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084B0DA6-B4C7-B547-BB86-24CABE178B99}"/>
              </a:ext>
            </a:extLst>
          </p:cNvPr>
          <p:cNvSpPr>
            <a:spLocks noGrp="1"/>
          </p:cNvSpPr>
          <p:nvPr>
            <p:ph type="ftr" sz="quarter" idx="38"/>
          </p:nvPr>
        </p:nvSpPr>
        <p:spPr>
          <a:xfrm>
            <a:off x="8040688" y="6541200"/>
            <a:ext cx="2910462" cy="162000"/>
          </a:xfrm>
        </p:spPr>
        <p:txBody>
          <a:bodyPr/>
          <a:lstStyle/>
          <a:p>
            <a:endParaRPr lang="en-GB"/>
          </a:p>
        </p:txBody>
      </p:sp>
      <p:sp>
        <p:nvSpPr>
          <p:cNvPr id="3" name="Slide Number Placeholder 2">
            <a:extLst>
              <a:ext uri="{FF2B5EF4-FFF2-40B4-BE49-F238E27FC236}">
                <a16:creationId xmlns:a16="http://schemas.microsoft.com/office/drawing/2014/main" id="{65CF9687-0AB9-B449-86A8-E2251CA2DE21}"/>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4" name="Picture 23" descr="A close up of a flower&#10;&#10;Description automatically generated">
            <a:extLst>
              <a:ext uri="{FF2B5EF4-FFF2-40B4-BE49-F238E27FC236}">
                <a16:creationId xmlns:a16="http://schemas.microsoft.com/office/drawing/2014/main" id="{9E24E914-75CF-9646-89C4-92E0B041A5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14" name="Text Placeholder 13">
            <a:extLst>
              <a:ext uri="{FF2B5EF4-FFF2-40B4-BE49-F238E27FC236}">
                <a16:creationId xmlns:a16="http://schemas.microsoft.com/office/drawing/2014/main" id="{3784222C-298E-FB49-BAA7-B08E93FA8333}"/>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03809094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Main text 2/3 purple left w/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D0422C92-9543-4244-BC08-542A48DD5219}"/>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609716-EF8A-0B4F-A1E2-A9854D3E9EDE}"/>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6D69C09-EA8D-6A40-932D-E6B5E32C31BD}"/>
              </a:ext>
            </a:extLst>
          </p:cNvPr>
          <p:cNvSpPr>
            <a:spLocks noGrp="1"/>
          </p:cNvSpPr>
          <p:nvPr>
            <p:ph type="ftr" sz="quarter" idx="38"/>
          </p:nvPr>
        </p:nvSpPr>
        <p:spPr>
          <a:xfrm>
            <a:off x="8040688" y="6541200"/>
            <a:ext cx="2910462" cy="162000"/>
          </a:xfrm>
        </p:spPr>
        <p:txBody>
          <a:bodyPr/>
          <a:lstStyle/>
          <a:p>
            <a:endParaRPr lang="en-GB"/>
          </a:p>
        </p:txBody>
      </p:sp>
      <p:sp>
        <p:nvSpPr>
          <p:cNvPr id="3" name="Slide Number Placeholder 2">
            <a:extLst>
              <a:ext uri="{FF2B5EF4-FFF2-40B4-BE49-F238E27FC236}">
                <a16:creationId xmlns:a16="http://schemas.microsoft.com/office/drawing/2014/main" id="{10BEDA77-3ACB-284D-9CBE-4BFB3ACF8482}"/>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30714745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Main text 2/3 purple left w/o 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6D69C09-EA8D-6A40-932D-E6B5E32C31BD}"/>
              </a:ext>
            </a:extLst>
          </p:cNvPr>
          <p:cNvSpPr>
            <a:spLocks noGrp="1"/>
          </p:cNvSpPr>
          <p:nvPr>
            <p:ph type="ftr" sz="quarter" idx="38"/>
          </p:nvPr>
        </p:nvSpPr>
        <p:spPr>
          <a:xfrm>
            <a:off x="8040688" y="6541200"/>
            <a:ext cx="2910462" cy="162000"/>
          </a:xfrm>
        </p:spPr>
        <p:txBody>
          <a:bodyPr/>
          <a:lstStyle/>
          <a:p>
            <a:endParaRPr lang="en-GB"/>
          </a:p>
        </p:txBody>
      </p:sp>
      <p:sp>
        <p:nvSpPr>
          <p:cNvPr id="3" name="Slide Number Placeholder 2">
            <a:extLst>
              <a:ext uri="{FF2B5EF4-FFF2-40B4-BE49-F238E27FC236}">
                <a16:creationId xmlns:a16="http://schemas.microsoft.com/office/drawing/2014/main" id="{10BEDA77-3ACB-284D-9CBE-4BFB3ACF8482}"/>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7C03D75D-1747-2C4E-9AB3-DE6E62E7C380}"/>
              </a:ext>
            </a:extLst>
          </p:cNvPr>
          <p:cNvSpPr>
            <a:spLocks noGrp="1"/>
          </p:cNvSpPr>
          <p:nvPr>
            <p:ph type="body" sz="quarter" idx="36" hasCustomPrompt="1"/>
          </p:nvPr>
        </p:nvSpPr>
        <p:spPr>
          <a:xfrm>
            <a:off x="576000" y="1828801"/>
            <a:ext cx="6840000" cy="42672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72324295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Main text 2/3 midnight blue left w/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D0422C92-9543-4244-BC08-542A48DD5219}"/>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609716-EF8A-0B4F-A1E2-A9854D3E9EDE}"/>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41A9B71-BFD1-4849-9BF4-A8AC34E57F78}"/>
              </a:ext>
            </a:extLst>
          </p:cNvPr>
          <p:cNvSpPr>
            <a:spLocks noGrp="1"/>
          </p:cNvSpPr>
          <p:nvPr>
            <p:ph type="ftr" sz="quarter" idx="38"/>
          </p:nvPr>
        </p:nvSpPr>
        <p:spPr>
          <a:xfrm>
            <a:off x="8040688" y="6541199"/>
            <a:ext cx="2910462" cy="162000"/>
          </a:xfrm>
        </p:spPr>
        <p:txBody>
          <a:bodyPr/>
          <a:lstStyle/>
          <a:p>
            <a:endParaRPr lang="en-GB"/>
          </a:p>
        </p:txBody>
      </p:sp>
      <p:sp>
        <p:nvSpPr>
          <p:cNvPr id="3" name="Slide Number Placeholder 2">
            <a:extLst>
              <a:ext uri="{FF2B5EF4-FFF2-40B4-BE49-F238E27FC236}">
                <a16:creationId xmlns:a16="http://schemas.microsoft.com/office/drawing/2014/main" id="{F446FE08-7A1E-0443-961A-8A9314D94318}"/>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39113603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Main text 2/3 midnight blue left w/o 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41A9B71-BFD1-4849-9BF4-A8AC34E57F78}"/>
              </a:ext>
            </a:extLst>
          </p:cNvPr>
          <p:cNvSpPr>
            <a:spLocks noGrp="1"/>
          </p:cNvSpPr>
          <p:nvPr>
            <p:ph type="ftr" sz="quarter" idx="38"/>
          </p:nvPr>
        </p:nvSpPr>
        <p:spPr>
          <a:xfrm>
            <a:off x="8040688" y="6541199"/>
            <a:ext cx="2910462" cy="162000"/>
          </a:xfrm>
        </p:spPr>
        <p:txBody>
          <a:bodyPr/>
          <a:lstStyle/>
          <a:p>
            <a:endParaRPr lang="en-GB"/>
          </a:p>
        </p:txBody>
      </p:sp>
      <p:sp>
        <p:nvSpPr>
          <p:cNvPr id="3" name="Slide Number Placeholder 2">
            <a:extLst>
              <a:ext uri="{FF2B5EF4-FFF2-40B4-BE49-F238E27FC236}">
                <a16:creationId xmlns:a16="http://schemas.microsoft.com/office/drawing/2014/main" id="{F446FE08-7A1E-0443-961A-8A9314D94318}"/>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1EFCDD34-506C-1842-A086-35F9BDE8727B}"/>
              </a:ext>
            </a:extLst>
          </p:cNvPr>
          <p:cNvSpPr>
            <a:spLocks noGrp="1"/>
          </p:cNvSpPr>
          <p:nvPr>
            <p:ph type="body" sz="quarter" idx="36" hasCustomPrompt="1"/>
          </p:nvPr>
        </p:nvSpPr>
        <p:spPr>
          <a:xfrm>
            <a:off x="576000" y="1828801"/>
            <a:ext cx="6840000" cy="42672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22241621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Main text 2/3 teal left w/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D0422C92-9543-4244-BC08-542A48DD5219}"/>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609716-EF8A-0B4F-A1E2-A9854D3E9EDE}"/>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9BCE83BB-2061-1049-8610-43918D96B3C4}"/>
              </a:ext>
            </a:extLst>
          </p:cNvPr>
          <p:cNvSpPr>
            <a:spLocks noGrp="1"/>
          </p:cNvSpPr>
          <p:nvPr>
            <p:ph type="ftr" sz="quarter" idx="38"/>
          </p:nvPr>
        </p:nvSpPr>
        <p:spPr>
          <a:xfrm>
            <a:off x="8040688" y="6541199"/>
            <a:ext cx="2910462" cy="162000"/>
          </a:xfrm>
        </p:spPr>
        <p:txBody>
          <a:bodyPr/>
          <a:lstStyle/>
          <a:p>
            <a:endParaRPr lang="en-GB"/>
          </a:p>
        </p:txBody>
      </p:sp>
      <p:sp>
        <p:nvSpPr>
          <p:cNvPr id="3" name="Slide Number Placeholder 2">
            <a:extLst>
              <a:ext uri="{FF2B5EF4-FFF2-40B4-BE49-F238E27FC236}">
                <a16:creationId xmlns:a16="http://schemas.microsoft.com/office/drawing/2014/main" id="{5E04F3B5-9FA5-824E-96E3-E66B7EC38F28}"/>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20927814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Main text 2/3 teal left w/o 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9BCE83BB-2061-1049-8610-43918D96B3C4}"/>
              </a:ext>
            </a:extLst>
          </p:cNvPr>
          <p:cNvSpPr>
            <a:spLocks noGrp="1"/>
          </p:cNvSpPr>
          <p:nvPr>
            <p:ph type="ftr" sz="quarter" idx="38"/>
          </p:nvPr>
        </p:nvSpPr>
        <p:spPr>
          <a:xfrm>
            <a:off x="8040688" y="6541199"/>
            <a:ext cx="2910462" cy="162000"/>
          </a:xfrm>
        </p:spPr>
        <p:txBody>
          <a:bodyPr/>
          <a:lstStyle/>
          <a:p>
            <a:endParaRPr lang="en-GB"/>
          </a:p>
        </p:txBody>
      </p:sp>
      <p:sp>
        <p:nvSpPr>
          <p:cNvPr id="3" name="Slide Number Placeholder 2">
            <a:extLst>
              <a:ext uri="{FF2B5EF4-FFF2-40B4-BE49-F238E27FC236}">
                <a16:creationId xmlns:a16="http://schemas.microsoft.com/office/drawing/2014/main" id="{5E04F3B5-9FA5-824E-96E3-E66B7EC38F28}"/>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692E443D-103A-3E46-B37E-C67192C9F991}"/>
              </a:ext>
            </a:extLst>
          </p:cNvPr>
          <p:cNvSpPr>
            <a:spLocks noGrp="1"/>
          </p:cNvSpPr>
          <p:nvPr>
            <p:ph type="body" sz="quarter" idx="36" hasCustomPrompt="1"/>
          </p:nvPr>
        </p:nvSpPr>
        <p:spPr>
          <a:xfrm>
            <a:off x="576000" y="1828801"/>
            <a:ext cx="6840000" cy="42672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9898932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Text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73970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Main text 2/3 grey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15" name="Straight Connector 14">
            <a:extLst>
              <a:ext uri="{FF2B5EF4-FFF2-40B4-BE49-F238E27FC236}">
                <a16:creationId xmlns:a16="http://schemas.microsoft.com/office/drawing/2014/main" id="{7331EEE4-0CE7-C848-979E-814A438A7DC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E0E30AFB-F168-044B-8994-23AC145A1520}"/>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D4C938-9E8C-184A-A122-F5D5E30F4406}"/>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itle 1">
            <a:extLst>
              <a:ext uri="{FF2B5EF4-FFF2-40B4-BE49-F238E27FC236}">
                <a16:creationId xmlns:a16="http://schemas.microsoft.com/office/drawing/2014/main" id="{1AA211F1-D557-8B40-9962-C7116006DB0C}"/>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8" name="Text Placeholder 17">
            <a:extLst>
              <a:ext uri="{FF2B5EF4-FFF2-40B4-BE49-F238E27FC236}">
                <a16:creationId xmlns:a16="http://schemas.microsoft.com/office/drawing/2014/main" id="{3767E6C4-69DA-9D4E-B0C1-77A7FC0292DD}"/>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9" name="Text Placeholder 3">
            <a:extLst>
              <a:ext uri="{FF2B5EF4-FFF2-40B4-BE49-F238E27FC236}">
                <a16:creationId xmlns:a16="http://schemas.microsoft.com/office/drawing/2014/main" id="{800279DE-E891-8D4D-8052-AC7D552EDCB7}"/>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0" name="Text Placeholder 13">
            <a:extLst>
              <a:ext uri="{FF2B5EF4-FFF2-40B4-BE49-F238E27FC236}">
                <a16:creationId xmlns:a16="http://schemas.microsoft.com/office/drawing/2014/main" id="{AA351A70-9DF4-4346-AEDE-D1D20B56D415}"/>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3785362D-80E3-4249-93BA-EC63860EE633}"/>
              </a:ext>
            </a:extLst>
          </p:cNvPr>
          <p:cNvSpPr>
            <a:spLocks noGrp="1"/>
          </p:cNvSpPr>
          <p:nvPr>
            <p:ph type="ftr" sz="quarter" idx="38"/>
          </p:nvPr>
        </p:nvSpPr>
        <p:spPr>
          <a:xfrm>
            <a:off x="8040688" y="6541199"/>
            <a:ext cx="2910462" cy="162000"/>
          </a:xfrm>
        </p:spPr>
        <p:txBody>
          <a:bodyPr/>
          <a:lstStyle/>
          <a:p>
            <a:endParaRPr lang="en-GB"/>
          </a:p>
        </p:txBody>
      </p:sp>
      <p:sp>
        <p:nvSpPr>
          <p:cNvPr id="4" name="Slide Number Placeholder 3">
            <a:extLst>
              <a:ext uri="{FF2B5EF4-FFF2-40B4-BE49-F238E27FC236}">
                <a16:creationId xmlns:a16="http://schemas.microsoft.com/office/drawing/2014/main" id="{59B8B99A-9B43-1243-908F-541BCD01B3CF}"/>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18223781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Main text 2/3 grey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15" name="Straight Connector 14">
            <a:extLst>
              <a:ext uri="{FF2B5EF4-FFF2-40B4-BE49-F238E27FC236}">
                <a16:creationId xmlns:a16="http://schemas.microsoft.com/office/drawing/2014/main" id="{7331EEE4-0CE7-C848-979E-814A438A7DC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E0E30AFB-F168-044B-8994-23AC145A1520}"/>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D4C938-9E8C-184A-A122-F5D5E30F4406}"/>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itle 1">
            <a:extLst>
              <a:ext uri="{FF2B5EF4-FFF2-40B4-BE49-F238E27FC236}">
                <a16:creationId xmlns:a16="http://schemas.microsoft.com/office/drawing/2014/main" id="{1AA211F1-D557-8B40-9962-C7116006DB0C}"/>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8" name="Text Placeholder 17">
            <a:extLst>
              <a:ext uri="{FF2B5EF4-FFF2-40B4-BE49-F238E27FC236}">
                <a16:creationId xmlns:a16="http://schemas.microsoft.com/office/drawing/2014/main" id="{3767E6C4-69DA-9D4E-B0C1-77A7FC0292DD}"/>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3" name="Footer Placeholder 2">
            <a:extLst>
              <a:ext uri="{FF2B5EF4-FFF2-40B4-BE49-F238E27FC236}">
                <a16:creationId xmlns:a16="http://schemas.microsoft.com/office/drawing/2014/main" id="{3785362D-80E3-4249-93BA-EC63860EE633}"/>
              </a:ext>
            </a:extLst>
          </p:cNvPr>
          <p:cNvSpPr>
            <a:spLocks noGrp="1"/>
          </p:cNvSpPr>
          <p:nvPr>
            <p:ph type="ftr" sz="quarter" idx="38"/>
          </p:nvPr>
        </p:nvSpPr>
        <p:spPr>
          <a:xfrm>
            <a:off x="8040688" y="6541199"/>
            <a:ext cx="2910462" cy="162000"/>
          </a:xfrm>
        </p:spPr>
        <p:txBody>
          <a:bodyPr/>
          <a:lstStyle/>
          <a:p>
            <a:endParaRPr lang="en-GB"/>
          </a:p>
        </p:txBody>
      </p:sp>
      <p:sp>
        <p:nvSpPr>
          <p:cNvPr id="4" name="Slide Number Placeholder 3">
            <a:extLst>
              <a:ext uri="{FF2B5EF4-FFF2-40B4-BE49-F238E27FC236}">
                <a16:creationId xmlns:a16="http://schemas.microsoft.com/office/drawing/2014/main" id="{59B8B99A-9B43-1243-908F-541BCD01B3CF}"/>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AAA3EDF3-0C1D-534B-8FF2-044BE507CDBD}"/>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521104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Main text 2/3 purple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36FF7597-1AB1-AE42-B68B-688A0EBBCC3A}"/>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B98CE1D0-6243-234B-8EB5-28FFE8A4FA1E}"/>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6" name="Text Placeholder 3">
            <a:extLst>
              <a:ext uri="{FF2B5EF4-FFF2-40B4-BE49-F238E27FC236}">
                <a16:creationId xmlns:a16="http://schemas.microsoft.com/office/drawing/2014/main" id="{2153C819-64CB-CC42-A3D4-B4774165A572}"/>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9" name="Text Placeholder 13">
            <a:extLst>
              <a:ext uri="{FF2B5EF4-FFF2-40B4-BE49-F238E27FC236}">
                <a16:creationId xmlns:a16="http://schemas.microsoft.com/office/drawing/2014/main" id="{E993C47F-B0F4-FB4B-9666-F0F4DF8E5145}"/>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ext Placeholder 17">
            <a:extLst>
              <a:ext uri="{FF2B5EF4-FFF2-40B4-BE49-F238E27FC236}">
                <a16:creationId xmlns:a16="http://schemas.microsoft.com/office/drawing/2014/main" id="{5C12162A-6D5F-9C40-ADC9-021182CCA328}"/>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75E66F32-C6BB-C24F-B51B-EBB714A56CD5}"/>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420E43E4-591F-5246-BF5B-FA01FEEFB13C}"/>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44323755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Main text 2/3 purple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3D2455DF-5E4B-024F-BAF8-57880DF5FC1C}"/>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0" name="Text Placeholder 13">
            <a:extLst>
              <a:ext uri="{FF2B5EF4-FFF2-40B4-BE49-F238E27FC236}">
                <a16:creationId xmlns:a16="http://schemas.microsoft.com/office/drawing/2014/main" id="{521F4DB4-7A70-FA41-82FB-64C409CC6AC7}"/>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36FF7597-1AB1-AE42-B68B-688A0EBBCC3A}"/>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B98CE1D0-6243-234B-8EB5-28FFE8A4FA1E}"/>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8080EA7B-7861-C443-95FC-0FE3F3411022}"/>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58991426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Main text 2/3 midnight blue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0" name="Text Placeholder 3">
            <a:extLst>
              <a:ext uri="{FF2B5EF4-FFF2-40B4-BE49-F238E27FC236}">
                <a16:creationId xmlns:a16="http://schemas.microsoft.com/office/drawing/2014/main" id="{AF802AEA-F9C0-124E-B5A5-C7882E04E742}"/>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A809BC6B-4C1D-4E49-954F-A0E3B83B2E26}"/>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3D2455DF-5E4B-024F-BAF8-57880DF5FC1C}"/>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0" name="Text Placeholder 13">
            <a:extLst>
              <a:ext uri="{FF2B5EF4-FFF2-40B4-BE49-F238E27FC236}">
                <a16:creationId xmlns:a16="http://schemas.microsoft.com/office/drawing/2014/main" id="{521F4DB4-7A70-FA41-82FB-64C409CC6AC7}"/>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5" name="Footer Placeholder 4">
            <a:extLst>
              <a:ext uri="{FF2B5EF4-FFF2-40B4-BE49-F238E27FC236}">
                <a16:creationId xmlns:a16="http://schemas.microsoft.com/office/drawing/2014/main" id="{D2E75768-EF79-8C4A-9603-50F781DAD385}"/>
              </a:ext>
            </a:extLst>
          </p:cNvPr>
          <p:cNvSpPr>
            <a:spLocks noGrp="1"/>
          </p:cNvSpPr>
          <p:nvPr>
            <p:ph type="ftr" sz="quarter" idx="38"/>
          </p:nvPr>
        </p:nvSpPr>
        <p:spPr>
          <a:xfrm>
            <a:off x="8040688" y="6541199"/>
            <a:ext cx="2910462" cy="162000"/>
          </a:xfrm>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B52279E7-8CBA-384A-8D1E-263B5BEE519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99827564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Main text 2/3 midnight blue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3D2455DF-5E4B-024F-BAF8-57880DF5FC1C}"/>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5" name="Footer Placeholder 4">
            <a:extLst>
              <a:ext uri="{FF2B5EF4-FFF2-40B4-BE49-F238E27FC236}">
                <a16:creationId xmlns:a16="http://schemas.microsoft.com/office/drawing/2014/main" id="{D2E75768-EF79-8C4A-9603-50F781DAD385}"/>
              </a:ext>
            </a:extLst>
          </p:cNvPr>
          <p:cNvSpPr>
            <a:spLocks noGrp="1"/>
          </p:cNvSpPr>
          <p:nvPr>
            <p:ph type="ftr" sz="quarter" idx="38"/>
          </p:nvPr>
        </p:nvSpPr>
        <p:spPr>
          <a:xfrm>
            <a:off x="8040688" y="6541199"/>
            <a:ext cx="2910462" cy="162000"/>
          </a:xfrm>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B52279E7-8CBA-384A-8D1E-263B5BEE519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FA2E7214-CEEB-5543-B58C-062236D23821}"/>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B5C13A46-A769-6844-BC75-0796338DC520}"/>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54691551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Main text 2/3 teal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DBC6C5DF-2FAE-EE41-9B40-1AF5236164E2}"/>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74458C9B-A027-524C-901A-7BBEA4D587F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6" name="Text Placeholder 17">
            <a:extLst>
              <a:ext uri="{FF2B5EF4-FFF2-40B4-BE49-F238E27FC236}">
                <a16:creationId xmlns:a16="http://schemas.microsoft.com/office/drawing/2014/main" id="{68C6BD3A-7B64-CD4A-903D-F02659ACCC63}"/>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9" name="Text Placeholder 3">
            <a:extLst>
              <a:ext uri="{FF2B5EF4-FFF2-40B4-BE49-F238E27FC236}">
                <a16:creationId xmlns:a16="http://schemas.microsoft.com/office/drawing/2014/main" id="{F9CB1508-D362-F04B-A1D6-7E623F87ADCD}"/>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DB5DAC42-99EC-3A4F-9E5A-5F90C30EE5DB}"/>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4" name="Text Placeholder 3">
            <a:extLst>
              <a:ext uri="{FF2B5EF4-FFF2-40B4-BE49-F238E27FC236}">
                <a16:creationId xmlns:a16="http://schemas.microsoft.com/office/drawing/2014/main" id="{2C7B06A6-6492-A340-8027-8D64B6B8DCC3}"/>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0D1A6107-B0B9-7749-9516-11F017B4ED55}"/>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30086718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Main text 2/3 teal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DBC6C5DF-2FAE-EE41-9B40-1AF5236164E2}"/>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74458C9B-A027-524C-901A-7BBEA4D587F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6" name="Text Placeholder 3">
            <a:extLst>
              <a:ext uri="{FF2B5EF4-FFF2-40B4-BE49-F238E27FC236}">
                <a16:creationId xmlns:a16="http://schemas.microsoft.com/office/drawing/2014/main" id="{C593361E-71B0-154A-A51A-902F4E3B0E76}"/>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5A7CBA8F-70BB-BE44-931C-8F50032991D1}"/>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56477472-B7FA-C74A-855B-2C9C8704F229}"/>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20621089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Main text 1/3 white left w/header">
    <p:bg>
      <p:bgPr>
        <a:solidFill>
          <a:schemeClr val="bg1"/>
        </a:solidFill>
        <a:effectLst/>
      </p:bgPr>
    </p:bg>
    <p:spTree>
      <p:nvGrpSpPr>
        <p:cNvPr id="1" name=""/>
        <p:cNvGrpSpPr/>
        <p:nvPr/>
      </p:nvGrpSpPr>
      <p:grpSpPr>
        <a:xfrm>
          <a:off x="0" y="0"/>
          <a:ext cx="0" cy="0"/>
          <a:chOff x="0" y="0"/>
          <a:chExt cx="0" cy="0"/>
        </a:xfrm>
      </p:grpSpPr>
      <p:sp>
        <p:nvSpPr>
          <p:cNvPr id="22" name="Text Placeholder 3">
            <a:extLst>
              <a:ext uri="{FF2B5EF4-FFF2-40B4-BE49-F238E27FC236}">
                <a16:creationId xmlns:a16="http://schemas.microsoft.com/office/drawing/2014/main" id="{C41354E6-7E3E-AF4F-A390-EE94B1B40231}"/>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0D9CDB0D-720B-4744-B018-90E80EDBE885}"/>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3" name="Text Placeholder 3">
            <a:extLst>
              <a:ext uri="{FF2B5EF4-FFF2-40B4-BE49-F238E27FC236}">
                <a16:creationId xmlns:a16="http://schemas.microsoft.com/office/drawing/2014/main" id="{97E86F9B-FD3D-0B4A-8AEE-138D42B7884E}"/>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4" name="Text Placeholder 13">
            <a:extLst>
              <a:ext uri="{FF2B5EF4-FFF2-40B4-BE49-F238E27FC236}">
                <a16:creationId xmlns:a16="http://schemas.microsoft.com/office/drawing/2014/main" id="{D1934ABC-C15C-E149-8D88-ED55C15A14F6}"/>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3D212FFE-46A3-5B4D-A015-642FAD92A694}"/>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AA4DF405-4A78-AC4E-896A-8A282F5D2212}"/>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itle 1">
            <a:extLst>
              <a:ext uri="{FF2B5EF4-FFF2-40B4-BE49-F238E27FC236}">
                <a16:creationId xmlns:a16="http://schemas.microsoft.com/office/drawing/2014/main" id="{CF4A047A-5A5B-4B42-BF6E-52A224E37226}"/>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42B62950-109C-D347-A1EE-9D1BE9EDB660}"/>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423512175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ain text 1/3 white left w/o header">
    <p:bg>
      <p:bgPr>
        <a:solidFill>
          <a:schemeClr val="bg1"/>
        </a:solidFill>
        <a:effectLst/>
      </p:bgPr>
    </p:bg>
    <p:spTree>
      <p:nvGrpSpPr>
        <p:cNvPr id="1" name=""/>
        <p:cNvGrpSpPr/>
        <p:nvPr/>
      </p:nvGrpSpPr>
      <p:grpSpPr>
        <a:xfrm>
          <a:off x="0" y="0"/>
          <a:ext cx="0" cy="0"/>
          <a:chOff x="0" y="0"/>
          <a:chExt cx="0" cy="0"/>
        </a:xfrm>
      </p:grpSpPr>
      <p:sp>
        <p:nvSpPr>
          <p:cNvPr id="22" name="Text Placeholder 3">
            <a:extLst>
              <a:ext uri="{FF2B5EF4-FFF2-40B4-BE49-F238E27FC236}">
                <a16:creationId xmlns:a16="http://schemas.microsoft.com/office/drawing/2014/main" id="{C41354E6-7E3E-AF4F-A390-EE94B1B40231}"/>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0D9CDB0D-720B-4744-B018-90E80EDBE885}"/>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ext Placeholder 13">
            <a:extLst>
              <a:ext uri="{FF2B5EF4-FFF2-40B4-BE49-F238E27FC236}">
                <a16:creationId xmlns:a16="http://schemas.microsoft.com/office/drawing/2014/main" id="{D1934ABC-C15C-E149-8D88-ED55C15A14F6}"/>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3D212FFE-46A3-5B4D-A015-642FAD92A694}"/>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AA4DF405-4A78-AC4E-896A-8A282F5D2212}"/>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0" name="Title 1">
            <a:extLst>
              <a:ext uri="{FF2B5EF4-FFF2-40B4-BE49-F238E27FC236}">
                <a16:creationId xmlns:a16="http://schemas.microsoft.com/office/drawing/2014/main" id="{498BE45D-A1E9-1E4E-BF62-F11022C0A2E5}"/>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1" name="Text Placeholder 17">
            <a:extLst>
              <a:ext uri="{FF2B5EF4-FFF2-40B4-BE49-F238E27FC236}">
                <a16:creationId xmlns:a16="http://schemas.microsoft.com/office/drawing/2014/main" id="{9CC175D6-4169-0548-BB57-0BDF52854906}"/>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8150194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5B8B4328-59C1-D6A0-2D23-526CB791C2DF}"/>
              </a:ext>
            </a:extLst>
          </p:cNvPr>
          <p:cNvSpPr>
            <a:spLocks noGrp="1"/>
          </p:cNvSpPr>
          <p:nvPr>
            <p:ph type="body" sz="quarter" idx="15"/>
          </p:nvPr>
        </p:nvSpPr>
        <p:spPr>
          <a:xfrm>
            <a:off x="6167438" y="1808163"/>
            <a:ext cx="5076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7272348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ain text 1/3 grey left w/heade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p:nvSpPr>
        <p:spPr>
          <a:xfrm>
            <a:off x="0" y="0"/>
            <a:ext cx="327342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Rectangle 12">
            <a:extLst>
              <a:ext uri="{FF2B5EF4-FFF2-40B4-BE49-F238E27FC236}">
                <a16:creationId xmlns:a16="http://schemas.microsoft.com/office/drawing/2014/main" id="{E1CE2481-2DE2-2B4E-AC32-CE0D16B2B34A}"/>
              </a:ext>
            </a:extLst>
          </p:cNvPr>
          <p:cNvSpPr/>
          <p:nvPr userDrawn="1"/>
        </p:nvSpPr>
        <p:spPr>
          <a:xfrm>
            <a:off x="-3" y="0"/>
            <a:ext cx="415131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Title 1">
            <a:extLst>
              <a:ext uri="{FF2B5EF4-FFF2-40B4-BE49-F238E27FC236}">
                <a16:creationId xmlns:a16="http://schemas.microsoft.com/office/drawing/2014/main" id="{7643D3FF-F0E3-D240-BF26-45BF6EC4B721}"/>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19E742E6-9314-3F47-A7C7-45633D7BA70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3">
            <a:extLst>
              <a:ext uri="{FF2B5EF4-FFF2-40B4-BE49-F238E27FC236}">
                <a16:creationId xmlns:a16="http://schemas.microsoft.com/office/drawing/2014/main" id="{3DAA0FC8-10C7-6C48-A80F-7925809267A2}"/>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13">
            <a:extLst>
              <a:ext uri="{FF2B5EF4-FFF2-40B4-BE49-F238E27FC236}">
                <a16:creationId xmlns:a16="http://schemas.microsoft.com/office/drawing/2014/main" id="{C10D21B7-28E1-474A-84D6-9E465B6A98F1}"/>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ext Placeholder 3">
            <a:extLst>
              <a:ext uri="{FF2B5EF4-FFF2-40B4-BE49-F238E27FC236}">
                <a16:creationId xmlns:a16="http://schemas.microsoft.com/office/drawing/2014/main" id="{469B2238-F598-754E-8F71-2E0AF1B9CFA8}"/>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6A36E4ED-069B-E44F-B1C6-6D186BDC0F87}"/>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C6C58991-299B-B84D-A5FE-F1138AD0271C}"/>
              </a:ext>
            </a:extLst>
          </p:cNvPr>
          <p:cNvSpPr>
            <a:spLocks noGrp="1"/>
          </p:cNvSpPr>
          <p:nvPr>
            <p:ph type="ftr" sz="quarter" idx="38"/>
          </p:nvPr>
        </p:nvSpPr>
        <p:spPr/>
        <p:txBody>
          <a:bodyPr/>
          <a:lstStyle/>
          <a:p>
            <a:endParaRPr lang="en-GB"/>
          </a:p>
        </p:txBody>
      </p:sp>
      <p:sp>
        <p:nvSpPr>
          <p:cNvPr id="4" name="Slide Number Placeholder 3">
            <a:extLst>
              <a:ext uri="{FF2B5EF4-FFF2-40B4-BE49-F238E27FC236}">
                <a16:creationId xmlns:a16="http://schemas.microsoft.com/office/drawing/2014/main" id="{1C8F0405-389D-FC40-89FB-A8A4D5CC1113}"/>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1" name="Picture 20" descr="A close up of a flower&#10;&#10;Description automatically generated">
            <a:extLst>
              <a:ext uri="{FF2B5EF4-FFF2-40B4-BE49-F238E27FC236}">
                <a16:creationId xmlns:a16="http://schemas.microsoft.com/office/drawing/2014/main" id="{6E78C42A-D945-914F-A854-F1D79AE20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95547783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Main text 1/3 grey left w/o heade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p:nvSpPr>
        <p:spPr>
          <a:xfrm>
            <a:off x="0" y="0"/>
            <a:ext cx="327342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Rectangle 12">
            <a:extLst>
              <a:ext uri="{FF2B5EF4-FFF2-40B4-BE49-F238E27FC236}">
                <a16:creationId xmlns:a16="http://schemas.microsoft.com/office/drawing/2014/main" id="{E1CE2481-2DE2-2B4E-AC32-CE0D16B2B34A}"/>
              </a:ext>
            </a:extLst>
          </p:cNvPr>
          <p:cNvSpPr/>
          <p:nvPr userDrawn="1"/>
        </p:nvSpPr>
        <p:spPr>
          <a:xfrm>
            <a:off x="-3" y="0"/>
            <a:ext cx="415131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Title 1">
            <a:extLst>
              <a:ext uri="{FF2B5EF4-FFF2-40B4-BE49-F238E27FC236}">
                <a16:creationId xmlns:a16="http://schemas.microsoft.com/office/drawing/2014/main" id="{7643D3FF-F0E3-D240-BF26-45BF6EC4B721}"/>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19E742E6-9314-3F47-A7C7-45633D7BA70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7" name="Text Placeholder 3">
            <a:extLst>
              <a:ext uri="{FF2B5EF4-FFF2-40B4-BE49-F238E27FC236}">
                <a16:creationId xmlns:a16="http://schemas.microsoft.com/office/drawing/2014/main" id="{469B2238-F598-754E-8F71-2E0AF1B9CFA8}"/>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6A36E4ED-069B-E44F-B1C6-6D186BDC0F87}"/>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C6C58991-299B-B84D-A5FE-F1138AD0271C}"/>
              </a:ext>
            </a:extLst>
          </p:cNvPr>
          <p:cNvSpPr>
            <a:spLocks noGrp="1"/>
          </p:cNvSpPr>
          <p:nvPr>
            <p:ph type="ftr" sz="quarter" idx="38"/>
          </p:nvPr>
        </p:nvSpPr>
        <p:spPr/>
        <p:txBody>
          <a:bodyPr/>
          <a:lstStyle/>
          <a:p>
            <a:endParaRPr lang="en-GB"/>
          </a:p>
        </p:txBody>
      </p:sp>
      <p:sp>
        <p:nvSpPr>
          <p:cNvPr id="4" name="Slide Number Placeholder 3">
            <a:extLst>
              <a:ext uri="{FF2B5EF4-FFF2-40B4-BE49-F238E27FC236}">
                <a16:creationId xmlns:a16="http://schemas.microsoft.com/office/drawing/2014/main" id="{1C8F0405-389D-FC40-89FB-A8A4D5CC1113}"/>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1" name="Picture 20" descr="A close up of a flower&#10;&#10;Description automatically generated">
            <a:extLst>
              <a:ext uri="{FF2B5EF4-FFF2-40B4-BE49-F238E27FC236}">
                <a16:creationId xmlns:a16="http://schemas.microsoft.com/office/drawing/2014/main" id="{6E78C42A-D945-914F-A854-F1D79AE20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15" name="Text Placeholder 13">
            <a:extLst>
              <a:ext uri="{FF2B5EF4-FFF2-40B4-BE49-F238E27FC236}">
                <a16:creationId xmlns:a16="http://schemas.microsoft.com/office/drawing/2014/main" id="{E0AC8F9A-E3BA-8B41-A5EF-7025E9B40977}"/>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75879840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Main text 1/3 purple left w/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Text Placeholder 3">
            <a:extLst>
              <a:ext uri="{FF2B5EF4-FFF2-40B4-BE49-F238E27FC236}">
                <a16:creationId xmlns:a16="http://schemas.microsoft.com/office/drawing/2014/main" id="{3B1D1272-80A4-F241-B2A9-2892F48F5907}"/>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35DE8A2D-9345-FB45-B848-96F93737E4C5}"/>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5" name="Text Placeholder 17">
            <a:extLst>
              <a:ext uri="{FF2B5EF4-FFF2-40B4-BE49-F238E27FC236}">
                <a16:creationId xmlns:a16="http://schemas.microsoft.com/office/drawing/2014/main" id="{9F1CD3F5-68B8-E140-8BDC-B24336C68AB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3">
            <a:extLst>
              <a:ext uri="{FF2B5EF4-FFF2-40B4-BE49-F238E27FC236}">
                <a16:creationId xmlns:a16="http://schemas.microsoft.com/office/drawing/2014/main" id="{FDEF0D77-C308-2A46-92C1-C20EDA2F05F9}"/>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337351F3-3E0B-0B47-9CE4-CAC657E5DF8D}"/>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E79AC2F-16BF-D24E-8EE5-AC2A0718F952}"/>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76963D53-664D-9344-A47F-5B364AA209C3}"/>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40451083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Main text 1/3 purple left w/o 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5" name="Text Placeholder 17">
            <a:extLst>
              <a:ext uri="{FF2B5EF4-FFF2-40B4-BE49-F238E27FC236}">
                <a16:creationId xmlns:a16="http://schemas.microsoft.com/office/drawing/2014/main" id="{9F1CD3F5-68B8-E140-8BDC-B24336C68AB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3">
            <a:extLst>
              <a:ext uri="{FF2B5EF4-FFF2-40B4-BE49-F238E27FC236}">
                <a16:creationId xmlns:a16="http://schemas.microsoft.com/office/drawing/2014/main" id="{FDEF0D77-C308-2A46-92C1-C20EDA2F05F9}"/>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337351F3-3E0B-0B47-9CE4-CAC657E5DF8D}"/>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E79AC2F-16BF-D24E-8EE5-AC2A0718F952}"/>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76963D53-664D-9344-A47F-5B364AA209C3}"/>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2" name="Text Placeholder 13">
            <a:extLst>
              <a:ext uri="{FF2B5EF4-FFF2-40B4-BE49-F238E27FC236}">
                <a16:creationId xmlns:a16="http://schemas.microsoft.com/office/drawing/2014/main" id="{DA1267FF-29BB-304A-BF48-8EEB73EB8681}"/>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09457879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Main text 1/3 midnight blue left w/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A90325F-689D-2F41-A046-D1564642D566}"/>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A114E4DE-4B44-DA46-A8FE-23D4C3ADDE97}"/>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35" name="Text Placeholder 3">
            <a:extLst>
              <a:ext uri="{FF2B5EF4-FFF2-40B4-BE49-F238E27FC236}">
                <a16:creationId xmlns:a16="http://schemas.microsoft.com/office/drawing/2014/main" id="{2963D062-311B-584B-AD6C-43F3EEFDB03B}"/>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6" name="Text Placeholder 13">
            <a:extLst>
              <a:ext uri="{FF2B5EF4-FFF2-40B4-BE49-F238E27FC236}">
                <a16:creationId xmlns:a16="http://schemas.microsoft.com/office/drawing/2014/main" id="{341B10A9-0742-D049-86D3-3A0F19AD431D}"/>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7" name="Text Placeholder 17">
            <a:extLst>
              <a:ext uri="{FF2B5EF4-FFF2-40B4-BE49-F238E27FC236}">
                <a16:creationId xmlns:a16="http://schemas.microsoft.com/office/drawing/2014/main" id="{A011904E-B783-764D-A380-0EF445D07A2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38" name="Text Placeholder 3">
            <a:extLst>
              <a:ext uri="{FF2B5EF4-FFF2-40B4-BE49-F238E27FC236}">
                <a16:creationId xmlns:a16="http://schemas.microsoft.com/office/drawing/2014/main" id="{693CB2C1-A16A-7C42-AFCF-3357E12AA39B}"/>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9" name="Text Placeholder 13">
            <a:extLst>
              <a:ext uri="{FF2B5EF4-FFF2-40B4-BE49-F238E27FC236}">
                <a16:creationId xmlns:a16="http://schemas.microsoft.com/office/drawing/2014/main" id="{83D54DD4-AC1C-FC46-920A-DF1ABCECC967}"/>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24815927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Main text 1/3 midnight blue left w/o 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A90325F-689D-2F41-A046-D1564642D566}"/>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A114E4DE-4B44-DA46-A8FE-23D4C3ADDE97}"/>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3" name="Text Placeholder 17">
            <a:extLst>
              <a:ext uri="{FF2B5EF4-FFF2-40B4-BE49-F238E27FC236}">
                <a16:creationId xmlns:a16="http://schemas.microsoft.com/office/drawing/2014/main" id="{6C297AFE-DA25-CD4F-A893-B8F96EB73D20}"/>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3">
            <a:extLst>
              <a:ext uri="{FF2B5EF4-FFF2-40B4-BE49-F238E27FC236}">
                <a16:creationId xmlns:a16="http://schemas.microsoft.com/office/drawing/2014/main" id="{650475DE-2201-724B-8367-C4106B606867}"/>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A00E911E-AA3B-6F46-A9E9-4E0CDA01E6DE}"/>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D52048A5-6488-5047-9BC9-64F262520012}"/>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74246948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Main text 1/3 teal left w/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4F08E958-49C0-BF45-B7D8-1D9F227A63CB}"/>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52852AD1-7774-B743-AE25-DB8513DB6444}"/>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7" name="Text Placeholder 3">
            <a:extLst>
              <a:ext uri="{FF2B5EF4-FFF2-40B4-BE49-F238E27FC236}">
                <a16:creationId xmlns:a16="http://schemas.microsoft.com/office/drawing/2014/main" id="{5D71475A-1359-7A4A-86DE-C8A7C9CC6090}"/>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8" name="Text Placeholder 13">
            <a:extLst>
              <a:ext uri="{FF2B5EF4-FFF2-40B4-BE49-F238E27FC236}">
                <a16:creationId xmlns:a16="http://schemas.microsoft.com/office/drawing/2014/main" id="{02917A23-D7B9-4443-B709-0EECBC10B1CB}"/>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7">
            <a:extLst>
              <a:ext uri="{FF2B5EF4-FFF2-40B4-BE49-F238E27FC236}">
                <a16:creationId xmlns:a16="http://schemas.microsoft.com/office/drawing/2014/main" id="{75EE879D-BF76-DF41-9534-FE8F7E1EFA5E}"/>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1" name="Text Placeholder 3">
            <a:extLst>
              <a:ext uri="{FF2B5EF4-FFF2-40B4-BE49-F238E27FC236}">
                <a16:creationId xmlns:a16="http://schemas.microsoft.com/office/drawing/2014/main" id="{B0DC2B23-9D4D-E24D-A9AC-5A1803746D4E}"/>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2" name="Text Placeholder 13">
            <a:extLst>
              <a:ext uri="{FF2B5EF4-FFF2-40B4-BE49-F238E27FC236}">
                <a16:creationId xmlns:a16="http://schemas.microsoft.com/office/drawing/2014/main" id="{B648409D-8583-DE4D-B69D-179213393575}"/>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87471287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Main text 1/3 teal left w/o 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4F08E958-49C0-BF45-B7D8-1D9F227A63CB}"/>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52852AD1-7774-B743-AE25-DB8513DB6444}"/>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3" name="Text Placeholder 17">
            <a:extLst>
              <a:ext uri="{FF2B5EF4-FFF2-40B4-BE49-F238E27FC236}">
                <a16:creationId xmlns:a16="http://schemas.microsoft.com/office/drawing/2014/main" id="{7728FD36-B976-8543-ADAD-4C8A1B49931C}"/>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3">
            <a:extLst>
              <a:ext uri="{FF2B5EF4-FFF2-40B4-BE49-F238E27FC236}">
                <a16:creationId xmlns:a16="http://schemas.microsoft.com/office/drawing/2014/main" id="{13CDB757-9152-204C-AA12-083872F1DEF4}"/>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43DAEAA0-3AF6-5E44-8450-762873E15E38}"/>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CA1684B1-06BE-974E-B51C-9E0EF63D5138}"/>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83701421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0/50 image/text_purpl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67325" y="812800"/>
            <a:ext cx="6924674" cy="604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7">
            <a:extLst>
              <a:ext uri="{FF2B5EF4-FFF2-40B4-BE49-F238E27FC236}">
                <a16:creationId xmlns:a16="http://schemas.microsoft.com/office/drawing/2014/main" id="{0B8550A3-D941-3644-893D-D582CAB67D9A}"/>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8" name="Text Placeholder 13">
            <a:extLst>
              <a:ext uri="{FF2B5EF4-FFF2-40B4-BE49-F238E27FC236}">
                <a16:creationId xmlns:a16="http://schemas.microsoft.com/office/drawing/2014/main" id="{AC64EAA0-65B4-B14F-A163-00866DF81033}"/>
              </a:ext>
            </a:extLst>
          </p:cNvPr>
          <p:cNvSpPr>
            <a:spLocks noGrp="1"/>
          </p:cNvSpPr>
          <p:nvPr>
            <p:ph type="body" sz="quarter" idx="36" hasCustomPrompt="1"/>
          </p:nvPr>
        </p:nvSpPr>
        <p:spPr>
          <a:xfrm>
            <a:off x="5705221" y="1828801"/>
            <a:ext cx="5899404"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6F03459A-26FB-2D4D-92CD-7E438F31B3E7}"/>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2C46755F-3080-464F-B6AD-195CA4D6A210}"/>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14977766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0/50 image/text_gray">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3BA9ECF-CCFE-A841-A9F0-1443C77E93D4}"/>
              </a:ext>
            </a:extLst>
          </p:cNvPr>
          <p:cNvSpPr/>
          <p:nvPr userDrawn="1"/>
        </p:nvSpPr>
        <p:spPr>
          <a:xfrm>
            <a:off x="5267324" y="812800"/>
            <a:ext cx="6924675" cy="60452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tx1"/>
              </a:solidFill>
            </a:endParaRPr>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7">
            <a:extLst>
              <a:ext uri="{FF2B5EF4-FFF2-40B4-BE49-F238E27FC236}">
                <a16:creationId xmlns:a16="http://schemas.microsoft.com/office/drawing/2014/main" id="{0B8550A3-D941-3644-893D-D582CAB67D9A}"/>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69D7DDA1-CFF6-AB4B-98F2-8825A68CBB25}"/>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8FF131FF-D407-8145-9D05-7F75811B7EAD}"/>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21" name="Text Placeholder 13">
            <a:extLst>
              <a:ext uri="{FF2B5EF4-FFF2-40B4-BE49-F238E27FC236}">
                <a16:creationId xmlns:a16="http://schemas.microsoft.com/office/drawing/2014/main" id="{DABB6466-4B51-FD44-B426-0A1011497534}"/>
              </a:ext>
            </a:extLst>
          </p:cNvPr>
          <p:cNvSpPr>
            <a:spLocks noGrp="1"/>
          </p:cNvSpPr>
          <p:nvPr>
            <p:ph type="body" sz="quarter" idx="36" hasCustomPrompt="1"/>
          </p:nvPr>
        </p:nvSpPr>
        <p:spPr>
          <a:xfrm>
            <a:off x="5705221" y="1828800"/>
            <a:ext cx="5899404" cy="42660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05945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E79289D7-5C2E-68CE-3B90-A9A8960FA82B}"/>
              </a:ext>
            </a:extLst>
          </p:cNvPr>
          <p:cNvSpPr>
            <a:spLocks noGrp="1"/>
          </p:cNvSpPr>
          <p:nvPr>
            <p:ph type="body" sz="quarter" idx="16"/>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8" name="Text Placeholder 12">
            <a:extLst>
              <a:ext uri="{FF2B5EF4-FFF2-40B4-BE49-F238E27FC236}">
                <a16:creationId xmlns:a16="http://schemas.microsoft.com/office/drawing/2014/main" id="{49E19914-A73D-36ED-F704-267D2EE80CB7}"/>
              </a:ext>
            </a:extLst>
          </p:cNvPr>
          <p:cNvSpPr>
            <a:spLocks noGrp="1"/>
          </p:cNvSpPr>
          <p:nvPr>
            <p:ph type="body" sz="quarter" idx="17"/>
          </p:nvPr>
        </p:nvSpPr>
        <p:spPr>
          <a:xfrm>
            <a:off x="8039438"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0503027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0/50 image/text_midnight blu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67324" y="813600"/>
            <a:ext cx="6924675" cy="604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7">
            <a:extLst>
              <a:ext uri="{FF2B5EF4-FFF2-40B4-BE49-F238E27FC236}">
                <a16:creationId xmlns:a16="http://schemas.microsoft.com/office/drawing/2014/main" id="{0B8550A3-D941-3644-893D-D582CAB67D9A}"/>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3CB30694-D22A-B441-AAD5-1B52792E72F0}"/>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DF5C9389-354D-764B-8AA0-A6CC4608210B}"/>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9" name="Text Placeholder 13">
            <a:extLst>
              <a:ext uri="{FF2B5EF4-FFF2-40B4-BE49-F238E27FC236}">
                <a16:creationId xmlns:a16="http://schemas.microsoft.com/office/drawing/2014/main" id="{6501475D-04E5-A94A-9245-C07E549973B2}"/>
              </a:ext>
            </a:extLst>
          </p:cNvPr>
          <p:cNvSpPr>
            <a:spLocks noGrp="1"/>
          </p:cNvSpPr>
          <p:nvPr>
            <p:ph type="body" sz="quarter" idx="36" hasCustomPrompt="1"/>
          </p:nvPr>
        </p:nvSpPr>
        <p:spPr>
          <a:xfrm>
            <a:off x="5705221" y="1828800"/>
            <a:ext cx="5899404"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80026206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0/50 image/text_teal">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67324" y="812800"/>
            <a:ext cx="6924675" cy="6045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9F47FCE3-CB76-7444-8F17-8FB00E3F02D5}"/>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E8A1D401-B6F3-2F44-B2DD-E3110ADEA47C}"/>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2" name="Text Placeholder 17">
            <a:extLst>
              <a:ext uri="{FF2B5EF4-FFF2-40B4-BE49-F238E27FC236}">
                <a16:creationId xmlns:a16="http://schemas.microsoft.com/office/drawing/2014/main" id="{6AA4616A-674A-124A-8EF4-93247EA32F50}"/>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3" name="Text Placeholder 13">
            <a:extLst>
              <a:ext uri="{FF2B5EF4-FFF2-40B4-BE49-F238E27FC236}">
                <a16:creationId xmlns:a16="http://schemas.microsoft.com/office/drawing/2014/main" id="{562E5156-9D9B-4A41-AD48-22E767DC6FAA}"/>
              </a:ext>
            </a:extLst>
          </p:cNvPr>
          <p:cNvSpPr>
            <a:spLocks noGrp="1"/>
          </p:cNvSpPr>
          <p:nvPr>
            <p:ph type="body" sz="quarter" idx="36" hasCustomPrompt="1"/>
          </p:nvPr>
        </p:nvSpPr>
        <p:spPr>
          <a:xfrm>
            <a:off x="5705221" y="1828800"/>
            <a:ext cx="5899404"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16813996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0/50 image/text_white">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1" y="1812925"/>
            <a:ext cx="6082932" cy="4283075"/>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2" name="Text Placeholder 17">
            <a:extLst>
              <a:ext uri="{FF2B5EF4-FFF2-40B4-BE49-F238E27FC236}">
                <a16:creationId xmlns:a16="http://schemas.microsoft.com/office/drawing/2014/main" id="{91D6A7C2-2628-EE4E-A002-E84B14E3DBC6}"/>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E0584675-21CE-044E-A676-DDDFA0A3069B}"/>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C845EDD2-AF39-9D4B-9A5C-DE37DAC15ED3}"/>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8C29C057-D5B1-AF4F-9262-5CE85E4AAD5A}"/>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62788388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0/50 image/text_white ">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2" name="Text Placeholder 17">
            <a:extLst>
              <a:ext uri="{FF2B5EF4-FFF2-40B4-BE49-F238E27FC236}">
                <a16:creationId xmlns:a16="http://schemas.microsoft.com/office/drawing/2014/main" id="{91D6A7C2-2628-EE4E-A002-E84B14E3DBC6}"/>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E0584675-21CE-044E-A676-DDDFA0A3069B}"/>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69A88AA5-BFF7-974A-9A63-CE45CDE9348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A08EA231-84AE-DB41-867E-67A48BBC5DD1}"/>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25338590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image/text_purple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FDEE19-FB86-234E-9B10-6E2DAA87585E}"/>
              </a:ext>
            </a:extLst>
          </p:cNvPr>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2" name="Text Placeholder 17">
            <a:extLst>
              <a:ext uri="{FF2B5EF4-FFF2-40B4-BE49-F238E27FC236}">
                <a16:creationId xmlns:a16="http://schemas.microsoft.com/office/drawing/2014/main" id="{91D6A7C2-2628-EE4E-A002-E84B14E3DBC6}"/>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E0584675-21CE-044E-A676-DDDFA0A3069B}"/>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3" name="Picture 12" descr="A picture containing drawing&#10;&#10;Description automatically generated">
            <a:extLst>
              <a:ext uri="{FF2B5EF4-FFF2-40B4-BE49-F238E27FC236}">
                <a16:creationId xmlns:a16="http://schemas.microsoft.com/office/drawing/2014/main" id="{00F4FC0B-D43C-1641-AEBB-2A63496BFD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3" name="Footer Placeholder 2">
            <a:extLst>
              <a:ext uri="{FF2B5EF4-FFF2-40B4-BE49-F238E27FC236}">
                <a16:creationId xmlns:a16="http://schemas.microsoft.com/office/drawing/2014/main" id="{E01AECE5-BEFB-6A41-B055-5B6ED72F506D}"/>
              </a:ext>
            </a:extLst>
          </p:cNvPr>
          <p:cNvSpPr>
            <a:spLocks noGrp="1"/>
          </p:cNvSpPr>
          <p:nvPr>
            <p:ph type="ftr" sz="quarter" idx="37"/>
          </p:nvPr>
        </p:nvSpPr>
        <p:spPr/>
        <p:txBody>
          <a:bodyPr/>
          <a:lstStyle/>
          <a:p>
            <a:endParaRPr lang="en-GB"/>
          </a:p>
        </p:txBody>
      </p:sp>
      <p:sp>
        <p:nvSpPr>
          <p:cNvPr id="4" name="Slide Number Placeholder 3">
            <a:extLst>
              <a:ext uri="{FF2B5EF4-FFF2-40B4-BE49-F238E27FC236}">
                <a16:creationId xmlns:a16="http://schemas.microsoft.com/office/drawing/2014/main" id="{87C55396-39BB-AC44-AE45-2EF512B9BDDF}"/>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411645127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image/text_midnight blue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FDEE19-FB86-234E-9B10-6E2DAA87585E}"/>
              </a:ext>
            </a:extLst>
          </p:cNvPr>
          <p:cNvSpPr/>
          <p:nvPr userDrawn="1"/>
        </p:nvSpPr>
        <p:spPr>
          <a:xfrm>
            <a:off x="0" y="0"/>
            <a:ext cx="60948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3" name="Picture 12" descr="A picture containing drawing&#10;&#10;Description automatically generated">
            <a:extLst>
              <a:ext uri="{FF2B5EF4-FFF2-40B4-BE49-F238E27FC236}">
                <a16:creationId xmlns:a16="http://schemas.microsoft.com/office/drawing/2014/main" id="{00F4FC0B-D43C-1641-AEBB-2A63496BFD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3" name="Footer Placeholder 2">
            <a:extLst>
              <a:ext uri="{FF2B5EF4-FFF2-40B4-BE49-F238E27FC236}">
                <a16:creationId xmlns:a16="http://schemas.microsoft.com/office/drawing/2014/main" id="{6AE654B3-BA9E-644C-9BBC-7E76E77F2222}"/>
              </a:ext>
            </a:extLst>
          </p:cNvPr>
          <p:cNvSpPr>
            <a:spLocks noGrp="1"/>
          </p:cNvSpPr>
          <p:nvPr>
            <p:ph type="ftr" sz="quarter" idx="37"/>
          </p:nvPr>
        </p:nvSpPr>
        <p:spPr/>
        <p:txBody>
          <a:bodyPr/>
          <a:lstStyle/>
          <a:p>
            <a:endParaRPr lang="en-GB"/>
          </a:p>
        </p:txBody>
      </p:sp>
      <p:sp>
        <p:nvSpPr>
          <p:cNvPr id="4" name="Slide Number Placeholder 3">
            <a:extLst>
              <a:ext uri="{FF2B5EF4-FFF2-40B4-BE49-F238E27FC236}">
                <a16:creationId xmlns:a16="http://schemas.microsoft.com/office/drawing/2014/main" id="{DC518C98-6B03-734C-A9C2-4CBE116CC533}"/>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4" name="Text Placeholder 17">
            <a:extLst>
              <a:ext uri="{FF2B5EF4-FFF2-40B4-BE49-F238E27FC236}">
                <a16:creationId xmlns:a16="http://schemas.microsoft.com/office/drawing/2014/main" id="{6DA58766-F24C-CE43-9422-1C3F2F8D47EF}"/>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8" name="Text Placeholder 13">
            <a:extLst>
              <a:ext uri="{FF2B5EF4-FFF2-40B4-BE49-F238E27FC236}">
                <a16:creationId xmlns:a16="http://schemas.microsoft.com/office/drawing/2014/main" id="{2CADA899-366F-3543-908B-90BD59A1B090}"/>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59219618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0/50 image/text_teal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FDEE19-FB86-234E-9B10-6E2DAA87585E}"/>
              </a:ext>
            </a:extLst>
          </p:cNvPr>
          <p:cNvSpPr/>
          <p:nvPr userDrawn="1"/>
        </p:nvSpPr>
        <p:spPr>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3" name="Picture 12" descr="A picture containing drawing&#10;&#10;Description automatically generated">
            <a:extLst>
              <a:ext uri="{FF2B5EF4-FFF2-40B4-BE49-F238E27FC236}">
                <a16:creationId xmlns:a16="http://schemas.microsoft.com/office/drawing/2014/main" id="{00F4FC0B-D43C-1641-AEBB-2A63496BFD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3" name="Footer Placeholder 2">
            <a:extLst>
              <a:ext uri="{FF2B5EF4-FFF2-40B4-BE49-F238E27FC236}">
                <a16:creationId xmlns:a16="http://schemas.microsoft.com/office/drawing/2014/main" id="{CAB6E6F0-6C5C-A84C-ADE4-1FF9E05748DC}"/>
              </a:ext>
            </a:extLst>
          </p:cNvPr>
          <p:cNvSpPr>
            <a:spLocks noGrp="1"/>
          </p:cNvSpPr>
          <p:nvPr>
            <p:ph type="ftr" sz="quarter" idx="37"/>
          </p:nvPr>
        </p:nvSpPr>
        <p:spPr/>
        <p:txBody>
          <a:bodyPr/>
          <a:lstStyle/>
          <a:p>
            <a:endParaRPr lang="en-GB"/>
          </a:p>
        </p:txBody>
      </p:sp>
      <p:sp>
        <p:nvSpPr>
          <p:cNvPr id="4" name="Slide Number Placeholder 3">
            <a:extLst>
              <a:ext uri="{FF2B5EF4-FFF2-40B4-BE49-F238E27FC236}">
                <a16:creationId xmlns:a16="http://schemas.microsoft.com/office/drawing/2014/main" id="{169078AE-546C-0348-9A8D-F183BE23AC7F}"/>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8" name="Text Placeholder 17">
            <a:extLst>
              <a:ext uri="{FF2B5EF4-FFF2-40B4-BE49-F238E27FC236}">
                <a16:creationId xmlns:a16="http://schemas.microsoft.com/office/drawing/2014/main" id="{74A79A45-FBF3-D747-9B62-6A8FEEF115B9}"/>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9" name="Text Placeholder 13">
            <a:extLst>
              <a:ext uri="{FF2B5EF4-FFF2-40B4-BE49-F238E27FC236}">
                <a16:creationId xmlns:a16="http://schemas.microsoft.com/office/drawing/2014/main" id="{51C66B21-A966-D045-B7EF-2B19C85D3FF7}"/>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64555366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hart right 1/3 white left w/header">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24712853-735D-4445-9505-B48B85D62960}"/>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1" name="Title 1">
            <a:extLst>
              <a:ext uri="{FF2B5EF4-FFF2-40B4-BE49-F238E27FC236}">
                <a16:creationId xmlns:a16="http://schemas.microsoft.com/office/drawing/2014/main" id="{E23336AB-2C0D-664B-B5B1-D745FA9971E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FD763397-E861-C945-9160-F65294E9125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13">
            <a:extLst>
              <a:ext uri="{FF2B5EF4-FFF2-40B4-BE49-F238E27FC236}">
                <a16:creationId xmlns:a16="http://schemas.microsoft.com/office/drawing/2014/main" id="{91A1519C-04AA-8644-AE57-E414553067F9}"/>
              </a:ext>
            </a:extLst>
          </p:cNvPr>
          <p:cNvSpPr>
            <a:spLocks noGrp="1"/>
          </p:cNvSpPr>
          <p:nvPr>
            <p:ph type="body" sz="quarter" idx="36" hasCustomPrompt="1"/>
          </p:nvPr>
        </p:nvSpPr>
        <p:spPr>
          <a:xfrm>
            <a:off x="575999" y="1828799"/>
            <a:ext cx="3240000" cy="4284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Chart Placeholder 2">
            <a:extLst>
              <a:ext uri="{FF2B5EF4-FFF2-40B4-BE49-F238E27FC236}">
                <a16:creationId xmlns:a16="http://schemas.microsoft.com/office/drawing/2014/main" id="{92FC2439-3AD4-E441-968A-0AEBCF7A24C9}"/>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sp>
        <p:nvSpPr>
          <p:cNvPr id="2" name="Footer Placeholder 1">
            <a:extLst>
              <a:ext uri="{FF2B5EF4-FFF2-40B4-BE49-F238E27FC236}">
                <a16:creationId xmlns:a16="http://schemas.microsoft.com/office/drawing/2014/main" id="{FBDE6FFF-0569-AA41-87DD-95DC312F2F93}"/>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CD00A779-76B4-A64A-8855-BAD8A4748465}"/>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55321175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hart right 1/3 grey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C981D2D-DDC7-5742-8E68-4800A8573583}"/>
              </a:ext>
            </a:extLst>
          </p:cNvPr>
          <p:cNvSpPr/>
          <p:nvPr userDrawn="1"/>
        </p:nvSpPr>
        <p:spPr>
          <a:xfrm>
            <a:off x="-1" y="6870"/>
            <a:ext cx="4151314"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3A35B988-84EA-D34E-A793-D245C97E1B5B}"/>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7" name="Text Placeholder 2">
            <a:extLst>
              <a:ext uri="{FF2B5EF4-FFF2-40B4-BE49-F238E27FC236}">
                <a16:creationId xmlns:a16="http://schemas.microsoft.com/office/drawing/2014/main" id="{9C42DEEA-E3D8-4145-A3E8-BBCD5899FC53}"/>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5966FA86-CD45-0A4B-B3E1-5C559743E3C3}"/>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pic>
        <p:nvPicPr>
          <p:cNvPr id="29" name="Picture 28" descr="A close up of a flower&#10;&#10;Description automatically generated">
            <a:extLst>
              <a:ext uri="{FF2B5EF4-FFF2-40B4-BE49-F238E27FC236}">
                <a16:creationId xmlns:a16="http://schemas.microsoft.com/office/drawing/2014/main" id="{44A2E595-3DDA-4E47-A0E7-C02AED2861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2" name="Footer Placeholder 1">
            <a:extLst>
              <a:ext uri="{FF2B5EF4-FFF2-40B4-BE49-F238E27FC236}">
                <a16:creationId xmlns:a16="http://schemas.microsoft.com/office/drawing/2014/main" id="{6B62382F-86A4-5244-AE93-B5179F0081A8}"/>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E03BC72F-511C-0A4B-A3C2-49977AF7D50F}"/>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6" name="Text Placeholder 17">
            <a:extLst>
              <a:ext uri="{FF2B5EF4-FFF2-40B4-BE49-F238E27FC236}">
                <a16:creationId xmlns:a16="http://schemas.microsoft.com/office/drawing/2014/main" id="{C7ED947D-6574-714E-A5C1-07EDEF201FA0}"/>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CF2F69A1-69C9-7146-87D9-CA30B97D0F40}"/>
              </a:ext>
            </a:extLst>
          </p:cNvPr>
          <p:cNvSpPr>
            <a:spLocks noGrp="1"/>
          </p:cNvSpPr>
          <p:nvPr>
            <p:ph type="body" sz="quarter" idx="36" hasCustomPrompt="1"/>
          </p:nvPr>
        </p:nvSpPr>
        <p:spPr>
          <a:xfrm>
            <a:off x="575999" y="1828799"/>
            <a:ext cx="3240000" cy="4284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00505389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hart right 1/3 purple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9B14AB3A-9190-2A45-9487-A0B41CA02E9A}"/>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0" name="Text Placeholder 17">
            <a:extLst>
              <a:ext uri="{FF2B5EF4-FFF2-40B4-BE49-F238E27FC236}">
                <a16:creationId xmlns:a16="http://schemas.microsoft.com/office/drawing/2014/main" id="{E9B227C8-ADCA-6243-BEF7-20D4F0A97365}"/>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6" name="Text Placeholder 13">
            <a:extLst>
              <a:ext uri="{FF2B5EF4-FFF2-40B4-BE49-F238E27FC236}">
                <a16:creationId xmlns:a16="http://schemas.microsoft.com/office/drawing/2014/main" id="{4A58585F-5C7B-2244-B594-F49A4A7820F9}"/>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ext Placeholder 2">
            <a:extLst>
              <a:ext uri="{FF2B5EF4-FFF2-40B4-BE49-F238E27FC236}">
                <a16:creationId xmlns:a16="http://schemas.microsoft.com/office/drawing/2014/main" id="{FB55A543-994A-C248-BF00-0567CFB1B4BE}"/>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7E51E1CC-4DC3-D04B-A661-4419EBEB0F72}"/>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pic>
        <p:nvPicPr>
          <p:cNvPr id="29" name="Picture 28" descr="A picture containing drawing&#10;&#10;Description automatically generated">
            <a:extLst>
              <a:ext uri="{FF2B5EF4-FFF2-40B4-BE49-F238E27FC236}">
                <a16:creationId xmlns:a16="http://schemas.microsoft.com/office/drawing/2014/main" id="{ECE3551F-C892-A84A-9889-E4376D7302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66DBC29-39D6-FE4D-8C2F-2F0719AAAEBF}"/>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57F9595A-BD2F-9D44-8E10-F21394D8A2C6}"/>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2547915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x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3822"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3822"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2716212"/>
            <a:ext cx="3204000" cy="1079500"/>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41114B1E-A563-1101-CB97-0755E7E651D0}"/>
              </a:ext>
            </a:extLst>
          </p:cNvPr>
          <p:cNvSpPr>
            <a:spLocks noGrp="1"/>
          </p:cNvSpPr>
          <p:nvPr>
            <p:ph type="body" sz="quarter" idx="15"/>
          </p:nvPr>
        </p:nvSpPr>
        <p:spPr>
          <a:xfrm>
            <a:off x="4295776"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7" name="Text Placeholder 12">
            <a:extLst>
              <a:ext uri="{FF2B5EF4-FFF2-40B4-BE49-F238E27FC236}">
                <a16:creationId xmlns:a16="http://schemas.microsoft.com/office/drawing/2014/main" id="{399FA75D-803B-3E4B-7183-E3994966E24B}"/>
              </a:ext>
            </a:extLst>
          </p:cNvPr>
          <p:cNvSpPr>
            <a:spLocks noGrp="1"/>
          </p:cNvSpPr>
          <p:nvPr>
            <p:ph type="body" sz="quarter" idx="16"/>
          </p:nvPr>
        </p:nvSpPr>
        <p:spPr>
          <a:xfrm>
            <a:off x="8040687" y="2716213"/>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1" name="Text Placeholder 12">
            <a:extLst>
              <a:ext uri="{FF2B5EF4-FFF2-40B4-BE49-F238E27FC236}">
                <a16:creationId xmlns:a16="http://schemas.microsoft.com/office/drawing/2014/main" id="{956E8744-4447-9B41-C4EF-92000E2207C8}"/>
              </a:ext>
            </a:extLst>
          </p:cNvPr>
          <p:cNvSpPr>
            <a:spLocks noGrp="1"/>
          </p:cNvSpPr>
          <p:nvPr>
            <p:ph type="body" sz="quarter" idx="17"/>
          </p:nvPr>
        </p:nvSpPr>
        <p:spPr>
          <a:xfrm>
            <a:off x="550863" y="4883149"/>
            <a:ext cx="3204000" cy="1079500"/>
          </a:xfrm>
        </p:spPr>
        <p:txBody>
          <a:body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92D22F55-B345-13EA-70B9-B62C67DD2FB7}"/>
              </a:ext>
            </a:extLst>
          </p:cNvPr>
          <p:cNvSpPr>
            <a:spLocks noGrp="1"/>
          </p:cNvSpPr>
          <p:nvPr>
            <p:ph type="body" sz="quarter" idx="18"/>
          </p:nvPr>
        </p:nvSpPr>
        <p:spPr>
          <a:xfrm>
            <a:off x="4295776"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4" name="Text Placeholder 12">
            <a:extLst>
              <a:ext uri="{FF2B5EF4-FFF2-40B4-BE49-F238E27FC236}">
                <a16:creationId xmlns:a16="http://schemas.microsoft.com/office/drawing/2014/main" id="{0876B04D-418A-408D-4B86-1F152EA3B9AC}"/>
              </a:ext>
            </a:extLst>
          </p:cNvPr>
          <p:cNvSpPr>
            <a:spLocks noGrp="1"/>
          </p:cNvSpPr>
          <p:nvPr>
            <p:ph type="body" sz="quarter" idx="19"/>
          </p:nvPr>
        </p:nvSpPr>
        <p:spPr>
          <a:xfrm>
            <a:off x="8040687" y="4883150"/>
            <a:ext cx="3204000" cy="1079500"/>
          </a:xfrm>
        </p:spPr>
        <p:txBody>
          <a:bodyPr/>
          <a:lstStyle/>
          <a:p>
            <a:pPr lvl="0"/>
            <a:r>
              <a:rPr lang="en-US"/>
              <a:t>Click to edit Master text styles</a:t>
            </a:r>
          </a:p>
          <a:p>
            <a:pPr lvl="1"/>
            <a:r>
              <a:rPr lang="en-US"/>
              <a:t>Second level</a:t>
            </a:r>
          </a:p>
          <a:p>
            <a:pPr lvl="2"/>
            <a:r>
              <a:rPr lang="en-US"/>
              <a:t>Third level</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0863"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7" name="Picture Placeholder 15">
            <a:extLst>
              <a:ext uri="{FF2B5EF4-FFF2-40B4-BE49-F238E27FC236}">
                <a16:creationId xmlns:a16="http://schemas.microsoft.com/office/drawing/2014/main" id="{CD8935F0-FF95-E453-E9F6-68893F7A504D}"/>
              </a:ext>
            </a:extLst>
          </p:cNvPr>
          <p:cNvSpPr>
            <a:spLocks noGrp="1"/>
          </p:cNvSpPr>
          <p:nvPr>
            <p:ph type="pic" sz="quarter" idx="21" hasCustomPrompt="1"/>
          </p:nvPr>
        </p:nvSpPr>
        <p:spPr>
          <a:xfrm>
            <a:off x="4295776"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8" name="Picture Placeholder 15">
            <a:extLst>
              <a:ext uri="{FF2B5EF4-FFF2-40B4-BE49-F238E27FC236}">
                <a16:creationId xmlns:a16="http://schemas.microsoft.com/office/drawing/2014/main" id="{222353BC-D3DC-BA3E-0558-E3C87FF2BDCC}"/>
              </a:ext>
            </a:extLst>
          </p:cNvPr>
          <p:cNvSpPr>
            <a:spLocks noGrp="1"/>
          </p:cNvSpPr>
          <p:nvPr>
            <p:ph type="pic" sz="quarter" idx="22" hasCustomPrompt="1"/>
          </p:nvPr>
        </p:nvSpPr>
        <p:spPr>
          <a:xfrm>
            <a:off x="8040687" y="1815305"/>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19" name="Picture Placeholder 15">
            <a:extLst>
              <a:ext uri="{FF2B5EF4-FFF2-40B4-BE49-F238E27FC236}">
                <a16:creationId xmlns:a16="http://schemas.microsoft.com/office/drawing/2014/main" id="{470F1949-6467-FE3B-E626-1F303399B974}"/>
              </a:ext>
            </a:extLst>
          </p:cNvPr>
          <p:cNvSpPr>
            <a:spLocks noGrp="1"/>
          </p:cNvSpPr>
          <p:nvPr>
            <p:ph type="pic" sz="quarter" idx="23" hasCustomPrompt="1"/>
          </p:nvPr>
        </p:nvSpPr>
        <p:spPr>
          <a:xfrm>
            <a:off x="550863"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0" name="Picture Placeholder 15">
            <a:extLst>
              <a:ext uri="{FF2B5EF4-FFF2-40B4-BE49-F238E27FC236}">
                <a16:creationId xmlns:a16="http://schemas.microsoft.com/office/drawing/2014/main" id="{ED0BCDCE-72FA-F3E6-C968-84566E1BEF5B}"/>
              </a:ext>
            </a:extLst>
          </p:cNvPr>
          <p:cNvSpPr>
            <a:spLocks noGrp="1"/>
          </p:cNvSpPr>
          <p:nvPr>
            <p:ph type="pic" sz="quarter" idx="24" hasCustomPrompt="1"/>
          </p:nvPr>
        </p:nvSpPr>
        <p:spPr>
          <a:xfrm>
            <a:off x="4295776"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21" name="Picture Placeholder 15">
            <a:extLst>
              <a:ext uri="{FF2B5EF4-FFF2-40B4-BE49-F238E27FC236}">
                <a16:creationId xmlns:a16="http://schemas.microsoft.com/office/drawing/2014/main" id="{95AC45EB-6812-379E-D631-F1DE40638311}"/>
              </a:ext>
            </a:extLst>
          </p:cNvPr>
          <p:cNvSpPr>
            <a:spLocks noGrp="1"/>
          </p:cNvSpPr>
          <p:nvPr>
            <p:ph type="pic" sz="quarter" idx="25" hasCustomPrompt="1"/>
          </p:nvPr>
        </p:nvSpPr>
        <p:spPr>
          <a:xfrm>
            <a:off x="8040687" y="3975101"/>
            <a:ext cx="360362" cy="360362"/>
          </a:xfrm>
          <a:noFill/>
        </p:spPr>
        <p:txBody>
          <a:bodyPr anchor="ctr" anchorCtr="0"/>
          <a:lstStyle>
            <a:lvl1pPr marL="0" indent="0" algn="ctr">
              <a:buNone/>
              <a:defRPr sz="1000">
                <a:solidFill>
                  <a:schemeClr val="accent2"/>
                </a:solidFill>
                <a:latin typeface="+mn-lt"/>
              </a:defRPr>
            </a:lvl1pPr>
          </a:lstStyle>
          <a:p>
            <a:pPr lvl="0"/>
            <a:r>
              <a:rPr lang="en-GB"/>
              <a:t>icon</a:t>
            </a:r>
          </a:p>
        </p:txBody>
      </p:sp>
      <p:sp>
        <p:nvSpPr>
          <p:cNvPr id="5" name="Text Placeholder 12">
            <a:extLst>
              <a:ext uri="{FF2B5EF4-FFF2-40B4-BE49-F238E27FC236}">
                <a16:creationId xmlns:a16="http://schemas.microsoft.com/office/drawing/2014/main" id="{9A6FB466-17DF-825B-8CFE-D36B7DFFAAC9}"/>
              </a:ext>
            </a:extLst>
          </p:cNvPr>
          <p:cNvSpPr>
            <a:spLocks noGrp="1"/>
          </p:cNvSpPr>
          <p:nvPr>
            <p:ph type="body" sz="quarter" idx="41" hasCustomPrompt="1"/>
          </p:nvPr>
        </p:nvSpPr>
        <p:spPr>
          <a:xfrm>
            <a:off x="550864"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9" name="Text Placeholder 12">
            <a:extLst>
              <a:ext uri="{FF2B5EF4-FFF2-40B4-BE49-F238E27FC236}">
                <a16:creationId xmlns:a16="http://schemas.microsoft.com/office/drawing/2014/main" id="{EBA31540-DD60-C1FE-84D9-AB3B913DE24E}"/>
              </a:ext>
            </a:extLst>
          </p:cNvPr>
          <p:cNvSpPr>
            <a:spLocks noGrp="1"/>
          </p:cNvSpPr>
          <p:nvPr>
            <p:ph type="body" sz="quarter" idx="45" hasCustomPrompt="1"/>
          </p:nvPr>
        </p:nvSpPr>
        <p:spPr>
          <a:xfrm>
            <a:off x="4301240"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15" name="Text Placeholder 12">
            <a:extLst>
              <a:ext uri="{FF2B5EF4-FFF2-40B4-BE49-F238E27FC236}">
                <a16:creationId xmlns:a16="http://schemas.microsoft.com/office/drawing/2014/main" id="{47A08AD4-EF40-3EEE-D086-FAFE12BF8572}"/>
              </a:ext>
            </a:extLst>
          </p:cNvPr>
          <p:cNvSpPr>
            <a:spLocks noGrp="1"/>
          </p:cNvSpPr>
          <p:nvPr>
            <p:ph type="body" sz="quarter" idx="67" hasCustomPrompt="1"/>
          </p:nvPr>
        </p:nvSpPr>
        <p:spPr>
          <a:xfrm>
            <a:off x="8039099" y="2354265"/>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22" name="Text Placeholder 12">
            <a:extLst>
              <a:ext uri="{FF2B5EF4-FFF2-40B4-BE49-F238E27FC236}">
                <a16:creationId xmlns:a16="http://schemas.microsoft.com/office/drawing/2014/main" id="{488A00D0-DFE0-4018-7DEA-DB963BB63359}"/>
              </a:ext>
            </a:extLst>
          </p:cNvPr>
          <p:cNvSpPr>
            <a:spLocks noGrp="1"/>
          </p:cNvSpPr>
          <p:nvPr>
            <p:ph type="body" sz="quarter" idx="68" hasCustomPrompt="1"/>
          </p:nvPr>
        </p:nvSpPr>
        <p:spPr>
          <a:xfrm>
            <a:off x="550864"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23" name="Text Placeholder 12">
            <a:extLst>
              <a:ext uri="{FF2B5EF4-FFF2-40B4-BE49-F238E27FC236}">
                <a16:creationId xmlns:a16="http://schemas.microsoft.com/office/drawing/2014/main" id="{35021A18-46DC-3008-76D5-10DA7AF4F84A}"/>
              </a:ext>
            </a:extLst>
          </p:cNvPr>
          <p:cNvSpPr>
            <a:spLocks noGrp="1"/>
          </p:cNvSpPr>
          <p:nvPr>
            <p:ph type="body" sz="quarter" idx="69" hasCustomPrompt="1"/>
          </p:nvPr>
        </p:nvSpPr>
        <p:spPr>
          <a:xfrm>
            <a:off x="4301240"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ive</a:t>
            </a:r>
          </a:p>
        </p:txBody>
      </p:sp>
      <p:sp>
        <p:nvSpPr>
          <p:cNvPr id="24" name="Text Placeholder 12">
            <a:extLst>
              <a:ext uri="{FF2B5EF4-FFF2-40B4-BE49-F238E27FC236}">
                <a16:creationId xmlns:a16="http://schemas.microsoft.com/office/drawing/2014/main" id="{69000ADE-09E6-91EC-6A61-155867714C5E}"/>
              </a:ext>
            </a:extLst>
          </p:cNvPr>
          <p:cNvSpPr>
            <a:spLocks noGrp="1"/>
          </p:cNvSpPr>
          <p:nvPr>
            <p:ph type="body" sz="quarter" idx="70" hasCustomPrompt="1"/>
          </p:nvPr>
        </p:nvSpPr>
        <p:spPr>
          <a:xfrm>
            <a:off x="8039099" y="4514851"/>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Six</a:t>
            </a:r>
          </a:p>
        </p:txBody>
      </p:sp>
    </p:spTree>
    <p:extLst>
      <p:ext uri="{BB962C8B-B14F-4D97-AF65-F5344CB8AC3E}">
        <p14:creationId xmlns:p14="http://schemas.microsoft.com/office/powerpoint/2010/main" val="239766321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hart right 1/3 midnight blue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9B14AB3A-9190-2A45-9487-A0B41CA02E9A}"/>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0" name="Text Placeholder 17">
            <a:extLst>
              <a:ext uri="{FF2B5EF4-FFF2-40B4-BE49-F238E27FC236}">
                <a16:creationId xmlns:a16="http://schemas.microsoft.com/office/drawing/2014/main" id="{E9B227C8-ADCA-6243-BEF7-20D4F0A97365}"/>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2">
            <a:extLst>
              <a:ext uri="{FF2B5EF4-FFF2-40B4-BE49-F238E27FC236}">
                <a16:creationId xmlns:a16="http://schemas.microsoft.com/office/drawing/2014/main" id="{FB55A543-994A-C248-BF00-0567CFB1B4BE}"/>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7E51E1CC-4DC3-D04B-A661-4419EBEB0F72}"/>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pic>
        <p:nvPicPr>
          <p:cNvPr id="29" name="Picture 28" descr="A picture containing drawing&#10;&#10;Description automatically generated">
            <a:extLst>
              <a:ext uri="{FF2B5EF4-FFF2-40B4-BE49-F238E27FC236}">
                <a16:creationId xmlns:a16="http://schemas.microsoft.com/office/drawing/2014/main" id="{ECE3551F-C892-A84A-9889-E4376D7302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C8AB07B7-B124-1840-804A-9A57B31228E9}"/>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44B07B72-8B5A-DC41-BC42-5A750900D224}"/>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6" name="Text Placeholder 13">
            <a:extLst>
              <a:ext uri="{FF2B5EF4-FFF2-40B4-BE49-F238E27FC236}">
                <a16:creationId xmlns:a16="http://schemas.microsoft.com/office/drawing/2014/main" id="{F6F3EFA2-EC43-A646-9199-95CF28B1DD75}"/>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65289011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hart right 1/3 teal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9B14AB3A-9190-2A45-9487-A0B41CA02E9A}"/>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0" name="Text Placeholder 17">
            <a:extLst>
              <a:ext uri="{FF2B5EF4-FFF2-40B4-BE49-F238E27FC236}">
                <a16:creationId xmlns:a16="http://schemas.microsoft.com/office/drawing/2014/main" id="{E9B227C8-ADCA-6243-BEF7-20D4F0A97365}"/>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2">
            <a:extLst>
              <a:ext uri="{FF2B5EF4-FFF2-40B4-BE49-F238E27FC236}">
                <a16:creationId xmlns:a16="http://schemas.microsoft.com/office/drawing/2014/main" id="{FB55A543-994A-C248-BF00-0567CFB1B4BE}"/>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7E51E1CC-4DC3-D04B-A661-4419EBEB0F72}"/>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US"/>
              <a:t>Click icon to add chart</a:t>
            </a:r>
            <a:endParaRPr lang="en-GB"/>
          </a:p>
        </p:txBody>
      </p:sp>
      <p:pic>
        <p:nvPicPr>
          <p:cNvPr id="29" name="Picture 28" descr="A picture containing drawing&#10;&#10;Description automatically generated">
            <a:extLst>
              <a:ext uri="{FF2B5EF4-FFF2-40B4-BE49-F238E27FC236}">
                <a16:creationId xmlns:a16="http://schemas.microsoft.com/office/drawing/2014/main" id="{ECE3551F-C892-A84A-9889-E4376D7302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83EFE35-DE05-FB46-8587-D177E1ACA24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0CCF1286-616C-1647-B1D2-D02DB87172CF}"/>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6" name="Text Placeholder 13">
            <a:extLst>
              <a:ext uri="{FF2B5EF4-FFF2-40B4-BE49-F238E27FC236}">
                <a16:creationId xmlns:a16="http://schemas.microsoft.com/office/drawing/2014/main" id="{D7FB83DD-3B69-854F-AC6B-8775979503F4}"/>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82406070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able right 1/3 grey left w/header">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A9BBD5-29F6-5642-A414-44CD5F35FD60}"/>
              </a:ext>
            </a:extLst>
          </p:cNvPr>
          <p:cNvSpPr>
            <a:spLocks noGrp="1"/>
          </p:cNvSpPr>
          <p:nvPr>
            <p:ph type="body" sz="quarter" idx="31" hasCustomPrompt="1"/>
          </p:nvPr>
        </p:nvSpPr>
        <p:spPr>
          <a:xfrm>
            <a:off x="4680000" y="5882326"/>
            <a:ext cx="4435200"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7" name="Rectangle 16">
            <a:extLst>
              <a:ext uri="{FF2B5EF4-FFF2-40B4-BE49-F238E27FC236}">
                <a16:creationId xmlns:a16="http://schemas.microsoft.com/office/drawing/2014/main" id="{A324EC1A-368B-0F4E-96B3-719B83F007EB}"/>
              </a:ext>
            </a:extLst>
          </p:cNvPr>
          <p:cNvSpPr/>
          <p:nvPr userDrawn="1"/>
        </p:nvSpPr>
        <p:spPr>
          <a:xfrm>
            <a:off x="-1" y="6870"/>
            <a:ext cx="4151314" cy="685113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0" name="Title 1">
            <a:extLst>
              <a:ext uri="{FF2B5EF4-FFF2-40B4-BE49-F238E27FC236}">
                <a16:creationId xmlns:a16="http://schemas.microsoft.com/office/drawing/2014/main" id="{C7121618-6095-DA41-831E-67DEC75D107B}"/>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B96D23E0-856F-EB4A-B984-35793CF11BEF}"/>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9" name="Text Placeholder 13">
            <a:extLst>
              <a:ext uri="{FF2B5EF4-FFF2-40B4-BE49-F238E27FC236}">
                <a16:creationId xmlns:a16="http://schemas.microsoft.com/office/drawing/2014/main" id="{DABAC220-4647-C84E-BE3F-0F55057E787C}"/>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30" name="Picture 29" descr="A close up of a flower&#10;&#10;Description automatically generated">
            <a:extLst>
              <a:ext uri="{FF2B5EF4-FFF2-40B4-BE49-F238E27FC236}">
                <a16:creationId xmlns:a16="http://schemas.microsoft.com/office/drawing/2014/main" id="{0E0EE0B4-B331-7D49-9A04-2D28B4170D8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31" name="Table Placeholder 2">
            <a:extLst>
              <a:ext uri="{FF2B5EF4-FFF2-40B4-BE49-F238E27FC236}">
                <a16:creationId xmlns:a16="http://schemas.microsoft.com/office/drawing/2014/main" id="{66A6ED60-08F6-534D-9240-66F4BA799CA5}"/>
              </a:ext>
            </a:extLst>
          </p:cNvPr>
          <p:cNvSpPr>
            <a:spLocks noGrp="1"/>
          </p:cNvSpPr>
          <p:nvPr>
            <p:ph type="tbl" sz="quarter" idx="30"/>
          </p:nvPr>
        </p:nvSpPr>
        <p:spPr>
          <a:xfrm>
            <a:off x="4675937" y="812801"/>
            <a:ext cx="6926399" cy="5008136"/>
          </a:xfrm>
          <a:prstGeom prst="rect">
            <a:avLst/>
          </a:prstGeom>
        </p:spPr>
        <p:txBody>
          <a:bodyPr>
            <a:noAutofit/>
          </a:bodyPr>
          <a:lstStyle>
            <a:lvl1pPr marL="0" indent="0" algn="ctr">
              <a:buNone/>
              <a:defRPr sz="2400"/>
            </a:lvl1pPr>
          </a:lstStyle>
          <a:p>
            <a:r>
              <a:rPr lang="en-US"/>
              <a:t>Click icon to add table</a:t>
            </a:r>
            <a:endParaRPr lang="en-GB"/>
          </a:p>
        </p:txBody>
      </p:sp>
      <p:sp>
        <p:nvSpPr>
          <p:cNvPr id="2" name="Footer Placeholder 1">
            <a:extLst>
              <a:ext uri="{FF2B5EF4-FFF2-40B4-BE49-F238E27FC236}">
                <a16:creationId xmlns:a16="http://schemas.microsoft.com/office/drawing/2014/main" id="{B2975D4A-6801-0B47-A421-B6E5EE07BD7A}"/>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AD424732-98BD-6E44-A24E-4922FE54166F}"/>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51727925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right 1/3 purple left w/header">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Text Placeholder 2">
            <a:extLst>
              <a:ext uri="{FF2B5EF4-FFF2-40B4-BE49-F238E27FC236}">
                <a16:creationId xmlns:a16="http://schemas.microsoft.com/office/drawing/2014/main" id="{BAF26822-8F44-6A4F-8853-6C534D407C34}"/>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Table Placeholder 2">
            <a:extLst>
              <a:ext uri="{FF2B5EF4-FFF2-40B4-BE49-F238E27FC236}">
                <a16:creationId xmlns:a16="http://schemas.microsoft.com/office/drawing/2014/main" id="{B19134DD-F2AF-9440-B6B8-4DC7CBB891F9}"/>
              </a:ext>
            </a:extLst>
          </p:cNvPr>
          <p:cNvSpPr>
            <a:spLocks noGrp="1"/>
          </p:cNvSpPr>
          <p:nvPr>
            <p:ph type="tbl" sz="quarter" idx="30"/>
          </p:nvPr>
        </p:nvSpPr>
        <p:spPr>
          <a:xfrm>
            <a:off x="4661648" y="812801"/>
            <a:ext cx="6942978" cy="5008136"/>
          </a:xfrm>
          <a:prstGeom prst="rect">
            <a:avLst/>
          </a:prstGeom>
        </p:spPr>
        <p:txBody>
          <a:bodyPr>
            <a:noAutofit/>
          </a:bodyPr>
          <a:lstStyle>
            <a:lvl1pPr marL="0" indent="0" algn="ctr">
              <a:buNone/>
              <a:defRPr sz="2400"/>
            </a:lvl1pPr>
          </a:lstStyle>
          <a:p>
            <a:r>
              <a:rPr lang="en-US"/>
              <a:t>Click icon to add table</a:t>
            </a:r>
            <a:endParaRPr lang="en-GB"/>
          </a:p>
        </p:txBody>
      </p:sp>
      <p:sp>
        <p:nvSpPr>
          <p:cNvPr id="22" name="Title 1">
            <a:extLst>
              <a:ext uri="{FF2B5EF4-FFF2-40B4-BE49-F238E27FC236}">
                <a16:creationId xmlns:a16="http://schemas.microsoft.com/office/drawing/2014/main" id="{DECB0799-54D1-3D48-AF1A-F84002EBF456}"/>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5" name="Text Placeholder 17">
            <a:extLst>
              <a:ext uri="{FF2B5EF4-FFF2-40B4-BE49-F238E27FC236}">
                <a16:creationId xmlns:a16="http://schemas.microsoft.com/office/drawing/2014/main" id="{C6C6AD55-D93B-BA4D-8F35-88802ACD440C}"/>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8" name="Text Placeholder 13">
            <a:extLst>
              <a:ext uri="{FF2B5EF4-FFF2-40B4-BE49-F238E27FC236}">
                <a16:creationId xmlns:a16="http://schemas.microsoft.com/office/drawing/2014/main" id="{7293DD68-D859-2A46-B405-31BC824CFD1B}"/>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83186651-261B-784B-9034-32E13652E5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407D954F-B501-164F-9AC3-AAAB5B00E9D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E61BA0D6-B93F-7249-8E36-63F22389CBE7}"/>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10887787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able right 1/3 midnight blue left w/header">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Text Placeholder 2">
            <a:extLst>
              <a:ext uri="{FF2B5EF4-FFF2-40B4-BE49-F238E27FC236}">
                <a16:creationId xmlns:a16="http://schemas.microsoft.com/office/drawing/2014/main" id="{BAF26822-8F44-6A4F-8853-6C534D407C34}"/>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Table Placeholder 2">
            <a:extLst>
              <a:ext uri="{FF2B5EF4-FFF2-40B4-BE49-F238E27FC236}">
                <a16:creationId xmlns:a16="http://schemas.microsoft.com/office/drawing/2014/main" id="{B19134DD-F2AF-9440-B6B8-4DC7CBB891F9}"/>
              </a:ext>
            </a:extLst>
          </p:cNvPr>
          <p:cNvSpPr>
            <a:spLocks noGrp="1"/>
          </p:cNvSpPr>
          <p:nvPr>
            <p:ph type="tbl" sz="quarter" idx="30"/>
          </p:nvPr>
        </p:nvSpPr>
        <p:spPr>
          <a:xfrm>
            <a:off x="4661648" y="812801"/>
            <a:ext cx="6942978" cy="5008136"/>
          </a:xfrm>
          <a:prstGeom prst="rect">
            <a:avLst/>
          </a:prstGeom>
        </p:spPr>
        <p:txBody>
          <a:bodyPr>
            <a:noAutofit/>
          </a:bodyPr>
          <a:lstStyle>
            <a:lvl1pPr marL="0" indent="0" algn="ctr">
              <a:buNone/>
              <a:defRPr sz="2400"/>
            </a:lvl1pPr>
          </a:lstStyle>
          <a:p>
            <a:r>
              <a:rPr lang="en-US"/>
              <a:t>Click icon to add table</a:t>
            </a:r>
            <a:endParaRPr lang="en-GB"/>
          </a:p>
        </p:txBody>
      </p:sp>
      <p:sp>
        <p:nvSpPr>
          <p:cNvPr id="22" name="Title 1">
            <a:extLst>
              <a:ext uri="{FF2B5EF4-FFF2-40B4-BE49-F238E27FC236}">
                <a16:creationId xmlns:a16="http://schemas.microsoft.com/office/drawing/2014/main" id="{DECB0799-54D1-3D48-AF1A-F84002EBF456}"/>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83186651-261B-784B-9034-32E13652E5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071C80B4-2C50-AB44-BFA0-F43BBD771151}"/>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AE1DB10D-572A-5E43-909E-24301F722F1D}"/>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28B8AF0E-C822-0248-BE2B-D8999734218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13">
            <a:extLst>
              <a:ext uri="{FF2B5EF4-FFF2-40B4-BE49-F238E27FC236}">
                <a16:creationId xmlns:a16="http://schemas.microsoft.com/office/drawing/2014/main" id="{C7991B9A-34BA-B04B-AB4C-1902712E530E}"/>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96327924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able right 1/3 teal left w/header">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Text Placeholder 2">
            <a:extLst>
              <a:ext uri="{FF2B5EF4-FFF2-40B4-BE49-F238E27FC236}">
                <a16:creationId xmlns:a16="http://schemas.microsoft.com/office/drawing/2014/main" id="{BAF26822-8F44-6A4F-8853-6C534D407C34}"/>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Table Placeholder 2">
            <a:extLst>
              <a:ext uri="{FF2B5EF4-FFF2-40B4-BE49-F238E27FC236}">
                <a16:creationId xmlns:a16="http://schemas.microsoft.com/office/drawing/2014/main" id="{B19134DD-F2AF-9440-B6B8-4DC7CBB891F9}"/>
              </a:ext>
            </a:extLst>
          </p:cNvPr>
          <p:cNvSpPr>
            <a:spLocks noGrp="1"/>
          </p:cNvSpPr>
          <p:nvPr>
            <p:ph type="tbl" sz="quarter" idx="30"/>
          </p:nvPr>
        </p:nvSpPr>
        <p:spPr>
          <a:xfrm>
            <a:off x="4661648" y="812801"/>
            <a:ext cx="6942978" cy="5008136"/>
          </a:xfrm>
          <a:prstGeom prst="rect">
            <a:avLst/>
          </a:prstGeom>
        </p:spPr>
        <p:txBody>
          <a:bodyPr>
            <a:noAutofit/>
          </a:bodyPr>
          <a:lstStyle>
            <a:lvl1pPr marL="0" indent="0" algn="ctr">
              <a:buNone/>
              <a:defRPr sz="2400"/>
            </a:lvl1pPr>
          </a:lstStyle>
          <a:p>
            <a:r>
              <a:rPr lang="en-US"/>
              <a:t>Click icon to add table</a:t>
            </a:r>
            <a:endParaRPr lang="en-GB"/>
          </a:p>
        </p:txBody>
      </p:sp>
      <p:sp>
        <p:nvSpPr>
          <p:cNvPr id="22" name="Title 1">
            <a:extLst>
              <a:ext uri="{FF2B5EF4-FFF2-40B4-BE49-F238E27FC236}">
                <a16:creationId xmlns:a16="http://schemas.microsoft.com/office/drawing/2014/main" id="{DECB0799-54D1-3D48-AF1A-F84002EBF456}"/>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83186651-261B-784B-9034-32E13652E5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6921F4CA-3F21-1C45-9D0C-F8F62847E994}"/>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430F8380-3058-4D46-9E1E-62B2E9DC09AD}"/>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ED327BAD-3DD6-504F-8869-4A3E9206C8C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13">
            <a:extLst>
              <a:ext uri="{FF2B5EF4-FFF2-40B4-BE49-F238E27FC236}">
                <a16:creationId xmlns:a16="http://schemas.microsoft.com/office/drawing/2014/main" id="{302D5E0E-E8DD-8E44-A5F7-21EF999493C8}"/>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20599576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creenshot laptop w/text white">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1E55744B-07FA-EE45-A7FB-63DDC439C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92442" y="1464071"/>
            <a:ext cx="7188604" cy="4500692"/>
          </a:xfrm>
          <a:prstGeom prst="rect">
            <a:avLst/>
          </a:prstGeom>
        </p:spPr>
      </p:pic>
      <p:sp>
        <p:nvSpPr>
          <p:cNvPr id="26" name="Picture Placeholder 2">
            <a:extLst>
              <a:ext uri="{FF2B5EF4-FFF2-40B4-BE49-F238E27FC236}">
                <a16:creationId xmlns:a16="http://schemas.microsoft.com/office/drawing/2014/main" id="{17DD2EF2-3D74-4340-8366-D48E266CD258}"/>
              </a:ext>
            </a:extLst>
          </p:cNvPr>
          <p:cNvSpPr>
            <a:spLocks noGrp="1"/>
          </p:cNvSpPr>
          <p:nvPr>
            <p:ph type="pic" sz="quarter" idx="18"/>
          </p:nvPr>
        </p:nvSpPr>
        <p:spPr>
          <a:xfrm>
            <a:off x="6105928" y="2087175"/>
            <a:ext cx="4968000" cy="3115160"/>
          </a:xfrm>
          <a:prstGeom prst="rect">
            <a:avLst/>
          </a:prstGeom>
          <a:solidFill>
            <a:schemeClr val="bg1"/>
          </a:solidFill>
        </p:spPr>
        <p:txBody>
          <a:bodyPr>
            <a:noAutofit/>
          </a:bodyPr>
          <a:lstStyle>
            <a:lvl1pPr marL="0" indent="0">
              <a:buNone/>
              <a:defRPr sz="2000">
                <a:solidFill>
                  <a:schemeClr val="tx1"/>
                </a:solidFill>
              </a:defRPr>
            </a:lvl1pPr>
          </a:lstStyle>
          <a:p>
            <a:r>
              <a:rPr lang="en-US"/>
              <a:t>Click icon to add picture</a:t>
            </a:r>
            <a:endParaRPr lang="en-GB"/>
          </a:p>
        </p:txBody>
      </p:sp>
      <p:sp>
        <p:nvSpPr>
          <p:cNvPr id="13" name="Title 1">
            <a:extLst>
              <a:ext uri="{FF2B5EF4-FFF2-40B4-BE49-F238E27FC236}">
                <a16:creationId xmlns:a16="http://schemas.microsoft.com/office/drawing/2014/main" id="{D0BDC025-AECE-ED40-BA0E-D98FAF2725F4}"/>
              </a:ext>
            </a:extLst>
          </p:cNvPr>
          <p:cNvSpPr>
            <a:spLocks noGrp="1"/>
          </p:cNvSpPr>
          <p:nvPr>
            <p:ph type="title" hasCustomPrompt="1"/>
          </p:nvPr>
        </p:nvSpPr>
        <p:spPr>
          <a:xfrm>
            <a:off x="576000" y="816951"/>
            <a:ext cx="45108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7">
            <a:extLst>
              <a:ext uri="{FF2B5EF4-FFF2-40B4-BE49-F238E27FC236}">
                <a16:creationId xmlns:a16="http://schemas.microsoft.com/office/drawing/2014/main" id="{EEB6580F-972E-8949-A49B-31BA20ED83BA}"/>
              </a:ext>
            </a:extLst>
          </p:cNvPr>
          <p:cNvSpPr>
            <a:spLocks noGrp="1"/>
          </p:cNvSpPr>
          <p:nvPr>
            <p:ph type="body" sz="quarter" idx="29" hasCustomPrompt="1"/>
          </p:nvPr>
        </p:nvSpPr>
        <p:spPr>
          <a:xfrm>
            <a:off x="576000" y="1193187"/>
            <a:ext cx="45108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5" name="Text Placeholder 3">
            <a:extLst>
              <a:ext uri="{FF2B5EF4-FFF2-40B4-BE49-F238E27FC236}">
                <a16:creationId xmlns:a16="http://schemas.microsoft.com/office/drawing/2014/main" id="{A6A2AFCE-BC5A-A940-ACF6-9412C07A647F}"/>
              </a:ext>
            </a:extLst>
          </p:cNvPr>
          <p:cNvSpPr>
            <a:spLocks noGrp="1"/>
          </p:cNvSpPr>
          <p:nvPr>
            <p:ph type="body" sz="quarter" idx="34" hasCustomPrompt="1"/>
          </p:nvPr>
        </p:nvSpPr>
        <p:spPr>
          <a:xfrm>
            <a:off x="576000" y="1820252"/>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7" name="Text Placeholder 3">
            <a:extLst>
              <a:ext uri="{FF2B5EF4-FFF2-40B4-BE49-F238E27FC236}">
                <a16:creationId xmlns:a16="http://schemas.microsoft.com/office/drawing/2014/main" id="{41B91CB2-610B-FA44-8952-7907ADF18816}"/>
              </a:ext>
            </a:extLst>
          </p:cNvPr>
          <p:cNvSpPr>
            <a:spLocks noGrp="1"/>
          </p:cNvSpPr>
          <p:nvPr>
            <p:ph type="body" sz="quarter" idx="36" hasCustomPrompt="1"/>
          </p:nvPr>
        </p:nvSpPr>
        <p:spPr>
          <a:xfrm>
            <a:off x="576000" y="4062709"/>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8" name="Text Placeholder 13">
            <a:extLst>
              <a:ext uri="{FF2B5EF4-FFF2-40B4-BE49-F238E27FC236}">
                <a16:creationId xmlns:a16="http://schemas.microsoft.com/office/drawing/2014/main" id="{E6B5B640-0CC9-AB44-A882-883DCEBF3E98}"/>
              </a:ext>
            </a:extLst>
          </p:cNvPr>
          <p:cNvSpPr>
            <a:spLocks noGrp="1"/>
          </p:cNvSpPr>
          <p:nvPr>
            <p:ph type="body" sz="quarter" idx="63" hasCustomPrompt="1"/>
          </p:nvPr>
        </p:nvSpPr>
        <p:spPr>
          <a:xfrm>
            <a:off x="576000" y="2362199"/>
            <a:ext cx="4511938" cy="1456471"/>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19" name="Text Placeholder 13">
            <a:extLst>
              <a:ext uri="{FF2B5EF4-FFF2-40B4-BE49-F238E27FC236}">
                <a16:creationId xmlns:a16="http://schemas.microsoft.com/office/drawing/2014/main" id="{93FB0FE8-0435-F946-B1F7-C07E6237203B}"/>
              </a:ext>
            </a:extLst>
          </p:cNvPr>
          <p:cNvSpPr>
            <a:spLocks noGrp="1"/>
          </p:cNvSpPr>
          <p:nvPr>
            <p:ph type="body" sz="quarter" idx="64" hasCustomPrompt="1"/>
          </p:nvPr>
        </p:nvSpPr>
        <p:spPr>
          <a:xfrm>
            <a:off x="576000" y="4608442"/>
            <a:ext cx="4511938" cy="1487558"/>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2" name="Footer Placeholder 1">
            <a:extLst>
              <a:ext uri="{FF2B5EF4-FFF2-40B4-BE49-F238E27FC236}">
                <a16:creationId xmlns:a16="http://schemas.microsoft.com/office/drawing/2014/main" id="{B9386CC4-EBBF-B543-8FA9-4BA448729948}"/>
              </a:ext>
            </a:extLst>
          </p:cNvPr>
          <p:cNvSpPr>
            <a:spLocks noGrp="1"/>
          </p:cNvSpPr>
          <p:nvPr>
            <p:ph type="ftr" sz="quarter" idx="65"/>
          </p:nvPr>
        </p:nvSpPr>
        <p:spPr/>
        <p:txBody>
          <a:bodyPr/>
          <a:lstStyle/>
          <a:p>
            <a:endParaRPr lang="en-GB"/>
          </a:p>
        </p:txBody>
      </p:sp>
      <p:sp>
        <p:nvSpPr>
          <p:cNvPr id="3" name="Slide Number Placeholder 2">
            <a:extLst>
              <a:ext uri="{FF2B5EF4-FFF2-40B4-BE49-F238E27FC236}">
                <a16:creationId xmlns:a16="http://schemas.microsoft.com/office/drawing/2014/main" id="{B9CEB833-06FF-DB4C-83D2-12C12CE324FC}"/>
              </a:ext>
            </a:extLst>
          </p:cNvPr>
          <p:cNvSpPr>
            <a:spLocks noGrp="1"/>
          </p:cNvSpPr>
          <p:nvPr>
            <p:ph type="sldNum" sz="quarter" idx="66"/>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39798490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creenshot laptop w/text purp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EF9FB2D-C681-3E4F-B759-194CCA02CA23}"/>
              </a:ext>
            </a:extLst>
          </p:cNvPr>
          <p:cNvSpPr/>
          <p:nvPr userDrawn="1"/>
        </p:nvSpPr>
        <p:spPr>
          <a:xfrm>
            <a:off x="6096000" y="0"/>
            <a:ext cx="6096000" cy="63611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25" name="Picture 24">
            <a:extLst>
              <a:ext uri="{FF2B5EF4-FFF2-40B4-BE49-F238E27FC236}">
                <a16:creationId xmlns:a16="http://schemas.microsoft.com/office/drawing/2014/main" id="{1E55744B-07FA-EE45-A7FB-63DDC439C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92442" y="1464071"/>
            <a:ext cx="7188604" cy="4500692"/>
          </a:xfrm>
          <a:prstGeom prst="rect">
            <a:avLst/>
          </a:prstGeom>
        </p:spPr>
      </p:pic>
      <p:sp>
        <p:nvSpPr>
          <p:cNvPr id="26" name="Picture Placeholder 2">
            <a:extLst>
              <a:ext uri="{FF2B5EF4-FFF2-40B4-BE49-F238E27FC236}">
                <a16:creationId xmlns:a16="http://schemas.microsoft.com/office/drawing/2014/main" id="{17DD2EF2-3D74-4340-8366-D48E266CD258}"/>
              </a:ext>
            </a:extLst>
          </p:cNvPr>
          <p:cNvSpPr>
            <a:spLocks noGrp="1"/>
          </p:cNvSpPr>
          <p:nvPr>
            <p:ph type="pic" sz="quarter" idx="18"/>
          </p:nvPr>
        </p:nvSpPr>
        <p:spPr>
          <a:xfrm>
            <a:off x="6105928" y="2087175"/>
            <a:ext cx="4968000" cy="3115160"/>
          </a:xfrm>
          <a:prstGeom prst="rect">
            <a:avLst/>
          </a:prstGeom>
          <a:solidFill>
            <a:schemeClr val="bg1"/>
          </a:solidFill>
        </p:spPr>
        <p:txBody>
          <a:bodyPr>
            <a:noAutofit/>
          </a:bodyPr>
          <a:lstStyle>
            <a:lvl1pPr marL="0" indent="0">
              <a:buNone/>
              <a:defRPr sz="2000">
                <a:solidFill>
                  <a:schemeClr val="tx1"/>
                </a:solidFill>
              </a:defRPr>
            </a:lvl1pPr>
          </a:lstStyle>
          <a:p>
            <a:r>
              <a:rPr lang="en-US"/>
              <a:t>Click icon to add picture</a:t>
            </a:r>
            <a:endParaRPr lang="en-GB"/>
          </a:p>
        </p:txBody>
      </p:sp>
      <p:sp>
        <p:nvSpPr>
          <p:cNvPr id="14" name="Title 1">
            <a:extLst>
              <a:ext uri="{FF2B5EF4-FFF2-40B4-BE49-F238E27FC236}">
                <a16:creationId xmlns:a16="http://schemas.microsoft.com/office/drawing/2014/main" id="{A00AEDA7-BE10-8642-B616-19F070F36B91}"/>
              </a:ext>
            </a:extLst>
          </p:cNvPr>
          <p:cNvSpPr>
            <a:spLocks noGrp="1"/>
          </p:cNvSpPr>
          <p:nvPr>
            <p:ph type="title" hasCustomPrompt="1"/>
          </p:nvPr>
        </p:nvSpPr>
        <p:spPr>
          <a:xfrm>
            <a:off x="576000" y="816951"/>
            <a:ext cx="45108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54A66E87-6D56-6747-A31B-7C4E958C0DD3}"/>
              </a:ext>
            </a:extLst>
          </p:cNvPr>
          <p:cNvSpPr>
            <a:spLocks noGrp="1"/>
          </p:cNvSpPr>
          <p:nvPr>
            <p:ph type="ftr" sz="quarter" idx="65"/>
          </p:nvPr>
        </p:nvSpPr>
        <p:spPr/>
        <p:txBody>
          <a:bodyPr/>
          <a:lstStyle/>
          <a:p>
            <a:endParaRPr lang="en-GB"/>
          </a:p>
        </p:txBody>
      </p:sp>
      <p:sp>
        <p:nvSpPr>
          <p:cNvPr id="3" name="Slide Number Placeholder 2">
            <a:extLst>
              <a:ext uri="{FF2B5EF4-FFF2-40B4-BE49-F238E27FC236}">
                <a16:creationId xmlns:a16="http://schemas.microsoft.com/office/drawing/2014/main" id="{88118061-15FF-8343-9982-AD2679ACB0D5}"/>
              </a:ext>
            </a:extLst>
          </p:cNvPr>
          <p:cNvSpPr>
            <a:spLocks noGrp="1"/>
          </p:cNvSpPr>
          <p:nvPr>
            <p:ph type="sldNum" sz="quarter" idx="66"/>
          </p:nvPr>
        </p:nvSpPr>
        <p:spPr/>
        <p:txBody>
          <a:bodyPr/>
          <a:lstStyle/>
          <a:p>
            <a:fld id="{F18EFF25-22D3-7349-97D6-73D11F9E5B0D}" type="slidenum">
              <a:rPr lang="en-GB" smtClean="0"/>
              <a:pPr/>
              <a:t>‹#›</a:t>
            </a:fld>
            <a:endParaRPr lang="en-GB"/>
          </a:p>
        </p:txBody>
      </p:sp>
      <p:sp>
        <p:nvSpPr>
          <p:cNvPr id="20" name="Text Placeholder 17">
            <a:extLst>
              <a:ext uri="{FF2B5EF4-FFF2-40B4-BE49-F238E27FC236}">
                <a16:creationId xmlns:a16="http://schemas.microsoft.com/office/drawing/2014/main" id="{D04837F5-9CC3-D04D-852B-3DE62CE7B987}"/>
              </a:ext>
            </a:extLst>
          </p:cNvPr>
          <p:cNvSpPr>
            <a:spLocks noGrp="1"/>
          </p:cNvSpPr>
          <p:nvPr>
            <p:ph type="body" sz="quarter" idx="29" hasCustomPrompt="1"/>
          </p:nvPr>
        </p:nvSpPr>
        <p:spPr>
          <a:xfrm>
            <a:off x="576000" y="1193187"/>
            <a:ext cx="45108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3" name="Text Placeholder 3">
            <a:extLst>
              <a:ext uri="{FF2B5EF4-FFF2-40B4-BE49-F238E27FC236}">
                <a16:creationId xmlns:a16="http://schemas.microsoft.com/office/drawing/2014/main" id="{5C091AEB-A990-6B47-909F-DAD33C58A77A}"/>
              </a:ext>
            </a:extLst>
          </p:cNvPr>
          <p:cNvSpPr>
            <a:spLocks noGrp="1"/>
          </p:cNvSpPr>
          <p:nvPr>
            <p:ph type="body" sz="quarter" idx="34" hasCustomPrompt="1"/>
          </p:nvPr>
        </p:nvSpPr>
        <p:spPr>
          <a:xfrm>
            <a:off x="576000" y="1820252"/>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4" name="Text Placeholder 3">
            <a:extLst>
              <a:ext uri="{FF2B5EF4-FFF2-40B4-BE49-F238E27FC236}">
                <a16:creationId xmlns:a16="http://schemas.microsoft.com/office/drawing/2014/main" id="{47D3DF19-7FB0-FA48-9F46-2F376126B17E}"/>
              </a:ext>
            </a:extLst>
          </p:cNvPr>
          <p:cNvSpPr>
            <a:spLocks noGrp="1"/>
          </p:cNvSpPr>
          <p:nvPr>
            <p:ph type="body" sz="quarter" idx="36" hasCustomPrompt="1"/>
          </p:nvPr>
        </p:nvSpPr>
        <p:spPr>
          <a:xfrm>
            <a:off x="576000" y="4062709"/>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7" name="Text Placeholder 13">
            <a:extLst>
              <a:ext uri="{FF2B5EF4-FFF2-40B4-BE49-F238E27FC236}">
                <a16:creationId xmlns:a16="http://schemas.microsoft.com/office/drawing/2014/main" id="{A2F573A9-C63D-FC40-BF7F-8154E7212DC3}"/>
              </a:ext>
            </a:extLst>
          </p:cNvPr>
          <p:cNvSpPr>
            <a:spLocks noGrp="1"/>
          </p:cNvSpPr>
          <p:nvPr>
            <p:ph type="body" sz="quarter" idx="63" hasCustomPrompt="1"/>
          </p:nvPr>
        </p:nvSpPr>
        <p:spPr>
          <a:xfrm>
            <a:off x="576000" y="2362199"/>
            <a:ext cx="4511938" cy="1456471"/>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28" name="Text Placeholder 13">
            <a:extLst>
              <a:ext uri="{FF2B5EF4-FFF2-40B4-BE49-F238E27FC236}">
                <a16:creationId xmlns:a16="http://schemas.microsoft.com/office/drawing/2014/main" id="{1F725629-1E3D-2742-BFCD-F08BE184E04C}"/>
              </a:ext>
            </a:extLst>
          </p:cNvPr>
          <p:cNvSpPr>
            <a:spLocks noGrp="1"/>
          </p:cNvSpPr>
          <p:nvPr>
            <p:ph type="body" sz="quarter" idx="64" hasCustomPrompt="1"/>
          </p:nvPr>
        </p:nvSpPr>
        <p:spPr>
          <a:xfrm>
            <a:off x="576000" y="4608442"/>
            <a:ext cx="4511938" cy="1487558"/>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Tree>
    <p:extLst>
      <p:ext uri="{BB962C8B-B14F-4D97-AF65-F5344CB8AC3E}">
        <p14:creationId xmlns:p14="http://schemas.microsoft.com/office/powerpoint/2010/main" val="52880561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creenshot laptop mobile right w/text purple">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F962ED9-2925-C64C-A0CC-45C2BA65EF7D}"/>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12" name="Picture 11">
            <a:extLst>
              <a:ext uri="{FF2B5EF4-FFF2-40B4-BE49-F238E27FC236}">
                <a16:creationId xmlns:a16="http://schemas.microsoft.com/office/drawing/2014/main" id="{7EA4402E-62A1-814F-9A18-2B853A802F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12839" y="1714889"/>
            <a:ext cx="5805879" cy="3782225"/>
          </a:xfrm>
          <a:prstGeom prst="rect">
            <a:avLst/>
          </a:prstGeom>
        </p:spPr>
      </p:pic>
      <p:sp>
        <p:nvSpPr>
          <p:cNvPr id="5" name="Picture Placeholder 4">
            <a:extLst>
              <a:ext uri="{FF2B5EF4-FFF2-40B4-BE49-F238E27FC236}">
                <a16:creationId xmlns:a16="http://schemas.microsoft.com/office/drawing/2014/main" id="{A3F07E68-E714-C74F-AE53-1B597DFC0C16}"/>
              </a:ext>
            </a:extLst>
          </p:cNvPr>
          <p:cNvSpPr>
            <a:spLocks noGrp="1"/>
          </p:cNvSpPr>
          <p:nvPr>
            <p:ph type="pic" sz="quarter" idx="16"/>
          </p:nvPr>
        </p:nvSpPr>
        <p:spPr>
          <a:xfrm>
            <a:off x="6102333" y="1928099"/>
            <a:ext cx="5398720" cy="3144624"/>
          </a:xfrm>
          <a:prstGeom prst="rect">
            <a:avLst/>
          </a:prstGeo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18" name="Picture Placeholder 4">
            <a:extLst>
              <a:ext uri="{FF2B5EF4-FFF2-40B4-BE49-F238E27FC236}">
                <a16:creationId xmlns:a16="http://schemas.microsoft.com/office/drawing/2014/main" id="{1A4FD747-7EBA-6A4B-BF3D-7111BCD47E95}"/>
              </a:ext>
            </a:extLst>
          </p:cNvPr>
          <p:cNvSpPr>
            <a:spLocks noGrp="1"/>
          </p:cNvSpPr>
          <p:nvPr>
            <p:ph type="pic" sz="quarter" idx="18"/>
          </p:nvPr>
        </p:nvSpPr>
        <p:spPr>
          <a:xfrm>
            <a:off x="5548305" y="3740713"/>
            <a:ext cx="1280205" cy="2092703"/>
          </a:xfrm>
          <a:prstGeom prst="rect">
            <a:avLst/>
          </a:prstGeom>
          <a:solidFill>
            <a:schemeClr val="accent1"/>
          </a:solidFill>
        </p:spPr>
        <p:txBody>
          <a:bodyPr>
            <a:noAutofit/>
          </a:bodyPr>
          <a:lstStyle>
            <a:lvl1pPr marL="0" indent="0">
              <a:buNone/>
              <a:defRPr sz="1200">
                <a:solidFill>
                  <a:schemeClr val="bg1"/>
                </a:solidFill>
              </a:defRPr>
            </a:lvl1pPr>
          </a:lstStyle>
          <a:p>
            <a:r>
              <a:rPr lang="en-US"/>
              <a:t>Click icon to add picture</a:t>
            </a:r>
            <a:endParaRPr lang="en-GB"/>
          </a:p>
        </p:txBody>
      </p:sp>
      <p:sp>
        <p:nvSpPr>
          <p:cNvPr id="26" name="Title 1">
            <a:extLst>
              <a:ext uri="{FF2B5EF4-FFF2-40B4-BE49-F238E27FC236}">
                <a16:creationId xmlns:a16="http://schemas.microsoft.com/office/drawing/2014/main" id="{67F7315E-345C-574C-8800-22CA687387DB}"/>
              </a:ext>
            </a:extLst>
          </p:cNvPr>
          <p:cNvSpPr>
            <a:spLocks noGrp="1"/>
          </p:cNvSpPr>
          <p:nvPr>
            <p:ph type="title" hasCustomPrompt="1"/>
          </p:nvPr>
        </p:nvSpPr>
        <p:spPr>
          <a:xfrm>
            <a:off x="576000" y="816951"/>
            <a:ext cx="7486650"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36" name="Picture 35">
            <a:extLst>
              <a:ext uri="{FF2B5EF4-FFF2-40B4-BE49-F238E27FC236}">
                <a16:creationId xmlns:a16="http://schemas.microsoft.com/office/drawing/2014/main" id="{6F5B4B8F-29DF-9242-BEF0-7A1E2CB66F1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4780898" y="4008404"/>
            <a:ext cx="2815021" cy="1565109"/>
          </a:xfrm>
          <a:prstGeom prst="rect">
            <a:avLst/>
          </a:prstGeom>
          <a:noFill/>
        </p:spPr>
      </p:pic>
      <p:pic>
        <p:nvPicPr>
          <p:cNvPr id="21" name="Picture 20" descr="A picture containing drawing&#10;&#10;Description automatically generated">
            <a:extLst>
              <a:ext uri="{FF2B5EF4-FFF2-40B4-BE49-F238E27FC236}">
                <a16:creationId xmlns:a16="http://schemas.microsoft.com/office/drawing/2014/main" id="{9095B468-058C-4A46-8C2B-B6D5F945832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5F174DB-5227-8343-87D4-33F004678F5A}"/>
              </a:ext>
            </a:extLst>
          </p:cNvPr>
          <p:cNvSpPr>
            <a:spLocks noGrp="1"/>
          </p:cNvSpPr>
          <p:nvPr>
            <p:ph type="ftr" sz="quarter" idx="65"/>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BA19B1E0-3B25-BF45-AFDF-7555AB4A72D0}"/>
              </a:ext>
            </a:extLst>
          </p:cNvPr>
          <p:cNvSpPr>
            <a:spLocks noGrp="1"/>
          </p:cNvSpPr>
          <p:nvPr>
            <p:ph type="sldNum" sz="quarter" idx="66"/>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2" name="Text Placeholder 17">
            <a:extLst>
              <a:ext uri="{FF2B5EF4-FFF2-40B4-BE49-F238E27FC236}">
                <a16:creationId xmlns:a16="http://schemas.microsoft.com/office/drawing/2014/main" id="{39D17ECF-9B17-AB47-808A-1C920669993C}"/>
              </a:ext>
            </a:extLst>
          </p:cNvPr>
          <p:cNvSpPr>
            <a:spLocks noGrp="1"/>
          </p:cNvSpPr>
          <p:nvPr>
            <p:ph type="body" sz="quarter" idx="29" hasCustomPrompt="1"/>
          </p:nvPr>
        </p:nvSpPr>
        <p:spPr>
          <a:xfrm>
            <a:off x="576000" y="1193187"/>
            <a:ext cx="45108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8" name="Text Placeholder 3">
            <a:extLst>
              <a:ext uri="{FF2B5EF4-FFF2-40B4-BE49-F238E27FC236}">
                <a16:creationId xmlns:a16="http://schemas.microsoft.com/office/drawing/2014/main" id="{350064E8-9D54-CF48-926B-0126FE903956}"/>
              </a:ext>
            </a:extLst>
          </p:cNvPr>
          <p:cNvSpPr>
            <a:spLocks noGrp="1"/>
          </p:cNvSpPr>
          <p:nvPr>
            <p:ph type="body" sz="quarter" idx="34" hasCustomPrompt="1"/>
          </p:nvPr>
        </p:nvSpPr>
        <p:spPr>
          <a:xfrm>
            <a:off x="576000" y="1820252"/>
            <a:ext cx="4511938"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9" name="Text Placeholder 3">
            <a:extLst>
              <a:ext uri="{FF2B5EF4-FFF2-40B4-BE49-F238E27FC236}">
                <a16:creationId xmlns:a16="http://schemas.microsoft.com/office/drawing/2014/main" id="{DD322865-2E59-B24D-B162-0834007781E3}"/>
              </a:ext>
            </a:extLst>
          </p:cNvPr>
          <p:cNvSpPr>
            <a:spLocks noGrp="1"/>
          </p:cNvSpPr>
          <p:nvPr>
            <p:ph type="body" sz="quarter" idx="36" hasCustomPrompt="1"/>
          </p:nvPr>
        </p:nvSpPr>
        <p:spPr>
          <a:xfrm>
            <a:off x="576000" y="4062709"/>
            <a:ext cx="4511938"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0" name="Text Placeholder 13">
            <a:extLst>
              <a:ext uri="{FF2B5EF4-FFF2-40B4-BE49-F238E27FC236}">
                <a16:creationId xmlns:a16="http://schemas.microsoft.com/office/drawing/2014/main" id="{A2D4DE72-C011-E042-AF96-1CB70EA184FB}"/>
              </a:ext>
            </a:extLst>
          </p:cNvPr>
          <p:cNvSpPr>
            <a:spLocks noGrp="1"/>
          </p:cNvSpPr>
          <p:nvPr>
            <p:ph type="body" sz="quarter" idx="63" hasCustomPrompt="1"/>
          </p:nvPr>
        </p:nvSpPr>
        <p:spPr>
          <a:xfrm>
            <a:off x="576000" y="2362199"/>
            <a:ext cx="4511938" cy="1456471"/>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31" name="Text Placeholder 13">
            <a:extLst>
              <a:ext uri="{FF2B5EF4-FFF2-40B4-BE49-F238E27FC236}">
                <a16:creationId xmlns:a16="http://schemas.microsoft.com/office/drawing/2014/main" id="{9BC995F0-FF10-6D47-8789-7780CB4E8292}"/>
              </a:ext>
            </a:extLst>
          </p:cNvPr>
          <p:cNvSpPr>
            <a:spLocks noGrp="1"/>
          </p:cNvSpPr>
          <p:nvPr>
            <p:ph type="body" sz="quarter" idx="64" hasCustomPrompt="1"/>
          </p:nvPr>
        </p:nvSpPr>
        <p:spPr>
          <a:xfrm>
            <a:off x="576000" y="4608442"/>
            <a:ext cx="4511938" cy="1487558"/>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Tree>
    <p:extLst>
      <p:ext uri="{BB962C8B-B14F-4D97-AF65-F5344CB8AC3E}">
        <p14:creationId xmlns:p14="http://schemas.microsoft.com/office/powerpoint/2010/main" val="203670051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creenshot mobile right 2 column text purple">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F962ED9-2925-C64C-A0CC-45C2BA65EF7D}"/>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36" name="Picture 35">
            <a:extLst>
              <a:ext uri="{FF2B5EF4-FFF2-40B4-BE49-F238E27FC236}">
                <a16:creationId xmlns:a16="http://schemas.microsoft.com/office/drawing/2014/main" id="{6F5B4B8F-29DF-9242-BEF0-7A1E2CB66F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7169241" y="2673227"/>
            <a:ext cx="4617767" cy="2567408"/>
          </a:xfrm>
          <a:prstGeom prst="rect">
            <a:avLst/>
          </a:prstGeom>
          <a:noFill/>
        </p:spPr>
      </p:pic>
      <p:sp>
        <p:nvSpPr>
          <p:cNvPr id="18" name="Picture Placeholder 4">
            <a:extLst>
              <a:ext uri="{FF2B5EF4-FFF2-40B4-BE49-F238E27FC236}">
                <a16:creationId xmlns:a16="http://schemas.microsoft.com/office/drawing/2014/main" id="{1A4FD747-7EBA-6A4B-BF3D-7111BCD47E95}"/>
              </a:ext>
            </a:extLst>
          </p:cNvPr>
          <p:cNvSpPr>
            <a:spLocks noGrp="1"/>
          </p:cNvSpPr>
          <p:nvPr>
            <p:ph type="pic" sz="quarter" idx="18"/>
          </p:nvPr>
        </p:nvSpPr>
        <p:spPr>
          <a:xfrm>
            <a:off x="8492359" y="2196662"/>
            <a:ext cx="1965434" cy="3510455"/>
          </a:xfrm>
          <a:prstGeom prst="rect">
            <a:avLst/>
          </a:prstGeom>
          <a:solidFill>
            <a:schemeClr val="accent1"/>
          </a:solidFill>
        </p:spPr>
        <p:txBody>
          <a:bodyPr>
            <a:noAutofit/>
          </a:bodyPr>
          <a:lstStyle>
            <a:lvl1pPr marL="0" indent="0">
              <a:buNone/>
              <a:defRPr sz="1200">
                <a:solidFill>
                  <a:schemeClr val="bg1"/>
                </a:solidFill>
              </a:defRPr>
            </a:lvl1pPr>
          </a:lstStyle>
          <a:p>
            <a:r>
              <a:rPr lang="en-US"/>
              <a:t>Click icon to add picture</a:t>
            </a:r>
            <a:endParaRPr lang="en-GB"/>
          </a:p>
        </p:txBody>
      </p:sp>
      <p:sp>
        <p:nvSpPr>
          <p:cNvPr id="11" name="Text Placeholder 3">
            <a:extLst>
              <a:ext uri="{FF2B5EF4-FFF2-40B4-BE49-F238E27FC236}">
                <a16:creationId xmlns:a16="http://schemas.microsoft.com/office/drawing/2014/main" id="{C3C6A148-710A-3846-A8CF-8392EBF2A687}"/>
              </a:ext>
            </a:extLst>
          </p:cNvPr>
          <p:cNvSpPr>
            <a:spLocks noGrp="1"/>
          </p:cNvSpPr>
          <p:nvPr>
            <p:ph type="body" sz="quarter" idx="34" hasCustomPrompt="1"/>
          </p:nvPr>
        </p:nvSpPr>
        <p:spPr>
          <a:xfrm>
            <a:off x="576000" y="1820252"/>
            <a:ext cx="3665453"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1" name="Text Placeholder 13">
            <a:extLst>
              <a:ext uri="{FF2B5EF4-FFF2-40B4-BE49-F238E27FC236}">
                <a16:creationId xmlns:a16="http://schemas.microsoft.com/office/drawing/2014/main" id="{4BB0EB20-A7C9-254A-A6E3-16B8EF8B158B}"/>
              </a:ext>
            </a:extLst>
          </p:cNvPr>
          <p:cNvSpPr>
            <a:spLocks noGrp="1"/>
          </p:cNvSpPr>
          <p:nvPr>
            <p:ph type="body" sz="quarter" idx="63" hasCustomPrompt="1"/>
          </p:nvPr>
        </p:nvSpPr>
        <p:spPr>
          <a:xfrm>
            <a:off x="576000" y="2362200"/>
            <a:ext cx="3665453" cy="3733799"/>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itle 1">
            <a:extLst>
              <a:ext uri="{FF2B5EF4-FFF2-40B4-BE49-F238E27FC236}">
                <a16:creationId xmlns:a16="http://schemas.microsoft.com/office/drawing/2014/main" id="{AEB5DB97-09A1-7742-92F1-CE87EADDE6C8}"/>
              </a:ext>
            </a:extLst>
          </p:cNvPr>
          <p:cNvSpPr>
            <a:spLocks noGrp="1"/>
          </p:cNvSpPr>
          <p:nvPr>
            <p:ph type="title" hasCustomPrompt="1"/>
          </p:nvPr>
        </p:nvSpPr>
        <p:spPr>
          <a:xfrm>
            <a:off x="576000"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27" name="Text Placeholder 17">
            <a:extLst>
              <a:ext uri="{FF2B5EF4-FFF2-40B4-BE49-F238E27FC236}">
                <a16:creationId xmlns:a16="http://schemas.microsoft.com/office/drawing/2014/main" id="{09AE9FA8-9142-BF4D-9686-662661E96E3F}"/>
              </a:ext>
            </a:extLst>
          </p:cNvPr>
          <p:cNvSpPr>
            <a:spLocks noGrp="1"/>
          </p:cNvSpPr>
          <p:nvPr>
            <p:ph type="body" sz="quarter" idx="29" hasCustomPrompt="1"/>
          </p:nvPr>
        </p:nvSpPr>
        <p:spPr>
          <a:xfrm>
            <a:off x="576000" y="1193187"/>
            <a:ext cx="7561902"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pic>
        <p:nvPicPr>
          <p:cNvPr id="15" name="Picture 14" descr="A picture containing drawing&#10;&#10;Description automatically generated">
            <a:extLst>
              <a:ext uri="{FF2B5EF4-FFF2-40B4-BE49-F238E27FC236}">
                <a16:creationId xmlns:a16="http://schemas.microsoft.com/office/drawing/2014/main" id="{EC37BA53-151A-B347-AB3C-9BA978A6311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F7519BB8-6308-E34E-AC22-968D00376134}"/>
              </a:ext>
            </a:extLst>
          </p:cNvPr>
          <p:cNvSpPr>
            <a:spLocks noGrp="1"/>
          </p:cNvSpPr>
          <p:nvPr>
            <p:ph type="ftr" sz="quarter" idx="65"/>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32D3701B-A297-A44E-BD1B-E005DD05E535}"/>
              </a:ext>
            </a:extLst>
          </p:cNvPr>
          <p:cNvSpPr>
            <a:spLocks noGrp="1"/>
          </p:cNvSpPr>
          <p:nvPr>
            <p:ph type="sldNum" sz="quarter" idx="66"/>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469792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image - 2 or 3 lines">
    <p:bg>
      <p:bgPr>
        <a:solidFill>
          <a:schemeClr val="tx1"/>
        </a:solidFill>
        <a:effectLst/>
      </p:bgPr>
    </p:bg>
    <p:spTree>
      <p:nvGrpSpPr>
        <p:cNvPr id="1" name=""/>
        <p:cNvGrpSpPr/>
        <p:nvPr/>
      </p:nvGrpSpPr>
      <p:grpSpPr>
        <a:xfrm>
          <a:off x="0" y="0"/>
          <a:ext cx="0" cy="0"/>
          <a:chOff x="0" y="0"/>
          <a:chExt cx="0" cy="0"/>
        </a:xfrm>
      </p:grpSpPr>
      <p:sp>
        <p:nvSpPr>
          <p:cNvPr id="4" name="Picture Placeholder 37">
            <a:extLst>
              <a:ext uri="{FF2B5EF4-FFF2-40B4-BE49-F238E27FC236}">
                <a16:creationId xmlns:a16="http://schemas.microsoft.com/office/drawing/2014/main" id="{F3B1BE6F-00D1-2A98-45AB-DD4A07B4682E}"/>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noProof="0"/>
              <a:t>Drag picture file to insert light background image</a:t>
            </a:r>
          </a:p>
        </p:txBody>
      </p:sp>
      <p:sp>
        <p:nvSpPr>
          <p:cNvPr id="20" name="Text Placeholder 9">
            <a:extLst>
              <a:ext uri="{FF2B5EF4-FFF2-40B4-BE49-F238E27FC236}">
                <a16:creationId xmlns:a16="http://schemas.microsoft.com/office/drawing/2014/main" id="{97390884-694C-EA75-63FD-50D2649429CF}"/>
              </a:ext>
            </a:extLst>
          </p:cNvPr>
          <p:cNvSpPr>
            <a:spLocks noGrp="1"/>
          </p:cNvSpPr>
          <p:nvPr>
            <p:ph type="body" sz="quarter" idx="16" hasCustomPrompt="1"/>
          </p:nvPr>
        </p:nvSpPr>
        <p:spPr>
          <a:xfrm>
            <a:off x="1343025" y="2130266"/>
            <a:ext cx="9505950" cy="2169113"/>
          </a:xfrm>
          <a:prstGeom prst="rect">
            <a:avLst/>
          </a:prstGeom>
        </p:spPr>
        <p:txBody>
          <a:bodyPr lIns="0" tIns="36000" rIns="0" bIns="0" anchor="b" anchorCtr="0">
            <a:noAutofit/>
          </a:bodyPr>
          <a:lstStyle>
            <a:lvl1pPr marL="0" indent="0" algn="ctr">
              <a:lnSpc>
                <a:spcPct val="85000"/>
              </a:lnSpc>
              <a:spcBef>
                <a:spcPts val="0"/>
              </a:spcBef>
              <a:buNone/>
              <a:defRPr sz="5400" spc="-100" baseline="0">
                <a:solidFill>
                  <a:schemeClr val="tx1"/>
                </a:solidFill>
                <a:latin typeface="+mj-lt"/>
              </a:defRPr>
            </a:lvl1pPr>
          </a:lstStyle>
          <a:p>
            <a:pPr lvl="0"/>
            <a:r>
              <a:rPr lang="en-US"/>
              <a:t>Two or three</a:t>
            </a:r>
            <a:br>
              <a:rPr lang="en-US"/>
            </a:br>
            <a:r>
              <a:rPr lang="en-US"/>
              <a:t>line title here</a:t>
            </a:r>
            <a:br>
              <a:rPr lang="en-US"/>
            </a:br>
            <a:r>
              <a:rPr lang="en-US"/>
              <a:t>lorem ipsum dolor</a:t>
            </a:r>
          </a:p>
        </p:txBody>
      </p:sp>
      <p:sp>
        <p:nvSpPr>
          <p:cNvPr id="5" name="Text Placeholder 9">
            <a:extLst>
              <a:ext uri="{FF2B5EF4-FFF2-40B4-BE49-F238E27FC236}">
                <a16:creationId xmlns:a16="http://schemas.microsoft.com/office/drawing/2014/main" id="{86DAEE13-2318-F370-87B8-2A80E68FCC4C}"/>
              </a:ext>
            </a:extLst>
          </p:cNvPr>
          <p:cNvSpPr>
            <a:spLocks noGrp="1"/>
          </p:cNvSpPr>
          <p:nvPr>
            <p:ph type="body" sz="quarter" idx="17" hasCustomPrompt="1"/>
          </p:nvPr>
        </p:nvSpPr>
        <p:spPr>
          <a:xfrm>
            <a:off x="1343026" y="4383735"/>
            <a:ext cx="9505949" cy="281703"/>
          </a:xfrm>
          <a:prstGeom prst="rect">
            <a:avLst/>
          </a:prstGeom>
        </p:spPr>
        <p:txBody>
          <a:bodyPr lIns="0" tIns="36000" rIns="0" bIns="0" anchor="t" anchorCtr="0">
            <a:noAutofit/>
          </a:bodyPr>
          <a:lstStyle>
            <a:lvl1pPr marL="0" indent="0" algn="ctr">
              <a:lnSpc>
                <a:spcPct val="85000"/>
              </a:lnSpc>
              <a:buNone/>
              <a:defRPr sz="2400">
                <a:solidFill>
                  <a:schemeClr val="tx1"/>
                </a:solidFill>
                <a:latin typeface="+mn-lt"/>
              </a:defRPr>
            </a:lvl1pPr>
          </a:lstStyle>
          <a:p>
            <a:pPr lvl="0"/>
            <a:r>
              <a:rPr lang="en-US"/>
              <a:t>Presentation subtitle here</a:t>
            </a:r>
          </a:p>
        </p:txBody>
      </p:sp>
      <p:sp>
        <p:nvSpPr>
          <p:cNvPr id="3" name="Text Placeholder 9">
            <a:extLst>
              <a:ext uri="{FF2B5EF4-FFF2-40B4-BE49-F238E27FC236}">
                <a16:creationId xmlns:a16="http://schemas.microsoft.com/office/drawing/2014/main" id="{902B0758-B4CA-9757-CB8C-7EFB8F6D8A18}"/>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tx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412437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1069286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5"/>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63381" y="3435900"/>
            <a:ext cx="3204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4301608" y="1816649"/>
            <a:ext cx="930792"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4301240" y="3437244"/>
            <a:ext cx="3204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8039099" y="1816892"/>
            <a:ext cx="936257" cy="892971"/>
          </a:xfrm>
          <a:noFill/>
        </p:spPr>
        <p:txBody>
          <a:bodyPr anchor="ctr" anchorCtr="0"/>
          <a:lstStyle>
            <a:lvl1pPr marL="0" indent="0" algn="ctr">
              <a:spcBef>
                <a:spcPts val="0"/>
              </a:spcBef>
              <a:buNone/>
              <a:defRPr sz="1050">
                <a:solidFill>
                  <a:schemeClr val="accent2"/>
                </a:solidFill>
                <a:latin typeface="+mn-lt"/>
              </a:defRPr>
            </a:lvl1pPr>
          </a:lstStyle>
          <a:p>
            <a:pPr lvl="0"/>
            <a:r>
              <a:rPr lang="en-GB"/>
              <a:t>click or drag </a:t>
            </a:r>
            <a:br>
              <a:rPr lang="en-GB"/>
            </a:br>
            <a:r>
              <a:rPr lang="en-GB"/>
              <a:t>to insert  pictogram</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8039099" y="3437487"/>
            <a:ext cx="3204000" cy="1979613"/>
          </a:xfrm>
        </p:spPr>
        <p:txBody>
          <a:body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B2482E55-CD47-6253-53E5-42929A12AC26}"/>
              </a:ext>
            </a:extLst>
          </p:cNvPr>
          <p:cNvSpPr>
            <a:spLocks noGrp="1"/>
          </p:cNvSpPr>
          <p:nvPr>
            <p:ph type="body" sz="quarter" idx="41" hasCustomPrompt="1"/>
          </p:nvPr>
        </p:nvSpPr>
        <p:spPr>
          <a:xfrm>
            <a:off x="550864"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6" name="Text Placeholder 12">
            <a:extLst>
              <a:ext uri="{FF2B5EF4-FFF2-40B4-BE49-F238E27FC236}">
                <a16:creationId xmlns:a16="http://schemas.microsoft.com/office/drawing/2014/main" id="{78A5A533-705A-55BF-9640-A52E87924F43}"/>
              </a:ext>
            </a:extLst>
          </p:cNvPr>
          <p:cNvSpPr>
            <a:spLocks noGrp="1"/>
          </p:cNvSpPr>
          <p:nvPr>
            <p:ph type="body" sz="quarter" idx="45" hasCustomPrompt="1"/>
          </p:nvPr>
        </p:nvSpPr>
        <p:spPr>
          <a:xfrm>
            <a:off x="4301240"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7" name="Text Placeholder 12">
            <a:extLst>
              <a:ext uri="{FF2B5EF4-FFF2-40B4-BE49-F238E27FC236}">
                <a16:creationId xmlns:a16="http://schemas.microsoft.com/office/drawing/2014/main" id="{6B81F170-703F-7395-84C2-03E6D0796583}"/>
              </a:ext>
            </a:extLst>
          </p:cNvPr>
          <p:cNvSpPr>
            <a:spLocks noGrp="1"/>
          </p:cNvSpPr>
          <p:nvPr>
            <p:ph type="body" sz="quarter" idx="67" hasCustomPrompt="1"/>
          </p:nvPr>
        </p:nvSpPr>
        <p:spPr>
          <a:xfrm>
            <a:off x="8039099" y="3068637"/>
            <a:ext cx="3204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Tree>
    <p:extLst>
      <p:ext uri="{BB962C8B-B14F-4D97-AF65-F5344CB8AC3E}">
        <p14:creationId xmlns:p14="http://schemas.microsoft.com/office/powerpoint/2010/main" val="363263106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Icons 2 column white w/header">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C1DB3B23-4292-6448-A4F1-4F89B526A5E4}"/>
              </a:ext>
            </a:extLst>
          </p:cNvPr>
          <p:cNvSpPr>
            <a:spLocks noGrp="1"/>
          </p:cNvSpPr>
          <p:nvPr>
            <p:ph type="title" hasCustomPrompt="1"/>
          </p:nvPr>
        </p:nvSpPr>
        <p:spPr>
          <a:xfrm>
            <a:off x="576000" y="816951"/>
            <a:ext cx="7283713" cy="43810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31" name="Text Placeholder 17">
            <a:extLst>
              <a:ext uri="{FF2B5EF4-FFF2-40B4-BE49-F238E27FC236}">
                <a16:creationId xmlns:a16="http://schemas.microsoft.com/office/drawing/2014/main" id="{0904C1AC-B5F0-B04E-9F47-050C93165260}"/>
              </a:ext>
            </a:extLst>
          </p:cNvPr>
          <p:cNvSpPr>
            <a:spLocks noGrp="1"/>
          </p:cNvSpPr>
          <p:nvPr>
            <p:ph type="body" sz="quarter" idx="29" hasCustomPrompt="1"/>
          </p:nvPr>
        </p:nvSpPr>
        <p:spPr>
          <a:xfrm>
            <a:off x="576000" y="1193187"/>
            <a:ext cx="7283713" cy="34677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33" name="Text Placeholder 3">
            <a:extLst>
              <a:ext uri="{FF2B5EF4-FFF2-40B4-BE49-F238E27FC236}">
                <a16:creationId xmlns:a16="http://schemas.microsoft.com/office/drawing/2014/main" id="{11C30C0C-0B5A-0F45-9DC3-7D83D502C2D3}"/>
              </a:ext>
            </a:extLst>
          </p:cNvPr>
          <p:cNvSpPr>
            <a:spLocks noGrp="1"/>
          </p:cNvSpPr>
          <p:nvPr>
            <p:ph type="body" sz="quarter" idx="33" hasCustomPrompt="1"/>
          </p:nvPr>
        </p:nvSpPr>
        <p:spPr>
          <a:xfrm>
            <a:off x="575999" y="2362200"/>
            <a:ext cx="5448563"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4" name="Picture Placeholder 6">
            <a:extLst>
              <a:ext uri="{FF2B5EF4-FFF2-40B4-BE49-F238E27FC236}">
                <a16:creationId xmlns:a16="http://schemas.microsoft.com/office/drawing/2014/main" id="{C903BB1A-4246-FF4A-B237-62D75BBFD4F3}"/>
              </a:ext>
            </a:extLst>
          </p:cNvPr>
          <p:cNvSpPr>
            <a:spLocks noGrp="1" noChangeAspect="1"/>
          </p:cNvSpPr>
          <p:nvPr>
            <p:ph type="pic" sz="quarter" idx="18" hasCustomPrompt="1"/>
          </p:nvPr>
        </p:nvSpPr>
        <p:spPr>
          <a:xfrm>
            <a:off x="576000" y="1830446"/>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5" name="Text Placeholder 13">
            <a:extLst>
              <a:ext uri="{FF2B5EF4-FFF2-40B4-BE49-F238E27FC236}">
                <a16:creationId xmlns:a16="http://schemas.microsoft.com/office/drawing/2014/main" id="{A0EB6CAD-8621-1B4E-8CD3-EDF5B53C8CDF}"/>
              </a:ext>
            </a:extLst>
          </p:cNvPr>
          <p:cNvSpPr>
            <a:spLocks noGrp="1"/>
          </p:cNvSpPr>
          <p:nvPr>
            <p:ph type="body" sz="quarter" idx="43" hasCustomPrompt="1"/>
          </p:nvPr>
        </p:nvSpPr>
        <p:spPr>
          <a:xfrm>
            <a:off x="575999" y="2804364"/>
            <a:ext cx="5448563" cy="3286234"/>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6" name="Text Placeholder 3">
            <a:extLst>
              <a:ext uri="{FF2B5EF4-FFF2-40B4-BE49-F238E27FC236}">
                <a16:creationId xmlns:a16="http://schemas.microsoft.com/office/drawing/2014/main" id="{B32EB8DC-B579-514E-870D-F5008ED211EA}"/>
              </a:ext>
            </a:extLst>
          </p:cNvPr>
          <p:cNvSpPr>
            <a:spLocks noGrp="1"/>
          </p:cNvSpPr>
          <p:nvPr>
            <p:ph type="body" sz="quarter" idx="44" hasCustomPrompt="1"/>
          </p:nvPr>
        </p:nvSpPr>
        <p:spPr>
          <a:xfrm>
            <a:off x="6187905" y="2362200"/>
            <a:ext cx="5417171"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7" name="Text Placeholder 13">
            <a:extLst>
              <a:ext uri="{FF2B5EF4-FFF2-40B4-BE49-F238E27FC236}">
                <a16:creationId xmlns:a16="http://schemas.microsoft.com/office/drawing/2014/main" id="{EEBB00E4-F5F5-FD42-9C24-8479EF75909B}"/>
              </a:ext>
            </a:extLst>
          </p:cNvPr>
          <p:cNvSpPr>
            <a:spLocks noGrp="1"/>
          </p:cNvSpPr>
          <p:nvPr>
            <p:ph type="body" sz="quarter" idx="45" hasCustomPrompt="1"/>
          </p:nvPr>
        </p:nvSpPr>
        <p:spPr>
          <a:xfrm>
            <a:off x="6187454" y="2804364"/>
            <a:ext cx="5417171" cy="3286234"/>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8" name="Picture Placeholder 6">
            <a:extLst>
              <a:ext uri="{FF2B5EF4-FFF2-40B4-BE49-F238E27FC236}">
                <a16:creationId xmlns:a16="http://schemas.microsoft.com/office/drawing/2014/main" id="{499CC7B8-DA0A-8148-94D2-99A74974C7E4}"/>
              </a:ext>
            </a:extLst>
          </p:cNvPr>
          <p:cNvSpPr>
            <a:spLocks noGrp="1" noChangeAspect="1"/>
          </p:cNvSpPr>
          <p:nvPr>
            <p:ph type="pic" sz="quarter" idx="46" hasCustomPrompt="1"/>
          </p:nvPr>
        </p:nvSpPr>
        <p:spPr>
          <a:xfrm>
            <a:off x="6187905" y="1830446"/>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2" name="Footer Placeholder 1">
            <a:extLst>
              <a:ext uri="{FF2B5EF4-FFF2-40B4-BE49-F238E27FC236}">
                <a16:creationId xmlns:a16="http://schemas.microsoft.com/office/drawing/2014/main" id="{DCE5851E-0CBF-8047-B3ED-1F1B1AC4D76A}"/>
              </a:ext>
            </a:extLst>
          </p:cNvPr>
          <p:cNvSpPr>
            <a:spLocks noGrp="1"/>
          </p:cNvSpPr>
          <p:nvPr>
            <p:ph type="ftr" sz="quarter" idx="47"/>
          </p:nvPr>
        </p:nvSpPr>
        <p:spPr/>
        <p:txBody>
          <a:bodyPr/>
          <a:lstStyle/>
          <a:p>
            <a:endParaRPr lang="en-GB"/>
          </a:p>
        </p:txBody>
      </p:sp>
      <p:sp>
        <p:nvSpPr>
          <p:cNvPr id="3" name="Slide Number Placeholder 2">
            <a:extLst>
              <a:ext uri="{FF2B5EF4-FFF2-40B4-BE49-F238E27FC236}">
                <a16:creationId xmlns:a16="http://schemas.microsoft.com/office/drawing/2014/main" id="{5C46279A-B832-D444-A0DC-6A2B2CBB229E}"/>
              </a:ext>
            </a:extLst>
          </p:cNvPr>
          <p:cNvSpPr>
            <a:spLocks noGrp="1"/>
          </p:cNvSpPr>
          <p:nvPr>
            <p:ph type="sldNum" sz="quarter" idx="4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96597755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Icons 2 column purple w/header">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E1AA3F4-B8FA-D74C-8682-52298BE77305}"/>
              </a:ext>
            </a:extLst>
          </p:cNvPr>
          <p:cNvSpPr/>
          <p:nvPr userDrawn="1"/>
        </p:nvSpPr>
        <p:spPr>
          <a:xfrm>
            <a:off x="0" y="0"/>
            <a:ext cx="12192000" cy="68572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65" name="Title 1">
            <a:extLst>
              <a:ext uri="{FF2B5EF4-FFF2-40B4-BE49-F238E27FC236}">
                <a16:creationId xmlns:a16="http://schemas.microsoft.com/office/drawing/2014/main" id="{40A71FDF-05A4-AE46-88D0-BDD6184FA5C0}"/>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66" name="Text Placeholder 17">
            <a:extLst>
              <a:ext uri="{FF2B5EF4-FFF2-40B4-BE49-F238E27FC236}">
                <a16:creationId xmlns:a16="http://schemas.microsoft.com/office/drawing/2014/main" id="{C6062BE6-DC2A-4742-BE4F-CD9D82C56CDA}"/>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pic>
        <p:nvPicPr>
          <p:cNvPr id="69" name="Picture 68" descr="A picture containing drawing&#10;&#10;Description automatically generated">
            <a:extLst>
              <a:ext uri="{FF2B5EF4-FFF2-40B4-BE49-F238E27FC236}">
                <a16:creationId xmlns:a16="http://schemas.microsoft.com/office/drawing/2014/main" id="{A35F2BA4-6832-B347-A516-8E888147AF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4" name="Footer Placeholder 3">
            <a:extLst>
              <a:ext uri="{FF2B5EF4-FFF2-40B4-BE49-F238E27FC236}">
                <a16:creationId xmlns:a16="http://schemas.microsoft.com/office/drawing/2014/main" id="{4F0FFB71-8009-EA40-8F34-241E47F1BF5C}"/>
              </a:ext>
            </a:extLst>
          </p:cNvPr>
          <p:cNvSpPr>
            <a:spLocks noGrp="1"/>
          </p:cNvSpPr>
          <p:nvPr>
            <p:ph type="ftr" sz="quarter" idx="90"/>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777C82F6-D4B7-FD42-9E85-C32CE7BCAB95}"/>
              </a:ext>
            </a:extLst>
          </p:cNvPr>
          <p:cNvSpPr>
            <a:spLocks noGrp="1"/>
          </p:cNvSpPr>
          <p:nvPr>
            <p:ph type="sldNum" sz="quarter" idx="91"/>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7" name="Text Placeholder 3">
            <a:extLst>
              <a:ext uri="{FF2B5EF4-FFF2-40B4-BE49-F238E27FC236}">
                <a16:creationId xmlns:a16="http://schemas.microsoft.com/office/drawing/2014/main" id="{C0F83FD7-6C68-B14E-BFC6-163F6DD9AE95}"/>
              </a:ext>
            </a:extLst>
          </p:cNvPr>
          <p:cNvSpPr>
            <a:spLocks noGrp="1"/>
          </p:cNvSpPr>
          <p:nvPr>
            <p:ph type="body" sz="quarter" idx="33" hasCustomPrompt="1"/>
          </p:nvPr>
        </p:nvSpPr>
        <p:spPr>
          <a:xfrm>
            <a:off x="575999" y="2362200"/>
            <a:ext cx="5448563"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8" name="Picture Placeholder 6">
            <a:extLst>
              <a:ext uri="{FF2B5EF4-FFF2-40B4-BE49-F238E27FC236}">
                <a16:creationId xmlns:a16="http://schemas.microsoft.com/office/drawing/2014/main" id="{34B020A1-73AB-8940-99D1-8C6979799418}"/>
              </a:ext>
            </a:extLst>
          </p:cNvPr>
          <p:cNvSpPr>
            <a:spLocks noGrp="1" noChangeAspect="1"/>
          </p:cNvSpPr>
          <p:nvPr>
            <p:ph type="pic" sz="quarter" idx="18" hasCustomPrompt="1"/>
          </p:nvPr>
        </p:nvSpPr>
        <p:spPr>
          <a:xfrm>
            <a:off x="576000" y="1830446"/>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9" name="Text Placeholder 13">
            <a:extLst>
              <a:ext uri="{FF2B5EF4-FFF2-40B4-BE49-F238E27FC236}">
                <a16:creationId xmlns:a16="http://schemas.microsoft.com/office/drawing/2014/main" id="{95A83752-1A6E-EF4B-B789-9DD71BF4F1A4}"/>
              </a:ext>
            </a:extLst>
          </p:cNvPr>
          <p:cNvSpPr>
            <a:spLocks noGrp="1"/>
          </p:cNvSpPr>
          <p:nvPr>
            <p:ph type="body" sz="quarter" idx="43" hasCustomPrompt="1"/>
          </p:nvPr>
        </p:nvSpPr>
        <p:spPr>
          <a:xfrm>
            <a:off x="575999" y="2804364"/>
            <a:ext cx="5448563" cy="3286234"/>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0" name="Text Placeholder 3">
            <a:extLst>
              <a:ext uri="{FF2B5EF4-FFF2-40B4-BE49-F238E27FC236}">
                <a16:creationId xmlns:a16="http://schemas.microsoft.com/office/drawing/2014/main" id="{BFEAA5BB-6D7C-AB47-B174-BDF7532F3B2D}"/>
              </a:ext>
            </a:extLst>
          </p:cNvPr>
          <p:cNvSpPr>
            <a:spLocks noGrp="1"/>
          </p:cNvSpPr>
          <p:nvPr>
            <p:ph type="body" sz="quarter" idx="44" hasCustomPrompt="1"/>
          </p:nvPr>
        </p:nvSpPr>
        <p:spPr>
          <a:xfrm>
            <a:off x="6187905" y="2362200"/>
            <a:ext cx="5417171"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1" name="Text Placeholder 13">
            <a:extLst>
              <a:ext uri="{FF2B5EF4-FFF2-40B4-BE49-F238E27FC236}">
                <a16:creationId xmlns:a16="http://schemas.microsoft.com/office/drawing/2014/main" id="{81E79E09-31EE-F24B-BF69-A0D875995B9B}"/>
              </a:ext>
            </a:extLst>
          </p:cNvPr>
          <p:cNvSpPr>
            <a:spLocks noGrp="1"/>
          </p:cNvSpPr>
          <p:nvPr>
            <p:ph type="body" sz="quarter" idx="45" hasCustomPrompt="1"/>
          </p:nvPr>
        </p:nvSpPr>
        <p:spPr>
          <a:xfrm>
            <a:off x="6187454" y="2804364"/>
            <a:ext cx="5417171" cy="3286234"/>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2" name="Picture Placeholder 6">
            <a:extLst>
              <a:ext uri="{FF2B5EF4-FFF2-40B4-BE49-F238E27FC236}">
                <a16:creationId xmlns:a16="http://schemas.microsoft.com/office/drawing/2014/main" id="{DB91D0AB-283E-5140-AFD8-C1DE7564FDEF}"/>
              </a:ext>
            </a:extLst>
          </p:cNvPr>
          <p:cNvSpPr>
            <a:spLocks noGrp="1" noChangeAspect="1"/>
          </p:cNvSpPr>
          <p:nvPr>
            <p:ph type="pic" sz="quarter" idx="46" hasCustomPrompt="1"/>
          </p:nvPr>
        </p:nvSpPr>
        <p:spPr>
          <a:xfrm>
            <a:off x="6187905" y="1830446"/>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Tree>
    <p:extLst>
      <p:ext uri="{BB962C8B-B14F-4D97-AF65-F5344CB8AC3E}">
        <p14:creationId xmlns:p14="http://schemas.microsoft.com/office/powerpoint/2010/main" val="13143014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Icons 3 column stack white w/header">
    <p:bg>
      <p:bgPr>
        <a:solidFill>
          <a:schemeClr val="bg1"/>
        </a:solidFill>
        <a:effectLst/>
      </p:bgPr>
    </p:bg>
    <p:spTree>
      <p:nvGrpSpPr>
        <p:cNvPr id="1" name=""/>
        <p:cNvGrpSpPr/>
        <p:nvPr/>
      </p:nvGrpSpPr>
      <p:grpSpPr>
        <a:xfrm>
          <a:off x="0" y="0"/>
          <a:ext cx="0" cy="0"/>
          <a:chOff x="0" y="0"/>
          <a:chExt cx="0" cy="0"/>
        </a:xfrm>
      </p:grpSpPr>
      <p:sp>
        <p:nvSpPr>
          <p:cNvPr id="67" name="Title 1">
            <a:extLst>
              <a:ext uri="{FF2B5EF4-FFF2-40B4-BE49-F238E27FC236}">
                <a16:creationId xmlns:a16="http://schemas.microsoft.com/office/drawing/2014/main" id="{47317507-BC78-614A-B768-FF51E74E7628}"/>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68" name="Text Placeholder 17">
            <a:extLst>
              <a:ext uri="{FF2B5EF4-FFF2-40B4-BE49-F238E27FC236}">
                <a16:creationId xmlns:a16="http://schemas.microsoft.com/office/drawing/2014/main" id="{A2209FDD-7DED-634C-BBF5-D9B6D17169A2}"/>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8" name="Text Placeholder 2">
            <a:extLst>
              <a:ext uri="{FF2B5EF4-FFF2-40B4-BE49-F238E27FC236}">
                <a16:creationId xmlns:a16="http://schemas.microsoft.com/office/drawing/2014/main" id="{C9472BED-5119-D64F-9043-2EDF08249D75}"/>
              </a:ext>
            </a:extLst>
          </p:cNvPr>
          <p:cNvSpPr>
            <a:spLocks noGrp="1"/>
          </p:cNvSpPr>
          <p:nvPr>
            <p:ph type="body" sz="quarter" idx="16" hasCustomPrompt="1"/>
          </p:nvPr>
        </p:nvSpPr>
        <p:spPr>
          <a:xfrm>
            <a:off x="1357271" y="2378880"/>
            <a:ext cx="2783784"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29" name="Text Placeholder 13">
            <a:extLst>
              <a:ext uri="{FF2B5EF4-FFF2-40B4-BE49-F238E27FC236}">
                <a16:creationId xmlns:a16="http://schemas.microsoft.com/office/drawing/2014/main" id="{077CD20B-3C0B-F040-972F-91E6222FA34A}"/>
              </a:ext>
            </a:extLst>
          </p:cNvPr>
          <p:cNvSpPr>
            <a:spLocks noGrp="1"/>
          </p:cNvSpPr>
          <p:nvPr>
            <p:ph type="body" sz="quarter" idx="63" hasCustomPrompt="1"/>
          </p:nvPr>
        </p:nvSpPr>
        <p:spPr>
          <a:xfrm>
            <a:off x="1357271" y="2771719"/>
            <a:ext cx="2793526"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6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0" name="Picture Placeholder 6">
            <a:extLst>
              <a:ext uri="{FF2B5EF4-FFF2-40B4-BE49-F238E27FC236}">
                <a16:creationId xmlns:a16="http://schemas.microsoft.com/office/drawing/2014/main" id="{4D85361C-BAD5-CA4F-8AB5-55A3923BA846}"/>
              </a:ext>
            </a:extLst>
          </p:cNvPr>
          <p:cNvSpPr>
            <a:spLocks noGrp="1" noChangeAspect="1"/>
          </p:cNvSpPr>
          <p:nvPr>
            <p:ph type="pic" sz="quarter" idx="18" hasCustomPrompt="1"/>
          </p:nvPr>
        </p:nvSpPr>
        <p:spPr>
          <a:xfrm>
            <a:off x="576000" y="237888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1" name="Text Placeholder 2">
            <a:extLst>
              <a:ext uri="{FF2B5EF4-FFF2-40B4-BE49-F238E27FC236}">
                <a16:creationId xmlns:a16="http://schemas.microsoft.com/office/drawing/2014/main" id="{7248F212-BAF9-7D4A-9996-44DF4AC8BD5B}"/>
              </a:ext>
            </a:extLst>
          </p:cNvPr>
          <p:cNvSpPr>
            <a:spLocks noGrp="1"/>
          </p:cNvSpPr>
          <p:nvPr>
            <p:ph type="body" sz="quarter" idx="75" hasCustomPrompt="1"/>
          </p:nvPr>
        </p:nvSpPr>
        <p:spPr>
          <a:xfrm>
            <a:off x="5113120" y="2378880"/>
            <a:ext cx="2746593"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2" name="Text Placeholder 13">
            <a:extLst>
              <a:ext uri="{FF2B5EF4-FFF2-40B4-BE49-F238E27FC236}">
                <a16:creationId xmlns:a16="http://schemas.microsoft.com/office/drawing/2014/main" id="{4C655F5A-4A54-FA44-9794-53392E9632A7}"/>
              </a:ext>
            </a:extLst>
          </p:cNvPr>
          <p:cNvSpPr>
            <a:spLocks noGrp="1"/>
          </p:cNvSpPr>
          <p:nvPr>
            <p:ph type="body" sz="quarter" idx="76" hasCustomPrompt="1"/>
          </p:nvPr>
        </p:nvSpPr>
        <p:spPr>
          <a:xfrm>
            <a:off x="5113120" y="2771719"/>
            <a:ext cx="2746593"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3" name="Picture Placeholder 6">
            <a:extLst>
              <a:ext uri="{FF2B5EF4-FFF2-40B4-BE49-F238E27FC236}">
                <a16:creationId xmlns:a16="http://schemas.microsoft.com/office/drawing/2014/main" id="{8ABE8954-E2EB-504E-93CE-BC592A5EB4C0}"/>
              </a:ext>
            </a:extLst>
          </p:cNvPr>
          <p:cNvSpPr>
            <a:spLocks noGrp="1" noChangeAspect="1"/>
          </p:cNvSpPr>
          <p:nvPr>
            <p:ph type="pic" sz="quarter" idx="77" hasCustomPrompt="1"/>
          </p:nvPr>
        </p:nvSpPr>
        <p:spPr>
          <a:xfrm>
            <a:off x="4360501" y="237888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4" name="Text Placeholder 2">
            <a:extLst>
              <a:ext uri="{FF2B5EF4-FFF2-40B4-BE49-F238E27FC236}">
                <a16:creationId xmlns:a16="http://schemas.microsoft.com/office/drawing/2014/main" id="{99CF34D7-F053-3D43-923E-5638C1623921}"/>
              </a:ext>
            </a:extLst>
          </p:cNvPr>
          <p:cNvSpPr>
            <a:spLocks noGrp="1"/>
          </p:cNvSpPr>
          <p:nvPr>
            <p:ph type="body" sz="quarter" idx="78" hasCustomPrompt="1"/>
          </p:nvPr>
        </p:nvSpPr>
        <p:spPr>
          <a:xfrm>
            <a:off x="8785373" y="2378880"/>
            <a:ext cx="2808902"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5" name="Text Placeholder 13">
            <a:extLst>
              <a:ext uri="{FF2B5EF4-FFF2-40B4-BE49-F238E27FC236}">
                <a16:creationId xmlns:a16="http://schemas.microsoft.com/office/drawing/2014/main" id="{439A5796-5C46-C843-8FB0-443534F0F3B0}"/>
              </a:ext>
            </a:extLst>
          </p:cNvPr>
          <p:cNvSpPr>
            <a:spLocks noGrp="1"/>
          </p:cNvSpPr>
          <p:nvPr>
            <p:ph type="body" sz="quarter" idx="79" hasCustomPrompt="1"/>
          </p:nvPr>
        </p:nvSpPr>
        <p:spPr>
          <a:xfrm>
            <a:off x="8785373" y="2771719"/>
            <a:ext cx="2819252"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400">
                <a:solidFill>
                  <a:schemeClr val="tx1"/>
                </a:solidFill>
              </a:defRPr>
            </a:lvl3pPr>
            <a:lvl4pPr marL="731520" indent="-182880">
              <a:lnSpc>
                <a:spcPct val="100000"/>
              </a:lnSpc>
              <a:spcBef>
                <a:spcPts val="300"/>
              </a:spcBef>
              <a:spcAft>
                <a:spcPts val="200"/>
              </a:spcAft>
              <a:buClr>
                <a:schemeClr val="bg2"/>
              </a:buClr>
              <a:defRPr sz="14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0" name="Picture Placeholder 6">
            <a:extLst>
              <a:ext uri="{FF2B5EF4-FFF2-40B4-BE49-F238E27FC236}">
                <a16:creationId xmlns:a16="http://schemas.microsoft.com/office/drawing/2014/main" id="{4FF1D561-8E67-C243-88AB-33DE20A708F9}"/>
              </a:ext>
            </a:extLst>
          </p:cNvPr>
          <p:cNvSpPr>
            <a:spLocks noGrp="1" noChangeAspect="1"/>
          </p:cNvSpPr>
          <p:nvPr>
            <p:ph type="pic" sz="quarter" idx="80" hasCustomPrompt="1"/>
          </p:nvPr>
        </p:nvSpPr>
        <p:spPr>
          <a:xfrm>
            <a:off x="8061834" y="237888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4" name="Text Placeholder 2">
            <a:extLst>
              <a:ext uri="{FF2B5EF4-FFF2-40B4-BE49-F238E27FC236}">
                <a16:creationId xmlns:a16="http://schemas.microsoft.com/office/drawing/2014/main" id="{E3C01E50-DA51-9B49-87F6-927E9A7B341A}"/>
              </a:ext>
            </a:extLst>
          </p:cNvPr>
          <p:cNvSpPr>
            <a:spLocks noGrp="1"/>
          </p:cNvSpPr>
          <p:nvPr>
            <p:ph type="body" sz="quarter" idx="81" hasCustomPrompt="1"/>
          </p:nvPr>
        </p:nvSpPr>
        <p:spPr>
          <a:xfrm>
            <a:off x="1357271" y="4241133"/>
            <a:ext cx="2783784"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5" name="Text Placeholder 13">
            <a:extLst>
              <a:ext uri="{FF2B5EF4-FFF2-40B4-BE49-F238E27FC236}">
                <a16:creationId xmlns:a16="http://schemas.microsoft.com/office/drawing/2014/main" id="{C97963E7-E6D3-F945-B2AA-A60F0FD53D1A}"/>
              </a:ext>
            </a:extLst>
          </p:cNvPr>
          <p:cNvSpPr>
            <a:spLocks noGrp="1"/>
          </p:cNvSpPr>
          <p:nvPr>
            <p:ph type="body" sz="quarter" idx="82" hasCustomPrompt="1"/>
          </p:nvPr>
        </p:nvSpPr>
        <p:spPr>
          <a:xfrm>
            <a:off x="1357271" y="4633972"/>
            <a:ext cx="2794042"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6" name="Picture Placeholder 6">
            <a:extLst>
              <a:ext uri="{FF2B5EF4-FFF2-40B4-BE49-F238E27FC236}">
                <a16:creationId xmlns:a16="http://schemas.microsoft.com/office/drawing/2014/main" id="{560692AE-8A8B-A647-AF1C-04CF8F483D40}"/>
              </a:ext>
            </a:extLst>
          </p:cNvPr>
          <p:cNvSpPr>
            <a:spLocks noGrp="1" noChangeAspect="1"/>
          </p:cNvSpPr>
          <p:nvPr>
            <p:ph type="pic" sz="quarter" idx="83" hasCustomPrompt="1"/>
          </p:nvPr>
        </p:nvSpPr>
        <p:spPr>
          <a:xfrm>
            <a:off x="576000" y="4241133"/>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7" name="Text Placeholder 2">
            <a:extLst>
              <a:ext uri="{FF2B5EF4-FFF2-40B4-BE49-F238E27FC236}">
                <a16:creationId xmlns:a16="http://schemas.microsoft.com/office/drawing/2014/main" id="{2675A8DA-9555-E64E-8651-7C696BE80D04}"/>
              </a:ext>
            </a:extLst>
          </p:cNvPr>
          <p:cNvSpPr>
            <a:spLocks noGrp="1"/>
          </p:cNvSpPr>
          <p:nvPr>
            <p:ph type="body" sz="quarter" idx="84" hasCustomPrompt="1"/>
          </p:nvPr>
        </p:nvSpPr>
        <p:spPr>
          <a:xfrm>
            <a:off x="5113120" y="4241133"/>
            <a:ext cx="2746593"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8" name="Text Placeholder 13">
            <a:extLst>
              <a:ext uri="{FF2B5EF4-FFF2-40B4-BE49-F238E27FC236}">
                <a16:creationId xmlns:a16="http://schemas.microsoft.com/office/drawing/2014/main" id="{3FB37298-3C80-6249-9AD6-15435F37B279}"/>
              </a:ext>
            </a:extLst>
          </p:cNvPr>
          <p:cNvSpPr>
            <a:spLocks noGrp="1"/>
          </p:cNvSpPr>
          <p:nvPr>
            <p:ph type="body" sz="quarter" idx="85" hasCustomPrompt="1"/>
          </p:nvPr>
        </p:nvSpPr>
        <p:spPr>
          <a:xfrm>
            <a:off x="5113120" y="4633972"/>
            <a:ext cx="2746593"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51" name="Picture Placeholder 6">
            <a:extLst>
              <a:ext uri="{FF2B5EF4-FFF2-40B4-BE49-F238E27FC236}">
                <a16:creationId xmlns:a16="http://schemas.microsoft.com/office/drawing/2014/main" id="{49F9A46E-DA3C-9744-B12E-0CD92128695C}"/>
              </a:ext>
            </a:extLst>
          </p:cNvPr>
          <p:cNvSpPr>
            <a:spLocks noGrp="1" noChangeAspect="1"/>
          </p:cNvSpPr>
          <p:nvPr>
            <p:ph type="pic" sz="quarter" idx="86" hasCustomPrompt="1"/>
          </p:nvPr>
        </p:nvSpPr>
        <p:spPr>
          <a:xfrm>
            <a:off x="4360501" y="4241133"/>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54" name="Text Placeholder 2">
            <a:extLst>
              <a:ext uri="{FF2B5EF4-FFF2-40B4-BE49-F238E27FC236}">
                <a16:creationId xmlns:a16="http://schemas.microsoft.com/office/drawing/2014/main" id="{030B89AD-5E3E-4548-8136-EFDEB1F0836A}"/>
              </a:ext>
            </a:extLst>
          </p:cNvPr>
          <p:cNvSpPr>
            <a:spLocks noGrp="1"/>
          </p:cNvSpPr>
          <p:nvPr>
            <p:ph type="body" sz="quarter" idx="87" hasCustomPrompt="1"/>
          </p:nvPr>
        </p:nvSpPr>
        <p:spPr>
          <a:xfrm>
            <a:off x="8785373" y="4241133"/>
            <a:ext cx="2808902"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57" name="Text Placeholder 13">
            <a:extLst>
              <a:ext uri="{FF2B5EF4-FFF2-40B4-BE49-F238E27FC236}">
                <a16:creationId xmlns:a16="http://schemas.microsoft.com/office/drawing/2014/main" id="{A72F4DE6-72E2-0947-BA1D-57CE0D822144}"/>
              </a:ext>
            </a:extLst>
          </p:cNvPr>
          <p:cNvSpPr>
            <a:spLocks noGrp="1"/>
          </p:cNvSpPr>
          <p:nvPr>
            <p:ph type="body" sz="quarter" idx="88" hasCustomPrompt="1"/>
          </p:nvPr>
        </p:nvSpPr>
        <p:spPr>
          <a:xfrm>
            <a:off x="8785373" y="4633972"/>
            <a:ext cx="2819252"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58" name="Picture Placeholder 6">
            <a:extLst>
              <a:ext uri="{FF2B5EF4-FFF2-40B4-BE49-F238E27FC236}">
                <a16:creationId xmlns:a16="http://schemas.microsoft.com/office/drawing/2014/main" id="{701B9858-59F1-6949-B8FF-5CC07A44CFAE}"/>
              </a:ext>
            </a:extLst>
          </p:cNvPr>
          <p:cNvSpPr>
            <a:spLocks noGrp="1" noChangeAspect="1"/>
          </p:cNvSpPr>
          <p:nvPr>
            <p:ph type="pic" sz="quarter" idx="89" hasCustomPrompt="1"/>
          </p:nvPr>
        </p:nvSpPr>
        <p:spPr>
          <a:xfrm>
            <a:off x="8061834" y="4241133"/>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 name="Footer Placeholder 3">
            <a:extLst>
              <a:ext uri="{FF2B5EF4-FFF2-40B4-BE49-F238E27FC236}">
                <a16:creationId xmlns:a16="http://schemas.microsoft.com/office/drawing/2014/main" id="{04B63515-F289-0E4B-B001-539A323A7AD5}"/>
              </a:ext>
            </a:extLst>
          </p:cNvPr>
          <p:cNvSpPr>
            <a:spLocks noGrp="1"/>
          </p:cNvSpPr>
          <p:nvPr>
            <p:ph type="ftr" sz="quarter" idx="90"/>
          </p:nvPr>
        </p:nvSpPr>
        <p:spPr/>
        <p:txBody>
          <a:bodyPr/>
          <a:lstStyle/>
          <a:p>
            <a:endParaRPr lang="en-GB"/>
          </a:p>
        </p:txBody>
      </p:sp>
      <p:sp>
        <p:nvSpPr>
          <p:cNvPr id="5" name="Slide Number Placeholder 4">
            <a:extLst>
              <a:ext uri="{FF2B5EF4-FFF2-40B4-BE49-F238E27FC236}">
                <a16:creationId xmlns:a16="http://schemas.microsoft.com/office/drawing/2014/main" id="{A46DFF82-4C5D-1248-9EFE-45CB00176CD1}"/>
              </a:ext>
            </a:extLst>
          </p:cNvPr>
          <p:cNvSpPr>
            <a:spLocks noGrp="1"/>
          </p:cNvSpPr>
          <p:nvPr>
            <p:ph type="sldNum" sz="quarter" idx="91"/>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51800705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Icons 3 column stack purple w/header">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E1AA3F4-B8FA-D74C-8682-52298BE77305}"/>
              </a:ext>
            </a:extLst>
          </p:cNvPr>
          <p:cNvSpPr/>
          <p:nvPr userDrawn="1"/>
        </p:nvSpPr>
        <p:spPr>
          <a:xfrm>
            <a:off x="0" y="0"/>
            <a:ext cx="12192000" cy="68572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65" name="Title 1">
            <a:extLst>
              <a:ext uri="{FF2B5EF4-FFF2-40B4-BE49-F238E27FC236}">
                <a16:creationId xmlns:a16="http://schemas.microsoft.com/office/drawing/2014/main" id="{40A71FDF-05A4-AE46-88D0-BDD6184FA5C0}"/>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69" name="Picture 68" descr="A picture containing drawing&#10;&#10;Description automatically generated">
            <a:extLst>
              <a:ext uri="{FF2B5EF4-FFF2-40B4-BE49-F238E27FC236}">
                <a16:creationId xmlns:a16="http://schemas.microsoft.com/office/drawing/2014/main" id="{A35F2BA4-6832-B347-A516-8E888147AF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47" name="Picture Placeholder 6">
            <a:extLst>
              <a:ext uri="{FF2B5EF4-FFF2-40B4-BE49-F238E27FC236}">
                <a16:creationId xmlns:a16="http://schemas.microsoft.com/office/drawing/2014/main" id="{1D067C96-5D4F-8645-89E8-5C4AA0FF665A}"/>
              </a:ext>
            </a:extLst>
          </p:cNvPr>
          <p:cNvSpPr>
            <a:spLocks noGrp="1" noChangeAspect="1"/>
          </p:cNvSpPr>
          <p:nvPr>
            <p:ph type="pic" sz="quarter" idx="18" hasCustomPrompt="1"/>
          </p:nvPr>
        </p:nvSpPr>
        <p:spPr>
          <a:xfrm>
            <a:off x="576000" y="2378880"/>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0" name="Picture Placeholder 6">
            <a:extLst>
              <a:ext uri="{FF2B5EF4-FFF2-40B4-BE49-F238E27FC236}">
                <a16:creationId xmlns:a16="http://schemas.microsoft.com/office/drawing/2014/main" id="{0DBD6420-A9A9-CF4A-8E27-6CA2995F77A0}"/>
              </a:ext>
            </a:extLst>
          </p:cNvPr>
          <p:cNvSpPr>
            <a:spLocks noGrp="1" noChangeAspect="1"/>
          </p:cNvSpPr>
          <p:nvPr>
            <p:ph type="pic" sz="quarter" idx="77" hasCustomPrompt="1"/>
          </p:nvPr>
        </p:nvSpPr>
        <p:spPr>
          <a:xfrm>
            <a:off x="4360501" y="2378880"/>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3" name="Picture Placeholder 6">
            <a:extLst>
              <a:ext uri="{FF2B5EF4-FFF2-40B4-BE49-F238E27FC236}">
                <a16:creationId xmlns:a16="http://schemas.microsoft.com/office/drawing/2014/main" id="{9794AF54-4264-E240-B38E-13883D13C1FE}"/>
              </a:ext>
            </a:extLst>
          </p:cNvPr>
          <p:cNvSpPr>
            <a:spLocks noGrp="1" noChangeAspect="1"/>
          </p:cNvSpPr>
          <p:nvPr>
            <p:ph type="pic" sz="quarter" idx="80" hasCustomPrompt="1"/>
          </p:nvPr>
        </p:nvSpPr>
        <p:spPr>
          <a:xfrm>
            <a:off x="8061834" y="2378880"/>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6" name="Picture Placeholder 6">
            <a:extLst>
              <a:ext uri="{FF2B5EF4-FFF2-40B4-BE49-F238E27FC236}">
                <a16:creationId xmlns:a16="http://schemas.microsoft.com/office/drawing/2014/main" id="{184B460B-2B84-3648-BB42-72752FCFE668}"/>
              </a:ext>
            </a:extLst>
          </p:cNvPr>
          <p:cNvSpPr>
            <a:spLocks noGrp="1" noChangeAspect="1"/>
          </p:cNvSpPr>
          <p:nvPr>
            <p:ph type="pic" sz="quarter" idx="83" hasCustomPrompt="1"/>
          </p:nvPr>
        </p:nvSpPr>
        <p:spPr>
          <a:xfrm>
            <a:off x="576000" y="4241133"/>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60" name="Picture Placeholder 6">
            <a:extLst>
              <a:ext uri="{FF2B5EF4-FFF2-40B4-BE49-F238E27FC236}">
                <a16:creationId xmlns:a16="http://schemas.microsoft.com/office/drawing/2014/main" id="{37C21EF7-5A54-8D43-A474-B58537426606}"/>
              </a:ext>
            </a:extLst>
          </p:cNvPr>
          <p:cNvSpPr>
            <a:spLocks noGrp="1" noChangeAspect="1"/>
          </p:cNvSpPr>
          <p:nvPr>
            <p:ph type="pic" sz="quarter" idx="86" hasCustomPrompt="1"/>
          </p:nvPr>
        </p:nvSpPr>
        <p:spPr>
          <a:xfrm>
            <a:off x="4360501" y="4241133"/>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64" name="Picture Placeholder 6">
            <a:extLst>
              <a:ext uri="{FF2B5EF4-FFF2-40B4-BE49-F238E27FC236}">
                <a16:creationId xmlns:a16="http://schemas.microsoft.com/office/drawing/2014/main" id="{11540C1D-93DF-5642-AA9A-C632DCDF224E}"/>
              </a:ext>
            </a:extLst>
          </p:cNvPr>
          <p:cNvSpPr>
            <a:spLocks noGrp="1" noChangeAspect="1"/>
          </p:cNvSpPr>
          <p:nvPr>
            <p:ph type="pic" sz="quarter" idx="89" hasCustomPrompt="1"/>
          </p:nvPr>
        </p:nvSpPr>
        <p:spPr>
          <a:xfrm>
            <a:off x="8061834" y="4241133"/>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4" name="Footer Placeholder 3">
            <a:extLst>
              <a:ext uri="{FF2B5EF4-FFF2-40B4-BE49-F238E27FC236}">
                <a16:creationId xmlns:a16="http://schemas.microsoft.com/office/drawing/2014/main" id="{4F0FFB71-8009-EA40-8F34-241E47F1BF5C}"/>
              </a:ext>
            </a:extLst>
          </p:cNvPr>
          <p:cNvSpPr>
            <a:spLocks noGrp="1"/>
          </p:cNvSpPr>
          <p:nvPr>
            <p:ph type="ftr" sz="quarter" idx="90"/>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777C82F6-D4B7-FD42-9E85-C32CE7BCAB95}"/>
              </a:ext>
            </a:extLst>
          </p:cNvPr>
          <p:cNvSpPr>
            <a:spLocks noGrp="1"/>
          </p:cNvSpPr>
          <p:nvPr>
            <p:ph type="sldNum" sz="quarter" idx="91"/>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31" name="Text Placeholder 17">
            <a:extLst>
              <a:ext uri="{FF2B5EF4-FFF2-40B4-BE49-F238E27FC236}">
                <a16:creationId xmlns:a16="http://schemas.microsoft.com/office/drawing/2014/main" id="{C952D8E2-D90E-764B-AD9F-0DBAFE231965}"/>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34" name="Text Placeholder 2">
            <a:extLst>
              <a:ext uri="{FF2B5EF4-FFF2-40B4-BE49-F238E27FC236}">
                <a16:creationId xmlns:a16="http://schemas.microsoft.com/office/drawing/2014/main" id="{BD67B6D9-DCE2-CA47-8264-7019A46BA5B2}"/>
              </a:ext>
            </a:extLst>
          </p:cNvPr>
          <p:cNvSpPr>
            <a:spLocks noGrp="1"/>
          </p:cNvSpPr>
          <p:nvPr>
            <p:ph type="body" sz="quarter" idx="16" hasCustomPrompt="1"/>
          </p:nvPr>
        </p:nvSpPr>
        <p:spPr>
          <a:xfrm>
            <a:off x="1357271" y="2378880"/>
            <a:ext cx="2783784"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5" name="Text Placeholder 13">
            <a:extLst>
              <a:ext uri="{FF2B5EF4-FFF2-40B4-BE49-F238E27FC236}">
                <a16:creationId xmlns:a16="http://schemas.microsoft.com/office/drawing/2014/main" id="{04534FCF-0042-B446-A640-C3A96574A1A6}"/>
              </a:ext>
            </a:extLst>
          </p:cNvPr>
          <p:cNvSpPr>
            <a:spLocks noGrp="1"/>
          </p:cNvSpPr>
          <p:nvPr>
            <p:ph type="body" sz="quarter" idx="63" hasCustomPrompt="1"/>
          </p:nvPr>
        </p:nvSpPr>
        <p:spPr>
          <a:xfrm>
            <a:off x="1357271" y="2771719"/>
            <a:ext cx="2793526"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6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6" name="Text Placeholder 2">
            <a:extLst>
              <a:ext uri="{FF2B5EF4-FFF2-40B4-BE49-F238E27FC236}">
                <a16:creationId xmlns:a16="http://schemas.microsoft.com/office/drawing/2014/main" id="{F2989888-42F3-9D42-96E7-6172DC092E24}"/>
              </a:ext>
            </a:extLst>
          </p:cNvPr>
          <p:cNvSpPr>
            <a:spLocks noGrp="1"/>
          </p:cNvSpPr>
          <p:nvPr>
            <p:ph type="body" sz="quarter" idx="75" hasCustomPrompt="1"/>
          </p:nvPr>
        </p:nvSpPr>
        <p:spPr>
          <a:xfrm>
            <a:off x="5113120" y="2378880"/>
            <a:ext cx="2746593"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7" name="Text Placeholder 13">
            <a:extLst>
              <a:ext uri="{FF2B5EF4-FFF2-40B4-BE49-F238E27FC236}">
                <a16:creationId xmlns:a16="http://schemas.microsoft.com/office/drawing/2014/main" id="{1686E302-16F0-E84D-B408-78E38FB0EF79}"/>
              </a:ext>
            </a:extLst>
          </p:cNvPr>
          <p:cNvSpPr>
            <a:spLocks noGrp="1"/>
          </p:cNvSpPr>
          <p:nvPr>
            <p:ph type="body" sz="quarter" idx="76" hasCustomPrompt="1"/>
          </p:nvPr>
        </p:nvSpPr>
        <p:spPr>
          <a:xfrm>
            <a:off x="5113120" y="2771719"/>
            <a:ext cx="2746593"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8" name="Text Placeholder 2">
            <a:extLst>
              <a:ext uri="{FF2B5EF4-FFF2-40B4-BE49-F238E27FC236}">
                <a16:creationId xmlns:a16="http://schemas.microsoft.com/office/drawing/2014/main" id="{E81C0C78-1655-7E4E-AF68-744C5AF6DFCC}"/>
              </a:ext>
            </a:extLst>
          </p:cNvPr>
          <p:cNvSpPr>
            <a:spLocks noGrp="1"/>
          </p:cNvSpPr>
          <p:nvPr>
            <p:ph type="body" sz="quarter" idx="78" hasCustomPrompt="1"/>
          </p:nvPr>
        </p:nvSpPr>
        <p:spPr>
          <a:xfrm>
            <a:off x="8785373" y="2378880"/>
            <a:ext cx="2808902"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0" name="Text Placeholder 13">
            <a:extLst>
              <a:ext uri="{FF2B5EF4-FFF2-40B4-BE49-F238E27FC236}">
                <a16:creationId xmlns:a16="http://schemas.microsoft.com/office/drawing/2014/main" id="{D6C51BD4-A507-D547-9D53-7E89A603470E}"/>
              </a:ext>
            </a:extLst>
          </p:cNvPr>
          <p:cNvSpPr>
            <a:spLocks noGrp="1"/>
          </p:cNvSpPr>
          <p:nvPr>
            <p:ph type="body" sz="quarter" idx="79" hasCustomPrompt="1"/>
          </p:nvPr>
        </p:nvSpPr>
        <p:spPr>
          <a:xfrm>
            <a:off x="8785373" y="2771719"/>
            <a:ext cx="2819252"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400">
                <a:solidFill>
                  <a:schemeClr val="bg1"/>
                </a:solidFill>
              </a:defRPr>
            </a:lvl3pPr>
            <a:lvl4pPr marL="731520" indent="-182880">
              <a:lnSpc>
                <a:spcPct val="100000"/>
              </a:lnSpc>
              <a:spcBef>
                <a:spcPts val="300"/>
              </a:spcBef>
              <a:spcAft>
                <a:spcPts val="200"/>
              </a:spcAft>
              <a:buClr>
                <a:schemeClr val="bg1"/>
              </a:buClr>
              <a:defRPr sz="14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1" name="Text Placeholder 2">
            <a:extLst>
              <a:ext uri="{FF2B5EF4-FFF2-40B4-BE49-F238E27FC236}">
                <a16:creationId xmlns:a16="http://schemas.microsoft.com/office/drawing/2014/main" id="{779AAB32-D942-C845-A5EE-F3FB922EBFA4}"/>
              </a:ext>
            </a:extLst>
          </p:cNvPr>
          <p:cNvSpPr>
            <a:spLocks noGrp="1"/>
          </p:cNvSpPr>
          <p:nvPr>
            <p:ph type="body" sz="quarter" idx="81" hasCustomPrompt="1"/>
          </p:nvPr>
        </p:nvSpPr>
        <p:spPr>
          <a:xfrm>
            <a:off x="1357271" y="4241133"/>
            <a:ext cx="2783784"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2" name="Text Placeholder 13">
            <a:extLst>
              <a:ext uri="{FF2B5EF4-FFF2-40B4-BE49-F238E27FC236}">
                <a16:creationId xmlns:a16="http://schemas.microsoft.com/office/drawing/2014/main" id="{22329C9D-458B-F940-A41F-EA3EADBE523E}"/>
              </a:ext>
            </a:extLst>
          </p:cNvPr>
          <p:cNvSpPr>
            <a:spLocks noGrp="1"/>
          </p:cNvSpPr>
          <p:nvPr>
            <p:ph type="body" sz="quarter" idx="82" hasCustomPrompt="1"/>
          </p:nvPr>
        </p:nvSpPr>
        <p:spPr>
          <a:xfrm>
            <a:off x="1357271" y="4633972"/>
            <a:ext cx="2794042"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3" name="Text Placeholder 2">
            <a:extLst>
              <a:ext uri="{FF2B5EF4-FFF2-40B4-BE49-F238E27FC236}">
                <a16:creationId xmlns:a16="http://schemas.microsoft.com/office/drawing/2014/main" id="{DD35670F-883E-414E-A7A0-A7AAB53EC2F2}"/>
              </a:ext>
            </a:extLst>
          </p:cNvPr>
          <p:cNvSpPr>
            <a:spLocks noGrp="1"/>
          </p:cNvSpPr>
          <p:nvPr>
            <p:ph type="body" sz="quarter" idx="84" hasCustomPrompt="1"/>
          </p:nvPr>
        </p:nvSpPr>
        <p:spPr>
          <a:xfrm>
            <a:off x="5113120" y="4241133"/>
            <a:ext cx="2746593"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4" name="Text Placeholder 13">
            <a:extLst>
              <a:ext uri="{FF2B5EF4-FFF2-40B4-BE49-F238E27FC236}">
                <a16:creationId xmlns:a16="http://schemas.microsoft.com/office/drawing/2014/main" id="{D74DC475-805E-5A4E-B0A3-93BED9DF745D}"/>
              </a:ext>
            </a:extLst>
          </p:cNvPr>
          <p:cNvSpPr>
            <a:spLocks noGrp="1"/>
          </p:cNvSpPr>
          <p:nvPr>
            <p:ph type="body" sz="quarter" idx="85" hasCustomPrompt="1"/>
          </p:nvPr>
        </p:nvSpPr>
        <p:spPr>
          <a:xfrm>
            <a:off x="5113120" y="4633972"/>
            <a:ext cx="2746593"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5" name="Text Placeholder 2">
            <a:extLst>
              <a:ext uri="{FF2B5EF4-FFF2-40B4-BE49-F238E27FC236}">
                <a16:creationId xmlns:a16="http://schemas.microsoft.com/office/drawing/2014/main" id="{1AD32E5F-3414-6148-AAD1-56BD0B8D7D5F}"/>
              </a:ext>
            </a:extLst>
          </p:cNvPr>
          <p:cNvSpPr>
            <a:spLocks noGrp="1"/>
          </p:cNvSpPr>
          <p:nvPr>
            <p:ph type="body" sz="quarter" idx="87" hasCustomPrompt="1"/>
          </p:nvPr>
        </p:nvSpPr>
        <p:spPr>
          <a:xfrm>
            <a:off x="8785373" y="4241133"/>
            <a:ext cx="2808902"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57" name="Text Placeholder 13">
            <a:extLst>
              <a:ext uri="{FF2B5EF4-FFF2-40B4-BE49-F238E27FC236}">
                <a16:creationId xmlns:a16="http://schemas.microsoft.com/office/drawing/2014/main" id="{D4600F48-E675-2243-98A0-F86399F147DD}"/>
              </a:ext>
            </a:extLst>
          </p:cNvPr>
          <p:cNvSpPr>
            <a:spLocks noGrp="1"/>
          </p:cNvSpPr>
          <p:nvPr>
            <p:ph type="body" sz="quarter" idx="88" hasCustomPrompt="1"/>
          </p:nvPr>
        </p:nvSpPr>
        <p:spPr>
          <a:xfrm>
            <a:off x="8785373" y="4633972"/>
            <a:ext cx="2819252"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37105953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Icons 4 column white w/header">
    <p:spTree>
      <p:nvGrpSpPr>
        <p:cNvPr id="1" name=""/>
        <p:cNvGrpSpPr/>
        <p:nvPr/>
      </p:nvGrpSpPr>
      <p:grpSpPr>
        <a:xfrm>
          <a:off x="0" y="0"/>
          <a:ext cx="0" cy="0"/>
          <a:chOff x="0" y="0"/>
          <a:chExt cx="0" cy="0"/>
        </a:xfrm>
      </p:grpSpPr>
      <p:sp>
        <p:nvSpPr>
          <p:cNvPr id="54" name="Title 1">
            <a:extLst>
              <a:ext uri="{FF2B5EF4-FFF2-40B4-BE49-F238E27FC236}">
                <a16:creationId xmlns:a16="http://schemas.microsoft.com/office/drawing/2014/main" id="{EE4B799E-7F8B-F44F-BFCB-E8F9BE2436BA}"/>
              </a:ext>
            </a:extLst>
          </p:cNvPr>
          <p:cNvSpPr>
            <a:spLocks noGrp="1"/>
          </p:cNvSpPr>
          <p:nvPr>
            <p:ph type="title" hasCustomPrompt="1"/>
          </p:nvPr>
        </p:nvSpPr>
        <p:spPr>
          <a:xfrm>
            <a:off x="576000" y="816951"/>
            <a:ext cx="7283713" cy="431980"/>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55" name="Text Placeholder 17">
            <a:extLst>
              <a:ext uri="{FF2B5EF4-FFF2-40B4-BE49-F238E27FC236}">
                <a16:creationId xmlns:a16="http://schemas.microsoft.com/office/drawing/2014/main" id="{F294DB43-F470-754F-A6A1-034A079220BE}"/>
              </a:ext>
            </a:extLst>
          </p:cNvPr>
          <p:cNvSpPr>
            <a:spLocks noGrp="1"/>
          </p:cNvSpPr>
          <p:nvPr>
            <p:ph type="body" sz="quarter" idx="29" hasCustomPrompt="1"/>
          </p:nvPr>
        </p:nvSpPr>
        <p:spPr>
          <a:xfrm>
            <a:off x="576000" y="1193187"/>
            <a:ext cx="7283713" cy="34192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3" name="Text Placeholder 13">
            <a:extLst>
              <a:ext uri="{FF2B5EF4-FFF2-40B4-BE49-F238E27FC236}">
                <a16:creationId xmlns:a16="http://schemas.microsoft.com/office/drawing/2014/main" id="{3279D4D5-E441-4B46-AD43-8CD4807D6D1B}"/>
              </a:ext>
            </a:extLst>
          </p:cNvPr>
          <p:cNvSpPr>
            <a:spLocks noGrp="1"/>
          </p:cNvSpPr>
          <p:nvPr>
            <p:ph type="body" sz="quarter" idx="47" hasCustomPrompt="1"/>
          </p:nvPr>
        </p:nvSpPr>
        <p:spPr>
          <a:xfrm>
            <a:off x="576000" y="2816173"/>
            <a:ext cx="2640275"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4" name="Text Placeholder 13">
            <a:extLst>
              <a:ext uri="{FF2B5EF4-FFF2-40B4-BE49-F238E27FC236}">
                <a16:creationId xmlns:a16="http://schemas.microsoft.com/office/drawing/2014/main" id="{BAECF0E9-687B-A44F-AB65-88B1BCFB6449}"/>
              </a:ext>
            </a:extLst>
          </p:cNvPr>
          <p:cNvSpPr>
            <a:spLocks noGrp="1"/>
          </p:cNvSpPr>
          <p:nvPr>
            <p:ph type="body" sz="quarter" idx="48" hasCustomPrompt="1"/>
          </p:nvPr>
        </p:nvSpPr>
        <p:spPr>
          <a:xfrm>
            <a:off x="3394015" y="2816173"/>
            <a:ext cx="2701985"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5" name="Text Placeholder 13">
            <a:extLst>
              <a:ext uri="{FF2B5EF4-FFF2-40B4-BE49-F238E27FC236}">
                <a16:creationId xmlns:a16="http://schemas.microsoft.com/office/drawing/2014/main" id="{E5880ED0-7F35-DF41-9284-8BDD9884172F}"/>
              </a:ext>
            </a:extLst>
          </p:cNvPr>
          <p:cNvSpPr>
            <a:spLocks noGrp="1"/>
          </p:cNvSpPr>
          <p:nvPr>
            <p:ph type="body" sz="quarter" idx="49" hasCustomPrompt="1"/>
          </p:nvPr>
        </p:nvSpPr>
        <p:spPr>
          <a:xfrm>
            <a:off x="6191971" y="2816173"/>
            <a:ext cx="2604367"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ext Placeholder 13">
            <a:extLst>
              <a:ext uri="{FF2B5EF4-FFF2-40B4-BE49-F238E27FC236}">
                <a16:creationId xmlns:a16="http://schemas.microsoft.com/office/drawing/2014/main" id="{D2B4E2D8-6A72-2C47-B6A0-4C056B004385}"/>
              </a:ext>
            </a:extLst>
          </p:cNvPr>
          <p:cNvSpPr>
            <a:spLocks noGrp="1"/>
          </p:cNvSpPr>
          <p:nvPr>
            <p:ph type="body" sz="quarter" idx="50" hasCustomPrompt="1"/>
          </p:nvPr>
        </p:nvSpPr>
        <p:spPr>
          <a:xfrm>
            <a:off x="8982108" y="2816173"/>
            <a:ext cx="2622518"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Picture Placeholder 6">
            <a:extLst>
              <a:ext uri="{FF2B5EF4-FFF2-40B4-BE49-F238E27FC236}">
                <a16:creationId xmlns:a16="http://schemas.microsoft.com/office/drawing/2014/main" id="{F03C1D50-3E73-524A-A462-B3A4D52069B7}"/>
              </a:ext>
            </a:extLst>
          </p:cNvPr>
          <p:cNvSpPr>
            <a:spLocks noGrp="1" noChangeAspect="1"/>
          </p:cNvSpPr>
          <p:nvPr>
            <p:ph type="pic" sz="quarter" idx="18" hasCustomPrompt="1"/>
          </p:nvPr>
        </p:nvSpPr>
        <p:spPr>
          <a:xfrm>
            <a:off x="576000"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28" name="Text Placeholder 3">
            <a:extLst>
              <a:ext uri="{FF2B5EF4-FFF2-40B4-BE49-F238E27FC236}">
                <a16:creationId xmlns:a16="http://schemas.microsoft.com/office/drawing/2014/main" id="{08EC505F-1A80-164A-8D43-A42D262D1430}"/>
              </a:ext>
            </a:extLst>
          </p:cNvPr>
          <p:cNvSpPr>
            <a:spLocks noGrp="1"/>
          </p:cNvSpPr>
          <p:nvPr>
            <p:ph type="body" sz="quarter" idx="33" hasCustomPrompt="1"/>
          </p:nvPr>
        </p:nvSpPr>
        <p:spPr>
          <a:xfrm>
            <a:off x="576000" y="2374009"/>
            <a:ext cx="2639837"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0" name="Picture Placeholder 6">
            <a:extLst>
              <a:ext uri="{FF2B5EF4-FFF2-40B4-BE49-F238E27FC236}">
                <a16:creationId xmlns:a16="http://schemas.microsoft.com/office/drawing/2014/main" id="{9B82C975-099C-A744-8426-739996B14F76}"/>
              </a:ext>
            </a:extLst>
          </p:cNvPr>
          <p:cNvSpPr>
            <a:spLocks noGrp="1" noChangeAspect="1"/>
          </p:cNvSpPr>
          <p:nvPr>
            <p:ph type="pic" sz="quarter" idx="51" hasCustomPrompt="1"/>
          </p:nvPr>
        </p:nvSpPr>
        <p:spPr>
          <a:xfrm>
            <a:off x="3390345"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1" name="Text Placeholder 3">
            <a:extLst>
              <a:ext uri="{FF2B5EF4-FFF2-40B4-BE49-F238E27FC236}">
                <a16:creationId xmlns:a16="http://schemas.microsoft.com/office/drawing/2014/main" id="{6A5D12BE-2D88-254B-9EB6-DD6B8AD5DED0}"/>
              </a:ext>
            </a:extLst>
          </p:cNvPr>
          <p:cNvSpPr>
            <a:spLocks noGrp="1"/>
          </p:cNvSpPr>
          <p:nvPr>
            <p:ph type="body" sz="quarter" idx="52" hasCustomPrompt="1"/>
          </p:nvPr>
        </p:nvSpPr>
        <p:spPr>
          <a:xfrm>
            <a:off x="3401497" y="2374009"/>
            <a:ext cx="2707252"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2" name="Picture Placeholder 6">
            <a:extLst>
              <a:ext uri="{FF2B5EF4-FFF2-40B4-BE49-F238E27FC236}">
                <a16:creationId xmlns:a16="http://schemas.microsoft.com/office/drawing/2014/main" id="{F9428B0F-F92C-C04F-8476-9C2AB13E4C45}"/>
              </a:ext>
            </a:extLst>
          </p:cNvPr>
          <p:cNvSpPr>
            <a:spLocks noGrp="1" noChangeAspect="1"/>
          </p:cNvSpPr>
          <p:nvPr>
            <p:ph type="pic" sz="quarter" idx="53" hasCustomPrompt="1"/>
          </p:nvPr>
        </p:nvSpPr>
        <p:spPr>
          <a:xfrm>
            <a:off x="6193238"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3" name="Text Placeholder 3">
            <a:extLst>
              <a:ext uri="{FF2B5EF4-FFF2-40B4-BE49-F238E27FC236}">
                <a16:creationId xmlns:a16="http://schemas.microsoft.com/office/drawing/2014/main" id="{338CEC0F-5F97-2842-B297-CB8D7C61E96A}"/>
              </a:ext>
            </a:extLst>
          </p:cNvPr>
          <p:cNvSpPr>
            <a:spLocks noGrp="1"/>
          </p:cNvSpPr>
          <p:nvPr>
            <p:ph type="body" sz="quarter" idx="54" hasCustomPrompt="1"/>
          </p:nvPr>
        </p:nvSpPr>
        <p:spPr>
          <a:xfrm>
            <a:off x="6193239" y="2374009"/>
            <a:ext cx="2617880"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4" name="Picture Placeholder 6">
            <a:extLst>
              <a:ext uri="{FF2B5EF4-FFF2-40B4-BE49-F238E27FC236}">
                <a16:creationId xmlns:a16="http://schemas.microsoft.com/office/drawing/2014/main" id="{59B61C51-63D5-9F49-8C78-ED3619190DB5}"/>
              </a:ext>
            </a:extLst>
          </p:cNvPr>
          <p:cNvSpPr>
            <a:spLocks noGrp="1" noChangeAspect="1"/>
          </p:cNvSpPr>
          <p:nvPr>
            <p:ph type="pic" sz="quarter" idx="55" hasCustomPrompt="1"/>
          </p:nvPr>
        </p:nvSpPr>
        <p:spPr>
          <a:xfrm>
            <a:off x="8996132"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5" name="Text Placeholder 3">
            <a:extLst>
              <a:ext uri="{FF2B5EF4-FFF2-40B4-BE49-F238E27FC236}">
                <a16:creationId xmlns:a16="http://schemas.microsoft.com/office/drawing/2014/main" id="{A73470DE-BE0D-BA44-AF95-8660DE13D47E}"/>
              </a:ext>
            </a:extLst>
          </p:cNvPr>
          <p:cNvSpPr>
            <a:spLocks noGrp="1"/>
          </p:cNvSpPr>
          <p:nvPr>
            <p:ph type="body" sz="quarter" idx="56" hasCustomPrompt="1"/>
          </p:nvPr>
        </p:nvSpPr>
        <p:spPr>
          <a:xfrm>
            <a:off x="8996134" y="2374009"/>
            <a:ext cx="2608866"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 name="Footer Placeholder 1">
            <a:extLst>
              <a:ext uri="{FF2B5EF4-FFF2-40B4-BE49-F238E27FC236}">
                <a16:creationId xmlns:a16="http://schemas.microsoft.com/office/drawing/2014/main" id="{F358C8E5-B969-2345-B3E1-BFDC0019220D}"/>
              </a:ext>
            </a:extLst>
          </p:cNvPr>
          <p:cNvSpPr>
            <a:spLocks noGrp="1"/>
          </p:cNvSpPr>
          <p:nvPr>
            <p:ph type="ftr" sz="quarter" idx="57"/>
          </p:nvPr>
        </p:nvSpPr>
        <p:spPr/>
        <p:txBody>
          <a:bodyPr/>
          <a:lstStyle/>
          <a:p>
            <a:endParaRPr lang="en-GB"/>
          </a:p>
        </p:txBody>
      </p:sp>
      <p:sp>
        <p:nvSpPr>
          <p:cNvPr id="3" name="Slide Number Placeholder 2">
            <a:extLst>
              <a:ext uri="{FF2B5EF4-FFF2-40B4-BE49-F238E27FC236}">
                <a16:creationId xmlns:a16="http://schemas.microsoft.com/office/drawing/2014/main" id="{1724330F-3AD7-B643-83F0-3734252EC2C3}"/>
              </a:ext>
            </a:extLst>
          </p:cNvPr>
          <p:cNvSpPr>
            <a:spLocks noGrp="1"/>
          </p:cNvSpPr>
          <p:nvPr>
            <p:ph type="sldNum" sz="quarter" idx="5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8390323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Icons 4 column purple w/head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774BC0F-2AA3-2042-8A21-1D83CEDAF52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48" name="Title 1">
            <a:extLst>
              <a:ext uri="{FF2B5EF4-FFF2-40B4-BE49-F238E27FC236}">
                <a16:creationId xmlns:a16="http://schemas.microsoft.com/office/drawing/2014/main" id="{FBB2C0DA-A171-0B48-8881-D18D3FC5EB1A}"/>
              </a:ext>
            </a:extLst>
          </p:cNvPr>
          <p:cNvSpPr>
            <a:spLocks noGrp="1"/>
          </p:cNvSpPr>
          <p:nvPr>
            <p:ph type="title" hasCustomPrompt="1"/>
          </p:nvPr>
        </p:nvSpPr>
        <p:spPr>
          <a:xfrm>
            <a:off x="576000" y="816951"/>
            <a:ext cx="7283713" cy="431980"/>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51" name="Picture 50" descr="A picture containing drawing&#10;&#10;Description automatically generated">
            <a:extLst>
              <a:ext uri="{FF2B5EF4-FFF2-40B4-BE49-F238E27FC236}">
                <a16:creationId xmlns:a16="http://schemas.microsoft.com/office/drawing/2014/main" id="{DB0BF6A1-1A26-3643-84F3-18935C193A7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9" name="Picture Placeholder 6">
            <a:extLst>
              <a:ext uri="{FF2B5EF4-FFF2-40B4-BE49-F238E27FC236}">
                <a16:creationId xmlns:a16="http://schemas.microsoft.com/office/drawing/2014/main" id="{6C1BD40A-1C48-F045-9A63-EAF8642341DF}"/>
              </a:ext>
            </a:extLst>
          </p:cNvPr>
          <p:cNvSpPr>
            <a:spLocks noGrp="1" noChangeAspect="1"/>
          </p:cNvSpPr>
          <p:nvPr>
            <p:ph type="pic" sz="quarter" idx="18" hasCustomPrompt="1"/>
          </p:nvPr>
        </p:nvSpPr>
        <p:spPr>
          <a:xfrm>
            <a:off x="576000"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31" name="Picture Placeholder 6">
            <a:extLst>
              <a:ext uri="{FF2B5EF4-FFF2-40B4-BE49-F238E27FC236}">
                <a16:creationId xmlns:a16="http://schemas.microsoft.com/office/drawing/2014/main" id="{E9AD53E2-82A0-C949-9351-B55126519860}"/>
              </a:ext>
            </a:extLst>
          </p:cNvPr>
          <p:cNvSpPr>
            <a:spLocks noGrp="1" noChangeAspect="1"/>
          </p:cNvSpPr>
          <p:nvPr>
            <p:ph type="pic" sz="quarter" idx="51" hasCustomPrompt="1"/>
          </p:nvPr>
        </p:nvSpPr>
        <p:spPr>
          <a:xfrm>
            <a:off x="3390345"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33" name="Picture Placeholder 6">
            <a:extLst>
              <a:ext uri="{FF2B5EF4-FFF2-40B4-BE49-F238E27FC236}">
                <a16:creationId xmlns:a16="http://schemas.microsoft.com/office/drawing/2014/main" id="{079EDE5D-3EA4-844C-94C1-83F2D0301453}"/>
              </a:ext>
            </a:extLst>
          </p:cNvPr>
          <p:cNvSpPr>
            <a:spLocks noGrp="1" noChangeAspect="1"/>
          </p:cNvSpPr>
          <p:nvPr>
            <p:ph type="pic" sz="quarter" idx="53" hasCustomPrompt="1"/>
          </p:nvPr>
        </p:nvSpPr>
        <p:spPr>
          <a:xfrm>
            <a:off x="6193238"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3" name="Picture Placeholder 6">
            <a:extLst>
              <a:ext uri="{FF2B5EF4-FFF2-40B4-BE49-F238E27FC236}">
                <a16:creationId xmlns:a16="http://schemas.microsoft.com/office/drawing/2014/main" id="{80437A14-A013-F747-AD66-5E94191E67EA}"/>
              </a:ext>
            </a:extLst>
          </p:cNvPr>
          <p:cNvSpPr>
            <a:spLocks noGrp="1" noChangeAspect="1"/>
          </p:cNvSpPr>
          <p:nvPr>
            <p:ph type="pic" sz="quarter" idx="55" hasCustomPrompt="1"/>
          </p:nvPr>
        </p:nvSpPr>
        <p:spPr>
          <a:xfrm>
            <a:off x="8996132"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 name="Footer Placeholder 1">
            <a:extLst>
              <a:ext uri="{FF2B5EF4-FFF2-40B4-BE49-F238E27FC236}">
                <a16:creationId xmlns:a16="http://schemas.microsoft.com/office/drawing/2014/main" id="{B5B77980-DA41-FF43-939A-F373BDC04E78}"/>
              </a:ext>
            </a:extLst>
          </p:cNvPr>
          <p:cNvSpPr>
            <a:spLocks noGrp="1"/>
          </p:cNvSpPr>
          <p:nvPr>
            <p:ph type="ftr" sz="quarter" idx="5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3E9F099B-8B66-754A-8C6F-15A78F7F6D62}"/>
              </a:ext>
            </a:extLst>
          </p:cNvPr>
          <p:cNvSpPr>
            <a:spLocks noGrp="1"/>
          </p:cNvSpPr>
          <p:nvPr>
            <p:ph type="sldNum" sz="quarter" idx="5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3" name="Text Placeholder 17">
            <a:extLst>
              <a:ext uri="{FF2B5EF4-FFF2-40B4-BE49-F238E27FC236}">
                <a16:creationId xmlns:a16="http://schemas.microsoft.com/office/drawing/2014/main" id="{56E75355-A94E-E947-A4C5-4780C136040C}"/>
              </a:ext>
            </a:extLst>
          </p:cNvPr>
          <p:cNvSpPr>
            <a:spLocks noGrp="1"/>
          </p:cNvSpPr>
          <p:nvPr>
            <p:ph type="body" sz="quarter" idx="29" hasCustomPrompt="1"/>
          </p:nvPr>
        </p:nvSpPr>
        <p:spPr>
          <a:xfrm>
            <a:off x="576000" y="1193187"/>
            <a:ext cx="7283713" cy="34192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13">
            <a:extLst>
              <a:ext uri="{FF2B5EF4-FFF2-40B4-BE49-F238E27FC236}">
                <a16:creationId xmlns:a16="http://schemas.microsoft.com/office/drawing/2014/main" id="{1467C42B-936D-E74D-A701-134F6F2AF33B}"/>
              </a:ext>
            </a:extLst>
          </p:cNvPr>
          <p:cNvSpPr>
            <a:spLocks noGrp="1"/>
          </p:cNvSpPr>
          <p:nvPr>
            <p:ph type="body" sz="quarter" idx="47" hasCustomPrompt="1"/>
          </p:nvPr>
        </p:nvSpPr>
        <p:spPr>
          <a:xfrm>
            <a:off x="576000" y="2816173"/>
            <a:ext cx="2640275"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4" name="Text Placeholder 13">
            <a:extLst>
              <a:ext uri="{FF2B5EF4-FFF2-40B4-BE49-F238E27FC236}">
                <a16:creationId xmlns:a16="http://schemas.microsoft.com/office/drawing/2014/main" id="{32C68893-AB74-314E-B49C-AAB6BDEA706C}"/>
              </a:ext>
            </a:extLst>
          </p:cNvPr>
          <p:cNvSpPr>
            <a:spLocks noGrp="1"/>
          </p:cNvSpPr>
          <p:nvPr>
            <p:ph type="body" sz="quarter" idx="48" hasCustomPrompt="1"/>
          </p:nvPr>
        </p:nvSpPr>
        <p:spPr>
          <a:xfrm>
            <a:off x="3394015" y="2816173"/>
            <a:ext cx="2701985"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5" name="Text Placeholder 13">
            <a:extLst>
              <a:ext uri="{FF2B5EF4-FFF2-40B4-BE49-F238E27FC236}">
                <a16:creationId xmlns:a16="http://schemas.microsoft.com/office/drawing/2014/main" id="{B5B851CA-720A-1F40-A117-D75144C37BAC}"/>
              </a:ext>
            </a:extLst>
          </p:cNvPr>
          <p:cNvSpPr>
            <a:spLocks noGrp="1"/>
          </p:cNvSpPr>
          <p:nvPr>
            <p:ph type="body" sz="quarter" idx="49" hasCustomPrompt="1"/>
          </p:nvPr>
        </p:nvSpPr>
        <p:spPr>
          <a:xfrm>
            <a:off x="6191971" y="2816173"/>
            <a:ext cx="2604367"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8" name="Text Placeholder 13">
            <a:extLst>
              <a:ext uri="{FF2B5EF4-FFF2-40B4-BE49-F238E27FC236}">
                <a16:creationId xmlns:a16="http://schemas.microsoft.com/office/drawing/2014/main" id="{52126CB4-CF7E-1047-A661-45B320C195F4}"/>
              </a:ext>
            </a:extLst>
          </p:cNvPr>
          <p:cNvSpPr>
            <a:spLocks noGrp="1"/>
          </p:cNvSpPr>
          <p:nvPr>
            <p:ph type="body" sz="quarter" idx="50" hasCustomPrompt="1"/>
          </p:nvPr>
        </p:nvSpPr>
        <p:spPr>
          <a:xfrm>
            <a:off x="8982108" y="2816173"/>
            <a:ext cx="2622518"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9" name="Text Placeholder 3">
            <a:extLst>
              <a:ext uri="{FF2B5EF4-FFF2-40B4-BE49-F238E27FC236}">
                <a16:creationId xmlns:a16="http://schemas.microsoft.com/office/drawing/2014/main" id="{F3878E61-951D-4642-86BE-BE8F97F22729}"/>
              </a:ext>
            </a:extLst>
          </p:cNvPr>
          <p:cNvSpPr>
            <a:spLocks noGrp="1"/>
          </p:cNvSpPr>
          <p:nvPr>
            <p:ph type="body" sz="quarter" idx="33" hasCustomPrompt="1"/>
          </p:nvPr>
        </p:nvSpPr>
        <p:spPr>
          <a:xfrm>
            <a:off x="576000" y="2374009"/>
            <a:ext cx="2639837"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40" name="Text Placeholder 3">
            <a:extLst>
              <a:ext uri="{FF2B5EF4-FFF2-40B4-BE49-F238E27FC236}">
                <a16:creationId xmlns:a16="http://schemas.microsoft.com/office/drawing/2014/main" id="{0282D980-058C-714A-AF4D-A97AA3419DC9}"/>
              </a:ext>
            </a:extLst>
          </p:cNvPr>
          <p:cNvSpPr>
            <a:spLocks noGrp="1"/>
          </p:cNvSpPr>
          <p:nvPr>
            <p:ph type="body" sz="quarter" idx="52" hasCustomPrompt="1"/>
          </p:nvPr>
        </p:nvSpPr>
        <p:spPr>
          <a:xfrm>
            <a:off x="3401497" y="2374009"/>
            <a:ext cx="2707252"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41" name="Text Placeholder 3">
            <a:extLst>
              <a:ext uri="{FF2B5EF4-FFF2-40B4-BE49-F238E27FC236}">
                <a16:creationId xmlns:a16="http://schemas.microsoft.com/office/drawing/2014/main" id="{7FE6A8EF-44BD-0347-BACE-9996961127F5}"/>
              </a:ext>
            </a:extLst>
          </p:cNvPr>
          <p:cNvSpPr>
            <a:spLocks noGrp="1"/>
          </p:cNvSpPr>
          <p:nvPr>
            <p:ph type="body" sz="quarter" idx="54" hasCustomPrompt="1"/>
          </p:nvPr>
        </p:nvSpPr>
        <p:spPr>
          <a:xfrm>
            <a:off x="6193239" y="2374009"/>
            <a:ext cx="2617880"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42" name="Text Placeholder 3">
            <a:extLst>
              <a:ext uri="{FF2B5EF4-FFF2-40B4-BE49-F238E27FC236}">
                <a16:creationId xmlns:a16="http://schemas.microsoft.com/office/drawing/2014/main" id="{55D313DF-BE0D-7048-91B5-E2F7F56030F3}"/>
              </a:ext>
            </a:extLst>
          </p:cNvPr>
          <p:cNvSpPr>
            <a:spLocks noGrp="1"/>
          </p:cNvSpPr>
          <p:nvPr>
            <p:ph type="body" sz="quarter" idx="56" hasCustomPrompt="1"/>
          </p:nvPr>
        </p:nvSpPr>
        <p:spPr>
          <a:xfrm>
            <a:off x="8996134" y="2374009"/>
            <a:ext cx="2608866"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Tree>
    <p:extLst>
      <p:ext uri="{BB962C8B-B14F-4D97-AF65-F5344CB8AC3E}">
        <p14:creationId xmlns:p14="http://schemas.microsoft.com/office/powerpoint/2010/main" val="356614747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meline straight whit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4A58766-7E11-B24B-8AA3-02FB0FFB4E5F}"/>
              </a:ext>
            </a:extLst>
          </p:cNvPr>
          <p:cNvSpPr/>
          <p:nvPr userDrawn="1"/>
        </p:nvSpPr>
        <p:spPr>
          <a:xfrm>
            <a:off x="12700" y="3534223"/>
            <a:ext cx="12192000" cy="15403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43" name="Straight Connector 42">
            <a:extLst>
              <a:ext uri="{FF2B5EF4-FFF2-40B4-BE49-F238E27FC236}">
                <a16:creationId xmlns:a16="http://schemas.microsoft.com/office/drawing/2014/main" id="{E34B8B1D-EBD9-8F46-9127-8FDFD758F81F}"/>
              </a:ext>
            </a:extLst>
          </p:cNvPr>
          <p:cNvCxnSpPr>
            <a:cxnSpLocks/>
          </p:cNvCxnSpPr>
          <p:nvPr userDrawn="1"/>
        </p:nvCxnSpPr>
        <p:spPr>
          <a:xfrm flipV="1">
            <a:off x="594447"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B8F5F2-B2A7-E843-A02B-D9EAD8C62027}"/>
              </a:ext>
            </a:extLst>
          </p:cNvPr>
          <p:cNvCxnSpPr>
            <a:cxnSpLocks/>
          </p:cNvCxnSpPr>
          <p:nvPr userDrawn="1"/>
        </p:nvCxnSpPr>
        <p:spPr>
          <a:xfrm flipV="1">
            <a:off x="111444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E02C609-2F86-5348-A750-7D7E2B3F853D}"/>
              </a:ext>
            </a:extLst>
          </p:cNvPr>
          <p:cNvCxnSpPr>
            <a:cxnSpLocks/>
          </p:cNvCxnSpPr>
          <p:nvPr userDrawn="1"/>
        </p:nvCxnSpPr>
        <p:spPr>
          <a:xfrm flipV="1">
            <a:off x="2821699"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CF0129E-D899-2641-8B0B-A00037E34B1F}"/>
              </a:ext>
            </a:extLst>
          </p:cNvPr>
          <p:cNvCxnSpPr>
            <a:cxnSpLocks/>
          </p:cNvCxnSpPr>
          <p:nvPr userDrawn="1"/>
        </p:nvCxnSpPr>
        <p:spPr>
          <a:xfrm flipV="1">
            <a:off x="334648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E306CFB-9897-4F40-9D98-41D043452400}"/>
              </a:ext>
            </a:extLst>
          </p:cNvPr>
          <p:cNvCxnSpPr>
            <a:cxnSpLocks/>
          </p:cNvCxnSpPr>
          <p:nvPr userDrawn="1"/>
        </p:nvCxnSpPr>
        <p:spPr>
          <a:xfrm flipV="1">
            <a:off x="5048951"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6F80659-CEA5-CD4B-98D1-CC2E7024F488}"/>
              </a:ext>
            </a:extLst>
          </p:cNvPr>
          <p:cNvCxnSpPr>
            <a:cxnSpLocks/>
          </p:cNvCxnSpPr>
          <p:nvPr userDrawn="1"/>
        </p:nvCxnSpPr>
        <p:spPr>
          <a:xfrm flipV="1">
            <a:off x="557852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786B58D-1535-164A-929F-89F4B4CB0C03}"/>
              </a:ext>
            </a:extLst>
          </p:cNvPr>
          <p:cNvCxnSpPr>
            <a:cxnSpLocks/>
          </p:cNvCxnSpPr>
          <p:nvPr userDrawn="1"/>
        </p:nvCxnSpPr>
        <p:spPr>
          <a:xfrm flipV="1">
            <a:off x="7276203"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9685A5D-F272-894C-B819-963D1E129D9A}"/>
              </a:ext>
            </a:extLst>
          </p:cNvPr>
          <p:cNvCxnSpPr>
            <a:cxnSpLocks/>
          </p:cNvCxnSpPr>
          <p:nvPr userDrawn="1"/>
        </p:nvCxnSpPr>
        <p:spPr>
          <a:xfrm flipV="1">
            <a:off x="781056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298133E-2BF9-9F48-9E75-3C530E5FF726}"/>
              </a:ext>
            </a:extLst>
          </p:cNvPr>
          <p:cNvCxnSpPr>
            <a:cxnSpLocks/>
          </p:cNvCxnSpPr>
          <p:nvPr userDrawn="1"/>
        </p:nvCxnSpPr>
        <p:spPr>
          <a:xfrm flipV="1">
            <a:off x="9503455"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8D52D26-6E7A-3C42-A8B7-E4430C677D00}"/>
              </a:ext>
            </a:extLst>
          </p:cNvPr>
          <p:cNvCxnSpPr>
            <a:cxnSpLocks/>
          </p:cNvCxnSpPr>
          <p:nvPr userDrawn="1"/>
        </p:nvCxnSpPr>
        <p:spPr>
          <a:xfrm flipV="1">
            <a:off x="10042602"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55" name="Text Placeholder 2">
            <a:extLst>
              <a:ext uri="{FF2B5EF4-FFF2-40B4-BE49-F238E27FC236}">
                <a16:creationId xmlns:a16="http://schemas.microsoft.com/office/drawing/2014/main" id="{CF111B50-C6C5-D94F-91A9-3C3470248778}"/>
              </a:ext>
            </a:extLst>
          </p:cNvPr>
          <p:cNvSpPr>
            <a:spLocks noGrp="1"/>
          </p:cNvSpPr>
          <p:nvPr>
            <p:ph type="body" sz="quarter" idx="16" hasCustomPrompt="1"/>
          </p:nvPr>
        </p:nvSpPr>
        <p:spPr>
          <a:xfrm>
            <a:off x="666827"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58" name="Text Placeholder 2">
            <a:extLst>
              <a:ext uri="{FF2B5EF4-FFF2-40B4-BE49-F238E27FC236}">
                <a16:creationId xmlns:a16="http://schemas.microsoft.com/office/drawing/2014/main" id="{A78D1FC0-F793-024C-B9B9-BBE9F18CED67}"/>
              </a:ext>
            </a:extLst>
          </p:cNvPr>
          <p:cNvSpPr>
            <a:spLocks noGrp="1"/>
          </p:cNvSpPr>
          <p:nvPr>
            <p:ph type="body" sz="quarter" idx="17" hasCustomPrompt="1"/>
          </p:nvPr>
        </p:nvSpPr>
        <p:spPr>
          <a:xfrm>
            <a:off x="666827" y="2096280"/>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60" name="Text Placeholder 2">
            <a:extLst>
              <a:ext uri="{FF2B5EF4-FFF2-40B4-BE49-F238E27FC236}">
                <a16:creationId xmlns:a16="http://schemas.microsoft.com/office/drawing/2014/main" id="{03561B5D-4105-1D47-9052-44E1E4F51BC2}"/>
              </a:ext>
            </a:extLst>
          </p:cNvPr>
          <p:cNvSpPr>
            <a:spLocks noGrp="1"/>
          </p:cNvSpPr>
          <p:nvPr>
            <p:ph type="body" sz="quarter" idx="18" hasCustomPrompt="1"/>
          </p:nvPr>
        </p:nvSpPr>
        <p:spPr>
          <a:xfrm>
            <a:off x="2894633"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2" name="Text Placeholder 2">
            <a:extLst>
              <a:ext uri="{FF2B5EF4-FFF2-40B4-BE49-F238E27FC236}">
                <a16:creationId xmlns:a16="http://schemas.microsoft.com/office/drawing/2014/main" id="{0E30DB65-9F39-B14C-B8D3-A15FA9EB096E}"/>
              </a:ext>
            </a:extLst>
          </p:cNvPr>
          <p:cNvSpPr>
            <a:spLocks noGrp="1"/>
          </p:cNvSpPr>
          <p:nvPr>
            <p:ph type="body" sz="quarter" idx="20" hasCustomPrompt="1"/>
          </p:nvPr>
        </p:nvSpPr>
        <p:spPr>
          <a:xfrm>
            <a:off x="5122439"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4" name="Text Placeholder 2">
            <a:extLst>
              <a:ext uri="{FF2B5EF4-FFF2-40B4-BE49-F238E27FC236}">
                <a16:creationId xmlns:a16="http://schemas.microsoft.com/office/drawing/2014/main" id="{CE68C034-FE85-0148-83A7-5DEA30129CE6}"/>
              </a:ext>
            </a:extLst>
          </p:cNvPr>
          <p:cNvSpPr>
            <a:spLocks noGrp="1"/>
          </p:cNvSpPr>
          <p:nvPr>
            <p:ph type="body" sz="quarter" idx="22" hasCustomPrompt="1"/>
          </p:nvPr>
        </p:nvSpPr>
        <p:spPr>
          <a:xfrm>
            <a:off x="7350245"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0" name="Text Placeholder 2">
            <a:extLst>
              <a:ext uri="{FF2B5EF4-FFF2-40B4-BE49-F238E27FC236}">
                <a16:creationId xmlns:a16="http://schemas.microsoft.com/office/drawing/2014/main" id="{4EC6935A-F9AC-1642-8A49-A2557F79A857}"/>
              </a:ext>
            </a:extLst>
          </p:cNvPr>
          <p:cNvSpPr>
            <a:spLocks noGrp="1"/>
          </p:cNvSpPr>
          <p:nvPr>
            <p:ph type="body" sz="quarter" idx="24" hasCustomPrompt="1"/>
          </p:nvPr>
        </p:nvSpPr>
        <p:spPr>
          <a:xfrm>
            <a:off x="9578052"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2" name="Text Placeholder 2">
            <a:extLst>
              <a:ext uri="{FF2B5EF4-FFF2-40B4-BE49-F238E27FC236}">
                <a16:creationId xmlns:a16="http://schemas.microsoft.com/office/drawing/2014/main" id="{145A19C9-C8B2-A34B-B83F-435865430240}"/>
              </a:ext>
            </a:extLst>
          </p:cNvPr>
          <p:cNvSpPr>
            <a:spLocks noGrp="1"/>
          </p:cNvSpPr>
          <p:nvPr>
            <p:ph type="body" sz="quarter" idx="26" hasCustomPrompt="1"/>
          </p:nvPr>
        </p:nvSpPr>
        <p:spPr>
          <a:xfrm>
            <a:off x="1212772"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4" name="Text Placeholder 2">
            <a:extLst>
              <a:ext uri="{FF2B5EF4-FFF2-40B4-BE49-F238E27FC236}">
                <a16:creationId xmlns:a16="http://schemas.microsoft.com/office/drawing/2014/main" id="{993EDDDA-2A6C-5D4B-AAAC-7FC1E6CB4439}"/>
              </a:ext>
            </a:extLst>
          </p:cNvPr>
          <p:cNvSpPr>
            <a:spLocks noGrp="1"/>
          </p:cNvSpPr>
          <p:nvPr>
            <p:ph type="body" sz="quarter" idx="27" hasCustomPrompt="1"/>
          </p:nvPr>
        </p:nvSpPr>
        <p:spPr>
          <a:xfrm>
            <a:off x="3430439"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5" name="Text Placeholder 2">
            <a:extLst>
              <a:ext uri="{FF2B5EF4-FFF2-40B4-BE49-F238E27FC236}">
                <a16:creationId xmlns:a16="http://schemas.microsoft.com/office/drawing/2014/main" id="{61524BE5-AB3C-2F48-874C-42795E5497F2}"/>
              </a:ext>
            </a:extLst>
          </p:cNvPr>
          <p:cNvSpPr>
            <a:spLocks noGrp="1"/>
          </p:cNvSpPr>
          <p:nvPr>
            <p:ph type="body" sz="quarter" idx="28" hasCustomPrompt="1"/>
          </p:nvPr>
        </p:nvSpPr>
        <p:spPr>
          <a:xfrm>
            <a:off x="5664595"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6" name="Text Placeholder 2">
            <a:extLst>
              <a:ext uri="{FF2B5EF4-FFF2-40B4-BE49-F238E27FC236}">
                <a16:creationId xmlns:a16="http://schemas.microsoft.com/office/drawing/2014/main" id="{5DA67B83-11AF-974E-9925-B3B531BC38BF}"/>
              </a:ext>
            </a:extLst>
          </p:cNvPr>
          <p:cNvSpPr>
            <a:spLocks noGrp="1"/>
          </p:cNvSpPr>
          <p:nvPr>
            <p:ph type="body" sz="quarter" idx="32" hasCustomPrompt="1"/>
          </p:nvPr>
        </p:nvSpPr>
        <p:spPr>
          <a:xfrm>
            <a:off x="7898751"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7" name="Text Placeholder 2">
            <a:extLst>
              <a:ext uri="{FF2B5EF4-FFF2-40B4-BE49-F238E27FC236}">
                <a16:creationId xmlns:a16="http://schemas.microsoft.com/office/drawing/2014/main" id="{E3C9C2FD-B51D-A647-8F76-314FF354B1C1}"/>
              </a:ext>
            </a:extLst>
          </p:cNvPr>
          <p:cNvSpPr>
            <a:spLocks noGrp="1"/>
          </p:cNvSpPr>
          <p:nvPr>
            <p:ph type="body" sz="quarter" idx="30" hasCustomPrompt="1"/>
          </p:nvPr>
        </p:nvSpPr>
        <p:spPr>
          <a:xfrm>
            <a:off x="10132908"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8" name="Text Placeholder 2">
            <a:extLst>
              <a:ext uri="{FF2B5EF4-FFF2-40B4-BE49-F238E27FC236}">
                <a16:creationId xmlns:a16="http://schemas.microsoft.com/office/drawing/2014/main" id="{2793EA83-42AD-1145-87BB-2447092D8D5D}"/>
              </a:ext>
            </a:extLst>
          </p:cNvPr>
          <p:cNvSpPr>
            <a:spLocks noGrp="1"/>
          </p:cNvSpPr>
          <p:nvPr>
            <p:ph type="body" sz="quarter" idx="41" hasCustomPrompt="1"/>
          </p:nvPr>
        </p:nvSpPr>
        <p:spPr>
          <a:xfrm>
            <a:off x="2893366" y="2096280"/>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79" name="Text Placeholder 2">
            <a:extLst>
              <a:ext uri="{FF2B5EF4-FFF2-40B4-BE49-F238E27FC236}">
                <a16:creationId xmlns:a16="http://schemas.microsoft.com/office/drawing/2014/main" id="{3E6467CE-4DB5-FE4F-BAA3-16D99DD84C5E}"/>
              </a:ext>
            </a:extLst>
          </p:cNvPr>
          <p:cNvSpPr>
            <a:spLocks noGrp="1"/>
          </p:cNvSpPr>
          <p:nvPr>
            <p:ph type="body" sz="quarter" idx="42" hasCustomPrompt="1"/>
          </p:nvPr>
        </p:nvSpPr>
        <p:spPr>
          <a:xfrm>
            <a:off x="5119905" y="2096280"/>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0" name="Text Placeholder 2">
            <a:extLst>
              <a:ext uri="{FF2B5EF4-FFF2-40B4-BE49-F238E27FC236}">
                <a16:creationId xmlns:a16="http://schemas.microsoft.com/office/drawing/2014/main" id="{86E4672E-B3A7-9A41-B57D-464EF9E27F79}"/>
              </a:ext>
            </a:extLst>
          </p:cNvPr>
          <p:cNvSpPr>
            <a:spLocks noGrp="1"/>
          </p:cNvSpPr>
          <p:nvPr>
            <p:ph type="body" sz="quarter" idx="43" hasCustomPrompt="1"/>
          </p:nvPr>
        </p:nvSpPr>
        <p:spPr>
          <a:xfrm>
            <a:off x="7346444" y="2097718"/>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1" name="Text Placeholder 2">
            <a:extLst>
              <a:ext uri="{FF2B5EF4-FFF2-40B4-BE49-F238E27FC236}">
                <a16:creationId xmlns:a16="http://schemas.microsoft.com/office/drawing/2014/main" id="{29F8208F-7F99-2C43-8428-C055FF297BBE}"/>
              </a:ext>
            </a:extLst>
          </p:cNvPr>
          <p:cNvSpPr>
            <a:spLocks noGrp="1"/>
          </p:cNvSpPr>
          <p:nvPr>
            <p:ph type="body" sz="quarter" idx="44" hasCustomPrompt="1"/>
          </p:nvPr>
        </p:nvSpPr>
        <p:spPr>
          <a:xfrm>
            <a:off x="9572983" y="2097718"/>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2" name="Text Placeholder 2">
            <a:extLst>
              <a:ext uri="{FF2B5EF4-FFF2-40B4-BE49-F238E27FC236}">
                <a16:creationId xmlns:a16="http://schemas.microsoft.com/office/drawing/2014/main" id="{F0CD0A55-28E3-ED40-A853-C507CC4E1CD3}"/>
              </a:ext>
            </a:extLst>
          </p:cNvPr>
          <p:cNvSpPr>
            <a:spLocks noGrp="1"/>
          </p:cNvSpPr>
          <p:nvPr>
            <p:ph type="body" sz="quarter" idx="46" hasCustomPrompt="1"/>
          </p:nvPr>
        </p:nvSpPr>
        <p:spPr>
          <a:xfrm>
            <a:off x="1198640" y="4023111"/>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3" name="Text Placeholder 2">
            <a:extLst>
              <a:ext uri="{FF2B5EF4-FFF2-40B4-BE49-F238E27FC236}">
                <a16:creationId xmlns:a16="http://schemas.microsoft.com/office/drawing/2014/main" id="{ED06EDCF-F02E-9C4A-B35A-0B89C71341E2}"/>
              </a:ext>
            </a:extLst>
          </p:cNvPr>
          <p:cNvSpPr>
            <a:spLocks noGrp="1"/>
          </p:cNvSpPr>
          <p:nvPr>
            <p:ph type="body" sz="quarter" idx="47" hasCustomPrompt="1"/>
          </p:nvPr>
        </p:nvSpPr>
        <p:spPr>
          <a:xfrm>
            <a:off x="3422004" y="4023111"/>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4" name="Text Placeholder 2">
            <a:extLst>
              <a:ext uri="{FF2B5EF4-FFF2-40B4-BE49-F238E27FC236}">
                <a16:creationId xmlns:a16="http://schemas.microsoft.com/office/drawing/2014/main" id="{DC5D0E13-3E9C-3743-9DA3-78BA1016C9C1}"/>
              </a:ext>
            </a:extLst>
          </p:cNvPr>
          <p:cNvSpPr>
            <a:spLocks noGrp="1"/>
          </p:cNvSpPr>
          <p:nvPr>
            <p:ph type="body" sz="quarter" idx="48" hasCustomPrompt="1"/>
          </p:nvPr>
        </p:nvSpPr>
        <p:spPr>
          <a:xfrm>
            <a:off x="5658068" y="4023111"/>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5" name="Text Placeholder 2">
            <a:extLst>
              <a:ext uri="{FF2B5EF4-FFF2-40B4-BE49-F238E27FC236}">
                <a16:creationId xmlns:a16="http://schemas.microsoft.com/office/drawing/2014/main" id="{02CAD3B7-3F2E-214D-A9B9-4DD95A55D85F}"/>
              </a:ext>
            </a:extLst>
          </p:cNvPr>
          <p:cNvSpPr>
            <a:spLocks noGrp="1"/>
          </p:cNvSpPr>
          <p:nvPr>
            <p:ph type="body" sz="quarter" idx="49" hasCustomPrompt="1"/>
          </p:nvPr>
        </p:nvSpPr>
        <p:spPr>
          <a:xfrm>
            <a:off x="7894132" y="4024549"/>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6" name="Text Placeholder 2">
            <a:extLst>
              <a:ext uri="{FF2B5EF4-FFF2-40B4-BE49-F238E27FC236}">
                <a16:creationId xmlns:a16="http://schemas.microsoft.com/office/drawing/2014/main" id="{646FE730-E12C-AE42-AC69-4AB7F3F52C93}"/>
              </a:ext>
            </a:extLst>
          </p:cNvPr>
          <p:cNvSpPr>
            <a:spLocks noGrp="1"/>
          </p:cNvSpPr>
          <p:nvPr>
            <p:ph type="body" sz="quarter" idx="50" hasCustomPrompt="1"/>
          </p:nvPr>
        </p:nvSpPr>
        <p:spPr>
          <a:xfrm>
            <a:off x="10130196" y="4024549"/>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2" name="Footer Placeholder 1">
            <a:extLst>
              <a:ext uri="{FF2B5EF4-FFF2-40B4-BE49-F238E27FC236}">
                <a16:creationId xmlns:a16="http://schemas.microsoft.com/office/drawing/2014/main" id="{2BA21FF0-930F-3442-BF1B-E38C877E41EC}"/>
              </a:ext>
            </a:extLst>
          </p:cNvPr>
          <p:cNvSpPr>
            <a:spLocks noGrp="1"/>
          </p:cNvSpPr>
          <p:nvPr>
            <p:ph type="ftr" sz="quarter" idx="51"/>
          </p:nvPr>
        </p:nvSpPr>
        <p:spPr/>
        <p:txBody>
          <a:bodyPr/>
          <a:lstStyle/>
          <a:p>
            <a:endParaRPr lang="en-GB"/>
          </a:p>
        </p:txBody>
      </p:sp>
      <p:sp>
        <p:nvSpPr>
          <p:cNvPr id="3" name="Slide Number Placeholder 2">
            <a:extLst>
              <a:ext uri="{FF2B5EF4-FFF2-40B4-BE49-F238E27FC236}">
                <a16:creationId xmlns:a16="http://schemas.microsoft.com/office/drawing/2014/main" id="{D789B10B-F120-0047-BBB9-C0B536373E58}"/>
              </a:ext>
            </a:extLst>
          </p:cNvPr>
          <p:cNvSpPr>
            <a:spLocks noGrp="1"/>
          </p:cNvSpPr>
          <p:nvPr>
            <p:ph type="sldNum" sz="quarter" idx="52"/>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31651422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meline straight">
    <p:bg>
      <p:bgPr>
        <a:solidFill>
          <a:schemeClr val="bg1"/>
        </a:solidFill>
        <a:effectLst/>
      </p:bgPr>
    </p:bg>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96" name="Straight Connector 95">
            <a:extLst>
              <a:ext uri="{FF2B5EF4-FFF2-40B4-BE49-F238E27FC236}">
                <a16:creationId xmlns:a16="http://schemas.microsoft.com/office/drawing/2014/main" id="{9BD132D6-912F-3D4D-9221-0A938BBA284C}"/>
              </a:ext>
            </a:extLst>
          </p:cNvPr>
          <p:cNvCxnSpPr>
            <a:cxnSpLocks/>
            <a:stCxn id="103" idx="0"/>
          </p:cNvCxnSpPr>
          <p:nvPr userDrawn="1"/>
        </p:nvCxnSpPr>
        <p:spPr>
          <a:xfrm flipV="1">
            <a:off x="604563" y="2244437"/>
            <a:ext cx="0" cy="3147758"/>
          </a:xfrm>
          <a:prstGeom prst="line">
            <a:avLst/>
          </a:prstGeom>
          <a:noFill/>
          <a:ln w="6350" cap="flat" cmpd="sng" algn="ctr">
            <a:solidFill>
              <a:schemeClr val="accent1"/>
            </a:solidFill>
            <a:prstDash val="solid"/>
            <a:miter lim="800000"/>
            <a:headEnd type="none" w="lg" len="lg"/>
            <a:tailEnd type="oval" w="lg" len="lg"/>
          </a:ln>
          <a:effectLst/>
        </p:spPr>
      </p:cxnSp>
      <p:cxnSp>
        <p:nvCxnSpPr>
          <p:cNvPr id="97" name="Straight Connector 96">
            <a:extLst>
              <a:ext uri="{FF2B5EF4-FFF2-40B4-BE49-F238E27FC236}">
                <a16:creationId xmlns:a16="http://schemas.microsoft.com/office/drawing/2014/main" id="{DF867798-4DE6-EC41-AD82-03E6B1FF17CB}"/>
              </a:ext>
            </a:extLst>
          </p:cNvPr>
          <p:cNvCxnSpPr>
            <a:cxnSpLocks/>
          </p:cNvCxnSpPr>
          <p:nvPr userDrawn="1"/>
        </p:nvCxnSpPr>
        <p:spPr>
          <a:xfrm>
            <a:off x="2435815" y="2721012"/>
            <a:ext cx="0" cy="1687283"/>
          </a:xfrm>
          <a:prstGeom prst="line">
            <a:avLst/>
          </a:prstGeom>
          <a:noFill/>
          <a:ln w="6350" cap="flat" cmpd="sng" algn="ctr">
            <a:solidFill>
              <a:schemeClr val="accent1"/>
            </a:solidFill>
            <a:prstDash val="solid"/>
            <a:miter lim="800000"/>
            <a:headEnd type="oval" w="lg" len="lg"/>
            <a:tailEnd type="none" w="lg" len="lg"/>
          </a:ln>
          <a:effectLst/>
        </p:spPr>
      </p:cxnSp>
      <p:cxnSp>
        <p:nvCxnSpPr>
          <p:cNvPr id="98" name="Straight Connector 97">
            <a:extLst>
              <a:ext uri="{FF2B5EF4-FFF2-40B4-BE49-F238E27FC236}">
                <a16:creationId xmlns:a16="http://schemas.microsoft.com/office/drawing/2014/main" id="{A2E03D6C-2073-014A-8EE7-7E84746447E3}"/>
              </a:ext>
            </a:extLst>
          </p:cNvPr>
          <p:cNvCxnSpPr>
            <a:cxnSpLocks/>
          </p:cNvCxnSpPr>
          <p:nvPr userDrawn="1"/>
        </p:nvCxnSpPr>
        <p:spPr>
          <a:xfrm>
            <a:off x="3401014" y="3920780"/>
            <a:ext cx="1" cy="2003422"/>
          </a:xfrm>
          <a:prstGeom prst="line">
            <a:avLst/>
          </a:prstGeom>
          <a:noFill/>
          <a:ln w="6350" cap="flat" cmpd="sng" algn="ctr">
            <a:solidFill>
              <a:schemeClr val="accent1"/>
            </a:solidFill>
            <a:prstDash val="solid"/>
            <a:miter lim="800000"/>
            <a:headEnd type="none" w="lg" len="lg"/>
            <a:tailEnd type="oval" w="lg" len="lg"/>
          </a:ln>
          <a:effectLst/>
        </p:spPr>
      </p:cxnSp>
      <p:cxnSp>
        <p:nvCxnSpPr>
          <p:cNvPr id="99" name="Straight Connector 98">
            <a:extLst>
              <a:ext uri="{FF2B5EF4-FFF2-40B4-BE49-F238E27FC236}">
                <a16:creationId xmlns:a16="http://schemas.microsoft.com/office/drawing/2014/main" id="{B8695049-1E37-A245-808B-ECED791353F7}"/>
              </a:ext>
            </a:extLst>
          </p:cNvPr>
          <p:cNvCxnSpPr>
            <a:cxnSpLocks/>
          </p:cNvCxnSpPr>
          <p:nvPr userDrawn="1"/>
        </p:nvCxnSpPr>
        <p:spPr>
          <a:xfrm>
            <a:off x="6121321" y="2906006"/>
            <a:ext cx="669" cy="1925767"/>
          </a:xfrm>
          <a:prstGeom prst="line">
            <a:avLst/>
          </a:prstGeom>
          <a:noFill/>
          <a:ln w="6350" cap="flat" cmpd="sng" algn="ctr">
            <a:solidFill>
              <a:schemeClr val="accent1"/>
            </a:solidFill>
            <a:prstDash val="solid"/>
            <a:miter lim="800000"/>
            <a:headEnd type="none" w="lg" len="lg"/>
            <a:tailEnd type="oval" w="lg" len="lg"/>
          </a:ln>
          <a:effectLst/>
        </p:spPr>
      </p:cxnSp>
      <p:cxnSp>
        <p:nvCxnSpPr>
          <p:cNvPr id="100" name="Straight Connector 99">
            <a:extLst>
              <a:ext uri="{FF2B5EF4-FFF2-40B4-BE49-F238E27FC236}">
                <a16:creationId xmlns:a16="http://schemas.microsoft.com/office/drawing/2014/main" id="{DCFA0A77-16B3-6041-A0E6-F29F8B0C6983}"/>
              </a:ext>
            </a:extLst>
          </p:cNvPr>
          <p:cNvCxnSpPr>
            <a:cxnSpLocks/>
          </p:cNvCxnSpPr>
          <p:nvPr userDrawn="1"/>
        </p:nvCxnSpPr>
        <p:spPr>
          <a:xfrm>
            <a:off x="9968503" y="2602557"/>
            <a:ext cx="0" cy="1130620"/>
          </a:xfrm>
          <a:prstGeom prst="line">
            <a:avLst/>
          </a:prstGeom>
          <a:noFill/>
          <a:ln w="6350" cap="flat" cmpd="sng" algn="ctr">
            <a:solidFill>
              <a:schemeClr val="accent1"/>
            </a:solidFill>
            <a:prstDash val="solid"/>
            <a:miter lim="800000"/>
            <a:headEnd type="none" w="lg" len="lg"/>
            <a:tailEnd type="oval" w="lg" len="lg"/>
          </a:ln>
          <a:effectLst/>
        </p:spPr>
      </p:cxnSp>
      <p:cxnSp>
        <p:nvCxnSpPr>
          <p:cNvPr id="101" name="Straight Connector 100">
            <a:extLst>
              <a:ext uri="{FF2B5EF4-FFF2-40B4-BE49-F238E27FC236}">
                <a16:creationId xmlns:a16="http://schemas.microsoft.com/office/drawing/2014/main" id="{B37C9C1D-2B7D-454D-A6D1-0B20066FED59}"/>
              </a:ext>
            </a:extLst>
          </p:cNvPr>
          <p:cNvCxnSpPr>
            <a:cxnSpLocks/>
          </p:cNvCxnSpPr>
          <p:nvPr userDrawn="1"/>
        </p:nvCxnSpPr>
        <p:spPr>
          <a:xfrm>
            <a:off x="8076373" y="2602557"/>
            <a:ext cx="0" cy="1668107"/>
          </a:xfrm>
          <a:prstGeom prst="line">
            <a:avLst/>
          </a:prstGeom>
          <a:noFill/>
          <a:ln w="6350" cap="flat" cmpd="sng" algn="ctr">
            <a:solidFill>
              <a:schemeClr val="accent1"/>
            </a:solidFill>
            <a:prstDash val="solid"/>
            <a:miter lim="800000"/>
            <a:headEnd type="none" w="lg" len="lg"/>
            <a:tailEnd type="oval" w="lg" len="lg"/>
          </a:ln>
          <a:effectLst/>
        </p:spPr>
      </p:cxnSp>
      <p:cxnSp>
        <p:nvCxnSpPr>
          <p:cNvPr id="102" name="Straight Connector 101">
            <a:extLst>
              <a:ext uri="{FF2B5EF4-FFF2-40B4-BE49-F238E27FC236}">
                <a16:creationId xmlns:a16="http://schemas.microsoft.com/office/drawing/2014/main" id="{C49C7B11-057C-0D44-8794-A9180C9D5C9D}"/>
              </a:ext>
            </a:extLst>
          </p:cNvPr>
          <p:cNvCxnSpPr>
            <a:cxnSpLocks/>
          </p:cNvCxnSpPr>
          <p:nvPr userDrawn="1"/>
        </p:nvCxnSpPr>
        <p:spPr>
          <a:xfrm>
            <a:off x="4770486" y="3257098"/>
            <a:ext cx="0" cy="2100263"/>
          </a:xfrm>
          <a:prstGeom prst="line">
            <a:avLst/>
          </a:prstGeom>
          <a:noFill/>
          <a:ln w="6350" cap="flat" cmpd="sng" algn="ctr">
            <a:solidFill>
              <a:schemeClr val="accent1"/>
            </a:solidFill>
            <a:prstDash val="solid"/>
            <a:miter lim="800000"/>
            <a:headEnd type="none" w="sm" len="sm"/>
            <a:tailEnd type="oval" w="lg" len="lg"/>
          </a:ln>
          <a:effectLst/>
        </p:spPr>
      </p:cxnSp>
      <p:sp>
        <p:nvSpPr>
          <p:cNvPr id="103" name="Oval 102">
            <a:extLst>
              <a:ext uri="{FF2B5EF4-FFF2-40B4-BE49-F238E27FC236}">
                <a16:creationId xmlns:a16="http://schemas.microsoft.com/office/drawing/2014/main" id="{4C4E7789-3CC3-B942-9FD3-96A47F48BBA8}"/>
              </a:ext>
            </a:extLst>
          </p:cNvPr>
          <p:cNvSpPr/>
          <p:nvPr userDrawn="1"/>
        </p:nvSpPr>
        <p:spPr>
          <a:xfrm>
            <a:off x="493999" y="5392195"/>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id="{02A71963-851B-2C4E-BC74-7AE51A14D45C}"/>
              </a:ext>
            </a:extLst>
          </p:cNvPr>
          <p:cNvSpPr/>
          <p:nvPr userDrawn="1"/>
        </p:nvSpPr>
        <p:spPr>
          <a:xfrm>
            <a:off x="2325251" y="4237236"/>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3A4A19F3-0B10-CC4E-9812-09352E0B26ED}"/>
              </a:ext>
            </a:extLst>
          </p:cNvPr>
          <p:cNvSpPr/>
          <p:nvPr userDrawn="1"/>
        </p:nvSpPr>
        <p:spPr>
          <a:xfrm>
            <a:off x="3303390" y="3710751"/>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F252F891-B574-974D-8EA8-3DCBCC318690}"/>
              </a:ext>
            </a:extLst>
          </p:cNvPr>
          <p:cNvSpPr/>
          <p:nvPr userDrawn="1"/>
        </p:nvSpPr>
        <p:spPr>
          <a:xfrm>
            <a:off x="4659922" y="3135546"/>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id="{5D273172-8127-2848-A0A6-C2BFAF359FA6}"/>
              </a:ext>
            </a:extLst>
          </p:cNvPr>
          <p:cNvSpPr/>
          <p:nvPr userDrawn="1"/>
        </p:nvSpPr>
        <p:spPr>
          <a:xfrm>
            <a:off x="6015033" y="2764960"/>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DF6E5FD1-7B56-2549-8780-A78345F32863}"/>
              </a:ext>
            </a:extLst>
          </p:cNvPr>
          <p:cNvSpPr/>
          <p:nvPr userDrawn="1"/>
        </p:nvSpPr>
        <p:spPr>
          <a:xfrm>
            <a:off x="7976436" y="2572413"/>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4F3E5C4-42F0-E04F-AFFE-8BD697B5C9A5}"/>
              </a:ext>
            </a:extLst>
          </p:cNvPr>
          <p:cNvSpPr/>
          <p:nvPr userDrawn="1"/>
        </p:nvSpPr>
        <p:spPr>
          <a:xfrm>
            <a:off x="9862674" y="2577657"/>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Text Placeholder 2">
            <a:extLst>
              <a:ext uri="{FF2B5EF4-FFF2-40B4-BE49-F238E27FC236}">
                <a16:creationId xmlns:a16="http://schemas.microsoft.com/office/drawing/2014/main" id="{BA0243BD-120B-F14A-88FC-1736C0C9D561}"/>
              </a:ext>
            </a:extLst>
          </p:cNvPr>
          <p:cNvSpPr>
            <a:spLocks noGrp="1"/>
          </p:cNvSpPr>
          <p:nvPr>
            <p:ph type="body" sz="quarter" idx="16" hasCustomPrompt="1"/>
          </p:nvPr>
        </p:nvSpPr>
        <p:spPr>
          <a:xfrm>
            <a:off x="785673" y="2106380"/>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p>
          <a:p>
            <a:pPr lvl="0"/>
            <a:endParaRPr lang="en-GB"/>
          </a:p>
        </p:txBody>
      </p:sp>
      <p:sp>
        <p:nvSpPr>
          <p:cNvPr id="111" name="Text Placeholder 2">
            <a:extLst>
              <a:ext uri="{FF2B5EF4-FFF2-40B4-BE49-F238E27FC236}">
                <a16:creationId xmlns:a16="http://schemas.microsoft.com/office/drawing/2014/main" id="{EF2F126A-A5DC-BC4F-89AA-0B8DE66E6FD9}"/>
              </a:ext>
            </a:extLst>
          </p:cNvPr>
          <p:cNvSpPr>
            <a:spLocks noGrp="1"/>
          </p:cNvSpPr>
          <p:nvPr>
            <p:ph type="body" sz="quarter" idx="30" hasCustomPrompt="1"/>
          </p:nvPr>
        </p:nvSpPr>
        <p:spPr>
          <a:xfrm>
            <a:off x="2620518" y="2595993"/>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2" name="Text Placeholder 2">
            <a:extLst>
              <a:ext uri="{FF2B5EF4-FFF2-40B4-BE49-F238E27FC236}">
                <a16:creationId xmlns:a16="http://schemas.microsoft.com/office/drawing/2014/main" id="{4F6296E5-CBFC-A54B-B33B-CE50A5B6CADF}"/>
              </a:ext>
            </a:extLst>
          </p:cNvPr>
          <p:cNvSpPr>
            <a:spLocks noGrp="1"/>
          </p:cNvSpPr>
          <p:nvPr>
            <p:ph type="body" sz="quarter" idx="31" hasCustomPrompt="1"/>
          </p:nvPr>
        </p:nvSpPr>
        <p:spPr>
          <a:xfrm>
            <a:off x="3584020" y="5784649"/>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3" name="Text Placeholder 2">
            <a:extLst>
              <a:ext uri="{FF2B5EF4-FFF2-40B4-BE49-F238E27FC236}">
                <a16:creationId xmlns:a16="http://schemas.microsoft.com/office/drawing/2014/main" id="{F8AF9899-FB87-ED49-9E23-5020DD293EB9}"/>
              </a:ext>
            </a:extLst>
          </p:cNvPr>
          <p:cNvSpPr>
            <a:spLocks noGrp="1"/>
          </p:cNvSpPr>
          <p:nvPr>
            <p:ph type="body" sz="quarter" idx="32" hasCustomPrompt="1"/>
          </p:nvPr>
        </p:nvSpPr>
        <p:spPr>
          <a:xfrm>
            <a:off x="4964178" y="5218009"/>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4" name="Text Placeholder 2">
            <a:extLst>
              <a:ext uri="{FF2B5EF4-FFF2-40B4-BE49-F238E27FC236}">
                <a16:creationId xmlns:a16="http://schemas.microsoft.com/office/drawing/2014/main" id="{966992D3-660F-D34B-B329-06477E828B9F}"/>
              </a:ext>
            </a:extLst>
          </p:cNvPr>
          <p:cNvSpPr>
            <a:spLocks noGrp="1"/>
          </p:cNvSpPr>
          <p:nvPr>
            <p:ph type="body" sz="quarter" idx="33" hasCustomPrompt="1"/>
          </p:nvPr>
        </p:nvSpPr>
        <p:spPr>
          <a:xfrm>
            <a:off x="6325192" y="4691210"/>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5" name="Text Placeholder 2">
            <a:extLst>
              <a:ext uri="{FF2B5EF4-FFF2-40B4-BE49-F238E27FC236}">
                <a16:creationId xmlns:a16="http://schemas.microsoft.com/office/drawing/2014/main" id="{3DEADA15-FE8A-8448-9BF7-564F62A7516C}"/>
              </a:ext>
            </a:extLst>
          </p:cNvPr>
          <p:cNvSpPr>
            <a:spLocks noGrp="1"/>
          </p:cNvSpPr>
          <p:nvPr>
            <p:ph type="body" sz="quarter" idx="34" hasCustomPrompt="1"/>
          </p:nvPr>
        </p:nvSpPr>
        <p:spPr>
          <a:xfrm>
            <a:off x="8260286" y="4127941"/>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6" name="Text Placeholder 2">
            <a:extLst>
              <a:ext uri="{FF2B5EF4-FFF2-40B4-BE49-F238E27FC236}">
                <a16:creationId xmlns:a16="http://schemas.microsoft.com/office/drawing/2014/main" id="{CAC7C2DB-0621-FC43-A111-46CD407362DB}"/>
              </a:ext>
            </a:extLst>
          </p:cNvPr>
          <p:cNvSpPr>
            <a:spLocks noGrp="1"/>
          </p:cNvSpPr>
          <p:nvPr>
            <p:ph type="body" sz="quarter" idx="35" hasCustomPrompt="1"/>
          </p:nvPr>
        </p:nvSpPr>
        <p:spPr>
          <a:xfrm>
            <a:off x="10160270" y="3600574"/>
            <a:ext cx="1444356" cy="26804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pic>
        <p:nvPicPr>
          <p:cNvPr id="117" name="Graphic 116">
            <a:extLst>
              <a:ext uri="{FF2B5EF4-FFF2-40B4-BE49-F238E27FC236}">
                <a16:creationId xmlns:a16="http://schemas.microsoft.com/office/drawing/2014/main" id="{A36427AB-B98B-4F4B-B3F5-49591A8239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128" y="2654388"/>
            <a:ext cx="12275128" cy="3322967"/>
          </a:xfrm>
          <a:prstGeom prst="rect">
            <a:avLst/>
          </a:prstGeom>
        </p:spPr>
      </p:pic>
      <p:sp>
        <p:nvSpPr>
          <p:cNvPr id="4" name="Footer Placeholder 3">
            <a:extLst>
              <a:ext uri="{FF2B5EF4-FFF2-40B4-BE49-F238E27FC236}">
                <a16:creationId xmlns:a16="http://schemas.microsoft.com/office/drawing/2014/main" id="{FFE9E8BE-EE15-F64F-BBCA-4134F9B92B72}"/>
              </a:ext>
            </a:extLst>
          </p:cNvPr>
          <p:cNvSpPr>
            <a:spLocks noGrp="1"/>
          </p:cNvSpPr>
          <p:nvPr>
            <p:ph type="ftr" sz="quarter" idx="36"/>
          </p:nvPr>
        </p:nvSpPr>
        <p:spPr/>
        <p:txBody>
          <a:bodyPr/>
          <a:lstStyle/>
          <a:p>
            <a:endParaRPr lang="en-GB"/>
          </a:p>
        </p:txBody>
      </p:sp>
      <p:sp>
        <p:nvSpPr>
          <p:cNvPr id="5" name="Slide Number Placeholder 4">
            <a:extLst>
              <a:ext uri="{FF2B5EF4-FFF2-40B4-BE49-F238E27FC236}">
                <a16:creationId xmlns:a16="http://schemas.microsoft.com/office/drawing/2014/main" id="{1FE95701-9CF4-514D-8C47-82A78236DDC2}"/>
              </a:ext>
            </a:extLst>
          </p:cNvPr>
          <p:cNvSpPr>
            <a:spLocks noGrp="1"/>
          </p:cNvSpPr>
          <p:nvPr>
            <p:ph type="sldNum" sz="quarter" idx="37"/>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24879116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Map unpopulated">
    <p:bg>
      <p:bgPr>
        <a:solidFill>
          <a:schemeClr val="bg1"/>
        </a:solidFill>
        <a:effectLst/>
      </p:bgPr>
    </p:bg>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grpSp>
        <p:nvGrpSpPr>
          <p:cNvPr id="26" name="Group 25">
            <a:extLst>
              <a:ext uri="{FF2B5EF4-FFF2-40B4-BE49-F238E27FC236}">
                <a16:creationId xmlns:a16="http://schemas.microsoft.com/office/drawing/2014/main" id="{0946F0FA-854F-DE49-83E2-73557212BE4E}"/>
              </a:ext>
            </a:extLst>
          </p:cNvPr>
          <p:cNvGrpSpPr/>
          <p:nvPr userDrawn="1"/>
        </p:nvGrpSpPr>
        <p:grpSpPr>
          <a:xfrm>
            <a:off x="3933121" y="1508729"/>
            <a:ext cx="7686147" cy="4542667"/>
            <a:chOff x="4118865" y="1346736"/>
            <a:chExt cx="7686147" cy="4542667"/>
          </a:xfrm>
        </p:grpSpPr>
        <p:sp>
          <p:nvSpPr>
            <p:cNvPr id="27" name="Freeform 26">
              <a:extLst>
                <a:ext uri="{FF2B5EF4-FFF2-40B4-BE49-F238E27FC236}">
                  <a16:creationId xmlns:a16="http://schemas.microsoft.com/office/drawing/2014/main" id="{91EED6C9-B42A-4B41-9541-EE3A9E31AA13}"/>
                </a:ext>
              </a:extLst>
            </p:cNvPr>
            <p:cNvSpPr>
              <a:spLocks/>
            </p:cNvSpPr>
            <p:nvPr userDrawn="1">
              <p:custDataLst>
                <p:tags r:id="rId1"/>
              </p:custDataLst>
            </p:nvPr>
          </p:nvSpPr>
          <p:spPr bwMode="auto">
            <a:xfrm>
              <a:off x="5446313" y="5826476"/>
              <a:ext cx="37332" cy="566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Freeform 25">
              <a:extLst>
                <a:ext uri="{FF2B5EF4-FFF2-40B4-BE49-F238E27FC236}">
                  <a16:creationId xmlns:a16="http://schemas.microsoft.com/office/drawing/2014/main" id="{8A3E54EA-EC6A-BA4B-A15B-29A9B4E3C10A}"/>
                </a:ext>
              </a:extLst>
            </p:cNvPr>
            <p:cNvSpPr>
              <a:spLocks/>
            </p:cNvSpPr>
            <p:nvPr userDrawn="1">
              <p:custDataLst>
                <p:tags r:id="rId2"/>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Freeform 105">
              <a:extLst>
                <a:ext uri="{FF2B5EF4-FFF2-40B4-BE49-F238E27FC236}">
                  <a16:creationId xmlns:a16="http://schemas.microsoft.com/office/drawing/2014/main" id="{55A455D0-674B-5E43-A621-6E0F6EFA0459}"/>
                </a:ext>
              </a:extLst>
            </p:cNvPr>
            <p:cNvSpPr>
              <a:spLocks/>
            </p:cNvSpPr>
            <p:nvPr userDrawn="1">
              <p:custDataLst>
                <p:tags r:id="rId3"/>
              </p:custDataLst>
            </p:nvPr>
          </p:nvSpPr>
          <p:spPr bwMode="auto">
            <a:xfrm>
              <a:off x="6219636" y="5801305"/>
              <a:ext cx="60444" cy="5820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Freeform 197">
              <a:extLst>
                <a:ext uri="{FF2B5EF4-FFF2-40B4-BE49-F238E27FC236}">
                  <a16:creationId xmlns:a16="http://schemas.microsoft.com/office/drawing/2014/main" id="{F1FD872B-2294-3643-819B-EBDDDEB8A4DB}"/>
                </a:ext>
              </a:extLst>
            </p:cNvPr>
            <p:cNvSpPr>
              <a:spLocks/>
            </p:cNvSpPr>
            <p:nvPr userDrawn="1">
              <p:custDataLst>
                <p:tags r:id="rId4"/>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Freeform 198">
              <a:extLst>
                <a:ext uri="{FF2B5EF4-FFF2-40B4-BE49-F238E27FC236}">
                  <a16:creationId xmlns:a16="http://schemas.microsoft.com/office/drawing/2014/main" id="{591BB3EA-5DE4-F54F-9FB3-77879C421DFA}"/>
                </a:ext>
              </a:extLst>
            </p:cNvPr>
            <p:cNvSpPr>
              <a:spLocks/>
            </p:cNvSpPr>
            <p:nvPr userDrawn="1">
              <p:custDataLst>
                <p:tags r:id="rId5"/>
              </p:custDataLst>
            </p:nvPr>
          </p:nvSpPr>
          <p:spPr bwMode="auto">
            <a:xfrm>
              <a:off x="5426757" y="5812319"/>
              <a:ext cx="39111" cy="5820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Freeform 199">
              <a:extLst>
                <a:ext uri="{FF2B5EF4-FFF2-40B4-BE49-F238E27FC236}">
                  <a16:creationId xmlns:a16="http://schemas.microsoft.com/office/drawing/2014/main" id="{AA1A2608-FA5B-C144-9EDE-F475734252E7}"/>
                </a:ext>
              </a:extLst>
            </p:cNvPr>
            <p:cNvSpPr>
              <a:spLocks/>
            </p:cNvSpPr>
            <p:nvPr userDrawn="1">
              <p:custDataLst>
                <p:tags r:id="rId6"/>
              </p:custDataLst>
            </p:nvPr>
          </p:nvSpPr>
          <p:spPr bwMode="auto">
            <a:xfrm>
              <a:off x="5426757" y="5791866"/>
              <a:ext cx="24889" cy="59782"/>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Freeform 200">
              <a:extLst>
                <a:ext uri="{FF2B5EF4-FFF2-40B4-BE49-F238E27FC236}">
                  <a16:creationId xmlns:a16="http://schemas.microsoft.com/office/drawing/2014/main" id="{4A0A5051-B20B-2D45-9FF0-853B7A66EE46}"/>
                </a:ext>
              </a:extLst>
            </p:cNvPr>
            <p:cNvSpPr>
              <a:spLocks/>
            </p:cNvSpPr>
            <p:nvPr userDrawn="1">
              <p:custDataLst>
                <p:tags r:id="rId7"/>
              </p:custDataLst>
            </p:nvPr>
          </p:nvSpPr>
          <p:spPr bwMode="auto">
            <a:xfrm>
              <a:off x="5392980" y="5785573"/>
              <a:ext cx="28444" cy="59782"/>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Freeform 201">
              <a:extLst>
                <a:ext uri="{FF2B5EF4-FFF2-40B4-BE49-F238E27FC236}">
                  <a16:creationId xmlns:a16="http://schemas.microsoft.com/office/drawing/2014/main" id="{1F4A1321-BAFB-6541-A4ED-E418C248D689}"/>
                </a:ext>
              </a:extLst>
            </p:cNvPr>
            <p:cNvSpPr>
              <a:spLocks/>
            </p:cNvSpPr>
            <p:nvPr userDrawn="1">
              <p:custDataLst>
                <p:tags r:id="rId8"/>
              </p:custDataLst>
            </p:nvPr>
          </p:nvSpPr>
          <p:spPr bwMode="auto">
            <a:xfrm>
              <a:off x="5364537" y="5776133"/>
              <a:ext cx="32000" cy="5820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Freeform 202">
              <a:extLst>
                <a:ext uri="{FF2B5EF4-FFF2-40B4-BE49-F238E27FC236}">
                  <a16:creationId xmlns:a16="http://schemas.microsoft.com/office/drawing/2014/main" id="{D97A6146-343B-764E-9F29-2C111DD26E1C}"/>
                </a:ext>
              </a:extLst>
            </p:cNvPr>
            <p:cNvSpPr>
              <a:spLocks/>
            </p:cNvSpPr>
            <p:nvPr userDrawn="1">
              <p:custDataLst>
                <p:tags r:id="rId9"/>
              </p:custDataLst>
            </p:nvPr>
          </p:nvSpPr>
          <p:spPr bwMode="auto">
            <a:xfrm>
              <a:off x="5337869" y="5763548"/>
              <a:ext cx="37333" cy="566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Freeform 203">
              <a:extLst>
                <a:ext uri="{FF2B5EF4-FFF2-40B4-BE49-F238E27FC236}">
                  <a16:creationId xmlns:a16="http://schemas.microsoft.com/office/drawing/2014/main" id="{D84A4751-6725-6A47-A886-1A960EBBF59A}"/>
                </a:ext>
              </a:extLst>
            </p:cNvPr>
            <p:cNvSpPr>
              <a:spLocks/>
            </p:cNvSpPr>
            <p:nvPr userDrawn="1">
              <p:custDataLst>
                <p:tags r:id="rId10"/>
              </p:custDataLst>
            </p:nvPr>
          </p:nvSpPr>
          <p:spPr bwMode="auto">
            <a:xfrm>
              <a:off x="5330759" y="5744670"/>
              <a:ext cx="33778" cy="566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Freeform 212">
              <a:extLst>
                <a:ext uri="{FF2B5EF4-FFF2-40B4-BE49-F238E27FC236}">
                  <a16:creationId xmlns:a16="http://schemas.microsoft.com/office/drawing/2014/main" id="{5A8D8BEC-84F4-8944-91C3-005A6ABA8D60}"/>
                </a:ext>
              </a:extLst>
            </p:cNvPr>
            <p:cNvSpPr>
              <a:spLocks/>
            </p:cNvSpPr>
            <p:nvPr userDrawn="1">
              <p:custDataLst>
                <p:tags r:id="rId11"/>
              </p:custDataLst>
            </p:nvPr>
          </p:nvSpPr>
          <p:spPr bwMode="auto">
            <a:xfrm>
              <a:off x="5318314" y="5736804"/>
              <a:ext cx="7111" cy="566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 name="Freeform 213">
              <a:extLst>
                <a:ext uri="{FF2B5EF4-FFF2-40B4-BE49-F238E27FC236}">
                  <a16:creationId xmlns:a16="http://schemas.microsoft.com/office/drawing/2014/main" id="{E7F11D9F-D97F-B547-BF1D-6D11CEDA50F8}"/>
                </a:ext>
              </a:extLst>
            </p:cNvPr>
            <p:cNvSpPr>
              <a:spLocks/>
            </p:cNvSpPr>
            <p:nvPr userDrawn="1">
              <p:custDataLst>
                <p:tags r:id="rId12"/>
              </p:custDataLst>
            </p:nvPr>
          </p:nvSpPr>
          <p:spPr bwMode="auto">
            <a:xfrm>
              <a:off x="5401869" y="5806024"/>
              <a:ext cx="39111" cy="566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Freeform 214">
              <a:extLst>
                <a:ext uri="{FF2B5EF4-FFF2-40B4-BE49-F238E27FC236}">
                  <a16:creationId xmlns:a16="http://schemas.microsoft.com/office/drawing/2014/main" id="{C126D11E-5102-584B-AC0A-E3EE3C388A60}"/>
                </a:ext>
              </a:extLst>
            </p:cNvPr>
            <p:cNvSpPr>
              <a:spLocks/>
            </p:cNvSpPr>
            <p:nvPr userDrawn="1">
              <p:custDataLst>
                <p:tags r:id="rId13"/>
              </p:custDataLst>
            </p:nvPr>
          </p:nvSpPr>
          <p:spPr bwMode="auto">
            <a:xfrm>
              <a:off x="5444535" y="5747817"/>
              <a:ext cx="138665" cy="9911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 name="Freeform 5">
              <a:extLst>
                <a:ext uri="{FF2B5EF4-FFF2-40B4-BE49-F238E27FC236}">
                  <a16:creationId xmlns:a16="http://schemas.microsoft.com/office/drawing/2014/main" id="{CF3F4837-8232-8942-A24D-4161BDE06037}"/>
                </a:ext>
              </a:extLst>
            </p:cNvPr>
            <p:cNvSpPr>
              <a:spLocks/>
            </p:cNvSpPr>
            <p:nvPr userDrawn="1">
              <p:custDataLst>
                <p:tags r:id="rId14"/>
              </p:custDataLst>
            </p:nvPr>
          </p:nvSpPr>
          <p:spPr bwMode="auto">
            <a:xfrm>
              <a:off x="4118865" y="1617364"/>
              <a:ext cx="803589" cy="40450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3" name="Group 438">
              <a:extLst>
                <a:ext uri="{FF2B5EF4-FFF2-40B4-BE49-F238E27FC236}">
                  <a16:creationId xmlns:a16="http://schemas.microsoft.com/office/drawing/2014/main" id="{B1EEE932-D28B-7D46-AD67-BC623C3FDA1A}"/>
                </a:ext>
              </a:extLst>
            </p:cNvPr>
            <p:cNvGrpSpPr>
              <a:grpSpLocks/>
            </p:cNvGrpSpPr>
            <p:nvPr userDrawn="1">
              <p:custDataLst>
                <p:tags r:id="rId15"/>
              </p:custDataLst>
            </p:nvPr>
          </p:nvGrpSpPr>
          <p:grpSpPr bwMode="auto">
            <a:xfrm>
              <a:off x="5812257" y="4225770"/>
              <a:ext cx="393661" cy="935686"/>
              <a:chOff x="1589" y="3126"/>
              <a:chExt cx="290" cy="657"/>
            </a:xfrm>
            <a:solidFill>
              <a:srgbClr val="DADADA"/>
            </a:solidFill>
          </p:grpSpPr>
          <p:sp>
            <p:nvSpPr>
              <p:cNvPr id="595" name="Freeform 439">
                <a:extLst>
                  <a:ext uri="{FF2B5EF4-FFF2-40B4-BE49-F238E27FC236}">
                    <a16:creationId xmlns:a16="http://schemas.microsoft.com/office/drawing/2014/main" id="{4E22C162-38E2-674A-8CE6-35259C794B65}"/>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6" name="Freeform 440">
                <a:extLst>
                  <a:ext uri="{FF2B5EF4-FFF2-40B4-BE49-F238E27FC236}">
                    <a16:creationId xmlns:a16="http://schemas.microsoft.com/office/drawing/2014/main" id="{ED43CD94-DD87-1340-B38A-A7599A7171E8}"/>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7" name="Freeform 441">
                <a:extLst>
                  <a:ext uri="{FF2B5EF4-FFF2-40B4-BE49-F238E27FC236}">
                    <a16:creationId xmlns:a16="http://schemas.microsoft.com/office/drawing/2014/main" id="{FEBC2EAA-A23C-334C-8448-0D62D1EE9F21}"/>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4" name="Freeform 6">
              <a:extLst>
                <a:ext uri="{FF2B5EF4-FFF2-40B4-BE49-F238E27FC236}">
                  <a16:creationId xmlns:a16="http://schemas.microsoft.com/office/drawing/2014/main" id="{E8A9940F-268E-6542-BAD8-2FAD9430097B}"/>
                </a:ext>
              </a:extLst>
            </p:cNvPr>
            <p:cNvSpPr>
              <a:spLocks/>
            </p:cNvSpPr>
            <p:nvPr userDrawn="1">
              <p:custDataLst>
                <p:tags r:id="rId16"/>
              </p:custDataLst>
            </p:nvPr>
          </p:nvSpPr>
          <p:spPr bwMode="auto">
            <a:xfrm>
              <a:off x="4590607" y="2175897"/>
              <a:ext cx="1415227" cy="698166"/>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Freeform 7">
              <a:extLst>
                <a:ext uri="{FF2B5EF4-FFF2-40B4-BE49-F238E27FC236}">
                  <a16:creationId xmlns:a16="http://schemas.microsoft.com/office/drawing/2014/main" id="{F9705AEF-81D8-954E-804A-6B4CA3AF5C2C}"/>
                </a:ext>
              </a:extLst>
            </p:cNvPr>
            <p:cNvSpPr>
              <a:spLocks/>
            </p:cNvSpPr>
            <p:nvPr userDrawn="1">
              <p:custDataLst>
                <p:tags r:id="rId17"/>
              </p:custDataLst>
            </p:nvPr>
          </p:nvSpPr>
          <p:spPr bwMode="auto">
            <a:xfrm>
              <a:off x="5444623" y="3582305"/>
              <a:ext cx="348114" cy="535501"/>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Freeform 8">
              <a:extLst>
                <a:ext uri="{FF2B5EF4-FFF2-40B4-BE49-F238E27FC236}">
                  <a16:creationId xmlns:a16="http://schemas.microsoft.com/office/drawing/2014/main" id="{34FEBA93-C136-C543-8FDA-F83C298321BF}"/>
                </a:ext>
              </a:extLst>
            </p:cNvPr>
            <p:cNvSpPr>
              <a:spLocks/>
            </p:cNvSpPr>
            <p:nvPr userDrawn="1">
              <p:custDataLst>
                <p:tags r:id="rId18"/>
              </p:custDataLst>
            </p:nvPr>
          </p:nvSpPr>
          <p:spPr bwMode="auto">
            <a:xfrm>
              <a:off x="5752069" y="4093332"/>
              <a:ext cx="268405" cy="102493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Freeform 9">
              <a:extLst>
                <a:ext uri="{FF2B5EF4-FFF2-40B4-BE49-F238E27FC236}">
                  <a16:creationId xmlns:a16="http://schemas.microsoft.com/office/drawing/2014/main" id="{C62826DE-C938-8C49-86B0-17198D5F4011}"/>
                </a:ext>
              </a:extLst>
            </p:cNvPr>
            <p:cNvSpPr>
              <a:spLocks/>
            </p:cNvSpPr>
            <p:nvPr userDrawn="1">
              <p:custDataLst>
                <p:tags r:id="rId19"/>
              </p:custDataLst>
            </p:nvPr>
          </p:nvSpPr>
          <p:spPr bwMode="auto">
            <a:xfrm>
              <a:off x="5654468" y="3442673"/>
              <a:ext cx="990659" cy="1091154"/>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Freeform 10">
              <a:extLst>
                <a:ext uri="{FF2B5EF4-FFF2-40B4-BE49-F238E27FC236}">
                  <a16:creationId xmlns:a16="http://schemas.microsoft.com/office/drawing/2014/main" id="{5DDC205A-D568-DB4C-9C24-F9A450CA3852}"/>
                </a:ext>
              </a:extLst>
            </p:cNvPr>
            <p:cNvSpPr>
              <a:spLocks/>
            </p:cNvSpPr>
            <p:nvPr userDrawn="1">
              <p:custDataLst>
                <p:tags r:id="rId20"/>
              </p:custDataLst>
            </p:nvPr>
          </p:nvSpPr>
          <p:spPr bwMode="auto">
            <a:xfrm>
              <a:off x="7819601" y="2486834"/>
              <a:ext cx="71574" cy="44625"/>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Freeform 11">
              <a:extLst>
                <a:ext uri="{FF2B5EF4-FFF2-40B4-BE49-F238E27FC236}">
                  <a16:creationId xmlns:a16="http://schemas.microsoft.com/office/drawing/2014/main" id="{DDC0884E-D683-064F-9CEF-B5DA29AF2895}"/>
                </a:ext>
              </a:extLst>
            </p:cNvPr>
            <p:cNvSpPr>
              <a:spLocks/>
            </p:cNvSpPr>
            <p:nvPr userDrawn="1">
              <p:custDataLst>
                <p:tags r:id="rId21"/>
              </p:custDataLst>
            </p:nvPr>
          </p:nvSpPr>
          <p:spPr bwMode="auto">
            <a:xfrm>
              <a:off x="7305564" y="2373112"/>
              <a:ext cx="84588" cy="14539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Freeform 12">
              <a:extLst>
                <a:ext uri="{FF2B5EF4-FFF2-40B4-BE49-F238E27FC236}">
                  <a16:creationId xmlns:a16="http://schemas.microsoft.com/office/drawing/2014/main" id="{D380981C-A3CD-D44B-929F-F48E11265739}"/>
                </a:ext>
              </a:extLst>
            </p:cNvPr>
            <p:cNvSpPr>
              <a:spLocks/>
            </p:cNvSpPr>
            <p:nvPr userDrawn="1">
              <p:custDataLst>
                <p:tags r:id="rId22"/>
              </p:custDataLst>
            </p:nvPr>
          </p:nvSpPr>
          <p:spPr bwMode="auto">
            <a:xfrm>
              <a:off x="7388528" y="1916065"/>
              <a:ext cx="175684" cy="244718"/>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 name="Freeform 13">
              <a:extLst>
                <a:ext uri="{FF2B5EF4-FFF2-40B4-BE49-F238E27FC236}">
                  <a16:creationId xmlns:a16="http://schemas.microsoft.com/office/drawing/2014/main" id="{43B8DFBF-C55C-6A4A-8426-F932254B6BBA}"/>
                </a:ext>
              </a:extLst>
            </p:cNvPr>
            <p:cNvSpPr>
              <a:spLocks/>
            </p:cNvSpPr>
            <p:nvPr userDrawn="1">
              <p:custDataLst>
                <p:tags r:id="rId23"/>
              </p:custDataLst>
            </p:nvPr>
          </p:nvSpPr>
          <p:spPr bwMode="auto">
            <a:xfrm>
              <a:off x="7756160" y="2181654"/>
              <a:ext cx="174056" cy="6909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 name="Freeform 14">
              <a:extLst>
                <a:ext uri="{FF2B5EF4-FFF2-40B4-BE49-F238E27FC236}">
                  <a16:creationId xmlns:a16="http://schemas.microsoft.com/office/drawing/2014/main" id="{30E6D6DE-4088-124C-81C7-1752E2932B11}"/>
                </a:ext>
              </a:extLst>
            </p:cNvPr>
            <p:cNvSpPr>
              <a:spLocks/>
            </p:cNvSpPr>
            <p:nvPr userDrawn="1">
              <p:custDataLst>
                <p:tags r:id="rId24"/>
              </p:custDataLst>
            </p:nvPr>
          </p:nvSpPr>
          <p:spPr bwMode="auto">
            <a:xfrm>
              <a:off x="9285256" y="2044902"/>
              <a:ext cx="1312745" cy="941443"/>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 name="Freeform 15">
              <a:extLst>
                <a:ext uri="{FF2B5EF4-FFF2-40B4-BE49-F238E27FC236}">
                  <a16:creationId xmlns:a16="http://schemas.microsoft.com/office/drawing/2014/main" id="{22C06802-06AF-404B-B721-47769D0BDD0F}"/>
                </a:ext>
              </a:extLst>
            </p:cNvPr>
            <p:cNvSpPr>
              <a:spLocks/>
            </p:cNvSpPr>
            <p:nvPr userDrawn="1">
              <p:custDataLst>
                <p:tags r:id="rId25"/>
              </p:custDataLst>
            </p:nvPr>
          </p:nvSpPr>
          <p:spPr bwMode="auto">
            <a:xfrm>
              <a:off x="7944858" y="1628881"/>
              <a:ext cx="226110" cy="247597"/>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Freeform 16">
              <a:extLst>
                <a:ext uri="{FF2B5EF4-FFF2-40B4-BE49-F238E27FC236}">
                  <a16:creationId xmlns:a16="http://schemas.microsoft.com/office/drawing/2014/main" id="{48BF2451-474B-DB40-BC6D-999C7EC7A402}"/>
                </a:ext>
              </a:extLst>
            </p:cNvPr>
            <p:cNvSpPr>
              <a:spLocks/>
            </p:cNvSpPr>
            <p:nvPr userDrawn="1">
              <p:custDataLst>
                <p:tags r:id="rId26"/>
              </p:custDataLst>
            </p:nvPr>
          </p:nvSpPr>
          <p:spPr bwMode="auto">
            <a:xfrm>
              <a:off x="7675002" y="2012512"/>
              <a:ext cx="187069" cy="21592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 name="Freeform 17">
              <a:extLst>
                <a:ext uri="{FF2B5EF4-FFF2-40B4-BE49-F238E27FC236}">
                  <a16:creationId xmlns:a16="http://schemas.microsoft.com/office/drawing/2014/main" id="{DB16A8A8-23EE-B848-89AF-D1A07DCB606F}"/>
                </a:ext>
              </a:extLst>
            </p:cNvPr>
            <p:cNvSpPr>
              <a:spLocks/>
            </p:cNvSpPr>
            <p:nvPr userDrawn="1">
              <p:custDataLst>
                <p:tags r:id="rId27"/>
              </p:custDataLst>
            </p:nvPr>
          </p:nvSpPr>
          <p:spPr bwMode="auto">
            <a:xfrm>
              <a:off x="7700854" y="2240676"/>
              <a:ext cx="257018" cy="249036"/>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 name="Freeform 18">
              <a:extLst>
                <a:ext uri="{FF2B5EF4-FFF2-40B4-BE49-F238E27FC236}">
                  <a16:creationId xmlns:a16="http://schemas.microsoft.com/office/drawing/2014/main" id="{A6E6C1F1-3C36-224E-A82B-C7D8FB6FFB60}"/>
                </a:ext>
              </a:extLst>
            </p:cNvPr>
            <p:cNvSpPr>
              <a:spLocks/>
            </p:cNvSpPr>
            <p:nvPr userDrawn="1">
              <p:custDataLst>
                <p:tags r:id="rId28"/>
              </p:custDataLst>
            </p:nvPr>
          </p:nvSpPr>
          <p:spPr bwMode="auto">
            <a:xfrm>
              <a:off x="7718746" y="2393264"/>
              <a:ext cx="34161" cy="74855"/>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57" name="Group 19">
              <a:extLst>
                <a:ext uri="{FF2B5EF4-FFF2-40B4-BE49-F238E27FC236}">
                  <a16:creationId xmlns:a16="http://schemas.microsoft.com/office/drawing/2014/main" id="{7465772D-F428-F84F-9226-97B6754FD990}"/>
                </a:ext>
              </a:extLst>
            </p:cNvPr>
            <p:cNvGrpSpPr>
              <a:grpSpLocks/>
            </p:cNvGrpSpPr>
            <p:nvPr userDrawn="1">
              <p:custDataLst>
                <p:tags r:id="rId29"/>
              </p:custDataLst>
            </p:nvPr>
          </p:nvGrpSpPr>
          <p:grpSpPr bwMode="auto">
            <a:xfrm>
              <a:off x="10095353" y="3354862"/>
              <a:ext cx="484756" cy="192895"/>
              <a:chOff x="4488" y="2394"/>
              <a:chExt cx="358" cy="124"/>
            </a:xfrm>
            <a:solidFill>
              <a:srgbClr val="DADADA"/>
            </a:solidFill>
          </p:grpSpPr>
          <p:sp>
            <p:nvSpPr>
              <p:cNvPr id="593" name="Freeform 20">
                <a:extLst>
                  <a:ext uri="{FF2B5EF4-FFF2-40B4-BE49-F238E27FC236}">
                    <a16:creationId xmlns:a16="http://schemas.microsoft.com/office/drawing/2014/main" id="{E2C3DCEE-BEA7-DA40-A760-FA4285BD78A7}"/>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4" name="Freeform 21">
                <a:extLst>
                  <a:ext uri="{FF2B5EF4-FFF2-40B4-BE49-F238E27FC236}">
                    <a16:creationId xmlns:a16="http://schemas.microsoft.com/office/drawing/2014/main" id="{2AB4C31E-8E78-B644-99F7-F2F0B6386682}"/>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58" name="Freeform 22">
              <a:extLst>
                <a:ext uri="{FF2B5EF4-FFF2-40B4-BE49-F238E27FC236}">
                  <a16:creationId xmlns:a16="http://schemas.microsoft.com/office/drawing/2014/main" id="{4AB1A08E-B947-9D45-80AD-8BF42D41CF39}"/>
                </a:ext>
              </a:extLst>
            </p:cNvPr>
            <p:cNvSpPr>
              <a:spLocks/>
            </p:cNvSpPr>
            <p:nvPr userDrawn="1">
              <p:custDataLst>
                <p:tags r:id="rId30"/>
              </p:custDataLst>
            </p:nvPr>
          </p:nvSpPr>
          <p:spPr bwMode="auto">
            <a:xfrm>
              <a:off x="8068486" y="1428789"/>
              <a:ext cx="3141153" cy="97455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Freeform 23">
              <a:extLst>
                <a:ext uri="{FF2B5EF4-FFF2-40B4-BE49-F238E27FC236}">
                  <a16:creationId xmlns:a16="http://schemas.microsoft.com/office/drawing/2014/main" id="{FFBBBA35-068D-B049-ABE3-075AD9539D4D}"/>
                </a:ext>
              </a:extLst>
            </p:cNvPr>
            <p:cNvSpPr>
              <a:spLocks/>
            </p:cNvSpPr>
            <p:nvPr userDrawn="1">
              <p:custDataLst>
                <p:tags r:id="rId31"/>
              </p:custDataLst>
            </p:nvPr>
          </p:nvSpPr>
          <p:spPr bwMode="auto">
            <a:xfrm>
              <a:off x="7313700" y="2324167"/>
              <a:ext cx="287925" cy="224565"/>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 name="Freeform 24">
              <a:extLst>
                <a:ext uri="{FF2B5EF4-FFF2-40B4-BE49-F238E27FC236}">
                  <a16:creationId xmlns:a16="http://schemas.microsoft.com/office/drawing/2014/main" id="{F29A2861-A1BD-464A-926A-5671B1DEAAC8}"/>
                </a:ext>
              </a:extLst>
            </p:cNvPr>
            <p:cNvSpPr>
              <a:spLocks/>
            </p:cNvSpPr>
            <p:nvPr userDrawn="1">
              <p:custDataLst>
                <p:tags r:id="rId32"/>
              </p:custDataLst>
            </p:nvPr>
          </p:nvSpPr>
          <p:spPr bwMode="auto">
            <a:xfrm>
              <a:off x="10010764" y="2993543"/>
              <a:ext cx="213097" cy="413141"/>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 name="Line 26" descr="Horizontal dunkel">
              <a:extLst>
                <a:ext uri="{FF2B5EF4-FFF2-40B4-BE49-F238E27FC236}">
                  <a16:creationId xmlns:a16="http://schemas.microsoft.com/office/drawing/2014/main" id="{87F558F1-101A-754E-A880-D358284BEEAE}"/>
                </a:ext>
              </a:extLst>
            </p:cNvPr>
            <p:cNvSpPr>
              <a:spLocks noChangeShapeType="1"/>
            </p:cNvSpPr>
            <p:nvPr userDrawn="1">
              <p:custDataLst>
                <p:tags r:id="rId33"/>
              </p:custDataLst>
            </p:nvPr>
          </p:nvSpPr>
          <p:spPr bwMode="auto">
            <a:xfrm>
              <a:off x="4447459" y="2367353"/>
              <a:ext cx="3254" cy="8637"/>
            </a:xfrm>
            <a:prstGeom prst="line">
              <a:avLst/>
            </a:prstGeom>
            <a:no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Freeform 27">
              <a:extLst>
                <a:ext uri="{FF2B5EF4-FFF2-40B4-BE49-F238E27FC236}">
                  <a16:creationId xmlns:a16="http://schemas.microsoft.com/office/drawing/2014/main" id="{DAD5189B-C5B8-8241-AF9A-35AB323F5995}"/>
                </a:ext>
              </a:extLst>
            </p:cNvPr>
            <p:cNvSpPr>
              <a:spLocks/>
            </p:cNvSpPr>
            <p:nvPr userDrawn="1">
              <p:custDataLst>
                <p:tags r:id="rId34"/>
              </p:custDataLst>
            </p:nvPr>
          </p:nvSpPr>
          <p:spPr bwMode="auto">
            <a:xfrm>
              <a:off x="4450711" y="2364474"/>
              <a:ext cx="3254" cy="50383"/>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 name="Freeform 28">
              <a:extLst>
                <a:ext uri="{FF2B5EF4-FFF2-40B4-BE49-F238E27FC236}">
                  <a16:creationId xmlns:a16="http://schemas.microsoft.com/office/drawing/2014/main" id="{10803402-A50A-D24A-8415-F74135BF91EE}"/>
                </a:ext>
              </a:extLst>
            </p:cNvPr>
            <p:cNvSpPr>
              <a:spLocks/>
            </p:cNvSpPr>
            <p:nvPr userDrawn="1">
              <p:custDataLst>
                <p:tags r:id="rId35"/>
              </p:custDataLst>
            </p:nvPr>
          </p:nvSpPr>
          <p:spPr bwMode="auto">
            <a:xfrm>
              <a:off x="4426310" y="2413418"/>
              <a:ext cx="24401" cy="51823"/>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 name="Freeform 29">
              <a:extLst>
                <a:ext uri="{FF2B5EF4-FFF2-40B4-BE49-F238E27FC236}">
                  <a16:creationId xmlns:a16="http://schemas.microsoft.com/office/drawing/2014/main" id="{1A6AD196-9F9B-814B-8481-07A52F275E7C}"/>
                </a:ext>
              </a:extLst>
            </p:cNvPr>
            <p:cNvSpPr>
              <a:spLocks/>
            </p:cNvSpPr>
            <p:nvPr userDrawn="1">
              <p:custDataLst>
                <p:tags r:id="rId36"/>
              </p:custDataLst>
            </p:nvPr>
          </p:nvSpPr>
          <p:spPr bwMode="auto">
            <a:xfrm>
              <a:off x="5784602" y="2409099"/>
              <a:ext cx="50427" cy="51823"/>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 name="Freeform 30">
              <a:extLst>
                <a:ext uri="{FF2B5EF4-FFF2-40B4-BE49-F238E27FC236}">
                  <a16:creationId xmlns:a16="http://schemas.microsoft.com/office/drawing/2014/main" id="{C2A4E529-A3C6-9D47-A5CF-9DBAE8A27D00}"/>
                </a:ext>
              </a:extLst>
            </p:cNvPr>
            <p:cNvSpPr>
              <a:spLocks/>
            </p:cNvSpPr>
            <p:nvPr userDrawn="1">
              <p:custDataLst>
                <p:tags r:id="rId37"/>
              </p:custDataLst>
            </p:nvPr>
          </p:nvSpPr>
          <p:spPr bwMode="auto">
            <a:xfrm>
              <a:off x="8590657" y="2007475"/>
              <a:ext cx="896311" cy="410262"/>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 name="Freeform 31">
              <a:extLst>
                <a:ext uri="{FF2B5EF4-FFF2-40B4-BE49-F238E27FC236}">
                  <a16:creationId xmlns:a16="http://schemas.microsoft.com/office/drawing/2014/main" id="{49DBD8D3-69AE-AC40-8DFA-8995E7BDCF1C}"/>
                </a:ext>
              </a:extLst>
            </p:cNvPr>
            <p:cNvSpPr>
              <a:spLocks/>
            </p:cNvSpPr>
            <p:nvPr userDrawn="1">
              <p:custDataLst>
                <p:tags r:id="rId38"/>
              </p:custDataLst>
            </p:nvPr>
          </p:nvSpPr>
          <p:spPr bwMode="auto">
            <a:xfrm>
              <a:off x="8826528" y="2282421"/>
              <a:ext cx="419688" cy="22600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 name="Freeform 32">
              <a:extLst>
                <a:ext uri="{FF2B5EF4-FFF2-40B4-BE49-F238E27FC236}">
                  <a16:creationId xmlns:a16="http://schemas.microsoft.com/office/drawing/2014/main" id="{1F34DFB8-458D-8F4C-89DB-8D75AFC19B5C}"/>
                </a:ext>
              </a:extLst>
            </p:cNvPr>
            <p:cNvSpPr>
              <a:spLocks/>
            </p:cNvSpPr>
            <p:nvPr userDrawn="1">
              <p:custDataLst>
                <p:tags r:id="rId39"/>
              </p:custDataLst>
            </p:nvPr>
          </p:nvSpPr>
          <p:spPr bwMode="auto">
            <a:xfrm>
              <a:off x="7604878" y="3192196"/>
              <a:ext cx="304193" cy="261992"/>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 name="Freeform 33">
              <a:extLst>
                <a:ext uri="{FF2B5EF4-FFF2-40B4-BE49-F238E27FC236}">
                  <a16:creationId xmlns:a16="http://schemas.microsoft.com/office/drawing/2014/main" id="{526C4F69-7090-8748-AC17-F463A3C0897C}"/>
                </a:ext>
              </a:extLst>
            </p:cNvPr>
            <p:cNvSpPr>
              <a:spLocks/>
            </p:cNvSpPr>
            <p:nvPr userDrawn="1">
              <p:custDataLst>
                <p:tags r:id="rId40"/>
              </p:custDataLst>
            </p:nvPr>
          </p:nvSpPr>
          <p:spPr bwMode="auto">
            <a:xfrm>
              <a:off x="8468654" y="3069837"/>
              <a:ext cx="156163" cy="15402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 name="Freeform 34">
              <a:extLst>
                <a:ext uri="{FF2B5EF4-FFF2-40B4-BE49-F238E27FC236}">
                  <a16:creationId xmlns:a16="http://schemas.microsoft.com/office/drawing/2014/main" id="{33B086D9-2C93-804C-A790-48DC2FE4DC2E}"/>
                </a:ext>
              </a:extLst>
            </p:cNvPr>
            <p:cNvSpPr>
              <a:spLocks/>
            </p:cNvSpPr>
            <p:nvPr userDrawn="1">
              <p:custDataLst>
                <p:tags r:id="rId41"/>
              </p:custDataLst>
            </p:nvPr>
          </p:nvSpPr>
          <p:spPr bwMode="auto">
            <a:xfrm>
              <a:off x="7917204" y="2167260"/>
              <a:ext cx="128509" cy="51823"/>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 name="Freeform 35">
              <a:extLst>
                <a:ext uri="{FF2B5EF4-FFF2-40B4-BE49-F238E27FC236}">
                  <a16:creationId xmlns:a16="http://schemas.microsoft.com/office/drawing/2014/main" id="{5DBAA909-C0FE-9A40-8EEF-F2B3CA9E876A}"/>
                </a:ext>
              </a:extLst>
            </p:cNvPr>
            <p:cNvSpPr>
              <a:spLocks/>
            </p:cNvSpPr>
            <p:nvPr userDrawn="1">
              <p:custDataLst>
                <p:tags r:id="rId42"/>
              </p:custDataLst>
            </p:nvPr>
          </p:nvSpPr>
          <p:spPr bwMode="auto">
            <a:xfrm>
              <a:off x="8802126" y="2820800"/>
              <a:ext cx="19520" cy="51823"/>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 name="Freeform 36">
              <a:extLst>
                <a:ext uri="{FF2B5EF4-FFF2-40B4-BE49-F238E27FC236}">
                  <a16:creationId xmlns:a16="http://schemas.microsoft.com/office/drawing/2014/main" id="{294DD296-3B87-8E43-A55E-A679EE53B054}"/>
                </a:ext>
              </a:extLst>
            </p:cNvPr>
            <p:cNvSpPr>
              <a:spLocks/>
            </p:cNvSpPr>
            <p:nvPr userDrawn="1">
              <p:custDataLst>
                <p:tags r:id="rId43"/>
              </p:custDataLst>
            </p:nvPr>
          </p:nvSpPr>
          <p:spPr bwMode="auto">
            <a:xfrm>
              <a:off x="8924131" y="2825119"/>
              <a:ext cx="14640" cy="51823"/>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 name="Freeform 37">
              <a:extLst>
                <a:ext uri="{FF2B5EF4-FFF2-40B4-BE49-F238E27FC236}">
                  <a16:creationId xmlns:a16="http://schemas.microsoft.com/office/drawing/2014/main" id="{F252B278-75E9-E54E-97AE-EBF05CDC2598}"/>
                </a:ext>
              </a:extLst>
            </p:cNvPr>
            <p:cNvSpPr>
              <a:spLocks/>
            </p:cNvSpPr>
            <p:nvPr userDrawn="1">
              <p:custDataLst>
                <p:tags r:id="rId44"/>
              </p:custDataLst>
            </p:nvPr>
          </p:nvSpPr>
          <p:spPr bwMode="auto">
            <a:xfrm>
              <a:off x="10448345" y="3423958"/>
              <a:ext cx="45547" cy="51823"/>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3" name="Group 38">
              <a:extLst>
                <a:ext uri="{FF2B5EF4-FFF2-40B4-BE49-F238E27FC236}">
                  <a16:creationId xmlns:a16="http://schemas.microsoft.com/office/drawing/2014/main" id="{2DBA41A6-F1FA-6A45-A5B2-8AE2FFB71EB3}"/>
                </a:ext>
              </a:extLst>
            </p:cNvPr>
            <p:cNvGrpSpPr>
              <a:grpSpLocks/>
            </p:cNvGrpSpPr>
            <p:nvPr userDrawn="1">
              <p:custDataLst>
                <p:tags r:id="rId45"/>
              </p:custDataLst>
            </p:nvPr>
          </p:nvGrpSpPr>
          <p:grpSpPr bwMode="auto">
            <a:xfrm>
              <a:off x="6197785" y="5063568"/>
              <a:ext cx="66694" cy="50383"/>
              <a:chOff x="1654" y="3671"/>
              <a:chExt cx="49" cy="17"/>
            </a:xfrm>
            <a:solidFill>
              <a:srgbClr val="DADADA"/>
            </a:solidFill>
          </p:grpSpPr>
          <p:sp>
            <p:nvSpPr>
              <p:cNvPr id="591" name="Freeform 39">
                <a:extLst>
                  <a:ext uri="{FF2B5EF4-FFF2-40B4-BE49-F238E27FC236}">
                    <a16:creationId xmlns:a16="http://schemas.microsoft.com/office/drawing/2014/main" id="{6C070F00-CAE8-244D-A9D6-8783A94BAFE8}"/>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2" name="Freeform 40">
                <a:extLst>
                  <a:ext uri="{FF2B5EF4-FFF2-40B4-BE49-F238E27FC236}">
                    <a16:creationId xmlns:a16="http://schemas.microsoft.com/office/drawing/2014/main" id="{854B3BF1-5726-CE42-B0E2-D31D6590C687}"/>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4" name="Freeform 41">
              <a:extLst>
                <a:ext uri="{FF2B5EF4-FFF2-40B4-BE49-F238E27FC236}">
                  <a16:creationId xmlns:a16="http://schemas.microsoft.com/office/drawing/2014/main" id="{FF61A0D5-1F4F-E746-B45F-2DE0C9F95A71}"/>
                </a:ext>
              </a:extLst>
            </p:cNvPr>
            <p:cNvSpPr>
              <a:spLocks/>
            </p:cNvSpPr>
            <p:nvPr userDrawn="1">
              <p:custDataLst>
                <p:tags r:id="rId46"/>
              </p:custDataLst>
            </p:nvPr>
          </p:nvSpPr>
          <p:spPr bwMode="auto">
            <a:xfrm>
              <a:off x="5836657" y="3064080"/>
              <a:ext cx="32534" cy="5326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 name="Freeform 42">
              <a:extLst>
                <a:ext uri="{FF2B5EF4-FFF2-40B4-BE49-F238E27FC236}">
                  <a16:creationId xmlns:a16="http://schemas.microsoft.com/office/drawing/2014/main" id="{E7DED503-1BAF-8F44-946B-C9D68F3C9CA4}"/>
                </a:ext>
              </a:extLst>
            </p:cNvPr>
            <p:cNvSpPr>
              <a:spLocks/>
            </p:cNvSpPr>
            <p:nvPr userDrawn="1">
              <p:custDataLst>
                <p:tags r:id="rId47"/>
              </p:custDataLst>
            </p:nvPr>
          </p:nvSpPr>
          <p:spPr bwMode="auto">
            <a:xfrm>
              <a:off x="5893591" y="3069838"/>
              <a:ext cx="1627" cy="5326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 name="Freeform 43">
              <a:extLst>
                <a:ext uri="{FF2B5EF4-FFF2-40B4-BE49-F238E27FC236}">
                  <a16:creationId xmlns:a16="http://schemas.microsoft.com/office/drawing/2014/main" id="{6F24C4E9-C436-2E45-AAD0-517CB1A33CD4}"/>
                </a:ext>
              </a:extLst>
            </p:cNvPr>
            <p:cNvSpPr>
              <a:spLocks/>
            </p:cNvSpPr>
            <p:nvPr userDrawn="1">
              <p:custDataLst>
                <p:tags r:id="rId48"/>
              </p:custDataLst>
            </p:nvPr>
          </p:nvSpPr>
          <p:spPr bwMode="auto">
            <a:xfrm>
              <a:off x="5906605" y="3071277"/>
              <a:ext cx="6507" cy="5326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44">
              <a:extLst>
                <a:ext uri="{FF2B5EF4-FFF2-40B4-BE49-F238E27FC236}">
                  <a16:creationId xmlns:a16="http://schemas.microsoft.com/office/drawing/2014/main" id="{BCCA787C-DD89-EE49-BD69-F570D7D53582}"/>
                </a:ext>
              </a:extLst>
            </p:cNvPr>
            <p:cNvSpPr>
              <a:spLocks/>
            </p:cNvSpPr>
            <p:nvPr userDrawn="1">
              <p:custDataLst>
                <p:tags r:id="rId49"/>
              </p:custDataLst>
            </p:nvPr>
          </p:nvSpPr>
          <p:spPr bwMode="auto">
            <a:xfrm>
              <a:off x="5921246" y="3062640"/>
              <a:ext cx="8133" cy="51823"/>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 name="Freeform 45">
              <a:extLst>
                <a:ext uri="{FF2B5EF4-FFF2-40B4-BE49-F238E27FC236}">
                  <a16:creationId xmlns:a16="http://schemas.microsoft.com/office/drawing/2014/main" id="{6922BA4F-7191-AE48-B46F-BEE6AEDF8889}"/>
                </a:ext>
              </a:extLst>
            </p:cNvPr>
            <p:cNvSpPr>
              <a:spLocks/>
            </p:cNvSpPr>
            <p:nvPr userDrawn="1">
              <p:custDataLst>
                <p:tags r:id="rId50"/>
              </p:custDataLst>
            </p:nvPr>
          </p:nvSpPr>
          <p:spPr bwMode="auto">
            <a:xfrm>
              <a:off x="5900099" y="3055443"/>
              <a:ext cx="11388" cy="5326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 name="Freeform 46">
              <a:extLst>
                <a:ext uri="{FF2B5EF4-FFF2-40B4-BE49-F238E27FC236}">
                  <a16:creationId xmlns:a16="http://schemas.microsoft.com/office/drawing/2014/main" id="{A5DEAFBF-C99F-BD4D-9CE8-E2B5CEF1A6BE}"/>
                </a:ext>
              </a:extLst>
            </p:cNvPr>
            <p:cNvSpPr>
              <a:spLocks/>
            </p:cNvSpPr>
            <p:nvPr userDrawn="1">
              <p:custDataLst>
                <p:tags r:id="rId51"/>
              </p:custDataLst>
            </p:nvPr>
          </p:nvSpPr>
          <p:spPr bwMode="auto">
            <a:xfrm>
              <a:off x="5950527" y="3081355"/>
              <a:ext cx="14640" cy="54702"/>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 name="Line 47">
              <a:extLst>
                <a:ext uri="{FF2B5EF4-FFF2-40B4-BE49-F238E27FC236}">
                  <a16:creationId xmlns:a16="http://schemas.microsoft.com/office/drawing/2014/main" id="{58DFE0E1-1D5B-0040-AEB5-840FBA1F0F0A}"/>
                </a:ext>
              </a:extLst>
            </p:cNvPr>
            <p:cNvSpPr>
              <a:spLocks noChangeShapeType="1"/>
            </p:cNvSpPr>
            <p:nvPr userDrawn="1">
              <p:custDataLst>
                <p:tags r:id="rId52"/>
              </p:custDataLst>
            </p:nvPr>
          </p:nvSpPr>
          <p:spPr bwMode="auto">
            <a:xfrm flipH="1" flipV="1">
              <a:off x="5958659" y="3078475"/>
              <a:ext cx="6507" cy="86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 name="Line 48">
              <a:extLst>
                <a:ext uri="{FF2B5EF4-FFF2-40B4-BE49-F238E27FC236}">
                  <a16:creationId xmlns:a16="http://schemas.microsoft.com/office/drawing/2014/main" id="{6C781665-5764-A342-8700-F546016E4F7F}"/>
                </a:ext>
              </a:extLst>
            </p:cNvPr>
            <p:cNvSpPr>
              <a:spLocks noChangeShapeType="1"/>
            </p:cNvSpPr>
            <p:nvPr userDrawn="1">
              <p:custDataLst>
                <p:tags r:id="rId53"/>
              </p:custDataLst>
            </p:nvPr>
          </p:nvSpPr>
          <p:spPr bwMode="auto">
            <a:xfrm flipH="1">
              <a:off x="5958659" y="3101506"/>
              <a:ext cx="6507" cy="100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 name="Freeform 49">
              <a:extLst>
                <a:ext uri="{FF2B5EF4-FFF2-40B4-BE49-F238E27FC236}">
                  <a16:creationId xmlns:a16="http://schemas.microsoft.com/office/drawing/2014/main" id="{778D4E78-3414-7A44-96E3-E24E390DED83}"/>
                </a:ext>
              </a:extLst>
            </p:cNvPr>
            <p:cNvSpPr>
              <a:spLocks/>
            </p:cNvSpPr>
            <p:nvPr userDrawn="1">
              <p:custDataLst>
                <p:tags r:id="rId54"/>
              </p:custDataLst>
            </p:nvPr>
          </p:nvSpPr>
          <p:spPr bwMode="auto">
            <a:xfrm>
              <a:off x="5958660" y="3097188"/>
              <a:ext cx="11388" cy="5326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 name="Freeform 50">
              <a:extLst>
                <a:ext uri="{FF2B5EF4-FFF2-40B4-BE49-F238E27FC236}">
                  <a16:creationId xmlns:a16="http://schemas.microsoft.com/office/drawing/2014/main" id="{540AEFEE-BDAD-2B41-8611-485691EE838A}"/>
                </a:ext>
              </a:extLst>
            </p:cNvPr>
            <p:cNvSpPr>
              <a:spLocks/>
            </p:cNvSpPr>
            <p:nvPr userDrawn="1">
              <p:custDataLst>
                <p:tags r:id="rId55"/>
              </p:custDataLst>
            </p:nvPr>
          </p:nvSpPr>
          <p:spPr bwMode="auto">
            <a:xfrm>
              <a:off x="5965167" y="3123099"/>
              <a:ext cx="17894" cy="5038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 name="Freeform 51">
              <a:extLst>
                <a:ext uri="{FF2B5EF4-FFF2-40B4-BE49-F238E27FC236}">
                  <a16:creationId xmlns:a16="http://schemas.microsoft.com/office/drawing/2014/main" id="{6CB2E263-0BC5-FC41-A866-6BBF5C7A842E}"/>
                </a:ext>
              </a:extLst>
            </p:cNvPr>
            <p:cNvSpPr>
              <a:spLocks/>
            </p:cNvSpPr>
            <p:nvPr userDrawn="1">
              <p:custDataLst>
                <p:tags r:id="rId56"/>
              </p:custDataLst>
            </p:nvPr>
          </p:nvSpPr>
          <p:spPr bwMode="auto">
            <a:xfrm>
              <a:off x="5971674" y="3166284"/>
              <a:ext cx="16267" cy="51823"/>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 name="Freeform 52">
              <a:extLst>
                <a:ext uri="{FF2B5EF4-FFF2-40B4-BE49-F238E27FC236}">
                  <a16:creationId xmlns:a16="http://schemas.microsoft.com/office/drawing/2014/main" id="{258E1CC0-EEEA-2E4D-A12B-E6885912F61A}"/>
                </a:ext>
              </a:extLst>
            </p:cNvPr>
            <p:cNvSpPr>
              <a:spLocks/>
            </p:cNvSpPr>
            <p:nvPr userDrawn="1">
              <p:custDataLst>
                <p:tags r:id="rId57"/>
              </p:custDataLst>
            </p:nvPr>
          </p:nvSpPr>
          <p:spPr bwMode="auto">
            <a:xfrm>
              <a:off x="5981433" y="3189317"/>
              <a:ext cx="3254" cy="51823"/>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 name="Freeform 53">
              <a:extLst>
                <a:ext uri="{FF2B5EF4-FFF2-40B4-BE49-F238E27FC236}">
                  <a16:creationId xmlns:a16="http://schemas.microsoft.com/office/drawing/2014/main" id="{55213A4F-F192-944D-994E-F02EF4C75872}"/>
                </a:ext>
              </a:extLst>
            </p:cNvPr>
            <p:cNvSpPr>
              <a:spLocks/>
            </p:cNvSpPr>
            <p:nvPr userDrawn="1">
              <p:custDataLst>
                <p:tags r:id="rId58"/>
              </p:custDataLst>
            </p:nvPr>
          </p:nvSpPr>
          <p:spPr bwMode="auto">
            <a:xfrm>
              <a:off x="6004207" y="3216669"/>
              <a:ext cx="1627" cy="50383"/>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 name="Freeform 54">
              <a:extLst>
                <a:ext uri="{FF2B5EF4-FFF2-40B4-BE49-F238E27FC236}">
                  <a16:creationId xmlns:a16="http://schemas.microsoft.com/office/drawing/2014/main" id="{CC750AE3-AD7B-FF4B-BBDA-C819FB445AF7}"/>
                </a:ext>
              </a:extLst>
            </p:cNvPr>
            <p:cNvSpPr>
              <a:spLocks/>
            </p:cNvSpPr>
            <p:nvPr userDrawn="1">
              <p:custDataLst>
                <p:tags r:id="rId59"/>
              </p:custDataLst>
            </p:nvPr>
          </p:nvSpPr>
          <p:spPr bwMode="auto">
            <a:xfrm>
              <a:off x="5965167" y="3228184"/>
              <a:ext cx="16267" cy="5326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 name="Freeform 55">
              <a:extLst>
                <a:ext uri="{FF2B5EF4-FFF2-40B4-BE49-F238E27FC236}">
                  <a16:creationId xmlns:a16="http://schemas.microsoft.com/office/drawing/2014/main" id="{2392937B-6053-7D4E-9B03-9BD7556B53D1}"/>
                </a:ext>
              </a:extLst>
            </p:cNvPr>
            <p:cNvSpPr>
              <a:spLocks/>
            </p:cNvSpPr>
            <p:nvPr userDrawn="1">
              <p:custDataLst>
                <p:tags r:id="rId60"/>
              </p:custDataLst>
            </p:nvPr>
          </p:nvSpPr>
          <p:spPr bwMode="auto">
            <a:xfrm>
              <a:off x="5950526" y="3287204"/>
              <a:ext cx="24400" cy="51823"/>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 name="Freeform 56">
              <a:extLst>
                <a:ext uri="{FF2B5EF4-FFF2-40B4-BE49-F238E27FC236}">
                  <a16:creationId xmlns:a16="http://schemas.microsoft.com/office/drawing/2014/main" id="{BAC8748C-BDA8-C640-BCA8-E4C75DF4F8FB}"/>
                </a:ext>
              </a:extLst>
            </p:cNvPr>
            <p:cNvSpPr>
              <a:spLocks/>
            </p:cNvSpPr>
            <p:nvPr userDrawn="1">
              <p:custDataLst>
                <p:tags r:id="rId61"/>
              </p:custDataLst>
            </p:nvPr>
          </p:nvSpPr>
          <p:spPr bwMode="auto">
            <a:xfrm>
              <a:off x="5970047" y="3265612"/>
              <a:ext cx="13014" cy="51823"/>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 name="Freeform 57">
              <a:extLst>
                <a:ext uri="{FF2B5EF4-FFF2-40B4-BE49-F238E27FC236}">
                  <a16:creationId xmlns:a16="http://schemas.microsoft.com/office/drawing/2014/main" id="{949BB9D2-4FE5-C943-AE31-44A0597B77AA}"/>
                </a:ext>
              </a:extLst>
            </p:cNvPr>
            <p:cNvSpPr>
              <a:spLocks/>
            </p:cNvSpPr>
            <p:nvPr userDrawn="1">
              <p:custDataLst>
                <p:tags r:id="rId62"/>
              </p:custDataLst>
            </p:nvPr>
          </p:nvSpPr>
          <p:spPr bwMode="auto">
            <a:xfrm>
              <a:off x="5439743" y="2967631"/>
              <a:ext cx="16267" cy="51823"/>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1" name="Group 58">
              <a:extLst>
                <a:ext uri="{FF2B5EF4-FFF2-40B4-BE49-F238E27FC236}">
                  <a16:creationId xmlns:a16="http://schemas.microsoft.com/office/drawing/2014/main" id="{F466DB90-B300-9D4A-868A-BA7A590A1BB9}"/>
                </a:ext>
              </a:extLst>
            </p:cNvPr>
            <p:cNvGrpSpPr>
              <a:grpSpLocks/>
            </p:cNvGrpSpPr>
            <p:nvPr userDrawn="1">
              <p:custDataLst>
                <p:tags r:id="rId63"/>
              </p:custDataLst>
            </p:nvPr>
          </p:nvGrpSpPr>
          <p:grpSpPr bwMode="auto">
            <a:xfrm>
              <a:off x="5568253" y="2816482"/>
              <a:ext cx="135016" cy="177061"/>
              <a:chOff x="1199" y="2121"/>
              <a:chExt cx="97" cy="123"/>
            </a:xfrm>
            <a:solidFill>
              <a:srgbClr val="DADADA"/>
            </a:solidFill>
          </p:grpSpPr>
          <p:sp>
            <p:nvSpPr>
              <p:cNvPr id="581" name="Freeform 59">
                <a:extLst>
                  <a:ext uri="{FF2B5EF4-FFF2-40B4-BE49-F238E27FC236}">
                    <a16:creationId xmlns:a16="http://schemas.microsoft.com/office/drawing/2014/main" id="{51C7039B-A3E7-D64E-AD39-176F9604D38E}"/>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2" name="Freeform 60">
                <a:extLst>
                  <a:ext uri="{FF2B5EF4-FFF2-40B4-BE49-F238E27FC236}">
                    <a16:creationId xmlns:a16="http://schemas.microsoft.com/office/drawing/2014/main" id="{5C9E1C87-85AB-FF4F-9FB1-DEEB1A46E078}"/>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3" name="Freeform 61">
                <a:extLst>
                  <a:ext uri="{FF2B5EF4-FFF2-40B4-BE49-F238E27FC236}">
                    <a16:creationId xmlns:a16="http://schemas.microsoft.com/office/drawing/2014/main" id="{3FDC13AD-0B65-1040-8560-6CEFAE46E4ED}"/>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4" name="Freeform 62">
                <a:extLst>
                  <a:ext uri="{FF2B5EF4-FFF2-40B4-BE49-F238E27FC236}">
                    <a16:creationId xmlns:a16="http://schemas.microsoft.com/office/drawing/2014/main" id="{6B699510-8AB4-2145-ABF7-38FA471DE1BE}"/>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5" name="Freeform 63">
                <a:extLst>
                  <a:ext uri="{FF2B5EF4-FFF2-40B4-BE49-F238E27FC236}">
                    <a16:creationId xmlns:a16="http://schemas.microsoft.com/office/drawing/2014/main" id="{A84F284B-7B31-844A-BA9A-A09DD42C8054}"/>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6" name="Freeform 64">
                <a:extLst>
                  <a:ext uri="{FF2B5EF4-FFF2-40B4-BE49-F238E27FC236}">
                    <a16:creationId xmlns:a16="http://schemas.microsoft.com/office/drawing/2014/main" id="{5480B412-1C68-BE4D-8009-E6561656AA88}"/>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7" name="Freeform 65">
                <a:extLst>
                  <a:ext uri="{FF2B5EF4-FFF2-40B4-BE49-F238E27FC236}">
                    <a16:creationId xmlns:a16="http://schemas.microsoft.com/office/drawing/2014/main" id="{C93E70B5-E8D5-E04E-8B9D-787D099EE9C7}"/>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8" name="Freeform 66">
                <a:extLst>
                  <a:ext uri="{FF2B5EF4-FFF2-40B4-BE49-F238E27FC236}">
                    <a16:creationId xmlns:a16="http://schemas.microsoft.com/office/drawing/2014/main" id="{5F4522F0-5BE1-7B4E-9AE9-8FBE53918450}"/>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9" name="Freeform 67">
                <a:extLst>
                  <a:ext uri="{FF2B5EF4-FFF2-40B4-BE49-F238E27FC236}">
                    <a16:creationId xmlns:a16="http://schemas.microsoft.com/office/drawing/2014/main" id="{37819EE3-C39A-DD49-B237-F1948B14E1FE}"/>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0" name="Freeform 68">
                <a:extLst>
                  <a:ext uri="{FF2B5EF4-FFF2-40B4-BE49-F238E27FC236}">
                    <a16:creationId xmlns:a16="http://schemas.microsoft.com/office/drawing/2014/main" id="{24B31491-FAD4-4A41-8855-2034160D5B05}"/>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2" name="Freeform 69">
              <a:extLst>
                <a:ext uri="{FF2B5EF4-FFF2-40B4-BE49-F238E27FC236}">
                  <a16:creationId xmlns:a16="http://schemas.microsoft.com/office/drawing/2014/main" id="{78230E83-FD9F-4A4D-8F75-2126745FBAE3}"/>
                </a:ext>
              </a:extLst>
            </p:cNvPr>
            <p:cNvSpPr>
              <a:spLocks/>
            </p:cNvSpPr>
            <p:nvPr userDrawn="1">
              <p:custDataLst>
                <p:tags r:id="rId64"/>
              </p:custDataLst>
            </p:nvPr>
          </p:nvSpPr>
          <p:spPr bwMode="auto">
            <a:xfrm>
              <a:off x="11525219" y="4110607"/>
              <a:ext cx="13014" cy="51823"/>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 name="Freeform 70">
              <a:extLst>
                <a:ext uri="{FF2B5EF4-FFF2-40B4-BE49-F238E27FC236}">
                  <a16:creationId xmlns:a16="http://schemas.microsoft.com/office/drawing/2014/main" id="{7CA654A9-0421-244E-BF7F-824F4866630C}"/>
                </a:ext>
              </a:extLst>
            </p:cNvPr>
            <p:cNvSpPr>
              <a:spLocks/>
            </p:cNvSpPr>
            <p:nvPr userDrawn="1">
              <p:custDataLst>
                <p:tags r:id="rId65"/>
              </p:custDataLst>
            </p:nvPr>
          </p:nvSpPr>
          <p:spPr bwMode="auto">
            <a:xfrm>
              <a:off x="11534981" y="4192662"/>
              <a:ext cx="9761" cy="5326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 name="Freeform 71">
              <a:extLst>
                <a:ext uri="{FF2B5EF4-FFF2-40B4-BE49-F238E27FC236}">
                  <a16:creationId xmlns:a16="http://schemas.microsoft.com/office/drawing/2014/main" id="{BD81F3AF-4D4C-9344-9228-A478196344F2}"/>
                </a:ext>
              </a:extLst>
            </p:cNvPr>
            <p:cNvSpPr>
              <a:spLocks/>
            </p:cNvSpPr>
            <p:nvPr userDrawn="1">
              <p:custDataLst>
                <p:tags r:id="rId66"/>
              </p:custDataLst>
            </p:nvPr>
          </p:nvSpPr>
          <p:spPr bwMode="auto">
            <a:xfrm>
              <a:off x="11652101" y="4110608"/>
              <a:ext cx="79709" cy="118041"/>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 name="Freeform 72">
              <a:extLst>
                <a:ext uri="{FF2B5EF4-FFF2-40B4-BE49-F238E27FC236}">
                  <a16:creationId xmlns:a16="http://schemas.microsoft.com/office/drawing/2014/main" id="{D3B80293-2FD2-1C47-83CE-9B4269AB2A9E}"/>
                </a:ext>
              </a:extLst>
            </p:cNvPr>
            <p:cNvSpPr>
              <a:spLocks/>
            </p:cNvSpPr>
            <p:nvPr userDrawn="1">
              <p:custDataLst>
                <p:tags r:id="rId67"/>
              </p:custDataLst>
            </p:nvPr>
          </p:nvSpPr>
          <p:spPr bwMode="auto">
            <a:xfrm>
              <a:off x="11652101" y="4086137"/>
              <a:ext cx="14640" cy="51823"/>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8" name="Group 73">
              <a:extLst>
                <a:ext uri="{FF2B5EF4-FFF2-40B4-BE49-F238E27FC236}">
                  <a16:creationId xmlns:a16="http://schemas.microsoft.com/office/drawing/2014/main" id="{89276D6B-E2F0-784C-B998-1E841B84876D}"/>
                </a:ext>
              </a:extLst>
            </p:cNvPr>
            <p:cNvGrpSpPr>
              <a:grpSpLocks/>
            </p:cNvGrpSpPr>
            <p:nvPr userDrawn="1">
              <p:custDataLst>
                <p:tags r:id="rId68"/>
              </p:custDataLst>
            </p:nvPr>
          </p:nvGrpSpPr>
          <p:grpSpPr bwMode="auto">
            <a:xfrm>
              <a:off x="11334897" y="4558298"/>
              <a:ext cx="470115" cy="367077"/>
              <a:chOff x="5372" y="3323"/>
              <a:chExt cx="341" cy="253"/>
            </a:xfrm>
            <a:solidFill>
              <a:srgbClr val="DADADA"/>
            </a:solidFill>
          </p:grpSpPr>
          <p:sp>
            <p:nvSpPr>
              <p:cNvPr id="578" name="Freeform 74">
                <a:extLst>
                  <a:ext uri="{FF2B5EF4-FFF2-40B4-BE49-F238E27FC236}">
                    <a16:creationId xmlns:a16="http://schemas.microsoft.com/office/drawing/2014/main" id="{30891E16-4B1E-DE4F-A929-63EAB9FCD301}"/>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9" name="Freeform 75">
                <a:extLst>
                  <a:ext uri="{FF2B5EF4-FFF2-40B4-BE49-F238E27FC236}">
                    <a16:creationId xmlns:a16="http://schemas.microsoft.com/office/drawing/2014/main" id="{2CD37E5D-320B-7B4D-9304-FD3C9C79BE9C}"/>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0" name="Freeform 76">
                <a:extLst>
                  <a:ext uri="{FF2B5EF4-FFF2-40B4-BE49-F238E27FC236}">
                    <a16:creationId xmlns:a16="http://schemas.microsoft.com/office/drawing/2014/main" id="{C3F4F108-8777-2D45-AC3F-EF82DD70486D}"/>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9" name="Freeform 77">
              <a:extLst>
                <a:ext uri="{FF2B5EF4-FFF2-40B4-BE49-F238E27FC236}">
                  <a16:creationId xmlns:a16="http://schemas.microsoft.com/office/drawing/2014/main" id="{554232A8-6E21-7847-AB3F-0ED0383778D0}"/>
                </a:ext>
              </a:extLst>
            </p:cNvPr>
            <p:cNvSpPr>
              <a:spLocks/>
            </p:cNvSpPr>
            <p:nvPr userDrawn="1">
              <p:custDataLst>
                <p:tags r:id="rId69"/>
              </p:custDataLst>
            </p:nvPr>
          </p:nvSpPr>
          <p:spPr bwMode="auto">
            <a:xfrm>
              <a:off x="10968890" y="3340467"/>
              <a:ext cx="9761" cy="51823"/>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Freeform 78">
              <a:extLst>
                <a:ext uri="{FF2B5EF4-FFF2-40B4-BE49-F238E27FC236}">
                  <a16:creationId xmlns:a16="http://schemas.microsoft.com/office/drawing/2014/main" id="{79F401DA-7C26-2E4C-8012-534501D10DC3}"/>
                </a:ext>
              </a:extLst>
            </p:cNvPr>
            <p:cNvSpPr>
              <a:spLocks/>
            </p:cNvSpPr>
            <p:nvPr userDrawn="1">
              <p:custDataLst>
                <p:tags r:id="rId70"/>
              </p:custDataLst>
            </p:nvPr>
          </p:nvSpPr>
          <p:spPr bwMode="auto">
            <a:xfrm>
              <a:off x="11713916" y="4158112"/>
              <a:ext cx="14640" cy="51823"/>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Freeform 79">
              <a:extLst>
                <a:ext uri="{FF2B5EF4-FFF2-40B4-BE49-F238E27FC236}">
                  <a16:creationId xmlns:a16="http://schemas.microsoft.com/office/drawing/2014/main" id="{A12AF347-48A1-A449-A5DC-D4D2064A0136}"/>
                </a:ext>
              </a:extLst>
            </p:cNvPr>
            <p:cNvSpPr>
              <a:spLocks/>
            </p:cNvSpPr>
            <p:nvPr userDrawn="1">
              <p:custDataLst>
                <p:tags r:id="rId71"/>
              </p:custDataLst>
            </p:nvPr>
          </p:nvSpPr>
          <p:spPr bwMode="auto">
            <a:xfrm>
              <a:off x="11736690" y="4166750"/>
              <a:ext cx="17894" cy="5326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Freeform 80">
              <a:extLst>
                <a:ext uri="{FF2B5EF4-FFF2-40B4-BE49-F238E27FC236}">
                  <a16:creationId xmlns:a16="http://schemas.microsoft.com/office/drawing/2014/main" id="{7C66D3CC-B1C6-D143-8E04-D42089EF0667}"/>
                </a:ext>
              </a:extLst>
            </p:cNvPr>
            <p:cNvSpPr>
              <a:spLocks/>
            </p:cNvSpPr>
            <p:nvPr userDrawn="1">
              <p:custDataLst>
                <p:tags r:id="rId72"/>
              </p:custDataLst>
            </p:nvPr>
          </p:nvSpPr>
          <p:spPr bwMode="auto">
            <a:xfrm>
              <a:off x="11033956" y="3330390"/>
              <a:ext cx="1627" cy="5038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Freeform 81">
              <a:extLst>
                <a:ext uri="{FF2B5EF4-FFF2-40B4-BE49-F238E27FC236}">
                  <a16:creationId xmlns:a16="http://schemas.microsoft.com/office/drawing/2014/main" id="{850A8CB9-4CB2-7647-BE51-647A55EAF12D}"/>
                </a:ext>
              </a:extLst>
            </p:cNvPr>
            <p:cNvSpPr>
              <a:spLocks/>
            </p:cNvSpPr>
            <p:nvPr userDrawn="1">
              <p:custDataLst>
                <p:tags r:id="rId73"/>
              </p:custDataLst>
            </p:nvPr>
          </p:nvSpPr>
          <p:spPr bwMode="auto">
            <a:xfrm>
              <a:off x="11094144" y="3280006"/>
              <a:ext cx="6507" cy="51823"/>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Freeform 82">
              <a:extLst>
                <a:ext uri="{FF2B5EF4-FFF2-40B4-BE49-F238E27FC236}">
                  <a16:creationId xmlns:a16="http://schemas.microsoft.com/office/drawing/2014/main" id="{D7DBB974-5B18-8543-B1A2-ABC012ACF4E9}"/>
                </a:ext>
              </a:extLst>
            </p:cNvPr>
            <p:cNvSpPr>
              <a:spLocks/>
            </p:cNvSpPr>
            <p:nvPr userDrawn="1">
              <p:custDataLst>
                <p:tags r:id="rId74"/>
              </p:custDataLst>
            </p:nvPr>
          </p:nvSpPr>
          <p:spPr bwMode="auto">
            <a:xfrm>
              <a:off x="11209641" y="3179240"/>
              <a:ext cx="4881" cy="51823"/>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Freeform 83">
              <a:extLst>
                <a:ext uri="{FF2B5EF4-FFF2-40B4-BE49-F238E27FC236}">
                  <a16:creationId xmlns:a16="http://schemas.microsoft.com/office/drawing/2014/main" id="{AB975813-CE30-EE43-89E2-909297FBD87B}"/>
                </a:ext>
              </a:extLst>
            </p:cNvPr>
            <p:cNvSpPr>
              <a:spLocks/>
            </p:cNvSpPr>
            <p:nvPr userDrawn="1">
              <p:custDataLst>
                <p:tags r:id="rId75"/>
              </p:custDataLst>
            </p:nvPr>
          </p:nvSpPr>
          <p:spPr bwMode="auto">
            <a:xfrm>
              <a:off x="11365803" y="3812629"/>
              <a:ext cx="27654" cy="5326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6" name="Freeform 84">
              <a:extLst>
                <a:ext uri="{FF2B5EF4-FFF2-40B4-BE49-F238E27FC236}">
                  <a16:creationId xmlns:a16="http://schemas.microsoft.com/office/drawing/2014/main" id="{3485CDE8-C22D-0C4B-9DEB-E338AB76ACF2}"/>
                </a:ext>
              </a:extLst>
            </p:cNvPr>
            <p:cNvSpPr>
              <a:spLocks/>
            </p:cNvSpPr>
            <p:nvPr userDrawn="1">
              <p:custDataLst>
                <p:tags r:id="rId76"/>
              </p:custDataLst>
            </p:nvPr>
          </p:nvSpPr>
          <p:spPr bwMode="auto">
            <a:xfrm>
              <a:off x="11430870" y="3825583"/>
              <a:ext cx="13014" cy="51823"/>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Freeform 85">
              <a:extLst>
                <a:ext uri="{FF2B5EF4-FFF2-40B4-BE49-F238E27FC236}">
                  <a16:creationId xmlns:a16="http://schemas.microsoft.com/office/drawing/2014/main" id="{F4CEB88B-7EC8-3B42-8311-84379E06A99D}"/>
                </a:ext>
              </a:extLst>
            </p:cNvPr>
            <p:cNvSpPr>
              <a:spLocks/>
            </p:cNvSpPr>
            <p:nvPr userDrawn="1">
              <p:custDataLst>
                <p:tags r:id="rId77"/>
              </p:custDataLst>
            </p:nvPr>
          </p:nvSpPr>
          <p:spPr bwMode="auto">
            <a:xfrm>
              <a:off x="11284468" y="3622612"/>
              <a:ext cx="26027" cy="50383"/>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8" name="Freeform 86">
              <a:extLst>
                <a:ext uri="{FF2B5EF4-FFF2-40B4-BE49-F238E27FC236}">
                  <a16:creationId xmlns:a16="http://schemas.microsoft.com/office/drawing/2014/main" id="{07286757-D28C-8C48-8A42-5EFC4D9FDB0E}"/>
                </a:ext>
              </a:extLst>
            </p:cNvPr>
            <p:cNvSpPr>
              <a:spLocks/>
            </p:cNvSpPr>
            <p:nvPr userDrawn="1">
              <p:custDataLst>
                <p:tags r:id="rId78"/>
              </p:custDataLst>
            </p:nvPr>
          </p:nvSpPr>
          <p:spPr bwMode="auto">
            <a:xfrm>
              <a:off x="11225908" y="3599579"/>
              <a:ext cx="11388" cy="51823"/>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9" name="Freeform 87">
              <a:extLst>
                <a:ext uri="{FF2B5EF4-FFF2-40B4-BE49-F238E27FC236}">
                  <a16:creationId xmlns:a16="http://schemas.microsoft.com/office/drawing/2014/main" id="{6F2B7564-0A59-C145-8F62-6D9EB10F7622}"/>
                </a:ext>
              </a:extLst>
            </p:cNvPr>
            <p:cNvSpPr>
              <a:spLocks/>
            </p:cNvSpPr>
            <p:nvPr userDrawn="1">
              <p:custDataLst>
                <p:tags r:id="rId79"/>
              </p:custDataLst>
            </p:nvPr>
          </p:nvSpPr>
          <p:spPr bwMode="auto">
            <a:xfrm>
              <a:off x="11430870" y="3900438"/>
              <a:ext cx="32534" cy="51823"/>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0" name="Freeform 88">
              <a:extLst>
                <a:ext uri="{FF2B5EF4-FFF2-40B4-BE49-F238E27FC236}">
                  <a16:creationId xmlns:a16="http://schemas.microsoft.com/office/drawing/2014/main" id="{A24CD3C9-7AC9-F044-9ADC-6620B23CEDB6}"/>
                </a:ext>
              </a:extLst>
            </p:cNvPr>
            <p:cNvSpPr>
              <a:spLocks/>
            </p:cNvSpPr>
            <p:nvPr userDrawn="1">
              <p:custDataLst>
                <p:tags r:id="rId80"/>
              </p:custDataLst>
            </p:nvPr>
          </p:nvSpPr>
          <p:spPr bwMode="auto">
            <a:xfrm>
              <a:off x="11385324" y="3890362"/>
              <a:ext cx="22774" cy="51823"/>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1" name="Line 89">
              <a:extLst>
                <a:ext uri="{FF2B5EF4-FFF2-40B4-BE49-F238E27FC236}">
                  <a16:creationId xmlns:a16="http://schemas.microsoft.com/office/drawing/2014/main" id="{71989BCC-27AF-F646-8357-4F02F80AD778}"/>
                </a:ext>
              </a:extLst>
            </p:cNvPr>
            <p:cNvSpPr>
              <a:spLocks noChangeShapeType="1"/>
            </p:cNvSpPr>
            <p:nvPr userDrawn="1">
              <p:custDataLst>
                <p:tags r:id="rId81"/>
              </p:custDataLst>
            </p:nvPr>
          </p:nvSpPr>
          <p:spPr bwMode="auto">
            <a:xfrm>
              <a:off x="11419486" y="3877406"/>
              <a:ext cx="21146" cy="575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Freeform 90">
              <a:extLst>
                <a:ext uri="{FF2B5EF4-FFF2-40B4-BE49-F238E27FC236}">
                  <a16:creationId xmlns:a16="http://schemas.microsoft.com/office/drawing/2014/main" id="{00B1F5BE-2DEC-1E4B-B167-A7C1384B1F97}"/>
                </a:ext>
              </a:extLst>
            </p:cNvPr>
            <p:cNvSpPr>
              <a:spLocks/>
            </p:cNvSpPr>
            <p:nvPr userDrawn="1">
              <p:custDataLst>
                <p:tags r:id="rId82"/>
              </p:custDataLst>
            </p:nvPr>
          </p:nvSpPr>
          <p:spPr bwMode="auto">
            <a:xfrm>
              <a:off x="11440631" y="3883164"/>
              <a:ext cx="1627" cy="51823"/>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3" name="Freeform 91">
              <a:extLst>
                <a:ext uri="{FF2B5EF4-FFF2-40B4-BE49-F238E27FC236}">
                  <a16:creationId xmlns:a16="http://schemas.microsoft.com/office/drawing/2014/main" id="{BE7D6175-19C4-1644-98D5-07FAC91C431C}"/>
                </a:ext>
              </a:extLst>
            </p:cNvPr>
            <p:cNvSpPr>
              <a:spLocks/>
            </p:cNvSpPr>
            <p:nvPr userDrawn="1">
              <p:custDataLst>
                <p:tags r:id="rId83"/>
              </p:custDataLst>
            </p:nvPr>
          </p:nvSpPr>
          <p:spPr bwMode="auto">
            <a:xfrm>
              <a:off x="11393458" y="3877406"/>
              <a:ext cx="14640" cy="5326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4" name="Freeform 92">
              <a:extLst>
                <a:ext uri="{FF2B5EF4-FFF2-40B4-BE49-F238E27FC236}">
                  <a16:creationId xmlns:a16="http://schemas.microsoft.com/office/drawing/2014/main" id="{81C20E97-3F37-3741-8388-8E59740A0539}"/>
                </a:ext>
              </a:extLst>
            </p:cNvPr>
            <p:cNvSpPr>
              <a:spLocks/>
            </p:cNvSpPr>
            <p:nvPr userDrawn="1">
              <p:custDataLst>
                <p:tags r:id="rId84"/>
              </p:custDataLst>
            </p:nvPr>
          </p:nvSpPr>
          <p:spPr bwMode="auto">
            <a:xfrm>
              <a:off x="11386950" y="3860133"/>
              <a:ext cx="6507" cy="54702"/>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Freeform 93">
              <a:extLst>
                <a:ext uri="{FF2B5EF4-FFF2-40B4-BE49-F238E27FC236}">
                  <a16:creationId xmlns:a16="http://schemas.microsoft.com/office/drawing/2014/main" id="{42DD15A5-C3C1-1A4A-8CF1-66A9A62C7433}"/>
                </a:ext>
              </a:extLst>
            </p:cNvPr>
            <p:cNvSpPr>
              <a:spLocks/>
            </p:cNvSpPr>
            <p:nvPr userDrawn="1">
              <p:custDataLst>
                <p:tags r:id="rId85"/>
              </p:custDataLst>
            </p:nvPr>
          </p:nvSpPr>
          <p:spPr bwMode="auto">
            <a:xfrm>
              <a:off x="11469911" y="3612534"/>
              <a:ext cx="1627" cy="51823"/>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36" name="Group 94">
              <a:extLst>
                <a:ext uri="{FF2B5EF4-FFF2-40B4-BE49-F238E27FC236}">
                  <a16:creationId xmlns:a16="http://schemas.microsoft.com/office/drawing/2014/main" id="{50F8C932-7585-0145-AC8C-AF1B0F3B3570}"/>
                </a:ext>
              </a:extLst>
            </p:cNvPr>
            <p:cNvGrpSpPr>
              <a:grpSpLocks/>
            </p:cNvGrpSpPr>
            <p:nvPr userDrawn="1">
              <p:custDataLst>
                <p:tags r:id="rId86"/>
              </p:custDataLst>
            </p:nvPr>
          </p:nvGrpSpPr>
          <p:grpSpPr bwMode="auto">
            <a:xfrm>
              <a:off x="11341402" y="3314555"/>
              <a:ext cx="167549" cy="103645"/>
              <a:chOff x="5379" y="2466"/>
              <a:chExt cx="122" cy="71"/>
            </a:xfrm>
            <a:solidFill>
              <a:srgbClr val="DADADA"/>
            </a:solidFill>
          </p:grpSpPr>
          <p:sp>
            <p:nvSpPr>
              <p:cNvPr id="569" name="Freeform 95">
                <a:extLst>
                  <a:ext uri="{FF2B5EF4-FFF2-40B4-BE49-F238E27FC236}">
                    <a16:creationId xmlns:a16="http://schemas.microsoft.com/office/drawing/2014/main" id="{88A60716-7CE7-8345-AA09-98F8D4D8B135}"/>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0" name="Freeform 96">
                <a:extLst>
                  <a:ext uri="{FF2B5EF4-FFF2-40B4-BE49-F238E27FC236}">
                    <a16:creationId xmlns:a16="http://schemas.microsoft.com/office/drawing/2014/main" id="{4A8DB8D0-7F32-764D-8B86-A958160A5219}"/>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1" name="Freeform 97">
                <a:extLst>
                  <a:ext uri="{FF2B5EF4-FFF2-40B4-BE49-F238E27FC236}">
                    <a16:creationId xmlns:a16="http://schemas.microsoft.com/office/drawing/2014/main" id="{7A00D4FE-EC5F-5643-AFFC-C25E3E593019}"/>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2" name="Freeform 98">
                <a:extLst>
                  <a:ext uri="{FF2B5EF4-FFF2-40B4-BE49-F238E27FC236}">
                    <a16:creationId xmlns:a16="http://schemas.microsoft.com/office/drawing/2014/main" id="{F4B080D5-8D9E-6341-90DE-142A52B9D95A}"/>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3" name="Freeform 99">
                <a:extLst>
                  <a:ext uri="{FF2B5EF4-FFF2-40B4-BE49-F238E27FC236}">
                    <a16:creationId xmlns:a16="http://schemas.microsoft.com/office/drawing/2014/main" id="{F66897B2-4CFB-2D4F-A5A7-DF3C7A5869DA}"/>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4" name="Line 100">
                <a:extLst>
                  <a:ext uri="{FF2B5EF4-FFF2-40B4-BE49-F238E27FC236}">
                    <a16:creationId xmlns:a16="http://schemas.microsoft.com/office/drawing/2014/main" id="{3F3BED4C-BEC0-E54D-8E43-538CA5FC08B9}"/>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5" name="Freeform 101">
                <a:extLst>
                  <a:ext uri="{FF2B5EF4-FFF2-40B4-BE49-F238E27FC236}">
                    <a16:creationId xmlns:a16="http://schemas.microsoft.com/office/drawing/2014/main" id="{589CEBF4-94BC-E24B-808D-3681F01A6514}"/>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6" name="Line 102">
                <a:extLst>
                  <a:ext uri="{FF2B5EF4-FFF2-40B4-BE49-F238E27FC236}">
                    <a16:creationId xmlns:a16="http://schemas.microsoft.com/office/drawing/2014/main" id="{2CA390D0-08E5-834A-8560-C635473A7649}"/>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7" name="Freeform 103">
                <a:extLst>
                  <a:ext uri="{FF2B5EF4-FFF2-40B4-BE49-F238E27FC236}">
                    <a16:creationId xmlns:a16="http://schemas.microsoft.com/office/drawing/2014/main" id="{F42D4CF3-6043-F34A-ACB9-4CC99C141EA9}"/>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37" name="Freeform 104">
              <a:extLst>
                <a:ext uri="{FF2B5EF4-FFF2-40B4-BE49-F238E27FC236}">
                  <a16:creationId xmlns:a16="http://schemas.microsoft.com/office/drawing/2014/main" id="{12521F98-F30D-384E-A84C-ED6974EC156E}"/>
                </a:ext>
              </a:extLst>
            </p:cNvPr>
            <p:cNvSpPr>
              <a:spLocks/>
            </p:cNvSpPr>
            <p:nvPr userDrawn="1">
              <p:custDataLst>
                <p:tags r:id="rId87"/>
              </p:custDataLst>
            </p:nvPr>
          </p:nvSpPr>
          <p:spPr bwMode="auto">
            <a:xfrm>
              <a:off x="9890388" y="3189317"/>
              <a:ext cx="6507" cy="51823"/>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8" name="Freeform 106">
              <a:extLst>
                <a:ext uri="{FF2B5EF4-FFF2-40B4-BE49-F238E27FC236}">
                  <a16:creationId xmlns:a16="http://schemas.microsoft.com/office/drawing/2014/main" id="{E0CEDDAC-A5C8-924E-BF6D-D0D6BD076103}"/>
                </a:ext>
              </a:extLst>
            </p:cNvPr>
            <p:cNvSpPr>
              <a:spLocks/>
            </p:cNvSpPr>
            <p:nvPr userDrawn="1">
              <p:custDataLst>
                <p:tags r:id="rId88"/>
              </p:custDataLst>
            </p:nvPr>
          </p:nvSpPr>
          <p:spPr bwMode="auto">
            <a:xfrm>
              <a:off x="9072160" y="4982956"/>
              <a:ext cx="30908" cy="5038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9" name="Freeform 107">
              <a:extLst>
                <a:ext uri="{FF2B5EF4-FFF2-40B4-BE49-F238E27FC236}">
                  <a16:creationId xmlns:a16="http://schemas.microsoft.com/office/drawing/2014/main" id="{C52FA733-5C2E-0C41-9D55-BFC8EF8BD950}"/>
                </a:ext>
              </a:extLst>
            </p:cNvPr>
            <p:cNvSpPr>
              <a:spLocks/>
            </p:cNvSpPr>
            <p:nvPr userDrawn="1">
              <p:custDataLst>
                <p:tags r:id="rId89"/>
              </p:custDataLst>
            </p:nvPr>
          </p:nvSpPr>
          <p:spPr bwMode="auto">
            <a:xfrm>
              <a:off x="11279590" y="2054977"/>
              <a:ext cx="21146" cy="51823"/>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0" name="Freeform 108">
              <a:extLst>
                <a:ext uri="{FF2B5EF4-FFF2-40B4-BE49-F238E27FC236}">
                  <a16:creationId xmlns:a16="http://schemas.microsoft.com/office/drawing/2014/main" id="{2997C3D4-A7E1-4B40-9B0E-01AC75796180}"/>
                </a:ext>
              </a:extLst>
            </p:cNvPr>
            <p:cNvSpPr>
              <a:spLocks/>
            </p:cNvSpPr>
            <p:nvPr userDrawn="1">
              <p:custDataLst>
                <p:tags r:id="rId90"/>
              </p:custDataLst>
            </p:nvPr>
          </p:nvSpPr>
          <p:spPr bwMode="auto">
            <a:xfrm>
              <a:off x="11460152" y="2085208"/>
              <a:ext cx="16267" cy="51823"/>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1" name="Freeform 109">
              <a:extLst>
                <a:ext uri="{FF2B5EF4-FFF2-40B4-BE49-F238E27FC236}">
                  <a16:creationId xmlns:a16="http://schemas.microsoft.com/office/drawing/2014/main" id="{35AB3CB4-1ECE-A840-82A0-C52B646143D4}"/>
                </a:ext>
              </a:extLst>
            </p:cNvPr>
            <p:cNvSpPr>
              <a:spLocks/>
            </p:cNvSpPr>
            <p:nvPr userDrawn="1">
              <p:custDataLst>
                <p:tags r:id="rId91"/>
              </p:custDataLst>
            </p:nvPr>
          </p:nvSpPr>
          <p:spPr bwMode="auto">
            <a:xfrm>
              <a:off x="10895687" y="2293938"/>
              <a:ext cx="4880" cy="5326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2" name="Freeform 110">
              <a:extLst>
                <a:ext uri="{FF2B5EF4-FFF2-40B4-BE49-F238E27FC236}">
                  <a16:creationId xmlns:a16="http://schemas.microsoft.com/office/drawing/2014/main" id="{26AD0EB7-4FCE-1D40-9A56-3B87EA098D41}"/>
                </a:ext>
              </a:extLst>
            </p:cNvPr>
            <p:cNvSpPr>
              <a:spLocks/>
            </p:cNvSpPr>
            <p:nvPr userDrawn="1">
              <p:custDataLst>
                <p:tags r:id="rId92"/>
              </p:custDataLst>
            </p:nvPr>
          </p:nvSpPr>
          <p:spPr bwMode="auto">
            <a:xfrm>
              <a:off x="10705363" y="2803526"/>
              <a:ext cx="14640" cy="5326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3" name="Freeform 111">
              <a:extLst>
                <a:ext uri="{FF2B5EF4-FFF2-40B4-BE49-F238E27FC236}">
                  <a16:creationId xmlns:a16="http://schemas.microsoft.com/office/drawing/2014/main" id="{B425C791-AA6F-FA4A-A15E-5DDCEECCF1FA}"/>
                </a:ext>
              </a:extLst>
            </p:cNvPr>
            <p:cNvSpPr>
              <a:spLocks/>
            </p:cNvSpPr>
            <p:nvPr userDrawn="1">
              <p:custDataLst>
                <p:tags r:id="rId93"/>
              </p:custDataLst>
            </p:nvPr>
          </p:nvSpPr>
          <p:spPr bwMode="auto">
            <a:xfrm>
              <a:off x="10723258" y="2744506"/>
              <a:ext cx="16267" cy="51823"/>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Freeform 112">
              <a:extLst>
                <a:ext uri="{FF2B5EF4-FFF2-40B4-BE49-F238E27FC236}">
                  <a16:creationId xmlns:a16="http://schemas.microsoft.com/office/drawing/2014/main" id="{E7E72954-89A6-7A4B-B5B6-49ABFD29D0F4}"/>
                </a:ext>
              </a:extLst>
            </p:cNvPr>
            <p:cNvSpPr>
              <a:spLocks/>
            </p:cNvSpPr>
            <p:nvPr userDrawn="1">
              <p:custDataLst>
                <p:tags r:id="rId94"/>
              </p:custDataLst>
            </p:nvPr>
          </p:nvSpPr>
          <p:spPr bwMode="auto">
            <a:xfrm>
              <a:off x="10609389" y="2607752"/>
              <a:ext cx="1626" cy="54702"/>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5" name="Freeform 113">
              <a:extLst>
                <a:ext uri="{FF2B5EF4-FFF2-40B4-BE49-F238E27FC236}">
                  <a16:creationId xmlns:a16="http://schemas.microsoft.com/office/drawing/2014/main" id="{A8C4BA9C-4161-4F4B-9A97-957E9202C84F}"/>
                </a:ext>
              </a:extLst>
            </p:cNvPr>
            <p:cNvSpPr>
              <a:spLocks/>
            </p:cNvSpPr>
            <p:nvPr userDrawn="1">
              <p:custDataLst>
                <p:tags r:id="rId95"/>
              </p:custDataLst>
            </p:nvPr>
          </p:nvSpPr>
          <p:spPr bwMode="auto">
            <a:xfrm>
              <a:off x="7383648" y="1816017"/>
              <a:ext cx="9761" cy="51823"/>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Freeform 114">
              <a:extLst>
                <a:ext uri="{FF2B5EF4-FFF2-40B4-BE49-F238E27FC236}">
                  <a16:creationId xmlns:a16="http://schemas.microsoft.com/office/drawing/2014/main" id="{38C60A5A-8A05-F044-B583-75E2EE49DD4B}"/>
                </a:ext>
              </a:extLst>
            </p:cNvPr>
            <p:cNvSpPr>
              <a:spLocks/>
            </p:cNvSpPr>
            <p:nvPr userDrawn="1">
              <p:custDataLst>
                <p:tags r:id="rId96"/>
              </p:custDataLst>
            </p:nvPr>
          </p:nvSpPr>
          <p:spPr bwMode="auto">
            <a:xfrm>
              <a:off x="7369007" y="1605848"/>
              <a:ext cx="3254" cy="51823"/>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7" name="Freeform 115">
              <a:extLst>
                <a:ext uri="{FF2B5EF4-FFF2-40B4-BE49-F238E27FC236}">
                  <a16:creationId xmlns:a16="http://schemas.microsoft.com/office/drawing/2014/main" id="{0F31D5F6-0462-C443-9A2C-C192804E4621}"/>
                </a:ext>
              </a:extLst>
            </p:cNvPr>
            <p:cNvSpPr>
              <a:spLocks/>
            </p:cNvSpPr>
            <p:nvPr userDrawn="1">
              <p:custDataLst>
                <p:tags r:id="rId97"/>
              </p:custDataLst>
            </p:nvPr>
          </p:nvSpPr>
          <p:spPr bwMode="auto">
            <a:xfrm>
              <a:off x="8886715" y="3218108"/>
              <a:ext cx="26027" cy="5038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8" name="Freeform 116">
              <a:extLst>
                <a:ext uri="{FF2B5EF4-FFF2-40B4-BE49-F238E27FC236}">
                  <a16:creationId xmlns:a16="http://schemas.microsoft.com/office/drawing/2014/main" id="{5C32E9CD-6575-5E44-9F4F-B3BBB2E9B4E8}"/>
                </a:ext>
              </a:extLst>
            </p:cNvPr>
            <p:cNvSpPr>
              <a:spLocks/>
            </p:cNvSpPr>
            <p:nvPr userDrawn="1">
              <p:custDataLst>
                <p:tags r:id="rId98"/>
              </p:custDataLst>
            </p:nvPr>
          </p:nvSpPr>
          <p:spPr bwMode="auto">
            <a:xfrm>
              <a:off x="8582523" y="3092870"/>
              <a:ext cx="19520" cy="5326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49" name="Group 117">
              <a:extLst>
                <a:ext uri="{FF2B5EF4-FFF2-40B4-BE49-F238E27FC236}">
                  <a16:creationId xmlns:a16="http://schemas.microsoft.com/office/drawing/2014/main" id="{B20A6108-1492-454E-BE86-803B72E38193}"/>
                </a:ext>
              </a:extLst>
            </p:cNvPr>
            <p:cNvGrpSpPr>
              <a:grpSpLocks/>
            </p:cNvGrpSpPr>
            <p:nvPr userDrawn="1">
              <p:custDataLst>
                <p:tags r:id="rId99"/>
              </p:custDataLst>
            </p:nvPr>
          </p:nvGrpSpPr>
          <p:grpSpPr bwMode="auto">
            <a:xfrm>
              <a:off x="9373099" y="3262732"/>
              <a:ext cx="47173" cy="339727"/>
              <a:chOff x="3950" y="2430"/>
              <a:chExt cx="36" cy="234"/>
            </a:xfrm>
            <a:solidFill>
              <a:srgbClr val="DADADA"/>
            </a:solidFill>
          </p:grpSpPr>
          <p:sp>
            <p:nvSpPr>
              <p:cNvPr id="538" name="Freeform 118">
                <a:extLst>
                  <a:ext uri="{FF2B5EF4-FFF2-40B4-BE49-F238E27FC236}">
                    <a16:creationId xmlns:a16="http://schemas.microsoft.com/office/drawing/2014/main" id="{A8197C6F-C5BC-5744-8D8F-C676D53EFD0C}"/>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9" name="Freeform 119">
                <a:extLst>
                  <a:ext uri="{FF2B5EF4-FFF2-40B4-BE49-F238E27FC236}">
                    <a16:creationId xmlns:a16="http://schemas.microsoft.com/office/drawing/2014/main" id="{969211EE-3587-724C-B78F-066AB64AD2B8}"/>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0" name="Freeform 120">
                <a:extLst>
                  <a:ext uri="{FF2B5EF4-FFF2-40B4-BE49-F238E27FC236}">
                    <a16:creationId xmlns:a16="http://schemas.microsoft.com/office/drawing/2014/main" id="{CECA9DF5-5411-634C-8C1A-CB34DE64E0FB}"/>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1" name="Rectangle 121">
                <a:extLst>
                  <a:ext uri="{FF2B5EF4-FFF2-40B4-BE49-F238E27FC236}">
                    <a16:creationId xmlns:a16="http://schemas.microsoft.com/office/drawing/2014/main" id="{DB490846-10B9-D14E-A618-236324626035}"/>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2" name="Line 122">
                <a:extLst>
                  <a:ext uri="{FF2B5EF4-FFF2-40B4-BE49-F238E27FC236}">
                    <a16:creationId xmlns:a16="http://schemas.microsoft.com/office/drawing/2014/main" id="{62EB56B9-C8EB-3E45-97EB-7AB58FF231C8}"/>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3" name="Freeform 123">
                <a:extLst>
                  <a:ext uri="{FF2B5EF4-FFF2-40B4-BE49-F238E27FC236}">
                    <a16:creationId xmlns:a16="http://schemas.microsoft.com/office/drawing/2014/main" id="{21CB899E-B10B-A74D-89FC-0502319ABA24}"/>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4" name="Freeform 124">
                <a:extLst>
                  <a:ext uri="{FF2B5EF4-FFF2-40B4-BE49-F238E27FC236}">
                    <a16:creationId xmlns:a16="http://schemas.microsoft.com/office/drawing/2014/main" id="{5089D9CB-AAC5-D04D-8033-678D053ABA26}"/>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5" name="Line 125">
                <a:extLst>
                  <a:ext uri="{FF2B5EF4-FFF2-40B4-BE49-F238E27FC236}">
                    <a16:creationId xmlns:a16="http://schemas.microsoft.com/office/drawing/2014/main" id="{721EAC4B-15A0-BF47-9609-FE2B6BA2239D}"/>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6" name="Freeform 126">
                <a:extLst>
                  <a:ext uri="{FF2B5EF4-FFF2-40B4-BE49-F238E27FC236}">
                    <a16:creationId xmlns:a16="http://schemas.microsoft.com/office/drawing/2014/main" id="{E84FE0B0-59F6-F04A-A09B-D96E130ACF68}"/>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7" name="Freeform 127">
                <a:extLst>
                  <a:ext uri="{FF2B5EF4-FFF2-40B4-BE49-F238E27FC236}">
                    <a16:creationId xmlns:a16="http://schemas.microsoft.com/office/drawing/2014/main" id="{666305E3-A235-954C-B97B-A01FAAB0AFFF}"/>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8" name="Line 128">
                <a:extLst>
                  <a:ext uri="{FF2B5EF4-FFF2-40B4-BE49-F238E27FC236}">
                    <a16:creationId xmlns:a16="http://schemas.microsoft.com/office/drawing/2014/main" id="{6D3B7D2A-FCBD-E841-B206-2869A61F49D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9" name="Freeform 129">
                <a:extLst>
                  <a:ext uri="{FF2B5EF4-FFF2-40B4-BE49-F238E27FC236}">
                    <a16:creationId xmlns:a16="http://schemas.microsoft.com/office/drawing/2014/main" id="{2031BAAC-9CDC-7248-A1AB-34FA41EB4BEF}"/>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0" name="Freeform 130">
                <a:extLst>
                  <a:ext uri="{FF2B5EF4-FFF2-40B4-BE49-F238E27FC236}">
                    <a16:creationId xmlns:a16="http://schemas.microsoft.com/office/drawing/2014/main" id="{7E4885E2-85D1-A541-92F2-FA7901667B17}"/>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1" name="Freeform 131">
                <a:extLst>
                  <a:ext uri="{FF2B5EF4-FFF2-40B4-BE49-F238E27FC236}">
                    <a16:creationId xmlns:a16="http://schemas.microsoft.com/office/drawing/2014/main" id="{C09A467B-2D9F-2845-8080-A1F7258DE0B9}"/>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2" name="Freeform 132">
                <a:extLst>
                  <a:ext uri="{FF2B5EF4-FFF2-40B4-BE49-F238E27FC236}">
                    <a16:creationId xmlns:a16="http://schemas.microsoft.com/office/drawing/2014/main" id="{D373194F-01F9-024B-A7E0-F6A6B9CDEFA4}"/>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3" name="Freeform 133">
                <a:extLst>
                  <a:ext uri="{FF2B5EF4-FFF2-40B4-BE49-F238E27FC236}">
                    <a16:creationId xmlns:a16="http://schemas.microsoft.com/office/drawing/2014/main" id="{E99E76FD-19E2-EA43-B767-87091477CA5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4" name="Freeform 134">
                <a:extLst>
                  <a:ext uri="{FF2B5EF4-FFF2-40B4-BE49-F238E27FC236}">
                    <a16:creationId xmlns:a16="http://schemas.microsoft.com/office/drawing/2014/main" id="{DD579BC1-1365-524D-82CD-C7BFA5CAEEE2}"/>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5" name="Freeform 135">
                <a:extLst>
                  <a:ext uri="{FF2B5EF4-FFF2-40B4-BE49-F238E27FC236}">
                    <a16:creationId xmlns:a16="http://schemas.microsoft.com/office/drawing/2014/main" id="{E801CA96-B154-344F-A886-BC59109855A9}"/>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6" name="Rectangle 136">
                <a:extLst>
                  <a:ext uri="{FF2B5EF4-FFF2-40B4-BE49-F238E27FC236}">
                    <a16:creationId xmlns:a16="http://schemas.microsoft.com/office/drawing/2014/main" id="{1D726670-BAC9-D543-B820-D083CADC50B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7" name="Line 137">
                <a:extLst>
                  <a:ext uri="{FF2B5EF4-FFF2-40B4-BE49-F238E27FC236}">
                    <a16:creationId xmlns:a16="http://schemas.microsoft.com/office/drawing/2014/main" id="{79EA2ED7-A9AD-7740-AFEF-79356BBE4C95}"/>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8" name="Freeform 138">
                <a:extLst>
                  <a:ext uri="{FF2B5EF4-FFF2-40B4-BE49-F238E27FC236}">
                    <a16:creationId xmlns:a16="http://schemas.microsoft.com/office/drawing/2014/main" id="{E1BE1D8F-8DB0-7849-8C03-8E0005DD9413}"/>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9" name="Freeform 139">
                <a:extLst>
                  <a:ext uri="{FF2B5EF4-FFF2-40B4-BE49-F238E27FC236}">
                    <a16:creationId xmlns:a16="http://schemas.microsoft.com/office/drawing/2014/main" id="{4996C001-44B8-E647-9564-9C8F04F1A893}"/>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0" name="Line 140">
                <a:extLst>
                  <a:ext uri="{FF2B5EF4-FFF2-40B4-BE49-F238E27FC236}">
                    <a16:creationId xmlns:a16="http://schemas.microsoft.com/office/drawing/2014/main" id="{A65E6680-0299-9B45-8B23-95ABDB51BA91}"/>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1" name="Freeform 141">
                <a:extLst>
                  <a:ext uri="{FF2B5EF4-FFF2-40B4-BE49-F238E27FC236}">
                    <a16:creationId xmlns:a16="http://schemas.microsoft.com/office/drawing/2014/main" id="{F40887DA-7B06-174F-847B-998BFD4E9A89}"/>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2" name="Freeform 142">
                <a:extLst>
                  <a:ext uri="{FF2B5EF4-FFF2-40B4-BE49-F238E27FC236}">
                    <a16:creationId xmlns:a16="http://schemas.microsoft.com/office/drawing/2014/main" id="{2AE7CD34-E1EE-C444-9505-6104520BAA5D}"/>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3" name="Line 143">
                <a:extLst>
                  <a:ext uri="{FF2B5EF4-FFF2-40B4-BE49-F238E27FC236}">
                    <a16:creationId xmlns:a16="http://schemas.microsoft.com/office/drawing/2014/main" id="{6ADC269A-894E-8945-A0B8-1C9BF9736139}"/>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4" name="Freeform 144">
                <a:extLst>
                  <a:ext uri="{FF2B5EF4-FFF2-40B4-BE49-F238E27FC236}">
                    <a16:creationId xmlns:a16="http://schemas.microsoft.com/office/drawing/2014/main" id="{7A3FCF17-CAF1-C844-8DC0-713A58EFC1DC}"/>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5" name="Freeform 145">
                <a:extLst>
                  <a:ext uri="{FF2B5EF4-FFF2-40B4-BE49-F238E27FC236}">
                    <a16:creationId xmlns:a16="http://schemas.microsoft.com/office/drawing/2014/main" id="{3C5A07DA-2FAB-9B43-99D0-D6034B95872E}"/>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6" name="Freeform 146">
                <a:extLst>
                  <a:ext uri="{FF2B5EF4-FFF2-40B4-BE49-F238E27FC236}">
                    <a16:creationId xmlns:a16="http://schemas.microsoft.com/office/drawing/2014/main" id="{08D85E26-6ADA-1647-B78B-A363EA4706A2}"/>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7" name="Freeform 147">
                <a:extLst>
                  <a:ext uri="{FF2B5EF4-FFF2-40B4-BE49-F238E27FC236}">
                    <a16:creationId xmlns:a16="http://schemas.microsoft.com/office/drawing/2014/main" id="{7C9204A9-062B-924F-A1EE-A522F1AF8F7B}"/>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8" name="Freeform 148">
                <a:extLst>
                  <a:ext uri="{FF2B5EF4-FFF2-40B4-BE49-F238E27FC236}">
                    <a16:creationId xmlns:a16="http://schemas.microsoft.com/office/drawing/2014/main" id="{1FF1DAB6-6F8F-8340-81D2-983C0443FEBD}"/>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50" name="Group 149">
              <a:extLst>
                <a:ext uri="{FF2B5EF4-FFF2-40B4-BE49-F238E27FC236}">
                  <a16:creationId xmlns:a16="http://schemas.microsoft.com/office/drawing/2014/main" id="{CC57ECFB-71FB-974A-A05D-44010B9E1CB0}"/>
                </a:ext>
              </a:extLst>
            </p:cNvPr>
            <p:cNvGrpSpPr>
              <a:grpSpLocks/>
            </p:cNvGrpSpPr>
            <p:nvPr userDrawn="1">
              <p:custDataLst>
                <p:tags r:id="rId100"/>
              </p:custDataLst>
            </p:nvPr>
          </p:nvGrpSpPr>
          <p:grpSpPr bwMode="auto">
            <a:xfrm>
              <a:off x="11489431" y="3716181"/>
              <a:ext cx="190324" cy="194335"/>
              <a:chOff x="5486" y="2743"/>
              <a:chExt cx="137" cy="132"/>
            </a:xfrm>
            <a:solidFill>
              <a:srgbClr val="DADADA"/>
            </a:solidFill>
          </p:grpSpPr>
          <p:sp>
            <p:nvSpPr>
              <p:cNvPr id="529" name="Freeform 150">
                <a:extLst>
                  <a:ext uri="{FF2B5EF4-FFF2-40B4-BE49-F238E27FC236}">
                    <a16:creationId xmlns:a16="http://schemas.microsoft.com/office/drawing/2014/main" id="{1F96BF01-A7E5-5745-819F-D266601BAD8D}"/>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0" name="Freeform 151">
                <a:extLst>
                  <a:ext uri="{FF2B5EF4-FFF2-40B4-BE49-F238E27FC236}">
                    <a16:creationId xmlns:a16="http://schemas.microsoft.com/office/drawing/2014/main" id="{F153285F-19E5-AB4C-B592-187410C7241E}"/>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1" name="Freeform 152">
                <a:extLst>
                  <a:ext uri="{FF2B5EF4-FFF2-40B4-BE49-F238E27FC236}">
                    <a16:creationId xmlns:a16="http://schemas.microsoft.com/office/drawing/2014/main" id="{424BFC7D-9F4F-5249-8F46-7A6F11EAD456}"/>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2" name="Freeform 153">
                <a:extLst>
                  <a:ext uri="{FF2B5EF4-FFF2-40B4-BE49-F238E27FC236}">
                    <a16:creationId xmlns:a16="http://schemas.microsoft.com/office/drawing/2014/main" id="{AFF81C1F-2E38-4D4E-A2F0-52365BA9F551}"/>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3" name="Freeform 154">
                <a:extLst>
                  <a:ext uri="{FF2B5EF4-FFF2-40B4-BE49-F238E27FC236}">
                    <a16:creationId xmlns:a16="http://schemas.microsoft.com/office/drawing/2014/main" id="{987C4E90-928B-684E-A4C8-2C57369D65F2}"/>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4" name="Freeform 155">
                <a:extLst>
                  <a:ext uri="{FF2B5EF4-FFF2-40B4-BE49-F238E27FC236}">
                    <a16:creationId xmlns:a16="http://schemas.microsoft.com/office/drawing/2014/main" id="{DDAAB77C-F63A-A04D-ADED-EA06B576B2AC}"/>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5" name="Freeform 156">
                <a:extLst>
                  <a:ext uri="{FF2B5EF4-FFF2-40B4-BE49-F238E27FC236}">
                    <a16:creationId xmlns:a16="http://schemas.microsoft.com/office/drawing/2014/main" id="{9E60E729-11B1-D348-87B9-4F869C966328}"/>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6" name="Freeform 157">
                <a:extLst>
                  <a:ext uri="{FF2B5EF4-FFF2-40B4-BE49-F238E27FC236}">
                    <a16:creationId xmlns:a16="http://schemas.microsoft.com/office/drawing/2014/main" id="{CD08C4B0-9584-514F-AA27-7361BC448EF6}"/>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7" name="Freeform 158">
                <a:extLst>
                  <a:ext uri="{FF2B5EF4-FFF2-40B4-BE49-F238E27FC236}">
                    <a16:creationId xmlns:a16="http://schemas.microsoft.com/office/drawing/2014/main" id="{A2EB4148-CA0E-9F48-A14B-B2CADFCCBFA2}"/>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51" name="Freeform 159">
              <a:extLst>
                <a:ext uri="{FF2B5EF4-FFF2-40B4-BE49-F238E27FC236}">
                  <a16:creationId xmlns:a16="http://schemas.microsoft.com/office/drawing/2014/main" id="{A7022338-47BD-F44A-BD71-B49EA3750A31}"/>
                </a:ext>
              </a:extLst>
            </p:cNvPr>
            <p:cNvSpPr>
              <a:spLocks/>
            </p:cNvSpPr>
            <p:nvPr userDrawn="1">
              <p:custDataLst>
                <p:tags r:id="rId101"/>
              </p:custDataLst>
            </p:nvPr>
          </p:nvSpPr>
          <p:spPr bwMode="auto">
            <a:xfrm>
              <a:off x="7744774" y="3478661"/>
              <a:ext cx="11388" cy="5038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2" name="Freeform 160">
              <a:extLst>
                <a:ext uri="{FF2B5EF4-FFF2-40B4-BE49-F238E27FC236}">
                  <a16:creationId xmlns:a16="http://schemas.microsoft.com/office/drawing/2014/main" id="{5C1E576C-566A-BA4C-8EAF-407043597CAD}"/>
                </a:ext>
              </a:extLst>
            </p:cNvPr>
            <p:cNvSpPr>
              <a:spLocks/>
            </p:cNvSpPr>
            <p:nvPr userDrawn="1">
              <p:custDataLst>
                <p:tags r:id="rId102"/>
              </p:custDataLst>
            </p:nvPr>
          </p:nvSpPr>
          <p:spPr bwMode="auto">
            <a:xfrm>
              <a:off x="7666692" y="3605338"/>
              <a:ext cx="14640" cy="51823"/>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3" name="Freeform 161">
              <a:extLst>
                <a:ext uri="{FF2B5EF4-FFF2-40B4-BE49-F238E27FC236}">
                  <a16:creationId xmlns:a16="http://schemas.microsoft.com/office/drawing/2014/main" id="{ACBB6342-C2CE-D542-AE01-8F222EE5BADC}"/>
                </a:ext>
              </a:extLst>
            </p:cNvPr>
            <p:cNvSpPr>
              <a:spLocks/>
            </p:cNvSpPr>
            <p:nvPr userDrawn="1">
              <p:custDataLst>
                <p:tags r:id="rId103"/>
              </p:custDataLst>
            </p:nvPr>
          </p:nvSpPr>
          <p:spPr bwMode="auto">
            <a:xfrm>
              <a:off x="9509740" y="2088088"/>
              <a:ext cx="746654" cy="30085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4" name="Freeform 162">
              <a:extLst>
                <a:ext uri="{FF2B5EF4-FFF2-40B4-BE49-F238E27FC236}">
                  <a16:creationId xmlns:a16="http://schemas.microsoft.com/office/drawing/2014/main" id="{804165BA-2D0A-D84C-88C6-19FE36B01902}"/>
                </a:ext>
              </a:extLst>
            </p:cNvPr>
            <p:cNvSpPr>
              <a:spLocks/>
            </p:cNvSpPr>
            <p:nvPr userDrawn="1">
              <p:custDataLst>
                <p:tags r:id="rId104"/>
              </p:custDataLst>
            </p:nvPr>
          </p:nvSpPr>
          <p:spPr bwMode="auto">
            <a:xfrm>
              <a:off x="5745562" y="3871649"/>
              <a:ext cx="336726" cy="377153"/>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5" name="Freeform 163">
              <a:extLst>
                <a:ext uri="{FF2B5EF4-FFF2-40B4-BE49-F238E27FC236}">
                  <a16:creationId xmlns:a16="http://schemas.microsoft.com/office/drawing/2014/main" id="{D1EF8BA3-AC2D-0749-AAD2-C3DCB406C177}"/>
                </a:ext>
              </a:extLst>
            </p:cNvPr>
            <p:cNvSpPr>
              <a:spLocks/>
            </p:cNvSpPr>
            <p:nvPr userDrawn="1">
              <p:custDataLst>
                <p:tags r:id="rId105"/>
              </p:custDataLst>
            </p:nvPr>
          </p:nvSpPr>
          <p:spPr bwMode="auto">
            <a:xfrm>
              <a:off x="5965167" y="3354861"/>
              <a:ext cx="122003" cy="19577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56" name="Group 164">
              <a:extLst>
                <a:ext uri="{FF2B5EF4-FFF2-40B4-BE49-F238E27FC236}">
                  <a16:creationId xmlns:a16="http://schemas.microsoft.com/office/drawing/2014/main" id="{A31136D9-CB86-EA45-9D60-B7F2B40D47D7}"/>
                </a:ext>
              </a:extLst>
            </p:cNvPr>
            <p:cNvGrpSpPr>
              <a:grpSpLocks/>
            </p:cNvGrpSpPr>
            <p:nvPr userDrawn="1">
              <p:custDataLst>
                <p:tags r:id="rId106"/>
              </p:custDataLst>
            </p:nvPr>
          </p:nvGrpSpPr>
          <p:grpSpPr bwMode="auto">
            <a:xfrm>
              <a:off x="5672360" y="3205153"/>
              <a:ext cx="331846" cy="364197"/>
              <a:chOff x="1486" y="2412"/>
              <a:chExt cx="244" cy="256"/>
            </a:xfrm>
            <a:solidFill>
              <a:srgbClr val="DADADA"/>
            </a:solidFill>
          </p:grpSpPr>
          <p:sp>
            <p:nvSpPr>
              <p:cNvPr id="525" name="Freeform 165">
                <a:extLst>
                  <a:ext uri="{FF2B5EF4-FFF2-40B4-BE49-F238E27FC236}">
                    <a16:creationId xmlns:a16="http://schemas.microsoft.com/office/drawing/2014/main" id="{326A92B1-1AB4-5A4E-BB56-E38C75362E08}"/>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6" name="Freeform 166">
                <a:extLst>
                  <a:ext uri="{FF2B5EF4-FFF2-40B4-BE49-F238E27FC236}">
                    <a16:creationId xmlns:a16="http://schemas.microsoft.com/office/drawing/2014/main" id="{6976B131-D806-2C49-8486-E91D1822500C}"/>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7" name="Freeform 167">
                <a:extLst>
                  <a:ext uri="{FF2B5EF4-FFF2-40B4-BE49-F238E27FC236}">
                    <a16:creationId xmlns:a16="http://schemas.microsoft.com/office/drawing/2014/main" id="{3765FE94-4A54-E24C-AD64-8FC15340675F}"/>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8" name="Freeform 168">
                <a:extLst>
                  <a:ext uri="{FF2B5EF4-FFF2-40B4-BE49-F238E27FC236}">
                    <a16:creationId xmlns:a16="http://schemas.microsoft.com/office/drawing/2014/main" id="{C2667DF3-C4BF-1341-ACA0-B80A144134F3}"/>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57" name="Freeform 169">
              <a:extLst>
                <a:ext uri="{FF2B5EF4-FFF2-40B4-BE49-F238E27FC236}">
                  <a16:creationId xmlns:a16="http://schemas.microsoft.com/office/drawing/2014/main" id="{CB0517DF-72C4-804D-83CC-DB3922AFCE33}"/>
                </a:ext>
              </a:extLst>
            </p:cNvPr>
            <p:cNvSpPr>
              <a:spLocks/>
            </p:cNvSpPr>
            <p:nvPr userDrawn="1">
              <p:custDataLst>
                <p:tags r:id="rId107"/>
              </p:custDataLst>
            </p:nvPr>
          </p:nvSpPr>
          <p:spPr bwMode="auto">
            <a:xfrm>
              <a:off x="10817606" y="4601484"/>
              <a:ext cx="32534" cy="10075"/>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Freeform 170">
              <a:extLst>
                <a:ext uri="{FF2B5EF4-FFF2-40B4-BE49-F238E27FC236}">
                  <a16:creationId xmlns:a16="http://schemas.microsoft.com/office/drawing/2014/main" id="{3E650D6E-9366-9342-B138-F9046E0AB810}"/>
                </a:ext>
              </a:extLst>
            </p:cNvPr>
            <p:cNvSpPr>
              <a:spLocks/>
            </p:cNvSpPr>
            <p:nvPr userDrawn="1">
              <p:custDataLst>
                <p:tags r:id="rId108"/>
              </p:custDataLst>
            </p:nvPr>
          </p:nvSpPr>
          <p:spPr bwMode="auto">
            <a:xfrm>
              <a:off x="10936354" y="4722402"/>
              <a:ext cx="1627" cy="4318"/>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9" name="Line 171">
              <a:extLst>
                <a:ext uri="{FF2B5EF4-FFF2-40B4-BE49-F238E27FC236}">
                  <a16:creationId xmlns:a16="http://schemas.microsoft.com/office/drawing/2014/main" id="{7A7B91C3-702B-C04C-9C57-31C09666AC9D}"/>
                </a:ext>
              </a:extLst>
            </p:cNvPr>
            <p:cNvSpPr>
              <a:spLocks noChangeShapeType="1"/>
            </p:cNvSpPr>
            <p:nvPr userDrawn="1">
              <p:custDataLst>
                <p:tags r:id="rId109"/>
              </p:custDataLst>
            </p:nvPr>
          </p:nvSpPr>
          <p:spPr bwMode="auto">
            <a:xfrm flipV="1">
              <a:off x="11029077" y="4720963"/>
              <a:ext cx="1626"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0" name="Freeform 172">
              <a:extLst>
                <a:ext uri="{FF2B5EF4-FFF2-40B4-BE49-F238E27FC236}">
                  <a16:creationId xmlns:a16="http://schemas.microsoft.com/office/drawing/2014/main" id="{983DA899-B8BF-9047-A2A6-2A0728A27B95}"/>
                </a:ext>
              </a:extLst>
            </p:cNvPr>
            <p:cNvSpPr>
              <a:spLocks/>
            </p:cNvSpPr>
            <p:nvPr userDrawn="1">
              <p:custDataLst>
                <p:tags r:id="rId110"/>
              </p:custDataLst>
            </p:nvPr>
          </p:nvSpPr>
          <p:spPr bwMode="auto">
            <a:xfrm>
              <a:off x="11029077" y="4720964"/>
              <a:ext cx="3254" cy="1439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1" name="Freeform 173">
              <a:extLst>
                <a:ext uri="{FF2B5EF4-FFF2-40B4-BE49-F238E27FC236}">
                  <a16:creationId xmlns:a16="http://schemas.microsoft.com/office/drawing/2014/main" id="{FE4A442B-8353-0C47-B3A7-F0CA049C3B15}"/>
                </a:ext>
              </a:extLst>
            </p:cNvPr>
            <p:cNvSpPr>
              <a:spLocks/>
            </p:cNvSpPr>
            <p:nvPr userDrawn="1">
              <p:custDataLst>
                <p:tags r:id="rId111"/>
              </p:custDataLst>
            </p:nvPr>
          </p:nvSpPr>
          <p:spPr bwMode="auto">
            <a:xfrm>
              <a:off x="11334897" y="4240165"/>
              <a:ext cx="22774" cy="25912"/>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2" name="Freeform 174">
              <a:extLst>
                <a:ext uri="{FF2B5EF4-FFF2-40B4-BE49-F238E27FC236}">
                  <a16:creationId xmlns:a16="http://schemas.microsoft.com/office/drawing/2014/main" id="{DBDFF0B8-93C0-E743-86B6-87A6F0856BCE}"/>
                </a:ext>
              </a:extLst>
            </p:cNvPr>
            <p:cNvSpPr>
              <a:spLocks/>
            </p:cNvSpPr>
            <p:nvPr userDrawn="1">
              <p:custDataLst>
                <p:tags r:id="rId112"/>
              </p:custDataLst>
            </p:nvPr>
          </p:nvSpPr>
          <p:spPr bwMode="auto">
            <a:xfrm>
              <a:off x="11341403" y="4173946"/>
              <a:ext cx="27653" cy="359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3" name="Freeform 175">
              <a:extLst>
                <a:ext uri="{FF2B5EF4-FFF2-40B4-BE49-F238E27FC236}">
                  <a16:creationId xmlns:a16="http://schemas.microsoft.com/office/drawing/2014/main" id="{62042928-15C5-0E41-8F42-EDB0270B4659}"/>
                </a:ext>
              </a:extLst>
            </p:cNvPr>
            <p:cNvSpPr>
              <a:spLocks/>
            </p:cNvSpPr>
            <p:nvPr userDrawn="1">
              <p:custDataLst>
                <p:tags r:id="rId113"/>
              </p:custDataLst>
            </p:nvPr>
          </p:nvSpPr>
          <p:spPr bwMode="auto">
            <a:xfrm>
              <a:off x="11317002" y="4152354"/>
              <a:ext cx="17894" cy="27350"/>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4" name="Freeform 176">
              <a:extLst>
                <a:ext uri="{FF2B5EF4-FFF2-40B4-BE49-F238E27FC236}">
                  <a16:creationId xmlns:a16="http://schemas.microsoft.com/office/drawing/2014/main" id="{0E967485-73E2-BB42-A326-D8D678571BFB}"/>
                </a:ext>
              </a:extLst>
            </p:cNvPr>
            <p:cNvSpPr>
              <a:spLocks/>
            </p:cNvSpPr>
            <p:nvPr userDrawn="1">
              <p:custDataLst>
                <p:tags r:id="rId114"/>
              </p:custDataLst>
            </p:nvPr>
          </p:nvSpPr>
          <p:spPr bwMode="auto">
            <a:xfrm>
              <a:off x="11234040" y="4041512"/>
              <a:ext cx="69948" cy="12523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Line 177">
              <a:extLst>
                <a:ext uri="{FF2B5EF4-FFF2-40B4-BE49-F238E27FC236}">
                  <a16:creationId xmlns:a16="http://schemas.microsoft.com/office/drawing/2014/main" id="{ABBDF968-5987-7E4E-9CD4-76E624FB32F4}"/>
                </a:ext>
              </a:extLst>
            </p:cNvPr>
            <p:cNvSpPr>
              <a:spLocks noChangeShapeType="1"/>
            </p:cNvSpPr>
            <p:nvPr userDrawn="1">
              <p:custDataLst>
                <p:tags r:id="rId115"/>
              </p:custDataLst>
            </p:nvPr>
          </p:nvSpPr>
          <p:spPr bwMode="auto">
            <a:xfrm flipH="1" flipV="1">
              <a:off x="11227534" y="4011283"/>
              <a:ext cx="6507" cy="3023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6" name="Freeform 178">
              <a:extLst>
                <a:ext uri="{FF2B5EF4-FFF2-40B4-BE49-F238E27FC236}">
                  <a16:creationId xmlns:a16="http://schemas.microsoft.com/office/drawing/2014/main" id="{21516118-7111-644C-ABA4-D3416C7A7F19}"/>
                </a:ext>
              </a:extLst>
            </p:cNvPr>
            <p:cNvSpPr>
              <a:spLocks/>
            </p:cNvSpPr>
            <p:nvPr userDrawn="1">
              <p:custDataLst>
                <p:tags r:id="rId116"/>
              </p:custDataLst>
            </p:nvPr>
          </p:nvSpPr>
          <p:spPr bwMode="auto">
            <a:xfrm>
              <a:off x="11227534" y="3996886"/>
              <a:ext cx="6507" cy="1439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7" name="Line 179">
              <a:extLst>
                <a:ext uri="{FF2B5EF4-FFF2-40B4-BE49-F238E27FC236}">
                  <a16:creationId xmlns:a16="http://schemas.microsoft.com/office/drawing/2014/main" id="{DD4D1CC8-B1C0-324E-B296-02B580C1EBD8}"/>
                </a:ext>
              </a:extLst>
            </p:cNvPr>
            <p:cNvSpPr>
              <a:spLocks noChangeShapeType="1"/>
            </p:cNvSpPr>
            <p:nvPr userDrawn="1">
              <p:custDataLst>
                <p:tags r:id="rId117"/>
              </p:custDataLst>
            </p:nvPr>
          </p:nvSpPr>
          <p:spPr bwMode="auto">
            <a:xfrm flipV="1">
              <a:off x="11234040" y="3985370"/>
              <a:ext cx="0"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Freeform 180">
              <a:extLst>
                <a:ext uri="{FF2B5EF4-FFF2-40B4-BE49-F238E27FC236}">
                  <a16:creationId xmlns:a16="http://schemas.microsoft.com/office/drawing/2014/main" id="{C36708A2-0DFB-A547-AE3E-869C137E28AA}"/>
                </a:ext>
              </a:extLst>
            </p:cNvPr>
            <p:cNvSpPr>
              <a:spLocks/>
            </p:cNvSpPr>
            <p:nvPr userDrawn="1">
              <p:custDataLst>
                <p:tags r:id="rId118"/>
              </p:custDataLst>
            </p:nvPr>
          </p:nvSpPr>
          <p:spPr bwMode="auto">
            <a:xfrm>
              <a:off x="11186866" y="3924911"/>
              <a:ext cx="47174" cy="60460"/>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9" name="Freeform 181">
              <a:extLst>
                <a:ext uri="{FF2B5EF4-FFF2-40B4-BE49-F238E27FC236}">
                  <a16:creationId xmlns:a16="http://schemas.microsoft.com/office/drawing/2014/main" id="{3613141F-640F-5F4C-9974-572DC7FFA1DB}"/>
                </a:ext>
              </a:extLst>
            </p:cNvPr>
            <p:cNvSpPr>
              <a:spLocks/>
            </p:cNvSpPr>
            <p:nvPr userDrawn="1">
              <p:custDataLst>
                <p:tags r:id="rId119"/>
              </p:custDataLst>
            </p:nvPr>
          </p:nvSpPr>
          <p:spPr bwMode="auto">
            <a:xfrm>
              <a:off x="11201507" y="3873088"/>
              <a:ext cx="1626" cy="46065"/>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0" name="Freeform 182">
              <a:extLst>
                <a:ext uri="{FF2B5EF4-FFF2-40B4-BE49-F238E27FC236}">
                  <a16:creationId xmlns:a16="http://schemas.microsoft.com/office/drawing/2014/main" id="{E1D43CE9-7768-4044-9114-0E08B5F615F3}"/>
                </a:ext>
              </a:extLst>
            </p:cNvPr>
            <p:cNvSpPr>
              <a:spLocks/>
            </p:cNvSpPr>
            <p:nvPr userDrawn="1">
              <p:custDataLst>
                <p:tags r:id="rId120"/>
              </p:custDataLst>
            </p:nvPr>
          </p:nvSpPr>
          <p:spPr bwMode="auto">
            <a:xfrm>
              <a:off x="11208014" y="3867330"/>
              <a:ext cx="8133" cy="33108"/>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1" name="Freeform 183">
              <a:extLst>
                <a:ext uri="{FF2B5EF4-FFF2-40B4-BE49-F238E27FC236}">
                  <a16:creationId xmlns:a16="http://schemas.microsoft.com/office/drawing/2014/main" id="{E92AFAC4-595B-4E40-B0D2-5FD0760F3EF2}"/>
                </a:ext>
              </a:extLst>
            </p:cNvPr>
            <p:cNvSpPr>
              <a:spLocks/>
            </p:cNvSpPr>
            <p:nvPr userDrawn="1">
              <p:custDataLst>
                <p:tags r:id="rId121"/>
              </p:custDataLst>
            </p:nvPr>
          </p:nvSpPr>
          <p:spPr bwMode="auto">
            <a:xfrm>
              <a:off x="11224282" y="3850056"/>
              <a:ext cx="1626" cy="2015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2" name="Line 184">
              <a:extLst>
                <a:ext uri="{FF2B5EF4-FFF2-40B4-BE49-F238E27FC236}">
                  <a16:creationId xmlns:a16="http://schemas.microsoft.com/office/drawing/2014/main" id="{E0C182B2-4CE8-BE40-8E28-BBA76DC616A9}"/>
                </a:ext>
              </a:extLst>
            </p:cNvPr>
            <p:cNvSpPr>
              <a:spLocks noChangeShapeType="1"/>
            </p:cNvSpPr>
            <p:nvPr userDrawn="1">
              <p:custDataLst>
                <p:tags r:id="rId122"/>
              </p:custDataLst>
            </p:nvPr>
          </p:nvSpPr>
          <p:spPr bwMode="auto">
            <a:xfrm flipV="1">
              <a:off x="11224282" y="3867331"/>
              <a:ext cx="1626" cy="288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Freeform 185">
              <a:extLst>
                <a:ext uri="{FF2B5EF4-FFF2-40B4-BE49-F238E27FC236}">
                  <a16:creationId xmlns:a16="http://schemas.microsoft.com/office/drawing/2014/main" id="{C70505EA-6443-124E-9070-5F90AC88BC6B}"/>
                </a:ext>
              </a:extLst>
            </p:cNvPr>
            <p:cNvSpPr>
              <a:spLocks/>
            </p:cNvSpPr>
            <p:nvPr userDrawn="1">
              <p:custDataLst>
                <p:tags r:id="rId123"/>
              </p:custDataLst>
            </p:nvPr>
          </p:nvSpPr>
          <p:spPr bwMode="auto">
            <a:xfrm>
              <a:off x="11208014" y="3852935"/>
              <a:ext cx="1626" cy="1439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Freeform 186">
              <a:extLst>
                <a:ext uri="{FF2B5EF4-FFF2-40B4-BE49-F238E27FC236}">
                  <a16:creationId xmlns:a16="http://schemas.microsoft.com/office/drawing/2014/main" id="{82E9AD22-A93A-8740-B6EC-2649A3334697}"/>
                </a:ext>
              </a:extLst>
            </p:cNvPr>
            <p:cNvSpPr>
              <a:spLocks/>
            </p:cNvSpPr>
            <p:nvPr userDrawn="1">
              <p:custDataLst>
                <p:tags r:id="rId124"/>
              </p:custDataLst>
            </p:nvPr>
          </p:nvSpPr>
          <p:spPr bwMode="auto">
            <a:xfrm>
              <a:off x="10921715" y="4749754"/>
              <a:ext cx="99228" cy="7917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5" name="Freeform 187">
              <a:extLst>
                <a:ext uri="{FF2B5EF4-FFF2-40B4-BE49-F238E27FC236}">
                  <a16:creationId xmlns:a16="http://schemas.microsoft.com/office/drawing/2014/main" id="{A5812536-D3E8-0448-87DC-5D1C15DF61AB}"/>
                </a:ext>
              </a:extLst>
            </p:cNvPr>
            <p:cNvSpPr>
              <a:spLocks/>
            </p:cNvSpPr>
            <p:nvPr userDrawn="1">
              <p:custDataLst>
                <p:tags r:id="rId125"/>
              </p:custDataLst>
            </p:nvPr>
          </p:nvSpPr>
          <p:spPr bwMode="auto">
            <a:xfrm>
              <a:off x="11063238" y="4041512"/>
              <a:ext cx="3254" cy="15835"/>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6" name="Freeform 188">
              <a:extLst>
                <a:ext uri="{FF2B5EF4-FFF2-40B4-BE49-F238E27FC236}">
                  <a16:creationId xmlns:a16="http://schemas.microsoft.com/office/drawing/2014/main" id="{69F11A4F-C4CE-DC40-A24D-7B8B539AAFF7}"/>
                </a:ext>
              </a:extLst>
            </p:cNvPr>
            <p:cNvSpPr>
              <a:spLocks/>
            </p:cNvSpPr>
            <p:nvPr userDrawn="1">
              <p:custDataLst>
                <p:tags r:id="rId126"/>
              </p:custDataLst>
            </p:nvPr>
          </p:nvSpPr>
          <p:spPr bwMode="auto">
            <a:xfrm>
              <a:off x="10994917" y="3970976"/>
              <a:ext cx="16267" cy="1439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7" name="Freeform 189">
              <a:extLst>
                <a:ext uri="{FF2B5EF4-FFF2-40B4-BE49-F238E27FC236}">
                  <a16:creationId xmlns:a16="http://schemas.microsoft.com/office/drawing/2014/main" id="{2B3CCE19-E3BE-6A48-8178-02F76EBF70E8}"/>
                </a:ext>
              </a:extLst>
            </p:cNvPr>
            <p:cNvSpPr>
              <a:spLocks/>
            </p:cNvSpPr>
            <p:nvPr userDrawn="1">
              <p:custDataLst>
                <p:tags r:id="rId127"/>
              </p:custDataLst>
            </p:nvPr>
          </p:nvSpPr>
          <p:spPr bwMode="auto">
            <a:xfrm>
              <a:off x="11011183" y="3891802"/>
              <a:ext cx="3254" cy="8637"/>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8" name="Freeform 190">
              <a:extLst>
                <a:ext uri="{FF2B5EF4-FFF2-40B4-BE49-F238E27FC236}">
                  <a16:creationId xmlns:a16="http://schemas.microsoft.com/office/drawing/2014/main" id="{A7A407E0-03CE-604F-BDA6-4364E2B4BBC3}"/>
                </a:ext>
              </a:extLst>
            </p:cNvPr>
            <p:cNvSpPr>
              <a:spLocks/>
            </p:cNvSpPr>
            <p:nvPr userDrawn="1">
              <p:custDataLst>
                <p:tags r:id="rId128"/>
              </p:custDataLst>
            </p:nvPr>
          </p:nvSpPr>
          <p:spPr bwMode="auto">
            <a:xfrm>
              <a:off x="10846886" y="3894681"/>
              <a:ext cx="37414" cy="2015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9" name="Freeform 191">
              <a:extLst>
                <a:ext uri="{FF2B5EF4-FFF2-40B4-BE49-F238E27FC236}">
                  <a16:creationId xmlns:a16="http://schemas.microsoft.com/office/drawing/2014/main" id="{CA18F0EB-3B8D-D04B-A841-1DB266D8AA5B}"/>
                </a:ext>
              </a:extLst>
            </p:cNvPr>
            <p:cNvSpPr>
              <a:spLocks/>
            </p:cNvSpPr>
            <p:nvPr userDrawn="1">
              <p:custDataLst>
                <p:tags r:id="rId129"/>
              </p:custDataLst>
            </p:nvPr>
          </p:nvSpPr>
          <p:spPr bwMode="auto">
            <a:xfrm>
              <a:off x="11097399" y="4315018"/>
              <a:ext cx="1626" cy="1295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Freeform 192">
              <a:extLst>
                <a:ext uri="{FF2B5EF4-FFF2-40B4-BE49-F238E27FC236}">
                  <a16:creationId xmlns:a16="http://schemas.microsoft.com/office/drawing/2014/main" id="{9FFBC7C5-43A7-C347-A2D9-D3832802D722}"/>
                </a:ext>
              </a:extLst>
            </p:cNvPr>
            <p:cNvSpPr>
              <a:spLocks/>
            </p:cNvSpPr>
            <p:nvPr userDrawn="1">
              <p:custDataLst>
                <p:tags r:id="rId130"/>
              </p:custDataLst>
            </p:nvPr>
          </p:nvSpPr>
          <p:spPr bwMode="auto">
            <a:xfrm>
              <a:off x="10314957" y="3867330"/>
              <a:ext cx="1044340" cy="823404"/>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1" name="Freeform 193">
              <a:extLst>
                <a:ext uri="{FF2B5EF4-FFF2-40B4-BE49-F238E27FC236}">
                  <a16:creationId xmlns:a16="http://schemas.microsoft.com/office/drawing/2014/main" id="{76270DBD-5C1A-D84F-919F-5CB4362EE072}"/>
                </a:ext>
              </a:extLst>
            </p:cNvPr>
            <p:cNvSpPr>
              <a:spLocks/>
            </p:cNvSpPr>
            <p:nvPr userDrawn="1">
              <p:custDataLst>
                <p:tags r:id="rId131"/>
              </p:custDataLst>
            </p:nvPr>
          </p:nvSpPr>
          <p:spPr bwMode="auto">
            <a:xfrm>
              <a:off x="4665436" y="2658137"/>
              <a:ext cx="684839" cy="52686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Freeform 194">
              <a:extLst>
                <a:ext uri="{FF2B5EF4-FFF2-40B4-BE49-F238E27FC236}">
                  <a16:creationId xmlns:a16="http://schemas.microsoft.com/office/drawing/2014/main" id="{1B2A126E-13E3-F643-810D-A6E8E89EC0B0}"/>
                </a:ext>
              </a:extLst>
            </p:cNvPr>
            <p:cNvSpPr>
              <a:spLocks/>
            </p:cNvSpPr>
            <p:nvPr userDrawn="1">
              <p:custDataLst>
                <p:tags r:id="rId132"/>
              </p:custDataLst>
            </p:nvPr>
          </p:nvSpPr>
          <p:spPr bwMode="auto">
            <a:xfrm>
              <a:off x="5971673" y="4145157"/>
              <a:ext cx="216351" cy="240400"/>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Freeform 195">
              <a:extLst>
                <a:ext uri="{FF2B5EF4-FFF2-40B4-BE49-F238E27FC236}">
                  <a16:creationId xmlns:a16="http://schemas.microsoft.com/office/drawing/2014/main" id="{85CD5C69-057A-3048-BDB5-1F5CE355FF4D}"/>
                </a:ext>
              </a:extLst>
            </p:cNvPr>
            <p:cNvSpPr>
              <a:spLocks/>
            </p:cNvSpPr>
            <p:nvPr userDrawn="1">
              <p:custDataLst>
                <p:tags r:id="rId133"/>
              </p:custDataLst>
            </p:nvPr>
          </p:nvSpPr>
          <p:spPr bwMode="auto">
            <a:xfrm>
              <a:off x="6145730" y="3423959"/>
              <a:ext cx="74828" cy="99326"/>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4" name="Freeform 196">
              <a:extLst>
                <a:ext uri="{FF2B5EF4-FFF2-40B4-BE49-F238E27FC236}">
                  <a16:creationId xmlns:a16="http://schemas.microsoft.com/office/drawing/2014/main" id="{07644D19-124E-7140-9334-EDF44DFD3C2A}"/>
                </a:ext>
              </a:extLst>
            </p:cNvPr>
            <p:cNvSpPr>
              <a:spLocks/>
            </p:cNvSpPr>
            <p:nvPr userDrawn="1">
              <p:custDataLst>
                <p:tags r:id="rId134"/>
              </p:custDataLst>
            </p:nvPr>
          </p:nvSpPr>
          <p:spPr bwMode="auto">
            <a:xfrm>
              <a:off x="5647960" y="3023774"/>
              <a:ext cx="71574" cy="5326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5" name="Freeform 204">
              <a:extLst>
                <a:ext uri="{FF2B5EF4-FFF2-40B4-BE49-F238E27FC236}">
                  <a16:creationId xmlns:a16="http://schemas.microsoft.com/office/drawing/2014/main" id="{79DDAB0F-143D-9248-AAA6-C8BC27BDA8D0}"/>
                </a:ext>
              </a:extLst>
            </p:cNvPr>
            <p:cNvSpPr>
              <a:spLocks/>
            </p:cNvSpPr>
            <p:nvPr userDrawn="1">
              <p:custDataLst>
                <p:tags r:id="rId135"/>
              </p:custDataLst>
            </p:nvPr>
          </p:nvSpPr>
          <p:spPr bwMode="auto">
            <a:xfrm>
              <a:off x="5797617" y="4797258"/>
              <a:ext cx="26027" cy="54702"/>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6" name="Freeform 205">
              <a:extLst>
                <a:ext uri="{FF2B5EF4-FFF2-40B4-BE49-F238E27FC236}">
                  <a16:creationId xmlns:a16="http://schemas.microsoft.com/office/drawing/2014/main" id="{AB254E16-C9C8-3C4A-A8FE-6EDD4A88B635}"/>
                </a:ext>
              </a:extLst>
            </p:cNvPr>
            <p:cNvSpPr>
              <a:spLocks/>
            </p:cNvSpPr>
            <p:nvPr userDrawn="1">
              <p:custDataLst>
                <p:tags r:id="rId136"/>
              </p:custDataLst>
            </p:nvPr>
          </p:nvSpPr>
          <p:spPr bwMode="auto">
            <a:xfrm>
              <a:off x="5828524" y="4883629"/>
              <a:ext cx="17894" cy="4894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Freeform 206">
              <a:extLst>
                <a:ext uri="{FF2B5EF4-FFF2-40B4-BE49-F238E27FC236}">
                  <a16:creationId xmlns:a16="http://schemas.microsoft.com/office/drawing/2014/main" id="{705E7F64-0466-5F49-ACC2-3609193E82DA}"/>
                </a:ext>
              </a:extLst>
            </p:cNvPr>
            <p:cNvSpPr>
              <a:spLocks/>
            </p:cNvSpPr>
            <p:nvPr userDrawn="1">
              <p:custDataLst>
                <p:tags r:id="rId137"/>
              </p:custDataLst>
            </p:nvPr>
          </p:nvSpPr>
          <p:spPr bwMode="auto">
            <a:xfrm>
              <a:off x="5833404" y="4903783"/>
              <a:ext cx="8133" cy="5326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Freeform 207">
              <a:extLst>
                <a:ext uri="{FF2B5EF4-FFF2-40B4-BE49-F238E27FC236}">
                  <a16:creationId xmlns:a16="http://schemas.microsoft.com/office/drawing/2014/main" id="{92A4BDB8-62C8-EC40-AD69-C0C1AFB08F68}"/>
                </a:ext>
              </a:extLst>
            </p:cNvPr>
            <p:cNvSpPr>
              <a:spLocks/>
            </p:cNvSpPr>
            <p:nvPr userDrawn="1">
              <p:custDataLst>
                <p:tags r:id="rId138"/>
              </p:custDataLst>
            </p:nvPr>
          </p:nvSpPr>
          <p:spPr bwMode="auto">
            <a:xfrm>
              <a:off x="5848044" y="4959924"/>
              <a:ext cx="17894" cy="54702"/>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Freeform 208">
              <a:extLst>
                <a:ext uri="{FF2B5EF4-FFF2-40B4-BE49-F238E27FC236}">
                  <a16:creationId xmlns:a16="http://schemas.microsoft.com/office/drawing/2014/main" id="{9E2ABEF8-A966-A04A-B1C0-4D8DF0C89616}"/>
                </a:ext>
              </a:extLst>
            </p:cNvPr>
            <p:cNvSpPr>
              <a:spLocks/>
            </p:cNvSpPr>
            <p:nvPr userDrawn="1">
              <p:custDataLst>
                <p:tags r:id="rId139"/>
              </p:custDataLst>
            </p:nvPr>
          </p:nvSpPr>
          <p:spPr bwMode="auto">
            <a:xfrm>
              <a:off x="5835030" y="4971438"/>
              <a:ext cx="27654" cy="5326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Freeform 209">
              <a:extLst>
                <a:ext uri="{FF2B5EF4-FFF2-40B4-BE49-F238E27FC236}">
                  <a16:creationId xmlns:a16="http://schemas.microsoft.com/office/drawing/2014/main" id="{0434B95E-BF4F-AB45-899C-4BB105EBCEF8}"/>
                </a:ext>
              </a:extLst>
            </p:cNvPr>
            <p:cNvSpPr>
              <a:spLocks/>
            </p:cNvSpPr>
            <p:nvPr userDrawn="1">
              <p:custDataLst>
                <p:tags r:id="rId140"/>
              </p:custDataLst>
            </p:nvPr>
          </p:nvSpPr>
          <p:spPr bwMode="auto">
            <a:xfrm>
              <a:off x="5865937" y="5001670"/>
              <a:ext cx="11387" cy="5326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1" name="Freeform 210">
              <a:extLst>
                <a:ext uri="{FF2B5EF4-FFF2-40B4-BE49-F238E27FC236}">
                  <a16:creationId xmlns:a16="http://schemas.microsoft.com/office/drawing/2014/main" id="{3CB718ED-13B3-A84F-A87B-265B955DFDD0}"/>
                </a:ext>
              </a:extLst>
            </p:cNvPr>
            <p:cNvSpPr>
              <a:spLocks/>
            </p:cNvSpPr>
            <p:nvPr userDrawn="1">
              <p:custDataLst>
                <p:tags r:id="rId141"/>
              </p:custDataLst>
            </p:nvPr>
          </p:nvSpPr>
          <p:spPr bwMode="auto">
            <a:xfrm>
              <a:off x="5862685" y="5031899"/>
              <a:ext cx="21146" cy="5038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2" name="Freeform 211">
              <a:extLst>
                <a:ext uri="{FF2B5EF4-FFF2-40B4-BE49-F238E27FC236}">
                  <a16:creationId xmlns:a16="http://schemas.microsoft.com/office/drawing/2014/main" id="{41B6F2A7-599F-E047-884B-7E11B259AEA1}"/>
                </a:ext>
              </a:extLst>
            </p:cNvPr>
            <p:cNvSpPr>
              <a:spLocks/>
            </p:cNvSpPr>
            <p:nvPr userDrawn="1">
              <p:custDataLst>
                <p:tags r:id="rId142"/>
              </p:custDataLst>
            </p:nvPr>
          </p:nvSpPr>
          <p:spPr bwMode="auto">
            <a:xfrm>
              <a:off x="5887086" y="5044855"/>
              <a:ext cx="17894" cy="51823"/>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Freeform 215">
              <a:extLst>
                <a:ext uri="{FF2B5EF4-FFF2-40B4-BE49-F238E27FC236}">
                  <a16:creationId xmlns:a16="http://schemas.microsoft.com/office/drawing/2014/main" id="{C1B453C5-A5AC-124F-957E-3A870E43CC30}"/>
                </a:ext>
              </a:extLst>
            </p:cNvPr>
            <p:cNvSpPr>
              <a:spLocks/>
            </p:cNvSpPr>
            <p:nvPr userDrawn="1">
              <p:custDataLst>
                <p:tags r:id="rId143"/>
              </p:custDataLst>
            </p:nvPr>
          </p:nvSpPr>
          <p:spPr bwMode="auto">
            <a:xfrm>
              <a:off x="5545478" y="3055443"/>
              <a:ext cx="53681" cy="5326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Freeform 216">
              <a:extLst>
                <a:ext uri="{FF2B5EF4-FFF2-40B4-BE49-F238E27FC236}">
                  <a16:creationId xmlns:a16="http://schemas.microsoft.com/office/drawing/2014/main" id="{70E94300-6533-4F44-B92C-A628DA5130CD}"/>
                </a:ext>
              </a:extLst>
            </p:cNvPr>
            <p:cNvSpPr>
              <a:spLocks/>
            </p:cNvSpPr>
            <p:nvPr userDrawn="1">
              <p:custDataLst>
                <p:tags r:id="rId144"/>
              </p:custDataLst>
            </p:nvPr>
          </p:nvSpPr>
          <p:spPr bwMode="auto">
            <a:xfrm>
              <a:off x="5399076" y="2930203"/>
              <a:ext cx="257018" cy="99327"/>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5" name="Freeform 217">
              <a:extLst>
                <a:ext uri="{FF2B5EF4-FFF2-40B4-BE49-F238E27FC236}">
                  <a16:creationId xmlns:a16="http://schemas.microsoft.com/office/drawing/2014/main" id="{BD586F2E-973B-DB49-BE2E-11C54EE200B1}"/>
                </a:ext>
              </a:extLst>
            </p:cNvPr>
            <p:cNvSpPr>
              <a:spLocks/>
            </p:cNvSpPr>
            <p:nvPr userDrawn="1">
              <p:custDataLst>
                <p:tags r:id="rId145"/>
              </p:custDataLst>
            </p:nvPr>
          </p:nvSpPr>
          <p:spPr bwMode="auto">
            <a:xfrm>
              <a:off x="5711401" y="3023773"/>
              <a:ext cx="91095" cy="63338"/>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6" name="Freeform 218">
              <a:extLst>
                <a:ext uri="{FF2B5EF4-FFF2-40B4-BE49-F238E27FC236}">
                  <a16:creationId xmlns:a16="http://schemas.microsoft.com/office/drawing/2014/main" id="{C7938629-1D47-354B-823B-CDC812A19AAE}"/>
                </a:ext>
              </a:extLst>
            </p:cNvPr>
            <p:cNvSpPr>
              <a:spLocks/>
            </p:cNvSpPr>
            <p:nvPr userDrawn="1">
              <p:custDataLst>
                <p:tags r:id="rId146"/>
              </p:custDataLst>
            </p:nvPr>
          </p:nvSpPr>
          <p:spPr bwMode="auto">
            <a:xfrm>
              <a:off x="5268939" y="3078475"/>
              <a:ext cx="34161" cy="76294"/>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7" name="Freeform 219">
              <a:extLst>
                <a:ext uri="{FF2B5EF4-FFF2-40B4-BE49-F238E27FC236}">
                  <a16:creationId xmlns:a16="http://schemas.microsoft.com/office/drawing/2014/main" id="{C834F6B7-A359-5949-B31C-077EF931AE4A}"/>
                </a:ext>
              </a:extLst>
            </p:cNvPr>
            <p:cNvSpPr>
              <a:spLocks/>
            </p:cNvSpPr>
            <p:nvPr userDrawn="1">
              <p:custDataLst>
                <p:tags r:id="rId147"/>
              </p:custDataLst>
            </p:nvPr>
          </p:nvSpPr>
          <p:spPr bwMode="auto">
            <a:xfrm>
              <a:off x="5187605" y="3078474"/>
              <a:ext cx="95976" cy="132435"/>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8" name="Freeform 220">
              <a:extLst>
                <a:ext uri="{FF2B5EF4-FFF2-40B4-BE49-F238E27FC236}">
                  <a16:creationId xmlns:a16="http://schemas.microsoft.com/office/drawing/2014/main" id="{8341AF65-4A73-DF41-A372-6A0E2C761411}"/>
                </a:ext>
              </a:extLst>
            </p:cNvPr>
            <p:cNvSpPr>
              <a:spLocks/>
            </p:cNvSpPr>
            <p:nvPr userDrawn="1">
              <p:custDataLst>
                <p:tags r:id="rId148"/>
              </p:custDataLst>
            </p:nvPr>
          </p:nvSpPr>
          <p:spPr bwMode="auto">
            <a:xfrm>
              <a:off x="5236405" y="3179240"/>
              <a:ext cx="73202" cy="51823"/>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9" name="Freeform 221">
              <a:extLst>
                <a:ext uri="{FF2B5EF4-FFF2-40B4-BE49-F238E27FC236}">
                  <a16:creationId xmlns:a16="http://schemas.microsoft.com/office/drawing/2014/main" id="{A4261A1B-5DB6-704E-8CE7-AE6708264A92}"/>
                </a:ext>
              </a:extLst>
            </p:cNvPr>
            <p:cNvSpPr>
              <a:spLocks/>
            </p:cNvSpPr>
            <p:nvPr userDrawn="1">
              <p:custDataLst>
                <p:tags r:id="rId149"/>
              </p:custDataLst>
            </p:nvPr>
          </p:nvSpPr>
          <p:spPr bwMode="auto">
            <a:xfrm>
              <a:off x="5268940" y="3144691"/>
              <a:ext cx="146403" cy="7917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0" name="Freeform 222">
              <a:extLst>
                <a:ext uri="{FF2B5EF4-FFF2-40B4-BE49-F238E27FC236}">
                  <a16:creationId xmlns:a16="http://schemas.microsoft.com/office/drawing/2014/main" id="{C8D01A93-D22C-C44A-A465-415756CAE7DD}"/>
                </a:ext>
              </a:extLst>
            </p:cNvPr>
            <p:cNvSpPr>
              <a:spLocks/>
            </p:cNvSpPr>
            <p:nvPr userDrawn="1">
              <p:custDataLst>
                <p:tags r:id="rId150"/>
              </p:custDataLst>
            </p:nvPr>
          </p:nvSpPr>
          <p:spPr bwMode="auto">
            <a:xfrm>
              <a:off x="5286833" y="3172043"/>
              <a:ext cx="128509" cy="110843"/>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1" name="Freeform 223">
              <a:extLst>
                <a:ext uri="{FF2B5EF4-FFF2-40B4-BE49-F238E27FC236}">
                  <a16:creationId xmlns:a16="http://schemas.microsoft.com/office/drawing/2014/main" id="{1B0CE4E5-229E-ED46-B1CA-9889F33BAF2A}"/>
                </a:ext>
              </a:extLst>
            </p:cNvPr>
            <p:cNvSpPr>
              <a:spLocks/>
            </p:cNvSpPr>
            <p:nvPr userDrawn="1">
              <p:custDataLst>
                <p:tags r:id="rId151"/>
              </p:custDataLst>
            </p:nvPr>
          </p:nvSpPr>
          <p:spPr bwMode="auto">
            <a:xfrm>
              <a:off x="5338889" y="3274249"/>
              <a:ext cx="86214" cy="90689"/>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2" name="Freeform 224">
              <a:extLst>
                <a:ext uri="{FF2B5EF4-FFF2-40B4-BE49-F238E27FC236}">
                  <a16:creationId xmlns:a16="http://schemas.microsoft.com/office/drawing/2014/main" id="{4A717C39-22A3-4C41-879C-45F0A5314832}"/>
                </a:ext>
              </a:extLst>
            </p:cNvPr>
            <p:cNvSpPr>
              <a:spLocks/>
            </p:cNvSpPr>
            <p:nvPr userDrawn="1">
              <p:custDataLst>
                <p:tags r:id="rId152"/>
              </p:custDataLst>
            </p:nvPr>
          </p:nvSpPr>
          <p:spPr bwMode="auto">
            <a:xfrm>
              <a:off x="5421850" y="3323193"/>
              <a:ext cx="146403" cy="719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3" name="Freeform 225">
              <a:extLst>
                <a:ext uri="{FF2B5EF4-FFF2-40B4-BE49-F238E27FC236}">
                  <a16:creationId xmlns:a16="http://schemas.microsoft.com/office/drawing/2014/main" id="{33B34D14-A50A-EC46-A0C4-1FE60E729D95}"/>
                </a:ext>
              </a:extLst>
            </p:cNvPr>
            <p:cNvSpPr>
              <a:spLocks/>
            </p:cNvSpPr>
            <p:nvPr userDrawn="1">
              <p:custDataLst>
                <p:tags r:id="rId153"/>
              </p:custDataLst>
            </p:nvPr>
          </p:nvSpPr>
          <p:spPr bwMode="auto">
            <a:xfrm>
              <a:off x="6119702" y="4460411"/>
              <a:ext cx="136642" cy="141073"/>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4" name="Freeform 226">
              <a:extLst>
                <a:ext uri="{FF2B5EF4-FFF2-40B4-BE49-F238E27FC236}">
                  <a16:creationId xmlns:a16="http://schemas.microsoft.com/office/drawing/2014/main" id="{E78B3806-C747-5145-BE85-08E48317FECF}"/>
                </a:ext>
              </a:extLst>
            </p:cNvPr>
            <p:cNvSpPr>
              <a:spLocks/>
            </p:cNvSpPr>
            <p:nvPr userDrawn="1">
              <p:custDataLst>
                <p:tags r:id="rId154"/>
              </p:custDataLst>
            </p:nvPr>
          </p:nvSpPr>
          <p:spPr bwMode="auto">
            <a:xfrm>
              <a:off x="7704107" y="1392801"/>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5" name="Freeform 227">
              <a:extLst>
                <a:ext uri="{FF2B5EF4-FFF2-40B4-BE49-F238E27FC236}">
                  <a16:creationId xmlns:a16="http://schemas.microsoft.com/office/drawing/2014/main" id="{7076EB72-E262-9F43-AC8A-573942532C7C}"/>
                </a:ext>
              </a:extLst>
            </p:cNvPr>
            <p:cNvSpPr>
              <a:spLocks/>
            </p:cNvSpPr>
            <p:nvPr userDrawn="1">
              <p:custDataLst>
                <p:tags r:id="rId155"/>
              </p:custDataLst>
            </p:nvPr>
          </p:nvSpPr>
          <p:spPr bwMode="auto">
            <a:xfrm>
              <a:off x="7629278" y="1601530"/>
              <a:ext cx="460355" cy="32821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6" name="Freeform 228">
              <a:extLst>
                <a:ext uri="{FF2B5EF4-FFF2-40B4-BE49-F238E27FC236}">
                  <a16:creationId xmlns:a16="http://schemas.microsoft.com/office/drawing/2014/main" id="{F8CE5FDA-3BBB-164B-8F06-D5B5254A7F46}"/>
                </a:ext>
              </a:extLst>
            </p:cNvPr>
            <p:cNvSpPr>
              <a:spLocks/>
            </p:cNvSpPr>
            <p:nvPr userDrawn="1">
              <p:custDataLst>
                <p:tags r:id="rId156"/>
              </p:custDataLst>
            </p:nvPr>
          </p:nvSpPr>
          <p:spPr bwMode="auto">
            <a:xfrm>
              <a:off x="7977392" y="2364475"/>
              <a:ext cx="50427" cy="82052"/>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7" name="Freeform 229">
              <a:extLst>
                <a:ext uri="{FF2B5EF4-FFF2-40B4-BE49-F238E27FC236}">
                  <a16:creationId xmlns:a16="http://schemas.microsoft.com/office/drawing/2014/main" id="{C7744873-04A7-4A45-8FD2-423942F49101}"/>
                </a:ext>
              </a:extLst>
            </p:cNvPr>
            <p:cNvSpPr>
              <a:spLocks/>
            </p:cNvSpPr>
            <p:nvPr userDrawn="1">
              <p:custDataLst>
                <p:tags r:id="rId157"/>
              </p:custDataLst>
            </p:nvPr>
          </p:nvSpPr>
          <p:spPr bwMode="auto">
            <a:xfrm>
              <a:off x="7678080" y="2219083"/>
              <a:ext cx="86214" cy="5326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8" name="Freeform 230">
              <a:extLst>
                <a:ext uri="{FF2B5EF4-FFF2-40B4-BE49-F238E27FC236}">
                  <a16:creationId xmlns:a16="http://schemas.microsoft.com/office/drawing/2014/main" id="{657FFAB2-31CD-6D42-8E8D-2C873C9FB361}"/>
                </a:ext>
              </a:extLst>
            </p:cNvPr>
            <p:cNvSpPr>
              <a:spLocks/>
            </p:cNvSpPr>
            <p:nvPr userDrawn="1">
              <p:custDataLst>
                <p:tags r:id="rId158"/>
              </p:custDataLst>
            </p:nvPr>
          </p:nvSpPr>
          <p:spPr bwMode="auto">
            <a:xfrm>
              <a:off x="7620248" y="2071812"/>
              <a:ext cx="86216" cy="6621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9" name="Freeform 231">
              <a:extLst>
                <a:ext uri="{FF2B5EF4-FFF2-40B4-BE49-F238E27FC236}">
                  <a16:creationId xmlns:a16="http://schemas.microsoft.com/office/drawing/2014/main" id="{4A1CF394-62FC-5845-9886-8A5710C86EF4}"/>
                </a:ext>
              </a:extLst>
            </p:cNvPr>
            <p:cNvSpPr>
              <a:spLocks/>
            </p:cNvSpPr>
            <p:nvPr userDrawn="1">
              <p:custDataLst>
                <p:tags r:id="rId159"/>
              </p:custDataLst>
            </p:nvPr>
          </p:nvSpPr>
          <p:spPr bwMode="auto">
            <a:xfrm>
              <a:off x="7609145" y="2123781"/>
              <a:ext cx="86216" cy="51823"/>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0" name="Freeform 232">
              <a:extLst>
                <a:ext uri="{FF2B5EF4-FFF2-40B4-BE49-F238E27FC236}">
                  <a16:creationId xmlns:a16="http://schemas.microsoft.com/office/drawing/2014/main" id="{4F41C89A-AC30-6A4A-960B-FFF2E84137C9}"/>
                </a:ext>
              </a:extLst>
            </p:cNvPr>
            <p:cNvSpPr>
              <a:spLocks/>
            </p:cNvSpPr>
            <p:nvPr userDrawn="1">
              <p:custDataLst>
                <p:tags r:id="rId160"/>
              </p:custDataLst>
            </p:nvPr>
          </p:nvSpPr>
          <p:spPr bwMode="auto">
            <a:xfrm>
              <a:off x="8374306" y="2614950"/>
              <a:ext cx="34160" cy="11947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1" name="Freeform 233">
              <a:extLst>
                <a:ext uri="{FF2B5EF4-FFF2-40B4-BE49-F238E27FC236}">
                  <a16:creationId xmlns:a16="http://schemas.microsoft.com/office/drawing/2014/main" id="{D2A26F27-87E7-3643-8134-A7185FF566D9}"/>
                </a:ext>
              </a:extLst>
            </p:cNvPr>
            <p:cNvSpPr>
              <a:spLocks/>
            </p:cNvSpPr>
            <p:nvPr userDrawn="1">
              <p:custDataLst>
                <p:tags r:id="rId161"/>
              </p:custDataLst>
            </p:nvPr>
          </p:nvSpPr>
          <p:spPr bwMode="auto">
            <a:xfrm>
              <a:off x="8322251" y="2662455"/>
              <a:ext cx="71574" cy="118041"/>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2" name="Freeform 234">
              <a:extLst>
                <a:ext uri="{FF2B5EF4-FFF2-40B4-BE49-F238E27FC236}">
                  <a16:creationId xmlns:a16="http://schemas.microsoft.com/office/drawing/2014/main" id="{61D6D88F-4068-B04C-AEE5-04000D797985}"/>
                </a:ext>
              </a:extLst>
            </p:cNvPr>
            <p:cNvSpPr>
              <a:spLocks/>
            </p:cNvSpPr>
            <p:nvPr userDrawn="1">
              <p:custDataLst>
                <p:tags r:id="rId162"/>
              </p:custDataLst>
            </p:nvPr>
          </p:nvSpPr>
          <p:spPr bwMode="auto">
            <a:xfrm>
              <a:off x="7299058" y="1985881"/>
              <a:ext cx="99229" cy="130996"/>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3" name="Freeform 235">
              <a:extLst>
                <a:ext uri="{FF2B5EF4-FFF2-40B4-BE49-F238E27FC236}">
                  <a16:creationId xmlns:a16="http://schemas.microsoft.com/office/drawing/2014/main" id="{B9C3938D-E101-B641-861F-2A9EBEE5A9C4}"/>
                </a:ext>
              </a:extLst>
            </p:cNvPr>
            <p:cNvSpPr>
              <a:spLocks/>
            </p:cNvSpPr>
            <p:nvPr userDrawn="1">
              <p:custDataLst>
                <p:tags r:id="rId163"/>
              </p:custDataLst>
            </p:nvPr>
          </p:nvSpPr>
          <p:spPr bwMode="auto">
            <a:xfrm>
              <a:off x="7107108" y="2812164"/>
              <a:ext cx="313953" cy="354121"/>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4" name="Freeform 236">
              <a:extLst>
                <a:ext uri="{FF2B5EF4-FFF2-40B4-BE49-F238E27FC236}">
                  <a16:creationId xmlns:a16="http://schemas.microsoft.com/office/drawing/2014/main" id="{A8496CEE-BF21-0046-8C4C-AB697F9DA589}"/>
                </a:ext>
              </a:extLst>
            </p:cNvPr>
            <p:cNvSpPr>
              <a:spLocks/>
            </p:cNvSpPr>
            <p:nvPr userDrawn="1">
              <p:custDataLst>
                <p:tags r:id="rId164"/>
              </p:custDataLst>
            </p:nvPr>
          </p:nvSpPr>
          <p:spPr bwMode="auto">
            <a:xfrm>
              <a:off x="7225858" y="2866866"/>
              <a:ext cx="424568" cy="42465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5" name="Freeform 237">
              <a:extLst>
                <a:ext uri="{FF2B5EF4-FFF2-40B4-BE49-F238E27FC236}">
                  <a16:creationId xmlns:a16="http://schemas.microsoft.com/office/drawing/2014/main" id="{E173AD3F-32E7-1D41-9995-2DEA53B840A6}"/>
                </a:ext>
              </a:extLst>
            </p:cNvPr>
            <p:cNvSpPr>
              <a:spLocks/>
            </p:cNvSpPr>
            <p:nvPr userDrawn="1">
              <p:custDataLst>
                <p:tags r:id="rId165"/>
              </p:custDataLst>
            </p:nvPr>
          </p:nvSpPr>
          <p:spPr bwMode="auto">
            <a:xfrm>
              <a:off x="7326713" y="2509864"/>
              <a:ext cx="505902" cy="525424"/>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6" name="Freeform 238">
              <a:extLst>
                <a:ext uri="{FF2B5EF4-FFF2-40B4-BE49-F238E27FC236}">
                  <a16:creationId xmlns:a16="http://schemas.microsoft.com/office/drawing/2014/main" id="{8931C3DB-7FE9-FC44-AC34-C86299130353}"/>
                </a:ext>
              </a:extLst>
            </p:cNvPr>
            <p:cNvSpPr>
              <a:spLocks/>
            </p:cNvSpPr>
            <p:nvPr userDrawn="1">
              <p:custDataLst>
                <p:tags r:id="rId166"/>
              </p:custDataLst>
            </p:nvPr>
          </p:nvSpPr>
          <p:spPr bwMode="auto">
            <a:xfrm>
              <a:off x="7774055" y="2632224"/>
              <a:ext cx="393661" cy="395867"/>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7" name="Freeform 239">
              <a:extLst>
                <a:ext uri="{FF2B5EF4-FFF2-40B4-BE49-F238E27FC236}">
                  <a16:creationId xmlns:a16="http://schemas.microsoft.com/office/drawing/2014/main" id="{84B0B00F-7BDA-0B4D-8314-05CFBD832331}"/>
                </a:ext>
              </a:extLst>
            </p:cNvPr>
            <p:cNvSpPr>
              <a:spLocks/>
            </p:cNvSpPr>
            <p:nvPr userDrawn="1">
              <p:custDataLst>
                <p:tags r:id="rId167"/>
              </p:custDataLst>
            </p:nvPr>
          </p:nvSpPr>
          <p:spPr bwMode="auto">
            <a:xfrm>
              <a:off x="7725254" y="2509864"/>
              <a:ext cx="95976" cy="21448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8" name="Freeform 240">
              <a:extLst>
                <a:ext uri="{FF2B5EF4-FFF2-40B4-BE49-F238E27FC236}">
                  <a16:creationId xmlns:a16="http://schemas.microsoft.com/office/drawing/2014/main" id="{E1E903CB-80CA-4E4F-992A-B9331238C4DD}"/>
                </a:ext>
              </a:extLst>
            </p:cNvPr>
            <p:cNvSpPr>
              <a:spLocks/>
            </p:cNvSpPr>
            <p:nvPr userDrawn="1">
              <p:custDataLst>
                <p:tags r:id="rId168"/>
              </p:custDataLst>
            </p:nvPr>
          </p:nvSpPr>
          <p:spPr bwMode="auto">
            <a:xfrm>
              <a:off x="7092469" y="2792010"/>
              <a:ext cx="237498" cy="19577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9" name="Freeform 241">
              <a:extLst>
                <a:ext uri="{FF2B5EF4-FFF2-40B4-BE49-F238E27FC236}">
                  <a16:creationId xmlns:a16="http://schemas.microsoft.com/office/drawing/2014/main" id="{50BB13BD-F7D6-334E-B365-7AD0F36B78FF}"/>
                </a:ext>
              </a:extLst>
            </p:cNvPr>
            <p:cNvSpPr>
              <a:spLocks/>
            </p:cNvSpPr>
            <p:nvPr userDrawn="1">
              <p:custDataLst>
                <p:tags r:id="rId169"/>
              </p:custDataLst>
            </p:nvPr>
          </p:nvSpPr>
          <p:spPr bwMode="auto">
            <a:xfrm>
              <a:off x="7059934" y="1710933"/>
              <a:ext cx="195204" cy="84930"/>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0" name="Freeform 242">
              <a:extLst>
                <a:ext uri="{FF2B5EF4-FFF2-40B4-BE49-F238E27FC236}">
                  <a16:creationId xmlns:a16="http://schemas.microsoft.com/office/drawing/2014/main" id="{E1DB6696-E613-354B-93CC-C4E2A6E50B79}"/>
                </a:ext>
              </a:extLst>
            </p:cNvPr>
            <p:cNvSpPr>
              <a:spLocks/>
            </p:cNvSpPr>
            <p:nvPr userDrawn="1">
              <p:custDataLst>
                <p:tags r:id="rId170"/>
              </p:custDataLst>
            </p:nvPr>
          </p:nvSpPr>
          <p:spPr bwMode="auto">
            <a:xfrm>
              <a:off x="7871655" y="1949893"/>
              <a:ext cx="14640" cy="51823"/>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1" name="Freeform 243">
              <a:extLst>
                <a:ext uri="{FF2B5EF4-FFF2-40B4-BE49-F238E27FC236}">
                  <a16:creationId xmlns:a16="http://schemas.microsoft.com/office/drawing/2014/main" id="{50DAEEEB-B711-A14E-BC88-F55D2E9B37EB}"/>
                </a:ext>
              </a:extLst>
            </p:cNvPr>
            <p:cNvSpPr>
              <a:spLocks/>
            </p:cNvSpPr>
            <p:nvPr userDrawn="1">
              <p:custDataLst>
                <p:tags r:id="rId171"/>
              </p:custDataLst>
            </p:nvPr>
          </p:nvSpPr>
          <p:spPr bwMode="auto">
            <a:xfrm>
              <a:off x="7756160" y="1644716"/>
              <a:ext cx="240751" cy="35843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2" name="Freeform 244">
              <a:extLst>
                <a:ext uri="{FF2B5EF4-FFF2-40B4-BE49-F238E27FC236}">
                  <a16:creationId xmlns:a16="http://schemas.microsoft.com/office/drawing/2014/main" id="{3B49DE5E-8E43-F149-8630-F9DE19A1B047}"/>
                </a:ext>
              </a:extLst>
            </p:cNvPr>
            <p:cNvSpPr>
              <a:spLocks/>
            </p:cNvSpPr>
            <p:nvPr userDrawn="1">
              <p:custDataLst>
                <p:tags r:id="rId172"/>
              </p:custDataLst>
            </p:nvPr>
          </p:nvSpPr>
          <p:spPr bwMode="auto">
            <a:xfrm>
              <a:off x="7897683" y="1929740"/>
              <a:ext cx="27654" cy="51823"/>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3" name="Freeform 245">
              <a:extLst>
                <a:ext uri="{FF2B5EF4-FFF2-40B4-BE49-F238E27FC236}">
                  <a16:creationId xmlns:a16="http://schemas.microsoft.com/office/drawing/2014/main" id="{499570E6-151B-4348-BFDA-269D4C62D23E}"/>
                </a:ext>
              </a:extLst>
            </p:cNvPr>
            <p:cNvSpPr>
              <a:spLocks/>
            </p:cNvSpPr>
            <p:nvPr userDrawn="1">
              <p:custDataLst>
                <p:tags r:id="rId173"/>
              </p:custDataLst>
            </p:nvPr>
          </p:nvSpPr>
          <p:spPr bwMode="auto">
            <a:xfrm>
              <a:off x="7328340" y="2076571"/>
              <a:ext cx="29281" cy="51823"/>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4" name="Freeform 246">
              <a:extLst>
                <a:ext uri="{FF2B5EF4-FFF2-40B4-BE49-F238E27FC236}">
                  <a16:creationId xmlns:a16="http://schemas.microsoft.com/office/drawing/2014/main" id="{7F50AEAF-F8BC-2341-AE1C-F220AFBB2266}"/>
                </a:ext>
              </a:extLst>
            </p:cNvPr>
            <p:cNvSpPr>
              <a:spLocks/>
            </p:cNvSpPr>
            <p:nvPr userDrawn="1">
              <p:custDataLst>
                <p:tags r:id="rId174"/>
              </p:custDataLst>
            </p:nvPr>
          </p:nvSpPr>
          <p:spPr bwMode="auto">
            <a:xfrm>
              <a:off x="8304357" y="2555930"/>
              <a:ext cx="52054" cy="51823"/>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5" name="Freeform 247">
              <a:extLst>
                <a:ext uri="{FF2B5EF4-FFF2-40B4-BE49-F238E27FC236}">
                  <a16:creationId xmlns:a16="http://schemas.microsoft.com/office/drawing/2014/main" id="{12457CE3-42E8-8147-9564-4B47DA0B1970}"/>
                </a:ext>
              </a:extLst>
            </p:cNvPr>
            <p:cNvSpPr>
              <a:spLocks/>
            </p:cNvSpPr>
            <p:nvPr userDrawn="1">
              <p:custDataLst>
                <p:tags r:id="rId175"/>
              </p:custDataLst>
            </p:nvPr>
          </p:nvSpPr>
          <p:spPr bwMode="auto">
            <a:xfrm>
              <a:off x="7902564" y="3274250"/>
              <a:ext cx="333472" cy="221686"/>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Freeform 248">
              <a:extLst>
                <a:ext uri="{FF2B5EF4-FFF2-40B4-BE49-F238E27FC236}">
                  <a16:creationId xmlns:a16="http://schemas.microsoft.com/office/drawing/2014/main" id="{10D0F6E1-7B0E-4143-932E-C8B16C653CF3}"/>
                </a:ext>
              </a:extLst>
            </p:cNvPr>
            <p:cNvSpPr>
              <a:spLocks/>
            </p:cNvSpPr>
            <p:nvPr userDrawn="1">
              <p:custDataLst>
                <p:tags r:id="rId176"/>
              </p:custDataLst>
            </p:nvPr>
          </p:nvSpPr>
          <p:spPr bwMode="auto">
            <a:xfrm>
              <a:off x="7837496" y="3426838"/>
              <a:ext cx="512409" cy="500952"/>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7" name="Freeform 249">
              <a:extLst>
                <a:ext uri="{FF2B5EF4-FFF2-40B4-BE49-F238E27FC236}">
                  <a16:creationId xmlns:a16="http://schemas.microsoft.com/office/drawing/2014/main" id="{3CC58B44-8D0D-994A-84C7-A30EAAA28DB2}"/>
                </a:ext>
              </a:extLst>
            </p:cNvPr>
            <p:cNvSpPr>
              <a:spLocks/>
            </p:cNvSpPr>
            <p:nvPr userDrawn="1">
              <p:custDataLst>
                <p:tags r:id="rId177"/>
              </p:custDataLst>
            </p:nvPr>
          </p:nvSpPr>
          <p:spPr bwMode="auto">
            <a:xfrm>
              <a:off x="7772428" y="3517527"/>
              <a:ext cx="56934" cy="5038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8" name="Freeform 250">
              <a:extLst>
                <a:ext uri="{FF2B5EF4-FFF2-40B4-BE49-F238E27FC236}">
                  <a16:creationId xmlns:a16="http://schemas.microsoft.com/office/drawing/2014/main" id="{9F7F416B-A530-D649-AC96-93B97D04D111}"/>
                </a:ext>
              </a:extLst>
            </p:cNvPr>
            <p:cNvSpPr>
              <a:spLocks/>
            </p:cNvSpPr>
            <p:nvPr userDrawn="1">
              <p:custDataLst>
                <p:tags r:id="rId178"/>
              </p:custDataLst>
            </p:nvPr>
          </p:nvSpPr>
          <p:spPr bwMode="auto">
            <a:xfrm>
              <a:off x="7754534" y="3517527"/>
              <a:ext cx="156163" cy="182819"/>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9" name="Freeform 251">
              <a:extLst>
                <a:ext uri="{FF2B5EF4-FFF2-40B4-BE49-F238E27FC236}">
                  <a16:creationId xmlns:a16="http://schemas.microsoft.com/office/drawing/2014/main" id="{871DD95E-D92D-4341-80E5-8E07D487B713}"/>
                </a:ext>
              </a:extLst>
            </p:cNvPr>
            <p:cNvSpPr>
              <a:spLocks/>
            </p:cNvSpPr>
            <p:nvPr userDrawn="1">
              <p:custDataLst>
                <p:tags r:id="rId179"/>
              </p:custDataLst>
            </p:nvPr>
          </p:nvSpPr>
          <p:spPr bwMode="auto">
            <a:xfrm>
              <a:off x="8301104" y="3884604"/>
              <a:ext cx="266779" cy="472161"/>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0" name="Freeform 252">
              <a:extLst>
                <a:ext uri="{FF2B5EF4-FFF2-40B4-BE49-F238E27FC236}">
                  <a16:creationId xmlns:a16="http://schemas.microsoft.com/office/drawing/2014/main" id="{2BB5D2BF-A302-AA4B-AAB4-3C74F9CCA9E5}"/>
                </a:ext>
              </a:extLst>
            </p:cNvPr>
            <p:cNvSpPr>
              <a:spLocks/>
            </p:cNvSpPr>
            <p:nvPr userDrawn="1">
              <p:custDataLst>
                <p:tags r:id="rId180"/>
              </p:custDataLst>
            </p:nvPr>
          </p:nvSpPr>
          <p:spPr bwMode="auto">
            <a:xfrm>
              <a:off x="8029447" y="4101970"/>
              <a:ext cx="244004" cy="26055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1" name="Freeform 253">
              <a:extLst>
                <a:ext uri="{FF2B5EF4-FFF2-40B4-BE49-F238E27FC236}">
                  <a16:creationId xmlns:a16="http://schemas.microsoft.com/office/drawing/2014/main" id="{0F4BD295-9EDC-514F-A739-48A5297236E8}"/>
                </a:ext>
              </a:extLst>
            </p:cNvPr>
            <p:cNvSpPr>
              <a:spLocks/>
            </p:cNvSpPr>
            <p:nvPr userDrawn="1">
              <p:custDataLst>
                <p:tags r:id="rId181"/>
              </p:custDataLst>
            </p:nvPr>
          </p:nvSpPr>
          <p:spPr bwMode="auto">
            <a:xfrm>
              <a:off x="8616683" y="3922032"/>
              <a:ext cx="201711" cy="394427"/>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2" name="Freeform 254">
              <a:extLst>
                <a:ext uri="{FF2B5EF4-FFF2-40B4-BE49-F238E27FC236}">
                  <a16:creationId xmlns:a16="http://schemas.microsoft.com/office/drawing/2014/main" id="{94A5B8BE-1256-6347-8123-C910C6CDACB0}"/>
                </a:ext>
              </a:extLst>
            </p:cNvPr>
            <p:cNvSpPr>
              <a:spLocks/>
            </p:cNvSpPr>
            <p:nvPr userDrawn="1">
              <p:custDataLst>
                <p:tags r:id="rId182"/>
              </p:custDataLst>
            </p:nvPr>
          </p:nvSpPr>
          <p:spPr bwMode="auto">
            <a:xfrm>
              <a:off x="8284838" y="3648525"/>
              <a:ext cx="37415" cy="60460"/>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3" name="Freeform 255">
              <a:extLst>
                <a:ext uri="{FF2B5EF4-FFF2-40B4-BE49-F238E27FC236}">
                  <a16:creationId xmlns:a16="http://schemas.microsoft.com/office/drawing/2014/main" id="{81C7E6D6-B806-7947-A6BF-E136ACA4E09C}"/>
                </a:ext>
              </a:extLst>
            </p:cNvPr>
            <p:cNvSpPr>
              <a:spLocks/>
            </p:cNvSpPr>
            <p:nvPr userDrawn="1">
              <p:custDataLst>
                <p:tags r:id="rId183"/>
              </p:custDataLst>
            </p:nvPr>
          </p:nvSpPr>
          <p:spPr bwMode="auto">
            <a:xfrm>
              <a:off x="8273450" y="3612535"/>
              <a:ext cx="56934" cy="54702"/>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4" name="Freeform 256">
              <a:extLst>
                <a:ext uri="{FF2B5EF4-FFF2-40B4-BE49-F238E27FC236}">
                  <a16:creationId xmlns:a16="http://schemas.microsoft.com/office/drawing/2014/main" id="{299885A6-679F-1844-B35F-0FB5611CCA82}"/>
                </a:ext>
              </a:extLst>
            </p:cNvPr>
            <p:cNvSpPr>
              <a:spLocks/>
            </p:cNvSpPr>
            <p:nvPr userDrawn="1">
              <p:custDataLst>
                <p:tags r:id="rId184"/>
              </p:custDataLst>
            </p:nvPr>
          </p:nvSpPr>
          <p:spPr bwMode="auto">
            <a:xfrm>
              <a:off x="8590656" y="2433572"/>
              <a:ext cx="515664" cy="42897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5" name="Freeform 257">
              <a:extLst>
                <a:ext uri="{FF2B5EF4-FFF2-40B4-BE49-F238E27FC236}">
                  <a16:creationId xmlns:a16="http://schemas.microsoft.com/office/drawing/2014/main" id="{F0CF6AF6-959D-9141-A503-4A67AEAC173F}"/>
                </a:ext>
              </a:extLst>
            </p:cNvPr>
            <p:cNvSpPr>
              <a:spLocks/>
            </p:cNvSpPr>
            <p:nvPr userDrawn="1">
              <p:custDataLst>
                <p:tags r:id="rId185"/>
              </p:custDataLst>
            </p:nvPr>
          </p:nvSpPr>
          <p:spPr bwMode="auto">
            <a:xfrm>
              <a:off x="8615057" y="3029530"/>
              <a:ext cx="253765" cy="20729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6" name="Freeform 258">
              <a:extLst>
                <a:ext uri="{FF2B5EF4-FFF2-40B4-BE49-F238E27FC236}">
                  <a16:creationId xmlns:a16="http://schemas.microsoft.com/office/drawing/2014/main" id="{B9B4EBA7-4667-9442-AE8E-B5DB3E5FD0A2}"/>
                </a:ext>
              </a:extLst>
            </p:cNvPr>
            <p:cNvSpPr>
              <a:spLocks/>
            </p:cNvSpPr>
            <p:nvPr userDrawn="1">
              <p:custDataLst>
                <p:tags r:id="rId186"/>
              </p:custDataLst>
            </p:nvPr>
          </p:nvSpPr>
          <p:spPr bwMode="auto">
            <a:xfrm>
              <a:off x="8815140" y="2825119"/>
              <a:ext cx="123629" cy="10940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7" name="Freeform 259">
              <a:extLst>
                <a:ext uri="{FF2B5EF4-FFF2-40B4-BE49-F238E27FC236}">
                  <a16:creationId xmlns:a16="http://schemas.microsoft.com/office/drawing/2014/main" id="{23FC8288-974E-6945-AC21-B22EA0E5119E}"/>
                </a:ext>
              </a:extLst>
            </p:cNvPr>
            <p:cNvSpPr>
              <a:spLocks/>
            </p:cNvSpPr>
            <p:nvPr userDrawn="1">
              <p:custDataLst>
                <p:tags r:id="rId187"/>
              </p:custDataLst>
            </p:nvPr>
          </p:nvSpPr>
          <p:spPr bwMode="auto">
            <a:xfrm>
              <a:off x="8494681" y="2509865"/>
              <a:ext cx="227738" cy="23896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8" name="Freeform 260">
              <a:extLst>
                <a:ext uri="{FF2B5EF4-FFF2-40B4-BE49-F238E27FC236}">
                  <a16:creationId xmlns:a16="http://schemas.microsoft.com/office/drawing/2014/main" id="{A25C3F3C-C0CC-9544-AB1F-A358C19047BB}"/>
                </a:ext>
              </a:extLst>
            </p:cNvPr>
            <p:cNvSpPr>
              <a:spLocks/>
            </p:cNvSpPr>
            <p:nvPr userDrawn="1">
              <p:custDataLst>
                <p:tags r:id="rId188"/>
              </p:custDataLst>
            </p:nvPr>
          </p:nvSpPr>
          <p:spPr bwMode="auto">
            <a:xfrm>
              <a:off x="9007090" y="2473877"/>
              <a:ext cx="339980" cy="26343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9" name="Freeform 261">
              <a:extLst>
                <a:ext uri="{FF2B5EF4-FFF2-40B4-BE49-F238E27FC236}">
                  <a16:creationId xmlns:a16="http://schemas.microsoft.com/office/drawing/2014/main" id="{565B850B-75E3-064F-BA90-AB9A00397F43}"/>
                </a:ext>
              </a:extLst>
            </p:cNvPr>
            <p:cNvSpPr>
              <a:spLocks/>
            </p:cNvSpPr>
            <p:nvPr userDrawn="1">
              <p:custDataLst>
                <p:tags r:id="rId189"/>
              </p:custDataLst>
            </p:nvPr>
          </p:nvSpPr>
          <p:spPr bwMode="auto">
            <a:xfrm>
              <a:off x="9039626" y="2518502"/>
              <a:ext cx="374141" cy="3843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0" name="Freeform 262">
              <a:extLst>
                <a:ext uri="{FF2B5EF4-FFF2-40B4-BE49-F238E27FC236}">
                  <a16:creationId xmlns:a16="http://schemas.microsoft.com/office/drawing/2014/main" id="{9152548A-D544-B243-816B-B6E1C2479449}"/>
                </a:ext>
              </a:extLst>
            </p:cNvPr>
            <p:cNvSpPr>
              <a:spLocks/>
            </p:cNvSpPr>
            <p:nvPr userDrawn="1">
              <p:custDataLst>
                <p:tags r:id="rId190"/>
              </p:custDataLst>
            </p:nvPr>
          </p:nvSpPr>
          <p:spPr bwMode="auto">
            <a:xfrm>
              <a:off x="9849721" y="2761782"/>
              <a:ext cx="226112" cy="5311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1" name="Freeform 263">
              <a:extLst>
                <a:ext uri="{FF2B5EF4-FFF2-40B4-BE49-F238E27FC236}">
                  <a16:creationId xmlns:a16="http://schemas.microsoft.com/office/drawing/2014/main" id="{4A6B1118-2FA2-4242-BDF3-A37DBFE0A250}"/>
                </a:ext>
              </a:extLst>
            </p:cNvPr>
            <p:cNvSpPr>
              <a:spLocks/>
            </p:cNvSpPr>
            <p:nvPr userDrawn="1">
              <p:custDataLst>
                <p:tags r:id="rId191"/>
              </p:custDataLst>
            </p:nvPr>
          </p:nvSpPr>
          <p:spPr bwMode="auto">
            <a:xfrm>
              <a:off x="7107108" y="3223865"/>
              <a:ext cx="82962" cy="5326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2" name="Freeform 264">
              <a:extLst>
                <a:ext uri="{FF2B5EF4-FFF2-40B4-BE49-F238E27FC236}">
                  <a16:creationId xmlns:a16="http://schemas.microsoft.com/office/drawing/2014/main" id="{50552FB7-6730-2846-8057-32319CBD1CB4}"/>
                </a:ext>
              </a:extLst>
            </p:cNvPr>
            <p:cNvSpPr>
              <a:spLocks/>
            </p:cNvSpPr>
            <p:nvPr userDrawn="1">
              <p:custDataLst>
                <p:tags r:id="rId192"/>
              </p:custDataLst>
            </p:nvPr>
          </p:nvSpPr>
          <p:spPr bwMode="auto">
            <a:xfrm>
              <a:off x="7193323" y="3298721"/>
              <a:ext cx="76454" cy="90690"/>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3" name="Freeform 265">
              <a:extLst>
                <a:ext uri="{FF2B5EF4-FFF2-40B4-BE49-F238E27FC236}">
                  <a16:creationId xmlns:a16="http://schemas.microsoft.com/office/drawing/2014/main" id="{50B565A4-7BD8-2744-AB6B-81DE9865B5D8}"/>
                </a:ext>
              </a:extLst>
            </p:cNvPr>
            <p:cNvSpPr>
              <a:spLocks/>
            </p:cNvSpPr>
            <p:nvPr userDrawn="1">
              <p:custDataLst>
                <p:tags r:id="rId193"/>
              </p:custDataLst>
            </p:nvPr>
          </p:nvSpPr>
          <p:spPr bwMode="auto">
            <a:xfrm>
              <a:off x="7237245" y="3344785"/>
              <a:ext cx="107362" cy="11948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4" name="Freeform 266">
              <a:extLst>
                <a:ext uri="{FF2B5EF4-FFF2-40B4-BE49-F238E27FC236}">
                  <a16:creationId xmlns:a16="http://schemas.microsoft.com/office/drawing/2014/main" id="{6B36A293-621B-A240-9D28-40FDBE98AFB7}"/>
                </a:ext>
              </a:extLst>
            </p:cNvPr>
            <p:cNvSpPr>
              <a:spLocks/>
            </p:cNvSpPr>
            <p:nvPr userDrawn="1">
              <p:custDataLst>
                <p:tags r:id="rId194"/>
              </p:custDataLst>
            </p:nvPr>
          </p:nvSpPr>
          <p:spPr bwMode="auto">
            <a:xfrm>
              <a:off x="7456849" y="3271369"/>
              <a:ext cx="107362" cy="18281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5" name="Freeform 267">
              <a:extLst>
                <a:ext uri="{FF2B5EF4-FFF2-40B4-BE49-F238E27FC236}">
                  <a16:creationId xmlns:a16="http://schemas.microsoft.com/office/drawing/2014/main" id="{F0B9A040-AAAF-0147-AEE5-0242418FBFB8}"/>
                </a:ext>
              </a:extLst>
            </p:cNvPr>
            <p:cNvSpPr>
              <a:spLocks/>
            </p:cNvSpPr>
            <p:nvPr userDrawn="1">
              <p:custDataLst>
                <p:tags r:id="rId195"/>
              </p:custDataLst>
            </p:nvPr>
          </p:nvSpPr>
          <p:spPr bwMode="auto">
            <a:xfrm>
              <a:off x="7100602" y="3195075"/>
              <a:ext cx="89469" cy="5326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6" name="Freeform 268">
              <a:extLst>
                <a:ext uri="{FF2B5EF4-FFF2-40B4-BE49-F238E27FC236}">
                  <a16:creationId xmlns:a16="http://schemas.microsoft.com/office/drawing/2014/main" id="{EE85E5A1-5D88-AE41-BE57-0D4E58245A14}"/>
                </a:ext>
              </a:extLst>
            </p:cNvPr>
            <p:cNvSpPr>
              <a:spLocks/>
            </p:cNvSpPr>
            <p:nvPr userDrawn="1">
              <p:custDataLst>
                <p:tags r:id="rId196"/>
              </p:custDataLst>
            </p:nvPr>
          </p:nvSpPr>
          <p:spPr bwMode="auto">
            <a:xfrm>
              <a:off x="7536557" y="3265613"/>
              <a:ext cx="43921" cy="141073"/>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7" name="Freeform 269">
              <a:extLst>
                <a:ext uri="{FF2B5EF4-FFF2-40B4-BE49-F238E27FC236}">
                  <a16:creationId xmlns:a16="http://schemas.microsoft.com/office/drawing/2014/main" id="{823EE87E-9F68-EA4D-8D87-698522B2E877}"/>
                </a:ext>
              </a:extLst>
            </p:cNvPr>
            <p:cNvSpPr>
              <a:spLocks/>
            </p:cNvSpPr>
            <p:nvPr userDrawn="1">
              <p:custDataLst>
                <p:tags r:id="rId197"/>
              </p:custDataLst>
            </p:nvPr>
          </p:nvSpPr>
          <p:spPr bwMode="auto">
            <a:xfrm>
              <a:off x="7562583" y="3231063"/>
              <a:ext cx="78081" cy="17130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8" name="Freeform 270">
              <a:extLst>
                <a:ext uri="{FF2B5EF4-FFF2-40B4-BE49-F238E27FC236}">
                  <a16:creationId xmlns:a16="http://schemas.microsoft.com/office/drawing/2014/main" id="{F2C26CA8-064A-3C4D-9E98-7DD7B008757B}"/>
                </a:ext>
              </a:extLst>
            </p:cNvPr>
            <p:cNvSpPr>
              <a:spLocks/>
            </p:cNvSpPr>
            <p:nvPr userDrawn="1">
              <p:custDataLst>
                <p:tags r:id="rId198"/>
              </p:custDataLst>
            </p:nvPr>
          </p:nvSpPr>
          <p:spPr bwMode="auto">
            <a:xfrm>
              <a:off x="8309238" y="4323657"/>
              <a:ext cx="26027" cy="54702"/>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9" name="Freeform 271">
              <a:extLst>
                <a:ext uri="{FF2B5EF4-FFF2-40B4-BE49-F238E27FC236}">
                  <a16:creationId xmlns:a16="http://schemas.microsoft.com/office/drawing/2014/main" id="{7EC63933-DF1C-4D4D-BFDC-2607475F8F7A}"/>
                </a:ext>
              </a:extLst>
            </p:cNvPr>
            <p:cNvSpPr>
              <a:spLocks/>
            </p:cNvSpPr>
            <p:nvPr userDrawn="1">
              <p:custDataLst>
                <p:tags r:id="rId19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0" name="Freeform 272">
              <a:extLst>
                <a:ext uri="{FF2B5EF4-FFF2-40B4-BE49-F238E27FC236}">
                  <a16:creationId xmlns:a16="http://schemas.microsoft.com/office/drawing/2014/main" id="{653D356A-B949-D04B-AD63-855565C17A9F}"/>
                </a:ext>
              </a:extLst>
            </p:cNvPr>
            <p:cNvSpPr>
              <a:spLocks/>
            </p:cNvSpPr>
            <p:nvPr userDrawn="1">
              <p:custDataLst>
                <p:tags r:id="rId200"/>
              </p:custDataLst>
            </p:nvPr>
          </p:nvSpPr>
          <p:spPr bwMode="auto">
            <a:xfrm>
              <a:off x="10474372" y="2338563"/>
              <a:ext cx="123629" cy="15546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1" name="Freeform 273">
              <a:extLst>
                <a:ext uri="{FF2B5EF4-FFF2-40B4-BE49-F238E27FC236}">
                  <a16:creationId xmlns:a16="http://schemas.microsoft.com/office/drawing/2014/main" id="{8F25E0FE-0930-EB4A-B952-23070A102FA3}"/>
                </a:ext>
              </a:extLst>
            </p:cNvPr>
            <p:cNvSpPr>
              <a:spLocks/>
            </p:cNvSpPr>
            <p:nvPr userDrawn="1">
              <p:custDataLst>
                <p:tags r:id="rId201"/>
              </p:custDataLst>
            </p:nvPr>
          </p:nvSpPr>
          <p:spPr bwMode="auto">
            <a:xfrm>
              <a:off x="9522756" y="2714277"/>
              <a:ext cx="211471" cy="112282"/>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2" name="Freeform 274">
              <a:extLst>
                <a:ext uri="{FF2B5EF4-FFF2-40B4-BE49-F238E27FC236}">
                  <a16:creationId xmlns:a16="http://schemas.microsoft.com/office/drawing/2014/main" id="{475A417F-B874-EE4A-964C-D69BF04C1897}"/>
                </a:ext>
              </a:extLst>
            </p:cNvPr>
            <p:cNvSpPr>
              <a:spLocks/>
            </p:cNvSpPr>
            <p:nvPr userDrawn="1">
              <p:custDataLst>
                <p:tags r:id="rId202"/>
              </p:custDataLst>
            </p:nvPr>
          </p:nvSpPr>
          <p:spPr bwMode="auto">
            <a:xfrm>
              <a:off x="9743986" y="2764661"/>
              <a:ext cx="74828" cy="5902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3" name="Freeform 275">
              <a:extLst>
                <a:ext uri="{FF2B5EF4-FFF2-40B4-BE49-F238E27FC236}">
                  <a16:creationId xmlns:a16="http://schemas.microsoft.com/office/drawing/2014/main" id="{B19551EE-DDC4-384F-96EC-DEC9915D885C}"/>
                </a:ext>
              </a:extLst>
            </p:cNvPr>
            <p:cNvSpPr>
              <a:spLocks/>
            </p:cNvSpPr>
            <p:nvPr userDrawn="1">
              <p:custDataLst>
                <p:tags r:id="rId203"/>
              </p:custDataLst>
            </p:nvPr>
          </p:nvSpPr>
          <p:spPr bwMode="auto">
            <a:xfrm>
              <a:off x="9734225" y="2829437"/>
              <a:ext cx="136642" cy="151150"/>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4" name="Freeform 276">
              <a:extLst>
                <a:ext uri="{FF2B5EF4-FFF2-40B4-BE49-F238E27FC236}">
                  <a16:creationId xmlns:a16="http://schemas.microsoft.com/office/drawing/2014/main" id="{F88A2FAC-199A-B64A-94A9-C622E6EC1AAB}"/>
                </a:ext>
              </a:extLst>
            </p:cNvPr>
            <p:cNvSpPr>
              <a:spLocks/>
            </p:cNvSpPr>
            <p:nvPr userDrawn="1">
              <p:custDataLst>
                <p:tags r:id="rId204"/>
              </p:custDataLst>
            </p:nvPr>
          </p:nvSpPr>
          <p:spPr bwMode="auto">
            <a:xfrm>
              <a:off x="10059565" y="2934523"/>
              <a:ext cx="206590" cy="244718"/>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5" name="Freeform 277">
              <a:extLst>
                <a:ext uri="{FF2B5EF4-FFF2-40B4-BE49-F238E27FC236}">
                  <a16:creationId xmlns:a16="http://schemas.microsoft.com/office/drawing/2014/main" id="{8EA88D96-3293-504D-B0AF-BF655575385A}"/>
                </a:ext>
              </a:extLst>
            </p:cNvPr>
            <p:cNvSpPr>
              <a:spLocks/>
            </p:cNvSpPr>
            <p:nvPr userDrawn="1">
              <p:custDataLst>
                <p:tags r:id="rId205"/>
              </p:custDataLst>
            </p:nvPr>
          </p:nvSpPr>
          <p:spPr bwMode="auto">
            <a:xfrm>
              <a:off x="10144153" y="3161967"/>
              <a:ext cx="136642" cy="118041"/>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6" name="Freeform 278">
              <a:extLst>
                <a:ext uri="{FF2B5EF4-FFF2-40B4-BE49-F238E27FC236}">
                  <a16:creationId xmlns:a16="http://schemas.microsoft.com/office/drawing/2014/main" id="{DD04F04D-ED88-F547-890D-9AC3EA41D2B2}"/>
                </a:ext>
              </a:extLst>
            </p:cNvPr>
            <p:cNvSpPr>
              <a:spLocks/>
            </p:cNvSpPr>
            <p:nvPr userDrawn="1">
              <p:custDataLst>
                <p:tags r:id="rId206"/>
              </p:custDataLst>
            </p:nvPr>
          </p:nvSpPr>
          <p:spPr bwMode="auto">
            <a:xfrm>
              <a:off x="10555708" y="2469559"/>
              <a:ext cx="87842" cy="118041"/>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7" name="Freeform 279">
              <a:extLst>
                <a:ext uri="{FF2B5EF4-FFF2-40B4-BE49-F238E27FC236}">
                  <a16:creationId xmlns:a16="http://schemas.microsoft.com/office/drawing/2014/main" id="{71713508-91E8-F74C-9DE4-3340859A8A9A}"/>
                </a:ext>
              </a:extLst>
            </p:cNvPr>
            <p:cNvSpPr>
              <a:spLocks/>
            </p:cNvSpPr>
            <p:nvPr userDrawn="1">
              <p:custDataLst>
                <p:tags r:id="rId207"/>
              </p:custDataLst>
            </p:nvPr>
          </p:nvSpPr>
          <p:spPr bwMode="auto">
            <a:xfrm>
              <a:off x="11138066" y="3645644"/>
              <a:ext cx="237498" cy="230323"/>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8" name="Freeform 280">
              <a:extLst>
                <a:ext uri="{FF2B5EF4-FFF2-40B4-BE49-F238E27FC236}">
                  <a16:creationId xmlns:a16="http://schemas.microsoft.com/office/drawing/2014/main" id="{2ED26E29-A3FA-D745-AD82-C66E14B04A85}"/>
                </a:ext>
              </a:extLst>
            </p:cNvPr>
            <p:cNvSpPr>
              <a:spLocks/>
            </p:cNvSpPr>
            <p:nvPr userDrawn="1">
              <p:custDataLst>
                <p:tags r:id="rId208"/>
              </p:custDataLst>
            </p:nvPr>
          </p:nvSpPr>
          <p:spPr bwMode="auto">
            <a:xfrm>
              <a:off x="11334896" y="3631250"/>
              <a:ext cx="108988" cy="116600"/>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9" name="Freeform 281">
              <a:extLst>
                <a:ext uri="{FF2B5EF4-FFF2-40B4-BE49-F238E27FC236}">
                  <a16:creationId xmlns:a16="http://schemas.microsoft.com/office/drawing/2014/main" id="{0D1D8C3E-C71E-064E-82FC-032BA01256CD}"/>
                </a:ext>
              </a:extLst>
            </p:cNvPr>
            <p:cNvSpPr>
              <a:spLocks/>
            </p:cNvSpPr>
            <p:nvPr userDrawn="1">
              <p:custDataLst>
                <p:tags r:id="rId209"/>
              </p:custDataLst>
            </p:nvPr>
          </p:nvSpPr>
          <p:spPr bwMode="auto">
            <a:xfrm>
              <a:off x="9568302" y="3298721"/>
              <a:ext cx="65068" cy="10796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260" name="Group 282">
              <a:extLst>
                <a:ext uri="{FF2B5EF4-FFF2-40B4-BE49-F238E27FC236}">
                  <a16:creationId xmlns:a16="http://schemas.microsoft.com/office/drawing/2014/main" id="{2E1170CD-78F7-0E4B-82D7-C3944D077291}"/>
                </a:ext>
              </a:extLst>
            </p:cNvPr>
            <p:cNvGrpSpPr>
              <a:grpSpLocks/>
            </p:cNvGrpSpPr>
            <p:nvPr userDrawn="1">
              <p:custDataLst>
                <p:tags r:id="rId210"/>
              </p:custDataLst>
            </p:nvPr>
          </p:nvGrpSpPr>
          <p:grpSpPr bwMode="auto">
            <a:xfrm>
              <a:off x="10531307" y="3036728"/>
              <a:ext cx="239124" cy="398747"/>
              <a:chOff x="5062" y="2295"/>
              <a:chExt cx="177" cy="279"/>
            </a:xfrm>
            <a:solidFill>
              <a:srgbClr val="DADADA"/>
            </a:solidFill>
          </p:grpSpPr>
          <p:sp>
            <p:nvSpPr>
              <p:cNvPr id="501" name="Freeform 283">
                <a:extLst>
                  <a:ext uri="{FF2B5EF4-FFF2-40B4-BE49-F238E27FC236}">
                    <a16:creationId xmlns:a16="http://schemas.microsoft.com/office/drawing/2014/main" id="{976AFD81-C080-7241-821A-124EDF22BCB1}"/>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2" name="Freeform 284">
                <a:extLst>
                  <a:ext uri="{FF2B5EF4-FFF2-40B4-BE49-F238E27FC236}">
                    <a16:creationId xmlns:a16="http://schemas.microsoft.com/office/drawing/2014/main" id="{8E6AF8A0-F5C1-7945-9D08-2DCBB28B15DB}"/>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3" name="Freeform 285">
                <a:extLst>
                  <a:ext uri="{FF2B5EF4-FFF2-40B4-BE49-F238E27FC236}">
                    <a16:creationId xmlns:a16="http://schemas.microsoft.com/office/drawing/2014/main" id="{BECCE065-7E5C-3847-903B-09D0371DADE9}"/>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4" name="Freeform 286">
                <a:extLst>
                  <a:ext uri="{FF2B5EF4-FFF2-40B4-BE49-F238E27FC236}">
                    <a16:creationId xmlns:a16="http://schemas.microsoft.com/office/drawing/2014/main" id="{9B91B3FB-75A9-3B4C-8E53-3052B5739A7F}"/>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5" name="Freeform 287">
                <a:extLst>
                  <a:ext uri="{FF2B5EF4-FFF2-40B4-BE49-F238E27FC236}">
                    <a16:creationId xmlns:a16="http://schemas.microsoft.com/office/drawing/2014/main" id="{06D44E76-9DBE-0142-9402-921C2472C12B}"/>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6" name="Freeform 288">
                <a:extLst>
                  <a:ext uri="{FF2B5EF4-FFF2-40B4-BE49-F238E27FC236}">
                    <a16:creationId xmlns:a16="http://schemas.microsoft.com/office/drawing/2014/main" id="{E8DB0C8E-316E-274F-A0AB-B8DBC8127556}"/>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7" name="Freeform 289">
                <a:extLst>
                  <a:ext uri="{FF2B5EF4-FFF2-40B4-BE49-F238E27FC236}">
                    <a16:creationId xmlns:a16="http://schemas.microsoft.com/office/drawing/2014/main" id="{C3A6DC9E-453C-3A41-8067-F7A650E5249A}"/>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8" name="Freeform 290">
                <a:extLst>
                  <a:ext uri="{FF2B5EF4-FFF2-40B4-BE49-F238E27FC236}">
                    <a16:creationId xmlns:a16="http://schemas.microsoft.com/office/drawing/2014/main" id="{7B5EA547-5862-4145-82E8-66F52C08C7F2}"/>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9" name="Freeform 291">
                <a:extLst>
                  <a:ext uri="{FF2B5EF4-FFF2-40B4-BE49-F238E27FC236}">
                    <a16:creationId xmlns:a16="http://schemas.microsoft.com/office/drawing/2014/main" id="{8E3DDDCC-9DCB-B64E-8ADF-6289DC8F2AB3}"/>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0" name="Freeform 292">
                <a:extLst>
                  <a:ext uri="{FF2B5EF4-FFF2-40B4-BE49-F238E27FC236}">
                    <a16:creationId xmlns:a16="http://schemas.microsoft.com/office/drawing/2014/main" id="{0ADEDCB7-D6BF-E948-8A87-9EE9980287C7}"/>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1" name="Freeform 293">
                <a:extLst>
                  <a:ext uri="{FF2B5EF4-FFF2-40B4-BE49-F238E27FC236}">
                    <a16:creationId xmlns:a16="http://schemas.microsoft.com/office/drawing/2014/main" id="{BDAC60F5-044E-A14F-85AF-9E2798A0A7BE}"/>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2" name="Freeform 294">
                <a:extLst>
                  <a:ext uri="{FF2B5EF4-FFF2-40B4-BE49-F238E27FC236}">
                    <a16:creationId xmlns:a16="http://schemas.microsoft.com/office/drawing/2014/main" id="{DDE12BDD-0B82-3847-8530-5AB0A4184401}"/>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3" name="Freeform 295">
                <a:extLst>
                  <a:ext uri="{FF2B5EF4-FFF2-40B4-BE49-F238E27FC236}">
                    <a16:creationId xmlns:a16="http://schemas.microsoft.com/office/drawing/2014/main" id="{9F69E29C-FDB9-854A-85A4-3EA84C3CC93D}"/>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4" name="Freeform 296">
                <a:extLst>
                  <a:ext uri="{FF2B5EF4-FFF2-40B4-BE49-F238E27FC236}">
                    <a16:creationId xmlns:a16="http://schemas.microsoft.com/office/drawing/2014/main" id="{56A9BD65-E926-6541-8F29-918B75B8227A}"/>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5" name="Freeform 297">
                <a:extLst>
                  <a:ext uri="{FF2B5EF4-FFF2-40B4-BE49-F238E27FC236}">
                    <a16:creationId xmlns:a16="http://schemas.microsoft.com/office/drawing/2014/main" id="{705DBF43-11C2-7A40-AAF1-06633D797906}"/>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6" name="Line 298">
                <a:extLst>
                  <a:ext uri="{FF2B5EF4-FFF2-40B4-BE49-F238E27FC236}">
                    <a16:creationId xmlns:a16="http://schemas.microsoft.com/office/drawing/2014/main" id="{DEAE4E18-E70F-4041-A5F5-D42642830F7C}"/>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7" name="Freeform 299">
                <a:extLst>
                  <a:ext uri="{FF2B5EF4-FFF2-40B4-BE49-F238E27FC236}">
                    <a16:creationId xmlns:a16="http://schemas.microsoft.com/office/drawing/2014/main" id="{B4FEFB0C-60D0-9045-A8B9-352412FB3271}"/>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8" name="Line 300">
                <a:extLst>
                  <a:ext uri="{FF2B5EF4-FFF2-40B4-BE49-F238E27FC236}">
                    <a16:creationId xmlns:a16="http://schemas.microsoft.com/office/drawing/2014/main" id="{54DC6A15-653F-0747-AD7F-D9602BF57BCC}"/>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9" name="Freeform 301">
                <a:extLst>
                  <a:ext uri="{FF2B5EF4-FFF2-40B4-BE49-F238E27FC236}">
                    <a16:creationId xmlns:a16="http://schemas.microsoft.com/office/drawing/2014/main" id="{3F03EFDD-9F01-9642-B775-EB51187780CC}"/>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0" name="Freeform 302">
                <a:extLst>
                  <a:ext uri="{FF2B5EF4-FFF2-40B4-BE49-F238E27FC236}">
                    <a16:creationId xmlns:a16="http://schemas.microsoft.com/office/drawing/2014/main" id="{6DF5408E-F694-8146-AA21-EAC5E6528DDB}"/>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1" name="Freeform 303">
                <a:extLst>
                  <a:ext uri="{FF2B5EF4-FFF2-40B4-BE49-F238E27FC236}">
                    <a16:creationId xmlns:a16="http://schemas.microsoft.com/office/drawing/2014/main" id="{9F30F06B-A02D-EA4D-959B-CEA03464416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2" name="Freeform 304">
                <a:extLst>
                  <a:ext uri="{FF2B5EF4-FFF2-40B4-BE49-F238E27FC236}">
                    <a16:creationId xmlns:a16="http://schemas.microsoft.com/office/drawing/2014/main" id="{48B8F208-8BBF-C74C-9F3E-DA26CF241AB5}"/>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3" name="Freeform 305">
                <a:extLst>
                  <a:ext uri="{FF2B5EF4-FFF2-40B4-BE49-F238E27FC236}">
                    <a16:creationId xmlns:a16="http://schemas.microsoft.com/office/drawing/2014/main" id="{6BD44DCA-4E98-944B-9F6E-F4D767D0BECA}"/>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4" name="Line 306">
                <a:extLst>
                  <a:ext uri="{FF2B5EF4-FFF2-40B4-BE49-F238E27FC236}">
                    <a16:creationId xmlns:a16="http://schemas.microsoft.com/office/drawing/2014/main" id="{B4821C62-5AA6-BF42-8C86-F965359DC36B}"/>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261" name="Freeform 307">
              <a:extLst>
                <a:ext uri="{FF2B5EF4-FFF2-40B4-BE49-F238E27FC236}">
                  <a16:creationId xmlns:a16="http://schemas.microsoft.com/office/drawing/2014/main" id="{118A16F9-59C7-6B4C-88D8-FB49DCDD12D7}"/>
                </a:ext>
              </a:extLst>
            </p:cNvPr>
            <p:cNvSpPr>
              <a:spLocks/>
            </p:cNvSpPr>
            <p:nvPr userDrawn="1">
              <p:custDataLst>
                <p:tags r:id="rId211"/>
              </p:custDataLst>
            </p:nvPr>
          </p:nvSpPr>
          <p:spPr bwMode="auto">
            <a:xfrm>
              <a:off x="10884300" y="3779520"/>
              <a:ext cx="14640" cy="5038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2" name="Freeform 308">
              <a:extLst>
                <a:ext uri="{FF2B5EF4-FFF2-40B4-BE49-F238E27FC236}">
                  <a16:creationId xmlns:a16="http://schemas.microsoft.com/office/drawing/2014/main" id="{B4E73DDF-A814-D444-9642-A6D72F51F234}"/>
                </a:ext>
              </a:extLst>
            </p:cNvPr>
            <p:cNvSpPr>
              <a:spLocks/>
            </p:cNvSpPr>
            <p:nvPr userDrawn="1">
              <p:custDataLst>
                <p:tags r:id="rId212"/>
              </p:custDataLst>
            </p:nvPr>
          </p:nvSpPr>
          <p:spPr bwMode="auto">
            <a:xfrm>
              <a:off x="10962383" y="3724817"/>
              <a:ext cx="22774" cy="5326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3" name="Freeform 309">
              <a:extLst>
                <a:ext uri="{FF2B5EF4-FFF2-40B4-BE49-F238E27FC236}">
                  <a16:creationId xmlns:a16="http://schemas.microsoft.com/office/drawing/2014/main" id="{E23071F4-D098-AD4F-A0D7-04D6197D4FE6}"/>
                </a:ext>
              </a:extLst>
            </p:cNvPr>
            <p:cNvSpPr>
              <a:spLocks/>
            </p:cNvSpPr>
            <p:nvPr userDrawn="1">
              <p:custDataLst>
                <p:tags r:id="rId213"/>
              </p:custDataLst>
            </p:nvPr>
          </p:nvSpPr>
          <p:spPr bwMode="auto">
            <a:xfrm>
              <a:off x="11011183" y="3615414"/>
              <a:ext cx="24401" cy="51823"/>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4" name="Freeform 310">
              <a:extLst>
                <a:ext uri="{FF2B5EF4-FFF2-40B4-BE49-F238E27FC236}">
                  <a16:creationId xmlns:a16="http://schemas.microsoft.com/office/drawing/2014/main" id="{8B1214FB-1518-A343-AA1A-67E65853B0F0}"/>
                </a:ext>
              </a:extLst>
            </p:cNvPr>
            <p:cNvSpPr>
              <a:spLocks/>
            </p:cNvSpPr>
            <p:nvPr userDrawn="1">
              <p:custDataLst>
                <p:tags r:id="rId214"/>
              </p:custDataLst>
            </p:nvPr>
          </p:nvSpPr>
          <p:spPr bwMode="auto">
            <a:xfrm>
              <a:off x="10994916" y="3588063"/>
              <a:ext cx="26027" cy="51823"/>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5" name="Freeform 311">
              <a:extLst>
                <a:ext uri="{FF2B5EF4-FFF2-40B4-BE49-F238E27FC236}">
                  <a16:creationId xmlns:a16="http://schemas.microsoft.com/office/drawing/2014/main" id="{10C5505E-7942-E540-A97B-22205828250F}"/>
                </a:ext>
              </a:extLst>
            </p:cNvPr>
            <p:cNvSpPr>
              <a:spLocks/>
            </p:cNvSpPr>
            <p:nvPr userDrawn="1">
              <p:custDataLst>
                <p:tags r:id="rId215"/>
              </p:custDataLst>
            </p:nvPr>
          </p:nvSpPr>
          <p:spPr bwMode="auto">
            <a:xfrm>
              <a:off x="10815979" y="3494493"/>
              <a:ext cx="8134" cy="51823"/>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6" name="Freeform 312">
              <a:extLst>
                <a:ext uri="{FF2B5EF4-FFF2-40B4-BE49-F238E27FC236}">
                  <a16:creationId xmlns:a16="http://schemas.microsoft.com/office/drawing/2014/main" id="{6D1F9CD4-2EA6-DF4A-A43C-247EB9767E2F}"/>
                </a:ext>
              </a:extLst>
            </p:cNvPr>
            <p:cNvSpPr>
              <a:spLocks/>
            </p:cNvSpPr>
            <p:nvPr userDrawn="1">
              <p:custDataLst>
                <p:tags r:id="rId216"/>
              </p:custDataLst>
            </p:nvPr>
          </p:nvSpPr>
          <p:spPr bwMode="auto">
            <a:xfrm>
              <a:off x="10741152" y="3616855"/>
              <a:ext cx="30908" cy="5326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7" name="Freeform 313">
              <a:extLst>
                <a:ext uri="{FF2B5EF4-FFF2-40B4-BE49-F238E27FC236}">
                  <a16:creationId xmlns:a16="http://schemas.microsoft.com/office/drawing/2014/main" id="{58B8D749-BF45-054E-BD15-1AA5C78A8F62}"/>
                </a:ext>
              </a:extLst>
            </p:cNvPr>
            <p:cNvSpPr>
              <a:spLocks/>
            </p:cNvSpPr>
            <p:nvPr userDrawn="1">
              <p:custDataLst>
                <p:tags r:id="rId217"/>
              </p:custDataLst>
            </p:nvPr>
          </p:nvSpPr>
          <p:spPr bwMode="auto">
            <a:xfrm>
              <a:off x="10749284" y="3785278"/>
              <a:ext cx="19520" cy="5038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8" name="Freeform 314">
              <a:extLst>
                <a:ext uri="{FF2B5EF4-FFF2-40B4-BE49-F238E27FC236}">
                  <a16:creationId xmlns:a16="http://schemas.microsoft.com/office/drawing/2014/main" id="{654D23EB-736D-7B45-8B22-FA0761380B32}"/>
                </a:ext>
              </a:extLst>
            </p:cNvPr>
            <p:cNvSpPr>
              <a:spLocks/>
            </p:cNvSpPr>
            <p:nvPr userDrawn="1">
              <p:custDataLst>
                <p:tags r:id="rId218"/>
              </p:custDataLst>
            </p:nvPr>
          </p:nvSpPr>
          <p:spPr bwMode="auto">
            <a:xfrm>
              <a:off x="10864780" y="3621171"/>
              <a:ext cx="11388" cy="51823"/>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9" name="Freeform 315">
              <a:extLst>
                <a:ext uri="{FF2B5EF4-FFF2-40B4-BE49-F238E27FC236}">
                  <a16:creationId xmlns:a16="http://schemas.microsoft.com/office/drawing/2014/main" id="{41DCECF5-43EE-6B48-9DC6-8DB6E3DA6A51}"/>
                </a:ext>
              </a:extLst>
            </p:cNvPr>
            <p:cNvSpPr>
              <a:spLocks/>
            </p:cNvSpPr>
            <p:nvPr userDrawn="1">
              <p:custDataLst>
                <p:tags r:id="rId219"/>
              </p:custDataLst>
            </p:nvPr>
          </p:nvSpPr>
          <p:spPr bwMode="auto">
            <a:xfrm>
              <a:off x="10721630" y="3616855"/>
              <a:ext cx="19520" cy="5326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0" name="Freeform 316">
              <a:extLst>
                <a:ext uri="{FF2B5EF4-FFF2-40B4-BE49-F238E27FC236}">
                  <a16:creationId xmlns:a16="http://schemas.microsoft.com/office/drawing/2014/main" id="{855633AB-6177-0D41-84AF-DDCDD1818A25}"/>
                </a:ext>
              </a:extLst>
            </p:cNvPr>
            <p:cNvSpPr>
              <a:spLocks/>
            </p:cNvSpPr>
            <p:nvPr userDrawn="1">
              <p:custDataLst>
                <p:tags r:id="rId220"/>
              </p:custDataLst>
            </p:nvPr>
          </p:nvSpPr>
          <p:spPr bwMode="auto">
            <a:xfrm>
              <a:off x="10767179" y="3660039"/>
              <a:ext cx="30908" cy="51823"/>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1" name="Freeform 317">
              <a:extLst>
                <a:ext uri="{FF2B5EF4-FFF2-40B4-BE49-F238E27FC236}">
                  <a16:creationId xmlns:a16="http://schemas.microsoft.com/office/drawing/2014/main" id="{A54ECC4F-C4A2-1445-BFF5-92F7673D32F9}"/>
                </a:ext>
              </a:extLst>
            </p:cNvPr>
            <p:cNvSpPr>
              <a:spLocks/>
            </p:cNvSpPr>
            <p:nvPr userDrawn="1">
              <p:custDataLst>
                <p:tags r:id="rId221"/>
              </p:custDataLst>
            </p:nvPr>
          </p:nvSpPr>
          <p:spPr bwMode="auto">
            <a:xfrm>
              <a:off x="10563842" y="3844298"/>
              <a:ext cx="47173" cy="5326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2" name="Freeform 318">
              <a:extLst>
                <a:ext uri="{FF2B5EF4-FFF2-40B4-BE49-F238E27FC236}">
                  <a16:creationId xmlns:a16="http://schemas.microsoft.com/office/drawing/2014/main" id="{2E487E99-54BC-644B-97BF-A41D13267699}"/>
                </a:ext>
              </a:extLst>
            </p:cNvPr>
            <p:cNvSpPr>
              <a:spLocks/>
            </p:cNvSpPr>
            <p:nvPr userDrawn="1">
              <p:custDataLst>
                <p:tags r:id="rId222"/>
              </p:custDataLst>
            </p:nvPr>
          </p:nvSpPr>
          <p:spPr bwMode="auto">
            <a:xfrm>
              <a:off x="10664697" y="3878847"/>
              <a:ext cx="14640" cy="5326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3" name="Freeform 319">
              <a:extLst>
                <a:ext uri="{FF2B5EF4-FFF2-40B4-BE49-F238E27FC236}">
                  <a16:creationId xmlns:a16="http://schemas.microsoft.com/office/drawing/2014/main" id="{A874139A-A2C0-A74E-8874-91538C34BAF7}"/>
                </a:ext>
              </a:extLst>
            </p:cNvPr>
            <p:cNvSpPr>
              <a:spLocks/>
            </p:cNvSpPr>
            <p:nvPr userDrawn="1">
              <p:custDataLst>
                <p:tags r:id="rId223"/>
              </p:custDataLst>
            </p:nvPr>
          </p:nvSpPr>
          <p:spPr bwMode="auto">
            <a:xfrm>
              <a:off x="10493893" y="3816947"/>
              <a:ext cx="37415" cy="5038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4" name="Freeform 320">
              <a:extLst>
                <a:ext uri="{FF2B5EF4-FFF2-40B4-BE49-F238E27FC236}">
                  <a16:creationId xmlns:a16="http://schemas.microsoft.com/office/drawing/2014/main" id="{7B70C597-A433-2C47-A099-C3743AB3ADD7}"/>
                </a:ext>
              </a:extLst>
            </p:cNvPr>
            <p:cNvSpPr>
              <a:spLocks/>
            </p:cNvSpPr>
            <p:nvPr userDrawn="1">
              <p:custDataLst>
                <p:tags r:id="rId224"/>
              </p:custDataLst>
            </p:nvPr>
          </p:nvSpPr>
          <p:spPr bwMode="auto">
            <a:xfrm>
              <a:off x="10539440" y="3803991"/>
              <a:ext cx="40668" cy="50383"/>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5" name="Freeform 321">
              <a:extLst>
                <a:ext uri="{FF2B5EF4-FFF2-40B4-BE49-F238E27FC236}">
                  <a16:creationId xmlns:a16="http://schemas.microsoft.com/office/drawing/2014/main" id="{3F14BDAA-836C-5C4A-81B2-FD0175ACE25C}"/>
                </a:ext>
              </a:extLst>
            </p:cNvPr>
            <p:cNvSpPr>
              <a:spLocks/>
            </p:cNvSpPr>
            <p:nvPr userDrawn="1">
              <p:custDataLst>
                <p:tags r:id="rId225"/>
              </p:custDataLst>
            </p:nvPr>
          </p:nvSpPr>
          <p:spPr bwMode="auto">
            <a:xfrm>
              <a:off x="10593122" y="3812629"/>
              <a:ext cx="37414" cy="5326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6" name="Freeform 322">
              <a:extLst>
                <a:ext uri="{FF2B5EF4-FFF2-40B4-BE49-F238E27FC236}">
                  <a16:creationId xmlns:a16="http://schemas.microsoft.com/office/drawing/2014/main" id="{B47AFE4F-A1FC-024A-AECB-9193D5F96D6D}"/>
                </a:ext>
              </a:extLst>
            </p:cNvPr>
            <p:cNvSpPr>
              <a:spLocks/>
            </p:cNvSpPr>
            <p:nvPr userDrawn="1">
              <p:custDataLst>
                <p:tags r:id="rId226"/>
              </p:custDataLst>
            </p:nvPr>
          </p:nvSpPr>
          <p:spPr bwMode="auto">
            <a:xfrm>
              <a:off x="10646802" y="3816947"/>
              <a:ext cx="26027" cy="5038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7" name="Freeform 323">
              <a:extLst>
                <a:ext uri="{FF2B5EF4-FFF2-40B4-BE49-F238E27FC236}">
                  <a16:creationId xmlns:a16="http://schemas.microsoft.com/office/drawing/2014/main" id="{9AD13B44-0A4F-4B46-B9B4-37EB348BAE0C}"/>
                </a:ext>
              </a:extLst>
            </p:cNvPr>
            <p:cNvSpPr>
              <a:spLocks/>
            </p:cNvSpPr>
            <p:nvPr userDrawn="1">
              <p:custDataLst>
                <p:tags r:id="rId227"/>
              </p:custDataLst>
            </p:nvPr>
          </p:nvSpPr>
          <p:spPr bwMode="auto">
            <a:xfrm>
              <a:off x="10721630" y="3809749"/>
              <a:ext cx="1627" cy="50383"/>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8" name="Freeform 324">
              <a:extLst>
                <a:ext uri="{FF2B5EF4-FFF2-40B4-BE49-F238E27FC236}">
                  <a16:creationId xmlns:a16="http://schemas.microsoft.com/office/drawing/2014/main" id="{14F8A3E7-0F64-2C40-93CA-4806E9AE3628}"/>
                </a:ext>
              </a:extLst>
            </p:cNvPr>
            <p:cNvSpPr>
              <a:spLocks/>
            </p:cNvSpPr>
            <p:nvPr userDrawn="1">
              <p:custDataLst>
                <p:tags r:id="rId228"/>
              </p:custDataLst>
            </p:nvPr>
          </p:nvSpPr>
          <p:spPr bwMode="auto">
            <a:xfrm>
              <a:off x="10285675" y="3641325"/>
              <a:ext cx="21147" cy="5326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9" name="Freeform 325">
              <a:extLst>
                <a:ext uri="{FF2B5EF4-FFF2-40B4-BE49-F238E27FC236}">
                  <a16:creationId xmlns:a16="http://schemas.microsoft.com/office/drawing/2014/main" id="{C35413AE-110E-5A44-B795-1F37ABA5D3F5}"/>
                </a:ext>
              </a:extLst>
            </p:cNvPr>
            <p:cNvSpPr>
              <a:spLocks/>
            </p:cNvSpPr>
            <p:nvPr userDrawn="1">
              <p:custDataLst>
                <p:tags r:id="rId229"/>
              </p:custDataLst>
            </p:nvPr>
          </p:nvSpPr>
          <p:spPr bwMode="auto">
            <a:xfrm>
              <a:off x="10230369" y="3616855"/>
              <a:ext cx="30908" cy="5326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0" name="Freeform 326">
              <a:extLst>
                <a:ext uri="{FF2B5EF4-FFF2-40B4-BE49-F238E27FC236}">
                  <a16:creationId xmlns:a16="http://schemas.microsoft.com/office/drawing/2014/main" id="{FA577A84-FCA4-F04D-8D0D-0F98983C83A3}"/>
                </a:ext>
              </a:extLst>
            </p:cNvPr>
            <p:cNvSpPr>
              <a:spLocks/>
            </p:cNvSpPr>
            <p:nvPr userDrawn="1">
              <p:custDataLst>
                <p:tags r:id="rId230"/>
              </p:custDataLst>
            </p:nvPr>
          </p:nvSpPr>
          <p:spPr bwMode="auto">
            <a:xfrm>
              <a:off x="10061191" y="3602459"/>
              <a:ext cx="8134" cy="51823"/>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1" name="Line 327" descr="Horizontal dunkel">
              <a:extLst>
                <a:ext uri="{FF2B5EF4-FFF2-40B4-BE49-F238E27FC236}">
                  <a16:creationId xmlns:a16="http://schemas.microsoft.com/office/drawing/2014/main" id="{C4C6F5EF-F3AA-4A46-8055-47A88BD9C7D7}"/>
                </a:ext>
              </a:extLst>
            </p:cNvPr>
            <p:cNvSpPr>
              <a:spLocks noChangeShapeType="1"/>
            </p:cNvSpPr>
            <p:nvPr userDrawn="1">
              <p:custDataLst>
                <p:tags r:id="rId231"/>
              </p:custDataLst>
            </p:nvPr>
          </p:nvSpPr>
          <p:spPr bwMode="auto">
            <a:xfrm>
              <a:off x="10087219" y="3635567"/>
              <a:ext cx="4881" cy="5757"/>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2" name="Freeform 328">
              <a:extLst>
                <a:ext uri="{FF2B5EF4-FFF2-40B4-BE49-F238E27FC236}">
                  <a16:creationId xmlns:a16="http://schemas.microsoft.com/office/drawing/2014/main" id="{AB9E37E7-CD4C-EE41-8F17-9651831AF04D}"/>
                </a:ext>
              </a:extLst>
            </p:cNvPr>
            <p:cNvSpPr>
              <a:spLocks/>
            </p:cNvSpPr>
            <p:nvPr userDrawn="1">
              <p:custDataLst>
                <p:tags r:id="rId232"/>
              </p:custDataLst>
            </p:nvPr>
          </p:nvSpPr>
          <p:spPr bwMode="auto">
            <a:xfrm>
              <a:off x="10083965" y="3635567"/>
              <a:ext cx="8134" cy="51823"/>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3" name="Freeform 329">
              <a:extLst>
                <a:ext uri="{FF2B5EF4-FFF2-40B4-BE49-F238E27FC236}">
                  <a16:creationId xmlns:a16="http://schemas.microsoft.com/office/drawing/2014/main" id="{9A13A743-1839-F948-8272-012CF702FF25}"/>
                </a:ext>
              </a:extLst>
            </p:cNvPr>
            <p:cNvSpPr>
              <a:spLocks/>
            </p:cNvSpPr>
            <p:nvPr userDrawn="1">
              <p:custDataLst>
                <p:tags r:id="rId233"/>
              </p:custDataLst>
            </p:nvPr>
          </p:nvSpPr>
          <p:spPr bwMode="auto">
            <a:xfrm>
              <a:off x="9983111" y="3494493"/>
              <a:ext cx="22774" cy="51823"/>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4" name="Freeform 330">
              <a:extLst>
                <a:ext uri="{FF2B5EF4-FFF2-40B4-BE49-F238E27FC236}">
                  <a16:creationId xmlns:a16="http://schemas.microsoft.com/office/drawing/2014/main" id="{9FEE1B32-1790-C14A-BCFD-F3FC77D7C702}"/>
                </a:ext>
              </a:extLst>
            </p:cNvPr>
            <p:cNvSpPr>
              <a:spLocks/>
            </p:cNvSpPr>
            <p:nvPr userDrawn="1">
              <p:custDataLst>
                <p:tags r:id="rId234"/>
              </p:custDataLst>
            </p:nvPr>
          </p:nvSpPr>
          <p:spPr bwMode="auto">
            <a:xfrm>
              <a:off x="10524800" y="3824145"/>
              <a:ext cx="11387" cy="51823"/>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5" name="Freeform 331">
              <a:extLst>
                <a:ext uri="{FF2B5EF4-FFF2-40B4-BE49-F238E27FC236}">
                  <a16:creationId xmlns:a16="http://schemas.microsoft.com/office/drawing/2014/main" id="{EE377ECC-9F74-5147-84F7-130526368476}"/>
                </a:ext>
              </a:extLst>
            </p:cNvPr>
            <p:cNvSpPr>
              <a:spLocks/>
            </p:cNvSpPr>
            <p:nvPr userDrawn="1">
              <p:custDataLst>
                <p:tags r:id="rId235"/>
              </p:custDataLst>
            </p:nvPr>
          </p:nvSpPr>
          <p:spPr bwMode="auto">
            <a:xfrm>
              <a:off x="11053478" y="3785278"/>
              <a:ext cx="29281" cy="5038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6" name="Freeform 332">
              <a:extLst>
                <a:ext uri="{FF2B5EF4-FFF2-40B4-BE49-F238E27FC236}">
                  <a16:creationId xmlns:a16="http://schemas.microsoft.com/office/drawing/2014/main" id="{BB511669-E938-8A4D-9307-F28A5D34DB43}"/>
                </a:ext>
              </a:extLst>
            </p:cNvPr>
            <p:cNvSpPr>
              <a:spLocks/>
            </p:cNvSpPr>
            <p:nvPr userDrawn="1">
              <p:custDataLst>
                <p:tags r:id="rId236"/>
              </p:custDataLst>
            </p:nvPr>
          </p:nvSpPr>
          <p:spPr bwMode="auto">
            <a:xfrm>
              <a:off x="9965217" y="3406684"/>
              <a:ext cx="281418" cy="333967"/>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7" name="Freeform 333">
              <a:extLst>
                <a:ext uri="{FF2B5EF4-FFF2-40B4-BE49-F238E27FC236}">
                  <a16:creationId xmlns:a16="http://schemas.microsoft.com/office/drawing/2014/main" id="{8774D8B2-5ABD-6749-9E86-4206D480CE62}"/>
                </a:ext>
              </a:extLst>
            </p:cNvPr>
            <p:cNvSpPr>
              <a:spLocks/>
            </p:cNvSpPr>
            <p:nvPr userDrawn="1">
              <p:custDataLst>
                <p:tags r:id="rId237"/>
              </p:custDataLst>
            </p:nvPr>
          </p:nvSpPr>
          <p:spPr bwMode="auto">
            <a:xfrm>
              <a:off x="10314956" y="3451309"/>
              <a:ext cx="260272" cy="23320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8" name="Freeform 334">
              <a:extLst>
                <a:ext uri="{FF2B5EF4-FFF2-40B4-BE49-F238E27FC236}">
                  <a16:creationId xmlns:a16="http://schemas.microsoft.com/office/drawing/2014/main" id="{AAF27307-D0F8-1A4D-B246-6205C254E829}"/>
                </a:ext>
              </a:extLst>
            </p:cNvPr>
            <p:cNvSpPr>
              <a:spLocks/>
            </p:cNvSpPr>
            <p:nvPr userDrawn="1">
              <p:custDataLst>
                <p:tags r:id="rId238"/>
              </p:custDataLst>
            </p:nvPr>
          </p:nvSpPr>
          <p:spPr bwMode="auto">
            <a:xfrm>
              <a:off x="10679337" y="3819826"/>
              <a:ext cx="94349" cy="51823"/>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9" name="Freeform 335">
              <a:extLst>
                <a:ext uri="{FF2B5EF4-FFF2-40B4-BE49-F238E27FC236}">
                  <a16:creationId xmlns:a16="http://schemas.microsoft.com/office/drawing/2014/main" id="{DC19FA61-C5F1-BD47-B007-7B946893E810}"/>
                </a:ext>
              </a:extLst>
            </p:cNvPr>
            <p:cNvSpPr>
              <a:spLocks/>
            </p:cNvSpPr>
            <p:nvPr userDrawn="1">
              <p:custDataLst>
                <p:tags r:id="rId239"/>
              </p:custDataLst>
            </p:nvPr>
          </p:nvSpPr>
          <p:spPr bwMode="auto">
            <a:xfrm>
              <a:off x="10798086" y="3517526"/>
              <a:ext cx="43920" cy="8061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0" name="Freeform 336">
              <a:extLst>
                <a:ext uri="{FF2B5EF4-FFF2-40B4-BE49-F238E27FC236}">
                  <a16:creationId xmlns:a16="http://schemas.microsoft.com/office/drawing/2014/main" id="{0A71B030-1FCA-F247-B326-5DE9ECE7E71F}"/>
                </a:ext>
              </a:extLst>
            </p:cNvPr>
            <p:cNvSpPr>
              <a:spLocks/>
            </p:cNvSpPr>
            <p:nvPr userDrawn="1">
              <p:custDataLst>
                <p:tags r:id="rId240"/>
              </p:custDataLst>
            </p:nvPr>
          </p:nvSpPr>
          <p:spPr bwMode="auto">
            <a:xfrm>
              <a:off x="10811100" y="3648523"/>
              <a:ext cx="73200" cy="50383"/>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1" name="Freeform 337">
              <a:extLst>
                <a:ext uri="{FF2B5EF4-FFF2-40B4-BE49-F238E27FC236}">
                  <a16:creationId xmlns:a16="http://schemas.microsoft.com/office/drawing/2014/main" id="{EE586F1D-ED03-4C4B-9542-5E57FBA62DC1}"/>
                </a:ext>
              </a:extLst>
            </p:cNvPr>
            <p:cNvSpPr>
              <a:spLocks/>
            </p:cNvSpPr>
            <p:nvPr userDrawn="1">
              <p:custDataLst>
                <p:tags r:id="rId241"/>
              </p:custDataLst>
            </p:nvPr>
          </p:nvSpPr>
          <p:spPr bwMode="auto">
            <a:xfrm>
              <a:off x="10889181" y="3579426"/>
              <a:ext cx="87842" cy="5758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2" name="Freeform 338">
              <a:extLst>
                <a:ext uri="{FF2B5EF4-FFF2-40B4-BE49-F238E27FC236}">
                  <a16:creationId xmlns:a16="http://schemas.microsoft.com/office/drawing/2014/main" id="{ABE8FBAF-35DB-3C4B-9E14-2B0F49C3302C}"/>
                </a:ext>
              </a:extLst>
            </p:cNvPr>
            <p:cNvSpPr>
              <a:spLocks/>
            </p:cNvSpPr>
            <p:nvPr userDrawn="1">
              <p:custDataLst>
                <p:tags r:id="rId242"/>
              </p:custDataLst>
            </p:nvPr>
          </p:nvSpPr>
          <p:spPr bwMode="auto">
            <a:xfrm>
              <a:off x="10570349" y="3523285"/>
              <a:ext cx="170803" cy="208731"/>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3" name="Freeform 339">
              <a:extLst>
                <a:ext uri="{FF2B5EF4-FFF2-40B4-BE49-F238E27FC236}">
                  <a16:creationId xmlns:a16="http://schemas.microsoft.com/office/drawing/2014/main" id="{7CF48F00-FB68-A943-A93F-361A1C82A2E5}"/>
                </a:ext>
              </a:extLst>
            </p:cNvPr>
            <p:cNvSpPr>
              <a:spLocks/>
            </p:cNvSpPr>
            <p:nvPr userDrawn="1">
              <p:custDataLst>
                <p:tags r:id="rId243"/>
              </p:custDataLst>
            </p:nvPr>
          </p:nvSpPr>
          <p:spPr bwMode="auto">
            <a:xfrm>
              <a:off x="10227115" y="3742091"/>
              <a:ext cx="257018" cy="8637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4" name="Freeform 340">
              <a:extLst>
                <a:ext uri="{FF2B5EF4-FFF2-40B4-BE49-F238E27FC236}">
                  <a16:creationId xmlns:a16="http://schemas.microsoft.com/office/drawing/2014/main" id="{E85D623C-02CC-4E46-9989-F9EE59B53C9A}"/>
                </a:ext>
              </a:extLst>
            </p:cNvPr>
            <p:cNvSpPr>
              <a:spLocks/>
            </p:cNvSpPr>
            <p:nvPr userDrawn="1">
              <p:custDataLst>
                <p:tags r:id="rId244"/>
              </p:custDataLst>
            </p:nvPr>
          </p:nvSpPr>
          <p:spPr bwMode="auto">
            <a:xfrm>
              <a:off x="10924968" y="3612535"/>
              <a:ext cx="219603" cy="228884"/>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5" name="Freeform 341">
              <a:extLst>
                <a:ext uri="{FF2B5EF4-FFF2-40B4-BE49-F238E27FC236}">
                  <a16:creationId xmlns:a16="http://schemas.microsoft.com/office/drawing/2014/main" id="{0DDCFE07-56A3-854F-9748-9E88B5E8AA92}"/>
                </a:ext>
              </a:extLst>
            </p:cNvPr>
            <p:cNvSpPr>
              <a:spLocks/>
            </p:cNvSpPr>
            <p:nvPr userDrawn="1">
              <p:custDataLst>
                <p:tags r:id="rId245"/>
              </p:custDataLst>
            </p:nvPr>
          </p:nvSpPr>
          <p:spPr bwMode="auto">
            <a:xfrm>
              <a:off x="9420273" y="2553051"/>
              <a:ext cx="55308" cy="54702"/>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6" name="Freeform 342">
              <a:extLst>
                <a:ext uri="{FF2B5EF4-FFF2-40B4-BE49-F238E27FC236}">
                  <a16:creationId xmlns:a16="http://schemas.microsoft.com/office/drawing/2014/main" id="{63B41DFF-D7BA-3348-9390-DAA5835C9A96}"/>
                </a:ext>
              </a:extLst>
            </p:cNvPr>
            <p:cNvSpPr>
              <a:spLocks/>
            </p:cNvSpPr>
            <p:nvPr userDrawn="1">
              <p:custDataLst>
                <p:tags r:id="rId246"/>
              </p:custDataLst>
            </p:nvPr>
          </p:nvSpPr>
          <p:spPr bwMode="auto">
            <a:xfrm>
              <a:off x="7839122" y="2013232"/>
              <a:ext cx="226112" cy="161226"/>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7" name="Freeform 343">
              <a:extLst>
                <a:ext uri="{FF2B5EF4-FFF2-40B4-BE49-F238E27FC236}">
                  <a16:creationId xmlns:a16="http://schemas.microsoft.com/office/drawing/2014/main" id="{4080F264-DBC4-4642-BDEE-F079F12277B6}"/>
                </a:ext>
              </a:extLst>
            </p:cNvPr>
            <p:cNvSpPr>
              <a:spLocks/>
            </p:cNvSpPr>
            <p:nvPr userDrawn="1">
              <p:custDataLst>
                <p:tags r:id="rId247"/>
              </p:custDataLst>
            </p:nvPr>
          </p:nvSpPr>
          <p:spPr bwMode="auto">
            <a:xfrm>
              <a:off x="7904189" y="2198929"/>
              <a:ext cx="149657" cy="6477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8" name="Freeform 344">
              <a:extLst>
                <a:ext uri="{FF2B5EF4-FFF2-40B4-BE49-F238E27FC236}">
                  <a16:creationId xmlns:a16="http://schemas.microsoft.com/office/drawing/2014/main" id="{97BCE7E1-EEF8-1A4A-B82C-6E8F20DBCA8B}"/>
                </a:ext>
              </a:extLst>
            </p:cNvPr>
            <p:cNvSpPr>
              <a:spLocks/>
            </p:cNvSpPr>
            <p:nvPr userDrawn="1">
              <p:custDataLst>
                <p:tags r:id="rId248"/>
              </p:custDataLst>
            </p:nvPr>
          </p:nvSpPr>
          <p:spPr bwMode="auto">
            <a:xfrm>
              <a:off x="8006673" y="1886555"/>
              <a:ext cx="113869" cy="590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9" name="Freeform 345">
              <a:extLst>
                <a:ext uri="{FF2B5EF4-FFF2-40B4-BE49-F238E27FC236}">
                  <a16:creationId xmlns:a16="http://schemas.microsoft.com/office/drawing/2014/main" id="{12FECCEE-D9A6-8E4D-B6B4-CD591C2F8488}"/>
                </a:ext>
              </a:extLst>
            </p:cNvPr>
            <p:cNvSpPr>
              <a:spLocks/>
            </p:cNvSpPr>
            <p:nvPr userDrawn="1">
              <p:custDataLst>
                <p:tags r:id="rId249"/>
              </p:custDataLst>
            </p:nvPr>
          </p:nvSpPr>
          <p:spPr bwMode="auto">
            <a:xfrm>
              <a:off x="8019687" y="2201810"/>
              <a:ext cx="183817" cy="12955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0" name="Freeform 346">
              <a:extLst>
                <a:ext uri="{FF2B5EF4-FFF2-40B4-BE49-F238E27FC236}">
                  <a16:creationId xmlns:a16="http://schemas.microsoft.com/office/drawing/2014/main" id="{C673A71A-2465-B244-A1C8-7CE772F34939}"/>
                </a:ext>
              </a:extLst>
            </p:cNvPr>
            <p:cNvSpPr>
              <a:spLocks/>
            </p:cNvSpPr>
            <p:nvPr userDrawn="1">
              <p:custDataLst>
                <p:tags r:id="rId250"/>
              </p:custDataLst>
            </p:nvPr>
          </p:nvSpPr>
          <p:spPr bwMode="auto">
            <a:xfrm>
              <a:off x="5970048" y="3143253"/>
              <a:ext cx="14640" cy="5038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1" name="Freeform 347">
              <a:extLst>
                <a:ext uri="{FF2B5EF4-FFF2-40B4-BE49-F238E27FC236}">
                  <a16:creationId xmlns:a16="http://schemas.microsoft.com/office/drawing/2014/main" id="{D6293210-8F24-F443-A44B-53C172E36232}"/>
                </a:ext>
              </a:extLst>
            </p:cNvPr>
            <p:cNvSpPr>
              <a:spLocks/>
            </p:cNvSpPr>
            <p:nvPr userDrawn="1">
              <p:custDataLst>
                <p:tags r:id="rId251"/>
              </p:custDataLst>
            </p:nvPr>
          </p:nvSpPr>
          <p:spPr bwMode="auto">
            <a:xfrm>
              <a:off x="8127048" y="2194612"/>
              <a:ext cx="87842" cy="719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2" name="Freeform 348">
              <a:extLst>
                <a:ext uri="{FF2B5EF4-FFF2-40B4-BE49-F238E27FC236}">
                  <a16:creationId xmlns:a16="http://schemas.microsoft.com/office/drawing/2014/main" id="{BCA365ED-17D0-384B-8CEA-F2B1436BF084}"/>
                </a:ext>
              </a:extLst>
            </p:cNvPr>
            <p:cNvSpPr>
              <a:spLocks/>
            </p:cNvSpPr>
            <p:nvPr userDrawn="1">
              <p:custDataLst>
                <p:tags r:id="rId252"/>
              </p:custDataLst>
            </p:nvPr>
          </p:nvSpPr>
          <p:spPr bwMode="auto">
            <a:xfrm>
              <a:off x="8042459" y="2088087"/>
              <a:ext cx="390407" cy="224565"/>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3" name="Freeform 349">
              <a:extLst>
                <a:ext uri="{FF2B5EF4-FFF2-40B4-BE49-F238E27FC236}">
                  <a16:creationId xmlns:a16="http://schemas.microsoft.com/office/drawing/2014/main" id="{89544719-81D8-8E46-A3D4-7AAEAB6AA488}"/>
                </a:ext>
              </a:extLst>
            </p:cNvPr>
            <p:cNvSpPr>
              <a:spLocks/>
            </p:cNvSpPr>
            <p:nvPr userDrawn="1">
              <p:custDataLst>
                <p:tags r:id="rId253"/>
              </p:custDataLst>
            </p:nvPr>
          </p:nvSpPr>
          <p:spPr bwMode="auto">
            <a:xfrm>
              <a:off x="8566257" y="2399022"/>
              <a:ext cx="48801" cy="5758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4" name="Freeform 350">
              <a:extLst>
                <a:ext uri="{FF2B5EF4-FFF2-40B4-BE49-F238E27FC236}">
                  <a16:creationId xmlns:a16="http://schemas.microsoft.com/office/drawing/2014/main" id="{74E5F0F3-0D57-404E-BCAF-E34CB1612D3E}"/>
                </a:ext>
              </a:extLst>
            </p:cNvPr>
            <p:cNvSpPr>
              <a:spLocks/>
            </p:cNvSpPr>
            <p:nvPr userDrawn="1">
              <p:custDataLst>
                <p:tags r:id="rId254"/>
              </p:custDataLst>
            </p:nvPr>
          </p:nvSpPr>
          <p:spPr bwMode="auto">
            <a:xfrm>
              <a:off x="9122587" y="2411978"/>
              <a:ext cx="213097" cy="11084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5" name="Freeform 351">
              <a:extLst>
                <a:ext uri="{FF2B5EF4-FFF2-40B4-BE49-F238E27FC236}">
                  <a16:creationId xmlns:a16="http://schemas.microsoft.com/office/drawing/2014/main" id="{B47B02BE-29A7-A84A-9EBB-4C4A4647B86E}"/>
                </a:ext>
              </a:extLst>
            </p:cNvPr>
            <p:cNvSpPr>
              <a:spLocks/>
            </p:cNvSpPr>
            <p:nvPr userDrawn="1">
              <p:custDataLst>
                <p:tags r:id="rId255"/>
              </p:custDataLst>
            </p:nvPr>
          </p:nvSpPr>
          <p:spPr bwMode="auto">
            <a:xfrm>
              <a:off x="9173015" y="2347200"/>
              <a:ext cx="230991" cy="11372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6" name="Freeform 352">
              <a:extLst>
                <a:ext uri="{FF2B5EF4-FFF2-40B4-BE49-F238E27FC236}">
                  <a16:creationId xmlns:a16="http://schemas.microsoft.com/office/drawing/2014/main" id="{86B3B743-CE8B-8D44-A148-C1CE2A9479C9}"/>
                </a:ext>
              </a:extLst>
            </p:cNvPr>
            <p:cNvSpPr>
              <a:spLocks/>
            </p:cNvSpPr>
            <p:nvPr userDrawn="1">
              <p:custDataLst>
                <p:tags r:id="rId256"/>
              </p:custDataLst>
            </p:nvPr>
          </p:nvSpPr>
          <p:spPr bwMode="auto">
            <a:xfrm>
              <a:off x="8769593" y="2361595"/>
              <a:ext cx="351367" cy="20585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7" name="Freeform 353">
              <a:extLst>
                <a:ext uri="{FF2B5EF4-FFF2-40B4-BE49-F238E27FC236}">
                  <a16:creationId xmlns:a16="http://schemas.microsoft.com/office/drawing/2014/main" id="{786D155D-63D6-C14E-B23D-F2F9EDEF7FC4}"/>
                </a:ext>
              </a:extLst>
            </p:cNvPr>
            <p:cNvSpPr>
              <a:spLocks/>
            </p:cNvSpPr>
            <p:nvPr userDrawn="1">
              <p:custDataLst>
                <p:tags r:id="rId257"/>
              </p:custDataLst>
            </p:nvPr>
          </p:nvSpPr>
          <p:spPr bwMode="auto">
            <a:xfrm>
              <a:off x="7959497" y="2259390"/>
              <a:ext cx="110615" cy="1353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8" name="Freeform 354">
              <a:extLst>
                <a:ext uri="{FF2B5EF4-FFF2-40B4-BE49-F238E27FC236}">
                  <a16:creationId xmlns:a16="http://schemas.microsoft.com/office/drawing/2014/main" id="{C07EAEC0-D427-EA43-9DFE-BD73612B3E43}"/>
                </a:ext>
              </a:extLst>
            </p:cNvPr>
            <p:cNvSpPr>
              <a:spLocks/>
            </p:cNvSpPr>
            <p:nvPr userDrawn="1">
              <p:custDataLst>
                <p:tags r:id="rId258"/>
              </p:custDataLst>
            </p:nvPr>
          </p:nvSpPr>
          <p:spPr bwMode="auto">
            <a:xfrm>
              <a:off x="8008299" y="2357277"/>
              <a:ext cx="69948" cy="54702"/>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9" name="Freeform 355">
              <a:extLst>
                <a:ext uri="{FF2B5EF4-FFF2-40B4-BE49-F238E27FC236}">
                  <a16:creationId xmlns:a16="http://schemas.microsoft.com/office/drawing/2014/main" id="{A664F399-43F7-F84D-8284-ADB59C816757}"/>
                </a:ext>
              </a:extLst>
            </p:cNvPr>
            <p:cNvSpPr>
              <a:spLocks/>
            </p:cNvSpPr>
            <p:nvPr userDrawn="1">
              <p:custDataLst>
                <p:tags r:id="rId259"/>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0" name="Freeform 356">
              <a:extLst>
                <a:ext uri="{FF2B5EF4-FFF2-40B4-BE49-F238E27FC236}">
                  <a16:creationId xmlns:a16="http://schemas.microsoft.com/office/drawing/2014/main" id="{4A7DA9E5-C594-CC43-858D-7AD476BA8BC1}"/>
                </a:ext>
              </a:extLst>
            </p:cNvPr>
            <p:cNvSpPr>
              <a:spLocks/>
            </p:cNvSpPr>
            <p:nvPr userDrawn="1">
              <p:custDataLst>
                <p:tags r:id="rId260"/>
              </p:custDataLst>
            </p:nvPr>
          </p:nvSpPr>
          <p:spPr bwMode="auto">
            <a:xfrm>
              <a:off x="8590657" y="3231063"/>
              <a:ext cx="250511" cy="391549"/>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1" name="Freeform 357">
              <a:extLst>
                <a:ext uri="{FF2B5EF4-FFF2-40B4-BE49-F238E27FC236}">
                  <a16:creationId xmlns:a16="http://schemas.microsoft.com/office/drawing/2014/main" id="{7476C4BA-635B-CD47-9F6F-44F3C331D075}"/>
                </a:ext>
              </a:extLst>
            </p:cNvPr>
            <p:cNvSpPr>
              <a:spLocks/>
            </p:cNvSpPr>
            <p:nvPr userDrawn="1">
              <p:custDataLst>
                <p:tags r:id="rId261"/>
              </p:custDataLst>
            </p:nvPr>
          </p:nvSpPr>
          <p:spPr bwMode="auto">
            <a:xfrm>
              <a:off x="8598790" y="3219547"/>
              <a:ext cx="39041" cy="5326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2" name="Freeform 358">
              <a:extLst>
                <a:ext uri="{FF2B5EF4-FFF2-40B4-BE49-F238E27FC236}">
                  <a16:creationId xmlns:a16="http://schemas.microsoft.com/office/drawing/2014/main" id="{1263FF50-A024-3343-ADCA-ED0FECF685C1}"/>
                </a:ext>
              </a:extLst>
            </p:cNvPr>
            <p:cNvSpPr>
              <a:spLocks/>
            </p:cNvSpPr>
            <p:nvPr userDrawn="1">
              <p:custDataLst>
                <p:tags r:id="rId262"/>
              </p:custDataLst>
            </p:nvPr>
          </p:nvSpPr>
          <p:spPr bwMode="auto">
            <a:xfrm>
              <a:off x="8392199" y="3138935"/>
              <a:ext cx="372515" cy="34116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3" name="Line 359">
              <a:extLst>
                <a:ext uri="{FF2B5EF4-FFF2-40B4-BE49-F238E27FC236}">
                  <a16:creationId xmlns:a16="http://schemas.microsoft.com/office/drawing/2014/main" id="{E826B9FD-57AD-5142-90E3-FAB8CA99E68A}"/>
                </a:ext>
              </a:extLst>
            </p:cNvPr>
            <p:cNvSpPr>
              <a:spLocks noChangeShapeType="1"/>
            </p:cNvSpPr>
            <p:nvPr userDrawn="1">
              <p:custDataLst>
                <p:tags r:id="rId263"/>
              </p:custDataLst>
            </p:nvPr>
          </p:nvSpPr>
          <p:spPr bwMode="auto">
            <a:xfrm flipH="1">
              <a:off x="5174592" y="3609656"/>
              <a:ext cx="4881" cy="719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4" name="Freeform 360">
              <a:extLst>
                <a:ext uri="{FF2B5EF4-FFF2-40B4-BE49-F238E27FC236}">
                  <a16:creationId xmlns:a16="http://schemas.microsoft.com/office/drawing/2014/main" id="{8B3B28B8-8264-EF4D-8F54-3F4170B610D2}"/>
                </a:ext>
              </a:extLst>
            </p:cNvPr>
            <p:cNvSpPr>
              <a:spLocks/>
            </p:cNvSpPr>
            <p:nvPr userDrawn="1">
              <p:custDataLst>
                <p:tags r:id="rId264"/>
              </p:custDataLst>
            </p:nvPr>
          </p:nvSpPr>
          <p:spPr bwMode="auto">
            <a:xfrm>
              <a:off x="5174591" y="3616855"/>
              <a:ext cx="13014" cy="5326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5" name="Freeform 361">
              <a:extLst>
                <a:ext uri="{FF2B5EF4-FFF2-40B4-BE49-F238E27FC236}">
                  <a16:creationId xmlns:a16="http://schemas.microsoft.com/office/drawing/2014/main" id="{9BDAE5DD-92C4-2E4B-ABBA-7A0B16DFF86E}"/>
                </a:ext>
              </a:extLst>
            </p:cNvPr>
            <p:cNvSpPr>
              <a:spLocks/>
            </p:cNvSpPr>
            <p:nvPr userDrawn="1">
              <p:custDataLst>
                <p:tags r:id="rId265"/>
              </p:custDataLst>
            </p:nvPr>
          </p:nvSpPr>
          <p:spPr bwMode="auto">
            <a:xfrm>
              <a:off x="5182725" y="3605338"/>
              <a:ext cx="4880" cy="51823"/>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6" name="Group 362">
              <a:extLst>
                <a:ext uri="{FF2B5EF4-FFF2-40B4-BE49-F238E27FC236}">
                  <a16:creationId xmlns:a16="http://schemas.microsoft.com/office/drawing/2014/main" id="{FBAAC467-4DB7-F645-B723-4930A8E41647}"/>
                </a:ext>
              </a:extLst>
            </p:cNvPr>
            <p:cNvGrpSpPr>
              <a:grpSpLocks/>
            </p:cNvGrpSpPr>
            <p:nvPr userDrawn="1">
              <p:custDataLst>
                <p:tags r:id="rId266"/>
              </p:custDataLst>
            </p:nvPr>
          </p:nvGrpSpPr>
          <p:grpSpPr bwMode="auto">
            <a:xfrm>
              <a:off x="5174592" y="3546318"/>
              <a:ext cx="427822" cy="182819"/>
              <a:chOff x="912" y="2626"/>
              <a:chExt cx="311" cy="127"/>
            </a:xfrm>
            <a:solidFill>
              <a:srgbClr val="DADADA"/>
            </a:solidFill>
          </p:grpSpPr>
          <p:sp>
            <p:nvSpPr>
              <p:cNvPr id="498" name="Freeform 363">
                <a:extLst>
                  <a:ext uri="{FF2B5EF4-FFF2-40B4-BE49-F238E27FC236}">
                    <a16:creationId xmlns:a16="http://schemas.microsoft.com/office/drawing/2014/main" id="{8BE9A668-4C8C-AD44-BC8A-27CE14B3BA6A}"/>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9" name="Freeform 364">
                <a:extLst>
                  <a:ext uri="{FF2B5EF4-FFF2-40B4-BE49-F238E27FC236}">
                    <a16:creationId xmlns:a16="http://schemas.microsoft.com/office/drawing/2014/main" id="{34541DEB-7D0F-5841-82DD-585AE44ED38C}"/>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0" name="Freeform 365">
                <a:extLst>
                  <a:ext uri="{FF2B5EF4-FFF2-40B4-BE49-F238E27FC236}">
                    <a16:creationId xmlns:a16="http://schemas.microsoft.com/office/drawing/2014/main" id="{AF3839DF-BF7D-754A-AF52-7E8AE2B22516}"/>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17" name="Freeform 366">
              <a:extLst>
                <a:ext uri="{FF2B5EF4-FFF2-40B4-BE49-F238E27FC236}">
                  <a16:creationId xmlns:a16="http://schemas.microsoft.com/office/drawing/2014/main" id="{F44DD78B-CA85-0341-BA59-EC07F441E745}"/>
                </a:ext>
              </a:extLst>
            </p:cNvPr>
            <p:cNvSpPr>
              <a:spLocks/>
            </p:cNvSpPr>
            <p:nvPr userDrawn="1">
              <p:custDataLst>
                <p:tags r:id="rId267"/>
              </p:custDataLst>
            </p:nvPr>
          </p:nvSpPr>
          <p:spPr bwMode="auto">
            <a:xfrm>
              <a:off x="8912743" y="4196979"/>
              <a:ext cx="19520" cy="5326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8" name="Freeform 367">
              <a:extLst>
                <a:ext uri="{FF2B5EF4-FFF2-40B4-BE49-F238E27FC236}">
                  <a16:creationId xmlns:a16="http://schemas.microsoft.com/office/drawing/2014/main" id="{58D15AEA-07CB-254E-AC87-EC63446056AB}"/>
                </a:ext>
              </a:extLst>
            </p:cNvPr>
            <p:cNvSpPr>
              <a:spLocks/>
            </p:cNvSpPr>
            <p:nvPr userDrawn="1">
              <p:custDataLst>
                <p:tags r:id="rId268"/>
              </p:custDataLst>
            </p:nvPr>
          </p:nvSpPr>
          <p:spPr bwMode="auto">
            <a:xfrm>
              <a:off x="8883462" y="4221451"/>
              <a:ext cx="24401" cy="51823"/>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9" name="Group 368">
              <a:extLst>
                <a:ext uri="{FF2B5EF4-FFF2-40B4-BE49-F238E27FC236}">
                  <a16:creationId xmlns:a16="http://schemas.microsoft.com/office/drawing/2014/main" id="{374D2785-90AA-2D41-897E-6A25957B18AC}"/>
                </a:ext>
              </a:extLst>
            </p:cNvPr>
            <p:cNvGrpSpPr>
              <a:grpSpLocks/>
            </p:cNvGrpSpPr>
            <p:nvPr userDrawn="1">
              <p:custDataLst>
                <p:tags r:id="rId269"/>
              </p:custDataLst>
            </p:nvPr>
          </p:nvGrpSpPr>
          <p:grpSpPr bwMode="auto">
            <a:xfrm>
              <a:off x="8720793" y="3760806"/>
              <a:ext cx="172430" cy="93567"/>
              <a:chOff x="3481" y="2773"/>
              <a:chExt cx="125" cy="65"/>
            </a:xfrm>
            <a:solidFill>
              <a:srgbClr val="DADADA"/>
            </a:solidFill>
          </p:grpSpPr>
          <p:sp>
            <p:nvSpPr>
              <p:cNvPr id="487" name="Freeform 369">
                <a:extLst>
                  <a:ext uri="{FF2B5EF4-FFF2-40B4-BE49-F238E27FC236}">
                    <a16:creationId xmlns:a16="http://schemas.microsoft.com/office/drawing/2014/main" id="{65BE371C-DDCA-5B48-A6DF-CC02218D370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8" name="Line 370">
                <a:extLst>
                  <a:ext uri="{FF2B5EF4-FFF2-40B4-BE49-F238E27FC236}">
                    <a16:creationId xmlns:a16="http://schemas.microsoft.com/office/drawing/2014/main" id="{B1B3C1B3-3433-7E43-A383-F1E486C702A4}"/>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9" name="Freeform 371">
                <a:extLst>
                  <a:ext uri="{FF2B5EF4-FFF2-40B4-BE49-F238E27FC236}">
                    <a16:creationId xmlns:a16="http://schemas.microsoft.com/office/drawing/2014/main" id="{EE206C05-EE19-994B-A470-65A6FFB2C4D1}"/>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0" name="Freeform 372">
                <a:extLst>
                  <a:ext uri="{FF2B5EF4-FFF2-40B4-BE49-F238E27FC236}">
                    <a16:creationId xmlns:a16="http://schemas.microsoft.com/office/drawing/2014/main" id="{6F5B889F-2149-6841-BEE7-3E06CCAF6B01}"/>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1" name="Freeform 373">
                <a:extLst>
                  <a:ext uri="{FF2B5EF4-FFF2-40B4-BE49-F238E27FC236}">
                    <a16:creationId xmlns:a16="http://schemas.microsoft.com/office/drawing/2014/main" id="{65B71ED5-2E60-0E4A-96AA-AA69DAE7EA4A}"/>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2" name="Line 374">
                <a:extLst>
                  <a:ext uri="{FF2B5EF4-FFF2-40B4-BE49-F238E27FC236}">
                    <a16:creationId xmlns:a16="http://schemas.microsoft.com/office/drawing/2014/main" id="{BABC6AAA-CF25-EF4A-B1B3-920182CBAABA}"/>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3" name="Freeform 375">
                <a:extLst>
                  <a:ext uri="{FF2B5EF4-FFF2-40B4-BE49-F238E27FC236}">
                    <a16:creationId xmlns:a16="http://schemas.microsoft.com/office/drawing/2014/main" id="{82396032-665C-2840-A902-43B881C03D4F}"/>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4" name="Freeform 376">
                <a:extLst>
                  <a:ext uri="{FF2B5EF4-FFF2-40B4-BE49-F238E27FC236}">
                    <a16:creationId xmlns:a16="http://schemas.microsoft.com/office/drawing/2014/main" id="{637D0488-1003-6746-90BA-DE114875B29F}"/>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5" name="Freeform 377">
                <a:extLst>
                  <a:ext uri="{FF2B5EF4-FFF2-40B4-BE49-F238E27FC236}">
                    <a16:creationId xmlns:a16="http://schemas.microsoft.com/office/drawing/2014/main" id="{D7CD9C66-98C8-F44C-880B-99AA719B8B0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6" name="Freeform 378">
                <a:extLst>
                  <a:ext uri="{FF2B5EF4-FFF2-40B4-BE49-F238E27FC236}">
                    <a16:creationId xmlns:a16="http://schemas.microsoft.com/office/drawing/2014/main" id="{9FB615A9-994F-C342-8307-D53AAA236A5A}"/>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7" name="Freeform 379">
                <a:extLst>
                  <a:ext uri="{FF2B5EF4-FFF2-40B4-BE49-F238E27FC236}">
                    <a16:creationId xmlns:a16="http://schemas.microsoft.com/office/drawing/2014/main" id="{AAA0DC53-A090-604C-AD92-A0CACAAB93AF}"/>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20" name="Freeform 380">
              <a:extLst>
                <a:ext uri="{FF2B5EF4-FFF2-40B4-BE49-F238E27FC236}">
                  <a16:creationId xmlns:a16="http://schemas.microsoft.com/office/drawing/2014/main" id="{00162480-7AA6-164F-8DFB-341524EADA19}"/>
                </a:ext>
              </a:extLst>
            </p:cNvPr>
            <p:cNvSpPr>
              <a:spLocks/>
            </p:cNvSpPr>
            <p:nvPr userDrawn="1">
              <p:custDataLst>
                <p:tags r:id="rId270"/>
              </p:custDataLst>
            </p:nvPr>
          </p:nvSpPr>
          <p:spPr bwMode="auto">
            <a:xfrm>
              <a:off x="7827736" y="3753609"/>
              <a:ext cx="326965" cy="344045"/>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1" name="Freeform 381">
              <a:extLst>
                <a:ext uri="{FF2B5EF4-FFF2-40B4-BE49-F238E27FC236}">
                  <a16:creationId xmlns:a16="http://schemas.microsoft.com/office/drawing/2014/main" id="{02D17D70-0967-3C4E-8532-F601CCD92E0D}"/>
                </a:ext>
              </a:extLst>
            </p:cNvPr>
            <p:cNvSpPr>
              <a:spLocks/>
            </p:cNvSpPr>
            <p:nvPr userDrawn="1">
              <p:custDataLst>
                <p:tags r:id="rId271"/>
              </p:custDataLst>
            </p:nvPr>
          </p:nvSpPr>
          <p:spPr bwMode="auto">
            <a:xfrm>
              <a:off x="7839122" y="3729137"/>
              <a:ext cx="16267" cy="54702"/>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2" name="Freeform 382">
              <a:extLst>
                <a:ext uri="{FF2B5EF4-FFF2-40B4-BE49-F238E27FC236}">
                  <a16:creationId xmlns:a16="http://schemas.microsoft.com/office/drawing/2014/main" id="{6471B245-765E-0744-B62D-B88E0A3CD883}"/>
                </a:ext>
              </a:extLst>
            </p:cNvPr>
            <p:cNvSpPr>
              <a:spLocks/>
            </p:cNvSpPr>
            <p:nvPr userDrawn="1">
              <p:custDataLst>
                <p:tags r:id="rId272"/>
              </p:custDataLst>
            </p:nvPr>
          </p:nvSpPr>
          <p:spPr bwMode="auto">
            <a:xfrm>
              <a:off x="7943232" y="4221451"/>
              <a:ext cx="406675" cy="3613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3" name="Freeform 383">
              <a:extLst>
                <a:ext uri="{FF2B5EF4-FFF2-40B4-BE49-F238E27FC236}">
                  <a16:creationId xmlns:a16="http://schemas.microsoft.com/office/drawing/2014/main" id="{E85206CE-A3EF-F849-A832-7347102A78BD}"/>
                </a:ext>
              </a:extLst>
            </p:cNvPr>
            <p:cNvSpPr>
              <a:spLocks/>
            </p:cNvSpPr>
            <p:nvPr userDrawn="1">
              <p:custDataLst>
                <p:tags r:id="rId273"/>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24" name="Group 384">
              <a:extLst>
                <a:ext uri="{FF2B5EF4-FFF2-40B4-BE49-F238E27FC236}">
                  <a16:creationId xmlns:a16="http://schemas.microsoft.com/office/drawing/2014/main" id="{982660BB-9050-3248-9362-94010767CE4C}"/>
                </a:ext>
              </a:extLst>
            </p:cNvPr>
            <p:cNvGrpSpPr>
              <a:grpSpLocks/>
            </p:cNvGrpSpPr>
            <p:nvPr userDrawn="1">
              <p:custDataLst>
                <p:tags r:id="rId274"/>
              </p:custDataLst>
            </p:nvPr>
          </p:nvGrpSpPr>
          <p:grpSpPr bwMode="auto">
            <a:xfrm>
              <a:off x="6848464" y="3105826"/>
              <a:ext cx="82961" cy="74855"/>
              <a:chOff x="2352" y="2343"/>
              <a:chExt cx="65" cy="53"/>
            </a:xfrm>
            <a:solidFill>
              <a:srgbClr val="DADADA"/>
            </a:solidFill>
          </p:grpSpPr>
          <p:sp>
            <p:nvSpPr>
              <p:cNvPr id="481" name="Freeform 385">
                <a:extLst>
                  <a:ext uri="{FF2B5EF4-FFF2-40B4-BE49-F238E27FC236}">
                    <a16:creationId xmlns:a16="http://schemas.microsoft.com/office/drawing/2014/main" id="{6A499C76-0E13-5A48-8FD3-843EB36854E4}"/>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2" name="Freeform 386">
                <a:extLst>
                  <a:ext uri="{FF2B5EF4-FFF2-40B4-BE49-F238E27FC236}">
                    <a16:creationId xmlns:a16="http://schemas.microsoft.com/office/drawing/2014/main" id="{365C76EC-A978-F649-A03C-D997BB3E8001}"/>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3" name="Freeform 387">
                <a:extLst>
                  <a:ext uri="{FF2B5EF4-FFF2-40B4-BE49-F238E27FC236}">
                    <a16:creationId xmlns:a16="http://schemas.microsoft.com/office/drawing/2014/main" id="{FC27B943-5432-7841-B1C3-0E47E3FD0C25}"/>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4" name="Freeform 388">
                <a:extLst>
                  <a:ext uri="{FF2B5EF4-FFF2-40B4-BE49-F238E27FC236}">
                    <a16:creationId xmlns:a16="http://schemas.microsoft.com/office/drawing/2014/main" id="{BA6CA04E-326A-7449-B2FA-E6F6C7B6DA54}"/>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5" name="Freeform 389">
                <a:extLst>
                  <a:ext uri="{FF2B5EF4-FFF2-40B4-BE49-F238E27FC236}">
                    <a16:creationId xmlns:a16="http://schemas.microsoft.com/office/drawing/2014/main" id="{2275C690-23CD-9D42-B1B2-B19AFC208C2A}"/>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6" name="Freeform 390">
                <a:extLst>
                  <a:ext uri="{FF2B5EF4-FFF2-40B4-BE49-F238E27FC236}">
                    <a16:creationId xmlns:a16="http://schemas.microsoft.com/office/drawing/2014/main" id="{53B170B8-7E71-D74C-8E64-44947FE855C2}"/>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325" name="Group 391">
              <a:extLst>
                <a:ext uri="{FF2B5EF4-FFF2-40B4-BE49-F238E27FC236}">
                  <a16:creationId xmlns:a16="http://schemas.microsoft.com/office/drawing/2014/main" id="{DFEB261B-0EF8-6243-AB96-5350A7D15830}"/>
                </a:ext>
              </a:extLst>
            </p:cNvPr>
            <p:cNvGrpSpPr>
              <a:grpSpLocks/>
            </p:cNvGrpSpPr>
            <p:nvPr userDrawn="1">
              <p:custDataLst>
                <p:tags r:id="rId275"/>
              </p:custDataLst>
            </p:nvPr>
          </p:nvGrpSpPr>
          <p:grpSpPr bwMode="auto">
            <a:xfrm>
              <a:off x="4641035" y="1346736"/>
              <a:ext cx="1943904" cy="1027815"/>
              <a:chOff x="527" y="1110"/>
              <a:chExt cx="1410" cy="709"/>
            </a:xfrm>
            <a:solidFill>
              <a:srgbClr val="DADADA"/>
            </a:solidFill>
          </p:grpSpPr>
          <p:sp>
            <p:nvSpPr>
              <p:cNvPr id="439" name="Freeform 392">
                <a:extLst>
                  <a:ext uri="{FF2B5EF4-FFF2-40B4-BE49-F238E27FC236}">
                    <a16:creationId xmlns:a16="http://schemas.microsoft.com/office/drawing/2014/main" id="{F63D823B-1EDD-2C40-9D70-1B1AF016F41A}"/>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0" name="Freeform 393">
                <a:extLst>
                  <a:ext uri="{FF2B5EF4-FFF2-40B4-BE49-F238E27FC236}">
                    <a16:creationId xmlns:a16="http://schemas.microsoft.com/office/drawing/2014/main" id="{CA0242D1-029E-D648-883D-F21265B4287C}"/>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1" name="Freeform 394">
                <a:extLst>
                  <a:ext uri="{FF2B5EF4-FFF2-40B4-BE49-F238E27FC236}">
                    <a16:creationId xmlns:a16="http://schemas.microsoft.com/office/drawing/2014/main" id="{F1FECA2F-6D81-5E4B-9D3A-8107CD12A836}"/>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2" name="Freeform 395">
                <a:extLst>
                  <a:ext uri="{FF2B5EF4-FFF2-40B4-BE49-F238E27FC236}">
                    <a16:creationId xmlns:a16="http://schemas.microsoft.com/office/drawing/2014/main" id="{9FD585D8-3F01-8345-B278-A287D7786FD7}"/>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3" name="Freeform 396">
                <a:extLst>
                  <a:ext uri="{FF2B5EF4-FFF2-40B4-BE49-F238E27FC236}">
                    <a16:creationId xmlns:a16="http://schemas.microsoft.com/office/drawing/2014/main" id="{2791DB6F-A27F-7E4E-A0A1-187D43085964}"/>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4" name="Freeform 397">
                <a:extLst>
                  <a:ext uri="{FF2B5EF4-FFF2-40B4-BE49-F238E27FC236}">
                    <a16:creationId xmlns:a16="http://schemas.microsoft.com/office/drawing/2014/main" id="{A2EF3612-FF76-9B4D-A802-FE1649014EDF}"/>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5" name="Freeform 398">
                <a:extLst>
                  <a:ext uri="{FF2B5EF4-FFF2-40B4-BE49-F238E27FC236}">
                    <a16:creationId xmlns:a16="http://schemas.microsoft.com/office/drawing/2014/main" id="{A2AD1FFC-466C-B741-8052-6333BF7515DA}"/>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6" name="Freeform 399">
                <a:extLst>
                  <a:ext uri="{FF2B5EF4-FFF2-40B4-BE49-F238E27FC236}">
                    <a16:creationId xmlns:a16="http://schemas.microsoft.com/office/drawing/2014/main" id="{94BDB763-231F-524D-B5A4-C10E653318FD}"/>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7" name="Freeform 400">
                <a:extLst>
                  <a:ext uri="{FF2B5EF4-FFF2-40B4-BE49-F238E27FC236}">
                    <a16:creationId xmlns:a16="http://schemas.microsoft.com/office/drawing/2014/main" id="{B07F68C5-6C10-3940-8854-C463520DC41E}"/>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8" name="Freeform 401">
                <a:extLst>
                  <a:ext uri="{FF2B5EF4-FFF2-40B4-BE49-F238E27FC236}">
                    <a16:creationId xmlns:a16="http://schemas.microsoft.com/office/drawing/2014/main" id="{D393A810-D68B-534E-A97D-F04CF008ED9E}"/>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9" name="Freeform 402">
                <a:extLst>
                  <a:ext uri="{FF2B5EF4-FFF2-40B4-BE49-F238E27FC236}">
                    <a16:creationId xmlns:a16="http://schemas.microsoft.com/office/drawing/2014/main" id="{08FE98C9-AFDB-1D4B-91AC-2488888CC578}"/>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0" name="Freeform 403">
                <a:extLst>
                  <a:ext uri="{FF2B5EF4-FFF2-40B4-BE49-F238E27FC236}">
                    <a16:creationId xmlns:a16="http://schemas.microsoft.com/office/drawing/2014/main" id="{0DC1B962-8B22-314D-A4D3-C90BF9AF4ED5}"/>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1" name="Freeform 404">
                <a:extLst>
                  <a:ext uri="{FF2B5EF4-FFF2-40B4-BE49-F238E27FC236}">
                    <a16:creationId xmlns:a16="http://schemas.microsoft.com/office/drawing/2014/main" id="{A4C2BEC3-C67B-AF48-8851-07C812AD5384}"/>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2" name="Freeform 405">
                <a:extLst>
                  <a:ext uri="{FF2B5EF4-FFF2-40B4-BE49-F238E27FC236}">
                    <a16:creationId xmlns:a16="http://schemas.microsoft.com/office/drawing/2014/main" id="{BEF6C9D7-8C4A-C845-BDD2-2C418DF0D6A0}"/>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3" name="Freeform 406">
                <a:extLst>
                  <a:ext uri="{FF2B5EF4-FFF2-40B4-BE49-F238E27FC236}">
                    <a16:creationId xmlns:a16="http://schemas.microsoft.com/office/drawing/2014/main" id="{225DD8CF-6527-3540-AF3D-B06408CD0732}"/>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4" name="Freeform 407">
                <a:extLst>
                  <a:ext uri="{FF2B5EF4-FFF2-40B4-BE49-F238E27FC236}">
                    <a16:creationId xmlns:a16="http://schemas.microsoft.com/office/drawing/2014/main" id="{6FF49B39-23C4-5544-A8AC-852F833097FE}"/>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5" name="Freeform 408">
                <a:extLst>
                  <a:ext uri="{FF2B5EF4-FFF2-40B4-BE49-F238E27FC236}">
                    <a16:creationId xmlns:a16="http://schemas.microsoft.com/office/drawing/2014/main" id="{21A666BF-D0CB-7340-924C-C6EC483A2D65}"/>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6" name="Freeform 409">
                <a:extLst>
                  <a:ext uri="{FF2B5EF4-FFF2-40B4-BE49-F238E27FC236}">
                    <a16:creationId xmlns:a16="http://schemas.microsoft.com/office/drawing/2014/main" id="{15FDFB8E-E5F0-E64C-AC72-79CC50D6D187}"/>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7" name="Freeform 410">
                <a:extLst>
                  <a:ext uri="{FF2B5EF4-FFF2-40B4-BE49-F238E27FC236}">
                    <a16:creationId xmlns:a16="http://schemas.microsoft.com/office/drawing/2014/main" id="{F4B410B8-D460-FD4D-91E1-342FD9E87712}"/>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8" name="Freeform 411">
                <a:extLst>
                  <a:ext uri="{FF2B5EF4-FFF2-40B4-BE49-F238E27FC236}">
                    <a16:creationId xmlns:a16="http://schemas.microsoft.com/office/drawing/2014/main" id="{22F62F28-C834-9E4A-BADB-2B92B2BEBFB2}"/>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9" name="Freeform 412">
                <a:extLst>
                  <a:ext uri="{FF2B5EF4-FFF2-40B4-BE49-F238E27FC236}">
                    <a16:creationId xmlns:a16="http://schemas.microsoft.com/office/drawing/2014/main" id="{DBD7BFCD-4923-4A4B-8CDF-CAF6D23B0C0D}"/>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0" name="Freeform 413">
                <a:extLst>
                  <a:ext uri="{FF2B5EF4-FFF2-40B4-BE49-F238E27FC236}">
                    <a16:creationId xmlns:a16="http://schemas.microsoft.com/office/drawing/2014/main" id="{41AA6F27-8D2A-BE49-B022-1FA4950820F4}"/>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1" name="Freeform 414">
                <a:extLst>
                  <a:ext uri="{FF2B5EF4-FFF2-40B4-BE49-F238E27FC236}">
                    <a16:creationId xmlns:a16="http://schemas.microsoft.com/office/drawing/2014/main" id="{2EB68EE6-1BA6-104F-AF87-7CCDD640B55F}"/>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2" name="Freeform 415">
                <a:extLst>
                  <a:ext uri="{FF2B5EF4-FFF2-40B4-BE49-F238E27FC236}">
                    <a16:creationId xmlns:a16="http://schemas.microsoft.com/office/drawing/2014/main" id="{46897349-B84D-854E-97AD-132A6317637B}"/>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3" name="Freeform 416">
                <a:extLst>
                  <a:ext uri="{FF2B5EF4-FFF2-40B4-BE49-F238E27FC236}">
                    <a16:creationId xmlns:a16="http://schemas.microsoft.com/office/drawing/2014/main" id="{575DA3BC-584F-824E-A8A2-B245312A2C10}"/>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4" name="Freeform 417">
                <a:extLst>
                  <a:ext uri="{FF2B5EF4-FFF2-40B4-BE49-F238E27FC236}">
                    <a16:creationId xmlns:a16="http://schemas.microsoft.com/office/drawing/2014/main" id="{EAF2665D-D40E-3D46-9ED5-9487371AF726}"/>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5" name="Freeform 418">
                <a:extLst>
                  <a:ext uri="{FF2B5EF4-FFF2-40B4-BE49-F238E27FC236}">
                    <a16:creationId xmlns:a16="http://schemas.microsoft.com/office/drawing/2014/main" id="{0D14BCF6-DAAC-B44C-915D-F324609D309C}"/>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6" name="Freeform 419">
                <a:extLst>
                  <a:ext uri="{FF2B5EF4-FFF2-40B4-BE49-F238E27FC236}">
                    <a16:creationId xmlns:a16="http://schemas.microsoft.com/office/drawing/2014/main" id="{260AD276-2902-B34D-8DE3-B7BADC5F0568}"/>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7" name="Freeform 420">
                <a:extLst>
                  <a:ext uri="{FF2B5EF4-FFF2-40B4-BE49-F238E27FC236}">
                    <a16:creationId xmlns:a16="http://schemas.microsoft.com/office/drawing/2014/main" id="{666DBB91-C0B7-C448-BDEE-D5621FE14646}"/>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8" name="Freeform 421">
                <a:extLst>
                  <a:ext uri="{FF2B5EF4-FFF2-40B4-BE49-F238E27FC236}">
                    <a16:creationId xmlns:a16="http://schemas.microsoft.com/office/drawing/2014/main" id="{0B41FCFD-B862-D541-9E26-2A16CDCA3D1B}"/>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9" name="Freeform 422">
                <a:extLst>
                  <a:ext uri="{FF2B5EF4-FFF2-40B4-BE49-F238E27FC236}">
                    <a16:creationId xmlns:a16="http://schemas.microsoft.com/office/drawing/2014/main" id="{95E14D47-3C74-774A-B900-6407A0DAD970}"/>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0" name="Freeform 423">
                <a:extLst>
                  <a:ext uri="{FF2B5EF4-FFF2-40B4-BE49-F238E27FC236}">
                    <a16:creationId xmlns:a16="http://schemas.microsoft.com/office/drawing/2014/main" id="{14763531-BF79-D24E-BD18-ECBAC1903324}"/>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1" name="Freeform 424">
                <a:extLst>
                  <a:ext uri="{FF2B5EF4-FFF2-40B4-BE49-F238E27FC236}">
                    <a16:creationId xmlns:a16="http://schemas.microsoft.com/office/drawing/2014/main" id="{51A8F61D-DF28-D942-8D9B-37BB43F8065B}"/>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2" name="Freeform 425">
                <a:extLst>
                  <a:ext uri="{FF2B5EF4-FFF2-40B4-BE49-F238E27FC236}">
                    <a16:creationId xmlns:a16="http://schemas.microsoft.com/office/drawing/2014/main" id="{71B58DFC-A1E8-634E-90C3-A25CB4BC568E}"/>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3" name="Freeform 426">
                <a:extLst>
                  <a:ext uri="{FF2B5EF4-FFF2-40B4-BE49-F238E27FC236}">
                    <a16:creationId xmlns:a16="http://schemas.microsoft.com/office/drawing/2014/main" id="{7D472D96-187B-1245-8929-3CBB20BB79E9}"/>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4" name="Freeform 427">
                <a:extLst>
                  <a:ext uri="{FF2B5EF4-FFF2-40B4-BE49-F238E27FC236}">
                    <a16:creationId xmlns:a16="http://schemas.microsoft.com/office/drawing/2014/main" id="{2ED5FB2B-8ECD-334D-A987-C0B849F3FB94}"/>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5" name="Freeform 428">
                <a:extLst>
                  <a:ext uri="{FF2B5EF4-FFF2-40B4-BE49-F238E27FC236}">
                    <a16:creationId xmlns:a16="http://schemas.microsoft.com/office/drawing/2014/main" id="{E31582CD-7952-F34A-810F-C3DB238756CC}"/>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6" name="Freeform 429">
                <a:extLst>
                  <a:ext uri="{FF2B5EF4-FFF2-40B4-BE49-F238E27FC236}">
                    <a16:creationId xmlns:a16="http://schemas.microsoft.com/office/drawing/2014/main" id="{6E866438-5030-574B-9C89-3D7DE23F17B4}"/>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7" name="Freeform 430">
                <a:extLst>
                  <a:ext uri="{FF2B5EF4-FFF2-40B4-BE49-F238E27FC236}">
                    <a16:creationId xmlns:a16="http://schemas.microsoft.com/office/drawing/2014/main" id="{DB4738ED-3AD9-EB48-A987-6CEE3CDDC4FA}"/>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8" name="Freeform 431">
                <a:extLst>
                  <a:ext uri="{FF2B5EF4-FFF2-40B4-BE49-F238E27FC236}">
                    <a16:creationId xmlns:a16="http://schemas.microsoft.com/office/drawing/2014/main" id="{A8CF874B-735D-E14F-BE92-7593B53E586D}"/>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9" name="Freeform 432">
                <a:extLst>
                  <a:ext uri="{FF2B5EF4-FFF2-40B4-BE49-F238E27FC236}">
                    <a16:creationId xmlns:a16="http://schemas.microsoft.com/office/drawing/2014/main" id="{400D4E96-8251-9645-9A57-6227CB5F48DB}"/>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0" name="Freeform 433">
                <a:extLst>
                  <a:ext uri="{FF2B5EF4-FFF2-40B4-BE49-F238E27FC236}">
                    <a16:creationId xmlns:a16="http://schemas.microsoft.com/office/drawing/2014/main" id="{63EE6AB7-770C-444F-AB2D-EB546B47D48E}"/>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26" name="Freeform 434">
              <a:extLst>
                <a:ext uri="{FF2B5EF4-FFF2-40B4-BE49-F238E27FC236}">
                  <a16:creationId xmlns:a16="http://schemas.microsoft.com/office/drawing/2014/main" id="{4D79F941-6B37-5740-8BCC-8926C91DCCA1}"/>
                </a:ext>
              </a:extLst>
            </p:cNvPr>
            <p:cNvSpPr>
              <a:spLocks/>
            </p:cNvSpPr>
            <p:nvPr userDrawn="1">
              <p:custDataLst>
                <p:tags r:id="rId276"/>
              </p:custDataLst>
            </p:nvPr>
          </p:nvSpPr>
          <p:spPr bwMode="auto">
            <a:xfrm>
              <a:off x="8299477" y="3472901"/>
              <a:ext cx="130135" cy="143951"/>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7" name="Freeform 435">
              <a:extLst>
                <a:ext uri="{FF2B5EF4-FFF2-40B4-BE49-F238E27FC236}">
                  <a16:creationId xmlns:a16="http://schemas.microsoft.com/office/drawing/2014/main" id="{89D9F084-4AFE-A741-8ABA-AC818139C9B1}"/>
                </a:ext>
              </a:extLst>
            </p:cNvPr>
            <p:cNvSpPr>
              <a:spLocks/>
            </p:cNvSpPr>
            <p:nvPr userDrawn="1">
              <p:custDataLst>
                <p:tags r:id="rId277"/>
              </p:custDataLst>
            </p:nvPr>
          </p:nvSpPr>
          <p:spPr bwMode="auto">
            <a:xfrm>
              <a:off x="8408465" y="3609656"/>
              <a:ext cx="6507" cy="51823"/>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8" name="Freeform 436">
              <a:extLst>
                <a:ext uri="{FF2B5EF4-FFF2-40B4-BE49-F238E27FC236}">
                  <a16:creationId xmlns:a16="http://schemas.microsoft.com/office/drawing/2014/main" id="{C6517896-1883-B64A-9F41-742D91B348DC}"/>
                </a:ext>
              </a:extLst>
            </p:cNvPr>
            <p:cNvSpPr>
              <a:spLocks/>
            </p:cNvSpPr>
            <p:nvPr userDrawn="1">
              <p:custDataLst>
                <p:tags r:id="rId278"/>
              </p:custDataLst>
            </p:nvPr>
          </p:nvSpPr>
          <p:spPr bwMode="auto">
            <a:xfrm>
              <a:off x="7886298" y="2917248"/>
              <a:ext cx="255391" cy="453447"/>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9" name="Freeform 437">
              <a:extLst>
                <a:ext uri="{FF2B5EF4-FFF2-40B4-BE49-F238E27FC236}">
                  <a16:creationId xmlns:a16="http://schemas.microsoft.com/office/drawing/2014/main" id="{6F132BCA-A1D7-2F45-97C2-B66C290445FF}"/>
                </a:ext>
              </a:extLst>
            </p:cNvPr>
            <p:cNvSpPr>
              <a:spLocks/>
            </p:cNvSpPr>
            <p:nvPr userDrawn="1">
              <p:custDataLst>
                <p:tags r:id="rId279"/>
              </p:custDataLst>
            </p:nvPr>
          </p:nvSpPr>
          <p:spPr bwMode="auto">
            <a:xfrm>
              <a:off x="7554451" y="2357276"/>
              <a:ext cx="16267" cy="51823"/>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0" name="Freeform 329">
              <a:extLst>
                <a:ext uri="{FF2B5EF4-FFF2-40B4-BE49-F238E27FC236}">
                  <a16:creationId xmlns:a16="http://schemas.microsoft.com/office/drawing/2014/main" id="{44E96228-8A99-BD42-89F6-47923CA0C9FD}"/>
                </a:ext>
              </a:extLst>
            </p:cNvPr>
            <p:cNvSpPr>
              <a:spLocks/>
            </p:cNvSpPr>
            <p:nvPr userDrawn="1">
              <p:custDataLst>
                <p:tags r:id="rId280"/>
              </p:custDataLst>
            </p:nvPr>
          </p:nvSpPr>
          <p:spPr bwMode="auto">
            <a:xfrm>
              <a:off x="8589031" y="2368792"/>
              <a:ext cx="126882" cy="99327"/>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1" name="Freeform 330">
              <a:extLst>
                <a:ext uri="{FF2B5EF4-FFF2-40B4-BE49-F238E27FC236}">
                  <a16:creationId xmlns:a16="http://schemas.microsoft.com/office/drawing/2014/main" id="{78B8DEA1-4921-564E-801F-BCBDDD7C1FB0}"/>
                </a:ext>
              </a:extLst>
            </p:cNvPr>
            <p:cNvSpPr>
              <a:spLocks/>
            </p:cNvSpPr>
            <p:nvPr userDrawn="1">
              <p:custDataLst>
                <p:tags r:id="rId281"/>
              </p:custDataLst>
            </p:nvPr>
          </p:nvSpPr>
          <p:spPr bwMode="auto">
            <a:xfrm>
              <a:off x="8042459" y="1981562"/>
              <a:ext cx="214724" cy="13675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2" name="Freeform 331">
              <a:extLst>
                <a:ext uri="{FF2B5EF4-FFF2-40B4-BE49-F238E27FC236}">
                  <a16:creationId xmlns:a16="http://schemas.microsoft.com/office/drawing/2014/main" id="{749ED44B-4E16-C041-BE3A-3EEF11A8ABC3}"/>
                </a:ext>
              </a:extLst>
            </p:cNvPr>
            <p:cNvSpPr>
              <a:spLocks/>
            </p:cNvSpPr>
            <p:nvPr userDrawn="1">
              <p:custDataLst>
                <p:tags r:id="rId282"/>
              </p:custDataLst>
            </p:nvPr>
          </p:nvSpPr>
          <p:spPr bwMode="auto">
            <a:xfrm>
              <a:off x="7896057" y="2282422"/>
              <a:ext cx="84588" cy="7917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3" name="Freeform 332">
              <a:extLst>
                <a:ext uri="{FF2B5EF4-FFF2-40B4-BE49-F238E27FC236}">
                  <a16:creationId xmlns:a16="http://schemas.microsoft.com/office/drawing/2014/main" id="{BE3F2C69-C6FD-354E-A709-E12CECADE81C}"/>
                </a:ext>
              </a:extLst>
            </p:cNvPr>
            <p:cNvSpPr>
              <a:spLocks/>
            </p:cNvSpPr>
            <p:nvPr userDrawn="1">
              <p:custDataLst>
                <p:tags r:id="rId283"/>
              </p:custDataLst>
            </p:nvPr>
          </p:nvSpPr>
          <p:spPr bwMode="auto">
            <a:xfrm>
              <a:off x="6220558" y="3585184"/>
              <a:ext cx="84588" cy="51823"/>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4" name="Freeform 333">
              <a:extLst>
                <a:ext uri="{FF2B5EF4-FFF2-40B4-BE49-F238E27FC236}">
                  <a16:creationId xmlns:a16="http://schemas.microsoft.com/office/drawing/2014/main" id="{EEF19165-2252-CF4D-8A9D-0A258E7A89A2}"/>
                </a:ext>
              </a:extLst>
            </p:cNvPr>
            <p:cNvSpPr>
              <a:spLocks/>
            </p:cNvSpPr>
            <p:nvPr userDrawn="1">
              <p:custDataLst>
                <p:tags r:id="rId284"/>
              </p:custDataLst>
            </p:nvPr>
          </p:nvSpPr>
          <p:spPr bwMode="auto">
            <a:xfrm>
              <a:off x="8058727" y="2314090"/>
              <a:ext cx="136642" cy="8781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5" name="Freeform 334">
              <a:extLst>
                <a:ext uri="{FF2B5EF4-FFF2-40B4-BE49-F238E27FC236}">
                  <a16:creationId xmlns:a16="http://schemas.microsoft.com/office/drawing/2014/main" id="{1120B13A-A142-6644-9C7E-36F7AEF45952}"/>
                </a:ext>
              </a:extLst>
            </p:cNvPr>
            <p:cNvSpPr>
              <a:spLocks/>
            </p:cNvSpPr>
            <p:nvPr userDrawn="1">
              <p:custDataLst>
                <p:tags r:id="rId285"/>
              </p:custDataLst>
            </p:nvPr>
          </p:nvSpPr>
          <p:spPr bwMode="auto">
            <a:xfrm>
              <a:off x="7398287" y="3154769"/>
              <a:ext cx="182191" cy="14971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6" name="Freeform 335">
              <a:extLst>
                <a:ext uri="{FF2B5EF4-FFF2-40B4-BE49-F238E27FC236}">
                  <a16:creationId xmlns:a16="http://schemas.microsoft.com/office/drawing/2014/main" id="{952743FD-02FB-2849-A493-D8CD479966FB}"/>
                </a:ext>
              </a:extLst>
            </p:cNvPr>
            <p:cNvSpPr>
              <a:spLocks/>
            </p:cNvSpPr>
            <p:nvPr userDrawn="1">
              <p:custDataLst>
                <p:tags r:id="rId286"/>
              </p:custDataLst>
            </p:nvPr>
          </p:nvSpPr>
          <p:spPr bwMode="auto">
            <a:xfrm>
              <a:off x="7754534" y="3216669"/>
              <a:ext cx="198457" cy="31669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7" name="Freeform 336">
              <a:extLst>
                <a:ext uri="{FF2B5EF4-FFF2-40B4-BE49-F238E27FC236}">
                  <a16:creationId xmlns:a16="http://schemas.microsoft.com/office/drawing/2014/main" id="{22648637-C7E0-A64A-AD0E-855ED5FE8BF8}"/>
                </a:ext>
              </a:extLst>
            </p:cNvPr>
            <p:cNvSpPr>
              <a:spLocks/>
            </p:cNvSpPr>
            <p:nvPr userDrawn="1">
              <p:custDataLst>
                <p:tags r:id="rId287"/>
              </p:custDataLst>
            </p:nvPr>
          </p:nvSpPr>
          <p:spPr bwMode="auto">
            <a:xfrm>
              <a:off x="10263716" y="2987785"/>
              <a:ext cx="56935" cy="51823"/>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8" name="Freeform 337">
              <a:extLst>
                <a:ext uri="{FF2B5EF4-FFF2-40B4-BE49-F238E27FC236}">
                  <a16:creationId xmlns:a16="http://schemas.microsoft.com/office/drawing/2014/main" id="{599FC6AA-86BC-3145-8F36-3DBE4CA378CC}"/>
                </a:ext>
              </a:extLst>
            </p:cNvPr>
            <p:cNvSpPr>
              <a:spLocks/>
            </p:cNvSpPr>
            <p:nvPr userDrawn="1">
              <p:custDataLst>
                <p:tags r:id="rId288"/>
              </p:custDataLst>
            </p:nvPr>
          </p:nvSpPr>
          <p:spPr bwMode="auto">
            <a:xfrm>
              <a:off x="5506437" y="3236822"/>
              <a:ext cx="305819" cy="475041"/>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9" name="Freeform 338">
              <a:extLst>
                <a:ext uri="{FF2B5EF4-FFF2-40B4-BE49-F238E27FC236}">
                  <a16:creationId xmlns:a16="http://schemas.microsoft.com/office/drawing/2014/main" id="{E8B4C909-E809-384D-A471-24583ABAC70D}"/>
                </a:ext>
              </a:extLst>
            </p:cNvPr>
            <p:cNvSpPr>
              <a:spLocks/>
            </p:cNvSpPr>
            <p:nvPr userDrawn="1">
              <p:custDataLst>
                <p:tags r:id="rId289"/>
              </p:custDataLst>
            </p:nvPr>
          </p:nvSpPr>
          <p:spPr bwMode="auto">
            <a:xfrm>
              <a:off x="7814722" y="3480099"/>
              <a:ext cx="191950" cy="249037"/>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0" name="Freeform 339">
              <a:extLst>
                <a:ext uri="{FF2B5EF4-FFF2-40B4-BE49-F238E27FC236}">
                  <a16:creationId xmlns:a16="http://schemas.microsoft.com/office/drawing/2014/main" id="{DE6C8B5C-F574-0545-AF3A-59D44B84D86E}"/>
                </a:ext>
              </a:extLst>
            </p:cNvPr>
            <p:cNvSpPr>
              <a:spLocks/>
            </p:cNvSpPr>
            <p:nvPr userDrawn="1">
              <p:custDataLst>
                <p:tags r:id="rId290"/>
              </p:custDataLst>
            </p:nvPr>
          </p:nvSpPr>
          <p:spPr bwMode="auto">
            <a:xfrm>
              <a:off x="7847255" y="2249313"/>
              <a:ext cx="130135" cy="103645"/>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1" name="Freeform 340">
              <a:extLst>
                <a:ext uri="{FF2B5EF4-FFF2-40B4-BE49-F238E27FC236}">
                  <a16:creationId xmlns:a16="http://schemas.microsoft.com/office/drawing/2014/main" id="{EFA94C91-B8C2-784F-BB70-0453D2195FC2}"/>
                </a:ext>
              </a:extLst>
            </p:cNvPr>
            <p:cNvSpPr>
              <a:spLocks/>
            </p:cNvSpPr>
            <p:nvPr userDrawn="1">
              <p:custDataLst>
                <p:tags r:id="rId291"/>
              </p:custDataLst>
            </p:nvPr>
          </p:nvSpPr>
          <p:spPr bwMode="auto">
            <a:xfrm>
              <a:off x="7796829" y="2121195"/>
              <a:ext cx="172430" cy="70537"/>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2" name="Freeform 341">
              <a:extLst>
                <a:ext uri="{FF2B5EF4-FFF2-40B4-BE49-F238E27FC236}">
                  <a16:creationId xmlns:a16="http://schemas.microsoft.com/office/drawing/2014/main" id="{28EA3883-863F-CA49-B7C6-560B0800512B}"/>
                </a:ext>
              </a:extLst>
            </p:cNvPr>
            <p:cNvSpPr>
              <a:spLocks/>
            </p:cNvSpPr>
            <p:nvPr userDrawn="1">
              <p:custDataLst>
                <p:tags r:id="rId292"/>
              </p:custDataLst>
            </p:nvPr>
          </p:nvSpPr>
          <p:spPr bwMode="auto">
            <a:xfrm>
              <a:off x="7759414" y="1990200"/>
              <a:ext cx="30907" cy="54702"/>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3" name="Freeform 342">
              <a:extLst>
                <a:ext uri="{FF2B5EF4-FFF2-40B4-BE49-F238E27FC236}">
                  <a16:creationId xmlns:a16="http://schemas.microsoft.com/office/drawing/2014/main" id="{9BBF6266-37E3-4F40-9493-54E70A591667}"/>
                </a:ext>
              </a:extLst>
            </p:cNvPr>
            <p:cNvSpPr>
              <a:spLocks/>
            </p:cNvSpPr>
            <p:nvPr userDrawn="1">
              <p:custDataLst>
                <p:tags r:id="rId293"/>
              </p:custDataLst>
            </p:nvPr>
          </p:nvSpPr>
          <p:spPr bwMode="auto">
            <a:xfrm>
              <a:off x="7730133" y="1994517"/>
              <a:ext cx="26027" cy="5326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4" name="Freeform 343">
              <a:extLst>
                <a:ext uri="{FF2B5EF4-FFF2-40B4-BE49-F238E27FC236}">
                  <a16:creationId xmlns:a16="http://schemas.microsoft.com/office/drawing/2014/main" id="{5EBFAF2E-A189-7E4A-A3C3-C42A65BE4DF9}"/>
                </a:ext>
              </a:extLst>
            </p:cNvPr>
            <p:cNvSpPr>
              <a:spLocks/>
            </p:cNvSpPr>
            <p:nvPr userDrawn="1">
              <p:custDataLst>
                <p:tags r:id="rId294"/>
              </p:custDataLst>
            </p:nvPr>
          </p:nvSpPr>
          <p:spPr bwMode="auto">
            <a:xfrm>
              <a:off x="7699226" y="1945574"/>
              <a:ext cx="53681" cy="70537"/>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5" name="Freeform 344">
              <a:extLst>
                <a:ext uri="{FF2B5EF4-FFF2-40B4-BE49-F238E27FC236}">
                  <a16:creationId xmlns:a16="http://schemas.microsoft.com/office/drawing/2014/main" id="{EB1AF3DB-3C91-1F43-9EC7-9C0767D095C8}"/>
                </a:ext>
              </a:extLst>
            </p:cNvPr>
            <p:cNvSpPr>
              <a:spLocks/>
            </p:cNvSpPr>
            <p:nvPr userDrawn="1">
              <p:custDataLst>
                <p:tags r:id="rId295"/>
              </p:custDataLst>
            </p:nvPr>
          </p:nvSpPr>
          <p:spPr bwMode="auto">
            <a:xfrm>
              <a:off x="8141688" y="2675411"/>
              <a:ext cx="279792" cy="279266"/>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6" name="Freeform 345">
              <a:extLst>
                <a:ext uri="{FF2B5EF4-FFF2-40B4-BE49-F238E27FC236}">
                  <a16:creationId xmlns:a16="http://schemas.microsoft.com/office/drawing/2014/main" id="{432CE385-B38C-0D4E-B4E9-C2A43AA35FC4}"/>
                </a:ext>
              </a:extLst>
            </p:cNvPr>
            <p:cNvSpPr>
              <a:spLocks/>
            </p:cNvSpPr>
            <p:nvPr userDrawn="1">
              <p:custDataLst>
                <p:tags r:id="rId296"/>
              </p:custDataLst>
            </p:nvPr>
          </p:nvSpPr>
          <p:spPr bwMode="auto">
            <a:xfrm>
              <a:off x="7726880" y="2344320"/>
              <a:ext cx="17893" cy="51823"/>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7" name="Freeform 346">
              <a:extLst>
                <a:ext uri="{FF2B5EF4-FFF2-40B4-BE49-F238E27FC236}">
                  <a16:creationId xmlns:a16="http://schemas.microsoft.com/office/drawing/2014/main" id="{49FAC8CE-80ED-664C-AB53-7DCAC824288E}"/>
                </a:ext>
              </a:extLst>
            </p:cNvPr>
            <p:cNvSpPr>
              <a:spLocks/>
            </p:cNvSpPr>
            <p:nvPr userDrawn="1">
              <p:custDataLst>
                <p:tags r:id="rId297"/>
              </p:custDataLst>
            </p:nvPr>
          </p:nvSpPr>
          <p:spPr bwMode="auto">
            <a:xfrm>
              <a:off x="7432448" y="2127412"/>
              <a:ext cx="302566" cy="247597"/>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8" name="Freeform 347">
              <a:extLst>
                <a:ext uri="{FF2B5EF4-FFF2-40B4-BE49-F238E27FC236}">
                  <a16:creationId xmlns:a16="http://schemas.microsoft.com/office/drawing/2014/main" id="{00FB8588-7587-8344-97FB-AD2883C0C598}"/>
                </a:ext>
              </a:extLst>
            </p:cNvPr>
            <p:cNvSpPr>
              <a:spLocks/>
            </p:cNvSpPr>
            <p:nvPr userDrawn="1">
              <p:custDataLst>
                <p:tags r:id="rId298"/>
              </p:custDataLst>
            </p:nvPr>
          </p:nvSpPr>
          <p:spPr bwMode="auto">
            <a:xfrm>
              <a:off x="8465400" y="2331364"/>
              <a:ext cx="154536" cy="74855"/>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9" name="Freeform 348">
              <a:extLst>
                <a:ext uri="{FF2B5EF4-FFF2-40B4-BE49-F238E27FC236}">
                  <a16:creationId xmlns:a16="http://schemas.microsoft.com/office/drawing/2014/main" id="{1D745142-5C16-AF4A-908F-B1FDC52A9BD3}"/>
                </a:ext>
              </a:extLst>
            </p:cNvPr>
            <p:cNvSpPr>
              <a:spLocks/>
            </p:cNvSpPr>
            <p:nvPr userDrawn="1">
              <p:custDataLst>
                <p:tags r:id="rId299"/>
              </p:custDataLst>
            </p:nvPr>
          </p:nvSpPr>
          <p:spPr bwMode="auto">
            <a:xfrm>
              <a:off x="8003420" y="2386066"/>
              <a:ext cx="151283" cy="15690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0" name="Freeform 349">
              <a:extLst>
                <a:ext uri="{FF2B5EF4-FFF2-40B4-BE49-F238E27FC236}">
                  <a16:creationId xmlns:a16="http://schemas.microsoft.com/office/drawing/2014/main" id="{259433AA-42B5-BE4B-A812-C41E4173541E}"/>
                </a:ext>
              </a:extLst>
            </p:cNvPr>
            <p:cNvSpPr>
              <a:spLocks/>
            </p:cNvSpPr>
            <p:nvPr userDrawn="1">
              <p:custDataLst>
                <p:tags r:id="rId300"/>
              </p:custDataLst>
            </p:nvPr>
          </p:nvSpPr>
          <p:spPr bwMode="auto">
            <a:xfrm>
              <a:off x="8089633" y="2560249"/>
              <a:ext cx="71574" cy="51823"/>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1" name="Freeform 350">
              <a:extLst>
                <a:ext uri="{FF2B5EF4-FFF2-40B4-BE49-F238E27FC236}">
                  <a16:creationId xmlns:a16="http://schemas.microsoft.com/office/drawing/2014/main" id="{13C087F5-9686-D44C-9B3E-211BA60881AB}"/>
                </a:ext>
              </a:extLst>
            </p:cNvPr>
            <p:cNvSpPr>
              <a:spLocks/>
            </p:cNvSpPr>
            <p:nvPr userDrawn="1">
              <p:custDataLst>
                <p:tags r:id="rId301"/>
              </p:custDataLst>
            </p:nvPr>
          </p:nvSpPr>
          <p:spPr bwMode="auto">
            <a:xfrm>
              <a:off x="7146149" y="3223865"/>
              <a:ext cx="191950" cy="143951"/>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2" name="Freeform 351">
              <a:extLst>
                <a:ext uri="{FF2B5EF4-FFF2-40B4-BE49-F238E27FC236}">
                  <a16:creationId xmlns:a16="http://schemas.microsoft.com/office/drawing/2014/main" id="{4C569CA9-04A7-3E4C-AA46-D229CEFAB878}"/>
                </a:ext>
              </a:extLst>
            </p:cNvPr>
            <p:cNvSpPr>
              <a:spLocks/>
            </p:cNvSpPr>
            <p:nvPr userDrawn="1">
              <p:custDataLst>
                <p:tags r:id="rId302"/>
              </p:custDataLst>
            </p:nvPr>
          </p:nvSpPr>
          <p:spPr bwMode="auto">
            <a:xfrm>
              <a:off x="9241335" y="2555931"/>
              <a:ext cx="709240" cy="793174"/>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3" name="Freeform 352">
              <a:extLst>
                <a:ext uri="{FF2B5EF4-FFF2-40B4-BE49-F238E27FC236}">
                  <a16:creationId xmlns:a16="http://schemas.microsoft.com/office/drawing/2014/main" id="{73855A8E-69C4-6344-A927-E4CFDF539292}"/>
                </a:ext>
              </a:extLst>
            </p:cNvPr>
            <p:cNvSpPr>
              <a:spLocks/>
            </p:cNvSpPr>
            <p:nvPr userDrawn="1">
              <p:custDataLst>
                <p:tags r:id="rId303"/>
              </p:custDataLst>
            </p:nvPr>
          </p:nvSpPr>
          <p:spPr bwMode="auto">
            <a:xfrm>
              <a:off x="7316952" y="3277129"/>
              <a:ext cx="162670" cy="187137"/>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4" name="Freeform 353">
              <a:extLst>
                <a:ext uri="{FF2B5EF4-FFF2-40B4-BE49-F238E27FC236}">
                  <a16:creationId xmlns:a16="http://schemas.microsoft.com/office/drawing/2014/main" id="{F1A38694-99A9-5843-B39F-9E279335AF90}"/>
                </a:ext>
              </a:extLst>
            </p:cNvPr>
            <p:cNvSpPr>
              <a:spLocks/>
            </p:cNvSpPr>
            <p:nvPr userDrawn="1">
              <p:custDataLst>
                <p:tags r:id="rId304"/>
              </p:custDataLst>
            </p:nvPr>
          </p:nvSpPr>
          <p:spPr bwMode="auto">
            <a:xfrm>
              <a:off x="8411719" y="3454188"/>
              <a:ext cx="196831" cy="24615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5" name="Freeform 354">
              <a:extLst>
                <a:ext uri="{FF2B5EF4-FFF2-40B4-BE49-F238E27FC236}">
                  <a16:creationId xmlns:a16="http://schemas.microsoft.com/office/drawing/2014/main" id="{7BFBC139-9096-E442-AC9A-CFD8C2A85A1A}"/>
                </a:ext>
              </a:extLst>
            </p:cNvPr>
            <p:cNvSpPr>
              <a:spLocks/>
            </p:cNvSpPr>
            <p:nvPr userDrawn="1">
              <p:custDataLst>
                <p:tags r:id="rId305"/>
              </p:custDataLst>
            </p:nvPr>
          </p:nvSpPr>
          <p:spPr bwMode="auto">
            <a:xfrm>
              <a:off x="8393826" y="2625026"/>
              <a:ext cx="104108" cy="118041"/>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6" name="Freeform 355">
              <a:extLst>
                <a:ext uri="{FF2B5EF4-FFF2-40B4-BE49-F238E27FC236}">
                  <a16:creationId xmlns:a16="http://schemas.microsoft.com/office/drawing/2014/main" id="{8C9262DD-6627-2640-8742-E3AC7A1D39EE}"/>
                </a:ext>
              </a:extLst>
            </p:cNvPr>
            <p:cNvSpPr>
              <a:spLocks/>
            </p:cNvSpPr>
            <p:nvPr userDrawn="1">
              <p:custDataLst>
                <p:tags r:id="rId306"/>
              </p:custDataLst>
            </p:nvPr>
          </p:nvSpPr>
          <p:spPr bwMode="auto">
            <a:xfrm>
              <a:off x="8699646" y="2718595"/>
              <a:ext cx="22774" cy="50383"/>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7" name="Freeform 356">
              <a:extLst>
                <a:ext uri="{FF2B5EF4-FFF2-40B4-BE49-F238E27FC236}">
                  <a16:creationId xmlns:a16="http://schemas.microsoft.com/office/drawing/2014/main" id="{05BAD948-6D66-1B4D-91B4-664A87F491CA}"/>
                </a:ext>
              </a:extLst>
            </p:cNvPr>
            <p:cNvSpPr>
              <a:spLocks/>
            </p:cNvSpPr>
            <p:nvPr userDrawn="1">
              <p:custDataLst>
                <p:tags r:id="rId307"/>
              </p:custDataLst>
            </p:nvPr>
          </p:nvSpPr>
          <p:spPr bwMode="auto">
            <a:xfrm>
              <a:off x="7969259" y="1934058"/>
              <a:ext cx="165923" cy="60460"/>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8" name="Freeform 357">
              <a:extLst>
                <a:ext uri="{FF2B5EF4-FFF2-40B4-BE49-F238E27FC236}">
                  <a16:creationId xmlns:a16="http://schemas.microsoft.com/office/drawing/2014/main" id="{FC2C2BC3-69B7-284E-AA69-C8854FBE3891}"/>
                </a:ext>
              </a:extLst>
            </p:cNvPr>
            <p:cNvSpPr>
              <a:spLocks/>
            </p:cNvSpPr>
            <p:nvPr userDrawn="1">
              <p:custDataLst>
                <p:tags r:id="rId308"/>
              </p:custDataLst>
            </p:nvPr>
          </p:nvSpPr>
          <p:spPr bwMode="auto">
            <a:xfrm>
              <a:off x="8390573" y="2587599"/>
              <a:ext cx="30907" cy="51823"/>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9" name="Freeform 358">
              <a:extLst>
                <a:ext uri="{FF2B5EF4-FFF2-40B4-BE49-F238E27FC236}">
                  <a16:creationId xmlns:a16="http://schemas.microsoft.com/office/drawing/2014/main" id="{6DBA82A1-92F3-FA42-A1A3-C11A6B2AC19B}"/>
                </a:ext>
              </a:extLst>
            </p:cNvPr>
            <p:cNvSpPr>
              <a:spLocks/>
            </p:cNvSpPr>
            <p:nvPr userDrawn="1">
              <p:custDataLst>
                <p:tags r:id="rId30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0" name="Freeform 359">
              <a:extLst>
                <a:ext uri="{FF2B5EF4-FFF2-40B4-BE49-F238E27FC236}">
                  <a16:creationId xmlns:a16="http://schemas.microsoft.com/office/drawing/2014/main" id="{78D83771-F3A7-3F46-9F24-EA903F5DF3BC}"/>
                </a:ext>
              </a:extLst>
            </p:cNvPr>
            <p:cNvSpPr>
              <a:spLocks/>
            </p:cNvSpPr>
            <p:nvPr userDrawn="1">
              <p:custDataLst>
                <p:tags r:id="rId310"/>
              </p:custDataLst>
            </p:nvPr>
          </p:nvSpPr>
          <p:spPr bwMode="auto">
            <a:xfrm>
              <a:off x="7967631" y="1977243"/>
              <a:ext cx="135015" cy="76294"/>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1" name="Freeform 360">
              <a:extLst>
                <a:ext uri="{FF2B5EF4-FFF2-40B4-BE49-F238E27FC236}">
                  <a16:creationId xmlns:a16="http://schemas.microsoft.com/office/drawing/2014/main" id="{45FCDC01-FDF2-D240-A19E-D319707B982E}"/>
                </a:ext>
              </a:extLst>
            </p:cNvPr>
            <p:cNvSpPr>
              <a:spLocks/>
            </p:cNvSpPr>
            <p:nvPr userDrawn="1">
              <p:custDataLst>
                <p:tags r:id="rId311"/>
              </p:custDataLst>
            </p:nvPr>
          </p:nvSpPr>
          <p:spPr bwMode="auto">
            <a:xfrm>
              <a:off x="7666692" y="2145669"/>
              <a:ext cx="19520" cy="54702"/>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2" name="Freeform 361">
              <a:extLst>
                <a:ext uri="{FF2B5EF4-FFF2-40B4-BE49-F238E27FC236}">
                  <a16:creationId xmlns:a16="http://schemas.microsoft.com/office/drawing/2014/main" id="{A2A2588D-B653-F741-859C-346587E05A68}"/>
                </a:ext>
              </a:extLst>
            </p:cNvPr>
            <p:cNvSpPr>
              <a:spLocks/>
            </p:cNvSpPr>
            <p:nvPr userDrawn="1">
              <p:custDataLst>
                <p:tags r:id="rId312"/>
              </p:custDataLst>
            </p:nvPr>
          </p:nvSpPr>
          <p:spPr bwMode="auto">
            <a:xfrm>
              <a:off x="8380812" y="3854373"/>
              <a:ext cx="71574" cy="218806"/>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3" name="Freeform 362">
              <a:extLst>
                <a:ext uri="{FF2B5EF4-FFF2-40B4-BE49-F238E27FC236}">
                  <a16:creationId xmlns:a16="http://schemas.microsoft.com/office/drawing/2014/main" id="{FE16CA27-6EB6-974D-A6FF-600C9D55A6D6}"/>
                </a:ext>
              </a:extLst>
            </p:cNvPr>
            <p:cNvSpPr>
              <a:spLocks/>
            </p:cNvSpPr>
            <p:nvPr userDrawn="1">
              <p:custDataLst>
                <p:tags r:id="rId313"/>
              </p:custDataLst>
            </p:nvPr>
          </p:nvSpPr>
          <p:spPr bwMode="auto">
            <a:xfrm>
              <a:off x="7860271" y="2558808"/>
              <a:ext cx="14640" cy="5182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4" name="Freeform 363">
              <a:extLst>
                <a:ext uri="{FF2B5EF4-FFF2-40B4-BE49-F238E27FC236}">
                  <a16:creationId xmlns:a16="http://schemas.microsoft.com/office/drawing/2014/main" id="{486078B7-1E68-2C48-B642-15C299146371}"/>
                </a:ext>
              </a:extLst>
            </p:cNvPr>
            <p:cNvSpPr>
              <a:spLocks/>
            </p:cNvSpPr>
            <p:nvPr userDrawn="1">
              <p:custDataLst>
                <p:tags r:id="rId314"/>
              </p:custDataLst>
            </p:nvPr>
          </p:nvSpPr>
          <p:spPr bwMode="auto">
            <a:xfrm>
              <a:off x="8187236" y="4028556"/>
              <a:ext cx="193577" cy="1972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5" name="Freeform 364">
              <a:extLst>
                <a:ext uri="{FF2B5EF4-FFF2-40B4-BE49-F238E27FC236}">
                  <a16:creationId xmlns:a16="http://schemas.microsoft.com/office/drawing/2014/main" id="{975170DE-C500-7B40-95BA-DD699560191F}"/>
                </a:ext>
              </a:extLst>
            </p:cNvPr>
            <p:cNvSpPr>
              <a:spLocks/>
            </p:cNvSpPr>
            <p:nvPr userDrawn="1">
              <p:custDataLst>
                <p:tags r:id="rId315"/>
              </p:custDataLst>
            </p:nvPr>
          </p:nvSpPr>
          <p:spPr bwMode="auto">
            <a:xfrm>
              <a:off x="8097768" y="3825583"/>
              <a:ext cx="300938" cy="272069"/>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6" name="Freeform 365">
              <a:extLst>
                <a:ext uri="{FF2B5EF4-FFF2-40B4-BE49-F238E27FC236}">
                  <a16:creationId xmlns:a16="http://schemas.microsoft.com/office/drawing/2014/main" id="{65C9F022-D294-A640-BE94-7B40D6FBF36B}"/>
                </a:ext>
              </a:extLst>
            </p:cNvPr>
            <p:cNvSpPr>
              <a:spLocks/>
            </p:cNvSpPr>
            <p:nvPr userDrawn="1">
              <p:custDataLst>
                <p:tags r:id="rId316"/>
              </p:custDataLst>
            </p:nvPr>
          </p:nvSpPr>
          <p:spPr bwMode="auto">
            <a:xfrm>
              <a:off x="7827736" y="4073180"/>
              <a:ext cx="359499" cy="34548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7" name="Freeform 366">
              <a:extLst>
                <a:ext uri="{FF2B5EF4-FFF2-40B4-BE49-F238E27FC236}">
                  <a16:creationId xmlns:a16="http://schemas.microsoft.com/office/drawing/2014/main" id="{796E8E40-9A3C-0C4D-AAF0-93F74ED7B6F1}"/>
                </a:ext>
              </a:extLst>
            </p:cNvPr>
            <p:cNvSpPr>
              <a:spLocks/>
            </p:cNvSpPr>
            <p:nvPr userDrawn="1">
              <p:custDataLst>
                <p:tags r:id="rId317"/>
              </p:custDataLst>
            </p:nvPr>
          </p:nvSpPr>
          <p:spPr bwMode="auto">
            <a:xfrm>
              <a:off x="7089215" y="3102946"/>
              <a:ext cx="165923" cy="12811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8" name="Freeform 367">
              <a:extLst>
                <a:ext uri="{FF2B5EF4-FFF2-40B4-BE49-F238E27FC236}">
                  <a16:creationId xmlns:a16="http://schemas.microsoft.com/office/drawing/2014/main" id="{2C9FB7DE-C7B8-3546-82A1-E92FBF94029A}"/>
                </a:ext>
              </a:extLst>
            </p:cNvPr>
            <p:cNvSpPr>
              <a:spLocks/>
            </p:cNvSpPr>
            <p:nvPr userDrawn="1">
              <p:custDataLst>
                <p:tags r:id="rId318"/>
              </p:custDataLst>
            </p:nvPr>
          </p:nvSpPr>
          <p:spPr bwMode="auto">
            <a:xfrm>
              <a:off x="8291344" y="3612535"/>
              <a:ext cx="276538" cy="30373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9" name="Freeform 368">
              <a:extLst>
                <a:ext uri="{FF2B5EF4-FFF2-40B4-BE49-F238E27FC236}">
                  <a16:creationId xmlns:a16="http://schemas.microsoft.com/office/drawing/2014/main" id="{26A620F0-7631-3948-8554-4D7B76556CAA}"/>
                </a:ext>
              </a:extLst>
            </p:cNvPr>
            <p:cNvSpPr>
              <a:spLocks/>
            </p:cNvSpPr>
            <p:nvPr userDrawn="1">
              <p:custDataLst>
                <p:tags r:id="rId319"/>
              </p:custDataLst>
            </p:nvPr>
          </p:nvSpPr>
          <p:spPr bwMode="auto">
            <a:xfrm>
              <a:off x="10918461" y="2265146"/>
              <a:ext cx="19520" cy="51823"/>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0" name="Freeform 369">
              <a:extLst>
                <a:ext uri="{FF2B5EF4-FFF2-40B4-BE49-F238E27FC236}">
                  <a16:creationId xmlns:a16="http://schemas.microsoft.com/office/drawing/2014/main" id="{62767972-A625-0E43-96B6-0BBEC6408E8B}"/>
                </a:ext>
              </a:extLst>
            </p:cNvPr>
            <p:cNvSpPr>
              <a:spLocks/>
            </p:cNvSpPr>
            <p:nvPr userDrawn="1">
              <p:custDataLst>
                <p:tags r:id="rId320"/>
              </p:custDataLst>
            </p:nvPr>
          </p:nvSpPr>
          <p:spPr bwMode="auto">
            <a:xfrm>
              <a:off x="10773685" y="2266586"/>
              <a:ext cx="144777" cy="11372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1" name="Freeform 370">
              <a:extLst>
                <a:ext uri="{FF2B5EF4-FFF2-40B4-BE49-F238E27FC236}">
                  <a16:creationId xmlns:a16="http://schemas.microsoft.com/office/drawing/2014/main" id="{D67518BF-E95B-7940-951C-6BE322168912}"/>
                </a:ext>
              </a:extLst>
            </p:cNvPr>
            <p:cNvSpPr>
              <a:spLocks/>
            </p:cNvSpPr>
            <p:nvPr userDrawn="1">
              <p:custDataLst>
                <p:tags r:id="rId321"/>
              </p:custDataLst>
            </p:nvPr>
          </p:nvSpPr>
          <p:spPr bwMode="auto">
            <a:xfrm>
              <a:off x="10742779" y="2587599"/>
              <a:ext cx="53680" cy="51823"/>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2" name="Freeform 371">
              <a:extLst>
                <a:ext uri="{FF2B5EF4-FFF2-40B4-BE49-F238E27FC236}">
                  <a16:creationId xmlns:a16="http://schemas.microsoft.com/office/drawing/2014/main" id="{BF7E8547-EB49-834B-9EE9-B53C8791B5FD}"/>
                </a:ext>
              </a:extLst>
            </p:cNvPr>
            <p:cNvSpPr>
              <a:spLocks/>
            </p:cNvSpPr>
            <p:nvPr userDrawn="1">
              <p:custDataLst>
                <p:tags r:id="rId322"/>
              </p:custDataLst>
            </p:nvPr>
          </p:nvSpPr>
          <p:spPr bwMode="auto">
            <a:xfrm>
              <a:off x="10687471" y="2600556"/>
              <a:ext cx="61815" cy="76294"/>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3" name="Freeform 372">
              <a:extLst>
                <a:ext uri="{FF2B5EF4-FFF2-40B4-BE49-F238E27FC236}">
                  <a16:creationId xmlns:a16="http://schemas.microsoft.com/office/drawing/2014/main" id="{03A5CAE4-234F-2846-AB28-834299414439}"/>
                </a:ext>
              </a:extLst>
            </p:cNvPr>
            <p:cNvSpPr>
              <a:spLocks/>
            </p:cNvSpPr>
            <p:nvPr userDrawn="1">
              <p:custDataLst>
                <p:tags r:id="rId323"/>
              </p:custDataLst>
            </p:nvPr>
          </p:nvSpPr>
          <p:spPr bwMode="auto">
            <a:xfrm>
              <a:off x="10703737" y="2384628"/>
              <a:ext cx="214724" cy="221686"/>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4" name="Freeform 373">
              <a:extLst>
                <a:ext uri="{FF2B5EF4-FFF2-40B4-BE49-F238E27FC236}">
                  <a16:creationId xmlns:a16="http://schemas.microsoft.com/office/drawing/2014/main" id="{8F273D26-9F3D-9542-9FC8-816DBFDC898A}"/>
                </a:ext>
              </a:extLst>
            </p:cNvPr>
            <p:cNvSpPr>
              <a:spLocks/>
            </p:cNvSpPr>
            <p:nvPr userDrawn="1">
              <p:custDataLst>
                <p:tags r:id="rId324"/>
              </p:custDataLst>
            </p:nvPr>
          </p:nvSpPr>
          <p:spPr bwMode="auto">
            <a:xfrm>
              <a:off x="8227903" y="1378405"/>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5" name="Freeform 374">
              <a:extLst>
                <a:ext uri="{FF2B5EF4-FFF2-40B4-BE49-F238E27FC236}">
                  <a16:creationId xmlns:a16="http://schemas.microsoft.com/office/drawing/2014/main" id="{AC4C067F-C216-CB4B-88E6-9D741FE13078}"/>
                </a:ext>
              </a:extLst>
            </p:cNvPr>
            <p:cNvSpPr>
              <a:spLocks/>
            </p:cNvSpPr>
            <p:nvPr userDrawn="1">
              <p:custDataLst>
                <p:tags r:id="rId325"/>
              </p:custDataLst>
            </p:nvPr>
          </p:nvSpPr>
          <p:spPr bwMode="auto">
            <a:xfrm>
              <a:off x="8374306" y="1362571"/>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6" name="Freeform 375">
              <a:extLst>
                <a:ext uri="{FF2B5EF4-FFF2-40B4-BE49-F238E27FC236}">
                  <a16:creationId xmlns:a16="http://schemas.microsoft.com/office/drawing/2014/main" id="{E7F46A46-9FC0-754A-AD0E-2DD29F954694}"/>
                </a:ext>
              </a:extLst>
            </p:cNvPr>
            <p:cNvSpPr>
              <a:spLocks/>
            </p:cNvSpPr>
            <p:nvPr userDrawn="1">
              <p:custDataLst>
                <p:tags r:id="rId326"/>
              </p:custDataLst>
            </p:nvPr>
          </p:nvSpPr>
          <p:spPr bwMode="auto">
            <a:xfrm>
              <a:off x="8411720" y="1369767"/>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7" name="Freeform 376">
              <a:extLst>
                <a:ext uri="{FF2B5EF4-FFF2-40B4-BE49-F238E27FC236}">
                  <a16:creationId xmlns:a16="http://schemas.microsoft.com/office/drawing/2014/main" id="{F6EA2335-BE13-3746-8E38-0C303DC954C8}"/>
                </a:ext>
              </a:extLst>
            </p:cNvPr>
            <p:cNvSpPr>
              <a:spLocks/>
            </p:cNvSpPr>
            <p:nvPr userDrawn="1">
              <p:custDataLst>
                <p:tags r:id="rId327"/>
              </p:custDataLst>
            </p:nvPr>
          </p:nvSpPr>
          <p:spPr bwMode="auto">
            <a:xfrm>
              <a:off x="8958291" y="1538191"/>
              <a:ext cx="42294" cy="51823"/>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8" name="Freeform 377">
              <a:extLst>
                <a:ext uri="{FF2B5EF4-FFF2-40B4-BE49-F238E27FC236}">
                  <a16:creationId xmlns:a16="http://schemas.microsoft.com/office/drawing/2014/main" id="{AFB35C07-234B-0A41-B4E1-BEF4FA3DD12D}"/>
                </a:ext>
              </a:extLst>
            </p:cNvPr>
            <p:cNvSpPr>
              <a:spLocks/>
            </p:cNvSpPr>
            <p:nvPr userDrawn="1">
              <p:custDataLst>
                <p:tags r:id="rId328"/>
              </p:custDataLst>
            </p:nvPr>
          </p:nvSpPr>
          <p:spPr bwMode="auto">
            <a:xfrm>
              <a:off x="8865569" y="1410074"/>
              <a:ext cx="16267" cy="5326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9" name="Freeform 378">
              <a:extLst>
                <a:ext uri="{FF2B5EF4-FFF2-40B4-BE49-F238E27FC236}">
                  <a16:creationId xmlns:a16="http://schemas.microsoft.com/office/drawing/2014/main" id="{03646711-6208-9E48-A026-D04BE4682853}"/>
                </a:ext>
              </a:extLst>
            </p:cNvPr>
            <p:cNvSpPr>
              <a:spLocks/>
            </p:cNvSpPr>
            <p:nvPr userDrawn="1">
              <p:custDataLst>
                <p:tags r:id="rId329"/>
              </p:custDataLst>
            </p:nvPr>
          </p:nvSpPr>
          <p:spPr bwMode="auto">
            <a:xfrm>
              <a:off x="8888343" y="1372648"/>
              <a:ext cx="14640" cy="54702"/>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0" name="Freeform 379">
              <a:extLst>
                <a:ext uri="{FF2B5EF4-FFF2-40B4-BE49-F238E27FC236}">
                  <a16:creationId xmlns:a16="http://schemas.microsoft.com/office/drawing/2014/main" id="{CEFBB4F8-D18F-C547-BA83-FB2DF4E19FFC}"/>
                </a:ext>
              </a:extLst>
            </p:cNvPr>
            <p:cNvSpPr>
              <a:spLocks/>
            </p:cNvSpPr>
            <p:nvPr userDrawn="1">
              <p:custDataLst>
                <p:tags r:id="rId330"/>
              </p:custDataLst>
            </p:nvPr>
          </p:nvSpPr>
          <p:spPr bwMode="auto">
            <a:xfrm>
              <a:off x="9036372" y="1477732"/>
              <a:ext cx="17894" cy="51823"/>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1" name="Freeform 380">
              <a:extLst>
                <a:ext uri="{FF2B5EF4-FFF2-40B4-BE49-F238E27FC236}">
                  <a16:creationId xmlns:a16="http://schemas.microsoft.com/office/drawing/2014/main" id="{9C2FC84E-57A5-1A43-B5FF-35C243782774}"/>
                </a:ext>
              </a:extLst>
            </p:cNvPr>
            <p:cNvSpPr>
              <a:spLocks/>
            </p:cNvSpPr>
            <p:nvPr userDrawn="1">
              <p:custDataLst>
                <p:tags r:id="rId331"/>
              </p:custDataLst>
            </p:nvPr>
          </p:nvSpPr>
          <p:spPr bwMode="auto">
            <a:xfrm>
              <a:off x="9091680" y="1372648"/>
              <a:ext cx="95976" cy="54702"/>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2" name="Freeform 381">
              <a:extLst>
                <a:ext uri="{FF2B5EF4-FFF2-40B4-BE49-F238E27FC236}">
                  <a16:creationId xmlns:a16="http://schemas.microsoft.com/office/drawing/2014/main" id="{A69AB86E-920E-FC40-8D23-80DD02916287}"/>
                </a:ext>
              </a:extLst>
            </p:cNvPr>
            <p:cNvSpPr>
              <a:spLocks/>
            </p:cNvSpPr>
            <p:nvPr userDrawn="1">
              <p:custDataLst>
                <p:tags r:id="rId332"/>
              </p:custDataLst>
            </p:nvPr>
          </p:nvSpPr>
          <p:spPr bwMode="auto">
            <a:xfrm>
              <a:off x="9153493" y="1395679"/>
              <a:ext cx="105736" cy="54702"/>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3" name="Freeform 382">
              <a:extLst>
                <a:ext uri="{FF2B5EF4-FFF2-40B4-BE49-F238E27FC236}">
                  <a16:creationId xmlns:a16="http://schemas.microsoft.com/office/drawing/2014/main" id="{2F8FE3DA-36B3-5F45-B0D3-836E689C3E8A}"/>
                </a:ext>
              </a:extLst>
            </p:cNvPr>
            <p:cNvSpPr>
              <a:spLocks/>
            </p:cNvSpPr>
            <p:nvPr userDrawn="1">
              <p:custDataLst>
                <p:tags r:id="rId333"/>
              </p:custDataLst>
            </p:nvPr>
          </p:nvSpPr>
          <p:spPr bwMode="auto">
            <a:xfrm>
              <a:off x="9273869" y="1408635"/>
              <a:ext cx="84588" cy="51823"/>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4" name="Freeform 383">
              <a:extLst>
                <a:ext uri="{FF2B5EF4-FFF2-40B4-BE49-F238E27FC236}">
                  <a16:creationId xmlns:a16="http://schemas.microsoft.com/office/drawing/2014/main" id="{0F2D3BB8-1E3D-FB48-99AF-C5461A1575D3}"/>
                </a:ext>
              </a:extLst>
            </p:cNvPr>
            <p:cNvSpPr>
              <a:spLocks/>
            </p:cNvSpPr>
            <p:nvPr userDrawn="1">
              <p:custDataLst>
                <p:tags r:id="rId334"/>
              </p:custDataLst>
            </p:nvPr>
          </p:nvSpPr>
          <p:spPr bwMode="auto">
            <a:xfrm>
              <a:off x="9813934" y="1522356"/>
              <a:ext cx="81335" cy="5326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5" name="Freeform 384">
              <a:extLst>
                <a:ext uri="{FF2B5EF4-FFF2-40B4-BE49-F238E27FC236}">
                  <a16:creationId xmlns:a16="http://schemas.microsoft.com/office/drawing/2014/main" id="{F8B1BAAD-1846-1147-BE3A-B05A28E6458B}"/>
                </a:ext>
              </a:extLst>
            </p:cNvPr>
            <p:cNvSpPr>
              <a:spLocks/>
            </p:cNvSpPr>
            <p:nvPr userDrawn="1">
              <p:custDataLst>
                <p:tags r:id="rId335"/>
              </p:custDataLst>
            </p:nvPr>
          </p:nvSpPr>
          <p:spPr bwMode="auto">
            <a:xfrm>
              <a:off x="9882254" y="1538191"/>
              <a:ext cx="34161" cy="51823"/>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6" name="Freeform 385">
              <a:extLst>
                <a:ext uri="{FF2B5EF4-FFF2-40B4-BE49-F238E27FC236}">
                  <a16:creationId xmlns:a16="http://schemas.microsoft.com/office/drawing/2014/main" id="{1732ED1A-D26B-D94B-A252-961141D4E844}"/>
                </a:ext>
              </a:extLst>
            </p:cNvPr>
            <p:cNvSpPr>
              <a:spLocks/>
            </p:cNvSpPr>
            <p:nvPr userDrawn="1">
              <p:custDataLst>
                <p:tags r:id="rId336"/>
              </p:custDataLst>
            </p:nvPr>
          </p:nvSpPr>
          <p:spPr bwMode="auto">
            <a:xfrm>
              <a:off x="9913163" y="1548268"/>
              <a:ext cx="53680" cy="5326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7" name="Freeform 386">
              <a:extLst>
                <a:ext uri="{FF2B5EF4-FFF2-40B4-BE49-F238E27FC236}">
                  <a16:creationId xmlns:a16="http://schemas.microsoft.com/office/drawing/2014/main" id="{FDE2934A-25BC-4F4D-807B-BCBFA30326EE}"/>
                </a:ext>
              </a:extLst>
            </p:cNvPr>
            <p:cNvSpPr>
              <a:spLocks/>
            </p:cNvSpPr>
            <p:nvPr userDrawn="1">
              <p:custDataLst>
                <p:tags r:id="rId337"/>
              </p:custDataLst>
            </p:nvPr>
          </p:nvSpPr>
          <p:spPr bwMode="auto">
            <a:xfrm>
              <a:off x="9678917" y="1523797"/>
              <a:ext cx="63441" cy="5326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8" name="Freeform 387">
              <a:extLst>
                <a:ext uri="{FF2B5EF4-FFF2-40B4-BE49-F238E27FC236}">
                  <a16:creationId xmlns:a16="http://schemas.microsoft.com/office/drawing/2014/main" id="{7F4AC34D-62DB-9346-8CAE-5E544B9EBE8C}"/>
                </a:ext>
              </a:extLst>
            </p:cNvPr>
            <p:cNvSpPr>
              <a:spLocks/>
            </p:cNvSpPr>
            <p:nvPr userDrawn="1">
              <p:custDataLst>
                <p:tags r:id="rId338"/>
              </p:custDataLst>
            </p:nvPr>
          </p:nvSpPr>
          <p:spPr bwMode="auto">
            <a:xfrm>
              <a:off x="9986363" y="1470533"/>
              <a:ext cx="143149" cy="51823"/>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9" name="Freeform 388">
              <a:extLst>
                <a:ext uri="{FF2B5EF4-FFF2-40B4-BE49-F238E27FC236}">
                  <a16:creationId xmlns:a16="http://schemas.microsoft.com/office/drawing/2014/main" id="{CA815BEA-C3B7-204A-B719-CAF6A75DD32D}"/>
                </a:ext>
              </a:extLst>
            </p:cNvPr>
            <p:cNvSpPr>
              <a:spLocks/>
            </p:cNvSpPr>
            <p:nvPr userDrawn="1">
              <p:custDataLst>
                <p:tags r:id="rId339"/>
              </p:custDataLst>
            </p:nvPr>
          </p:nvSpPr>
          <p:spPr bwMode="auto">
            <a:xfrm>
              <a:off x="10150660" y="1477732"/>
              <a:ext cx="97602" cy="51823"/>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0" name="Freeform 389">
              <a:extLst>
                <a:ext uri="{FF2B5EF4-FFF2-40B4-BE49-F238E27FC236}">
                  <a16:creationId xmlns:a16="http://schemas.microsoft.com/office/drawing/2014/main" id="{84B83B79-A728-874B-8ACD-A394671016EF}"/>
                </a:ext>
              </a:extLst>
            </p:cNvPr>
            <p:cNvSpPr>
              <a:spLocks/>
            </p:cNvSpPr>
            <p:nvPr userDrawn="1">
              <p:custDataLst>
                <p:tags r:id="rId340"/>
              </p:custDataLst>
            </p:nvPr>
          </p:nvSpPr>
          <p:spPr bwMode="auto">
            <a:xfrm>
              <a:off x="10109992" y="1520918"/>
              <a:ext cx="65068" cy="5326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1" name="Freeform 390">
              <a:extLst>
                <a:ext uri="{FF2B5EF4-FFF2-40B4-BE49-F238E27FC236}">
                  <a16:creationId xmlns:a16="http://schemas.microsoft.com/office/drawing/2014/main" id="{9EB8EC26-87FF-1345-804B-59106A793638}"/>
                </a:ext>
              </a:extLst>
            </p:cNvPr>
            <p:cNvSpPr>
              <a:spLocks/>
            </p:cNvSpPr>
            <p:nvPr userDrawn="1">
              <p:custDataLst>
                <p:tags r:id="rId341"/>
              </p:custDataLst>
            </p:nvPr>
          </p:nvSpPr>
          <p:spPr bwMode="auto">
            <a:xfrm>
              <a:off x="10088847" y="1518039"/>
              <a:ext cx="21146" cy="5326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2" name="Line 504">
              <a:extLst>
                <a:ext uri="{FF2B5EF4-FFF2-40B4-BE49-F238E27FC236}">
                  <a16:creationId xmlns:a16="http://schemas.microsoft.com/office/drawing/2014/main" id="{F556DF14-0CB0-2D4E-907E-D1168845A083}"/>
                </a:ext>
              </a:extLst>
            </p:cNvPr>
            <p:cNvSpPr>
              <a:spLocks noChangeShapeType="1"/>
            </p:cNvSpPr>
            <p:nvPr userDrawn="1">
              <p:custDataLst>
                <p:tags r:id="rId342"/>
              </p:custDataLst>
            </p:nvPr>
          </p:nvSpPr>
          <p:spPr bwMode="auto">
            <a:xfrm flipV="1">
              <a:off x="10090472" y="1516598"/>
              <a:ext cx="0" cy="14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3" name="Freeform 392">
              <a:extLst>
                <a:ext uri="{FF2B5EF4-FFF2-40B4-BE49-F238E27FC236}">
                  <a16:creationId xmlns:a16="http://schemas.microsoft.com/office/drawing/2014/main" id="{F43A5F55-3D08-0D4A-8468-8F7A4466F39D}"/>
                </a:ext>
              </a:extLst>
            </p:cNvPr>
            <p:cNvSpPr>
              <a:spLocks/>
            </p:cNvSpPr>
            <p:nvPr userDrawn="1">
              <p:custDataLst>
                <p:tags r:id="rId343"/>
              </p:custDataLst>
            </p:nvPr>
          </p:nvSpPr>
          <p:spPr bwMode="auto">
            <a:xfrm>
              <a:off x="9239709" y="1451820"/>
              <a:ext cx="11387" cy="50383"/>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4" name="Freeform 393">
              <a:extLst>
                <a:ext uri="{FF2B5EF4-FFF2-40B4-BE49-F238E27FC236}">
                  <a16:creationId xmlns:a16="http://schemas.microsoft.com/office/drawing/2014/main" id="{98264115-6B3B-D949-B268-B9DC3CF607D0}"/>
                </a:ext>
              </a:extLst>
            </p:cNvPr>
            <p:cNvSpPr>
              <a:spLocks/>
            </p:cNvSpPr>
            <p:nvPr userDrawn="1">
              <p:custDataLst>
                <p:tags r:id="rId344"/>
              </p:custDataLst>
            </p:nvPr>
          </p:nvSpPr>
          <p:spPr bwMode="auto">
            <a:xfrm>
              <a:off x="10007512" y="1516598"/>
              <a:ext cx="9761" cy="51823"/>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5" name="Freeform 394">
              <a:extLst>
                <a:ext uri="{FF2B5EF4-FFF2-40B4-BE49-F238E27FC236}">
                  <a16:creationId xmlns:a16="http://schemas.microsoft.com/office/drawing/2014/main" id="{60CE4996-33FA-324C-9288-318C91443822}"/>
                </a:ext>
              </a:extLst>
            </p:cNvPr>
            <p:cNvSpPr>
              <a:spLocks/>
            </p:cNvSpPr>
            <p:nvPr userDrawn="1">
              <p:custDataLst>
                <p:tags r:id="rId345"/>
              </p:custDataLst>
            </p:nvPr>
          </p:nvSpPr>
          <p:spPr bwMode="auto">
            <a:xfrm>
              <a:off x="9960336" y="1483489"/>
              <a:ext cx="9761" cy="51823"/>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6" name="Freeform 395">
              <a:extLst>
                <a:ext uri="{FF2B5EF4-FFF2-40B4-BE49-F238E27FC236}">
                  <a16:creationId xmlns:a16="http://schemas.microsoft.com/office/drawing/2014/main" id="{75E619A5-39A0-7244-994B-1ECD37E26BC8}"/>
                </a:ext>
              </a:extLst>
            </p:cNvPr>
            <p:cNvSpPr>
              <a:spLocks/>
            </p:cNvSpPr>
            <p:nvPr userDrawn="1">
              <p:custDataLst>
                <p:tags r:id="rId346"/>
              </p:custDataLst>
            </p:nvPr>
          </p:nvSpPr>
          <p:spPr bwMode="auto">
            <a:xfrm>
              <a:off x="10472746" y="2000276"/>
              <a:ext cx="13014" cy="5326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7" name="Freeform 396">
              <a:extLst>
                <a:ext uri="{FF2B5EF4-FFF2-40B4-BE49-F238E27FC236}">
                  <a16:creationId xmlns:a16="http://schemas.microsoft.com/office/drawing/2014/main" id="{ACBDFB4B-7452-4F47-A7F1-0476F1CCCEB6}"/>
                </a:ext>
              </a:extLst>
            </p:cNvPr>
            <p:cNvSpPr>
              <a:spLocks/>
            </p:cNvSpPr>
            <p:nvPr userDrawn="1">
              <p:custDataLst>
                <p:tags r:id="rId347"/>
              </p:custDataLst>
            </p:nvPr>
          </p:nvSpPr>
          <p:spPr bwMode="auto">
            <a:xfrm>
              <a:off x="10773686" y="1566983"/>
              <a:ext cx="56935" cy="5326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8" name="Freeform 397">
              <a:extLst>
                <a:ext uri="{FF2B5EF4-FFF2-40B4-BE49-F238E27FC236}">
                  <a16:creationId xmlns:a16="http://schemas.microsoft.com/office/drawing/2014/main" id="{A07C22BB-5084-954A-927A-EF8F84E265C4}"/>
                </a:ext>
              </a:extLst>
            </p:cNvPr>
            <p:cNvSpPr>
              <a:spLocks/>
            </p:cNvSpPr>
            <p:nvPr userDrawn="1">
              <p:custDataLst>
                <p:tags r:id="rId348"/>
              </p:custDataLst>
            </p:nvPr>
          </p:nvSpPr>
          <p:spPr bwMode="auto">
            <a:xfrm>
              <a:off x="10913581" y="1886555"/>
              <a:ext cx="14640" cy="51823"/>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9" name="Freeform 398">
              <a:extLst>
                <a:ext uri="{FF2B5EF4-FFF2-40B4-BE49-F238E27FC236}">
                  <a16:creationId xmlns:a16="http://schemas.microsoft.com/office/drawing/2014/main" id="{4E37521B-12F5-B24F-8F05-56135E1C4329}"/>
                </a:ext>
              </a:extLst>
            </p:cNvPr>
            <p:cNvSpPr>
              <a:spLocks/>
            </p:cNvSpPr>
            <p:nvPr userDrawn="1">
              <p:custDataLst>
                <p:tags r:id="rId349"/>
              </p:custDataLst>
            </p:nvPr>
          </p:nvSpPr>
          <p:spPr bwMode="auto">
            <a:xfrm>
              <a:off x="11066491" y="1988761"/>
              <a:ext cx="43921" cy="54702"/>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0" name="Freeform 399">
              <a:extLst>
                <a:ext uri="{FF2B5EF4-FFF2-40B4-BE49-F238E27FC236}">
                  <a16:creationId xmlns:a16="http://schemas.microsoft.com/office/drawing/2014/main" id="{F72047BB-56C5-4847-9111-5336BD98214C}"/>
                </a:ext>
              </a:extLst>
            </p:cNvPr>
            <p:cNvSpPr>
              <a:spLocks/>
            </p:cNvSpPr>
            <p:nvPr userDrawn="1">
              <p:custDataLst>
                <p:tags r:id="rId350"/>
              </p:custDataLst>
            </p:nvPr>
          </p:nvSpPr>
          <p:spPr bwMode="auto">
            <a:xfrm>
              <a:off x="11118544" y="2003154"/>
              <a:ext cx="19520" cy="5326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1" name="Freeform 400">
              <a:extLst>
                <a:ext uri="{FF2B5EF4-FFF2-40B4-BE49-F238E27FC236}">
                  <a16:creationId xmlns:a16="http://schemas.microsoft.com/office/drawing/2014/main" id="{45FAE1FE-4BC1-784C-9D22-F65E96855DBD}"/>
                </a:ext>
              </a:extLst>
            </p:cNvPr>
            <p:cNvSpPr>
              <a:spLocks/>
            </p:cNvSpPr>
            <p:nvPr userDrawn="1">
              <p:custDataLst>
                <p:tags r:id="rId351"/>
              </p:custDataLst>
            </p:nvPr>
          </p:nvSpPr>
          <p:spPr bwMode="auto">
            <a:xfrm>
              <a:off x="10980277" y="2118317"/>
              <a:ext cx="14640" cy="51823"/>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2" name="Freeform 401">
              <a:extLst>
                <a:ext uri="{FF2B5EF4-FFF2-40B4-BE49-F238E27FC236}">
                  <a16:creationId xmlns:a16="http://schemas.microsoft.com/office/drawing/2014/main" id="{FB129FF4-40A0-1947-8692-C1F9E47B3BA6}"/>
                </a:ext>
              </a:extLst>
            </p:cNvPr>
            <p:cNvSpPr>
              <a:spLocks/>
            </p:cNvSpPr>
            <p:nvPr userDrawn="1">
              <p:custDataLst>
                <p:tags r:id="rId352"/>
              </p:custDataLst>
            </p:nvPr>
          </p:nvSpPr>
          <p:spPr bwMode="auto">
            <a:xfrm>
              <a:off x="10991663" y="2144228"/>
              <a:ext cx="3254" cy="54702"/>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3" name="Freeform 402">
              <a:extLst>
                <a:ext uri="{FF2B5EF4-FFF2-40B4-BE49-F238E27FC236}">
                  <a16:creationId xmlns:a16="http://schemas.microsoft.com/office/drawing/2014/main" id="{05412449-A999-A143-A8C0-72AA7F94DF08}"/>
                </a:ext>
              </a:extLst>
            </p:cNvPr>
            <p:cNvSpPr>
              <a:spLocks/>
            </p:cNvSpPr>
            <p:nvPr userDrawn="1">
              <p:custDataLst>
                <p:tags r:id="rId353"/>
              </p:custDataLst>
            </p:nvPr>
          </p:nvSpPr>
          <p:spPr bwMode="auto">
            <a:xfrm>
              <a:off x="10978649" y="2219084"/>
              <a:ext cx="9761" cy="5038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4" name="Freeform 403">
              <a:extLst>
                <a:ext uri="{FF2B5EF4-FFF2-40B4-BE49-F238E27FC236}">
                  <a16:creationId xmlns:a16="http://schemas.microsoft.com/office/drawing/2014/main" id="{18D1FCB3-429A-CD43-B7B9-F333933A9ADF}"/>
                </a:ext>
              </a:extLst>
            </p:cNvPr>
            <p:cNvSpPr>
              <a:spLocks/>
            </p:cNvSpPr>
            <p:nvPr userDrawn="1">
              <p:custDataLst>
                <p:tags r:id="rId354"/>
              </p:custDataLst>
            </p:nvPr>
          </p:nvSpPr>
          <p:spPr bwMode="auto">
            <a:xfrm>
              <a:off x="10955875" y="2250752"/>
              <a:ext cx="0" cy="5326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5" name="Freeform 404">
              <a:extLst>
                <a:ext uri="{FF2B5EF4-FFF2-40B4-BE49-F238E27FC236}">
                  <a16:creationId xmlns:a16="http://schemas.microsoft.com/office/drawing/2014/main" id="{0C7EF3DD-EAAA-E74A-95FE-DDE8CB893B82}"/>
                </a:ext>
              </a:extLst>
            </p:cNvPr>
            <p:cNvSpPr>
              <a:spLocks/>
            </p:cNvSpPr>
            <p:nvPr userDrawn="1">
              <p:custDataLst>
                <p:tags r:id="rId355"/>
              </p:custDataLst>
            </p:nvPr>
          </p:nvSpPr>
          <p:spPr bwMode="auto">
            <a:xfrm>
              <a:off x="10955875" y="2250752"/>
              <a:ext cx="8134" cy="5326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6" name="Freeform 405">
              <a:extLst>
                <a:ext uri="{FF2B5EF4-FFF2-40B4-BE49-F238E27FC236}">
                  <a16:creationId xmlns:a16="http://schemas.microsoft.com/office/drawing/2014/main" id="{6835349C-0C6E-0644-BFB3-2F9B599C5DDF}"/>
                </a:ext>
              </a:extLst>
            </p:cNvPr>
            <p:cNvSpPr>
              <a:spLocks/>
            </p:cNvSpPr>
            <p:nvPr userDrawn="1">
              <p:custDataLst>
                <p:tags r:id="rId356"/>
              </p:custDataLst>
            </p:nvPr>
          </p:nvSpPr>
          <p:spPr bwMode="auto">
            <a:xfrm>
              <a:off x="10703737" y="1876478"/>
              <a:ext cx="17893" cy="54702"/>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7" name="Freeform 406">
              <a:extLst>
                <a:ext uri="{FF2B5EF4-FFF2-40B4-BE49-F238E27FC236}">
                  <a16:creationId xmlns:a16="http://schemas.microsoft.com/office/drawing/2014/main" id="{F1363454-B73E-9D4F-90F9-44A13158F67A}"/>
                </a:ext>
              </a:extLst>
            </p:cNvPr>
            <p:cNvSpPr>
              <a:spLocks/>
            </p:cNvSpPr>
            <p:nvPr userDrawn="1">
              <p:custDataLst>
                <p:tags r:id="rId357"/>
              </p:custDataLst>
            </p:nvPr>
          </p:nvSpPr>
          <p:spPr bwMode="auto">
            <a:xfrm>
              <a:off x="7952991" y="2003154"/>
              <a:ext cx="48801" cy="5326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8" name="Freeform 407">
              <a:extLst>
                <a:ext uri="{FF2B5EF4-FFF2-40B4-BE49-F238E27FC236}">
                  <a16:creationId xmlns:a16="http://schemas.microsoft.com/office/drawing/2014/main" id="{FE7E40FA-A2AA-EF4B-BFDC-6998EA6BFFC3}"/>
                </a:ext>
              </a:extLst>
            </p:cNvPr>
            <p:cNvSpPr>
              <a:spLocks/>
            </p:cNvSpPr>
            <p:nvPr userDrawn="1">
              <p:custDataLst>
                <p:tags r:id="rId358"/>
              </p:custDataLst>
            </p:nvPr>
          </p:nvSpPr>
          <p:spPr bwMode="auto">
            <a:xfrm>
              <a:off x="8413346" y="1633200"/>
              <a:ext cx="43920" cy="5326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9" name="Freeform 408">
              <a:extLst>
                <a:ext uri="{FF2B5EF4-FFF2-40B4-BE49-F238E27FC236}">
                  <a16:creationId xmlns:a16="http://schemas.microsoft.com/office/drawing/2014/main" id="{9D1DD956-25FD-B145-A6EE-70B24E78DD3E}"/>
                </a:ext>
              </a:extLst>
            </p:cNvPr>
            <p:cNvSpPr>
              <a:spLocks/>
            </p:cNvSpPr>
            <p:nvPr userDrawn="1">
              <p:custDataLst>
                <p:tags r:id="rId359"/>
              </p:custDataLst>
            </p:nvPr>
          </p:nvSpPr>
          <p:spPr bwMode="auto">
            <a:xfrm>
              <a:off x="8449134" y="1463336"/>
              <a:ext cx="234245" cy="148269"/>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0" name="Freeform 409">
              <a:extLst>
                <a:ext uri="{FF2B5EF4-FFF2-40B4-BE49-F238E27FC236}">
                  <a16:creationId xmlns:a16="http://schemas.microsoft.com/office/drawing/2014/main" id="{ADB0E4FD-AD1D-1049-8514-7227A53B1207}"/>
                </a:ext>
              </a:extLst>
            </p:cNvPr>
            <p:cNvSpPr>
              <a:spLocks/>
            </p:cNvSpPr>
            <p:nvPr userDrawn="1">
              <p:custDataLst>
                <p:tags r:id="rId360"/>
              </p:custDataLst>
            </p:nvPr>
          </p:nvSpPr>
          <p:spPr bwMode="auto">
            <a:xfrm>
              <a:off x="8236036" y="1745481"/>
              <a:ext cx="32534" cy="50383"/>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1" name="Freeform 410">
              <a:extLst>
                <a:ext uri="{FF2B5EF4-FFF2-40B4-BE49-F238E27FC236}">
                  <a16:creationId xmlns:a16="http://schemas.microsoft.com/office/drawing/2014/main" id="{73061995-AE99-2544-AC83-0CB88910B4CE}"/>
                </a:ext>
              </a:extLst>
            </p:cNvPr>
            <p:cNvSpPr>
              <a:spLocks/>
            </p:cNvSpPr>
            <p:nvPr userDrawn="1">
              <p:custDataLst>
                <p:tags r:id="rId361"/>
              </p:custDataLst>
            </p:nvPr>
          </p:nvSpPr>
          <p:spPr bwMode="auto">
            <a:xfrm>
              <a:off x="10598001" y="2014671"/>
              <a:ext cx="201711" cy="24327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12" name="Group 411">
              <a:extLst>
                <a:ext uri="{FF2B5EF4-FFF2-40B4-BE49-F238E27FC236}">
                  <a16:creationId xmlns:a16="http://schemas.microsoft.com/office/drawing/2014/main" id="{4625FE5E-C063-0240-80F8-EC814515148A}"/>
                </a:ext>
              </a:extLst>
            </p:cNvPr>
            <p:cNvGrpSpPr>
              <a:grpSpLocks/>
            </p:cNvGrpSpPr>
            <p:nvPr userDrawn="1">
              <p:custDataLst>
                <p:tags r:id="rId362"/>
              </p:custDataLst>
            </p:nvPr>
          </p:nvGrpSpPr>
          <p:grpSpPr bwMode="auto">
            <a:xfrm>
              <a:off x="9358459" y="1974365"/>
              <a:ext cx="688094" cy="348363"/>
              <a:chOff x="4115" y="1551"/>
              <a:chExt cx="504" cy="244"/>
            </a:xfrm>
            <a:solidFill>
              <a:srgbClr val="DADADA"/>
            </a:solidFill>
          </p:grpSpPr>
          <p:sp>
            <p:nvSpPr>
              <p:cNvPr id="437" name="Freeform 436">
                <a:extLst>
                  <a:ext uri="{FF2B5EF4-FFF2-40B4-BE49-F238E27FC236}">
                    <a16:creationId xmlns:a16="http://schemas.microsoft.com/office/drawing/2014/main" id="{CD907BBC-F50D-6E43-89C7-AFA977745E5F}"/>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8" name="Freeform 437">
                <a:extLst>
                  <a:ext uri="{FF2B5EF4-FFF2-40B4-BE49-F238E27FC236}">
                    <a16:creationId xmlns:a16="http://schemas.microsoft.com/office/drawing/2014/main" id="{5E1A6639-2877-F64E-919B-20DE53C3468C}"/>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13" name="Freeform 412">
              <a:extLst>
                <a:ext uri="{FF2B5EF4-FFF2-40B4-BE49-F238E27FC236}">
                  <a16:creationId xmlns:a16="http://schemas.microsoft.com/office/drawing/2014/main" id="{6AA68A2B-EC91-2649-A7ED-DCBD427FC3EB}"/>
                </a:ext>
              </a:extLst>
            </p:cNvPr>
            <p:cNvSpPr>
              <a:spLocks/>
            </p:cNvSpPr>
            <p:nvPr userDrawn="1">
              <p:custDataLst>
                <p:tags r:id="rId363"/>
              </p:custDataLst>
            </p:nvPr>
          </p:nvSpPr>
          <p:spPr bwMode="auto">
            <a:xfrm>
              <a:off x="8392200" y="2653818"/>
              <a:ext cx="543317" cy="46352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4" name="Freeform 413">
              <a:extLst>
                <a:ext uri="{FF2B5EF4-FFF2-40B4-BE49-F238E27FC236}">
                  <a16:creationId xmlns:a16="http://schemas.microsoft.com/office/drawing/2014/main" id="{F06C20D1-1077-E946-AB8C-BBD099125F11}"/>
                </a:ext>
              </a:extLst>
            </p:cNvPr>
            <p:cNvSpPr>
              <a:spLocks/>
            </p:cNvSpPr>
            <p:nvPr userDrawn="1">
              <p:custDataLst>
                <p:tags r:id="rId364"/>
              </p:custDataLst>
            </p:nvPr>
          </p:nvSpPr>
          <p:spPr bwMode="auto">
            <a:xfrm>
              <a:off x="7853762" y="2240676"/>
              <a:ext cx="58561" cy="51823"/>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5" name="Freeform 414">
              <a:extLst>
                <a:ext uri="{FF2B5EF4-FFF2-40B4-BE49-F238E27FC236}">
                  <a16:creationId xmlns:a16="http://schemas.microsoft.com/office/drawing/2014/main" id="{EA528C71-B9DD-C34F-B55F-FEE9F1BD28C1}"/>
                </a:ext>
              </a:extLst>
            </p:cNvPr>
            <p:cNvSpPr>
              <a:spLocks/>
            </p:cNvSpPr>
            <p:nvPr userDrawn="1">
              <p:custDataLst>
                <p:tags r:id="rId365"/>
              </p:custDataLst>
            </p:nvPr>
          </p:nvSpPr>
          <p:spPr bwMode="auto">
            <a:xfrm>
              <a:off x="7586985" y="2433571"/>
              <a:ext cx="16267" cy="51823"/>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6" name="Freeform 415">
              <a:extLst>
                <a:ext uri="{FF2B5EF4-FFF2-40B4-BE49-F238E27FC236}">
                  <a16:creationId xmlns:a16="http://schemas.microsoft.com/office/drawing/2014/main" id="{FC075915-C8FE-8E4E-BB44-22D1C1708FF7}"/>
                </a:ext>
              </a:extLst>
            </p:cNvPr>
            <p:cNvSpPr>
              <a:spLocks/>
            </p:cNvSpPr>
            <p:nvPr userDrawn="1">
              <p:custDataLst>
                <p:tags r:id="rId366"/>
              </p:custDataLst>
            </p:nvPr>
          </p:nvSpPr>
          <p:spPr bwMode="auto">
            <a:xfrm>
              <a:off x="7168923" y="2747385"/>
              <a:ext cx="29281" cy="51823"/>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7" name="Freeform 416">
              <a:extLst>
                <a:ext uri="{FF2B5EF4-FFF2-40B4-BE49-F238E27FC236}">
                  <a16:creationId xmlns:a16="http://schemas.microsoft.com/office/drawing/2014/main" id="{30421F16-15E4-5040-921F-27C725F4B085}"/>
                </a:ext>
              </a:extLst>
            </p:cNvPr>
            <p:cNvSpPr>
              <a:spLocks/>
            </p:cNvSpPr>
            <p:nvPr userDrawn="1">
              <p:custDataLst>
                <p:tags r:id="rId367"/>
              </p:custDataLst>
            </p:nvPr>
          </p:nvSpPr>
          <p:spPr bwMode="auto">
            <a:xfrm>
              <a:off x="7108734" y="2761782"/>
              <a:ext cx="24400" cy="54702"/>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8" name="Freeform 417">
              <a:extLst>
                <a:ext uri="{FF2B5EF4-FFF2-40B4-BE49-F238E27FC236}">
                  <a16:creationId xmlns:a16="http://schemas.microsoft.com/office/drawing/2014/main" id="{9982CA0D-C563-6945-B9CD-51D46D2ED973}"/>
                </a:ext>
              </a:extLst>
            </p:cNvPr>
            <p:cNvSpPr>
              <a:spLocks/>
            </p:cNvSpPr>
            <p:nvPr userDrawn="1">
              <p:custDataLst>
                <p:tags r:id="rId368"/>
              </p:custDataLst>
            </p:nvPr>
          </p:nvSpPr>
          <p:spPr bwMode="auto">
            <a:xfrm>
              <a:off x="7082707" y="2756022"/>
              <a:ext cx="6507" cy="51823"/>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9" name="Freeform 418">
              <a:extLst>
                <a:ext uri="{FF2B5EF4-FFF2-40B4-BE49-F238E27FC236}">
                  <a16:creationId xmlns:a16="http://schemas.microsoft.com/office/drawing/2014/main" id="{D21DC6AA-3489-4840-9D58-68342A837ED7}"/>
                </a:ext>
              </a:extLst>
            </p:cNvPr>
            <p:cNvSpPr>
              <a:spLocks/>
            </p:cNvSpPr>
            <p:nvPr userDrawn="1">
              <p:custDataLst>
                <p:tags r:id="rId369"/>
              </p:custDataLst>
            </p:nvPr>
          </p:nvSpPr>
          <p:spPr bwMode="auto">
            <a:xfrm>
              <a:off x="8385693" y="2509864"/>
              <a:ext cx="178937" cy="143951"/>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0" name="Freeform 419">
              <a:extLst>
                <a:ext uri="{FF2B5EF4-FFF2-40B4-BE49-F238E27FC236}">
                  <a16:creationId xmlns:a16="http://schemas.microsoft.com/office/drawing/2014/main" id="{92FE325E-6040-2C4F-ABE2-24A87875E9FB}"/>
                </a:ext>
              </a:extLst>
            </p:cNvPr>
            <p:cNvSpPr>
              <a:spLocks/>
            </p:cNvSpPr>
            <p:nvPr userDrawn="1">
              <p:custDataLst>
                <p:tags r:id="rId370"/>
              </p:custDataLst>
            </p:nvPr>
          </p:nvSpPr>
          <p:spPr bwMode="auto">
            <a:xfrm>
              <a:off x="10531307" y="2855349"/>
              <a:ext cx="43920" cy="719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21" name="Group 420">
              <a:extLst>
                <a:ext uri="{FF2B5EF4-FFF2-40B4-BE49-F238E27FC236}">
                  <a16:creationId xmlns:a16="http://schemas.microsoft.com/office/drawing/2014/main" id="{281780E6-A2AA-8D4E-83CC-134615971D27}"/>
                </a:ext>
              </a:extLst>
            </p:cNvPr>
            <p:cNvGrpSpPr>
              <a:grpSpLocks/>
            </p:cNvGrpSpPr>
            <p:nvPr userDrawn="1">
              <p:custDataLst>
                <p:tags r:id="rId371"/>
              </p:custDataLst>
            </p:nvPr>
          </p:nvGrpSpPr>
          <p:grpSpPr bwMode="auto">
            <a:xfrm>
              <a:off x="8120541" y="2373111"/>
              <a:ext cx="494516" cy="182818"/>
              <a:chOff x="3289" y="1830"/>
              <a:chExt cx="363" cy="128"/>
            </a:xfrm>
            <a:solidFill>
              <a:srgbClr val="DADADA"/>
            </a:solidFill>
          </p:grpSpPr>
          <p:sp>
            <p:nvSpPr>
              <p:cNvPr id="432" name="Freeform 431">
                <a:extLst>
                  <a:ext uri="{FF2B5EF4-FFF2-40B4-BE49-F238E27FC236}">
                    <a16:creationId xmlns:a16="http://schemas.microsoft.com/office/drawing/2014/main" id="{0CB4A4EF-5D57-114C-B8B5-6360AC0A8F11}"/>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3" name="Freeform 432">
                <a:extLst>
                  <a:ext uri="{FF2B5EF4-FFF2-40B4-BE49-F238E27FC236}">
                    <a16:creationId xmlns:a16="http://schemas.microsoft.com/office/drawing/2014/main" id="{23121E3E-86E1-5F44-ABF4-76DA00330B8D}"/>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4" name="Freeform 433">
                <a:extLst>
                  <a:ext uri="{FF2B5EF4-FFF2-40B4-BE49-F238E27FC236}">
                    <a16:creationId xmlns:a16="http://schemas.microsoft.com/office/drawing/2014/main" id="{75A80F7B-3F25-F64F-9A1E-C8DAE2493656}"/>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5" name="Freeform 434">
                <a:extLst>
                  <a:ext uri="{FF2B5EF4-FFF2-40B4-BE49-F238E27FC236}">
                    <a16:creationId xmlns:a16="http://schemas.microsoft.com/office/drawing/2014/main" id="{68E711A4-3D7A-9042-8B69-108ED5036213}"/>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6" name="Freeform 435">
                <a:extLst>
                  <a:ext uri="{FF2B5EF4-FFF2-40B4-BE49-F238E27FC236}">
                    <a16:creationId xmlns:a16="http://schemas.microsoft.com/office/drawing/2014/main" id="{F083E654-2625-5141-A505-BC68CF3F914E}"/>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22" name="Freeform 421">
              <a:extLst>
                <a:ext uri="{FF2B5EF4-FFF2-40B4-BE49-F238E27FC236}">
                  <a16:creationId xmlns:a16="http://schemas.microsoft.com/office/drawing/2014/main" id="{B6468BC1-B26C-924C-AA07-478D533F4333}"/>
                </a:ext>
              </a:extLst>
            </p:cNvPr>
            <p:cNvSpPr>
              <a:spLocks/>
            </p:cNvSpPr>
            <p:nvPr userDrawn="1">
              <p:custDataLst>
                <p:tags r:id="rId372"/>
              </p:custDataLst>
            </p:nvPr>
          </p:nvSpPr>
          <p:spPr bwMode="auto">
            <a:xfrm>
              <a:off x="6059515" y="3418201"/>
              <a:ext cx="102482" cy="110842"/>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3" name="Freeform 422">
              <a:extLst>
                <a:ext uri="{FF2B5EF4-FFF2-40B4-BE49-F238E27FC236}">
                  <a16:creationId xmlns:a16="http://schemas.microsoft.com/office/drawing/2014/main" id="{9EDBAD95-8F9B-884E-ABF1-CA3725920728}"/>
                </a:ext>
              </a:extLst>
            </p:cNvPr>
            <p:cNvSpPr>
              <a:spLocks/>
            </p:cNvSpPr>
            <p:nvPr userDrawn="1">
              <p:custDataLst>
                <p:tags r:id="rId373"/>
              </p:custDataLst>
            </p:nvPr>
          </p:nvSpPr>
          <p:spPr bwMode="auto">
            <a:xfrm>
              <a:off x="10101858" y="2907171"/>
              <a:ext cx="213097" cy="416021"/>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4" name="Freeform 423">
              <a:extLst>
                <a:ext uri="{FF2B5EF4-FFF2-40B4-BE49-F238E27FC236}">
                  <a16:creationId xmlns:a16="http://schemas.microsoft.com/office/drawing/2014/main" id="{CC3ABCE1-3B73-494E-8D09-49ECAD4B1EB8}"/>
                </a:ext>
              </a:extLst>
            </p:cNvPr>
            <p:cNvSpPr>
              <a:spLocks/>
            </p:cNvSpPr>
            <p:nvPr userDrawn="1">
              <p:custDataLst>
                <p:tags r:id="rId374"/>
              </p:custDataLst>
            </p:nvPr>
          </p:nvSpPr>
          <p:spPr bwMode="auto">
            <a:xfrm>
              <a:off x="10191326" y="3529042"/>
              <a:ext cx="26027" cy="5182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5" name="Freeform 424">
              <a:extLst>
                <a:ext uri="{FF2B5EF4-FFF2-40B4-BE49-F238E27FC236}">
                  <a16:creationId xmlns:a16="http://schemas.microsoft.com/office/drawing/2014/main" id="{51B84AE1-B149-EA47-A670-E1C900D47B54}"/>
                </a:ext>
              </a:extLst>
            </p:cNvPr>
            <p:cNvSpPr>
              <a:spLocks/>
            </p:cNvSpPr>
            <p:nvPr userDrawn="1">
              <p:custDataLst>
                <p:tags r:id="rId375"/>
              </p:custDataLst>
            </p:nvPr>
          </p:nvSpPr>
          <p:spPr bwMode="auto">
            <a:xfrm>
              <a:off x="8850929" y="2856789"/>
              <a:ext cx="178937" cy="246157"/>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6" name="Freeform 425">
              <a:extLst>
                <a:ext uri="{FF2B5EF4-FFF2-40B4-BE49-F238E27FC236}">
                  <a16:creationId xmlns:a16="http://schemas.microsoft.com/office/drawing/2014/main" id="{27D727A9-B55A-C146-8737-604CAA4B4920}"/>
                </a:ext>
              </a:extLst>
            </p:cNvPr>
            <p:cNvSpPr>
              <a:spLocks/>
            </p:cNvSpPr>
            <p:nvPr userDrawn="1">
              <p:custDataLst>
                <p:tags r:id="rId376"/>
              </p:custDataLst>
            </p:nvPr>
          </p:nvSpPr>
          <p:spPr bwMode="auto">
            <a:xfrm>
              <a:off x="7546316" y="2905732"/>
              <a:ext cx="385528" cy="34980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7" name="Freeform 426">
              <a:extLst>
                <a:ext uri="{FF2B5EF4-FFF2-40B4-BE49-F238E27FC236}">
                  <a16:creationId xmlns:a16="http://schemas.microsoft.com/office/drawing/2014/main" id="{B42B221E-4E20-8049-A457-03F04F9720C8}"/>
                </a:ext>
              </a:extLst>
            </p:cNvPr>
            <p:cNvSpPr>
              <a:spLocks/>
            </p:cNvSpPr>
            <p:nvPr userDrawn="1">
              <p:custDataLst>
                <p:tags r:id="rId377"/>
              </p:custDataLst>
            </p:nvPr>
          </p:nvSpPr>
          <p:spPr bwMode="auto">
            <a:xfrm>
              <a:off x="7207963" y="2558808"/>
              <a:ext cx="307446" cy="236081"/>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8" name="Freeform 427">
              <a:extLst>
                <a:ext uri="{FF2B5EF4-FFF2-40B4-BE49-F238E27FC236}">
                  <a16:creationId xmlns:a16="http://schemas.microsoft.com/office/drawing/2014/main" id="{AE93BB19-0C66-F24B-990A-84DE6FF26FA7}"/>
                </a:ext>
              </a:extLst>
            </p:cNvPr>
            <p:cNvSpPr>
              <a:spLocks/>
            </p:cNvSpPr>
            <p:nvPr userDrawn="1">
              <p:custDataLst>
                <p:tags r:id="rId378"/>
              </p:custDataLst>
            </p:nvPr>
          </p:nvSpPr>
          <p:spPr bwMode="auto">
            <a:xfrm>
              <a:off x="7925338" y="1588575"/>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9" name="Freeform 428">
              <a:extLst>
                <a:ext uri="{FF2B5EF4-FFF2-40B4-BE49-F238E27FC236}">
                  <a16:creationId xmlns:a16="http://schemas.microsoft.com/office/drawing/2014/main" id="{06A279FE-9286-424E-9513-9D101D80D90B}"/>
                </a:ext>
              </a:extLst>
            </p:cNvPr>
            <p:cNvSpPr>
              <a:spLocks/>
            </p:cNvSpPr>
            <p:nvPr userDrawn="1">
              <p:custDataLst>
                <p:tags r:id="rId379"/>
              </p:custDataLst>
            </p:nvPr>
          </p:nvSpPr>
          <p:spPr bwMode="auto">
            <a:xfrm>
              <a:off x="8449134" y="1574179"/>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0" name="Freeform 429">
              <a:extLst>
                <a:ext uri="{FF2B5EF4-FFF2-40B4-BE49-F238E27FC236}">
                  <a16:creationId xmlns:a16="http://schemas.microsoft.com/office/drawing/2014/main" id="{7885C839-AF7B-694F-AF69-3945EBDE6703}"/>
                </a:ext>
              </a:extLst>
            </p:cNvPr>
            <p:cNvSpPr>
              <a:spLocks/>
            </p:cNvSpPr>
            <p:nvPr userDrawn="1">
              <p:custDataLst>
                <p:tags r:id="rId380"/>
              </p:custDataLst>
            </p:nvPr>
          </p:nvSpPr>
          <p:spPr bwMode="auto">
            <a:xfrm>
              <a:off x="8595537" y="1558344"/>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1" name="Freeform 430">
              <a:extLst>
                <a:ext uri="{FF2B5EF4-FFF2-40B4-BE49-F238E27FC236}">
                  <a16:creationId xmlns:a16="http://schemas.microsoft.com/office/drawing/2014/main" id="{3F748FDC-8722-E446-BF2E-E2C01F4495F5}"/>
                </a:ext>
              </a:extLst>
            </p:cNvPr>
            <p:cNvSpPr>
              <a:spLocks/>
            </p:cNvSpPr>
            <p:nvPr userDrawn="1">
              <p:custDataLst>
                <p:tags r:id="rId381"/>
              </p:custDataLst>
            </p:nvPr>
          </p:nvSpPr>
          <p:spPr bwMode="auto">
            <a:xfrm>
              <a:off x="8632951" y="1565541"/>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598" name="Text Placeholder 3">
            <a:extLst>
              <a:ext uri="{FF2B5EF4-FFF2-40B4-BE49-F238E27FC236}">
                <a16:creationId xmlns:a16="http://schemas.microsoft.com/office/drawing/2014/main" id="{8776E67C-2292-F14C-BF5C-7094CC1D187C}"/>
              </a:ext>
            </a:extLst>
          </p:cNvPr>
          <p:cNvSpPr>
            <a:spLocks noGrp="1"/>
          </p:cNvSpPr>
          <p:nvPr>
            <p:ph type="body" sz="quarter" idx="34" hasCustomPrompt="1"/>
          </p:nvPr>
        </p:nvSpPr>
        <p:spPr>
          <a:xfrm>
            <a:off x="576000" y="1820252"/>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599" name="Text Placeholder 3">
            <a:extLst>
              <a:ext uri="{FF2B5EF4-FFF2-40B4-BE49-F238E27FC236}">
                <a16:creationId xmlns:a16="http://schemas.microsoft.com/office/drawing/2014/main" id="{D7912178-3FCE-A94B-9D68-3D47B1A78344}"/>
              </a:ext>
            </a:extLst>
          </p:cNvPr>
          <p:cNvSpPr>
            <a:spLocks noGrp="1"/>
          </p:cNvSpPr>
          <p:nvPr>
            <p:ph type="body" sz="quarter" idx="36" hasCustomPrompt="1"/>
          </p:nvPr>
        </p:nvSpPr>
        <p:spPr>
          <a:xfrm>
            <a:off x="576000" y="4062709"/>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600" name="Text Placeholder 13">
            <a:extLst>
              <a:ext uri="{FF2B5EF4-FFF2-40B4-BE49-F238E27FC236}">
                <a16:creationId xmlns:a16="http://schemas.microsoft.com/office/drawing/2014/main" id="{13FF85CA-EC3F-B541-A299-6EC7BED540BC}"/>
              </a:ext>
            </a:extLst>
          </p:cNvPr>
          <p:cNvSpPr>
            <a:spLocks noGrp="1"/>
          </p:cNvSpPr>
          <p:nvPr>
            <p:ph type="body" sz="quarter" idx="63" hasCustomPrompt="1"/>
          </p:nvPr>
        </p:nvSpPr>
        <p:spPr>
          <a:xfrm>
            <a:off x="576000" y="2362199"/>
            <a:ext cx="3574800"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601" name="Text Placeholder 13">
            <a:extLst>
              <a:ext uri="{FF2B5EF4-FFF2-40B4-BE49-F238E27FC236}">
                <a16:creationId xmlns:a16="http://schemas.microsoft.com/office/drawing/2014/main" id="{D5EC1193-25D1-E342-BC97-50BC9A7C7D4F}"/>
              </a:ext>
            </a:extLst>
          </p:cNvPr>
          <p:cNvSpPr>
            <a:spLocks noGrp="1"/>
          </p:cNvSpPr>
          <p:nvPr>
            <p:ph type="body" sz="quarter" idx="64" hasCustomPrompt="1"/>
          </p:nvPr>
        </p:nvSpPr>
        <p:spPr>
          <a:xfrm>
            <a:off x="576000" y="4608442"/>
            <a:ext cx="3575313"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4CF9F4AD-D4A7-0D48-8A94-7F0A9CA03E58}"/>
              </a:ext>
            </a:extLst>
          </p:cNvPr>
          <p:cNvSpPr>
            <a:spLocks noGrp="1"/>
          </p:cNvSpPr>
          <p:nvPr>
            <p:ph type="ftr" sz="quarter" idx="65"/>
          </p:nvPr>
        </p:nvSpPr>
        <p:spPr/>
        <p:txBody>
          <a:bodyPr/>
          <a:lstStyle/>
          <a:p>
            <a:endParaRPr lang="en-GB"/>
          </a:p>
        </p:txBody>
      </p:sp>
      <p:sp>
        <p:nvSpPr>
          <p:cNvPr id="3" name="Slide Number Placeholder 2">
            <a:extLst>
              <a:ext uri="{FF2B5EF4-FFF2-40B4-BE49-F238E27FC236}">
                <a16:creationId xmlns:a16="http://schemas.microsoft.com/office/drawing/2014/main" id="{B54DB12C-D21F-CB46-8B29-E2642253CB8A}"/>
              </a:ext>
            </a:extLst>
          </p:cNvPr>
          <p:cNvSpPr>
            <a:spLocks noGrp="1"/>
          </p:cNvSpPr>
          <p:nvPr>
            <p:ph type="sldNum" sz="quarter" idx="66"/>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00841669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Map populated">
    <p:bg>
      <p:bgPr>
        <a:solidFill>
          <a:schemeClr val="bg1"/>
        </a:solidFill>
        <a:effectLst/>
      </p:bgPr>
    </p:bg>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602" name="Freeform 601">
            <a:extLst>
              <a:ext uri="{FF2B5EF4-FFF2-40B4-BE49-F238E27FC236}">
                <a16:creationId xmlns:a16="http://schemas.microsoft.com/office/drawing/2014/main" id="{03500709-82D8-1842-8DBD-804301A0E3DA}"/>
              </a:ext>
            </a:extLst>
          </p:cNvPr>
          <p:cNvSpPr>
            <a:spLocks/>
          </p:cNvSpPr>
          <p:nvPr userDrawn="1">
            <p:custDataLst>
              <p:tags r:id="rId1"/>
            </p:custDataLst>
          </p:nvPr>
        </p:nvSpPr>
        <p:spPr bwMode="auto">
          <a:xfrm>
            <a:off x="5260569" y="5993745"/>
            <a:ext cx="37332" cy="566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3" name="Freeform 25">
            <a:extLst>
              <a:ext uri="{FF2B5EF4-FFF2-40B4-BE49-F238E27FC236}">
                <a16:creationId xmlns:a16="http://schemas.microsoft.com/office/drawing/2014/main" id="{E548E5D9-F586-A243-93BD-82D576C4A3FC}"/>
              </a:ext>
            </a:extLst>
          </p:cNvPr>
          <p:cNvSpPr>
            <a:spLocks/>
          </p:cNvSpPr>
          <p:nvPr userDrawn="1">
            <p:custDataLst>
              <p:tags r:id="rId2"/>
            </p:custDataLst>
          </p:nvPr>
        </p:nvSpPr>
        <p:spPr bwMode="auto">
          <a:xfrm>
            <a:off x="5280124" y="6000037"/>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4" name="Freeform 105">
            <a:extLst>
              <a:ext uri="{FF2B5EF4-FFF2-40B4-BE49-F238E27FC236}">
                <a16:creationId xmlns:a16="http://schemas.microsoft.com/office/drawing/2014/main" id="{80B0E605-D1F0-0E4E-AB8B-9A6E458B57DB}"/>
              </a:ext>
            </a:extLst>
          </p:cNvPr>
          <p:cNvSpPr>
            <a:spLocks/>
          </p:cNvSpPr>
          <p:nvPr userDrawn="1">
            <p:custDataLst>
              <p:tags r:id="rId3"/>
            </p:custDataLst>
          </p:nvPr>
        </p:nvSpPr>
        <p:spPr bwMode="auto">
          <a:xfrm>
            <a:off x="6033892" y="5968574"/>
            <a:ext cx="60444" cy="5820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5" name="Freeform 197">
            <a:extLst>
              <a:ext uri="{FF2B5EF4-FFF2-40B4-BE49-F238E27FC236}">
                <a16:creationId xmlns:a16="http://schemas.microsoft.com/office/drawing/2014/main" id="{1B6262D0-8ABF-9745-AD5B-21F6BC324018}"/>
              </a:ext>
            </a:extLst>
          </p:cNvPr>
          <p:cNvSpPr>
            <a:spLocks/>
          </p:cNvSpPr>
          <p:nvPr userDrawn="1">
            <p:custDataLst>
              <p:tags r:id="rId4"/>
            </p:custDataLst>
          </p:nvPr>
        </p:nvSpPr>
        <p:spPr bwMode="auto">
          <a:xfrm>
            <a:off x="5280124" y="6000037"/>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6" name="Freeform 198">
            <a:extLst>
              <a:ext uri="{FF2B5EF4-FFF2-40B4-BE49-F238E27FC236}">
                <a16:creationId xmlns:a16="http://schemas.microsoft.com/office/drawing/2014/main" id="{1E3E05EE-12E2-8D49-8C92-0CD6518DD421}"/>
              </a:ext>
            </a:extLst>
          </p:cNvPr>
          <p:cNvSpPr>
            <a:spLocks/>
          </p:cNvSpPr>
          <p:nvPr userDrawn="1">
            <p:custDataLst>
              <p:tags r:id="rId5"/>
            </p:custDataLst>
          </p:nvPr>
        </p:nvSpPr>
        <p:spPr bwMode="auto">
          <a:xfrm>
            <a:off x="5241013" y="5979588"/>
            <a:ext cx="39111" cy="5820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7" name="Freeform 199">
            <a:extLst>
              <a:ext uri="{FF2B5EF4-FFF2-40B4-BE49-F238E27FC236}">
                <a16:creationId xmlns:a16="http://schemas.microsoft.com/office/drawing/2014/main" id="{A9645595-0136-2F4C-8090-8FFBEDA7B9F1}"/>
              </a:ext>
            </a:extLst>
          </p:cNvPr>
          <p:cNvSpPr>
            <a:spLocks/>
          </p:cNvSpPr>
          <p:nvPr userDrawn="1">
            <p:custDataLst>
              <p:tags r:id="rId6"/>
            </p:custDataLst>
          </p:nvPr>
        </p:nvSpPr>
        <p:spPr bwMode="auto">
          <a:xfrm>
            <a:off x="5241013" y="5959135"/>
            <a:ext cx="24889" cy="59782"/>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8" name="Freeform 200">
            <a:extLst>
              <a:ext uri="{FF2B5EF4-FFF2-40B4-BE49-F238E27FC236}">
                <a16:creationId xmlns:a16="http://schemas.microsoft.com/office/drawing/2014/main" id="{935C1615-FD6C-3E41-A9C3-1044F8687C1E}"/>
              </a:ext>
            </a:extLst>
          </p:cNvPr>
          <p:cNvSpPr>
            <a:spLocks/>
          </p:cNvSpPr>
          <p:nvPr userDrawn="1">
            <p:custDataLst>
              <p:tags r:id="rId7"/>
            </p:custDataLst>
          </p:nvPr>
        </p:nvSpPr>
        <p:spPr bwMode="auto">
          <a:xfrm>
            <a:off x="5207236" y="5952842"/>
            <a:ext cx="28444" cy="59782"/>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9" name="Freeform 201">
            <a:extLst>
              <a:ext uri="{FF2B5EF4-FFF2-40B4-BE49-F238E27FC236}">
                <a16:creationId xmlns:a16="http://schemas.microsoft.com/office/drawing/2014/main" id="{F1F6C91E-4BAB-C14A-B04B-041646343D24}"/>
              </a:ext>
            </a:extLst>
          </p:cNvPr>
          <p:cNvSpPr>
            <a:spLocks/>
          </p:cNvSpPr>
          <p:nvPr userDrawn="1">
            <p:custDataLst>
              <p:tags r:id="rId8"/>
            </p:custDataLst>
          </p:nvPr>
        </p:nvSpPr>
        <p:spPr bwMode="auto">
          <a:xfrm>
            <a:off x="5178793" y="5943402"/>
            <a:ext cx="32000" cy="5820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0" name="Freeform 202">
            <a:extLst>
              <a:ext uri="{FF2B5EF4-FFF2-40B4-BE49-F238E27FC236}">
                <a16:creationId xmlns:a16="http://schemas.microsoft.com/office/drawing/2014/main" id="{7970A5F3-7DD8-A943-87D2-90C2155E720F}"/>
              </a:ext>
            </a:extLst>
          </p:cNvPr>
          <p:cNvSpPr>
            <a:spLocks/>
          </p:cNvSpPr>
          <p:nvPr userDrawn="1">
            <p:custDataLst>
              <p:tags r:id="rId9"/>
            </p:custDataLst>
          </p:nvPr>
        </p:nvSpPr>
        <p:spPr bwMode="auto">
          <a:xfrm>
            <a:off x="5152125" y="5930817"/>
            <a:ext cx="37333" cy="566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1" name="Freeform 203">
            <a:extLst>
              <a:ext uri="{FF2B5EF4-FFF2-40B4-BE49-F238E27FC236}">
                <a16:creationId xmlns:a16="http://schemas.microsoft.com/office/drawing/2014/main" id="{A9141000-C697-314B-BA0C-CBA208890AF9}"/>
              </a:ext>
            </a:extLst>
          </p:cNvPr>
          <p:cNvSpPr>
            <a:spLocks/>
          </p:cNvSpPr>
          <p:nvPr userDrawn="1">
            <p:custDataLst>
              <p:tags r:id="rId10"/>
            </p:custDataLst>
          </p:nvPr>
        </p:nvSpPr>
        <p:spPr bwMode="auto">
          <a:xfrm>
            <a:off x="5145015" y="5911939"/>
            <a:ext cx="33778" cy="566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2" name="Freeform 212">
            <a:extLst>
              <a:ext uri="{FF2B5EF4-FFF2-40B4-BE49-F238E27FC236}">
                <a16:creationId xmlns:a16="http://schemas.microsoft.com/office/drawing/2014/main" id="{14698595-3E1D-1840-A7BB-3103EED732C3}"/>
              </a:ext>
            </a:extLst>
          </p:cNvPr>
          <p:cNvSpPr>
            <a:spLocks/>
          </p:cNvSpPr>
          <p:nvPr userDrawn="1">
            <p:custDataLst>
              <p:tags r:id="rId11"/>
            </p:custDataLst>
          </p:nvPr>
        </p:nvSpPr>
        <p:spPr bwMode="auto">
          <a:xfrm>
            <a:off x="5132570" y="5904073"/>
            <a:ext cx="7111" cy="566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3" name="Freeform 213">
            <a:extLst>
              <a:ext uri="{FF2B5EF4-FFF2-40B4-BE49-F238E27FC236}">
                <a16:creationId xmlns:a16="http://schemas.microsoft.com/office/drawing/2014/main" id="{69CC9AA8-E76E-4248-BF2C-4987A04F4846}"/>
              </a:ext>
            </a:extLst>
          </p:cNvPr>
          <p:cNvSpPr>
            <a:spLocks/>
          </p:cNvSpPr>
          <p:nvPr userDrawn="1">
            <p:custDataLst>
              <p:tags r:id="rId12"/>
            </p:custDataLst>
          </p:nvPr>
        </p:nvSpPr>
        <p:spPr bwMode="auto">
          <a:xfrm>
            <a:off x="5216125" y="5973293"/>
            <a:ext cx="39111" cy="566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4" name="Freeform 214">
            <a:extLst>
              <a:ext uri="{FF2B5EF4-FFF2-40B4-BE49-F238E27FC236}">
                <a16:creationId xmlns:a16="http://schemas.microsoft.com/office/drawing/2014/main" id="{6171C6C4-6375-C549-ACA8-ADFEFE530C1F}"/>
              </a:ext>
            </a:extLst>
          </p:cNvPr>
          <p:cNvSpPr>
            <a:spLocks/>
          </p:cNvSpPr>
          <p:nvPr userDrawn="1">
            <p:custDataLst>
              <p:tags r:id="rId13"/>
            </p:custDataLst>
          </p:nvPr>
        </p:nvSpPr>
        <p:spPr bwMode="auto">
          <a:xfrm>
            <a:off x="5258791" y="5915086"/>
            <a:ext cx="138665" cy="9911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5" name="Freeform 5">
            <a:extLst>
              <a:ext uri="{FF2B5EF4-FFF2-40B4-BE49-F238E27FC236}">
                <a16:creationId xmlns:a16="http://schemas.microsoft.com/office/drawing/2014/main" id="{41BDD920-8B10-014B-87CB-8499AFEEB0D9}"/>
              </a:ext>
            </a:extLst>
          </p:cNvPr>
          <p:cNvSpPr>
            <a:spLocks/>
          </p:cNvSpPr>
          <p:nvPr userDrawn="1">
            <p:custDataLst>
              <p:tags r:id="rId14"/>
            </p:custDataLst>
          </p:nvPr>
        </p:nvSpPr>
        <p:spPr bwMode="auto">
          <a:xfrm>
            <a:off x="3933121" y="1784633"/>
            <a:ext cx="803589" cy="40450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16" name="Group 438">
            <a:extLst>
              <a:ext uri="{FF2B5EF4-FFF2-40B4-BE49-F238E27FC236}">
                <a16:creationId xmlns:a16="http://schemas.microsoft.com/office/drawing/2014/main" id="{80124D6D-8B27-0944-981C-4D8CACC4F6BF}"/>
              </a:ext>
            </a:extLst>
          </p:cNvPr>
          <p:cNvGrpSpPr>
            <a:grpSpLocks/>
          </p:cNvGrpSpPr>
          <p:nvPr userDrawn="1">
            <p:custDataLst>
              <p:tags r:id="rId15"/>
            </p:custDataLst>
          </p:nvPr>
        </p:nvGrpSpPr>
        <p:grpSpPr bwMode="auto">
          <a:xfrm>
            <a:off x="5626513" y="4393039"/>
            <a:ext cx="393661" cy="935686"/>
            <a:chOff x="1589" y="3126"/>
            <a:chExt cx="290" cy="657"/>
          </a:xfrm>
          <a:solidFill>
            <a:srgbClr val="DADADA"/>
          </a:solidFill>
        </p:grpSpPr>
        <p:sp>
          <p:nvSpPr>
            <p:cNvPr id="617" name="Freeform 439">
              <a:extLst>
                <a:ext uri="{FF2B5EF4-FFF2-40B4-BE49-F238E27FC236}">
                  <a16:creationId xmlns:a16="http://schemas.microsoft.com/office/drawing/2014/main" id="{926D791E-373B-054B-84AB-C16EEA3DD199}"/>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8" name="Freeform 440">
              <a:extLst>
                <a:ext uri="{FF2B5EF4-FFF2-40B4-BE49-F238E27FC236}">
                  <a16:creationId xmlns:a16="http://schemas.microsoft.com/office/drawing/2014/main" id="{AE7E9ED7-2FC1-D848-96BA-57B736CC8469}"/>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9" name="Freeform 441">
              <a:extLst>
                <a:ext uri="{FF2B5EF4-FFF2-40B4-BE49-F238E27FC236}">
                  <a16:creationId xmlns:a16="http://schemas.microsoft.com/office/drawing/2014/main" id="{553D0156-78A7-EF4C-9E0B-2F0D7657C413}"/>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20" name="Freeform 6">
            <a:extLst>
              <a:ext uri="{FF2B5EF4-FFF2-40B4-BE49-F238E27FC236}">
                <a16:creationId xmlns:a16="http://schemas.microsoft.com/office/drawing/2014/main" id="{1185D58B-168D-6449-A7FA-AB21BEF33A46}"/>
              </a:ext>
            </a:extLst>
          </p:cNvPr>
          <p:cNvSpPr>
            <a:spLocks/>
          </p:cNvSpPr>
          <p:nvPr userDrawn="1">
            <p:custDataLst>
              <p:tags r:id="rId16"/>
            </p:custDataLst>
          </p:nvPr>
        </p:nvSpPr>
        <p:spPr bwMode="auto">
          <a:xfrm>
            <a:off x="4404863" y="2343166"/>
            <a:ext cx="1415227" cy="698166"/>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1" name="Freeform 7">
            <a:extLst>
              <a:ext uri="{FF2B5EF4-FFF2-40B4-BE49-F238E27FC236}">
                <a16:creationId xmlns:a16="http://schemas.microsoft.com/office/drawing/2014/main" id="{AC9BF36F-B642-A64F-866F-17C3B6411A6C}"/>
              </a:ext>
            </a:extLst>
          </p:cNvPr>
          <p:cNvSpPr>
            <a:spLocks/>
          </p:cNvSpPr>
          <p:nvPr userDrawn="1">
            <p:custDataLst>
              <p:tags r:id="rId17"/>
            </p:custDataLst>
          </p:nvPr>
        </p:nvSpPr>
        <p:spPr bwMode="auto">
          <a:xfrm>
            <a:off x="5258879" y="3749574"/>
            <a:ext cx="348114" cy="535501"/>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2" name="Freeform 8">
            <a:extLst>
              <a:ext uri="{FF2B5EF4-FFF2-40B4-BE49-F238E27FC236}">
                <a16:creationId xmlns:a16="http://schemas.microsoft.com/office/drawing/2014/main" id="{59012580-17FC-C745-963A-99593F74ED87}"/>
              </a:ext>
            </a:extLst>
          </p:cNvPr>
          <p:cNvSpPr>
            <a:spLocks/>
          </p:cNvSpPr>
          <p:nvPr userDrawn="1">
            <p:custDataLst>
              <p:tags r:id="rId18"/>
            </p:custDataLst>
          </p:nvPr>
        </p:nvSpPr>
        <p:spPr bwMode="auto">
          <a:xfrm>
            <a:off x="5566325" y="4260601"/>
            <a:ext cx="268405" cy="102493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3" name="Freeform 9">
            <a:extLst>
              <a:ext uri="{FF2B5EF4-FFF2-40B4-BE49-F238E27FC236}">
                <a16:creationId xmlns:a16="http://schemas.microsoft.com/office/drawing/2014/main" id="{A04F4CD8-1491-8146-B583-2973ADA70BBD}"/>
              </a:ext>
            </a:extLst>
          </p:cNvPr>
          <p:cNvSpPr>
            <a:spLocks/>
          </p:cNvSpPr>
          <p:nvPr userDrawn="1">
            <p:custDataLst>
              <p:tags r:id="rId19"/>
            </p:custDataLst>
          </p:nvPr>
        </p:nvSpPr>
        <p:spPr bwMode="auto">
          <a:xfrm>
            <a:off x="5468724" y="3609942"/>
            <a:ext cx="990659" cy="1091154"/>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4" name="Freeform 10">
            <a:extLst>
              <a:ext uri="{FF2B5EF4-FFF2-40B4-BE49-F238E27FC236}">
                <a16:creationId xmlns:a16="http://schemas.microsoft.com/office/drawing/2014/main" id="{7EE192C5-E0BE-9548-BD42-35BFB6FD057C}"/>
              </a:ext>
            </a:extLst>
          </p:cNvPr>
          <p:cNvSpPr>
            <a:spLocks/>
          </p:cNvSpPr>
          <p:nvPr userDrawn="1">
            <p:custDataLst>
              <p:tags r:id="rId20"/>
            </p:custDataLst>
          </p:nvPr>
        </p:nvSpPr>
        <p:spPr bwMode="auto">
          <a:xfrm>
            <a:off x="7633857" y="2654103"/>
            <a:ext cx="71574" cy="44625"/>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5" name="Freeform 11">
            <a:extLst>
              <a:ext uri="{FF2B5EF4-FFF2-40B4-BE49-F238E27FC236}">
                <a16:creationId xmlns:a16="http://schemas.microsoft.com/office/drawing/2014/main" id="{07A88374-E9BA-3B49-809A-F3E0C1D055D1}"/>
              </a:ext>
            </a:extLst>
          </p:cNvPr>
          <p:cNvSpPr>
            <a:spLocks/>
          </p:cNvSpPr>
          <p:nvPr userDrawn="1">
            <p:custDataLst>
              <p:tags r:id="rId21"/>
            </p:custDataLst>
          </p:nvPr>
        </p:nvSpPr>
        <p:spPr bwMode="auto">
          <a:xfrm>
            <a:off x="7119820" y="2540381"/>
            <a:ext cx="84588" cy="14539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6" name="Freeform 12">
            <a:extLst>
              <a:ext uri="{FF2B5EF4-FFF2-40B4-BE49-F238E27FC236}">
                <a16:creationId xmlns:a16="http://schemas.microsoft.com/office/drawing/2014/main" id="{1595A34C-BCA6-AD42-BE99-464FCE152B11}"/>
              </a:ext>
            </a:extLst>
          </p:cNvPr>
          <p:cNvSpPr>
            <a:spLocks/>
          </p:cNvSpPr>
          <p:nvPr userDrawn="1">
            <p:custDataLst>
              <p:tags r:id="rId22"/>
            </p:custDataLst>
          </p:nvPr>
        </p:nvSpPr>
        <p:spPr bwMode="auto">
          <a:xfrm>
            <a:off x="7202784" y="2083334"/>
            <a:ext cx="175684" cy="244718"/>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7" name="Freeform 13">
            <a:extLst>
              <a:ext uri="{FF2B5EF4-FFF2-40B4-BE49-F238E27FC236}">
                <a16:creationId xmlns:a16="http://schemas.microsoft.com/office/drawing/2014/main" id="{6E5ED6B2-1163-4A43-BAEA-D2E4F9FDEADA}"/>
              </a:ext>
            </a:extLst>
          </p:cNvPr>
          <p:cNvSpPr>
            <a:spLocks/>
          </p:cNvSpPr>
          <p:nvPr userDrawn="1">
            <p:custDataLst>
              <p:tags r:id="rId23"/>
            </p:custDataLst>
          </p:nvPr>
        </p:nvSpPr>
        <p:spPr bwMode="auto">
          <a:xfrm>
            <a:off x="7570416" y="2348923"/>
            <a:ext cx="174056" cy="6909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8" name="Freeform 14">
            <a:extLst>
              <a:ext uri="{FF2B5EF4-FFF2-40B4-BE49-F238E27FC236}">
                <a16:creationId xmlns:a16="http://schemas.microsoft.com/office/drawing/2014/main" id="{CA3D9024-3C71-0640-A88F-B1C4AB0D6979}"/>
              </a:ext>
            </a:extLst>
          </p:cNvPr>
          <p:cNvSpPr>
            <a:spLocks/>
          </p:cNvSpPr>
          <p:nvPr userDrawn="1">
            <p:custDataLst>
              <p:tags r:id="rId24"/>
            </p:custDataLst>
          </p:nvPr>
        </p:nvSpPr>
        <p:spPr bwMode="auto">
          <a:xfrm>
            <a:off x="9099512" y="2212171"/>
            <a:ext cx="1312745" cy="941443"/>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9" name="Freeform 15">
            <a:extLst>
              <a:ext uri="{FF2B5EF4-FFF2-40B4-BE49-F238E27FC236}">
                <a16:creationId xmlns:a16="http://schemas.microsoft.com/office/drawing/2014/main" id="{3B22032F-DE6A-9546-841C-36B6F4666CFF}"/>
              </a:ext>
            </a:extLst>
          </p:cNvPr>
          <p:cNvSpPr>
            <a:spLocks/>
          </p:cNvSpPr>
          <p:nvPr userDrawn="1">
            <p:custDataLst>
              <p:tags r:id="rId25"/>
            </p:custDataLst>
          </p:nvPr>
        </p:nvSpPr>
        <p:spPr bwMode="auto">
          <a:xfrm>
            <a:off x="7759114" y="1796150"/>
            <a:ext cx="226110" cy="247597"/>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0" name="Freeform 16">
            <a:extLst>
              <a:ext uri="{FF2B5EF4-FFF2-40B4-BE49-F238E27FC236}">
                <a16:creationId xmlns:a16="http://schemas.microsoft.com/office/drawing/2014/main" id="{FA2050E6-37B6-3D42-A8CF-638192AECEC1}"/>
              </a:ext>
            </a:extLst>
          </p:cNvPr>
          <p:cNvSpPr>
            <a:spLocks/>
          </p:cNvSpPr>
          <p:nvPr userDrawn="1">
            <p:custDataLst>
              <p:tags r:id="rId26"/>
            </p:custDataLst>
          </p:nvPr>
        </p:nvSpPr>
        <p:spPr bwMode="auto">
          <a:xfrm>
            <a:off x="7489258" y="2179781"/>
            <a:ext cx="187069" cy="21592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1" name="Freeform 17">
            <a:extLst>
              <a:ext uri="{FF2B5EF4-FFF2-40B4-BE49-F238E27FC236}">
                <a16:creationId xmlns:a16="http://schemas.microsoft.com/office/drawing/2014/main" id="{39FEC332-DE46-6444-9579-381C3980058A}"/>
              </a:ext>
            </a:extLst>
          </p:cNvPr>
          <p:cNvSpPr>
            <a:spLocks/>
          </p:cNvSpPr>
          <p:nvPr userDrawn="1">
            <p:custDataLst>
              <p:tags r:id="rId27"/>
            </p:custDataLst>
          </p:nvPr>
        </p:nvSpPr>
        <p:spPr bwMode="auto">
          <a:xfrm>
            <a:off x="7515110" y="2407945"/>
            <a:ext cx="257018" cy="249036"/>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2" name="Freeform 18">
            <a:extLst>
              <a:ext uri="{FF2B5EF4-FFF2-40B4-BE49-F238E27FC236}">
                <a16:creationId xmlns:a16="http://schemas.microsoft.com/office/drawing/2014/main" id="{C53FFE23-5DB4-AF46-AFA1-BE16196F9258}"/>
              </a:ext>
            </a:extLst>
          </p:cNvPr>
          <p:cNvSpPr>
            <a:spLocks/>
          </p:cNvSpPr>
          <p:nvPr userDrawn="1">
            <p:custDataLst>
              <p:tags r:id="rId28"/>
            </p:custDataLst>
          </p:nvPr>
        </p:nvSpPr>
        <p:spPr bwMode="auto">
          <a:xfrm>
            <a:off x="7533002" y="2560533"/>
            <a:ext cx="34161" cy="74855"/>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33" name="Group 19">
            <a:extLst>
              <a:ext uri="{FF2B5EF4-FFF2-40B4-BE49-F238E27FC236}">
                <a16:creationId xmlns:a16="http://schemas.microsoft.com/office/drawing/2014/main" id="{E96C81EF-BC41-5944-BA76-5343DB8FF119}"/>
              </a:ext>
            </a:extLst>
          </p:cNvPr>
          <p:cNvGrpSpPr>
            <a:grpSpLocks/>
          </p:cNvGrpSpPr>
          <p:nvPr userDrawn="1">
            <p:custDataLst>
              <p:tags r:id="rId29"/>
            </p:custDataLst>
          </p:nvPr>
        </p:nvGrpSpPr>
        <p:grpSpPr bwMode="auto">
          <a:xfrm>
            <a:off x="9909609" y="3522131"/>
            <a:ext cx="484756" cy="192895"/>
            <a:chOff x="4488" y="2394"/>
            <a:chExt cx="358" cy="124"/>
          </a:xfrm>
          <a:solidFill>
            <a:srgbClr val="DADADA"/>
          </a:solidFill>
        </p:grpSpPr>
        <p:sp>
          <p:nvSpPr>
            <p:cNvPr id="634" name="Freeform 20">
              <a:extLst>
                <a:ext uri="{FF2B5EF4-FFF2-40B4-BE49-F238E27FC236}">
                  <a16:creationId xmlns:a16="http://schemas.microsoft.com/office/drawing/2014/main" id="{3DB8ECF1-843D-3243-B895-2362FCBD233C}"/>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5" name="Freeform 21">
              <a:extLst>
                <a:ext uri="{FF2B5EF4-FFF2-40B4-BE49-F238E27FC236}">
                  <a16:creationId xmlns:a16="http://schemas.microsoft.com/office/drawing/2014/main" id="{D5D0CB7E-3669-F34A-B4B0-7CCA0D5FA2BD}"/>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36" name="Freeform 22">
            <a:extLst>
              <a:ext uri="{FF2B5EF4-FFF2-40B4-BE49-F238E27FC236}">
                <a16:creationId xmlns:a16="http://schemas.microsoft.com/office/drawing/2014/main" id="{17808E9E-04FF-EC4B-B795-843D80C848A5}"/>
              </a:ext>
            </a:extLst>
          </p:cNvPr>
          <p:cNvSpPr>
            <a:spLocks/>
          </p:cNvSpPr>
          <p:nvPr userDrawn="1">
            <p:custDataLst>
              <p:tags r:id="rId30"/>
            </p:custDataLst>
          </p:nvPr>
        </p:nvSpPr>
        <p:spPr bwMode="auto">
          <a:xfrm>
            <a:off x="7882742" y="1596058"/>
            <a:ext cx="3141153" cy="97455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7" name="Freeform 23">
            <a:extLst>
              <a:ext uri="{FF2B5EF4-FFF2-40B4-BE49-F238E27FC236}">
                <a16:creationId xmlns:a16="http://schemas.microsoft.com/office/drawing/2014/main" id="{B415ECE9-1194-C542-A3AE-B874E50FB00C}"/>
              </a:ext>
            </a:extLst>
          </p:cNvPr>
          <p:cNvSpPr>
            <a:spLocks/>
          </p:cNvSpPr>
          <p:nvPr userDrawn="1">
            <p:custDataLst>
              <p:tags r:id="rId31"/>
            </p:custDataLst>
          </p:nvPr>
        </p:nvSpPr>
        <p:spPr bwMode="auto">
          <a:xfrm>
            <a:off x="7127956" y="2491436"/>
            <a:ext cx="287925" cy="224565"/>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8" name="Freeform 24">
            <a:extLst>
              <a:ext uri="{FF2B5EF4-FFF2-40B4-BE49-F238E27FC236}">
                <a16:creationId xmlns:a16="http://schemas.microsoft.com/office/drawing/2014/main" id="{F821E117-2946-5240-B2F9-E0AED6A88407}"/>
              </a:ext>
            </a:extLst>
          </p:cNvPr>
          <p:cNvSpPr>
            <a:spLocks/>
          </p:cNvSpPr>
          <p:nvPr userDrawn="1">
            <p:custDataLst>
              <p:tags r:id="rId32"/>
            </p:custDataLst>
          </p:nvPr>
        </p:nvSpPr>
        <p:spPr bwMode="auto">
          <a:xfrm>
            <a:off x="9825020" y="3160812"/>
            <a:ext cx="213097" cy="413141"/>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9" name="Freeform 29">
            <a:extLst>
              <a:ext uri="{FF2B5EF4-FFF2-40B4-BE49-F238E27FC236}">
                <a16:creationId xmlns:a16="http://schemas.microsoft.com/office/drawing/2014/main" id="{DE0F0643-767F-EE4B-BDBD-58FAD4831AAC}"/>
              </a:ext>
            </a:extLst>
          </p:cNvPr>
          <p:cNvSpPr>
            <a:spLocks/>
          </p:cNvSpPr>
          <p:nvPr userDrawn="1">
            <p:custDataLst>
              <p:tags r:id="rId33"/>
            </p:custDataLst>
          </p:nvPr>
        </p:nvSpPr>
        <p:spPr bwMode="auto">
          <a:xfrm>
            <a:off x="5598858" y="2576368"/>
            <a:ext cx="50427" cy="51823"/>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0" name="Freeform 30">
            <a:extLst>
              <a:ext uri="{FF2B5EF4-FFF2-40B4-BE49-F238E27FC236}">
                <a16:creationId xmlns:a16="http://schemas.microsoft.com/office/drawing/2014/main" id="{82D12E78-A829-4B4F-928F-7DA3A317F8FB}"/>
              </a:ext>
            </a:extLst>
          </p:cNvPr>
          <p:cNvSpPr>
            <a:spLocks/>
          </p:cNvSpPr>
          <p:nvPr userDrawn="1">
            <p:custDataLst>
              <p:tags r:id="rId34"/>
            </p:custDataLst>
          </p:nvPr>
        </p:nvSpPr>
        <p:spPr bwMode="auto">
          <a:xfrm>
            <a:off x="8404913" y="2174744"/>
            <a:ext cx="896311" cy="410262"/>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1" name="Freeform 31">
            <a:extLst>
              <a:ext uri="{FF2B5EF4-FFF2-40B4-BE49-F238E27FC236}">
                <a16:creationId xmlns:a16="http://schemas.microsoft.com/office/drawing/2014/main" id="{38C1B0B5-7DE5-D741-A409-5AC9F4F37A0D}"/>
              </a:ext>
            </a:extLst>
          </p:cNvPr>
          <p:cNvSpPr>
            <a:spLocks/>
          </p:cNvSpPr>
          <p:nvPr userDrawn="1">
            <p:custDataLst>
              <p:tags r:id="rId35"/>
            </p:custDataLst>
          </p:nvPr>
        </p:nvSpPr>
        <p:spPr bwMode="auto">
          <a:xfrm>
            <a:off x="8640784" y="2449690"/>
            <a:ext cx="419688" cy="22600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2" name="Freeform 32">
            <a:extLst>
              <a:ext uri="{FF2B5EF4-FFF2-40B4-BE49-F238E27FC236}">
                <a16:creationId xmlns:a16="http://schemas.microsoft.com/office/drawing/2014/main" id="{242BD47E-25FC-D44A-8D6B-56C19842C569}"/>
              </a:ext>
            </a:extLst>
          </p:cNvPr>
          <p:cNvSpPr>
            <a:spLocks/>
          </p:cNvSpPr>
          <p:nvPr userDrawn="1">
            <p:custDataLst>
              <p:tags r:id="rId36"/>
            </p:custDataLst>
          </p:nvPr>
        </p:nvSpPr>
        <p:spPr bwMode="auto">
          <a:xfrm>
            <a:off x="7419134" y="3359465"/>
            <a:ext cx="304193" cy="261992"/>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3" name="Freeform 33">
            <a:extLst>
              <a:ext uri="{FF2B5EF4-FFF2-40B4-BE49-F238E27FC236}">
                <a16:creationId xmlns:a16="http://schemas.microsoft.com/office/drawing/2014/main" id="{44534A65-1BBB-4C41-896D-D4B04607F179}"/>
              </a:ext>
            </a:extLst>
          </p:cNvPr>
          <p:cNvSpPr>
            <a:spLocks/>
          </p:cNvSpPr>
          <p:nvPr userDrawn="1">
            <p:custDataLst>
              <p:tags r:id="rId37"/>
            </p:custDataLst>
          </p:nvPr>
        </p:nvSpPr>
        <p:spPr bwMode="auto">
          <a:xfrm>
            <a:off x="8282910" y="3237106"/>
            <a:ext cx="156163" cy="15402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4" name="Freeform 34">
            <a:extLst>
              <a:ext uri="{FF2B5EF4-FFF2-40B4-BE49-F238E27FC236}">
                <a16:creationId xmlns:a16="http://schemas.microsoft.com/office/drawing/2014/main" id="{9609BE8F-CA87-7C4E-BDD4-A1CBAD24F4AE}"/>
              </a:ext>
            </a:extLst>
          </p:cNvPr>
          <p:cNvSpPr>
            <a:spLocks/>
          </p:cNvSpPr>
          <p:nvPr userDrawn="1">
            <p:custDataLst>
              <p:tags r:id="rId38"/>
            </p:custDataLst>
          </p:nvPr>
        </p:nvSpPr>
        <p:spPr bwMode="auto">
          <a:xfrm>
            <a:off x="7731460" y="2334529"/>
            <a:ext cx="128509" cy="51823"/>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5" name="Freeform 35">
            <a:extLst>
              <a:ext uri="{FF2B5EF4-FFF2-40B4-BE49-F238E27FC236}">
                <a16:creationId xmlns:a16="http://schemas.microsoft.com/office/drawing/2014/main" id="{034E7CB5-087C-064B-A2D4-53ECD9763E5B}"/>
              </a:ext>
            </a:extLst>
          </p:cNvPr>
          <p:cNvSpPr>
            <a:spLocks/>
          </p:cNvSpPr>
          <p:nvPr userDrawn="1">
            <p:custDataLst>
              <p:tags r:id="rId39"/>
            </p:custDataLst>
          </p:nvPr>
        </p:nvSpPr>
        <p:spPr bwMode="auto">
          <a:xfrm>
            <a:off x="8616382" y="2988069"/>
            <a:ext cx="19520" cy="51823"/>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6" name="Freeform 36">
            <a:extLst>
              <a:ext uri="{FF2B5EF4-FFF2-40B4-BE49-F238E27FC236}">
                <a16:creationId xmlns:a16="http://schemas.microsoft.com/office/drawing/2014/main" id="{CA0119D2-4C61-F045-8B3F-B1587FDDB87F}"/>
              </a:ext>
            </a:extLst>
          </p:cNvPr>
          <p:cNvSpPr>
            <a:spLocks/>
          </p:cNvSpPr>
          <p:nvPr userDrawn="1">
            <p:custDataLst>
              <p:tags r:id="rId40"/>
            </p:custDataLst>
          </p:nvPr>
        </p:nvSpPr>
        <p:spPr bwMode="auto">
          <a:xfrm>
            <a:off x="8738387" y="2992388"/>
            <a:ext cx="14640" cy="51823"/>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7" name="Freeform 37">
            <a:extLst>
              <a:ext uri="{FF2B5EF4-FFF2-40B4-BE49-F238E27FC236}">
                <a16:creationId xmlns:a16="http://schemas.microsoft.com/office/drawing/2014/main" id="{AB4C01A7-DB8E-2B44-99AD-3A025321E7FA}"/>
              </a:ext>
            </a:extLst>
          </p:cNvPr>
          <p:cNvSpPr>
            <a:spLocks/>
          </p:cNvSpPr>
          <p:nvPr userDrawn="1">
            <p:custDataLst>
              <p:tags r:id="rId41"/>
            </p:custDataLst>
          </p:nvPr>
        </p:nvSpPr>
        <p:spPr bwMode="auto">
          <a:xfrm>
            <a:off x="10262601" y="3591227"/>
            <a:ext cx="45547" cy="51823"/>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48" name="Group 38">
            <a:extLst>
              <a:ext uri="{FF2B5EF4-FFF2-40B4-BE49-F238E27FC236}">
                <a16:creationId xmlns:a16="http://schemas.microsoft.com/office/drawing/2014/main" id="{234BA3B1-457E-FB4A-9C03-C56CEF73AA10}"/>
              </a:ext>
            </a:extLst>
          </p:cNvPr>
          <p:cNvGrpSpPr>
            <a:grpSpLocks/>
          </p:cNvGrpSpPr>
          <p:nvPr userDrawn="1">
            <p:custDataLst>
              <p:tags r:id="rId42"/>
            </p:custDataLst>
          </p:nvPr>
        </p:nvGrpSpPr>
        <p:grpSpPr bwMode="auto">
          <a:xfrm>
            <a:off x="6012041" y="5230837"/>
            <a:ext cx="66694" cy="50383"/>
            <a:chOff x="1654" y="3671"/>
            <a:chExt cx="49" cy="17"/>
          </a:xfrm>
          <a:solidFill>
            <a:srgbClr val="DADADA"/>
          </a:solidFill>
        </p:grpSpPr>
        <p:sp>
          <p:nvSpPr>
            <p:cNvPr id="649" name="Freeform 39">
              <a:extLst>
                <a:ext uri="{FF2B5EF4-FFF2-40B4-BE49-F238E27FC236}">
                  <a16:creationId xmlns:a16="http://schemas.microsoft.com/office/drawing/2014/main" id="{39FAF3E9-D149-BC48-BD08-DA33C6AD88CE}"/>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0" name="Freeform 40">
              <a:extLst>
                <a:ext uri="{FF2B5EF4-FFF2-40B4-BE49-F238E27FC236}">
                  <a16:creationId xmlns:a16="http://schemas.microsoft.com/office/drawing/2014/main" id="{36FA0723-EB86-3043-8E66-CECE07D0CE75}"/>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51" name="Freeform 41">
            <a:extLst>
              <a:ext uri="{FF2B5EF4-FFF2-40B4-BE49-F238E27FC236}">
                <a16:creationId xmlns:a16="http://schemas.microsoft.com/office/drawing/2014/main" id="{B4940889-E1EA-6047-9613-1CD18791FDD0}"/>
              </a:ext>
            </a:extLst>
          </p:cNvPr>
          <p:cNvSpPr>
            <a:spLocks/>
          </p:cNvSpPr>
          <p:nvPr userDrawn="1">
            <p:custDataLst>
              <p:tags r:id="rId43"/>
            </p:custDataLst>
          </p:nvPr>
        </p:nvSpPr>
        <p:spPr bwMode="auto">
          <a:xfrm>
            <a:off x="5650913" y="3231349"/>
            <a:ext cx="32534" cy="5326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2" name="Freeform 42">
            <a:extLst>
              <a:ext uri="{FF2B5EF4-FFF2-40B4-BE49-F238E27FC236}">
                <a16:creationId xmlns:a16="http://schemas.microsoft.com/office/drawing/2014/main" id="{45A7D445-7119-1548-BE42-A0423CBB180D}"/>
              </a:ext>
            </a:extLst>
          </p:cNvPr>
          <p:cNvSpPr>
            <a:spLocks/>
          </p:cNvSpPr>
          <p:nvPr userDrawn="1">
            <p:custDataLst>
              <p:tags r:id="rId44"/>
            </p:custDataLst>
          </p:nvPr>
        </p:nvSpPr>
        <p:spPr bwMode="auto">
          <a:xfrm>
            <a:off x="5707847" y="3237107"/>
            <a:ext cx="1627" cy="5326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3" name="Freeform 43">
            <a:extLst>
              <a:ext uri="{FF2B5EF4-FFF2-40B4-BE49-F238E27FC236}">
                <a16:creationId xmlns:a16="http://schemas.microsoft.com/office/drawing/2014/main" id="{BFA898A8-E6CB-5F4F-8A8A-438B48823AF3}"/>
              </a:ext>
            </a:extLst>
          </p:cNvPr>
          <p:cNvSpPr>
            <a:spLocks/>
          </p:cNvSpPr>
          <p:nvPr userDrawn="1">
            <p:custDataLst>
              <p:tags r:id="rId45"/>
            </p:custDataLst>
          </p:nvPr>
        </p:nvSpPr>
        <p:spPr bwMode="auto">
          <a:xfrm>
            <a:off x="5720861" y="3238546"/>
            <a:ext cx="6507" cy="5326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4" name="Freeform 44">
            <a:extLst>
              <a:ext uri="{FF2B5EF4-FFF2-40B4-BE49-F238E27FC236}">
                <a16:creationId xmlns:a16="http://schemas.microsoft.com/office/drawing/2014/main" id="{C0E80877-A7B5-7E45-BF84-7E7335CB860A}"/>
              </a:ext>
            </a:extLst>
          </p:cNvPr>
          <p:cNvSpPr>
            <a:spLocks/>
          </p:cNvSpPr>
          <p:nvPr userDrawn="1">
            <p:custDataLst>
              <p:tags r:id="rId46"/>
            </p:custDataLst>
          </p:nvPr>
        </p:nvSpPr>
        <p:spPr bwMode="auto">
          <a:xfrm>
            <a:off x="5735502" y="3229909"/>
            <a:ext cx="8133" cy="51823"/>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5" name="Freeform 45">
            <a:extLst>
              <a:ext uri="{FF2B5EF4-FFF2-40B4-BE49-F238E27FC236}">
                <a16:creationId xmlns:a16="http://schemas.microsoft.com/office/drawing/2014/main" id="{EE47E0B3-0AA5-B74E-9CD9-AE4E7B20A323}"/>
              </a:ext>
            </a:extLst>
          </p:cNvPr>
          <p:cNvSpPr>
            <a:spLocks/>
          </p:cNvSpPr>
          <p:nvPr userDrawn="1">
            <p:custDataLst>
              <p:tags r:id="rId47"/>
            </p:custDataLst>
          </p:nvPr>
        </p:nvSpPr>
        <p:spPr bwMode="auto">
          <a:xfrm>
            <a:off x="5714355" y="3222712"/>
            <a:ext cx="11388" cy="5326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6" name="Freeform 46">
            <a:extLst>
              <a:ext uri="{FF2B5EF4-FFF2-40B4-BE49-F238E27FC236}">
                <a16:creationId xmlns:a16="http://schemas.microsoft.com/office/drawing/2014/main" id="{22654BA1-F8E9-C949-A531-B89ED314D3FB}"/>
              </a:ext>
            </a:extLst>
          </p:cNvPr>
          <p:cNvSpPr>
            <a:spLocks/>
          </p:cNvSpPr>
          <p:nvPr userDrawn="1">
            <p:custDataLst>
              <p:tags r:id="rId48"/>
            </p:custDataLst>
          </p:nvPr>
        </p:nvSpPr>
        <p:spPr bwMode="auto">
          <a:xfrm>
            <a:off x="5764783" y="3248624"/>
            <a:ext cx="14640" cy="54702"/>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7" name="Line 47">
            <a:extLst>
              <a:ext uri="{FF2B5EF4-FFF2-40B4-BE49-F238E27FC236}">
                <a16:creationId xmlns:a16="http://schemas.microsoft.com/office/drawing/2014/main" id="{5B136D02-63F6-3941-BD96-F81082A29572}"/>
              </a:ext>
            </a:extLst>
          </p:cNvPr>
          <p:cNvSpPr>
            <a:spLocks noChangeShapeType="1"/>
          </p:cNvSpPr>
          <p:nvPr userDrawn="1">
            <p:custDataLst>
              <p:tags r:id="rId49"/>
            </p:custDataLst>
          </p:nvPr>
        </p:nvSpPr>
        <p:spPr bwMode="auto">
          <a:xfrm flipH="1" flipV="1">
            <a:off x="5772915" y="3245744"/>
            <a:ext cx="6507" cy="86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8" name="Line 48">
            <a:extLst>
              <a:ext uri="{FF2B5EF4-FFF2-40B4-BE49-F238E27FC236}">
                <a16:creationId xmlns:a16="http://schemas.microsoft.com/office/drawing/2014/main" id="{5EF5A84A-A848-894C-9A82-558ED75C422D}"/>
              </a:ext>
            </a:extLst>
          </p:cNvPr>
          <p:cNvSpPr>
            <a:spLocks noChangeShapeType="1"/>
          </p:cNvSpPr>
          <p:nvPr userDrawn="1">
            <p:custDataLst>
              <p:tags r:id="rId50"/>
            </p:custDataLst>
          </p:nvPr>
        </p:nvSpPr>
        <p:spPr bwMode="auto">
          <a:xfrm flipH="1">
            <a:off x="5772915" y="3268775"/>
            <a:ext cx="6507" cy="100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9" name="Freeform 49">
            <a:extLst>
              <a:ext uri="{FF2B5EF4-FFF2-40B4-BE49-F238E27FC236}">
                <a16:creationId xmlns:a16="http://schemas.microsoft.com/office/drawing/2014/main" id="{AE989AF0-077A-AE4D-BF86-BCA2CD1CE67E}"/>
              </a:ext>
            </a:extLst>
          </p:cNvPr>
          <p:cNvSpPr>
            <a:spLocks/>
          </p:cNvSpPr>
          <p:nvPr userDrawn="1">
            <p:custDataLst>
              <p:tags r:id="rId51"/>
            </p:custDataLst>
          </p:nvPr>
        </p:nvSpPr>
        <p:spPr bwMode="auto">
          <a:xfrm>
            <a:off x="5772916" y="3264457"/>
            <a:ext cx="11388" cy="5326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0" name="Freeform 50">
            <a:extLst>
              <a:ext uri="{FF2B5EF4-FFF2-40B4-BE49-F238E27FC236}">
                <a16:creationId xmlns:a16="http://schemas.microsoft.com/office/drawing/2014/main" id="{62BB9730-6CBD-CF4A-B837-7DC487E4EC6D}"/>
              </a:ext>
            </a:extLst>
          </p:cNvPr>
          <p:cNvSpPr>
            <a:spLocks/>
          </p:cNvSpPr>
          <p:nvPr userDrawn="1">
            <p:custDataLst>
              <p:tags r:id="rId52"/>
            </p:custDataLst>
          </p:nvPr>
        </p:nvSpPr>
        <p:spPr bwMode="auto">
          <a:xfrm>
            <a:off x="5779423" y="3290368"/>
            <a:ext cx="17894" cy="5038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1" name="Freeform 51">
            <a:extLst>
              <a:ext uri="{FF2B5EF4-FFF2-40B4-BE49-F238E27FC236}">
                <a16:creationId xmlns:a16="http://schemas.microsoft.com/office/drawing/2014/main" id="{29E5FFD9-8F2F-A544-BA6B-A90A31DCA20C}"/>
              </a:ext>
            </a:extLst>
          </p:cNvPr>
          <p:cNvSpPr>
            <a:spLocks/>
          </p:cNvSpPr>
          <p:nvPr userDrawn="1">
            <p:custDataLst>
              <p:tags r:id="rId53"/>
            </p:custDataLst>
          </p:nvPr>
        </p:nvSpPr>
        <p:spPr bwMode="auto">
          <a:xfrm>
            <a:off x="5785930" y="3333553"/>
            <a:ext cx="16267" cy="51823"/>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2" name="Freeform 52">
            <a:extLst>
              <a:ext uri="{FF2B5EF4-FFF2-40B4-BE49-F238E27FC236}">
                <a16:creationId xmlns:a16="http://schemas.microsoft.com/office/drawing/2014/main" id="{063371BE-C102-554F-BD47-DCB8AC06AFDF}"/>
              </a:ext>
            </a:extLst>
          </p:cNvPr>
          <p:cNvSpPr>
            <a:spLocks/>
          </p:cNvSpPr>
          <p:nvPr userDrawn="1">
            <p:custDataLst>
              <p:tags r:id="rId54"/>
            </p:custDataLst>
          </p:nvPr>
        </p:nvSpPr>
        <p:spPr bwMode="auto">
          <a:xfrm>
            <a:off x="5795689" y="3356586"/>
            <a:ext cx="3254" cy="51823"/>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3" name="Freeform 53">
            <a:extLst>
              <a:ext uri="{FF2B5EF4-FFF2-40B4-BE49-F238E27FC236}">
                <a16:creationId xmlns:a16="http://schemas.microsoft.com/office/drawing/2014/main" id="{76FB6F45-8102-CD44-8305-D1C5998403D2}"/>
              </a:ext>
            </a:extLst>
          </p:cNvPr>
          <p:cNvSpPr>
            <a:spLocks/>
          </p:cNvSpPr>
          <p:nvPr userDrawn="1">
            <p:custDataLst>
              <p:tags r:id="rId55"/>
            </p:custDataLst>
          </p:nvPr>
        </p:nvSpPr>
        <p:spPr bwMode="auto">
          <a:xfrm>
            <a:off x="5818463" y="3383938"/>
            <a:ext cx="1627" cy="50383"/>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4" name="Freeform 54">
            <a:extLst>
              <a:ext uri="{FF2B5EF4-FFF2-40B4-BE49-F238E27FC236}">
                <a16:creationId xmlns:a16="http://schemas.microsoft.com/office/drawing/2014/main" id="{A9CAD65B-47F0-C546-98F7-D9A88F357286}"/>
              </a:ext>
            </a:extLst>
          </p:cNvPr>
          <p:cNvSpPr>
            <a:spLocks/>
          </p:cNvSpPr>
          <p:nvPr userDrawn="1">
            <p:custDataLst>
              <p:tags r:id="rId56"/>
            </p:custDataLst>
          </p:nvPr>
        </p:nvSpPr>
        <p:spPr bwMode="auto">
          <a:xfrm>
            <a:off x="5779423" y="3395453"/>
            <a:ext cx="16267" cy="5326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5" name="Freeform 55">
            <a:extLst>
              <a:ext uri="{FF2B5EF4-FFF2-40B4-BE49-F238E27FC236}">
                <a16:creationId xmlns:a16="http://schemas.microsoft.com/office/drawing/2014/main" id="{09C46B02-CEAD-6B44-BE92-583BBECE2054}"/>
              </a:ext>
            </a:extLst>
          </p:cNvPr>
          <p:cNvSpPr>
            <a:spLocks/>
          </p:cNvSpPr>
          <p:nvPr userDrawn="1">
            <p:custDataLst>
              <p:tags r:id="rId57"/>
            </p:custDataLst>
          </p:nvPr>
        </p:nvSpPr>
        <p:spPr bwMode="auto">
          <a:xfrm>
            <a:off x="5764782" y="3454473"/>
            <a:ext cx="24400" cy="51823"/>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6" name="Freeform 56">
            <a:extLst>
              <a:ext uri="{FF2B5EF4-FFF2-40B4-BE49-F238E27FC236}">
                <a16:creationId xmlns:a16="http://schemas.microsoft.com/office/drawing/2014/main" id="{5D00910D-9A79-DF40-BB7B-299763044044}"/>
              </a:ext>
            </a:extLst>
          </p:cNvPr>
          <p:cNvSpPr>
            <a:spLocks/>
          </p:cNvSpPr>
          <p:nvPr userDrawn="1">
            <p:custDataLst>
              <p:tags r:id="rId58"/>
            </p:custDataLst>
          </p:nvPr>
        </p:nvSpPr>
        <p:spPr bwMode="auto">
          <a:xfrm>
            <a:off x="5784303" y="3432881"/>
            <a:ext cx="13014" cy="51823"/>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7" name="Freeform 57">
            <a:extLst>
              <a:ext uri="{FF2B5EF4-FFF2-40B4-BE49-F238E27FC236}">
                <a16:creationId xmlns:a16="http://schemas.microsoft.com/office/drawing/2014/main" id="{E68F2081-34FC-6A40-8433-3E67DA257794}"/>
              </a:ext>
            </a:extLst>
          </p:cNvPr>
          <p:cNvSpPr>
            <a:spLocks/>
          </p:cNvSpPr>
          <p:nvPr userDrawn="1">
            <p:custDataLst>
              <p:tags r:id="rId59"/>
            </p:custDataLst>
          </p:nvPr>
        </p:nvSpPr>
        <p:spPr bwMode="auto">
          <a:xfrm>
            <a:off x="5253999" y="3134900"/>
            <a:ext cx="16267" cy="51823"/>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68" name="Group 58">
            <a:extLst>
              <a:ext uri="{FF2B5EF4-FFF2-40B4-BE49-F238E27FC236}">
                <a16:creationId xmlns:a16="http://schemas.microsoft.com/office/drawing/2014/main" id="{9FA24819-2805-A340-8E5E-58B2E6C12C34}"/>
              </a:ext>
            </a:extLst>
          </p:cNvPr>
          <p:cNvGrpSpPr>
            <a:grpSpLocks/>
          </p:cNvGrpSpPr>
          <p:nvPr userDrawn="1">
            <p:custDataLst>
              <p:tags r:id="rId60"/>
            </p:custDataLst>
          </p:nvPr>
        </p:nvGrpSpPr>
        <p:grpSpPr bwMode="auto">
          <a:xfrm>
            <a:off x="5382509" y="2983751"/>
            <a:ext cx="135016" cy="177061"/>
            <a:chOff x="1199" y="2121"/>
            <a:chExt cx="97" cy="123"/>
          </a:xfrm>
          <a:solidFill>
            <a:srgbClr val="DADADA"/>
          </a:solidFill>
        </p:grpSpPr>
        <p:sp>
          <p:nvSpPr>
            <p:cNvPr id="669" name="Freeform 59">
              <a:extLst>
                <a:ext uri="{FF2B5EF4-FFF2-40B4-BE49-F238E27FC236}">
                  <a16:creationId xmlns:a16="http://schemas.microsoft.com/office/drawing/2014/main" id="{6E7429A5-6462-864B-96B5-C181905D4AE8}"/>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0" name="Freeform 60">
              <a:extLst>
                <a:ext uri="{FF2B5EF4-FFF2-40B4-BE49-F238E27FC236}">
                  <a16:creationId xmlns:a16="http://schemas.microsoft.com/office/drawing/2014/main" id="{A7404DA0-BCA1-B74F-94F2-CEC40484EC0C}"/>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1" name="Freeform 61">
              <a:extLst>
                <a:ext uri="{FF2B5EF4-FFF2-40B4-BE49-F238E27FC236}">
                  <a16:creationId xmlns:a16="http://schemas.microsoft.com/office/drawing/2014/main" id="{542E445F-F3D0-8942-A20F-4F908C68C1BF}"/>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2" name="Freeform 62">
              <a:extLst>
                <a:ext uri="{FF2B5EF4-FFF2-40B4-BE49-F238E27FC236}">
                  <a16:creationId xmlns:a16="http://schemas.microsoft.com/office/drawing/2014/main" id="{DF2AFE73-B96E-DC40-92F1-A0B30FBE273F}"/>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3" name="Freeform 63">
              <a:extLst>
                <a:ext uri="{FF2B5EF4-FFF2-40B4-BE49-F238E27FC236}">
                  <a16:creationId xmlns:a16="http://schemas.microsoft.com/office/drawing/2014/main" id="{784E2478-2FCD-C743-A60B-67B6FDEAFFC0}"/>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4" name="Freeform 64">
              <a:extLst>
                <a:ext uri="{FF2B5EF4-FFF2-40B4-BE49-F238E27FC236}">
                  <a16:creationId xmlns:a16="http://schemas.microsoft.com/office/drawing/2014/main" id="{1A171202-9926-9543-A139-2234EDCFF293}"/>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5" name="Freeform 65">
              <a:extLst>
                <a:ext uri="{FF2B5EF4-FFF2-40B4-BE49-F238E27FC236}">
                  <a16:creationId xmlns:a16="http://schemas.microsoft.com/office/drawing/2014/main" id="{0125E148-2411-D647-A88A-AC058C79266A}"/>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6" name="Freeform 66">
              <a:extLst>
                <a:ext uri="{FF2B5EF4-FFF2-40B4-BE49-F238E27FC236}">
                  <a16:creationId xmlns:a16="http://schemas.microsoft.com/office/drawing/2014/main" id="{F6F2083A-FC6F-5F4E-8DCB-CAEAB047A9F4}"/>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7" name="Freeform 67">
              <a:extLst>
                <a:ext uri="{FF2B5EF4-FFF2-40B4-BE49-F238E27FC236}">
                  <a16:creationId xmlns:a16="http://schemas.microsoft.com/office/drawing/2014/main" id="{CE4523FF-1F98-794C-AB9F-BDB82B90082E}"/>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8" name="Freeform 68">
              <a:extLst>
                <a:ext uri="{FF2B5EF4-FFF2-40B4-BE49-F238E27FC236}">
                  <a16:creationId xmlns:a16="http://schemas.microsoft.com/office/drawing/2014/main" id="{CB0E6CE3-C650-2246-824E-FC8EC7F19FBB}"/>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79" name="Freeform 69">
            <a:extLst>
              <a:ext uri="{FF2B5EF4-FFF2-40B4-BE49-F238E27FC236}">
                <a16:creationId xmlns:a16="http://schemas.microsoft.com/office/drawing/2014/main" id="{114CF001-2D04-634F-8201-8E99ACBD596E}"/>
              </a:ext>
            </a:extLst>
          </p:cNvPr>
          <p:cNvSpPr>
            <a:spLocks/>
          </p:cNvSpPr>
          <p:nvPr userDrawn="1">
            <p:custDataLst>
              <p:tags r:id="rId61"/>
            </p:custDataLst>
          </p:nvPr>
        </p:nvSpPr>
        <p:spPr bwMode="auto">
          <a:xfrm>
            <a:off x="11339475" y="4277876"/>
            <a:ext cx="13014" cy="51823"/>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0" name="Freeform 70">
            <a:extLst>
              <a:ext uri="{FF2B5EF4-FFF2-40B4-BE49-F238E27FC236}">
                <a16:creationId xmlns:a16="http://schemas.microsoft.com/office/drawing/2014/main" id="{1E931F9C-11EC-9545-B6EA-D8920E6ED7D9}"/>
              </a:ext>
            </a:extLst>
          </p:cNvPr>
          <p:cNvSpPr>
            <a:spLocks/>
          </p:cNvSpPr>
          <p:nvPr userDrawn="1">
            <p:custDataLst>
              <p:tags r:id="rId62"/>
            </p:custDataLst>
          </p:nvPr>
        </p:nvSpPr>
        <p:spPr bwMode="auto">
          <a:xfrm>
            <a:off x="11349237" y="4359931"/>
            <a:ext cx="9761" cy="5326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1" name="Freeform 71">
            <a:extLst>
              <a:ext uri="{FF2B5EF4-FFF2-40B4-BE49-F238E27FC236}">
                <a16:creationId xmlns:a16="http://schemas.microsoft.com/office/drawing/2014/main" id="{2B5B2794-B37F-F143-8F0E-434490E4A495}"/>
              </a:ext>
            </a:extLst>
          </p:cNvPr>
          <p:cNvSpPr>
            <a:spLocks/>
          </p:cNvSpPr>
          <p:nvPr userDrawn="1">
            <p:custDataLst>
              <p:tags r:id="rId63"/>
            </p:custDataLst>
          </p:nvPr>
        </p:nvSpPr>
        <p:spPr bwMode="auto">
          <a:xfrm>
            <a:off x="11466357" y="4277877"/>
            <a:ext cx="79709" cy="118041"/>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2" name="Freeform 72">
            <a:extLst>
              <a:ext uri="{FF2B5EF4-FFF2-40B4-BE49-F238E27FC236}">
                <a16:creationId xmlns:a16="http://schemas.microsoft.com/office/drawing/2014/main" id="{DCFA67F8-6C42-3842-AAFA-F51DF3FFA03B}"/>
              </a:ext>
            </a:extLst>
          </p:cNvPr>
          <p:cNvSpPr>
            <a:spLocks/>
          </p:cNvSpPr>
          <p:nvPr userDrawn="1">
            <p:custDataLst>
              <p:tags r:id="rId64"/>
            </p:custDataLst>
          </p:nvPr>
        </p:nvSpPr>
        <p:spPr bwMode="auto">
          <a:xfrm>
            <a:off x="11466357" y="4253406"/>
            <a:ext cx="14640" cy="51823"/>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83" name="Group 73">
            <a:extLst>
              <a:ext uri="{FF2B5EF4-FFF2-40B4-BE49-F238E27FC236}">
                <a16:creationId xmlns:a16="http://schemas.microsoft.com/office/drawing/2014/main" id="{94BDFE15-B7E0-654A-9774-E63A2E5F173B}"/>
              </a:ext>
            </a:extLst>
          </p:cNvPr>
          <p:cNvGrpSpPr>
            <a:grpSpLocks/>
          </p:cNvGrpSpPr>
          <p:nvPr userDrawn="1">
            <p:custDataLst>
              <p:tags r:id="rId65"/>
            </p:custDataLst>
          </p:nvPr>
        </p:nvGrpSpPr>
        <p:grpSpPr bwMode="auto">
          <a:xfrm>
            <a:off x="11149153" y="4725567"/>
            <a:ext cx="470115" cy="367077"/>
            <a:chOff x="5372" y="3323"/>
            <a:chExt cx="341" cy="253"/>
          </a:xfrm>
          <a:solidFill>
            <a:srgbClr val="DADADA"/>
          </a:solidFill>
        </p:grpSpPr>
        <p:sp>
          <p:nvSpPr>
            <p:cNvPr id="684" name="Freeform 74">
              <a:extLst>
                <a:ext uri="{FF2B5EF4-FFF2-40B4-BE49-F238E27FC236}">
                  <a16:creationId xmlns:a16="http://schemas.microsoft.com/office/drawing/2014/main" id="{B3FE8F8E-E480-AC4C-A0CC-35E8D0361A07}"/>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5" name="Freeform 75">
              <a:extLst>
                <a:ext uri="{FF2B5EF4-FFF2-40B4-BE49-F238E27FC236}">
                  <a16:creationId xmlns:a16="http://schemas.microsoft.com/office/drawing/2014/main" id="{346F195F-6AF4-E84D-9F0D-B0CF20A065B7}"/>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6" name="Freeform 76">
              <a:extLst>
                <a:ext uri="{FF2B5EF4-FFF2-40B4-BE49-F238E27FC236}">
                  <a16:creationId xmlns:a16="http://schemas.microsoft.com/office/drawing/2014/main" id="{D6AB982B-413D-2040-9D96-84AC81AE2A06}"/>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87" name="Freeform 77">
            <a:extLst>
              <a:ext uri="{FF2B5EF4-FFF2-40B4-BE49-F238E27FC236}">
                <a16:creationId xmlns:a16="http://schemas.microsoft.com/office/drawing/2014/main" id="{C5D453B6-A7A0-D741-B52E-EEDE726CDD71}"/>
              </a:ext>
            </a:extLst>
          </p:cNvPr>
          <p:cNvSpPr>
            <a:spLocks/>
          </p:cNvSpPr>
          <p:nvPr userDrawn="1">
            <p:custDataLst>
              <p:tags r:id="rId66"/>
            </p:custDataLst>
          </p:nvPr>
        </p:nvSpPr>
        <p:spPr bwMode="auto">
          <a:xfrm>
            <a:off x="10783146" y="3507736"/>
            <a:ext cx="9761" cy="51823"/>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8" name="Freeform 78">
            <a:extLst>
              <a:ext uri="{FF2B5EF4-FFF2-40B4-BE49-F238E27FC236}">
                <a16:creationId xmlns:a16="http://schemas.microsoft.com/office/drawing/2014/main" id="{7A080380-B443-AD44-B693-D96B40302521}"/>
              </a:ext>
            </a:extLst>
          </p:cNvPr>
          <p:cNvSpPr>
            <a:spLocks/>
          </p:cNvSpPr>
          <p:nvPr userDrawn="1">
            <p:custDataLst>
              <p:tags r:id="rId67"/>
            </p:custDataLst>
          </p:nvPr>
        </p:nvSpPr>
        <p:spPr bwMode="auto">
          <a:xfrm>
            <a:off x="11528172" y="4325381"/>
            <a:ext cx="14640" cy="51823"/>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9" name="Freeform 79">
            <a:extLst>
              <a:ext uri="{FF2B5EF4-FFF2-40B4-BE49-F238E27FC236}">
                <a16:creationId xmlns:a16="http://schemas.microsoft.com/office/drawing/2014/main" id="{1EC82995-766C-F74D-A85C-5006817BBA3F}"/>
              </a:ext>
            </a:extLst>
          </p:cNvPr>
          <p:cNvSpPr>
            <a:spLocks/>
          </p:cNvSpPr>
          <p:nvPr userDrawn="1">
            <p:custDataLst>
              <p:tags r:id="rId68"/>
            </p:custDataLst>
          </p:nvPr>
        </p:nvSpPr>
        <p:spPr bwMode="auto">
          <a:xfrm>
            <a:off x="11550946" y="4334019"/>
            <a:ext cx="17894" cy="5326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0" name="Freeform 80">
            <a:extLst>
              <a:ext uri="{FF2B5EF4-FFF2-40B4-BE49-F238E27FC236}">
                <a16:creationId xmlns:a16="http://schemas.microsoft.com/office/drawing/2014/main" id="{D4F2F2D4-395D-F04A-8685-9AB90AB9E941}"/>
              </a:ext>
            </a:extLst>
          </p:cNvPr>
          <p:cNvSpPr>
            <a:spLocks/>
          </p:cNvSpPr>
          <p:nvPr userDrawn="1">
            <p:custDataLst>
              <p:tags r:id="rId69"/>
            </p:custDataLst>
          </p:nvPr>
        </p:nvSpPr>
        <p:spPr bwMode="auto">
          <a:xfrm>
            <a:off x="10848212" y="3497659"/>
            <a:ext cx="1627" cy="5038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1" name="Freeform 81">
            <a:extLst>
              <a:ext uri="{FF2B5EF4-FFF2-40B4-BE49-F238E27FC236}">
                <a16:creationId xmlns:a16="http://schemas.microsoft.com/office/drawing/2014/main" id="{73737B08-EE87-904E-9E29-AC479DAADF73}"/>
              </a:ext>
            </a:extLst>
          </p:cNvPr>
          <p:cNvSpPr>
            <a:spLocks/>
          </p:cNvSpPr>
          <p:nvPr userDrawn="1">
            <p:custDataLst>
              <p:tags r:id="rId70"/>
            </p:custDataLst>
          </p:nvPr>
        </p:nvSpPr>
        <p:spPr bwMode="auto">
          <a:xfrm>
            <a:off x="10908400" y="3447275"/>
            <a:ext cx="6507" cy="51823"/>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2" name="Freeform 82">
            <a:extLst>
              <a:ext uri="{FF2B5EF4-FFF2-40B4-BE49-F238E27FC236}">
                <a16:creationId xmlns:a16="http://schemas.microsoft.com/office/drawing/2014/main" id="{23C234CB-EA4D-6049-9BB3-A33D6014A4D5}"/>
              </a:ext>
            </a:extLst>
          </p:cNvPr>
          <p:cNvSpPr>
            <a:spLocks/>
          </p:cNvSpPr>
          <p:nvPr userDrawn="1">
            <p:custDataLst>
              <p:tags r:id="rId71"/>
            </p:custDataLst>
          </p:nvPr>
        </p:nvSpPr>
        <p:spPr bwMode="auto">
          <a:xfrm>
            <a:off x="11023897" y="3346509"/>
            <a:ext cx="4881" cy="51823"/>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3" name="Freeform 83">
            <a:extLst>
              <a:ext uri="{FF2B5EF4-FFF2-40B4-BE49-F238E27FC236}">
                <a16:creationId xmlns:a16="http://schemas.microsoft.com/office/drawing/2014/main" id="{22FB2298-B71F-3A4E-AA4A-33EA1087D7DF}"/>
              </a:ext>
            </a:extLst>
          </p:cNvPr>
          <p:cNvSpPr>
            <a:spLocks/>
          </p:cNvSpPr>
          <p:nvPr userDrawn="1">
            <p:custDataLst>
              <p:tags r:id="rId72"/>
            </p:custDataLst>
          </p:nvPr>
        </p:nvSpPr>
        <p:spPr bwMode="auto">
          <a:xfrm>
            <a:off x="11180059" y="3979898"/>
            <a:ext cx="27654" cy="5326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4" name="Freeform 84">
            <a:extLst>
              <a:ext uri="{FF2B5EF4-FFF2-40B4-BE49-F238E27FC236}">
                <a16:creationId xmlns:a16="http://schemas.microsoft.com/office/drawing/2014/main" id="{942049AD-4C99-9145-BD89-6A24D0CCC585}"/>
              </a:ext>
            </a:extLst>
          </p:cNvPr>
          <p:cNvSpPr>
            <a:spLocks/>
          </p:cNvSpPr>
          <p:nvPr userDrawn="1">
            <p:custDataLst>
              <p:tags r:id="rId73"/>
            </p:custDataLst>
          </p:nvPr>
        </p:nvSpPr>
        <p:spPr bwMode="auto">
          <a:xfrm>
            <a:off x="11245126" y="3992852"/>
            <a:ext cx="13014" cy="51823"/>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5" name="Freeform 85">
            <a:extLst>
              <a:ext uri="{FF2B5EF4-FFF2-40B4-BE49-F238E27FC236}">
                <a16:creationId xmlns:a16="http://schemas.microsoft.com/office/drawing/2014/main" id="{B65C7B49-D4A2-A642-81E9-F27551963633}"/>
              </a:ext>
            </a:extLst>
          </p:cNvPr>
          <p:cNvSpPr>
            <a:spLocks/>
          </p:cNvSpPr>
          <p:nvPr userDrawn="1">
            <p:custDataLst>
              <p:tags r:id="rId74"/>
            </p:custDataLst>
          </p:nvPr>
        </p:nvSpPr>
        <p:spPr bwMode="auto">
          <a:xfrm>
            <a:off x="11098724" y="3789881"/>
            <a:ext cx="26027" cy="50383"/>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6" name="Freeform 86">
            <a:extLst>
              <a:ext uri="{FF2B5EF4-FFF2-40B4-BE49-F238E27FC236}">
                <a16:creationId xmlns:a16="http://schemas.microsoft.com/office/drawing/2014/main" id="{D88DDE31-4767-9848-80FA-DB1821A5458D}"/>
              </a:ext>
            </a:extLst>
          </p:cNvPr>
          <p:cNvSpPr>
            <a:spLocks/>
          </p:cNvSpPr>
          <p:nvPr userDrawn="1">
            <p:custDataLst>
              <p:tags r:id="rId75"/>
            </p:custDataLst>
          </p:nvPr>
        </p:nvSpPr>
        <p:spPr bwMode="auto">
          <a:xfrm>
            <a:off x="11040164" y="3766848"/>
            <a:ext cx="11388" cy="51823"/>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7" name="Freeform 87">
            <a:extLst>
              <a:ext uri="{FF2B5EF4-FFF2-40B4-BE49-F238E27FC236}">
                <a16:creationId xmlns:a16="http://schemas.microsoft.com/office/drawing/2014/main" id="{DA4C610B-DEB6-6949-9C6D-CF006F8A0F47}"/>
              </a:ext>
            </a:extLst>
          </p:cNvPr>
          <p:cNvSpPr>
            <a:spLocks/>
          </p:cNvSpPr>
          <p:nvPr userDrawn="1">
            <p:custDataLst>
              <p:tags r:id="rId76"/>
            </p:custDataLst>
          </p:nvPr>
        </p:nvSpPr>
        <p:spPr bwMode="auto">
          <a:xfrm>
            <a:off x="11245126" y="4067707"/>
            <a:ext cx="32534" cy="51823"/>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8" name="Freeform 88">
            <a:extLst>
              <a:ext uri="{FF2B5EF4-FFF2-40B4-BE49-F238E27FC236}">
                <a16:creationId xmlns:a16="http://schemas.microsoft.com/office/drawing/2014/main" id="{56ECA60D-FEF2-4649-B4DB-83DA9AEC7CFA}"/>
              </a:ext>
            </a:extLst>
          </p:cNvPr>
          <p:cNvSpPr>
            <a:spLocks/>
          </p:cNvSpPr>
          <p:nvPr userDrawn="1">
            <p:custDataLst>
              <p:tags r:id="rId77"/>
            </p:custDataLst>
          </p:nvPr>
        </p:nvSpPr>
        <p:spPr bwMode="auto">
          <a:xfrm>
            <a:off x="11199580" y="4057631"/>
            <a:ext cx="22774" cy="51823"/>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9" name="Line 89">
            <a:extLst>
              <a:ext uri="{FF2B5EF4-FFF2-40B4-BE49-F238E27FC236}">
                <a16:creationId xmlns:a16="http://schemas.microsoft.com/office/drawing/2014/main" id="{0565B486-49C8-6449-AAE5-848F7A44609E}"/>
              </a:ext>
            </a:extLst>
          </p:cNvPr>
          <p:cNvSpPr>
            <a:spLocks noChangeShapeType="1"/>
          </p:cNvSpPr>
          <p:nvPr userDrawn="1">
            <p:custDataLst>
              <p:tags r:id="rId78"/>
            </p:custDataLst>
          </p:nvPr>
        </p:nvSpPr>
        <p:spPr bwMode="auto">
          <a:xfrm>
            <a:off x="11233742" y="4044675"/>
            <a:ext cx="21146" cy="575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0" name="Freeform 90">
            <a:extLst>
              <a:ext uri="{FF2B5EF4-FFF2-40B4-BE49-F238E27FC236}">
                <a16:creationId xmlns:a16="http://schemas.microsoft.com/office/drawing/2014/main" id="{2B88CCEE-30C8-5F40-B15F-7ED62297536C}"/>
              </a:ext>
            </a:extLst>
          </p:cNvPr>
          <p:cNvSpPr>
            <a:spLocks/>
          </p:cNvSpPr>
          <p:nvPr userDrawn="1">
            <p:custDataLst>
              <p:tags r:id="rId79"/>
            </p:custDataLst>
          </p:nvPr>
        </p:nvSpPr>
        <p:spPr bwMode="auto">
          <a:xfrm>
            <a:off x="11254887" y="4050433"/>
            <a:ext cx="1627" cy="51823"/>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1" name="Freeform 91">
            <a:extLst>
              <a:ext uri="{FF2B5EF4-FFF2-40B4-BE49-F238E27FC236}">
                <a16:creationId xmlns:a16="http://schemas.microsoft.com/office/drawing/2014/main" id="{AA822BD1-EA1F-D641-BDE6-BA83DD17B89E}"/>
              </a:ext>
            </a:extLst>
          </p:cNvPr>
          <p:cNvSpPr>
            <a:spLocks/>
          </p:cNvSpPr>
          <p:nvPr userDrawn="1">
            <p:custDataLst>
              <p:tags r:id="rId80"/>
            </p:custDataLst>
          </p:nvPr>
        </p:nvSpPr>
        <p:spPr bwMode="auto">
          <a:xfrm>
            <a:off x="11207714" y="4044675"/>
            <a:ext cx="14640" cy="5326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2" name="Freeform 92">
            <a:extLst>
              <a:ext uri="{FF2B5EF4-FFF2-40B4-BE49-F238E27FC236}">
                <a16:creationId xmlns:a16="http://schemas.microsoft.com/office/drawing/2014/main" id="{B67172EF-C80C-2B4C-84B4-B5EBB16F0C05}"/>
              </a:ext>
            </a:extLst>
          </p:cNvPr>
          <p:cNvSpPr>
            <a:spLocks/>
          </p:cNvSpPr>
          <p:nvPr userDrawn="1">
            <p:custDataLst>
              <p:tags r:id="rId81"/>
            </p:custDataLst>
          </p:nvPr>
        </p:nvSpPr>
        <p:spPr bwMode="auto">
          <a:xfrm>
            <a:off x="11201206" y="4027402"/>
            <a:ext cx="6507" cy="54702"/>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3" name="Freeform 93">
            <a:extLst>
              <a:ext uri="{FF2B5EF4-FFF2-40B4-BE49-F238E27FC236}">
                <a16:creationId xmlns:a16="http://schemas.microsoft.com/office/drawing/2014/main" id="{72106E8A-BC57-B840-96BD-C918FE8E35C3}"/>
              </a:ext>
            </a:extLst>
          </p:cNvPr>
          <p:cNvSpPr>
            <a:spLocks/>
          </p:cNvSpPr>
          <p:nvPr userDrawn="1">
            <p:custDataLst>
              <p:tags r:id="rId82"/>
            </p:custDataLst>
          </p:nvPr>
        </p:nvSpPr>
        <p:spPr bwMode="auto">
          <a:xfrm>
            <a:off x="11284167" y="3779803"/>
            <a:ext cx="1627" cy="51823"/>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04" name="Group 94">
            <a:extLst>
              <a:ext uri="{FF2B5EF4-FFF2-40B4-BE49-F238E27FC236}">
                <a16:creationId xmlns:a16="http://schemas.microsoft.com/office/drawing/2014/main" id="{7179CA8F-52AB-804D-A98A-83E1A8461F45}"/>
              </a:ext>
            </a:extLst>
          </p:cNvPr>
          <p:cNvGrpSpPr>
            <a:grpSpLocks/>
          </p:cNvGrpSpPr>
          <p:nvPr userDrawn="1">
            <p:custDataLst>
              <p:tags r:id="rId83"/>
            </p:custDataLst>
          </p:nvPr>
        </p:nvGrpSpPr>
        <p:grpSpPr bwMode="auto">
          <a:xfrm>
            <a:off x="11155658" y="3481824"/>
            <a:ext cx="167549" cy="103645"/>
            <a:chOff x="5379" y="2466"/>
            <a:chExt cx="122" cy="71"/>
          </a:xfrm>
          <a:solidFill>
            <a:srgbClr val="DADADA"/>
          </a:solidFill>
        </p:grpSpPr>
        <p:sp>
          <p:nvSpPr>
            <p:cNvPr id="705" name="Freeform 95">
              <a:extLst>
                <a:ext uri="{FF2B5EF4-FFF2-40B4-BE49-F238E27FC236}">
                  <a16:creationId xmlns:a16="http://schemas.microsoft.com/office/drawing/2014/main" id="{20EBA164-0D93-FD4E-89AB-AF7E84CE15F7}"/>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6" name="Freeform 96">
              <a:extLst>
                <a:ext uri="{FF2B5EF4-FFF2-40B4-BE49-F238E27FC236}">
                  <a16:creationId xmlns:a16="http://schemas.microsoft.com/office/drawing/2014/main" id="{4F3D3F36-8F31-5D4E-ACE6-36B165D776CE}"/>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7" name="Freeform 97">
              <a:extLst>
                <a:ext uri="{FF2B5EF4-FFF2-40B4-BE49-F238E27FC236}">
                  <a16:creationId xmlns:a16="http://schemas.microsoft.com/office/drawing/2014/main" id="{E47EA50A-9B2C-E445-8133-712BE1B33987}"/>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8" name="Freeform 98">
              <a:extLst>
                <a:ext uri="{FF2B5EF4-FFF2-40B4-BE49-F238E27FC236}">
                  <a16:creationId xmlns:a16="http://schemas.microsoft.com/office/drawing/2014/main" id="{D8A942A9-6A7A-AB4D-9070-BB29C9355C6A}"/>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9" name="Freeform 99">
              <a:extLst>
                <a:ext uri="{FF2B5EF4-FFF2-40B4-BE49-F238E27FC236}">
                  <a16:creationId xmlns:a16="http://schemas.microsoft.com/office/drawing/2014/main" id="{4497ACEA-BE51-9944-ABC2-2CD7881D967C}"/>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0" name="Line 100">
              <a:extLst>
                <a:ext uri="{FF2B5EF4-FFF2-40B4-BE49-F238E27FC236}">
                  <a16:creationId xmlns:a16="http://schemas.microsoft.com/office/drawing/2014/main" id="{CC63598C-E9E9-A14A-A799-1DAA3FB6E951}"/>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1" name="Freeform 101">
              <a:extLst>
                <a:ext uri="{FF2B5EF4-FFF2-40B4-BE49-F238E27FC236}">
                  <a16:creationId xmlns:a16="http://schemas.microsoft.com/office/drawing/2014/main" id="{FE4C3677-BEA0-3443-B13D-AD91D000CC5B}"/>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2" name="Line 102">
              <a:extLst>
                <a:ext uri="{FF2B5EF4-FFF2-40B4-BE49-F238E27FC236}">
                  <a16:creationId xmlns:a16="http://schemas.microsoft.com/office/drawing/2014/main" id="{880CDE0F-8D2E-6C4F-8378-C144E2F470ED}"/>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3" name="Freeform 103">
              <a:extLst>
                <a:ext uri="{FF2B5EF4-FFF2-40B4-BE49-F238E27FC236}">
                  <a16:creationId xmlns:a16="http://schemas.microsoft.com/office/drawing/2014/main" id="{4121E3DF-7392-974D-BFC0-1357E13E32E7}"/>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14" name="Freeform 104">
            <a:extLst>
              <a:ext uri="{FF2B5EF4-FFF2-40B4-BE49-F238E27FC236}">
                <a16:creationId xmlns:a16="http://schemas.microsoft.com/office/drawing/2014/main" id="{3A32AB54-C71C-FE4D-B26D-774D4F6DC173}"/>
              </a:ext>
            </a:extLst>
          </p:cNvPr>
          <p:cNvSpPr>
            <a:spLocks/>
          </p:cNvSpPr>
          <p:nvPr userDrawn="1">
            <p:custDataLst>
              <p:tags r:id="rId84"/>
            </p:custDataLst>
          </p:nvPr>
        </p:nvSpPr>
        <p:spPr bwMode="auto">
          <a:xfrm>
            <a:off x="9704644" y="3356586"/>
            <a:ext cx="6507" cy="51823"/>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5" name="Freeform 106">
            <a:extLst>
              <a:ext uri="{FF2B5EF4-FFF2-40B4-BE49-F238E27FC236}">
                <a16:creationId xmlns:a16="http://schemas.microsoft.com/office/drawing/2014/main" id="{25026F3B-F801-6F45-B6E9-B0F1382E84D2}"/>
              </a:ext>
            </a:extLst>
          </p:cNvPr>
          <p:cNvSpPr>
            <a:spLocks/>
          </p:cNvSpPr>
          <p:nvPr userDrawn="1">
            <p:custDataLst>
              <p:tags r:id="rId85"/>
            </p:custDataLst>
          </p:nvPr>
        </p:nvSpPr>
        <p:spPr bwMode="auto">
          <a:xfrm>
            <a:off x="8886416" y="5150225"/>
            <a:ext cx="30908" cy="5038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6" name="Freeform 107">
            <a:extLst>
              <a:ext uri="{FF2B5EF4-FFF2-40B4-BE49-F238E27FC236}">
                <a16:creationId xmlns:a16="http://schemas.microsoft.com/office/drawing/2014/main" id="{FBB3D540-91CD-0346-B3FF-6882B44E6EAC}"/>
              </a:ext>
            </a:extLst>
          </p:cNvPr>
          <p:cNvSpPr>
            <a:spLocks/>
          </p:cNvSpPr>
          <p:nvPr userDrawn="1">
            <p:custDataLst>
              <p:tags r:id="rId86"/>
            </p:custDataLst>
          </p:nvPr>
        </p:nvSpPr>
        <p:spPr bwMode="auto">
          <a:xfrm>
            <a:off x="11093846" y="2222246"/>
            <a:ext cx="21146" cy="51823"/>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7" name="Freeform 108">
            <a:extLst>
              <a:ext uri="{FF2B5EF4-FFF2-40B4-BE49-F238E27FC236}">
                <a16:creationId xmlns:a16="http://schemas.microsoft.com/office/drawing/2014/main" id="{57C92C2B-FAF8-9B49-BC48-E5D9548F848A}"/>
              </a:ext>
            </a:extLst>
          </p:cNvPr>
          <p:cNvSpPr>
            <a:spLocks/>
          </p:cNvSpPr>
          <p:nvPr userDrawn="1">
            <p:custDataLst>
              <p:tags r:id="rId87"/>
            </p:custDataLst>
          </p:nvPr>
        </p:nvSpPr>
        <p:spPr bwMode="auto">
          <a:xfrm>
            <a:off x="11274408" y="2252477"/>
            <a:ext cx="16267" cy="51823"/>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8" name="Freeform 109">
            <a:extLst>
              <a:ext uri="{FF2B5EF4-FFF2-40B4-BE49-F238E27FC236}">
                <a16:creationId xmlns:a16="http://schemas.microsoft.com/office/drawing/2014/main" id="{8F21207B-D4B1-E345-AEF1-6FB6D5A0257B}"/>
              </a:ext>
            </a:extLst>
          </p:cNvPr>
          <p:cNvSpPr>
            <a:spLocks/>
          </p:cNvSpPr>
          <p:nvPr userDrawn="1">
            <p:custDataLst>
              <p:tags r:id="rId88"/>
            </p:custDataLst>
          </p:nvPr>
        </p:nvSpPr>
        <p:spPr bwMode="auto">
          <a:xfrm>
            <a:off x="10709943" y="2461207"/>
            <a:ext cx="4880" cy="5326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9" name="Freeform 110">
            <a:extLst>
              <a:ext uri="{FF2B5EF4-FFF2-40B4-BE49-F238E27FC236}">
                <a16:creationId xmlns:a16="http://schemas.microsoft.com/office/drawing/2014/main" id="{BDAB1A14-7B18-F74F-9F21-EA4937C678E4}"/>
              </a:ext>
            </a:extLst>
          </p:cNvPr>
          <p:cNvSpPr>
            <a:spLocks/>
          </p:cNvSpPr>
          <p:nvPr userDrawn="1">
            <p:custDataLst>
              <p:tags r:id="rId89"/>
            </p:custDataLst>
          </p:nvPr>
        </p:nvSpPr>
        <p:spPr bwMode="auto">
          <a:xfrm>
            <a:off x="10519619" y="2970795"/>
            <a:ext cx="14640" cy="5326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0" name="Freeform 111">
            <a:extLst>
              <a:ext uri="{FF2B5EF4-FFF2-40B4-BE49-F238E27FC236}">
                <a16:creationId xmlns:a16="http://schemas.microsoft.com/office/drawing/2014/main" id="{799FA266-666A-B84B-A71E-A50FB6F15411}"/>
              </a:ext>
            </a:extLst>
          </p:cNvPr>
          <p:cNvSpPr>
            <a:spLocks/>
          </p:cNvSpPr>
          <p:nvPr userDrawn="1">
            <p:custDataLst>
              <p:tags r:id="rId90"/>
            </p:custDataLst>
          </p:nvPr>
        </p:nvSpPr>
        <p:spPr bwMode="auto">
          <a:xfrm>
            <a:off x="10537514" y="2911775"/>
            <a:ext cx="16267" cy="51823"/>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1" name="Freeform 112">
            <a:extLst>
              <a:ext uri="{FF2B5EF4-FFF2-40B4-BE49-F238E27FC236}">
                <a16:creationId xmlns:a16="http://schemas.microsoft.com/office/drawing/2014/main" id="{5713371F-25D8-3D43-B660-D601AB32ECE5}"/>
              </a:ext>
            </a:extLst>
          </p:cNvPr>
          <p:cNvSpPr>
            <a:spLocks/>
          </p:cNvSpPr>
          <p:nvPr userDrawn="1">
            <p:custDataLst>
              <p:tags r:id="rId91"/>
            </p:custDataLst>
          </p:nvPr>
        </p:nvSpPr>
        <p:spPr bwMode="auto">
          <a:xfrm>
            <a:off x="10423645" y="2775021"/>
            <a:ext cx="1626" cy="54702"/>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2" name="Freeform 113">
            <a:extLst>
              <a:ext uri="{FF2B5EF4-FFF2-40B4-BE49-F238E27FC236}">
                <a16:creationId xmlns:a16="http://schemas.microsoft.com/office/drawing/2014/main" id="{8B29C987-DF57-AA4D-BAC4-640DCBA32523}"/>
              </a:ext>
            </a:extLst>
          </p:cNvPr>
          <p:cNvSpPr>
            <a:spLocks/>
          </p:cNvSpPr>
          <p:nvPr userDrawn="1">
            <p:custDataLst>
              <p:tags r:id="rId92"/>
            </p:custDataLst>
          </p:nvPr>
        </p:nvSpPr>
        <p:spPr bwMode="auto">
          <a:xfrm>
            <a:off x="7197904" y="1983286"/>
            <a:ext cx="9761" cy="51823"/>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3" name="Freeform 114">
            <a:extLst>
              <a:ext uri="{FF2B5EF4-FFF2-40B4-BE49-F238E27FC236}">
                <a16:creationId xmlns:a16="http://schemas.microsoft.com/office/drawing/2014/main" id="{5093787F-CA94-4E4B-A33C-D509D8C59DA6}"/>
              </a:ext>
            </a:extLst>
          </p:cNvPr>
          <p:cNvSpPr>
            <a:spLocks/>
          </p:cNvSpPr>
          <p:nvPr userDrawn="1">
            <p:custDataLst>
              <p:tags r:id="rId93"/>
            </p:custDataLst>
          </p:nvPr>
        </p:nvSpPr>
        <p:spPr bwMode="auto">
          <a:xfrm>
            <a:off x="7183263" y="1773117"/>
            <a:ext cx="3254" cy="51823"/>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4" name="Freeform 115">
            <a:extLst>
              <a:ext uri="{FF2B5EF4-FFF2-40B4-BE49-F238E27FC236}">
                <a16:creationId xmlns:a16="http://schemas.microsoft.com/office/drawing/2014/main" id="{10D4CC0E-8F56-3848-A817-66852E83A7A7}"/>
              </a:ext>
            </a:extLst>
          </p:cNvPr>
          <p:cNvSpPr>
            <a:spLocks/>
          </p:cNvSpPr>
          <p:nvPr userDrawn="1">
            <p:custDataLst>
              <p:tags r:id="rId94"/>
            </p:custDataLst>
          </p:nvPr>
        </p:nvSpPr>
        <p:spPr bwMode="auto">
          <a:xfrm>
            <a:off x="8700971" y="3385377"/>
            <a:ext cx="26027" cy="5038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5" name="Freeform 116">
            <a:extLst>
              <a:ext uri="{FF2B5EF4-FFF2-40B4-BE49-F238E27FC236}">
                <a16:creationId xmlns:a16="http://schemas.microsoft.com/office/drawing/2014/main" id="{7393EB3E-357E-044C-8D29-CDCF457374B8}"/>
              </a:ext>
            </a:extLst>
          </p:cNvPr>
          <p:cNvSpPr>
            <a:spLocks/>
          </p:cNvSpPr>
          <p:nvPr userDrawn="1">
            <p:custDataLst>
              <p:tags r:id="rId95"/>
            </p:custDataLst>
          </p:nvPr>
        </p:nvSpPr>
        <p:spPr bwMode="auto">
          <a:xfrm>
            <a:off x="8396779" y="3260139"/>
            <a:ext cx="19520" cy="5326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26" name="Group 117">
            <a:extLst>
              <a:ext uri="{FF2B5EF4-FFF2-40B4-BE49-F238E27FC236}">
                <a16:creationId xmlns:a16="http://schemas.microsoft.com/office/drawing/2014/main" id="{38C1B936-15DF-B84E-9E74-8E3142A26782}"/>
              </a:ext>
            </a:extLst>
          </p:cNvPr>
          <p:cNvGrpSpPr>
            <a:grpSpLocks/>
          </p:cNvGrpSpPr>
          <p:nvPr userDrawn="1">
            <p:custDataLst>
              <p:tags r:id="rId96"/>
            </p:custDataLst>
          </p:nvPr>
        </p:nvGrpSpPr>
        <p:grpSpPr bwMode="auto">
          <a:xfrm>
            <a:off x="9187355" y="3430001"/>
            <a:ext cx="47173" cy="339727"/>
            <a:chOff x="3950" y="2430"/>
            <a:chExt cx="36" cy="234"/>
          </a:xfrm>
          <a:solidFill>
            <a:srgbClr val="DADADA"/>
          </a:solidFill>
        </p:grpSpPr>
        <p:sp>
          <p:nvSpPr>
            <p:cNvPr id="727" name="Freeform 118">
              <a:extLst>
                <a:ext uri="{FF2B5EF4-FFF2-40B4-BE49-F238E27FC236}">
                  <a16:creationId xmlns:a16="http://schemas.microsoft.com/office/drawing/2014/main" id="{FECB1B26-4DD8-3749-B557-D6CC9AE0889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8" name="Freeform 119">
              <a:extLst>
                <a:ext uri="{FF2B5EF4-FFF2-40B4-BE49-F238E27FC236}">
                  <a16:creationId xmlns:a16="http://schemas.microsoft.com/office/drawing/2014/main" id="{72A5D1B8-2027-594F-8EB0-6F035501B0A4}"/>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9" name="Freeform 120">
              <a:extLst>
                <a:ext uri="{FF2B5EF4-FFF2-40B4-BE49-F238E27FC236}">
                  <a16:creationId xmlns:a16="http://schemas.microsoft.com/office/drawing/2014/main" id="{43F664C1-AD16-CA4A-B79B-9320D3DB8142}"/>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0" name="Rectangle 121">
              <a:extLst>
                <a:ext uri="{FF2B5EF4-FFF2-40B4-BE49-F238E27FC236}">
                  <a16:creationId xmlns:a16="http://schemas.microsoft.com/office/drawing/2014/main" id="{E7608AAE-D566-694F-B538-514539300066}"/>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1" name="Line 122">
              <a:extLst>
                <a:ext uri="{FF2B5EF4-FFF2-40B4-BE49-F238E27FC236}">
                  <a16:creationId xmlns:a16="http://schemas.microsoft.com/office/drawing/2014/main" id="{973D771C-AD96-AF41-9A58-2EF3758A7246}"/>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2" name="Freeform 123">
              <a:extLst>
                <a:ext uri="{FF2B5EF4-FFF2-40B4-BE49-F238E27FC236}">
                  <a16:creationId xmlns:a16="http://schemas.microsoft.com/office/drawing/2014/main" id="{80102767-A235-F640-94A3-EFC36C5FBC1E}"/>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3" name="Freeform 124">
              <a:extLst>
                <a:ext uri="{FF2B5EF4-FFF2-40B4-BE49-F238E27FC236}">
                  <a16:creationId xmlns:a16="http://schemas.microsoft.com/office/drawing/2014/main" id="{AD3BDBE2-29DD-0A4F-801B-23A497D015D1}"/>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4" name="Line 125">
              <a:extLst>
                <a:ext uri="{FF2B5EF4-FFF2-40B4-BE49-F238E27FC236}">
                  <a16:creationId xmlns:a16="http://schemas.microsoft.com/office/drawing/2014/main" id="{1C68E510-0985-D746-A918-15F91C2F8930}"/>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5" name="Freeform 126">
              <a:extLst>
                <a:ext uri="{FF2B5EF4-FFF2-40B4-BE49-F238E27FC236}">
                  <a16:creationId xmlns:a16="http://schemas.microsoft.com/office/drawing/2014/main" id="{FC8F0EEB-4004-0645-95D4-628E64239392}"/>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6" name="Freeform 127">
              <a:extLst>
                <a:ext uri="{FF2B5EF4-FFF2-40B4-BE49-F238E27FC236}">
                  <a16:creationId xmlns:a16="http://schemas.microsoft.com/office/drawing/2014/main" id="{620D890E-5006-C046-865E-244387D90538}"/>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7" name="Line 128">
              <a:extLst>
                <a:ext uri="{FF2B5EF4-FFF2-40B4-BE49-F238E27FC236}">
                  <a16:creationId xmlns:a16="http://schemas.microsoft.com/office/drawing/2014/main" id="{867B6DA6-D747-8841-825D-34FB7F18421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8" name="Freeform 129">
              <a:extLst>
                <a:ext uri="{FF2B5EF4-FFF2-40B4-BE49-F238E27FC236}">
                  <a16:creationId xmlns:a16="http://schemas.microsoft.com/office/drawing/2014/main" id="{52220DAD-8F04-F045-9408-C7FD643C250B}"/>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9" name="Freeform 130">
              <a:extLst>
                <a:ext uri="{FF2B5EF4-FFF2-40B4-BE49-F238E27FC236}">
                  <a16:creationId xmlns:a16="http://schemas.microsoft.com/office/drawing/2014/main" id="{3A6218B0-DF61-F342-8032-CF2031E2293B}"/>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0" name="Freeform 131">
              <a:extLst>
                <a:ext uri="{FF2B5EF4-FFF2-40B4-BE49-F238E27FC236}">
                  <a16:creationId xmlns:a16="http://schemas.microsoft.com/office/drawing/2014/main" id="{DB2B02E0-09BF-1A4D-BBCB-1E0EA07585E2}"/>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1" name="Freeform 132">
              <a:extLst>
                <a:ext uri="{FF2B5EF4-FFF2-40B4-BE49-F238E27FC236}">
                  <a16:creationId xmlns:a16="http://schemas.microsoft.com/office/drawing/2014/main" id="{DF4A1563-0B1E-2D40-AD50-BF5243D910B5}"/>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2" name="Freeform 133">
              <a:extLst>
                <a:ext uri="{FF2B5EF4-FFF2-40B4-BE49-F238E27FC236}">
                  <a16:creationId xmlns:a16="http://schemas.microsoft.com/office/drawing/2014/main" id="{8D293745-4A60-9742-B0E8-698D41C25FA0}"/>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3" name="Freeform 134">
              <a:extLst>
                <a:ext uri="{FF2B5EF4-FFF2-40B4-BE49-F238E27FC236}">
                  <a16:creationId xmlns:a16="http://schemas.microsoft.com/office/drawing/2014/main" id="{3DB4E96E-BAF6-E049-B39E-1C918E3967D8}"/>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4" name="Freeform 135">
              <a:extLst>
                <a:ext uri="{FF2B5EF4-FFF2-40B4-BE49-F238E27FC236}">
                  <a16:creationId xmlns:a16="http://schemas.microsoft.com/office/drawing/2014/main" id="{0417A9CA-3459-BB4A-BE2F-7A11130E55BA}"/>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5" name="Rectangle 136">
              <a:extLst>
                <a:ext uri="{FF2B5EF4-FFF2-40B4-BE49-F238E27FC236}">
                  <a16:creationId xmlns:a16="http://schemas.microsoft.com/office/drawing/2014/main" id="{B7932051-5F87-124E-BFB3-E87A23736F6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6" name="Line 137">
              <a:extLst>
                <a:ext uri="{FF2B5EF4-FFF2-40B4-BE49-F238E27FC236}">
                  <a16:creationId xmlns:a16="http://schemas.microsoft.com/office/drawing/2014/main" id="{E283F794-ED57-3F44-89B4-2F9A0B633784}"/>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7" name="Freeform 138">
              <a:extLst>
                <a:ext uri="{FF2B5EF4-FFF2-40B4-BE49-F238E27FC236}">
                  <a16:creationId xmlns:a16="http://schemas.microsoft.com/office/drawing/2014/main" id="{E3AD552E-AAB0-1B49-943B-4D8B741EE3A0}"/>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8" name="Freeform 139">
              <a:extLst>
                <a:ext uri="{FF2B5EF4-FFF2-40B4-BE49-F238E27FC236}">
                  <a16:creationId xmlns:a16="http://schemas.microsoft.com/office/drawing/2014/main" id="{AF93BCC8-9C5E-B14B-9D20-2D299461D36C}"/>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9" name="Line 140">
              <a:extLst>
                <a:ext uri="{FF2B5EF4-FFF2-40B4-BE49-F238E27FC236}">
                  <a16:creationId xmlns:a16="http://schemas.microsoft.com/office/drawing/2014/main" id="{24A5B30D-0D6A-FF41-8A8A-C2338AA24946}"/>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0" name="Freeform 141">
              <a:extLst>
                <a:ext uri="{FF2B5EF4-FFF2-40B4-BE49-F238E27FC236}">
                  <a16:creationId xmlns:a16="http://schemas.microsoft.com/office/drawing/2014/main" id="{C4F8A95E-3BFB-9D41-B1D5-B89DC6AE3E97}"/>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1" name="Freeform 142">
              <a:extLst>
                <a:ext uri="{FF2B5EF4-FFF2-40B4-BE49-F238E27FC236}">
                  <a16:creationId xmlns:a16="http://schemas.microsoft.com/office/drawing/2014/main" id="{3D9851B5-C439-A643-A38F-E8DA1B332E86}"/>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2" name="Line 143">
              <a:extLst>
                <a:ext uri="{FF2B5EF4-FFF2-40B4-BE49-F238E27FC236}">
                  <a16:creationId xmlns:a16="http://schemas.microsoft.com/office/drawing/2014/main" id="{02D230EA-CE16-C649-B511-BA67BB8AC89F}"/>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3" name="Freeform 144">
              <a:extLst>
                <a:ext uri="{FF2B5EF4-FFF2-40B4-BE49-F238E27FC236}">
                  <a16:creationId xmlns:a16="http://schemas.microsoft.com/office/drawing/2014/main" id="{E9E05AC0-BFC0-1B41-9B4D-D1A9D81885D1}"/>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4" name="Freeform 145">
              <a:extLst>
                <a:ext uri="{FF2B5EF4-FFF2-40B4-BE49-F238E27FC236}">
                  <a16:creationId xmlns:a16="http://schemas.microsoft.com/office/drawing/2014/main" id="{4F03FFD6-744E-D049-B2A0-C68DA24E7429}"/>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5" name="Freeform 146">
              <a:extLst>
                <a:ext uri="{FF2B5EF4-FFF2-40B4-BE49-F238E27FC236}">
                  <a16:creationId xmlns:a16="http://schemas.microsoft.com/office/drawing/2014/main" id="{C5A3F0A3-6256-F049-A106-40D77C9B95BC}"/>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6" name="Freeform 147">
              <a:extLst>
                <a:ext uri="{FF2B5EF4-FFF2-40B4-BE49-F238E27FC236}">
                  <a16:creationId xmlns:a16="http://schemas.microsoft.com/office/drawing/2014/main" id="{4788AF48-F8F3-FA49-945D-1F7AD9C48EA6}"/>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7" name="Freeform 148">
              <a:extLst>
                <a:ext uri="{FF2B5EF4-FFF2-40B4-BE49-F238E27FC236}">
                  <a16:creationId xmlns:a16="http://schemas.microsoft.com/office/drawing/2014/main" id="{D0F183FC-C091-7C49-B6FC-963357C90F43}"/>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758" name="Group 149">
            <a:extLst>
              <a:ext uri="{FF2B5EF4-FFF2-40B4-BE49-F238E27FC236}">
                <a16:creationId xmlns:a16="http://schemas.microsoft.com/office/drawing/2014/main" id="{7E1F07A6-5701-2243-A4F8-879FC4875749}"/>
              </a:ext>
            </a:extLst>
          </p:cNvPr>
          <p:cNvGrpSpPr>
            <a:grpSpLocks/>
          </p:cNvGrpSpPr>
          <p:nvPr userDrawn="1">
            <p:custDataLst>
              <p:tags r:id="rId97"/>
            </p:custDataLst>
          </p:nvPr>
        </p:nvGrpSpPr>
        <p:grpSpPr bwMode="auto">
          <a:xfrm>
            <a:off x="11303687" y="3883450"/>
            <a:ext cx="190324" cy="194335"/>
            <a:chOff x="5486" y="2743"/>
            <a:chExt cx="137" cy="132"/>
          </a:xfrm>
          <a:solidFill>
            <a:srgbClr val="DADADA"/>
          </a:solidFill>
        </p:grpSpPr>
        <p:sp>
          <p:nvSpPr>
            <p:cNvPr id="759" name="Freeform 150">
              <a:extLst>
                <a:ext uri="{FF2B5EF4-FFF2-40B4-BE49-F238E27FC236}">
                  <a16:creationId xmlns:a16="http://schemas.microsoft.com/office/drawing/2014/main" id="{67D4102E-3CD6-4F47-BE1C-36EBF6FABA74}"/>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0" name="Freeform 151">
              <a:extLst>
                <a:ext uri="{FF2B5EF4-FFF2-40B4-BE49-F238E27FC236}">
                  <a16:creationId xmlns:a16="http://schemas.microsoft.com/office/drawing/2014/main" id="{819F009C-1A00-C440-A0FC-0459DC7F0DE9}"/>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1" name="Freeform 152">
              <a:extLst>
                <a:ext uri="{FF2B5EF4-FFF2-40B4-BE49-F238E27FC236}">
                  <a16:creationId xmlns:a16="http://schemas.microsoft.com/office/drawing/2014/main" id="{9A3AACCA-3D1E-7044-B82F-1ED44962EBFB}"/>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2" name="Freeform 153">
              <a:extLst>
                <a:ext uri="{FF2B5EF4-FFF2-40B4-BE49-F238E27FC236}">
                  <a16:creationId xmlns:a16="http://schemas.microsoft.com/office/drawing/2014/main" id="{74451245-A339-6D4E-A783-F0410D870470}"/>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3" name="Freeform 154">
              <a:extLst>
                <a:ext uri="{FF2B5EF4-FFF2-40B4-BE49-F238E27FC236}">
                  <a16:creationId xmlns:a16="http://schemas.microsoft.com/office/drawing/2014/main" id="{CBD89F9B-3EAB-7D47-A792-0918031DA916}"/>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4" name="Freeform 155">
              <a:extLst>
                <a:ext uri="{FF2B5EF4-FFF2-40B4-BE49-F238E27FC236}">
                  <a16:creationId xmlns:a16="http://schemas.microsoft.com/office/drawing/2014/main" id="{E99E39DD-8EAF-2948-A084-96FED970D58F}"/>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5" name="Freeform 156">
              <a:extLst>
                <a:ext uri="{FF2B5EF4-FFF2-40B4-BE49-F238E27FC236}">
                  <a16:creationId xmlns:a16="http://schemas.microsoft.com/office/drawing/2014/main" id="{914A5604-1FA4-064D-8E36-8236205B1370}"/>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6" name="Freeform 157">
              <a:extLst>
                <a:ext uri="{FF2B5EF4-FFF2-40B4-BE49-F238E27FC236}">
                  <a16:creationId xmlns:a16="http://schemas.microsoft.com/office/drawing/2014/main" id="{8F77174E-A82C-BC41-A116-73F09F29F111}"/>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7" name="Freeform 158">
              <a:extLst>
                <a:ext uri="{FF2B5EF4-FFF2-40B4-BE49-F238E27FC236}">
                  <a16:creationId xmlns:a16="http://schemas.microsoft.com/office/drawing/2014/main" id="{2177B2FB-46CB-AA49-94D8-8A80B0138E90}"/>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68" name="Freeform 159">
            <a:extLst>
              <a:ext uri="{FF2B5EF4-FFF2-40B4-BE49-F238E27FC236}">
                <a16:creationId xmlns:a16="http://schemas.microsoft.com/office/drawing/2014/main" id="{CCB664DD-7309-3E4F-942A-7BA162C97666}"/>
              </a:ext>
            </a:extLst>
          </p:cNvPr>
          <p:cNvSpPr>
            <a:spLocks/>
          </p:cNvSpPr>
          <p:nvPr userDrawn="1">
            <p:custDataLst>
              <p:tags r:id="rId98"/>
            </p:custDataLst>
          </p:nvPr>
        </p:nvSpPr>
        <p:spPr bwMode="auto">
          <a:xfrm>
            <a:off x="7559030" y="3645930"/>
            <a:ext cx="11388" cy="5038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9" name="Freeform 160">
            <a:extLst>
              <a:ext uri="{FF2B5EF4-FFF2-40B4-BE49-F238E27FC236}">
                <a16:creationId xmlns:a16="http://schemas.microsoft.com/office/drawing/2014/main" id="{DFCA166C-EEF5-4143-8EF3-A38943ABD5F4}"/>
              </a:ext>
            </a:extLst>
          </p:cNvPr>
          <p:cNvSpPr>
            <a:spLocks/>
          </p:cNvSpPr>
          <p:nvPr userDrawn="1">
            <p:custDataLst>
              <p:tags r:id="rId99"/>
            </p:custDataLst>
          </p:nvPr>
        </p:nvSpPr>
        <p:spPr bwMode="auto">
          <a:xfrm>
            <a:off x="7480948" y="3772607"/>
            <a:ext cx="14640" cy="51823"/>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0" name="Freeform 161">
            <a:extLst>
              <a:ext uri="{FF2B5EF4-FFF2-40B4-BE49-F238E27FC236}">
                <a16:creationId xmlns:a16="http://schemas.microsoft.com/office/drawing/2014/main" id="{A6B8C92D-5785-604D-893E-98F76D071B7C}"/>
              </a:ext>
            </a:extLst>
          </p:cNvPr>
          <p:cNvSpPr>
            <a:spLocks/>
          </p:cNvSpPr>
          <p:nvPr userDrawn="1">
            <p:custDataLst>
              <p:tags r:id="rId100"/>
            </p:custDataLst>
          </p:nvPr>
        </p:nvSpPr>
        <p:spPr bwMode="auto">
          <a:xfrm>
            <a:off x="9323996" y="2255357"/>
            <a:ext cx="746654" cy="30085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1" name="Freeform 162">
            <a:extLst>
              <a:ext uri="{FF2B5EF4-FFF2-40B4-BE49-F238E27FC236}">
                <a16:creationId xmlns:a16="http://schemas.microsoft.com/office/drawing/2014/main" id="{0A69294E-A01B-1142-A3B5-C096C009656E}"/>
              </a:ext>
            </a:extLst>
          </p:cNvPr>
          <p:cNvSpPr>
            <a:spLocks/>
          </p:cNvSpPr>
          <p:nvPr userDrawn="1">
            <p:custDataLst>
              <p:tags r:id="rId101"/>
            </p:custDataLst>
          </p:nvPr>
        </p:nvSpPr>
        <p:spPr bwMode="auto">
          <a:xfrm>
            <a:off x="5559818" y="4038918"/>
            <a:ext cx="336726" cy="377153"/>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2" name="Freeform 163">
            <a:extLst>
              <a:ext uri="{FF2B5EF4-FFF2-40B4-BE49-F238E27FC236}">
                <a16:creationId xmlns:a16="http://schemas.microsoft.com/office/drawing/2014/main" id="{D19BAD8B-8E17-734D-B35B-912C6B0143DA}"/>
              </a:ext>
            </a:extLst>
          </p:cNvPr>
          <p:cNvSpPr>
            <a:spLocks/>
          </p:cNvSpPr>
          <p:nvPr userDrawn="1">
            <p:custDataLst>
              <p:tags r:id="rId102"/>
            </p:custDataLst>
          </p:nvPr>
        </p:nvSpPr>
        <p:spPr bwMode="auto">
          <a:xfrm>
            <a:off x="5779423" y="3522130"/>
            <a:ext cx="122003" cy="19577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73" name="Group 164">
            <a:extLst>
              <a:ext uri="{FF2B5EF4-FFF2-40B4-BE49-F238E27FC236}">
                <a16:creationId xmlns:a16="http://schemas.microsoft.com/office/drawing/2014/main" id="{7A793D2E-AB41-DF45-AD02-5117F6C84CD0}"/>
              </a:ext>
            </a:extLst>
          </p:cNvPr>
          <p:cNvGrpSpPr>
            <a:grpSpLocks/>
          </p:cNvGrpSpPr>
          <p:nvPr userDrawn="1">
            <p:custDataLst>
              <p:tags r:id="rId103"/>
            </p:custDataLst>
          </p:nvPr>
        </p:nvGrpSpPr>
        <p:grpSpPr bwMode="auto">
          <a:xfrm>
            <a:off x="5486616" y="3372422"/>
            <a:ext cx="331846" cy="364197"/>
            <a:chOff x="1486" y="2412"/>
            <a:chExt cx="244" cy="256"/>
          </a:xfrm>
          <a:solidFill>
            <a:srgbClr val="DADADA"/>
          </a:solidFill>
        </p:grpSpPr>
        <p:sp>
          <p:nvSpPr>
            <p:cNvPr id="774" name="Freeform 165">
              <a:extLst>
                <a:ext uri="{FF2B5EF4-FFF2-40B4-BE49-F238E27FC236}">
                  <a16:creationId xmlns:a16="http://schemas.microsoft.com/office/drawing/2014/main" id="{2584E8DA-AF1B-A948-A68D-155E51E6916E}"/>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5" name="Freeform 166">
              <a:extLst>
                <a:ext uri="{FF2B5EF4-FFF2-40B4-BE49-F238E27FC236}">
                  <a16:creationId xmlns:a16="http://schemas.microsoft.com/office/drawing/2014/main" id="{A12F8C70-1BB3-0E47-8B97-8F9E978982B5}"/>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6" name="Freeform 167">
              <a:extLst>
                <a:ext uri="{FF2B5EF4-FFF2-40B4-BE49-F238E27FC236}">
                  <a16:creationId xmlns:a16="http://schemas.microsoft.com/office/drawing/2014/main" id="{AFEFB8E3-E409-F542-87B8-1A34A9877C8D}"/>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7" name="Freeform 168">
              <a:extLst>
                <a:ext uri="{FF2B5EF4-FFF2-40B4-BE49-F238E27FC236}">
                  <a16:creationId xmlns:a16="http://schemas.microsoft.com/office/drawing/2014/main" id="{A4FBDD64-BCDB-454D-A025-666DA7108816}"/>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78" name="Freeform 169">
            <a:extLst>
              <a:ext uri="{FF2B5EF4-FFF2-40B4-BE49-F238E27FC236}">
                <a16:creationId xmlns:a16="http://schemas.microsoft.com/office/drawing/2014/main" id="{D4CDCC4A-6CDF-C546-B7D4-77362CF5A35F}"/>
              </a:ext>
            </a:extLst>
          </p:cNvPr>
          <p:cNvSpPr>
            <a:spLocks/>
          </p:cNvSpPr>
          <p:nvPr userDrawn="1">
            <p:custDataLst>
              <p:tags r:id="rId104"/>
            </p:custDataLst>
          </p:nvPr>
        </p:nvSpPr>
        <p:spPr bwMode="auto">
          <a:xfrm>
            <a:off x="10631862" y="4768753"/>
            <a:ext cx="32534" cy="10075"/>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9" name="Freeform 170">
            <a:extLst>
              <a:ext uri="{FF2B5EF4-FFF2-40B4-BE49-F238E27FC236}">
                <a16:creationId xmlns:a16="http://schemas.microsoft.com/office/drawing/2014/main" id="{20807422-BC89-CE45-9475-C483E179C443}"/>
              </a:ext>
            </a:extLst>
          </p:cNvPr>
          <p:cNvSpPr>
            <a:spLocks/>
          </p:cNvSpPr>
          <p:nvPr userDrawn="1">
            <p:custDataLst>
              <p:tags r:id="rId105"/>
            </p:custDataLst>
          </p:nvPr>
        </p:nvSpPr>
        <p:spPr bwMode="auto">
          <a:xfrm>
            <a:off x="10750610" y="4889671"/>
            <a:ext cx="1627" cy="4318"/>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0" name="Line 171">
            <a:extLst>
              <a:ext uri="{FF2B5EF4-FFF2-40B4-BE49-F238E27FC236}">
                <a16:creationId xmlns:a16="http://schemas.microsoft.com/office/drawing/2014/main" id="{ECDF0306-2500-1F4D-902C-DA8FD45DA701}"/>
              </a:ext>
            </a:extLst>
          </p:cNvPr>
          <p:cNvSpPr>
            <a:spLocks noChangeShapeType="1"/>
          </p:cNvSpPr>
          <p:nvPr userDrawn="1">
            <p:custDataLst>
              <p:tags r:id="rId106"/>
            </p:custDataLst>
          </p:nvPr>
        </p:nvSpPr>
        <p:spPr bwMode="auto">
          <a:xfrm flipV="1">
            <a:off x="10843333" y="4888232"/>
            <a:ext cx="1626"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1" name="Freeform 172">
            <a:extLst>
              <a:ext uri="{FF2B5EF4-FFF2-40B4-BE49-F238E27FC236}">
                <a16:creationId xmlns:a16="http://schemas.microsoft.com/office/drawing/2014/main" id="{E29852F7-EC9B-E048-97AE-E04F5F6BCE72}"/>
              </a:ext>
            </a:extLst>
          </p:cNvPr>
          <p:cNvSpPr>
            <a:spLocks/>
          </p:cNvSpPr>
          <p:nvPr userDrawn="1">
            <p:custDataLst>
              <p:tags r:id="rId107"/>
            </p:custDataLst>
          </p:nvPr>
        </p:nvSpPr>
        <p:spPr bwMode="auto">
          <a:xfrm>
            <a:off x="10843333" y="4888233"/>
            <a:ext cx="3254" cy="1439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2" name="Freeform 173">
            <a:extLst>
              <a:ext uri="{FF2B5EF4-FFF2-40B4-BE49-F238E27FC236}">
                <a16:creationId xmlns:a16="http://schemas.microsoft.com/office/drawing/2014/main" id="{A326C304-97E2-6041-9229-954484A16CC1}"/>
              </a:ext>
            </a:extLst>
          </p:cNvPr>
          <p:cNvSpPr>
            <a:spLocks/>
          </p:cNvSpPr>
          <p:nvPr userDrawn="1">
            <p:custDataLst>
              <p:tags r:id="rId108"/>
            </p:custDataLst>
          </p:nvPr>
        </p:nvSpPr>
        <p:spPr bwMode="auto">
          <a:xfrm>
            <a:off x="11149153" y="4407434"/>
            <a:ext cx="22774" cy="25912"/>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3" name="Freeform 174">
            <a:extLst>
              <a:ext uri="{FF2B5EF4-FFF2-40B4-BE49-F238E27FC236}">
                <a16:creationId xmlns:a16="http://schemas.microsoft.com/office/drawing/2014/main" id="{980BB2CB-5DB5-A243-B0E6-41D3020DE75C}"/>
              </a:ext>
            </a:extLst>
          </p:cNvPr>
          <p:cNvSpPr>
            <a:spLocks/>
          </p:cNvSpPr>
          <p:nvPr userDrawn="1">
            <p:custDataLst>
              <p:tags r:id="rId109"/>
            </p:custDataLst>
          </p:nvPr>
        </p:nvSpPr>
        <p:spPr bwMode="auto">
          <a:xfrm>
            <a:off x="11155659" y="4341215"/>
            <a:ext cx="27653" cy="359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4" name="Freeform 175">
            <a:extLst>
              <a:ext uri="{FF2B5EF4-FFF2-40B4-BE49-F238E27FC236}">
                <a16:creationId xmlns:a16="http://schemas.microsoft.com/office/drawing/2014/main" id="{AF6B6890-CE40-CC4E-A17E-AF31C881B9A9}"/>
              </a:ext>
            </a:extLst>
          </p:cNvPr>
          <p:cNvSpPr>
            <a:spLocks/>
          </p:cNvSpPr>
          <p:nvPr userDrawn="1">
            <p:custDataLst>
              <p:tags r:id="rId110"/>
            </p:custDataLst>
          </p:nvPr>
        </p:nvSpPr>
        <p:spPr bwMode="auto">
          <a:xfrm>
            <a:off x="11131258" y="4319623"/>
            <a:ext cx="17894" cy="27350"/>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5" name="Freeform 176">
            <a:extLst>
              <a:ext uri="{FF2B5EF4-FFF2-40B4-BE49-F238E27FC236}">
                <a16:creationId xmlns:a16="http://schemas.microsoft.com/office/drawing/2014/main" id="{8A2AC100-6E39-4942-B68E-C08E7FADC419}"/>
              </a:ext>
            </a:extLst>
          </p:cNvPr>
          <p:cNvSpPr>
            <a:spLocks/>
          </p:cNvSpPr>
          <p:nvPr userDrawn="1">
            <p:custDataLst>
              <p:tags r:id="rId111"/>
            </p:custDataLst>
          </p:nvPr>
        </p:nvSpPr>
        <p:spPr bwMode="auto">
          <a:xfrm>
            <a:off x="11048296" y="4208781"/>
            <a:ext cx="69948" cy="12523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6" name="Line 177">
            <a:extLst>
              <a:ext uri="{FF2B5EF4-FFF2-40B4-BE49-F238E27FC236}">
                <a16:creationId xmlns:a16="http://schemas.microsoft.com/office/drawing/2014/main" id="{DD26FD2A-8BA3-B64E-9A50-88B9D437AA68}"/>
              </a:ext>
            </a:extLst>
          </p:cNvPr>
          <p:cNvSpPr>
            <a:spLocks noChangeShapeType="1"/>
          </p:cNvSpPr>
          <p:nvPr userDrawn="1">
            <p:custDataLst>
              <p:tags r:id="rId112"/>
            </p:custDataLst>
          </p:nvPr>
        </p:nvSpPr>
        <p:spPr bwMode="auto">
          <a:xfrm flipH="1" flipV="1">
            <a:off x="11041790" y="4178552"/>
            <a:ext cx="6507" cy="3023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7" name="Freeform 178">
            <a:extLst>
              <a:ext uri="{FF2B5EF4-FFF2-40B4-BE49-F238E27FC236}">
                <a16:creationId xmlns:a16="http://schemas.microsoft.com/office/drawing/2014/main" id="{F7D5A908-1845-734E-8EBB-D925570767D0}"/>
              </a:ext>
            </a:extLst>
          </p:cNvPr>
          <p:cNvSpPr>
            <a:spLocks/>
          </p:cNvSpPr>
          <p:nvPr userDrawn="1">
            <p:custDataLst>
              <p:tags r:id="rId113"/>
            </p:custDataLst>
          </p:nvPr>
        </p:nvSpPr>
        <p:spPr bwMode="auto">
          <a:xfrm>
            <a:off x="11041790" y="4164155"/>
            <a:ext cx="6507" cy="1439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8" name="Line 179">
            <a:extLst>
              <a:ext uri="{FF2B5EF4-FFF2-40B4-BE49-F238E27FC236}">
                <a16:creationId xmlns:a16="http://schemas.microsoft.com/office/drawing/2014/main" id="{47109C49-C0AE-4541-8C65-E0C3A98C8DDA}"/>
              </a:ext>
            </a:extLst>
          </p:cNvPr>
          <p:cNvSpPr>
            <a:spLocks noChangeShapeType="1"/>
          </p:cNvSpPr>
          <p:nvPr userDrawn="1">
            <p:custDataLst>
              <p:tags r:id="rId114"/>
            </p:custDataLst>
          </p:nvPr>
        </p:nvSpPr>
        <p:spPr bwMode="auto">
          <a:xfrm flipV="1">
            <a:off x="11048296" y="4152639"/>
            <a:ext cx="0"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9" name="Freeform 180">
            <a:extLst>
              <a:ext uri="{FF2B5EF4-FFF2-40B4-BE49-F238E27FC236}">
                <a16:creationId xmlns:a16="http://schemas.microsoft.com/office/drawing/2014/main" id="{CB24C026-35B2-2B40-8A34-B2B64405B81D}"/>
              </a:ext>
            </a:extLst>
          </p:cNvPr>
          <p:cNvSpPr>
            <a:spLocks/>
          </p:cNvSpPr>
          <p:nvPr userDrawn="1">
            <p:custDataLst>
              <p:tags r:id="rId115"/>
            </p:custDataLst>
          </p:nvPr>
        </p:nvSpPr>
        <p:spPr bwMode="auto">
          <a:xfrm>
            <a:off x="11001122" y="4092180"/>
            <a:ext cx="47174" cy="60460"/>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0" name="Freeform 181">
            <a:extLst>
              <a:ext uri="{FF2B5EF4-FFF2-40B4-BE49-F238E27FC236}">
                <a16:creationId xmlns:a16="http://schemas.microsoft.com/office/drawing/2014/main" id="{ABC1D0AB-2D5B-D747-93C1-7C533F0725DB}"/>
              </a:ext>
            </a:extLst>
          </p:cNvPr>
          <p:cNvSpPr>
            <a:spLocks/>
          </p:cNvSpPr>
          <p:nvPr userDrawn="1">
            <p:custDataLst>
              <p:tags r:id="rId116"/>
            </p:custDataLst>
          </p:nvPr>
        </p:nvSpPr>
        <p:spPr bwMode="auto">
          <a:xfrm>
            <a:off x="11015763" y="4040357"/>
            <a:ext cx="1626" cy="46065"/>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1" name="Freeform 182">
            <a:extLst>
              <a:ext uri="{FF2B5EF4-FFF2-40B4-BE49-F238E27FC236}">
                <a16:creationId xmlns:a16="http://schemas.microsoft.com/office/drawing/2014/main" id="{4640A7C8-63C9-764F-B116-5FD5D8BA7BB7}"/>
              </a:ext>
            </a:extLst>
          </p:cNvPr>
          <p:cNvSpPr>
            <a:spLocks/>
          </p:cNvSpPr>
          <p:nvPr userDrawn="1">
            <p:custDataLst>
              <p:tags r:id="rId117"/>
            </p:custDataLst>
          </p:nvPr>
        </p:nvSpPr>
        <p:spPr bwMode="auto">
          <a:xfrm>
            <a:off x="11022270" y="4034599"/>
            <a:ext cx="8133" cy="33108"/>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2" name="Freeform 183">
            <a:extLst>
              <a:ext uri="{FF2B5EF4-FFF2-40B4-BE49-F238E27FC236}">
                <a16:creationId xmlns:a16="http://schemas.microsoft.com/office/drawing/2014/main" id="{982C93A3-A1D2-A741-8F1A-6C2B27D9CC3A}"/>
              </a:ext>
            </a:extLst>
          </p:cNvPr>
          <p:cNvSpPr>
            <a:spLocks/>
          </p:cNvSpPr>
          <p:nvPr userDrawn="1">
            <p:custDataLst>
              <p:tags r:id="rId118"/>
            </p:custDataLst>
          </p:nvPr>
        </p:nvSpPr>
        <p:spPr bwMode="auto">
          <a:xfrm>
            <a:off x="11038538" y="4017325"/>
            <a:ext cx="1626" cy="2015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3" name="Line 184">
            <a:extLst>
              <a:ext uri="{FF2B5EF4-FFF2-40B4-BE49-F238E27FC236}">
                <a16:creationId xmlns:a16="http://schemas.microsoft.com/office/drawing/2014/main" id="{91252003-D9D0-0C49-BC93-791B6BFC8110}"/>
              </a:ext>
            </a:extLst>
          </p:cNvPr>
          <p:cNvSpPr>
            <a:spLocks noChangeShapeType="1"/>
          </p:cNvSpPr>
          <p:nvPr userDrawn="1">
            <p:custDataLst>
              <p:tags r:id="rId119"/>
            </p:custDataLst>
          </p:nvPr>
        </p:nvSpPr>
        <p:spPr bwMode="auto">
          <a:xfrm flipV="1">
            <a:off x="11038538" y="4034600"/>
            <a:ext cx="1626" cy="288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4" name="Freeform 185">
            <a:extLst>
              <a:ext uri="{FF2B5EF4-FFF2-40B4-BE49-F238E27FC236}">
                <a16:creationId xmlns:a16="http://schemas.microsoft.com/office/drawing/2014/main" id="{C86BCB17-3BC5-1645-BE9F-50F025DBAFAE}"/>
              </a:ext>
            </a:extLst>
          </p:cNvPr>
          <p:cNvSpPr>
            <a:spLocks/>
          </p:cNvSpPr>
          <p:nvPr userDrawn="1">
            <p:custDataLst>
              <p:tags r:id="rId120"/>
            </p:custDataLst>
          </p:nvPr>
        </p:nvSpPr>
        <p:spPr bwMode="auto">
          <a:xfrm>
            <a:off x="11022270" y="4020204"/>
            <a:ext cx="1626" cy="1439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5" name="Freeform 186">
            <a:extLst>
              <a:ext uri="{FF2B5EF4-FFF2-40B4-BE49-F238E27FC236}">
                <a16:creationId xmlns:a16="http://schemas.microsoft.com/office/drawing/2014/main" id="{219C0593-8D0C-6046-9A34-619B1D07CA38}"/>
              </a:ext>
            </a:extLst>
          </p:cNvPr>
          <p:cNvSpPr>
            <a:spLocks/>
          </p:cNvSpPr>
          <p:nvPr userDrawn="1">
            <p:custDataLst>
              <p:tags r:id="rId121"/>
            </p:custDataLst>
          </p:nvPr>
        </p:nvSpPr>
        <p:spPr bwMode="auto">
          <a:xfrm>
            <a:off x="10735971" y="4917023"/>
            <a:ext cx="99228" cy="7917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6" name="Freeform 187">
            <a:extLst>
              <a:ext uri="{FF2B5EF4-FFF2-40B4-BE49-F238E27FC236}">
                <a16:creationId xmlns:a16="http://schemas.microsoft.com/office/drawing/2014/main" id="{A81AA154-B893-EE43-8377-063B0142A309}"/>
              </a:ext>
            </a:extLst>
          </p:cNvPr>
          <p:cNvSpPr>
            <a:spLocks/>
          </p:cNvSpPr>
          <p:nvPr userDrawn="1">
            <p:custDataLst>
              <p:tags r:id="rId122"/>
            </p:custDataLst>
          </p:nvPr>
        </p:nvSpPr>
        <p:spPr bwMode="auto">
          <a:xfrm>
            <a:off x="10877494" y="4208781"/>
            <a:ext cx="3254" cy="15835"/>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7" name="Freeform 188">
            <a:extLst>
              <a:ext uri="{FF2B5EF4-FFF2-40B4-BE49-F238E27FC236}">
                <a16:creationId xmlns:a16="http://schemas.microsoft.com/office/drawing/2014/main" id="{B740B708-C8C5-A541-82A7-6DBA077F4199}"/>
              </a:ext>
            </a:extLst>
          </p:cNvPr>
          <p:cNvSpPr>
            <a:spLocks/>
          </p:cNvSpPr>
          <p:nvPr userDrawn="1">
            <p:custDataLst>
              <p:tags r:id="rId123"/>
            </p:custDataLst>
          </p:nvPr>
        </p:nvSpPr>
        <p:spPr bwMode="auto">
          <a:xfrm>
            <a:off x="10809173" y="4138245"/>
            <a:ext cx="16267" cy="1439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8" name="Freeform 189">
            <a:extLst>
              <a:ext uri="{FF2B5EF4-FFF2-40B4-BE49-F238E27FC236}">
                <a16:creationId xmlns:a16="http://schemas.microsoft.com/office/drawing/2014/main" id="{416F6A11-3C63-1649-914C-7CFCFE937785}"/>
              </a:ext>
            </a:extLst>
          </p:cNvPr>
          <p:cNvSpPr>
            <a:spLocks/>
          </p:cNvSpPr>
          <p:nvPr userDrawn="1">
            <p:custDataLst>
              <p:tags r:id="rId124"/>
            </p:custDataLst>
          </p:nvPr>
        </p:nvSpPr>
        <p:spPr bwMode="auto">
          <a:xfrm>
            <a:off x="10825439" y="4059071"/>
            <a:ext cx="3254" cy="8637"/>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9" name="Freeform 190">
            <a:extLst>
              <a:ext uri="{FF2B5EF4-FFF2-40B4-BE49-F238E27FC236}">
                <a16:creationId xmlns:a16="http://schemas.microsoft.com/office/drawing/2014/main" id="{82E33AAF-2905-5D41-A6FA-02630588E1C4}"/>
              </a:ext>
            </a:extLst>
          </p:cNvPr>
          <p:cNvSpPr>
            <a:spLocks/>
          </p:cNvSpPr>
          <p:nvPr userDrawn="1">
            <p:custDataLst>
              <p:tags r:id="rId125"/>
            </p:custDataLst>
          </p:nvPr>
        </p:nvSpPr>
        <p:spPr bwMode="auto">
          <a:xfrm>
            <a:off x="10661142" y="4061950"/>
            <a:ext cx="37414" cy="2015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0" name="Freeform 191">
            <a:extLst>
              <a:ext uri="{FF2B5EF4-FFF2-40B4-BE49-F238E27FC236}">
                <a16:creationId xmlns:a16="http://schemas.microsoft.com/office/drawing/2014/main" id="{1FB1D4CC-840B-BC42-A671-DA1A916180C5}"/>
              </a:ext>
            </a:extLst>
          </p:cNvPr>
          <p:cNvSpPr>
            <a:spLocks/>
          </p:cNvSpPr>
          <p:nvPr userDrawn="1">
            <p:custDataLst>
              <p:tags r:id="rId126"/>
            </p:custDataLst>
          </p:nvPr>
        </p:nvSpPr>
        <p:spPr bwMode="auto">
          <a:xfrm>
            <a:off x="10911655" y="4482287"/>
            <a:ext cx="1626" cy="1295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1" name="Freeform 192">
            <a:extLst>
              <a:ext uri="{FF2B5EF4-FFF2-40B4-BE49-F238E27FC236}">
                <a16:creationId xmlns:a16="http://schemas.microsoft.com/office/drawing/2014/main" id="{E7A98AB7-98AE-1145-A420-CFC0B6627438}"/>
              </a:ext>
            </a:extLst>
          </p:cNvPr>
          <p:cNvSpPr>
            <a:spLocks/>
          </p:cNvSpPr>
          <p:nvPr userDrawn="1">
            <p:custDataLst>
              <p:tags r:id="rId127"/>
            </p:custDataLst>
          </p:nvPr>
        </p:nvSpPr>
        <p:spPr bwMode="auto">
          <a:xfrm>
            <a:off x="10129213" y="4034599"/>
            <a:ext cx="1044340" cy="823404"/>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2" name="Freeform 193">
            <a:extLst>
              <a:ext uri="{FF2B5EF4-FFF2-40B4-BE49-F238E27FC236}">
                <a16:creationId xmlns:a16="http://schemas.microsoft.com/office/drawing/2014/main" id="{78B47DCA-BDF3-C748-9E9B-FF0E680F1797}"/>
              </a:ext>
            </a:extLst>
          </p:cNvPr>
          <p:cNvSpPr>
            <a:spLocks/>
          </p:cNvSpPr>
          <p:nvPr userDrawn="1">
            <p:custDataLst>
              <p:tags r:id="rId128"/>
            </p:custDataLst>
          </p:nvPr>
        </p:nvSpPr>
        <p:spPr bwMode="auto">
          <a:xfrm>
            <a:off x="4479692" y="2825406"/>
            <a:ext cx="684839" cy="52686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3" name="Freeform 194">
            <a:extLst>
              <a:ext uri="{FF2B5EF4-FFF2-40B4-BE49-F238E27FC236}">
                <a16:creationId xmlns:a16="http://schemas.microsoft.com/office/drawing/2014/main" id="{3EDBB38E-923A-F942-A444-A61327045615}"/>
              </a:ext>
            </a:extLst>
          </p:cNvPr>
          <p:cNvSpPr>
            <a:spLocks/>
          </p:cNvSpPr>
          <p:nvPr userDrawn="1">
            <p:custDataLst>
              <p:tags r:id="rId129"/>
            </p:custDataLst>
          </p:nvPr>
        </p:nvSpPr>
        <p:spPr bwMode="auto">
          <a:xfrm>
            <a:off x="5785929" y="4312426"/>
            <a:ext cx="216351" cy="240400"/>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4" name="Freeform 195">
            <a:extLst>
              <a:ext uri="{FF2B5EF4-FFF2-40B4-BE49-F238E27FC236}">
                <a16:creationId xmlns:a16="http://schemas.microsoft.com/office/drawing/2014/main" id="{FFC1B2E5-F23F-CE44-A05F-2DAF485E8BA0}"/>
              </a:ext>
            </a:extLst>
          </p:cNvPr>
          <p:cNvSpPr>
            <a:spLocks/>
          </p:cNvSpPr>
          <p:nvPr userDrawn="1">
            <p:custDataLst>
              <p:tags r:id="rId130"/>
            </p:custDataLst>
          </p:nvPr>
        </p:nvSpPr>
        <p:spPr bwMode="auto">
          <a:xfrm>
            <a:off x="5959986" y="3591228"/>
            <a:ext cx="74828" cy="99326"/>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5" name="Freeform 196">
            <a:extLst>
              <a:ext uri="{FF2B5EF4-FFF2-40B4-BE49-F238E27FC236}">
                <a16:creationId xmlns:a16="http://schemas.microsoft.com/office/drawing/2014/main" id="{9AA649E7-3126-2843-A4E9-CBFB63BF4FC7}"/>
              </a:ext>
            </a:extLst>
          </p:cNvPr>
          <p:cNvSpPr>
            <a:spLocks/>
          </p:cNvSpPr>
          <p:nvPr userDrawn="1">
            <p:custDataLst>
              <p:tags r:id="rId131"/>
            </p:custDataLst>
          </p:nvPr>
        </p:nvSpPr>
        <p:spPr bwMode="auto">
          <a:xfrm>
            <a:off x="5462216" y="3191043"/>
            <a:ext cx="71574" cy="5326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6" name="Freeform 204">
            <a:extLst>
              <a:ext uri="{FF2B5EF4-FFF2-40B4-BE49-F238E27FC236}">
                <a16:creationId xmlns:a16="http://schemas.microsoft.com/office/drawing/2014/main" id="{C2A9D4A1-8AC3-514D-90DC-343A14FC0DAA}"/>
              </a:ext>
            </a:extLst>
          </p:cNvPr>
          <p:cNvSpPr>
            <a:spLocks/>
          </p:cNvSpPr>
          <p:nvPr userDrawn="1">
            <p:custDataLst>
              <p:tags r:id="rId132"/>
            </p:custDataLst>
          </p:nvPr>
        </p:nvSpPr>
        <p:spPr bwMode="auto">
          <a:xfrm>
            <a:off x="5611873" y="4964527"/>
            <a:ext cx="26027" cy="54702"/>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7" name="Freeform 205">
            <a:extLst>
              <a:ext uri="{FF2B5EF4-FFF2-40B4-BE49-F238E27FC236}">
                <a16:creationId xmlns:a16="http://schemas.microsoft.com/office/drawing/2014/main" id="{83D528BB-964B-F549-97E4-10D835EC341A}"/>
              </a:ext>
            </a:extLst>
          </p:cNvPr>
          <p:cNvSpPr>
            <a:spLocks/>
          </p:cNvSpPr>
          <p:nvPr userDrawn="1">
            <p:custDataLst>
              <p:tags r:id="rId133"/>
            </p:custDataLst>
          </p:nvPr>
        </p:nvSpPr>
        <p:spPr bwMode="auto">
          <a:xfrm>
            <a:off x="5642780" y="5050898"/>
            <a:ext cx="17894" cy="4894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8" name="Freeform 206">
            <a:extLst>
              <a:ext uri="{FF2B5EF4-FFF2-40B4-BE49-F238E27FC236}">
                <a16:creationId xmlns:a16="http://schemas.microsoft.com/office/drawing/2014/main" id="{F009AA98-CA29-DA40-9101-6AD6AF618C6A}"/>
              </a:ext>
            </a:extLst>
          </p:cNvPr>
          <p:cNvSpPr>
            <a:spLocks/>
          </p:cNvSpPr>
          <p:nvPr userDrawn="1">
            <p:custDataLst>
              <p:tags r:id="rId134"/>
            </p:custDataLst>
          </p:nvPr>
        </p:nvSpPr>
        <p:spPr bwMode="auto">
          <a:xfrm>
            <a:off x="5647660" y="5071052"/>
            <a:ext cx="8133" cy="5326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9" name="Freeform 207">
            <a:extLst>
              <a:ext uri="{FF2B5EF4-FFF2-40B4-BE49-F238E27FC236}">
                <a16:creationId xmlns:a16="http://schemas.microsoft.com/office/drawing/2014/main" id="{BE1502DA-1C57-7543-8D11-48F100D1FFE1}"/>
              </a:ext>
            </a:extLst>
          </p:cNvPr>
          <p:cNvSpPr>
            <a:spLocks/>
          </p:cNvSpPr>
          <p:nvPr userDrawn="1">
            <p:custDataLst>
              <p:tags r:id="rId135"/>
            </p:custDataLst>
          </p:nvPr>
        </p:nvSpPr>
        <p:spPr bwMode="auto">
          <a:xfrm>
            <a:off x="5662300" y="5127193"/>
            <a:ext cx="17894" cy="54702"/>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0" name="Freeform 208">
            <a:extLst>
              <a:ext uri="{FF2B5EF4-FFF2-40B4-BE49-F238E27FC236}">
                <a16:creationId xmlns:a16="http://schemas.microsoft.com/office/drawing/2014/main" id="{F48544AF-89F4-494D-8D00-D6C2D1A6BC15}"/>
              </a:ext>
            </a:extLst>
          </p:cNvPr>
          <p:cNvSpPr>
            <a:spLocks/>
          </p:cNvSpPr>
          <p:nvPr userDrawn="1">
            <p:custDataLst>
              <p:tags r:id="rId136"/>
            </p:custDataLst>
          </p:nvPr>
        </p:nvSpPr>
        <p:spPr bwMode="auto">
          <a:xfrm>
            <a:off x="5649286" y="5138707"/>
            <a:ext cx="27654" cy="5326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1" name="Freeform 209">
            <a:extLst>
              <a:ext uri="{FF2B5EF4-FFF2-40B4-BE49-F238E27FC236}">
                <a16:creationId xmlns:a16="http://schemas.microsoft.com/office/drawing/2014/main" id="{79C0BF13-3A38-0A4B-8E12-3117DF71F712}"/>
              </a:ext>
            </a:extLst>
          </p:cNvPr>
          <p:cNvSpPr>
            <a:spLocks/>
          </p:cNvSpPr>
          <p:nvPr userDrawn="1">
            <p:custDataLst>
              <p:tags r:id="rId137"/>
            </p:custDataLst>
          </p:nvPr>
        </p:nvSpPr>
        <p:spPr bwMode="auto">
          <a:xfrm>
            <a:off x="5680193" y="5168939"/>
            <a:ext cx="11387" cy="5326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2" name="Freeform 210">
            <a:extLst>
              <a:ext uri="{FF2B5EF4-FFF2-40B4-BE49-F238E27FC236}">
                <a16:creationId xmlns:a16="http://schemas.microsoft.com/office/drawing/2014/main" id="{9135F9FE-DE5E-6544-B31F-80CF7929088B}"/>
              </a:ext>
            </a:extLst>
          </p:cNvPr>
          <p:cNvSpPr>
            <a:spLocks/>
          </p:cNvSpPr>
          <p:nvPr userDrawn="1">
            <p:custDataLst>
              <p:tags r:id="rId138"/>
            </p:custDataLst>
          </p:nvPr>
        </p:nvSpPr>
        <p:spPr bwMode="auto">
          <a:xfrm>
            <a:off x="5676941" y="5199168"/>
            <a:ext cx="21146" cy="5038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3" name="Freeform 211">
            <a:extLst>
              <a:ext uri="{FF2B5EF4-FFF2-40B4-BE49-F238E27FC236}">
                <a16:creationId xmlns:a16="http://schemas.microsoft.com/office/drawing/2014/main" id="{C7C40426-E9B4-0948-927F-EBD8D3D52B3C}"/>
              </a:ext>
            </a:extLst>
          </p:cNvPr>
          <p:cNvSpPr>
            <a:spLocks/>
          </p:cNvSpPr>
          <p:nvPr userDrawn="1">
            <p:custDataLst>
              <p:tags r:id="rId139"/>
            </p:custDataLst>
          </p:nvPr>
        </p:nvSpPr>
        <p:spPr bwMode="auto">
          <a:xfrm>
            <a:off x="5701342" y="5212124"/>
            <a:ext cx="17894" cy="51823"/>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4" name="Freeform 215">
            <a:extLst>
              <a:ext uri="{FF2B5EF4-FFF2-40B4-BE49-F238E27FC236}">
                <a16:creationId xmlns:a16="http://schemas.microsoft.com/office/drawing/2014/main" id="{FA88F2F1-8F74-474E-BC0E-905E1027722C}"/>
              </a:ext>
            </a:extLst>
          </p:cNvPr>
          <p:cNvSpPr>
            <a:spLocks/>
          </p:cNvSpPr>
          <p:nvPr userDrawn="1">
            <p:custDataLst>
              <p:tags r:id="rId140"/>
            </p:custDataLst>
          </p:nvPr>
        </p:nvSpPr>
        <p:spPr bwMode="auto">
          <a:xfrm>
            <a:off x="5359734" y="3222712"/>
            <a:ext cx="53681" cy="5326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5" name="Freeform 216">
            <a:extLst>
              <a:ext uri="{FF2B5EF4-FFF2-40B4-BE49-F238E27FC236}">
                <a16:creationId xmlns:a16="http://schemas.microsoft.com/office/drawing/2014/main" id="{BA3F1755-41DA-DE46-9A86-E64C01DBD91A}"/>
              </a:ext>
            </a:extLst>
          </p:cNvPr>
          <p:cNvSpPr>
            <a:spLocks/>
          </p:cNvSpPr>
          <p:nvPr userDrawn="1">
            <p:custDataLst>
              <p:tags r:id="rId141"/>
            </p:custDataLst>
          </p:nvPr>
        </p:nvSpPr>
        <p:spPr bwMode="auto">
          <a:xfrm>
            <a:off x="5213332" y="3097472"/>
            <a:ext cx="257018" cy="99327"/>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6" name="Freeform 217">
            <a:extLst>
              <a:ext uri="{FF2B5EF4-FFF2-40B4-BE49-F238E27FC236}">
                <a16:creationId xmlns:a16="http://schemas.microsoft.com/office/drawing/2014/main" id="{2BDEF3C1-037A-B34C-8E94-D53CFA187140}"/>
              </a:ext>
            </a:extLst>
          </p:cNvPr>
          <p:cNvSpPr>
            <a:spLocks/>
          </p:cNvSpPr>
          <p:nvPr userDrawn="1">
            <p:custDataLst>
              <p:tags r:id="rId142"/>
            </p:custDataLst>
          </p:nvPr>
        </p:nvSpPr>
        <p:spPr bwMode="auto">
          <a:xfrm>
            <a:off x="5525657" y="3191042"/>
            <a:ext cx="91095" cy="63338"/>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7" name="Freeform 218">
            <a:extLst>
              <a:ext uri="{FF2B5EF4-FFF2-40B4-BE49-F238E27FC236}">
                <a16:creationId xmlns:a16="http://schemas.microsoft.com/office/drawing/2014/main" id="{D79FA319-EA8E-D043-8980-DC009002C1D2}"/>
              </a:ext>
            </a:extLst>
          </p:cNvPr>
          <p:cNvSpPr>
            <a:spLocks/>
          </p:cNvSpPr>
          <p:nvPr userDrawn="1">
            <p:custDataLst>
              <p:tags r:id="rId143"/>
            </p:custDataLst>
          </p:nvPr>
        </p:nvSpPr>
        <p:spPr bwMode="auto">
          <a:xfrm>
            <a:off x="5083195" y="3245744"/>
            <a:ext cx="34161" cy="76294"/>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8" name="Freeform 219">
            <a:extLst>
              <a:ext uri="{FF2B5EF4-FFF2-40B4-BE49-F238E27FC236}">
                <a16:creationId xmlns:a16="http://schemas.microsoft.com/office/drawing/2014/main" id="{747EDE33-BC2F-7142-9348-CEDF8C976D48}"/>
              </a:ext>
            </a:extLst>
          </p:cNvPr>
          <p:cNvSpPr>
            <a:spLocks/>
          </p:cNvSpPr>
          <p:nvPr userDrawn="1">
            <p:custDataLst>
              <p:tags r:id="rId144"/>
            </p:custDataLst>
          </p:nvPr>
        </p:nvSpPr>
        <p:spPr bwMode="auto">
          <a:xfrm>
            <a:off x="5001861" y="3245743"/>
            <a:ext cx="95976" cy="132435"/>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9" name="Freeform 220">
            <a:extLst>
              <a:ext uri="{FF2B5EF4-FFF2-40B4-BE49-F238E27FC236}">
                <a16:creationId xmlns:a16="http://schemas.microsoft.com/office/drawing/2014/main" id="{357B222D-7F31-FD4C-9EF6-BD6BD2EAD8E1}"/>
              </a:ext>
            </a:extLst>
          </p:cNvPr>
          <p:cNvSpPr>
            <a:spLocks/>
          </p:cNvSpPr>
          <p:nvPr userDrawn="1">
            <p:custDataLst>
              <p:tags r:id="rId145"/>
            </p:custDataLst>
          </p:nvPr>
        </p:nvSpPr>
        <p:spPr bwMode="auto">
          <a:xfrm>
            <a:off x="5050661" y="3346509"/>
            <a:ext cx="73202" cy="51823"/>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0" name="Freeform 221">
            <a:extLst>
              <a:ext uri="{FF2B5EF4-FFF2-40B4-BE49-F238E27FC236}">
                <a16:creationId xmlns:a16="http://schemas.microsoft.com/office/drawing/2014/main" id="{E89455B3-8874-4F44-BFB0-7275892E0EF8}"/>
              </a:ext>
            </a:extLst>
          </p:cNvPr>
          <p:cNvSpPr>
            <a:spLocks/>
          </p:cNvSpPr>
          <p:nvPr userDrawn="1">
            <p:custDataLst>
              <p:tags r:id="rId146"/>
            </p:custDataLst>
          </p:nvPr>
        </p:nvSpPr>
        <p:spPr bwMode="auto">
          <a:xfrm>
            <a:off x="5083196" y="3311960"/>
            <a:ext cx="146403" cy="7917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1" name="Freeform 222">
            <a:extLst>
              <a:ext uri="{FF2B5EF4-FFF2-40B4-BE49-F238E27FC236}">
                <a16:creationId xmlns:a16="http://schemas.microsoft.com/office/drawing/2014/main" id="{EA41D69D-7785-2F4A-AA7F-6DA08B083D54}"/>
              </a:ext>
            </a:extLst>
          </p:cNvPr>
          <p:cNvSpPr>
            <a:spLocks/>
          </p:cNvSpPr>
          <p:nvPr userDrawn="1">
            <p:custDataLst>
              <p:tags r:id="rId147"/>
            </p:custDataLst>
          </p:nvPr>
        </p:nvSpPr>
        <p:spPr bwMode="auto">
          <a:xfrm>
            <a:off x="5101089" y="3339312"/>
            <a:ext cx="128509" cy="110843"/>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2" name="Freeform 223">
            <a:extLst>
              <a:ext uri="{FF2B5EF4-FFF2-40B4-BE49-F238E27FC236}">
                <a16:creationId xmlns:a16="http://schemas.microsoft.com/office/drawing/2014/main" id="{441D2D40-E36D-1C43-A37D-0E761C9D8726}"/>
              </a:ext>
            </a:extLst>
          </p:cNvPr>
          <p:cNvSpPr>
            <a:spLocks/>
          </p:cNvSpPr>
          <p:nvPr userDrawn="1">
            <p:custDataLst>
              <p:tags r:id="rId148"/>
            </p:custDataLst>
          </p:nvPr>
        </p:nvSpPr>
        <p:spPr bwMode="auto">
          <a:xfrm>
            <a:off x="5153145" y="3441518"/>
            <a:ext cx="86214" cy="90689"/>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3" name="Freeform 224">
            <a:extLst>
              <a:ext uri="{FF2B5EF4-FFF2-40B4-BE49-F238E27FC236}">
                <a16:creationId xmlns:a16="http://schemas.microsoft.com/office/drawing/2014/main" id="{5DE694B6-4061-7D40-BCA1-7A6AD475870E}"/>
              </a:ext>
            </a:extLst>
          </p:cNvPr>
          <p:cNvSpPr>
            <a:spLocks/>
          </p:cNvSpPr>
          <p:nvPr userDrawn="1">
            <p:custDataLst>
              <p:tags r:id="rId149"/>
            </p:custDataLst>
          </p:nvPr>
        </p:nvSpPr>
        <p:spPr bwMode="auto">
          <a:xfrm>
            <a:off x="5236106" y="3490462"/>
            <a:ext cx="146403" cy="719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4" name="Freeform 225">
            <a:extLst>
              <a:ext uri="{FF2B5EF4-FFF2-40B4-BE49-F238E27FC236}">
                <a16:creationId xmlns:a16="http://schemas.microsoft.com/office/drawing/2014/main" id="{BE4D852A-4AB5-EC44-B88E-B5D22573BFFC}"/>
              </a:ext>
            </a:extLst>
          </p:cNvPr>
          <p:cNvSpPr>
            <a:spLocks/>
          </p:cNvSpPr>
          <p:nvPr userDrawn="1">
            <p:custDataLst>
              <p:tags r:id="rId150"/>
            </p:custDataLst>
          </p:nvPr>
        </p:nvSpPr>
        <p:spPr bwMode="auto">
          <a:xfrm>
            <a:off x="5933958" y="4627680"/>
            <a:ext cx="136642" cy="141073"/>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5" name="Freeform 226">
            <a:extLst>
              <a:ext uri="{FF2B5EF4-FFF2-40B4-BE49-F238E27FC236}">
                <a16:creationId xmlns:a16="http://schemas.microsoft.com/office/drawing/2014/main" id="{E0775096-4434-F444-B1D5-A8DAA1F55932}"/>
              </a:ext>
            </a:extLst>
          </p:cNvPr>
          <p:cNvSpPr>
            <a:spLocks/>
          </p:cNvSpPr>
          <p:nvPr userDrawn="1">
            <p:custDataLst>
              <p:tags r:id="rId151"/>
            </p:custDataLst>
          </p:nvPr>
        </p:nvSpPr>
        <p:spPr bwMode="auto">
          <a:xfrm>
            <a:off x="7518363" y="1560070"/>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6" name="Freeform 227">
            <a:extLst>
              <a:ext uri="{FF2B5EF4-FFF2-40B4-BE49-F238E27FC236}">
                <a16:creationId xmlns:a16="http://schemas.microsoft.com/office/drawing/2014/main" id="{3940FCA9-7F8D-FB46-8D1D-9DDB15FFC598}"/>
              </a:ext>
            </a:extLst>
          </p:cNvPr>
          <p:cNvSpPr>
            <a:spLocks/>
          </p:cNvSpPr>
          <p:nvPr userDrawn="1">
            <p:custDataLst>
              <p:tags r:id="rId152"/>
            </p:custDataLst>
          </p:nvPr>
        </p:nvSpPr>
        <p:spPr bwMode="auto">
          <a:xfrm>
            <a:off x="7443534" y="1768799"/>
            <a:ext cx="460355" cy="32821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7" name="Freeform 228">
            <a:extLst>
              <a:ext uri="{FF2B5EF4-FFF2-40B4-BE49-F238E27FC236}">
                <a16:creationId xmlns:a16="http://schemas.microsoft.com/office/drawing/2014/main" id="{3759C417-66E1-2A40-942D-887968FD10E0}"/>
              </a:ext>
            </a:extLst>
          </p:cNvPr>
          <p:cNvSpPr>
            <a:spLocks/>
          </p:cNvSpPr>
          <p:nvPr userDrawn="1">
            <p:custDataLst>
              <p:tags r:id="rId153"/>
            </p:custDataLst>
          </p:nvPr>
        </p:nvSpPr>
        <p:spPr bwMode="auto">
          <a:xfrm>
            <a:off x="7791648" y="2531744"/>
            <a:ext cx="50427" cy="82052"/>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8" name="Freeform 229">
            <a:extLst>
              <a:ext uri="{FF2B5EF4-FFF2-40B4-BE49-F238E27FC236}">
                <a16:creationId xmlns:a16="http://schemas.microsoft.com/office/drawing/2014/main" id="{FCEA22E3-4C4C-094D-9FD3-425379E9A9C6}"/>
              </a:ext>
            </a:extLst>
          </p:cNvPr>
          <p:cNvSpPr>
            <a:spLocks/>
          </p:cNvSpPr>
          <p:nvPr userDrawn="1">
            <p:custDataLst>
              <p:tags r:id="rId154"/>
            </p:custDataLst>
          </p:nvPr>
        </p:nvSpPr>
        <p:spPr bwMode="auto">
          <a:xfrm>
            <a:off x="7492336" y="2386352"/>
            <a:ext cx="86214" cy="5326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9" name="Freeform 230">
            <a:extLst>
              <a:ext uri="{FF2B5EF4-FFF2-40B4-BE49-F238E27FC236}">
                <a16:creationId xmlns:a16="http://schemas.microsoft.com/office/drawing/2014/main" id="{EAF11687-3D09-A047-BEC6-B42CBAFFC197}"/>
              </a:ext>
            </a:extLst>
          </p:cNvPr>
          <p:cNvSpPr>
            <a:spLocks/>
          </p:cNvSpPr>
          <p:nvPr userDrawn="1">
            <p:custDataLst>
              <p:tags r:id="rId155"/>
            </p:custDataLst>
          </p:nvPr>
        </p:nvSpPr>
        <p:spPr bwMode="auto">
          <a:xfrm>
            <a:off x="7434504" y="2239081"/>
            <a:ext cx="86216" cy="6621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0" name="Freeform 231">
            <a:extLst>
              <a:ext uri="{FF2B5EF4-FFF2-40B4-BE49-F238E27FC236}">
                <a16:creationId xmlns:a16="http://schemas.microsoft.com/office/drawing/2014/main" id="{1624635A-2840-B041-94D6-E2E4BACE951A}"/>
              </a:ext>
            </a:extLst>
          </p:cNvPr>
          <p:cNvSpPr>
            <a:spLocks/>
          </p:cNvSpPr>
          <p:nvPr userDrawn="1">
            <p:custDataLst>
              <p:tags r:id="rId156"/>
            </p:custDataLst>
          </p:nvPr>
        </p:nvSpPr>
        <p:spPr bwMode="auto">
          <a:xfrm>
            <a:off x="7423401" y="2291050"/>
            <a:ext cx="86216" cy="51823"/>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1" name="Freeform 232">
            <a:extLst>
              <a:ext uri="{FF2B5EF4-FFF2-40B4-BE49-F238E27FC236}">
                <a16:creationId xmlns:a16="http://schemas.microsoft.com/office/drawing/2014/main" id="{5CB462B4-ED73-6C48-A104-17B5FC9C8499}"/>
              </a:ext>
            </a:extLst>
          </p:cNvPr>
          <p:cNvSpPr>
            <a:spLocks/>
          </p:cNvSpPr>
          <p:nvPr userDrawn="1">
            <p:custDataLst>
              <p:tags r:id="rId157"/>
            </p:custDataLst>
          </p:nvPr>
        </p:nvSpPr>
        <p:spPr bwMode="auto">
          <a:xfrm>
            <a:off x="8188562" y="2782219"/>
            <a:ext cx="34160" cy="11947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2" name="Freeform 233">
            <a:extLst>
              <a:ext uri="{FF2B5EF4-FFF2-40B4-BE49-F238E27FC236}">
                <a16:creationId xmlns:a16="http://schemas.microsoft.com/office/drawing/2014/main" id="{778E556D-E079-2045-87D6-AD71064C794E}"/>
              </a:ext>
            </a:extLst>
          </p:cNvPr>
          <p:cNvSpPr>
            <a:spLocks/>
          </p:cNvSpPr>
          <p:nvPr userDrawn="1">
            <p:custDataLst>
              <p:tags r:id="rId158"/>
            </p:custDataLst>
          </p:nvPr>
        </p:nvSpPr>
        <p:spPr bwMode="auto">
          <a:xfrm>
            <a:off x="8136507" y="2829724"/>
            <a:ext cx="71574" cy="118041"/>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3" name="Freeform 234">
            <a:extLst>
              <a:ext uri="{FF2B5EF4-FFF2-40B4-BE49-F238E27FC236}">
                <a16:creationId xmlns:a16="http://schemas.microsoft.com/office/drawing/2014/main" id="{0FB46692-43DE-1240-BF1E-39EC25CE3334}"/>
              </a:ext>
            </a:extLst>
          </p:cNvPr>
          <p:cNvSpPr>
            <a:spLocks/>
          </p:cNvSpPr>
          <p:nvPr userDrawn="1">
            <p:custDataLst>
              <p:tags r:id="rId159"/>
            </p:custDataLst>
          </p:nvPr>
        </p:nvSpPr>
        <p:spPr bwMode="auto">
          <a:xfrm>
            <a:off x="7113314" y="2153150"/>
            <a:ext cx="99229" cy="130996"/>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4" name="Freeform 235">
            <a:extLst>
              <a:ext uri="{FF2B5EF4-FFF2-40B4-BE49-F238E27FC236}">
                <a16:creationId xmlns:a16="http://schemas.microsoft.com/office/drawing/2014/main" id="{AEA11F9A-1396-F649-A030-667363BA3125}"/>
              </a:ext>
            </a:extLst>
          </p:cNvPr>
          <p:cNvSpPr>
            <a:spLocks/>
          </p:cNvSpPr>
          <p:nvPr userDrawn="1">
            <p:custDataLst>
              <p:tags r:id="rId160"/>
            </p:custDataLst>
          </p:nvPr>
        </p:nvSpPr>
        <p:spPr bwMode="auto">
          <a:xfrm>
            <a:off x="6921364" y="2979433"/>
            <a:ext cx="313953" cy="354121"/>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5" name="Freeform 236">
            <a:extLst>
              <a:ext uri="{FF2B5EF4-FFF2-40B4-BE49-F238E27FC236}">
                <a16:creationId xmlns:a16="http://schemas.microsoft.com/office/drawing/2014/main" id="{B6DD5B7C-3818-1343-B0D3-7C9BC9C8E315}"/>
              </a:ext>
            </a:extLst>
          </p:cNvPr>
          <p:cNvSpPr>
            <a:spLocks/>
          </p:cNvSpPr>
          <p:nvPr userDrawn="1">
            <p:custDataLst>
              <p:tags r:id="rId161"/>
            </p:custDataLst>
          </p:nvPr>
        </p:nvSpPr>
        <p:spPr bwMode="auto">
          <a:xfrm>
            <a:off x="7040114" y="3034135"/>
            <a:ext cx="424568" cy="42465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6" name="Freeform 237">
            <a:extLst>
              <a:ext uri="{FF2B5EF4-FFF2-40B4-BE49-F238E27FC236}">
                <a16:creationId xmlns:a16="http://schemas.microsoft.com/office/drawing/2014/main" id="{08F432FB-775A-494F-B386-D0E8D2825098}"/>
              </a:ext>
            </a:extLst>
          </p:cNvPr>
          <p:cNvSpPr>
            <a:spLocks/>
          </p:cNvSpPr>
          <p:nvPr userDrawn="1">
            <p:custDataLst>
              <p:tags r:id="rId162"/>
            </p:custDataLst>
          </p:nvPr>
        </p:nvSpPr>
        <p:spPr bwMode="auto">
          <a:xfrm>
            <a:off x="7140969" y="2677133"/>
            <a:ext cx="505902" cy="525424"/>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7" name="Freeform 238">
            <a:extLst>
              <a:ext uri="{FF2B5EF4-FFF2-40B4-BE49-F238E27FC236}">
                <a16:creationId xmlns:a16="http://schemas.microsoft.com/office/drawing/2014/main" id="{CC8CF4EC-84C7-C645-917A-219937C0F258}"/>
              </a:ext>
            </a:extLst>
          </p:cNvPr>
          <p:cNvSpPr>
            <a:spLocks/>
          </p:cNvSpPr>
          <p:nvPr userDrawn="1">
            <p:custDataLst>
              <p:tags r:id="rId163"/>
            </p:custDataLst>
          </p:nvPr>
        </p:nvSpPr>
        <p:spPr bwMode="auto">
          <a:xfrm>
            <a:off x="7588311" y="2799493"/>
            <a:ext cx="393661" cy="395867"/>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8" name="Freeform 239">
            <a:extLst>
              <a:ext uri="{FF2B5EF4-FFF2-40B4-BE49-F238E27FC236}">
                <a16:creationId xmlns:a16="http://schemas.microsoft.com/office/drawing/2014/main" id="{56AC9DA8-3368-E645-9B63-0DFBF47C5041}"/>
              </a:ext>
            </a:extLst>
          </p:cNvPr>
          <p:cNvSpPr>
            <a:spLocks/>
          </p:cNvSpPr>
          <p:nvPr userDrawn="1">
            <p:custDataLst>
              <p:tags r:id="rId164"/>
            </p:custDataLst>
          </p:nvPr>
        </p:nvSpPr>
        <p:spPr bwMode="auto">
          <a:xfrm>
            <a:off x="7539510" y="2677133"/>
            <a:ext cx="95976" cy="21448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9" name="Freeform 240">
            <a:extLst>
              <a:ext uri="{FF2B5EF4-FFF2-40B4-BE49-F238E27FC236}">
                <a16:creationId xmlns:a16="http://schemas.microsoft.com/office/drawing/2014/main" id="{574EFDA8-6FDD-924B-AA0F-FF135D6E566D}"/>
              </a:ext>
            </a:extLst>
          </p:cNvPr>
          <p:cNvSpPr>
            <a:spLocks/>
          </p:cNvSpPr>
          <p:nvPr userDrawn="1">
            <p:custDataLst>
              <p:tags r:id="rId165"/>
            </p:custDataLst>
          </p:nvPr>
        </p:nvSpPr>
        <p:spPr bwMode="auto">
          <a:xfrm>
            <a:off x="6906725" y="2959279"/>
            <a:ext cx="237498" cy="19577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0" name="Freeform 241">
            <a:extLst>
              <a:ext uri="{FF2B5EF4-FFF2-40B4-BE49-F238E27FC236}">
                <a16:creationId xmlns:a16="http://schemas.microsoft.com/office/drawing/2014/main" id="{B61351C2-4DE0-B74C-A5F9-AB1129B2E034}"/>
              </a:ext>
            </a:extLst>
          </p:cNvPr>
          <p:cNvSpPr>
            <a:spLocks/>
          </p:cNvSpPr>
          <p:nvPr userDrawn="1">
            <p:custDataLst>
              <p:tags r:id="rId166"/>
            </p:custDataLst>
          </p:nvPr>
        </p:nvSpPr>
        <p:spPr bwMode="auto">
          <a:xfrm>
            <a:off x="6874190" y="1878202"/>
            <a:ext cx="195204" cy="84930"/>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1" name="Freeform 242">
            <a:extLst>
              <a:ext uri="{FF2B5EF4-FFF2-40B4-BE49-F238E27FC236}">
                <a16:creationId xmlns:a16="http://schemas.microsoft.com/office/drawing/2014/main" id="{24375074-A746-2C44-8FC2-0B86483BB639}"/>
              </a:ext>
            </a:extLst>
          </p:cNvPr>
          <p:cNvSpPr>
            <a:spLocks/>
          </p:cNvSpPr>
          <p:nvPr userDrawn="1">
            <p:custDataLst>
              <p:tags r:id="rId167"/>
            </p:custDataLst>
          </p:nvPr>
        </p:nvSpPr>
        <p:spPr bwMode="auto">
          <a:xfrm>
            <a:off x="7685911" y="2117162"/>
            <a:ext cx="14640" cy="51823"/>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2" name="Freeform 243">
            <a:extLst>
              <a:ext uri="{FF2B5EF4-FFF2-40B4-BE49-F238E27FC236}">
                <a16:creationId xmlns:a16="http://schemas.microsoft.com/office/drawing/2014/main" id="{2652C040-0F16-434F-9073-7E72DF782B8F}"/>
              </a:ext>
            </a:extLst>
          </p:cNvPr>
          <p:cNvSpPr>
            <a:spLocks/>
          </p:cNvSpPr>
          <p:nvPr userDrawn="1">
            <p:custDataLst>
              <p:tags r:id="rId168"/>
            </p:custDataLst>
          </p:nvPr>
        </p:nvSpPr>
        <p:spPr bwMode="auto">
          <a:xfrm>
            <a:off x="7570416" y="1811985"/>
            <a:ext cx="240751" cy="35843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3" name="Freeform 244">
            <a:extLst>
              <a:ext uri="{FF2B5EF4-FFF2-40B4-BE49-F238E27FC236}">
                <a16:creationId xmlns:a16="http://schemas.microsoft.com/office/drawing/2014/main" id="{EF4CF33D-2312-5446-A72B-E397BFEC661A}"/>
              </a:ext>
            </a:extLst>
          </p:cNvPr>
          <p:cNvSpPr>
            <a:spLocks/>
          </p:cNvSpPr>
          <p:nvPr userDrawn="1">
            <p:custDataLst>
              <p:tags r:id="rId169"/>
            </p:custDataLst>
          </p:nvPr>
        </p:nvSpPr>
        <p:spPr bwMode="auto">
          <a:xfrm>
            <a:off x="7711939" y="2097009"/>
            <a:ext cx="27654" cy="51823"/>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4" name="Freeform 245">
            <a:extLst>
              <a:ext uri="{FF2B5EF4-FFF2-40B4-BE49-F238E27FC236}">
                <a16:creationId xmlns:a16="http://schemas.microsoft.com/office/drawing/2014/main" id="{078B7B31-7302-A743-B8F4-742252640C38}"/>
              </a:ext>
            </a:extLst>
          </p:cNvPr>
          <p:cNvSpPr>
            <a:spLocks/>
          </p:cNvSpPr>
          <p:nvPr userDrawn="1">
            <p:custDataLst>
              <p:tags r:id="rId170"/>
            </p:custDataLst>
          </p:nvPr>
        </p:nvSpPr>
        <p:spPr bwMode="auto">
          <a:xfrm>
            <a:off x="7142596" y="2243840"/>
            <a:ext cx="29281" cy="51823"/>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5" name="Freeform 246">
            <a:extLst>
              <a:ext uri="{FF2B5EF4-FFF2-40B4-BE49-F238E27FC236}">
                <a16:creationId xmlns:a16="http://schemas.microsoft.com/office/drawing/2014/main" id="{BDFFCE7B-BDB3-AF4E-B850-5C2DB8EFF31B}"/>
              </a:ext>
            </a:extLst>
          </p:cNvPr>
          <p:cNvSpPr>
            <a:spLocks/>
          </p:cNvSpPr>
          <p:nvPr userDrawn="1">
            <p:custDataLst>
              <p:tags r:id="rId171"/>
            </p:custDataLst>
          </p:nvPr>
        </p:nvSpPr>
        <p:spPr bwMode="auto">
          <a:xfrm>
            <a:off x="8118613" y="2723199"/>
            <a:ext cx="52054" cy="51823"/>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6" name="Freeform 247">
            <a:extLst>
              <a:ext uri="{FF2B5EF4-FFF2-40B4-BE49-F238E27FC236}">
                <a16:creationId xmlns:a16="http://schemas.microsoft.com/office/drawing/2014/main" id="{260713E7-43B5-434D-9F9E-9EFBD8295ECC}"/>
              </a:ext>
            </a:extLst>
          </p:cNvPr>
          <p:cNvSpPr>
            <a:spLocks/>
          </p:cNvSpPr>
          <p:nvPr userDrawn="1">
            <p:custDataLst>
              <p:tags r:id="rId172"/>
            </p:custDataLst>
          </p:nvPr>
        </p:nvSpPr>
        <p:spPr bwMode="auto">
          <a:xfrm>
            <a:off x="7716820" y="3441519"/>
            <a:ext cx="333472" cy="221686"/>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7" name="Freeform 248">
            <a:extLst>
              <a:ext uri="{FF2B5EF4-FFF2-40B4-BE49-F238E27FC236}">
                <a16:creationId xmlns:a16="http://schemas.microsoft.com/office/drawing/2014/main" id="{9F53A2D0-A1DA-4A4D-8D6A-78F6FCB78F57}"/>
              </a:ext>
            </a:extLst>
          </p:cNvPr>
          <p:cNvSpPr>
            <a:spLocks/>
          </p:cNvSpPr>
          <p:nvPr userDrawn="1">
            <p:custDataLst>
              <p:tags r:id="rId173"/>
            </p:custDataLst>
          </p:nvPr>
        </p:nvSpPr>
        <p:spPr bwMode="auto">
          <a:xfrm>
            <a:off x="7651752" y="3594107"/>
            <a:ext cx="512409" cy="500952"/>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8" name="Freeform 249">
            <a:extLst>
              <a:ext uri="{FF2B5EF4-FFF2-40B4-BE49-F238E27FC236}">
                <a16:creationId xmlns:a16="http://schemas.microsoft.com/office/drawing/2014/main" id="{C124AB76-2EF3-534C-B011-91B3C9403493}"/>
              </a:ext>
            </a:extLst>
          </p:cNvPr>
          <p:cNvSpPr>
            <a:spLocks/>
          </p:cNvSpPr>
          <p:nvPr userDrawn="1">
            <p:custDataLst>
              <p:tags r:id="rId174"/>
            </p:custDataLst>
          </p:nvPr>
        </p:nvSpPr>
        <p:spPr bwMode="auto">
          <a:xfrm>
            <a:off x="7586684" y="3684796"/>
            <a:ext cx="56934" cy="5038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9" name="Freeform 250">
            <a:extLst>
              <a:ext uri="{FF2B5EF4-FFF2-40B4-BE49-F238E27FC236}">
                <a16:creationId xmlns:a16="http://schemas.microsoft.com/office/drawing/2014/main" id="{9D4974DD-21E9-EE42-9489-5D82DDC107EA}"/>
              </a:ext>
            </a:extLst>
          </p:cNvPr>
          <p:cNvSpPr>
            <a:spLocks/>
          </p:cNvSpPr>
          <p:nvPr userDrawn="1">
            <p:custDataLst>
              <p:tags r:id="rId175"/>
            </p:custDataLst>
          </p:nvPr>
        </p:nvSpPr>
        <p:spPr bwMode="auto">
          <a:xfrm>
            <a:off x="7568790" y="3684796"/>
            <a:ext cx="156163" cy="182819"/>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0" name="Freeform 251">
            <a:extLst>
              <a:ext uri="{FF2B5EF4-FFF2-40B4-BE49-F238E27FC236}">
                <a16:creationId xmlns:a16="http://schemas.microsoft.com/office/drawing/2014/main" id="{388C9851-8F13-8B43-BF72-675944B42488}"/>
              </a:ext>
            </a:extLst>
          </p:cNvPr>
          <p:cNvSpPr>
            <a:spLocks/>
          </p:cNvSpPr>
          <p:nvPr userDrawn="1">
            <p:custDataLst>
              <p:tags r:id="rId176"/>
            </p:custDataLst>
          </p:nvPr>
        </p:nvSpPr>
        <p:spPr bwMode="auto">
          <a:xfrm>
            <a:off x="8115360" y="4051873"/>
            <a:ext cx="266779" cy="472161"/>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1" name="Freeform 252">
            <a:extLst>
              <a:ext uri="{FF2B5EF4-FFF2-40B4-BE49-F238E27FC236}">
                <a16:creationId xmlns:a16="http://schemas.microsoft.com/office/drawing/2014/main" id="{766E3F2F-905C-F649-A54E-55322F3D7C02}"/>
              </a:ext>
            </a:extLst>
          </p:cNvPr>
          <p:cNvSpPr>
            <a:spLocks/>
          </p:cNvSpPr>
          <p:nvPr userDrawn="1">
            <p:custDataLst>
              <p:tags r:id="rId177"/>
            </p:custDataLst>
          </p:nvPr>
        </p:nvSpPr>
        <p:spPr bwMode="auto">
          <a:xfrm>
            <a:off x="7843703" y="4269239"/>
            <a:ext cx="244004" cy="26055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2" name="Freeform 253">
            <a:extLst>
              <a:ext uri="{FF2B5EF4-FFF2-40B4-BE49-F238E27FC236}">
                <a16:creationId xmlns:a16="http://schemas.microsoft.com/office/drawing/2014/main" id="{561F1B94-557E-E944-A267-F0A4A76C1604}"/>
              </a:ext>
            </a:extLst>
          </p:cNvPr>
          <p:cNvSpPr>
            <a:spLocks/>
          </p:cNvSpPr>
          <p:nvPr userDrawn="1">
            <p:custDataLst>
              <p:tags r:id="rId178"/>
            </p:custDataLst>
          </p:nvPr>
        </p:nvSpPr>
        <p:spPr bwMode="auto">
          <a:xfrm>
            <a:off x="8430939" y="4089301"/>
            <a:ext cx="201711" cy="394427"/>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3" name="Freeform 254">
            <a:extLst>
              <a:ext uri="{FF2B5EF4-FFF2-40B4-BE49-F238E27FC236}">
                <a16:creationId xmlns:a16="http://schemas.microsoft.com/office/drawing/2014/main" id="{1D176453-DDDD-134B-9130-B13B1EA4E096}"/>
              </a:ext>
            </a:extLst>
          </p:cNvPr>
          <p:cNvSpPr>
            <a:spLocks/>
          </p:cNvSpPr>
          <p:nvPr userDrawn="1">
            <p:custDataLst>
              <p:tags r:id="rId179"/>
            </p:custDataLst>
          </p:nvPr>
        </p:nvSpPr>
        <p:spPr bwMode="auto">
          <a:xfrm>
            <a:off x="8099094" y="3815794"/>
            <a:ext cx="37415" cy="60460"/>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4" name="Freeform 255">
            <a:extLst>
              <a:ext uri="{FF2B5EF4-FFF2-40B4-BE49-F238E27FC236}">
                <a16:creationId xmlns:a16="http://schemas.microsoft.com/office/drawing/2014/main" id="{AAB63267-7F3B-474A-A018-9FEA38A4F258}"/>
              </a:ext>
            </a:extLst>
          </p:cNvPr>
          <p:cNvSpPr>
            <a:spLocks/>
          </p:cNvSpPr>
          <p:nvPr userDrawn="1">
            <p:custDataLst>
              <p:tags r:id="rId180"/>
            </p:custDataLst>
          </p:nvPr>
        </p:nvSpPr>
        <p:spPr bwMode="auto">
          <a:xfrm>
            <a:off x="8087706" y="3779804"/>
            <a:ext cx="56934" cy="54702"/>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5" name="Freeform 256">
            <a:extLst>
              <a:ext uri="{FF2B5EF4-FFF2-40B4-BE49-F238E27FC236}">
                <a16:creationId xmlns:a16="http://schemas.microsoft.com/office/drawing/2014/main" id="{9CEF9F09-814B-B249-AA6B-944F8FB4D33F}"/>
              </a:ext>
            </a:extLst>
          </p:cNvPr>
          <p:cNvSpPr>
            <a:spLocks/>
          </p:cNvSpPr>
          <p:nvPr userDrawn="1">
            <p:custDataLst>
              <p:tags r:id="rId181"/>
            </p:custDataLst>
          </p:nvPr>
        </p:nvSpPr>
        <p:spPr bwMode="auto">
          <a:xfrm>
            <a:off x="8404912" y="2600841"/>
            <a:ext cx="515664" cy="42897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6" name="Freeform 257">
            <a:extLst>
              <a:ext uri="{FF2B5EF4-FFF2-40B4-BE49-F238E27FC236}">
                <a16:creationId xmlns:a16="http://schemas.microsoft.com/office/drawing/2014/main" id="{FD5C04CD-2731-FE4E-813B-3623AE4BF412}"/>
              </a:ext>
            </a:extLst>
          </p:cNvPr>
          <p:cNvSpPr>
            <a:spLocks/>
          </p:cNvSpPr>
          <p:nvPr userDrawn="1">
            <p:custDataLst>
              <p:tags r:id="rId182"/>
            </p:custDataLst>
          </p:nvPr>
        </p:nvSpPr>
        <p:spPr bwMode="auto">
          <a:xfrm>
            <a:off x="8429313" y="3196799"/>
            <a:ext cx="253765" cy="20729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7" name="Freeform 258">
            <a:extLst>
              <a:ext uri="{FF2B5EF4-FFF2-40B4-BE49-F238E27FC236}">
                <a16:creationId xmlns:a16="http://schemas.microsoft.com/office/drawing/2014/main" id="{69F8ABA5-41DF-9D4B-9167-3F69ABAD01D9}"/>
              </a:ext>
            </a:extLst>
          </p:cNvPr>
          <p:cNvSpPr>
            <a:spLocks/>
          </p:cNvSpPr>
          <p:nvPr userDrawn="1">
            <p:custDataLst>
              <p:tags r:id="rId183"/>
            </p:custDataLst>
          </p:nvPr>
        </p:nvSpPr>
        <p:spPr bwMode="auto">
          <a:xfrm>
            <a:off x="8629396" y="2992388"/>
            <a:ext cx="123629" cy="10940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8" name="Freeform 259">
            <a:extLst>
              <a:ext uri="{FF2B5EF4-FFF2-40B4-BE49-F238E27FC236}">
                <a16:creationId xmlns:a16="http://schemas.microsoft.com/office/drawing/2014/main" id="{5B77CD69-E55E-1A4D-A763-D4836A2CCE39}"/>
              </a:ext>
            </a:extLst>
          </p:cNvPr>
          <p:cNvSpPr>
            <a:spLocks/>
          </p:cNvSpPr>
          <p:nvPr userDrawn="1">
            <p:custDataLst>
              <p:tags r:id="rId184"/>
            </p:custDataLst>
          </p:nvPr>
        </p:nvSpPr>
        <p:spPr bwMode="auto">
          <a:xfrm>
            <a:off x="8308937" y="2677134"/>
            <a:ext cx="227738" cy="23896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9" name="Freeform 260">
            <a:extLst>
              <a:ext uri="{FF2B5EF4-FFF2-40B4-BE49-F238E27FC236}">
                <a16:creationId xmlns:a16="http://schemas.microsoft.com/office/drawing/2014/main" id="{3645669C-B493-8A49-9F97-11F937DD5015}"/>
              </a:ext>
            </a:extLst>
          </p:cNvPr>
          <p:cNvSpPr>
            <a:spLocks/>
          </p:cNvSpPr>
          <p:nvPr userDrawn="1">
            <p:custDataLst>
              <p:tags r:id="rId185"/>
            </p:custDataLst>
          </p:nvPr>
        </p:nvSpPr>
        <p:spPr bwMode="auto">
          <a:xfrm>
            <a:off x="8821346" y="2641146"/>
            <a:ext cx="339980" cy="26343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0" name="Freeform 261">
            <a:extLst>
              <a:ext uri="{FF2B5EF4-FFF2-40B4-BE49-F238E27FC236}">
                <a16:creationId xmlns:a16="http://schemas.microsoft.com/office/drawing/2014/main" id="{737C229D-EA29-C348-B2F5-AAB0158EA0D6}"/>
              </a:ext>
            </a:extLst>
          </p:cNvPr>
          <p:cNvSpPr>
            <a:spLocks/>
          </p:cNvSpPr>
          <p:nvPr userDrawn="1">
            <p:custDataLst>
              <p:tags r:id="rId186"/>
            </p:custDataLst>
          </p:nvPr>
        </p:nvSpPr>
        <p:spPr bwMode="auto">
          <a:xfrm>
            <a:off x="8853882" y="2685771"/>
            <a:ext cx="374141" cy="3843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1" name="Freeform 262">
            <a:extLst>
              <a:ext uri="{FF2B5EF4-FFF2-40B4-BE49-F238E27FC236}">
                <a16:creationId xmlns:a16="http://schemas.microsoft.com/office/drawing/2014/main" id="{EC8CD41B-2437-1C43-BD5C-A79D9A900E9A}"/>
              </a:ext>
            </a:extLst>
          </p:cNvPr>
          <p:cNvSpPr>
            <a:spLocks/>
          </p:cNvSpPr>
          <p:nvPr userDrawn="1">
            <p:custDataLst>
              <p:tags r:id="rId187"/>
            </p:custDataLst>
          </p:nvPr>
        </p:nvSpPr>
        <p:spPr bwMode="auto">
          <a:xfrm>
            <a:off x="9663977" y="2929051"/>
            <a:ext cx="226112" cy="5311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2" name="Freeform 263">
            <a:extLst>
              <a:ext uri="{FF2B5EF4-FFF2-40B4-BE49-F238E27FC236}">
                <a16:creationId xmlns:a16="http://schemas.microsoft.com/office/drawing/2014/main" id="{C230C89D-668B-3E4A-AD59-DAE2F886A50F}"/>
              </a:ext>
            </a:extLst>
          </p:cNvPr>
          <p:cNvSpPr>
            <a:spLocks/>
          </p:cNvSpPr>
          <p:nvPr userDrawn="1">
            <p:custDataLst>
              <p:tags r:id="rId188"/>
            </p:custDataLst>
          </p:nvPr>
        </p:nvSpPr>
        <p:spPr bwMode="auto">
          <a:xfrm>
            <a:off x="6921364" y="3391134"/>
            <a:ext cx="82962" cy="5326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3" name="Freeform 264">
            <a:extLst>
              <a:ext uri="{FF2B5EF4-FFF2-40B4-BE49-F238E27FC236}">
                <a16:creationId xmlns:a16="http://schemas.microsoft.com/office/drawing/2014/main" id="{6DF64C49-6B4C-7746-A046-BF0CFA2CE266}"/>
              </a:ext>
            </a:extLst>
          </p:cNvPr>
          <p:cNvSpPr>
            <a:spLocks/>
          </p:cNvSpPr>
          <p:nvPr userDrawn="1">
            <p:custDataLst>
              <p:tags r:id="rId189"/>
            </p:custDataLst>
          </p:nvPr>
        </p:nvSpPr>
        <p:spPr bwMode="auto">
          <a:xfrm>
            <a:off x="7007579" y="3465990"/>
            <a:ext cx="76454" cy="90690"/>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4" name="Freeform 265">
            <a:extLst>
              <a:ext uri="{FF2B5EF4-FFF2-40B4-BE49-F238E27FC236}">
                <a16:creationId xmlns:a16="http://schemas.microsoft.com/office/drawing/2014/main" id="{161BEB98-28CC-6C45-B389-19CDB563EA5C}"/>
              </a:ext>
            </a:extLst>
          </p:cNvPr>
          <p:cNvSpPr>
            <a:spLocks/>
          </p:cNvSpPr>
          <p:nvPr userDrawn="1">
            <p:custDataLst>
              <p:tags r:id="rId190"/>
            </p:custDataLst>
          </p:nvPr>
        </p:nvSpPr>
        <p:spPr bwMode="auto">
          <a:xfrm>
            <a:off x="7051501" y="3512054"/>
            <a:ext cx="107362" cy="11948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5" name="Freeform 266">
            <a:extLst>
              <a:ext uri="{FF2B5EF4-FFF2-40B4-BE49-F238E27FC236}">
                <a16:creationId xmlns:a16="http://schemas.microsoft.com/office/drawing/2014/main" id="{2B871689-FC11-6943-8A57-E2B9533232DE}"/>
              </a:ext>
            </a:extLst>
          </p:cNvPr>
          <p:cNvSpPr>
            <a:spLocks/>
          </p:cNvSpPr>
          <p:nvPr userDrawn="1">
            <p:custDataLst>
              <p:tags r:id="rId191"/>
            </p:custDataLst>
          </p:nvPr>
        </p:nvSpPr>
        <p:spPr bwMode="auto">
          <a:xfrm>
            <a:off x="7271105" y="3438638"/>
            <a:ext cx="107362" cy="18281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6" name="Freeform 267">
            <a:extLst>
              <a:ext uri="{FF2B5EF4-FFF2-40B4-BE49-F238E27FC236}">
                <a16:creationId xmlns:a16="http://schemas.microsoft.com/office/drawing/2014/main" id="{0A384AD5-84D3-9D49-8E11-5209B7F00648}"/>
              </a:ext>
            </a:extLst>
          </p:cNvPr>
          <p:cNvSpPr>
            <a:spLocks/>
          </p:cNvSpPr>
          <p:nvPr userDrawn="1">
            <p:custDataLst>
              <p:tags r:id="rId192"/>
            </p:custDataLst>
          </p:nvPr>
        </p:nvSpPr>
        <p:spPr bwMode="auto">
          <a:xfrm>
            <a:off x="6914858" y="3362344"/>
            <a:ext cx="89469" cy="5326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7" name="Freeform 268">
            <a:extLst>
              <a:ext uri="{FF2B5EF4-FFF2-40B4-BE49-F238E27FC236}">
                <a16:creationId xmlns:a16="http://schemas.microsoft.com/office/drawing/2014/main" id="{41439B79-EEBE-FF4F-9DFD-6F4C1D33D5A5}"/>
              </a:ext>
            </a:extLst>
          </p:cNvPr>
          <p:cNvSpPr>
            <a:spLocks/>
          </p:cNvSpPr>
          <p:nvPr userDrawn="1">
            <p:custDataLst>
              <p:tags r:id="rId193"/>
            </p:custDataLst>
          </p:nvPr>
        </p:nvSpPr>
        <p:spPr bwMode="auto">
          <a:xfrm>
            <a:off x="7350813" y="3432882"/>
            <a:ext cx="43921" cy="141073"/>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8" name="Freeform 269">
            <a:extLst>
              <a:ext uri="{FF2B5EF4-FFF2-40B4-BE49-F238E27FC236}">
                <a16:creationId xmlns:a16="http://schemas.microsoft.com/office/drawing/2014/main" id="{8CC8DAAD-A0A4-584A-9F98-8A8C49DF9028}"/>
              </a:ext>
            </a:extLst>
          </p:cNvPr>
          <p:cNvSpPr>
            <a:spLocks/>
          </p:cNvSpPr>
          <p:nvPr userDrawn="1">
            <p:custDataLst>
              <p:tags r:id="rId194"/>
            </p:custDataLst>
          </p:nvPr>
        </p:nvSpPr>
        <p:spPr bwMode="auto">
          <a:xfrm>
            <a:off x="7376839" y="3398332"/>
            <a:ext cx="78081" cy="17130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9" name="Freeform 270">
            <a:extLst>
              <a:ext uri="{FF2B5EF4-FFF2-40B4-BE49-F238E27FC236}">
                <a16:creationId xmlns:a16="http://schemas.microsoft.com/office/drawing/2014/main" id="{648BB36E-200A-1449-BAB3-379848C927A2}"/>
              </a:ext>
            </a:extLst>
          </p:cNvPr>
          <p:cNvSpPr>
            <a:spLocks/>
          </p:cNvSpPr>
          <p:nvPr userDrawn="1">
            <p:custDataLst>
              <p:tags r:id="rId195"/>
            </p:custDataLst>
          </p:nvPr>
        </p:nvSpPr>
        <p:spPr bwMode="auto">
          <a:xfrm>
            <a:off x="8123494" y="4490926"/>
            <a:ext cx="26027" cy="54702"/>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0" name="Freeform 271">
            <a:extLst>
              <a:ext uri="{FF2B5EF4-FFF2-40B4-BE49-F238E27FC236}">
                <a16:creationId xmlns:a16="http://schemas.microsoft.com/office/drawing/2014/main" id="{DA47609D-494B-B841-BE14-7D378C4FE3C9}"/>
              </a:ext>
            </a:extLst>
          </p:cNvPr>
          <p:cNvSpPr>
            <a:spLocks/>
          </p:cNvSpPr>
          <p:nvPr userDrawn="1">
            <p:custDataLst>
              <p:tags r:id="rId196"/>
            </p:custDataLst>
          </p:nvPr>
        </p:nvSpPr>
        <p:spPr bwMode="auto">
          <a:xfrm>
            <a:off x="8016132" y="4578736"/>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1" name="Freeform 272">
            <a:extLst>
              <a:ext uri="{FF2B5EF4-FFF2-40B4-BE49-F238E27FC236}">
                <a16:creationId xmlns:a16="http://schemas.microsoft.com/office/drawing/2014/main" id="{BE8BE874-16AB-A547-B134-F51A2F90F503}"/>
              </a:ext>
            </a:extLst>
          </p:cNvPr>
          <p:cNvSpPr>
            <a:spLocks/>
          </p:cNvSpPr>
          <p:nvPr userDrawn="1">
            <p:custDataLst>
              <p:tags r:id="rId197"/>
            </p:custDataLst>
          </p:nvPr>
        </p:nvSpPr>
        <p:spPr bwMode="auto">
          <a:xfrm>
            <a:off x="10288628" y="2505832"/>
            <a:ext cx="123629" cy="15546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2" name="Freeform 273">
            <a:extLst>
              <a:ext uri="{FF2B5EF4-FFF2-40B4-BE49-F238E27FC236}">
                <a16:creationId xmlns:a16="http://schemas.microsoft.com/office/drawing/2014/main" id="{CA35ADFD-51A8-1143-A6F7-32335A8B3343}"/>
              </a:ext>
            </a:extLst>
          </p:cNvPr>
          <p:cNvSpPr>
            <a:spLocks/>
          </p:cNvSpPr>
          <p:nvPr userDrawn="1">
            <p:custDataLst>
              <p:tags r:id="rId198"/>
            </p:custDataLst>
          </p:nvPr>
        </p:nvSpPr>
        <p:spPr bwMode="auto">
          <a:xfrm>
            <a:off x="9337012" y="2881546"/>
            <a:ext cx="211471" cy="112282"/>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3" name="Freeform 274">
            <a:extLst>
              <a:ext uri="{FF2B5EF4-FFF2-40B4-BE49-F238E27FC236}">
                <a16:creationId xmlns:a16="http://schemas.microsoft.com/office/drawing/2014/main" id="{BCADDC8A-7CC5-5546-A20E-F63AC7C047A2}"/>
              </a:ext>
            </a:extLst>
          </p:cNvPr>
          <p:cNvSpPr>
            <a:spLocks/>
          </p:cNvSpPr>
          <p:nvPr userDrawn="1">
            <p:custDataLst>
              <p:tags r:id="rId199"/>
            </p:custDataLst>
          </p:nvPr>
        </p:nvSpPr>
        <p:spPr bwMode="auto">
          <a:xfrm>
            <a:off x="9558242" y="2931930"/>
            <a:ext cx="74828" cy="5902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4" name="Freeform 275">
            <a:extLst>
              <a:ext uri="{FF2B5EF4-FFF2-40B4-BE49-F238E27FC236}">
                <a16:creationId xmlns:a16="http://schemas.microsoft.com/office/drawing/2014/main" id="{96A846D3-D58C-D14E-9CFA-3FE542B635AA}"/>
              </a:ext>
            </a:extLst>
          </p:cNvPr>
          <p:cNvSpPr>
            <a:spLocks/>
          </p:cNvSpPr>
          <p:nvPr userDrawn="1">
            <p:custDataLst>
              <p:tags r:id="rId200"/>
            </p:custDataLst>
          </p:nvPr>
        </p:nvSpPr>
        <p:spPr bwMode="auto">
          <a:xfrm>
            <a:off x="9548481" y="2996706"/>
            <a:ext cx="136642" cy="151150"/>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5" name="Freeform 276">
            <a:extLst>
              <a:ext uri="{FF2B5EF4-FFF2-40B4-BE49-F238E27FC236}">
                <a16:creationId xmlns:a16="http://schemas.microsoft.com/office/drawing/2014/main" id="{1435C931-A056-7847-93EA-A10A8B0179EE}"/>
              </a:ext>
            </a:extLst>
          </p:cNvPr>
          <p:cNvSpPr>
            <a:spLocks/>
          </p:cNvSpPr>
          <p:nvPr userDrawn="1">
            <p:custDataLst>
              <p:tags r:id="rId201"/>
            </p:custDataLst>
          </p:nvPr>
        </p:nvSpPr>
        <p:spPr bwMode="auto">
          <a:xfrm>
            <a:off x="9873821" y="3101792"/>
            <a:ext cx="206590" cy="244718"/>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6" name="Freeform 277">
            <a:extLst>
              <a:ext uri="{FF2B5EF4-FFF2-40B4-BE49-F238E27FC236}">
                <a16:creationId xmlns:a16="http://schemas.microsoft.com/office/drawing/2014/main" id="{65488B81-C110-D14C-9B21-8E642E8DF99A}"/>
              </a:ext>
            </a:extLst>
          </p:cNvPr>
          <p:cNvSpPr>
            <a:spLocks/>
          </p:cNvSpPr>
          <p:nvPr userDrawn="1">
            <p:custDataLst>
              <p:tags r:id="rId202"/>
            </p:custDataLst>
          </p:nvPr>
        </p:nvSpPr>
        <p:spPr bwMode="auto">
          <a:xfrm>
            <a:off x="9958409" y="3329236"/>
            <a:ext cx="136642" cy="118041"/>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7" name="Freeform 278">
            <a:extLst>
              <a:ext uri="{FF2B5EF4-FFF2-40B4-BE49-F238E27FC236}">
                <a16:creationId xmlns:a16="http://schemas.microsoft.com/office/drawing/2014/main" id="{DB3C25B6-3271-5E4A-B67A-D61400A107AE}"/>
              </a:ext>
            </a:extLst>
          </p:cNvPr>
          <p:cNvSpPr>
            <a:spLocks/>
          </p:cNvSpPr>
          <p:nvPr userDrawn="1">
            <p:custDataLst>
              <p:tags r:id="rId203"/>
            </p:custDataLst>
          </p:nvPr>
        </p:nvSpPr>
        <p:spPr bwMode="auto">
          <a:xfrm>
            <a:off x="10369964" y="2636828"/>
            <a:ext cx="87842" cy="118041"/>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8" name="Freeform 279">
            <a:extLst>
              <a:ext uri="{FF2B5EF4-FFF2-40B4-BE49-F238E27FC236}">
                <a16:creationId xmlns:a16="http://schemas.microsoft.com/office/drawing/2014/main" id="{95C65B9E-89EE-594E-B127-9428748FBEA3}"/>
              </a:ext>
            </a:extLst>
          </p:cNvPr>
          <p:cNvSpPr>
            <a:spLocks/>
          </p:cNvSpPr>
          <p:nvPr userDrawn="1">
            <p:custDataLst>
              <p:tags r:id="rId204"/>
            </p:custDataLst>
          </p:nvPr>
        </p:nvSpPr>
        <p:spPr bwMode="auto">
          <a:xfrm>
            <a:off x="10952322" y="3812913"/>
            <a:ext cx="237498" cy="230323"/>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9" name="Freeform 280">
            <a:extLst>
              <a:ext uri="{FF2B5EF4-FFF2-40B4-BE49-F238E27FC236}">
                <a16:creationId xmlns:a16="http://schemas.microsoft.com/office/drawing/2014/main" id="{F6FA4B8E-0E72-1E4B-8ACF-BB133D37859B}"/>
              </a:ext>
            </a:extLst>
          </p:cNvPr>
          <p:cNvSpPr>
            <a:spLocks/>
          </p:cNvSpPr>
          <p:nvPr userDrawn="1">
            <p:custDataLst>
              <p:tags r:id="rId205"/>
            </p:custDataLst>
          </p:nvPr>
        </p:nvSpPr>
        <p:spPr bwMode="auto">
          <a:xfrm>
            <a:off x="11149152" y="3798519"/>
            <a:ext cx="108988" cy="116600"/>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0" name="Freeform 281">
            <a:extLst>
              <a:ext uri="{FF2B5EF4-FFF2-40B4-BE49-F238E27FC236}">
                <a16:creationId xmlns:a16="http://schemas.microsoft.com/office/drawing/2014/main" id="{E64DFD8A-62FB-D74E-9220-8FA04332E7BD}"/>
              </a:ext>
            </a:extLst>
          </p:cNvPr>
          <p:cNvSpPr>
            <a:spLocks/>
          </p:cNvSpPr>
          <p:nvPr userDrawn="1">
            <p:custDataLst>
              <p:tags r:id="rId206"/>
            </p:custDataLst>
          </p:nvPr>
        </p:nvSpPr>
        <p:spPr bwMode="auto">
          <a:xfrm>
            <a:off x="9382558" y="3465990"/>
            <a:ext cx="65068" cy="10796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881" name="Group 282">
            <a:extLst>
              <a:ext uri="{FF2B5EF4-FFF2-40B4-BE49-F238E27FC236}">
                <a16:creationId xmlns:a16="http://schemas.microsoft.com/office/drawing/2014/main" id="{17D69B01-7763-B44A-9A37-E19542B164CF}"/>
              </a:ext>
            </a:extLst>
          </p:cNvPr>
          <p:cNvGrpSpPr>
            <a:grpSpLocks/>
          </p:cNvGrpSpPr>
          <p:nvPr userDrawn="1">
            <p:custDataLst>
              <p:tags r:id="rId207"/>
            </p:custDataLst>
          </p:nvPr>
        </p:nvGrpSpPr>
        <p:grpSpPr bwMode="auto">
          <a:xfrm>
            <a:off x="10345563" y="3203997"/>
            <a:ext cx="239124" cy="398747"/>
            <a:chOff x="5062" y="2295"/>
            <a:chExt cx="177" cy="279"/>
          </a:xfrm>
          <a:solidFill>
            <a:srgbClr val="DADADA"/>
          </a:solidFill>
        </p:grpSpPr>
        <p:sp>
          <p:nvSpPr>
            <p:cNvPr id="882" name="Freeform 283">
              <a:extLst>
                <a:ext uri="{FF2B5EF4-FFF2-40B4-BE49-F238E27FC236}">
                  <a16:creationId xmlns:a16="http://schemas.microsoft.com/office/drawing/2014/main" id="{A5FF2A43-E2A2-0F46-9CBE-FAB24D98A78E}"/>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3" name="Freeform 284">
              <a:extLst>
                <a:ext uri="{FF2B5EF4-FFF2-40B4-BE49-F238E27FC236}">
                  <a16:creationId xmlns:a16="http://schemas.microsoft.com/office/drawing/2014/main" id="{9DB8967E-CA7A-3649-984F-4984C605290A}"/>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4" name="Freeform 285">
              <a:extLst>
                <a:ext uri="{FF2B5EF4-FFF2-40B4-BE49-F238E27FC236}">
                  <a16:creationId xmlns:a16="http://schemas.microsoft.com/office/drawing/2014/main" id="{8D6FEF10-049D-A64A-BB2B-5D4E94CCC9AD}"/>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5" name="Freeform 286">
              <a:extLst>
                <a:ext uri="{FF2B5EF4-FFF2-40B4-BE49-F238E27FC236}">
                  <a16:creationId xmlns:a16="http://schemas.microsoft.com/office/drawing/2014/main" id="{A8D571FF-4C30-3F41-A0D9-A433ADBF529C}"/>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6" name="Freeform 287">
              <a:extLst>
                <a:ext uri="{FF2B5EF4-FFF2-40B4-BE49-F238E27FC236}">
                  <a16:creationId xmlns:a16="http://schemas.microsoft.com/office/drawing/2014/main" id="{A35080F2-625A-AD4D-B7BD-FF38D2CF54DF}"/>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7" name="Freeform 288">
              <a:extLst>
                <a:ext uri="{FF2B5EF4-FFF2-40B4-BE49-F238E27FC236}">
                  <a16:creationId xmlns:a16="http://schemas.microsoft.com/office/drawing/2014/main" id="{14E51115-4165-BA4D-AEA0-3E8E8587B7EF}"/>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8" name="Freeform 289">
              <a:extLst>
                <a:ext uri="{FF2B5EF4-FFF2-40B4-BE49-F238E27FC236}">
                  <a16:creationId xmlns:a16="http://schemas.microsoft.com/office/drawing/2014/main" id="{26C0C9A0-DCE9-9B4E-84DD-F53E52B88658}"/>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9" name="Freeform 290">
              <a:extLst>
                <a:ext uri="{FF2B5EF4-FFF2-40B4-BE49-F238E27FC236}">
                  <a16:creationId xmlns:a16="http://schemas.microsoft.com/office/drawing/2014/main" id="{77630D21-FE70-9F47-823E-528AAFDF2B6A}"/>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0" name="Freeform 291">
              <a:extLst>
                <a:ext uri="{FF2B5EF4-FFF2-40B4-BE49-F238E27FC236}">
                  <a16:creationId xmlns:a16="http://schemas.microsoft.com/office/drawing/2014/main" id="{A4C79CBB-D59A-7D45-8548-3BCEC431DF70}"/>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1" name="Freeform 292">
              <a:extLst>
                <a:ext uri="{FF2B5EF4-FFF2-40B4-BE49-F238E27FC236}">
                  <a16:creationId xmlns:a16="http://schemas.microsoft.com/office/drawing/2014/main" id="{1C7F2FAF-6F44-E24B-AB2B-5B5CF6F9B0E0}"/>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2" name="Freeform 293">
              <a:extLst>
                <a:ext uri="{FF2B5EF4-FFF2-40B4-BE49-F238E27FC236}">
                  <a16:creationId xmlns:a16="http://schemas.microsoft.com/office/drawing/2014/main" id="{FDB8D2C0-21E1-E341-BDCA-06908918BDCF}"/>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3" name="Freeform 294">
              <a:extLst>
                <a:ext uri="{FF2B5EF4-FFF2-40B4-BE49-F238E27FC236}">
                  <a16:creationId xmlns:a16="http://schemas.microsoft.com/office/drawing/2014/main" id="{0E6B0A0E-BD9C-4E47-8652-AD4B8E0E5DE8}"/>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4" name="Freeform 295">
              <a:extLst>
                <a:ext uri="{FF2B5EF4-FFF2-40B4-BE49-F238E27FC236}">
                  <a16:creationId xmlns:a16="http://schemas.microsoft.com/office/drawing/2014/main" id="{75BB9B2B-D5E6-EB4F-A843-533FAF6D4779}"/>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5" name="Freeform 296">
              <a:extLst>
                <a:ext uri="{FF2B5EF4-FFF2-40B4-BE49-F238E27FC236}">
                  <a16:creationId xmlns:a16="http://schemas.microsoft.com/office/drawing/2014/main" id="{B027BE39-EDEF-0648-A06B-B4A393475DC6}"/>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6" name="Freeform 297">
              <a:extLst>
                <a:ext uri="{FF2B5EF4-FFF2-40B4-BE49-F238E27FC236}">
                  <a16:creationId xmlns:a16="http://schemas.microsoft.com/office/drawing/2014/main" id="{9394BF94-6AF7-C340-BCA8-CD9DF7104186}"/>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7" name="Line 298">
              <a:extLst>
                <a:ext uri="{FF2B5EF4-FFF2-40B4-BE49-F238E27FC236}">
                  <a16:creationId xmlns:a16="http://schemas.microsoft.com/office/drawing/2014/main" id="{B91C408E-A23C-9647-B068-D7AFCFFF64C4}"/>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8" name="Freeform 299">
              <a:extLst>
                <a:ext uri="{FF2B5EF4-FFF2-40B4-BE49-F238E27FC236}">
                  <a16:creationId xmlns:a16="http://schemas.microsoft.com/office/drawing/2014/main" id="{AD653EDA-1501-5641-8F8D-41A27E0A2145}"/>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9" name="Line 300">
              <a:extLst>
                <a:ext uri="{FF2B5EF4-FFF2-40B4-BE49-F238E27FC236}">
                  <a16:creationId xmlns:a16="http://schemas.microsoft.com/office/drawing/2014/main" id="{BA67B5CD-B7E3-6442-A5D1-36C26CF25E85}"/>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0" name="Freeform 301">
              <a:extLst>
                <a:ext uri="{FF2B5EF4-FFF2-40B4-BE49-F238E27FC236}">
                  <a16:creationId xmlns:a16="http://schemas.microsoft.com/office/drawing/2014/main" id="{AC90DF2A-5CA4-5549-9450-064BA0F5788D}"/>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1" name="Freeform 302">
              <a:extLst>
                <a:ext uri="{FF2B5EF4-FFF2-40B4-BE49-F238E27FC236}">
                  <a16:creationId xmlns:a16="http://schemas.microsoft.com/office/drawing/2014/main" id="{BB0618EF-F7E3-C645-88E4-9FC82C9C1265}"/>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2" name="Freeform 303">
              <a:extLst>
                <a:ext uri="{FF2B5EF4-FFF2-40B4-BE49-F238E27FC236}">
                  <a16:creationId xmlns:a16="http://schemas.microsoft.com/office/drawing/2014/main" id="{750FD63D-33B5-F149-855E-9F7D181AF5D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3" name="Freeform 304">
              <a:extLst>
                <a:ext uri="{FF2B5EF4-FFF2-40B4-BE49-F238E27FC236}">
                  <a16:creationId xmlns:a16="http://schemas.microsoft.com/office/drawing/2014/main" id="{062A789C-0315-B54F-AED8-6E6468088485}"/>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4" name="Freeform 305">
              <a:extLst>
                <a:ext uri="{FF2B5EF4-FFF2-40B4-BE49-F238E27FC236}">
                  <a16:creationId xmlns:a16="http://schemas.microsoft.com/office/drawing/2014/main" id="{D6D0D1D1-DC30-FD45-973F-C5031B70A373}"/>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5" name="Line 306">
              <a:extLst>
                <a:ext uri="{FF2B5EF4-FFF2-40B4-BE49-F238E27FC236}">
                  <a16:creationId xmlns:a16="http://schemas.microsoft.com/office/drawing/2014/main" id="{A05D06E1-56ED-324D-873A-17F4F3F36DF0}"/>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06" name="Freeform 307">
            <a:extLst>
              <a:ext uri="{FF2B5EF4-FFF2-40B4-BE49-F238E27FC236}">
                <a16:creationId xmlns:a16="http://schemas.microsoft.com/office/drawing/2014/main" id="{102FC5CC-8862-2446-9AD5-7EE58ABE3578}"/>
              </a:ext>
            </a:extLst>
          </p:cNvPr>
          <p:cNvSpPr>
            <a:spLocks/>
          </p:cNvSpPr>
          <p:nvPr userDrawn="1">
            <p:custDataLst>
              <p:tags r:id="rId208"/>
            </p:custDataLst>
          </p:nvPr>
        </p:nvSpPr>
        <p:spPr bwMode="auto">
          <a:xfrm>
            <a:off x="10698556" y="3946789"/>
            <a:ext cx="14640" cy="5038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7" name="Freeform 308">
            <a:extLst>
              <a:ext uri="{FF2B5EF4-FFF2-40B4-BE49-F238E27FC236}">
                <a16:creationId xmlns:a16="http://schemas.microsoft.com/office/drawing/2014/main" id="{A0B5C0A4-5F61-434E-92F7-A01AE5916A6F}"/>
              </a:ext>
            </a:extLst>
          </p:cNvPr>
          <p:cNvSpPr>
            <a:spLocks/>
          </p:cNvSpPr>
          <p:nvPr userDrawn="1">
            <p:custDataLst>
              <p:tags r:id="rId209"/>
            </p:custDataLst>
          </p:nvPr>
        </p:nvSpPr>
        <p:spPr bwMode="auto">
          <a:xfrm>
            <a:off x="10776639" y="3892086"/>
            <a:ext cx="22774" cy="5326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8" name="Freeform 309">
            <a:extLst>
              <a:ext uri="{FF2B5EF4-FFF2-40B4-BE49-F238E27FC236}">
                <a16:creationId xmlns:a16="http://schemas.microsoft.com/office/drawing/2014/main" id="{BFF401E7-3168-EB45-A3E4-E946178F0E21}"/>
              </a:ext>
            </a:extLst>
          </p:cNvPr>
          <p:cNvSpPr>
            <a:spLocks/>
          </p:cNvSpPr>
          <p:nvPr userDrawn="1">
            <p:custDataLst>
              <p:tags r:id="rId210"/>
            </p:custDataLst>
          </p:nvPr>
        </p:nvSpPr>
        <p:spPr bwMode="auto">
          <a:xfrm>
            <a:off x="10825439" y="3782683"/>
            <a:ext cx="24401" cy="51823"/>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9" name="Freeform 310">
            <a:extLst>
              <a:ext uri="{FF2B5EF4-FFF2-40B4-BE49-F238E27FC236}">
                <a16:creationId xmlns:a16="http://schemas.microsoft.com/office/drawing/2014/main" id="{1B349065-F99B-3B4F-A6CE-CF4DE1B2FC00}"/>
              </a:ext>
            </a:extLst>
          </p:cNvPr>
          <p:cNvSpPr>
            <a:spLocks/>
          </p:cNvSpPr>
          <p:nvPr userDrawn="1">
            <p:custDataLst>
              <p:tags r:id="rId211"/>
            </p:custDataLst>
          </p:nvPr>
        </p:nvSpPr>
        <p:spPr bwMode="auto">
          <a:xfrm>
            <a:off x="10809172" y="3755332"/>
            <a:ext cx="26027" cy="51823"/>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0" name="Freeform 311">
            <a:extLst>
              <a:ext uri="{FF2B5EF4-FFF2-40B4-BE49-F238E27FC236}">
                <a16:creationId xmlns:a16="http://schemas.microsoft.com/office/drawing/2014/main" id="{00D82F35-07F8-8947-82A1-BE4FBFF034A5}"/>
              </a:ext>
            </a:extLst>
          </p:cNvPr>
          <p:cNvSpPr>
            <a:spLocks/>
          </p:cNvSpPr>
          <p:nvPr userDrawn="1">
            <p:custDataLst>
              <p:tags r:id="rId212"/>
            </p:custDataLst>
          </p:nvPr>
        </p:nvSpPr>
        <p:spPr bwMode="auto">
          <a:xfrm>
            <a:off x="10630235" y="3661762"/>
            <a:ext cx="8134" cy="51823"/>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1" name="Freeform 312">
            <a:extLst>
              <a:ext uri="{FF2B5EF4-FFF2-40B4-BE49-F238E27FC236}">
                <a16:creationId xmlns:a16="http://schemas.microsoft.com/office/drawing/2014/main" id="{949C222C-18AA-364E-A991-D16061E6CA2D}"/>
              </a:ext>
            </a:extLst>
          </p:cNvPr>
          <p:cNvSpPr>
            <a:spLocks/>
          </p:cNvSpPr>
          <p:nvPr userDrawn="1">
            <p:custDataLst>
              <p:tags r:id="rId213"/>
            </p:custDataLst>
          </p:nvPr>
        </p:nvSpPr>
        <p:spPr bwMode="auto">
          <a:xfrm>
            <a:off x="10555408" y="3784124"/>
            <a:ext cx="30908" cy="5326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2" name="Freeform 313">
            <a:extLst>
              <a:ext uri="{FF2B5EF4-FFF2-40B4-BE49-F238E27FC236}">
                <a16:creationId xmlns:a16="http://schemas.microsoft.com/office/drawing/2014/main" id="{AAD55E19-43F7-6844-B203-4D8D91E3E451}"/>
              </a:ext>
            </a:extLst>
          </p:cNvPr>
          <p:cNvSpPr>
            <a:spLocks/>
          </p:cNvSpPr>
          <p:nvPr userDrawn="1">
            <p:custDataLst>
              <p:tags r:id="rId214"/>
            </p:custDataLst>
          </p:nvPr>
        </p:nvSpPr>
        <p:spPr bwMode="auto">
          <a:xfrm>
            <a:off x="10563540" y="3952547"/>
            <a:ext cx="19520" cy="5038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3" name="Freeform 314">
            <a:extLst>
              <a:ext uri="{FF2B5EF4-FFF2-40B4-BE49-F238E27FC236}">
                <a16:creationId xmlns:a16="http://schemas.microsoft.com/office/drawing/2014/main" id="{6CC927B8-A8D1-4648-9AD1-7C35668869CC}"/>
              </a:ext>
            </a:extLst>
          </p:cNvPr>
          <p:cNvSpPr>
            <a:spLocks/>
          </p:cNvSpPr>
          <p:nvPr userDrawn="1">
            <p:custDataLst>
              <p:tags r:id="rId215"/>
            </p:custDataLst>
          </p:nvPr>
        </p:nvSpPr>
        <p:spPr bwMode="auto">
          <a:xfrm>
            <a:off x="10679036" y="3788440"/>
            <a:ext cx="11388" cy="51823"/>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4" name="Freeform 315">
            <a:extLst>
              <a:ext uri="{FF2B5EF4-FFF2-40B4-BE49-F238E27FC236}">
                <a16:creationId xmlns:a16="http://schemas.microsoft.com/office/drawing/2014/main" id="{C536B4DA-847B-424A-843F-C10DB3C7FCA8}"/>
              </a:ext>
            </a:extLst>
          </p:cNvPr>
          <p:cNvSpPr>
            <a:spLocks/>
          </p:cNvSpPr>
          <p:nvPr userDrawn="1">
            <p:custDataLst>
              <p:tags r:id="rId216"/>
            </p:custDataLst>
          </p:nvPr>
        </p:nvSpPr>
        <p:spPr bwMode="auto">
          <a:xfrm>
            <a:off x="10535886" y="3784124"/>
            <a:ext cx="19520" cy="5326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5" name="Freeform 316">
            <a:extLst>
              <a:ext uri="{FF2B5EF4-FFF2-40B4-BE49-F238E27FC236}">
                <a16:creationId xmlns:a16="http://schemas.microsoft.com/office/drawing/2014/main" id="{AA48B95C-F9DE-8647-B69D-0C4BEE966FF2}"/>
              </a:ext>
            </a:extLst>
          </p:cNvPr>
          <p:cNvSpPr>
            <a:spLocks/>
          </p:cNvSpPr>
          <p:nvPr userDrawn="1">
            <p:custDataLst>
              <p:tags r:id="rId217"/>
            </p:custDataLst>
          </p:nvPr>
        </p:nvSpPr>
        <p:spPr bwMode="auto">
          <a:xfrm>
            <a:off x="10581435" y="3827308"/>
            <a:ext cx="30908" cy="51823"/>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6" name="Freeform 317">
            <a:extLst>
              <a:ext uri="{FF2B5EF4-FFF2-40B4-BE49-F238E27FC236}">
                <a16:creationId xmlns:a16="http://schemas.microsoft.com/office/drawing/2014/main" id="{1863EFDC-2084-C346-8771-FF19E6CD2520}"/>
              </a:ext>
            </a:extLst>
          </p:cNvPr>
          <p:cNvSpPr>
            <a:spLocks/>
          </p:cNvSpPr>
          <p:nvPr userDrawn="1">
            <p:custDataLst>
              <p:tags r:id="rId218"/>
            </p:custDataLst>
          </p:nvPr>
        </p:nvSpPr>
        <p:spPr bwMode="auto">
          <a:xfrm>
            <a:off x="10378098" y="4011567"/>
            <a:ext cx="47173" cy="5326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7" name="Freeform 318">
            <a:extLst>
              <a:ext uri="{FF2B5EF4-FFF2-40B4-BE49-F238E27FC236}">
                <a16:creationId xmlns:a16="http://schemas.microsoft.com/office/drawing/2014/main" id="{1BF4C852-8663-0248-B4E1-576F0D567CC9}"/>
              </a:ext>
            </a:extLst>
          </p:cNvPr>
          <p:cNvSpPr>
            <a:spLocks/>
          </p:cNvSpPr>
          <p:nvPr userDrawn="1">
            <p:custDataLst>
              <p:tags r:id="rId219"/>
            </p:custDataLst>
          </p:nvPr>
        </p:nvSpPr>
        <p:spPr bwMode="auto">
          <a:xfrm>
            <a:off x="10478953" y="4046116"/>
            <a:ext cx="14640" cy="5326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8" name="Freeform 319">
            <a:extLst>
              <a:ext uri="{FF2B5EF4-FFF2-40B4-BE49-F238E27FC236}">
                <a16:creationId xmlns:a16="http://schemas.microsoft.com/office/drawing/2014/main" id="{13CB4F6E-E0CA-5B44-ADC2-B017C1C012BB}"/>
              </a:ext>
            </a:extLst>
          </p:cNvPr>
          <p:cNvSpPr>
            <a:spLocks/>
          </p:cNvSpPr>
          <p:nvPr userDrawn="1">
            <p:custDataLst>
              <p:tags r:id="rId220"/>
            </p:custDataLst>
          </p:nvPr>
        </p:nvSpPr>
        <p:spPr bwMode="auto">
          <a:xfrm>
            <a:off x="10308149" y="3984216"/>
            <a:ext cx="37415" cy="5038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9" name="Freeform 320">
            <a:extLst>
              <a:ext uri="{FF2B5EF4-FFF2-40B4-BE49-F238E27FC236}">
                <a16:creationId xmlns:a16="http://schemas.microsoft.com/office/drawing/2014/main" id="{CEC5C651-460B-C24D-9240-AE4C4047AE14}"/>
              </a:ext>
            </a:extLst>
          </p:cNvPr>
          <p:cNvSpPr>
            <a:spLocks/>
          </p:cNvSpPr>
          <p:nvPr userDrawn="1">
            <p:custDataLst>
              <p:tags r:id="rId221"/>
            </p:custDataLst>
          </p:nvPr>
        </p:nvSpPr>
        <p:spPr bwMode="auto">
          <a:xfrm>
            <a:off x="10353696" y="3971260"/>
            <a:ext cx="40668" cy="50383"/>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0" name="Freeform 321">
            <a:extLst>
              <a:ext uri="{FF2B5EF4-FFF2-40B4-BE49-F238E27FC236}">
                <a16:creationId xmlns:a16="http://schemas.microsoft.com/office/drawing/2014/main" id="{E9470163-557B-B64B-919A-DD9870D2FFCC}"/>
              </a:ext>
            </a:extLst>
          </p:cNvPr>
          <p:cNvSpPr>
            <a:spLocks/>
          </p:cNvSpPr>
          <p:nvPr userDrawn="1">
            <p:custDataLst>
              <p:tags r:id="rId222"/>
            </p:custDataLst>
          </p:nvPr>
        </p:nvSpPr>
        <p:spPr bwMode="auto">
          <a:xfrm>
            <a:off x="10407378" y="3979898"/>
            <a:ext cx="37414" cy="5326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1" name="Freeform 322">
            <a:extLst>
              <a:ext uri="{FF2B5EF4-FFF2-40B4-BE49-F238E27FC236}">
                <a16:creationId xmlns:a16="http://schemas.microsoft.com/office/drawing/2014/main" id="{764B78B4-1E49-444D-BEB4-8A615A1EB072}"/>
              </a:ext>
            </a:extLst>
          </p:cNvPr>
          <p:cNvSpPr>
            <a:spLocks/>
          </p:cNvSpPr>
          <p:nvPr userDrawn="1">
            <p:custDataLst>
              <p:tags r:id="rId223"/>
            </p:custDataLst>
          </p:nvPr>
        </p:nvSpPr>
        <p:spPr bwMode="auto">
          <a:xfrm>
            <a:off x="10461058" y="3984216"/>
            <a:ext cx="26027" cy="5038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2" name="Freeform 323">
            <a:extLst>
              <a:ext uri="{FF2B5EF4-FFF2-40B4-BE49-F238E27FC236}">
                <a16:creationId xmlns:a16="http://schemas.microsoft.com/office/drawing/2014/main" id="{B6A8BAC4-9B69-C04F-A9ED-9360629F99D6}"/>
              </a:ext>
            </a:extLst>
          </p:cNvPr>
          <p:cNvSpPr>
            <a:spLocks/>
          </p:cNvSpPr>
          <p:nvPr userDrawn="1">
            <p:custDataLst>
              <p:tags r:id="rId224"/>
            </p:custDataLst>
          </p:nvPr>
        </p:nvSpPr>
        <p:spPr bwMode="auto">
          <a:xfrm>
            <a:off x="10535886" y="3977018"/>
            <a:ext cx="1627" cy="50383"/>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3" name="Freeform 324">
            <a:extLst>
              <a:ext uri="{FF2B5EF4-FFF2-40B4-BE49-F238E27FC236}">
                <a16:creationId xmlns:a16="http://schemas.microsoft.com/office/drawing/2014/main" id="{D9C39AAF-EF4F-AF4E-8ABD-326D0E713CEC}"/>
              </a:ext>
            </a:extLst>
          </p:cNvPr>
          <p:cNvSpPr>
            <a:spLocks/>
          </p:cNvSpPr>
          <p:nvPr userDrawn="1">
            <p:custDataLst>
              <p:tags r:id="rId225"/>
            </p:custDataLst>
          </p:nvPr>
        </p:nvSpPr>
        <p:spPr bwMode="auto">
          <a:xfrm>
            <a:off x="10099931" y="3808594"/>
            <a:ext cx="21147" cy="5326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4" name="Freeform 325">
            <a:extLst>
              <a:ext uri="{FF2B5EF4-FFF2-40B4-BE49-F238E27FC236}">
                <a16:creationId xmlns:a16="http://schemas.microsoft.com/office/drawing/2014/main" id="{BEA3B24F-2EC6-F441-B055-CB87F1C582C6}"/>
              </a:ext>
            </a:extLst>
          </p:cNvPr>
          <p:cNvSpPr>
            <a:spLocks/>
          </p:cNvSpPr>
          <p:nvPr userDrawn="1">
            <p:custDataLst>
              <p:tags r:id="rId226"/>
            </p:custDataLst>
          </p:nvPr>
        </p:nvSpPr>
        <p:spPr bwMode="auto">
          <a:xfrm>
            <a:off x="10044625" y="3784124"/>
            <a:ext cx="30908" cy="5326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5" name="Freeform 326">
            <a:extLst>
              <a:ext uri="{FF2B5EF4-FFF2-40B4-BE49-F238E27FC236}">
                <a16:creationId xmlns:a16="http://schemas.microsoft.com/office/drawing/2014/main" id="{FC154474-D0A3-8345-A203-E14EEF2A3E67}"/>
              </a:ext>
            </a:extLst>
          </p:cNvPr>
          <p:cNvSpPr>
            <a:spLocks/>
          </p:cNvSpPr>
          <p:nvPr userDrawn="1">
            <p:custDataLst>
              <p:tags r:id="rId227"/>
            </p:custDataLst>
          </p:nvPr>
        </p:nvSpPr>
        <p:spPr bwMode="auto">
          <a:xfrm>
            <a:off x="9875447" y="3769728"/>
            <a:ext cx="8134" cy="51823"/>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6" name="Line 327" descr="Horizontal dunkel">
            <a:extLst>
              <a:ext uri="{FF2B5EF4-FFF2-40B4-BE49-F238E27FC236}">
                <a16:creationId xmlns:a16="http://schemas.microsoft.com/office/drawing/2014/main" id="{37757B5D-6DDD-3845-B51A-863184146E93}"/>
              </a:ext>
            </a:extLst>
          </p:cNvPr>
          <p:cNvSpPr>
            <a:spLocks noChangeShapeType="1"/>
          </p:cNvSpPr>
          <p:nvPr userDrawn="1">
            <p:custDataLst>
              <p:tags r:id="rId228"/>
            </p:custDataLst>
          </p:nvPr>
        </p:nvSpPr>
        <p:spPr bwMode="auto">
          <a:xfrm>
            <a:off x="9901475" y="3802836"/>
            <a:ext cx="4881" cy="5757"/>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7" name="Freeform 328">
            <a:extLst>
              <a:ext uri="{FF2B5EF4-FFF2-40B4-BE49-F238E27FC236}">
                <a16:creationId xmlns:a16="http://schemas.microsoft.com/office/drawing/2014/main" id="{82CF334D-ED93-6A46-92D6-DB3262063C97}"/>
              </a:ext>
            </a:extLst>
          </p:cNvPr>
          <p:cNvSpPr>
            <a:spLocks/>
          </p:cNvSpPr>
          <p:nvPr userDrawn="1">
            <p:custDataLst>
              <p:tags r:id="rId229"/>
            </p:custDataLst>
          </p:nvPr>
        </p:nvSpPr>
        <p:spPr bwMode="auto">
          <a:xfrm>
            <a:off x="9898221" y="3802836"/>
            <a:ext cx="8134" cy="51823"/>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8" name="Freeform 329">
            <a:extLst>
              <a:ext uri="{FF2B5EF4-FFF2-40B4-BE49-F238E27FC236}">
                <a16:creationId xmlns:a16="http://schemas.microsoft.com/office/drawing/2014/main" id="{C77F7F17-5F82-7846-B749-A70A1F15424F}"/>
              </a:ext>
            </a:extLst>
          </p:cNvPr>
          <p:cNvSpPr>
            <a:spLocks/>
          </p:cNvSpPr>
          <p:nvPr userDrawn="1">
            <p:custDataLst>
              <p:tags r:id="rId230"/>
            </p:custDataLst>
          </p:nvPr>
        </p:nvSpPr>
        <p:spPr bwMode="auto">
          <a:xfrm>
            <a:off x="9797367" y="3661762"/>
            <a:ext cx="22774" cy="51823"/>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9" name="Freeform 330">
            <a:extLst>
              <a:ext uri="{FF2B5EF4-FFF2-40B4-BE49-F238E27FC236}">
                <a16:creationId xmlns:a16="http://schemas.microsoft.com/office/drawing/2014/main" id="{06994ABB-B9B0-1E4F-A4B7-2D963AF9B7DF}"/>
              </a:ext>
            </a:extLst>
          </p:cNvPr>
          <p:cNvSpPr>
            <a:spLocks/>
          </p:cNvSpPr>
          <p:nvPr userDrawn="1">
            <p:custDataLst>
              <p:tags r:id="rId231"/>
            </p:custDataLst>
          </p:nvPr>
        </p:nvSpPr>
        <p:spPr bwMode="auto">
          <a:xfrm>
            <a:off x="10339056" y="3991414"/>
            <a:ext cx="11387" cy="51823"/>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0" name="Freeform 331">
            <a:extLst>
              <a:ext uri="{FF2B5EF4-FFF2-40B4-BE49-F238E27FC236}">
                <a16:creationId xmlns:a16="http://schemas.microsoft.com/office/drawing/2014/main" id="{062EAC2B-8928-DD4F-AFF4-92181770175A}"/>
              </a:ext>
            </a:extLst>
          </p:cNvPr>
          <p:cNvSpPr>
            <a:spLocks/>
          </p:cNvSpPr>
          <p:nvPr userDrawn="1">
            <p:custDataLst>
              <p:tags r:id="rId232"/>
            </p:custDataLst>
          </p:nvPr>
        </p:nvSpPr>
        <p:spPr bwMode="auto">
          <a:xfrm>
            <a:off x="10867734" y="3952547"/>
            <a:ext cx="29281" cy="5038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1" name="Freeform 332">
            <a:extLst>
              <a:ext uri="{FF2B5EF4-FFF2-40B4-BE49-F238E27FC236}">
                <a16:creationId xmlns:a16="http://schemas.microsoft.com/office/drawing/2014/main" id="{71314049-9335-4B43-ACA1-E632C7B1CAFE}"/>
              </a:ext>
            </a:extLst>
          </p:cNvPr>
          <p:cNvSpPr>
            <a:spLocks/>
          </p:cNvSpPr>
          <p:nvPr userDrawn="1">
            <p:custDataLst>
              <p:tags r:id="rId233"/>
            </p:custDataLst>
          </p:nvPr>
        </p:nvSpPr>
        <p:spPr bwMode="auto">
          <a:xfrm>
            <a:off x="9779473" y="3573953"/>
            <a:ext cx="281418" cy="333967"/>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2" name="Freeform 333">
            <a:extLst>
              <a:ext uri="{FF2B5EF4-FFF2-40B4-BE49-F238E27FC236}">
                <a16:creationId xmlns:a16="http://schemas.microsoft.com/office/drawing/2014/main" id="{8A44349C-16A6-894B-B715-3A3790CE1AD7}"/>
              </a:ext>
            </a:extLst>
          </p:cNvPr>
          <p:cNvSpPr>
            <a:spLocks/>
          </p:cNvSpPr>
          <p:nvPr userDrawn="1">
            <p:custDataLst>
              <p:tags r:id="rId234"/>
            </p:custDataLst>
          </p:nvPr>
        </p:nvSpPr>
        <p:spPr bwMode="auto">
          <a:xfrm>
            <a:off x="10129212" y="3618578"/>
            <a:ext cx="260272" cy="23320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3" name="Freeform 334">
            <a:extLst>
              <a:ext uri="{FF2B5EF4-FFF2-40B4-BE49-F238E27FC236}">
                <a16:creationId xmlns:a16="http://schemas.microsoft.com/office/drawing/2014/main" id="{3FF00C72-D46E-6D4C-94C8-7F440A533096}"/>
              </a:ext>
            </a:extLst>
          </p:cNvPr>
          <p:cNvSpPr>
            <a:spLocks/>
          </p:cNvSpPr>
          <p:nvPr userDrawn="1">
            <p:custDataLst>
              <p:tags r:id="rId235"/>
            </p:custDataLst>
          </p:nvPr>
        </p:nvSpPr>
        <p:spPr bwMode="auto">
          <a:xfrm>
            <a:off x="10493593" y="3987095"/>
            <a:ext cx="94349" cy="51823"/>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4" name="Freeform 335">
            <a:extLst>
              <a:ext uri="{FF2B5EF4-FFF2-40B4-BE49-F238E27FC236}">
                <a16:creationId xmlns:a16="http://schemas.microsoft.com/office/drawing/2014/main" id="{5B0650B2-E91A-994D-9218-CCF379C547AF}"/>
              </a:ext>
            </a:extLst>
          </p:cNvPr>
          <p:cNvSpPr>
            <a:spLocks/>
          </p:cNvSpPr>
          <p:nvPr userDrawn="1">
            <p:custDataLst>
              <p:tags r:id="rId236"/>
            </p:custDataLst>
          </p:nvPr>
        </p:nvSpPr>
        <p:spPr bwMode="auto">
          <a:xfrm>
            <a:off x="10612342" y="3684795"/>
            <a:ext cx="43920" cy="8061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5" name="Freeform 336">
            <a:extLst>
              <a:ext uri="{FF2B5EF4-FFF2-40B4-BE49-F238E27FC236}">
                <a16:creationId xmlns:a16="http://schemas.microsoft.com/office/drawing/2014/main" id="{FE7D1E2A-B6EA-CE41-879A-9DE4858223F7}"/>
              </a:ext>
            </a:extLst>
          </p:cNvPr>
          <p:cNvSpPr>
            <a:spLocks/>
          </p:cNvSpPr>
          <p:nvPr userDrawn="1">
            <p:custDataLst>
              <p:tags r:id="rId237"/>
            </p:custDataLst>
          </p:nvPr>
        </p:nvSpPr>
        <p:spPr bwMode="auto">
          <a:xfrm>
            <a:off x="10625356" y="3815792"/>
            <a:ext cx="73200" cy="50383"/>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6" name="Freeform 337">
            <a:extLst>
              <a:ext uri="{FF2B5EF4-FFF2-40B4-BE49-F238E27FC236}">
                <a16:creationId xmlns:a16="http://schemas.microsoft.com/office/drawing/2014/main" id="{467B27E7-5BA3-714D-87F4-8D18C62E9AFE}"/>
              </a:ext>
            </a:extLst>
          </p:cNvPr>
          <p:cNvSpPr>
            <a:spLocks/>
          </p:cNvSpPr>
          <p:nvPr userDrawn="1">
            <p:custDataLst>
              <p:tags r:id="rId238"/>
            </p:custDataLst>
          </p:nvPr>
        </p:nvSpPr>
        <p:spPr bwMode="auto">
          <a:xfrm>
            <a:off x="10703437" y="3746695"/>
            <a:ext cx="87842" cy="5758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7" name="Freeform 338">
            <a:extLst>
              <a:ext uri="{FF2B5EF4-FFF2-40B4-BE49-F238E27FC236}">
                <a16:creationId xmlns:a16="http://schemas.microsoft.com/office/drawing/2014/main" id="{124A42F4-31C5-004A-8172-B8B70EAEFFA4}"/>
              </a:ext>
            </a:extLst>
          </p:cNvPr>
          <p:cNvSpPr>
            <a:spLocks/>
          </p:cNvSpPr>
          <p:nvPr userDrawn="1">
            <p:custDataLst>
              <p:tags r:id="rId239"/>
            </p:custDataLst>
          </p:nvPr>
        </p:nvSpPr>
        <p:spPr bwMode="auto">
          <a:xfrm>
            <a:off x="10384605" y="3690554"/>
            <a:ext cx="170803" cy="208731"/>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8" name="Freeform 339">
            <a:extLst>
              <a:ext uri="{FF2B5EF4-FFF2-40B4-BE49-F238E27FC236}">
                <a16:creationId xmlns:a16="http://schemas.microsoft.com/office/drawing/2014/main" id="{DA056B09-4439-504D-BAF5-B13B8ED0D19F}"/>
              </a:ext>
            </a:extLst>
          </p:cNvPr>
          <p:cNvSpPr>
            <a:spLocks/>
          </p:cNvSpPr>
          <p:nvPr userDrawn="1">
            <p:custDataLst>
              <p:tags r:id="rId240"/>
            </p:custDataLst>
          </p:nvPr>
        </p:nvSpPr>
        <p:spPr bwMode="auto">
          <a:xfrm>
            <a:off x="10041371" y="3909360"/>
            <a:ext cx="257018" cy="8637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9" name="Freeform 340">
            <a:extLst>
              <a:ext uri="{FF2B5EF4-FFF2-40B4-BE49-F238E27FC236}">
                <a16:creationId xmlns:a16="http://schemas.microsoft.com/office/drawing/2014/main" id="{C79255A8-0CAD-8943-813F-45DDD5BF9961}"/>
              </a:ext>
            </a:extLst>
          </p:cNvPr>
          <p:cNvSpPr>
            <a:spLocks/>
          </p:cNvSpPr>
          <p:nvPr userDrawn="1">
            <p:custDataLst>
              <p:tags r:id="rId241"/>
            </p:custDataLst>
          </p:nvPr>
        </p:nvSpPr>
        <p:spPr bwMode="auto">
          <a:xfrm>
            <a:off x="10739224" y="3779804"/>
            <a:ext cx="219603" cy="228884"/>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0" name="Freeform 341">
            <a:extLst>
              <a:ext uri="{FF2B5EF4-FFF2-40B4-BE49-F238E27FC236}">
                <a16:creationId xmlns:a16="http://schemas.microsoft.com/office/drawing/2014/main" id="{8A06A89C-6414-D040-8E18-82D737379871}"/>
              </a:ext>
            </a:extLst>
          </p:cNvPr>
          <p:cNvSpPr>
            <a:spLocks/>
          </p:cNvSpPr>
          <p:nvPr userDrawn="1">
            <p:custDataLst>
              <p:tags r:id="rId242"/>
            </p:custDataLst>
          </p:nvPr>
        </p:nvSpPr>
        <p:spPr bwMode="auto">
          <a:xfrm>
            <a:off x="9234529" y="2720320"/>
            <a:ext cx="55308" cy="54702"/>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1" name="Freeform 342">
            <a:extLst>
              <a:ext uri="{FF2B5EF4-FFF2-40B4-BE49-F238E27FC236}">
                <a16:creationId xmlns:a16="http://schemas.microsoft.com/office/drawing/2014/main" id="{B5654FFB-247C-164D-8C20-FCC064DAD5A6}"/>
              </a:ext>
            </a:extLst>
          </p:cNvPr>
          <p:cNvSpPr>
            <a:spLocks/>
          </p:cNvSpPr>
          <p:nvPr userDrawn="1">
            <p:custDataLst>
              <p:tags r:id="rId243"/>
            </p:custDataLst>
          </p:nvPr>
        </p:nvSpPr>
        <p:spPr bwMode="auto">
          <a:xfrm>
            <a:off x="7653378" y="2180501"/>
            <a:ext cx="226112" cy="161226"/>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2" name="Freeform 343">
            <a:extLst>
              <a:ext uri="{FF2B5EF4-FFF2-40B4-BE49-F238E27FC236}">
                <a16:creationId xmlns:a16="http://schemas.microsoft.com/office/drawing/2014/main" id="{038CC4C9-CA78-9E4A-BDA7-C002C5055465}"/>
              </a:ext>
            </a:extLst>
          </p:cNvPr>
          <p:cNvSpPr>
            <a:spLocks/>
          </p:cNvSpPr>
          <p:nvPr userDrawn="1">
            <p:custDataLst>
              <p:tags r:id="rId244"/>
            </p:custDataLst>
          </p:nvPr>
        </p:nvSpPr>
        <p:spPr bwMode="auto">
          <a:xfrm>
            <a:off x="7718445" y="2366198"/>
            <a:ext cx="149657" cy="6477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3" name="Freeform 344">
            <a:extLst>
              <a:ext uri="{FF2B5EF4-FFF2-40B4-BE49-F238E27FC236}">
                <a16:creationId xmlns:a16="http://schemas.microsoft.com/office/drawing/2014/main" id="{E6104B54-5C06-BF47-8D7F-8D5D65BB6160}"/>
              </a:ext>
            </a:extLst>
          </p:cNvPr>
          <p:cNvSpPr>
            <a:spLocks/>
          </p:cNvSpPr>
          <p:nvPr userDrawn="1">
            <p:custDataLst>
              <p:tags r:id="rId245"/>
            </p:custDataLst>
          </p:nvPr>
        </p:nvSpPr>
        <p:spPr bwMode="auto">
          <a:xfrm>
            <a:off x="7820929" y="2053824"/>
            <a:ext cx="113869" cy="590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4" name="Freeform 345">
            <a:extLst>
              <a:ext uri="{FF2B5EF4-FFF2-40B4-BE49-F238E27FC236}">
                <a16:creationId xmlns:a16="http://schemas.microsoft.com/office/drawing/2014/main" id="{BD4E83EA-518A-9C42-BA91-D8FD093D80CD}"/>
              </a:ext>
            </a:extLst>
          </p:cNvPr>
          <p:cNvSpPr>
            <a:spLocks/>
          </p:cNvSpPr>
          <p:nvPr userDrawn="1">
            <p:custDataLst>
              <p:tags r:id="rId246"/>
            </p:custDataLst>
          </p:nvPr>
        </p:nvSpPr>
        <p:spPr bwMode="auto">
          <a:xfrm>
            <a:off x="7833943" y="2369079"/>
            <a:ext cx="183817" cy="12955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5" name="Freeform 346">
            <a:extLst>
              <a:ext uri="{FF2B5EF4-FFF2-40B4-BE49-F238E27FC236}">
                <a16:creationId xmlns:a16="http://schemas.microsoft.com/office/drawing/2014/main" id="{ED6AFE38-42F6-1545-BBA2-04CDF70D4B82}"/>
              </a:ext>
            </a:extLst>
          </p:cNvPr>
          <p:cNvSpPr>
            <a:spLocks/>
          </p:cNvSpPr>
          <p:nvPr userDrawn="1">
            <p:custDataLst>
              <p:tags r:id="rId247"/>
            </p:custDataLst>
          </p:nvPr>
        </p:nvSpPr>
        <p:spPr bwMode="auto">
          <a:xfrm>
            <a:off x="5784304" y="3310522"/>
            <a:ext cx="14640" cy="5038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6" name="Freeform 347">
            <a:extLst>
              <a:ext uri="{FF2B5EF4-FFF2-40B4-BE49-F238E27FC236}">
                <a16:creationId xmlns:a16="http://schemas.microsoft.com/office/drawing/2014/main" id="{3EC97BF0-E0A9-D04C-9110-AF2057AF4A29}"/>
              </a:ext>
            </a:extLst>
          </p:cNvPr>
          <p:cNvSpPr>
            <a:spLocks/>
          </p:cNvSpPr>
          <p:nvPr userDrawn="1">
            <p:custDataLst>
              <p:tags r:id="rId248"/>
            </p:custDataLst>
          </p:nvPr>
        </p:nvSpPr>
        <p:spPr bwMode="auto">
          <a:xfrm>
            <a:off x="7941304" y="2361881"/>
            <a:ext cx="87842" cy="719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7" name="Freeform 348">
            <a:extLst>
              <a:ext uri="{FF2B5EF4-FFF2-40B4-BE49-F238E27FC236}">
                <a16:creationId xmlns:a16="http://schemas.microsoft.com/office/drawing/2014/main" id="{49675032-AE16-9E4F-86F6-90B278EB1B79}"/>
              </a:ext>
            </a:extLst>
          </p:cNvPr>
          <p:cNvSpPr>
            <a:spLocks/>
          </p:cNvSpPr>
          <p:nvPr userDrawn="1">
            <p:custDataLst>
              <p:tags r:id="rId249"/>
            </p:custDataLst>
          </p:nvPr>
        </p:nvSpPr>
        <p:spPr bwMode="auto">
          <a:xfrm>
            <a:off x="7856715" y="2255356"/>
            <a:ext cx="390407" cy="224565"/>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8" name="Freeform 349">
            <a:extLst>
              <a:ext uri="{FF2B5EF4-FFF2-40B4-BE49-F238E27FC236}">
                <a16:creationId xmlns:a16="http://schemas.microsoft.com/office/drawing/2014/main" id="{7793B396-0A84-D842-AF12-552E067D30B7}"/>
              </a:ext>
            </a:extLst>
          </p:cNvPr>
          <p:cNvSpPr>
            <a:spLocks/>
          </p:cNvSpPr>
          <p:nvPr userDrawn="1">
            <p:custDataLst>
              <p:tags r:id="rId250"/>
            </p:custDataLst>
          </p:nvPr>
        </p:nvSpPr>
        <p:spPr bwMode="auto">
          <a:xfrm>
            <a:off x="8380513" y="2566291"/>
            <a:ext cx="48801" cy="5758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9" name="Freeform 350">
            <a:extLst>
              <a:ext uri="{FF2B5EF4-FFF2-40B4-BE49-F238E27FC236}">
                <a16:creationId xmlns:a16="http://schemas.microsoft.com/office/drawing/2014/main" id="{28BBD8DF-76D7-A14C-835B-073B1CABBF4B}"/>
              </a:ext>
            </a:extLst>
          </p:cNvPr>
          <p:cNvSpPr>
            <a:spLocks/>
          </p:cNvSpPr>
          <p:nvPr userDrawn="1">
            <p:custDataLst>
              <p:tags r:id="rId251"/>
            </p:custDataLst>
          </p:nvPr>
        </p:nvSpPr>
        <p:spPr bwMode="auto">
          <a:xfrm>
            <a:off x="8936843" y="2579247"/>
            <a:ext cx="213097" cy="11084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0" name="Freeform 351">
            <a:extLst>
              <a:ext uri="{FF2B5EF4-FFF2-40B4-BE49-F238E27FC236}">
                <a16:creationId xmlns:a16="http://schemas.microsoft.com/office/drawing/2014/main" id="{64F0A17A-21BC-C44B-9F82-38CC5C7B7EE7}"/>
              </a:ext>
            </a:extLst>
          </p:cNvPr>
          <p:cNvSpPr>
            <a:spLocks/>
          </p:cNvSpPr>
          <p:nvPr userDrawn="1">
            <p:custDataLst>
              <p:tags r:id="rId252"/>
            </p:custDataLst>
          </p:nvPr>
        </p:nvSpPr>
        <p:spPr bwMode="auto">
          <a:xfrm>
            <a:off x="8987271" y="2514469"/>
            <a:ext cx="230991" cy="11372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1" name="Freeform 352">
            <a:extLst>
              <a:ext uri="{FF2B5EF4-FFF2-40B4-BE49-F238E27FC236}">
                <a16:creationId xmlns:a16="http://schemas.microsoft.com/office/drawing/2014/main" id="{9EE10B17-5436-A34D-B231-FDF358B5AD0E}"/>
              </a:ext>
            </a:extLst>
          </p:cNvPr>
          <p:cNvSpPr>
            <a:spLocks/>
          </p:cNvSpPr>
          <p:nvPr userDrawn="1">
            <p:custDataLst>
              <p:tags r:id="rId253"/>
            </p:custDataLst>
          </p:nvPr>
        </p:nvSpPr>
        <p:spPr bwMode="auto">
          <a:xfrm>
            <a:off x="8583849" y="2528864"/>
            <a:ext cx="351367" cy="20585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2" name="Freeform 353">
            <a:extLst>
              <a:ext uri="{FF2B5EF4-FFF2-40B4-BE49-F238E27FC236}">
                <a16:creationId xmlns:a16="http://schemas.microsoft.com/office/drawing/2014/main" id="{2A5112D0-002C-9646-82BF-702D91A9BCAD}"/>
              </a:ext>
            </a:extLst>
          </p:cNvPr>
          <p:cNvSpPr>
            <a:spLocks/>
          </p:cNvSpPr>
          <p:nvPr userDrawn="1">
            <p:custDataLst>
              <p:tags r:id="rId254"/>
            </p:custDataLst>
          </p:nvPr>
        </p:nvSpPr>
        <p:spPr bwMode="auto">
          <a:xfrm>
            <a:off x="7773753" y="2426659"/>
            <a:ext cx="110615" cy="1353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3" name="Freeform 354">
            <a:extLst>
              <a:ext uri="{FF2B5EF4-FFF2-40B4-BE49-F238E27FC236}">
                <a16:creationId xmlns:a16="http://schemas.microsoft.com/office/drawing/2014/main" id="{6D1E7F85-4986-B44B-ABDB-F9CCBED8E168}"/>
              </a:ext>
            </a:extLst>
          </p:cNvPr>
          <p:cNvSpPr>
            <a:spLocks/>
          </p:cNvSpPr>
          <p:nvPr userDrawn="1">
            <p:custDataLst>
              <p:tags r:id="rId255"/>
            </p:custDataLst>
          </p:nvPr>
        </p:nvSpPr>
        <p:spPr bwMode="auto">
          <a:xfrm>
            <a:off x="7822555" y="2524546"/>
            <a:ext cx="69948" cy="54702"/>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4" name="Freeform 355">
            <a:extLst>
              <a:ext uri="{FF2B5EF4-FFF2-40B4-BE49-F238E27FC236}">
                <a16:creationId xmlns:a16="http://schemas.microsoft.com/office/drawing/2014/main" id="{BD84AF57-BA62-6346-9163-0BE7D48B6110}"/>
              </a:ext>
            </a:extLst>
          </p:cNvPr>
          <p:cNvSpPr>
            <a:spLocks/>
          </p:cNvSpPr>
          <p:nvPr userDrawn="1">
            <p:custDataLst>
              <p:tags r:id="rId256"/>
            </p:custDataLst>
          </p:nvPr>
        </p:nvSpPr>
        <p:spPr bwMode="auto">
          <a:xfrm>
            <a:off x="7908769" y="3090277"/>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5" name="Freeform 356">
            <a:extLst>
              <a:ext uri="{FF2B5EF4-FFF2-40B4-BE49-F238E27FC236}">
                <a16:creationId xmlns:a16="http://schemas.microsoft.com/office/drawing/2014/main" id="{6D70030B-0B6D-9747-AC71-5198E2075291}"/>
              </a:ext>
            </a:extLst>
          </p:cNvPr>
          <p:cNvSpPr>
            <a:spLocks/>
          </p:cNvSpPr>
          <p:nvPr userDrawn="1">
            <p:custDataLst>
              <p:tags r:id="rId257"/>
            </p:custDataLst>
          </p:nvPr>
        </p:nvSpPr>
        <p:spPr bwMode="auto">
          <a:xfrm>
            <a:off x="8404913" y="3398332"/>
            <a:ext cx="250511" cy="391549"/>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6" name="Freeform 357">
            <a:extLst>
              <a:ext uri="{FF2B5EF4-FFF2-40B4-BE49-F238E27FC236}">
                <a16:creationId xmlns:a16="http://schemas.microsoft.com/office/drawing/2014/main" id="{8A4980B5-7FF3-A649-9B0F-A581B19191B4}"/>
              </a:ext>
            </a:extLst>
          </p:cNvPr>
          <p:cNvSpPr>
            <a:spLocks/>
          </p:cNvSpPr>
          <p:nvPr userDrawn="1">
            <p:custDataLst>
              <p:tags r:id="rId258"/>
            </p:custDataLst>
          </p:nvPr>
        </p:nvSpPr>
        <p:spPr bwMode="auto">
          <a:xfrm>
            <a:off x="8413046" y="3386816"/>
            <a:ext cx="39041" cy="5326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7" name="Freeform 358">
            <a:extLst>
              <a:ext uri="{FF2B5EF4-FFF2-40B4-BE49-F238E27FC236}">
                <a16:creationId xmlns:a16="http://schemas.microsoft.com/office/drawing/2014/main" id="{D54E5B7B-DE17-8342-A081-4D4D62B9269E}"/>
              </a:ext>
            </a:extLst>
          </p:cNvPr>
          <p:cNvSpPr>
            <a:spLocks/>
          </p:cNvSpPr>
          <p:nvPr userDrawn="1">
            <p:custDataLst>
              <p:tags r:id="rId259"/>
            </p:custDataLst>
          </p:nvPr>
        </p:nvSpPr>
        <p:spPr bwMode="auto">
          <a:xfrm>
            <a:off x="8206455" y="3306204"/>
            <a:ext cx="372515" cy="34116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8" name="Line 359">
            <a:extLst>
              <a:ext uri="{FF2B5EF4-FFF2-40B4-BE49-F238E27FC236}">
                <a16:creationId xmlns:a16="http://schemas.microsoft.com/office/drawing/2014/main" id="{3599E953-C673-2C42-A0CB-951D21CC24AF}"/>
              </a:ext>
            </a:extLst>
          </p:cNvPr>
          <p:cNvSpPr>
            <a:spLocks noChangeShapeType="1"/>
          </p:cNvSpPr>
          <p:nvPr userDrawn="1">
            <p:custDataLst>
              <p:tags r:id="rId260"/>
            </p:custDataLst>
          </p:nvPr>
        </p:nvSpPr>
        <p:spPr bwMode="auto">
          <a:xfrm flipH="1">
            <a:off x="4988848" y="3776925"/>
            <a:ext cx="4881" cy="719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9" name="Freeform 360">
            <a:extLst>
              <a:ext uri="{FF2B5EF4-FFF2-40B4-BE49-F238E27FC236}">
                <a16:creationId xmlns:a16="http://schemas.microsoft.com/office/drawing/2014/main" id="{6A1CA5D0-B1B3-2247-AB31-38FBC7DEB836}"/>
              </a:ext>
            </a:extLst>
          </p:cNvPr>
          <p:cNvSpPr>
            <a:spLocks/>
          </p:cNvSpPr>
          <p:nvPr userDrawn="1">
            <p:custDataLst>
              <p:tags r:id="rId261"/>
            </p:custDataLst>
          </p:nvPr>
        </p:nvSpPr>
        <p:spPr bwMode="auto">
          <a:xfrm>
            <a:off x="4988847" y="3784124"/>
            <a:ext cx="13014" cy="5326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0" name="Freeform 361">
            <a:extLst>
              <a:ext uri="{FF2B5EF4-FFF2-40B4-BE49-F238E27FC236}">
                <a16:creationId xmlns:a16="http://schemas.microsoft.com/office/drawing/2014/main" id="{91986C9D-EADC-0C42-B3F9-19C36437700F}"/>
              </a:ext>
            </a:extLst>
          </p:cNvPr>
          <p:cNvSpPr>
            <a:spLocks/>
          </p:cNvSpPr>
          <p:nvPr userDrawn="1">
            <p:custDataLst>
              <p:tags r:id="rId262"/>
            </p:custDataLst>
          </p:nvPr>
        </p:nvSpPr>
        <p:spPr bwMode="auto">
          <a:xfrm>
            <a:off x="4996981" y="3772607"/>
            <a:ext cx="4880" cy="51823"/>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61" name="Group 362">
            <a:extLst>
              <a:ext uri="{FF2B5EF4-FFF2-40B4-BE49-F238E27FC236}">
                <a16:creationId xmlns:a16="http://schemas.microsoft.com/office/drawing/2014/main" id="{830965CF-EFE1-D94C-B2E8-615795D3A042}"/>
              </a:ext>
            </a:extLst>
          </p:cNvPr>
          <p:cNvGrpSpPr>
            <a:grpSpLocks/>
          </p:cNvGrpSpPr>
          <p:nvPr userDrawn="1">
            <p:custDataLst>
              <p:tags r:id="rId263"/>
            </p:custDataLst>
          </p:nvPr>
        </p:nvGrpSpPr>
        <p:grpSpPr bwMode="auto">
          <a:xfrm>
            <a:off x="4988848" y="3713587"/>
            <a:ext cx="427822" cy="182819"/>
            <a:chOff x="912" y="2626"/>
            <a:chExt cx="311" cy="127"/>
          </a:xfrm>
          <a:solidFill>
            <a:srgbClr val="DADADA"/>
          </a:solidFill>
        </p:grpSpPr>
        <p:sp>
          <p:nvSpPr>
            <p:cNvPr id="962" name="Freeform 363">
              <a:extLst>
                <a:ext uri="{FF2B5EF4-FFF2-40B4-BE49-F238E27FC236}">
                  <a16:creationId xmlns:a16="http://schemas.microsoft.com/office/drawing/2014/main" id="{7B92667F-055C-614E-9563-765ECABA0257}"/>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3" name="Freeform 364">
              <a:extLst>
                <a:ext uri="{FF2B5EF4-FFF2-40B4-BE49-F238E27FC236}">
                  <a16:creationId xmlns:a16="http://schemas.microsoft.com/office/drawing/2014/main" id="{7A07CAB7-4672-6443-8A3D-BD3CB281D7C9}"/>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4" name="Freeform 365">
              <a:extLst>
                <a:ext uri="{FF2B5EF4-FFF2-40B4-BE49-F238E27FC236}">
                  <a16:creationId xmlns:a16="http://schemas.microsoft.com/office/drawing/2014/main" id="{5F1E11D3-8C53-5640-8E2A-B05774AA6DE4}"/>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65" name="Freeform 366">
            <a:extLst>
              <a:ext uri="{FF2B5EF4-FFF2-40B4-BE49-F238E27FC236}">
                <a16:creationId xmlns:a16="http://schemas.microsoft.com/office/drawing/2014/main" id="{C63DAAF6-D1DA-4942-B350-C5A3A4D6F96E}"/>
              </a:ext>
            </a:extLst>
          </p:cNvPr>
          <p:cNvSpPr>
            <a:spLocks/>
          </p:cNvSpPr>
          <p:nvPr userDrawn="1">
            <p:custDataLst>
              <p:tags r:id="rId264"/>
            </p:custDataLst>
          </p:nvPr>
        </p:nvSpPr>
        <p:spPr bwMode="auto">
          <a:xfrm>
            <a:off x="8726999" y="4364248"/>
            <a:ext cx="19520" cy="5326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6" name="Freeform 367">
            <a:extLst>
              <a:ext uri="{FF2B5EF4-FFF2-40B4-BE49-F238E27FC236}">
                <a16:creationId xmlns:a16="http://schemas.microsoft.com/office/drawing/2014/main" id="{C27FD26E-AF2A-7A42-AF6C-5D6FD7390949}"/>
              </a:ext>
            </a:extLst>
          </p:cNvPr>
          <p:cNvSpPr>
            <a:spLocks/>
          </p:cNvSpPr>
          <p:nvPr userDrawn="1">
            <p:custDataLst>
              <p:tags r:id="rId265"/>
            </p:custDataLst>
          </p:nvPr>
        </p:nvSpPr>
        <p:spPr bwMode="auto">
          <a:xfrm>
            <a:off x="8697718" y="4388720"/>
            <a:ext cx="24401" cy="51823"/>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67" name="Group 368">
            <a:extLst>
              <a:ext uri="{FF2B5EF4-FFF2-40B4-BE49-F238E27FC236}">
                <a16:creationId xmlns:a16="http://schemas.microsoft.com/office/drawing/2014/main" id="{F0F71A23-5799-864E-9308-616817E5A635}"/>
              </a:ext>
            </a:extLst>
          </p:cNvPr>
          <p:cNvGrpSpPr>
            <a:grpSpLocks/>
          </p:cNvGrpSpPr>
          <p:nvPr userDrawn="1">
            <p:custDataLst>
              <p:tags r:id="rId266"/>
            </p:custDataLst>
          </p:nvPr>
        </p:nvGrpSpPr>
        <p:grpSpPr bwMode="auto">
          <a:xfrm>
            <a:off x="8535049" y="3928075"/>
            <a:ext cx="172430" cy="93567"/>
            <a:chOff x="3481" y="2773"/>
            <a:chExt cx="125" cy="65"/>
          </a:xfrm>
          <a:solidFill>
            <a:srgbClr val="DADADA"/>
          </a:solidFill>
        </p:grpSpPr>
        <p:sp>
          <p:nvSpPr>
            <p:cNvPr id="968" name="Freeform 369">
              <a:extLst>
                <a:ext uri="{FF2B5EF4-FFF2-40B4-BE49-F238E27FC236}">
                  <a16:creationId xmlns:a16="http://schemas.microsoft.com/office/drawing/2014/main" id="{2C9B3823-5EBA-0A4D-9A64-0D14C75BBD7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9" name="Line 370">
              <a:extLst>
                <a:ext uri="{FF2B5EF4-FFF2-40B4-BE49-F238E27FC236}">
                  <a16:creationId xmlns:a16="http://schemas.microsoft.com/office/drawing/2014/main" id="{90FC918D-3398-184E-90FA-EE92A20E197E}"/>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0" name="Freeform 371">
              <a:extLst>
                <a:ext uri="{FF2B5EF4-FFF2-40B4-BE49-F238E27FC236}">
                  <a16:creationId xmlns:a16="http://schemas.microsoft.com/office/drawing/2014/main" id="{1DF404DA-60D9-3C42-9E42-1C8FF577AAD3}"/>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1" name="Freeform 372">
              <a:extLst>
                <a:ext uri="{FF2B5EF4-FFF2-40B4-BE49-F238E27FC236}">
                  <a16:creationId xmlns:a16="http://schemas.microsoft.com/office/drawing/2014/main" id="{CFEE3506-9BE1-E545-9C7D-3BD575B24F2C}"/>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2" name="Freeform 373">
              <a:extLst>
                <a:ext uri="{FF2B5EF4-FFF2-40B4-BE49-F238E27FC236}">
                  <a16:creationId xmlns:a16="http://schemas.microsoft.com/office/drawing/2014/main" id="{111D0D8D-2BEA-BC4A-B6A0-285B2E7D0A90}"/>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3" name="Line 374">
              <a:extLst>
                <a:ext uri="{FF2B5EF4-FFF2-40B4-BE49-F238E27FC236}">
                  <a16:creationId xmlns:a16="http://schemas.microsoft.com/office/drawing/2014/main" id="{AE0716EE-9A7F-9643-8F3A-8197F33ED08D}"/>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4" name="Freeform 375">
              <a:extLst>
                <a:ext uri="{FF2B5EF4-FFF2-40B4-BE49-F238E27FC236}">
                  <a16:creationId xmlns:a16="http://schemas.microsoft.com/office/drawing/2014/main" id="{3343A152-CEE1-214F-96D8-B371A4551854}"/>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5" name="Freeform 376">
              <a:extLst>
                <a:ext uri="{FF2B5EF4-FFF2-40B4-BE49-F238E27FC236}">
                  <a16:creationId xmlns:a16="http://schemas.microsoft.com/office/drawing/2014/main" id="{F3651446-4F65-B241-8C84-E923CA4AC28A}"/>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6" name="Freeform 377">
              <a:extLst>
                <a:ext uri="{FF2B5EF4-FFF2-40B4-BE49-F238E27FC236}">
                  <a16:creationId xmlns:a16="http://schemas.microsoft.com/office/drawing/2014/main" id="{A5EDDC20-DFB7-D14A-AD67-B8EE63E3E1C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7" name="Freeform 378">
              <a:extLst>
                <a:ext uri="{FF2B5EF4-FFF2-40B4-BE49-F238E27FC236}">
                  <a16:creationId xmlns:a16="http://schemas.microsoft.com/office/drawing/2014/main" id="{FD58C31E-6A0F-6846-84CC-625E3520B582}"/>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8" name="Freeform 379">
              <a:extLst>
                <a:ext uri="{FF2B5EF4-FFF2-40B4-BE49-F238E27FC236}">
                  <a16:creationId xmlns:a16="http://schemas.microsoft.com/office/drawing/2014/main" id="{56CF7460-9EC5-AC49-88E5-EC4E16F7FE09}"/>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79" name="Freeform 380">
            <a:extLst>
              <a:ext uri="{FF2B5EF4-FFF2-40B4-BE49-F238E27FC236}">
                <a16:creationId xmlns:a16="http://schemas.microsoft.com/office/drawing/2014/main" id="{C07FB4F7-C849-7E4F-91ED-6B09B65C7A18}"/>
              </a:ext>
            </a:extLst>
          </p:cNvPr>
          <p:cNvSpPr>
            <a:spLocks/>
          </p:cNvSpPr>
          <p:nvPr userDrawn="1">
            <p:custDataLst>
              <p:tags r:id="rId267"/>
            </p:custDataLst>
          </p:nvPr>
        </p:nvSpPr>
        <p:spPr bwMode="auto">
          <a:xfrm>
            <a:off x="7641992" y="3920878"/>
            <a:ext cx="326965" cy="344045"/>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0" name="Freeform 381">
            <a:extLst>
              <a:ext uri="{FF2B5EF4-FFF2-40B4-BE49-F238E27FC236}">
                <a16:creationId xmlns:a16="http://schemas.microsoft.com/office/drawing/2014/main" id="{1B3E99DB-7A92-E743-8968-303C95B7FF14}"/>
              </a:ext>
            </a:extLst>
          </p:cNvPr>
          <p:cNvSpPr>
            <a:spLocks/>
          </p:cNvSpPr>
          <p:nvPr userDrawn="1">
            <p:custDataLst>
              <p:tags r:id="rId268"/>
            </p:custDataLst>
          </p:nvPr>
        </p:nvSpPr>
        <p:spPr bwMode="auto">
          <a:xfrm>
            <a:off x="7653378" y="3896406"/>
            <a:ext cx="16267" cy="54702"/>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1" name="Freeform 382">
            <a:extLst>
              <a:ext uri="{FF2B5EF4-FFF2-40B4-BE49-F238E27FC236}">
                <a16:creationId xmlns:a16="http://schemas.microsoft.com/office/drawing/2014/main" id="{C14EC8B6-5F66-E24E-B761-23BD8AC342C0}"/>
              </a:ext>
            </a:extLst>
          </p:cNvPr>
          <p:cNvSpPr>
            <a:spLocks/>
          </p:cNvSpPr>
          <p:nvPr userDrawn="1">
            <p:custDataLst>
              <p:tags r:id="rId269"/>
            </p:custDataLst>
          </p:nvPr>
        </p:nvSpPr>
        <p:spPr bwMode="auto">
          <a:xfrm>
            <a:off x="7757488" y="4388720"/>
            <a:ext cx="406675" cy="3613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2" name="Freeform 383">
            <a:extLst>
              <a:ext uri="{FF2B5EF4-FFF2-40B4-BE49-F238E27FC236}">
                <a16:creationId xmlns:a16="http://schemas.microsoft.com/office/drawing/2014/main" id="{DD710A7C-3519-6D42-B368-175FA783D3EB}"/>
              </a:ext>
            </a:extLst>
          </p:cNvPr>
          <p:cNvSpPr>
            <a:spLocks/>
          </p:cNvSpPr>
          <p:nvPr userDrawn="1">
            <p:custDataLst>
              <p:tags r:id="rId270"/>
            </p:custDataLst>
          </p:nvPr>
        </p:nvSpPr>
        <p:spPr bwMode="auto">
          <a:xfrm>
            <a:off x="7908769" y="3090277"/>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83" name="Group 384">
            <a:extLst>
              <a:ext uri="{FF2B5EF4-FFF2-40B4-BE49-F238E27FC236}">
                <a16:creationId xmlns:a16="http://schemas.microsoft.com/office/drawing/2014/main" id="{91ABF4D6-97C2-D54F-A4A8-AD53C361CA5E}"/>
              </a:ext>
            </a:extLst>
          </p:cNvPr>
          <p:cNvGrpSpPr>
            <a:grpSpLocks/>
          </p:cNvGrpSpPr>
          <p:nvPr userDrawn="1">
            <p:custDataLst>
              <p:tags r:id="rId271"/>
            </p:custDataLst>
          </p:nvPr>
        </p:nvGrpSpPr>
        <p:grpSpPr bwMode="auto">
          <a:xfrm>
            <a:off x="6662720" y="3273095"/>
            <a:ext cx="82961" cy="74855"/>
            <a:chOff x="2352" y="2343"/>
            <a:chExt cx="65" cy="53"/>
          </a:xfrm>
          <a:solidFill>
            <a:srgbClr val="DADADA"/>
          </a:solidFill>
        </p:grpSpPr>
        <p:sp>
          <p:nvSpPr>
            <p:cNvPr id="984" name="Freeform 385">
              <a:extLst>
                <a:ext uri="{FF2B5EF4-FFF2-40B4-BE49-F238E27FC236}">
                  <a16:creationId xmlns:a16="http://schemas.microsoft.com/office/drawing/2014/main" id="{8C446D04-0596-2C41-985D-A5B6D5EE92DB}"/>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5" name="Freeform 386">
              <a:extLst>
                <a:ext uri="{FF2B5EF4-FFF2-40B4-BE49-F238E27FC236}">
                  <a16:creationId xmlns:a16="http://schemas.microsoft.com/office/drawing/2014/main" id="{854EBE74-2CB4-CB48-984A-0920A8C7AE80}"/>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6" name="Freeform 387">
              <a:extLst>
                <a:ext uri="{FF2B5EF4-FFF2-40B4-BE49-F238E27FC236}">
                  <a16:creationId xmlns:a16="http://schemas.microsoft.com/office/drawing/2014/main" id="{8D5197B3-2AB0-424B-A9E6-76726543E589}"/>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7" name="Freeform 388">
              <a:extLst>
                <a:ext uri="{FF2B5EF4-FFF2-40B4-BE49-F238E27FC236}">
                  <a16:creationId xmlns:a16="http://schemas.microsoft.com/office/drawing/2014/main" id="{C99CEB4E-BD23-B442-B0FF-5C0D3EA0E03F}"/>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8" name="Freeform 389">
              <a:extLst>
                <a:ext uri="{FF2B5EF4-FFF2-40B4-BE49-F238E27FC236}">
                  <a16:creationId xmlns:a16="http://schemas.microsoft.com/office/drawing/2014/main" id="{DAC77D8E-CA7A-C448-AB97-BCB1EDC636EF}"/>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9" name="Freeform 390">
              <a:extLst>
                <a:ext uri="{FF2B5EF4-FFF2-40B4-BE49-F238E27FC236}">
                  <a16:creationId xmlns:a16="http://schemas.microsoft.com/office/drawing/2014/main" id="{07771C32-491F-B140-A213-9687DF3CAB39}"/>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990" name="Group 391">
            <a:extLst>
              <a:ext uri="{FF2B5EF4-FFF2-40B4-BE49-F238E27FC236}">
                <a16:creationId xmlns:a16="http://schemas.microsoft.com/office/drawing/2014/main" id="{AAA1E8B3-D50C-A74B-8B71-52024697BE92}"/>
              </a:ext>
            </a:extLst>
          </p:cNvPr>
          <p:cNvGrpSpPr>
            <a:grpSpLocks/>
          </p:cNvGrpSpPr>
          <p:nvPr userDrawn="1">
            <p:custDataLst>
              <p:tags r:id="rId272"/>
            </p:custDataLst>
          </p:nvPr>
        </p:nvGrpSpPr>
        <p:grpSpPr bwMode="auto">
          <a:xfrm>
            <a:off x="4455291" y="1514005"/>
            <a:ext cx="1943904" cy="1027815"/>
            <a:chOff x="527" y="1110"/>
            <a:chExt cx="1410" cy="709"/>
          </a:xfrm>
          <a:solidFill>
            <a:srgbClr val="DADADA"/>
          </a:solidFill>
        </p:grpSpPr>
        <p:sp>
          <p:nvSpPr>
            <p:cNvPr id="991" name="Freeform 392">
              <a:extLst>
                <a:ext uri="{FF2B5EF4-FFF2-40B4-BE49-F238E27FC236}">
                  <a16:creationId xmlns:a16="http://schemas.microsoft.com/office/drawing/2014/main" id="{6708350A-92E3-D14C-901F-56162949CBB6}"/>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2" name="Freeform 393">
              <a:extLst>
                <a:ext uri="{FF2B5EF4-FFF2-40B4-BE49-F238E27FC236}">
                  <a16:creationId xmlns:a16="http://schemas.microsoft.com/office/drawing/2014/main" id="{56166376-2961-AA47-B4DF-F37714AA6014}"/>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3" name="Freeform 394">
              <a:extLst>
                <a:ext uri="{FF2B5EF4-FFF2-40B4-BE49-F238E27FC236}">
                  <a16:creationId xmlns:a16="http://schemas.microsoft.com/office/drawing/2014/main" id="{890F83AC-08F5-5040-B66F-A3154FA867A9}"/>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4" name="Freeform 395">
              <a:extLst>
                <a:ext uri="{FF2B5EF4-FFF2-40B4-BE49-F238E27FC236}">
                  <a16:creationId xmlns:a16="http://schemas.microsoft.com/office/drawing/2014/main" id="{2C8BD07B-68A7-3745-8BEB-F227C454597D}"/>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5" name="Freeform 396">
              <a:extLst>
                <a:ext uri="{FF2B5EF4-FFF2-40B4-BE49-F238E27FC236}">
                  <a16:creationId xmlns:a16="http://schemas.microsoft.com/office/drawing/2014/main" id="{6A9F2050-5B5F-AA47-8084-B6233B2F1783}"/>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6" name="Freeform 397">
              <a:extLst>
                <a:ext uri="{FF2B5EF4-FFF2-40B4-BE49-F238E27FC236}">
                  <a16:creationId xmlns:a16="http://schemas.microsoft.com/office/drawing/2014/main" id="{BEE448A0-C273-BD4E-9B37-620DDB87790A}"/>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7" name="Freeform 398">
              <a:extLst>
                <a:ext uri="{FF2B5EF4-FFF2-40B4-BE49-F238E27FC236}">
                  <a16:creationId xmlns:a16="http://schemas.microsoft.com/office/drawing/2014/main" id="{4708FC2C-B135-D141-B090-2FF348189255}"/>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8" name="Freeform 399">
              <a:extLst>
                <a:ext uri="{FF2B5EF4-FFF2-40B4-BE49-F238E27FC236}">
                  <a16:creationId xmlns:a16="http://schemas.microsoft.com/office/drawing/2014/main" id="{1CEFCC3F-78DD-6C41-B124-2C1445988C52}"/>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9" name="Freeform 400">
              <a:extLst>
                <a:ext uri="{FF2B5EF4-FFF2-40B4-BE49-F238E27FC236}">
                  <a16:creationId xmlns:a16="http://schemas.microsoft.com/office/drawing/2014/main" id="{DD3E00A8-B234-5A4C-950C-0F8136474F6B}"/>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0" name="Freeform 401">
              <a:extLst>
                <a:ext uri="{FF2B5EF4-FFF2-40B4-BE49-F238E27FC236}">
                  <a16:creationId xmlns:a16="http://schemas.microsoft.com/office/drawing/2014/main" id="{BE12F052-A628-6047-99AC-1BB32B70AF69}"/>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1" name="Freeform 402">
              <a:extLst>
                <a:ext uri="{FF2B5EF4-FFF2-40B4-BE49-F238E27FC236}">
                  <a16:creationId xmlns:a16="http://schemas.microsoft.com/office/drawing/2014/main" id="{CB1CDC35-06E3-BF4D-AEDD-3FC668A7F74E}"/>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2" name="Freeform 403">
              <a:extLst>
                <a:ext uri="{FF2B5EF4-FFF2-40B4-BE49-F238E27FC236}">
                  <a16:creationId xmlns:a16="http://schemas.microsoft.com/office/drawing/2014/main" id="{0834103E-EF27-EC4B-8F32-E93DC36DADC8}"/>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3" name="Freeform 404">
              <a:extLst>
                <a:ext uri="{FF2B5EF4-FFF2-40B4-BE49-F238E27FC236}">
                  <a16:creationId xmlns:a16="http://schemas.microsoft.com/office/drawing/2014/main" id="{7A5595D0-7EA5-A149-B0E4-3FB3F054A6F3}"/>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4" name="Freeform 405">
              <a:extLst>
                <a:ext uri="{FF2B5EF4-FFF2-40B4-BE49-F238E27FC236}">
                  <a16:creationId xmlns:a16="http://schemas.microsoft.com/office/drawing/2014/main" id="{4FC94934-4A80-0C42-8A05-FA3C18D01959}"/>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5" name="Freeform 406">
              <a:extLst>
                <a:ext uri="{FF2B5EF4-FFF2-40B4-BE49-F238E27FC236}">
                  <a16:creationId xmlns:a16="http://schemas.microsoft.com/office/drawing/2014/main" id="{B05DC4B2-689E-F94E-BBEA-6D059245C565}"/>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6" name="Freeform 407">
              <a:extLst>
                <a:ext uri="{FF2B5EF4-FFF2-40B4-BE49-F238E27FC236}">
                  <a16:creationId xmlns:a16="http://schemas.microsoft.com/office/drawing/2014/main" id="{D563C32D-4C7B-3E47-80E2-A6700BDC6D0B}"/>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7" name="Freeform 408">
              <a:extLst>
                <a:ext uri="{FF2B5EF4-FFF2-40B4-BE49-F238E27FC236}">
                  <a16:creationId xmlns:a16="http://schemas.microsoft.com/office/drawing/2014/main" id="{297A5B9D-A482-A840-BFD9-425716AE855E}"/>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8" name="Freeform 409">
              <a:extLst>
                <a:ext uri="{FF2B5EF4-FFF2-40B4-BE49-F238E27FC236}">
                  <a16:creationId xmlns:a16="http://schemas.microsoft.com/office/drawing/2014/main" id="{63E1F3F1-7406-C542-A4D7-73479D50F076}"/>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9" name="Freeform 410">
              <a:extLst>
                <a:ext uri="{FF2B5EF4-FFF2-40B4-BE49-F238E27FC236}">
                  <a16:creationId xmlns:a16="http://schemas.microsoft.com/office/drawing/2014/main" id="{A48C6A5E-C801-4542-A720-93465B0539D9}"/>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0" name="Freeform 411">
              <a:extLst>
                <a:ext uri="{FF2B5EF4-FFF2-40B4-BE49-F238E27FC236}">
                  <a16:creationId xmlns:a16="http://schemas.microsoft.com/office/drawing/2014/main" id="{217BC867-6EBB-1A4B-A287-2483A840E335}"/>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1" name="Freeform 412">
              <a:extLst>
                <a:ext uri="{FF2B5EF4-FFF2-40B4-BE49-F238E27FC236}">
                  <a16:creationId xmlns:a16="http://schemas.microsoft.com/office/drawing/2014/main" id="{6FAABB58-AE93-4C45-8955-97ED6BBC714A}"/>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2" name="Freeform 413">
              <a:extLst>
                <a:ext uri="{FF2B5EF4-FFF2-40B4-BE49-F238E27FC236}">
                  <a16:creationId xmlns:a16="http://schemas.microsoft.com/office/drawing/2014/main" id="{85F88906-C349-CE40-A4C5-45520ED2144D}"/>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3" name="Freeform 414">
              <a:extLst>
                <a:ext uri="{FF2B5EF4-FFF2-40B4-BE49-F238E27FC236}">
                  <a16:creationId xmlns:a16="http://schemas.microsoft.com/office/drawing/2014/main" id="{ECBC0AEA-C1C6-E54C-880E-098C300B0AF5}"/>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4" name="Freeform 415">
              <a:extLst>
                <a:ext uri="{FF2B5EF4-FFF2-40B4-BE49-F238E27FC236}">
                  <a16:creationId xmlns:a16="http://schemas.microsoft.com/office/drawing/2014/main" id="{82A23C60-5929-A446-9924-F7F6A558A1CF}"/>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5" name="Freeform 416">
              <a:extLst>
                <a:ext uri="{FF2B5EF4-FFF2-40B4-BE49-F238E27FC236}">
                  <a16:creationId xmlns:a16="http://schemas.microsoft.com/office/drawing/2014/main" id="{73E4E02F-7507-CA44-96D3-EDB1A37FCF0F}"/>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6" name="Freeform 417">
              <a:extLst>
                <a:ext uri="{FF2B5EF4-FFF2-40B4-BE49-F238E27FC236}">
                  <a16:creationId xmlns:a16="http://schemas.microsoft.com/office/drawing/2014/main" id="{E2A7655D-0DA6-5940-A6BE-53438EF1703E}"/>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7" name="Freeform 418">
              <a:extLst>
                <a:ext uri="{FF2B5EF4-FFF2-40B4-BE49-F238E27FC236}">
                  <a16:creationId xmlns:a16="http://schemas.microsoft.com/office/drawing/2014/main" id="{9FF39E98-F629-4640-806B-7DBA4D5A05C0}"/>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8" name="Freeform 419">
              <a:extLst>
                <a:ext uri="{FF2B5EF4-FFF2-40B4-BE49-F238E27FC236}">
                  <a16:creationId xmlns:a16="http://schemas.microsoft.com/office/drawing/2014/main" id="{CA7F2FBA-3E9A-0744-921F-E700684BD2C1}"/>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9" name="Freeform 420">
              <a:extLst>
                <a:ext uri="{FF2B5EF4-FFF2-40B4-BE49-F238E27FC236}">
                  <a16:creationId xmlns:a16="http://schemas.microsoft.com/office/drawing/2014/main" id="{D4C81046-A450-C343-AB62-B474B5B19595}"/>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0" name="Freeform 421">
              <a:extLst>
                <a:ext uri="{FF2B5EF4-FFF2-40B4-BE49-F238E27FC236}">
                  <a16:creationId xmlns:a16="http://schemas.microsoft.com/office/drawing/2014/main" id="{776C345E-391C-3444-A1E5-1A68E703AF3A}"/>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1" name="Freeform 422">
              <a:extLst>
                <a:ext uri="{FF2B5EF4-FFF2-40B4-BE49-F238E27FC236}">
                  <a16:creationId xmlns:a16="http://schemas.microsoft.com/office/drawing/2014/main" id="{D5C6CD5D-E517-5D4A-BA25-0DFBE2722652}"/>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2" name="Freeform 423">
              <a:extLst>
                <a:ext uri="{FF2B5EF4-FFF2-40B4-BE49-F238E27FC236}">
                  <a16:creationId xmlns:a16="http://schemas.microsoft.com/office/drawing/2014/main" id="{99D30BC1-3529-6942-B922-0CA766FE2A33}"/>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3" name="Freeform 424">
              <a:extLst>
                <a:ext uri="{FF2B5EF4-FFF2-40B4-BE49-F238E27FC236}">
                  <a16:creationId xmlns:a16="http://schemas.microsoft.com/office/drawing/2014/main" id="{F7FCA5C9-F1D2-CF4F-9701-EED75E027501}"/>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4" name="Freeform 425">
              <a:extLst>
                <a:ext uri="{FF2B5EF4-FFF2-40B4-BE49-F238E27FC236}">
                  <a16:creationId xmlns:a16="http://schemas.microsoft.com/office/drawing/2014/main" id="{8B968235-3FE8-FE48-9913-75BCEA8EE3E1}"/>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5" name="Freeform 426">
              <a:extLst>
                <a:ext uri="{FF2B5EF4-FFF2-40B4-BE49-F238E27FC236}">
                  <a16:creationId xmlns:a16="http://schemas.microsoft.com/office/drawing/2014/main" id="{B2579FA5-001B-F746-B292-A465455EBF61}"/>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6" name="Freeform 427">
              <a:extLst>
                <a:ext uri="{FF2B5EF4-FFF2-40B4-BE49-F238E27FC236}">
                  <a16:creationId xmlns:a16="http://schemas.microsoft.com/office/drawing/2014/main" id="{0B0D9A30-5605-414C-BF35-A2ABEFE36119}"/>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7" name="Freeform 428">
              <a:extLst>
                <a:ext uri="{FF2B5EF4-FFF2-40B4-BE49-F238E27FC236}">
                  <a16:creationId xmlns:a16="http://schemas.microsoft.com/office/drawing/2014/main" id="{96350680-0049-264E-ABB1-36CBAAE93128}"/>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8" name="Freeform 429">
              <a:extLst>
                <a:ext uri="{FF2B5EF4-FFF2-40B4-BE49-F238E27FC236}">
                  <a16:creationId xmlns:a16="http://schemas.microsoft.com/office/drawing/2014/main" id="{AB7CCCD6-66AA-034A-ADFF-1DBD89AA83E2}"/>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9" name="Freeform 430">
              <a:extLst>
                <a:ext uri="{FF2B5EF4-FFF2-40B4-BE49-F238E27FC236}">
                  <a16:creationId xmlns:a16="http://schemas.microsoft.com/office/drawing/2014/main" id="{FA894639-D2D2-B34F-A782-DF252B9B1955}"/>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0" name="Freeform 431">
              <a:extLst>
                <a:ext uri="{FF2B5EF4-FFF2-40B4-BE49-F238E27FC236}">
                  <a16:creationId xmlns:a16="http://schemas.microsoft.com/office/drawing/2014/main" id="{7A41D90E-6FD3-4F46-A74B-C08FD860A5AE}"/>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1" name="Freeform 432">
              <a:extLst>
                <a:ext uri="{FF2B5EF4-FFF2-40B4-BE49-F238E27FC236}">
                  <a16:creationId xmlns:a16="http://schemas.microsoft.com/office/drawing/2014/main" id="{F204F016-3A00-C740-890D-0988D2D76FA4}"/>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2" name="Freeform 433">
              <a:extLst>
                <a:ext uri="{FF2B5EF4-FFF2-40B4-BE49-F238E27FC236}">
                  <a16:creationId xmlns:a16="http://schemas.microsoft.com/office/drawing/2014/main" id="{C0F34762-644D-5E4B-98C2-C78B453E5597}"/>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033" name="Freeform 434">
            <a:extLst>
              <a:ext uri="{FF2B5EF4-FFF2-40B4-BE49-F238E27FC236}">
                <a16:creationId xmlns:a16="http://schemas.microsoft.com/office/drawing/2014/main" id="{F33A9E70-618C-FE40-8084-17171AE39A2C}"/>
              </a:ext>
            </a:extLst>
          </p:cNvPr>
          <p:cNvSpPr>
            <a:spLocks/>
          </p:cNvSpPr>
          <p:nvPr userDrawn="1">
            <p:custDataLst>
              <p:tags r:id="rId273"/>
            </p:custDataLst>
          </p:nvPr>
        </p:nvSpPr>
        <p:spPr bwMode="auto">
          <a:xfrm>
            <a:off x="8113733" y="3640170"/>
            <a:ext cx="130135" cy="143951"/>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4" name="Freeform 435">
            <a:extLst>
              <a:ext uri="{FF2B5EF4-FFF2-40B4-BE49-F238E27FC236}">
                <a16:creationId xmlns:a16="http://schemas.microsoft.com/office/drawing/2014/main" id="{F6976853-BCBF-8240-A5B8-D9AD624D16F4}"/>
              </a:ext>
            </a:extLst>
          </p:cNvPr>
          <p:cNvSpPr>
            <a:spLocks/>
          </p:cNvSpPr>
          <p:nvPr userDrawn="1">
            <p:custDataLst>
              <p:tags r:id="rId274"/>
            </p:custDataLst>
          </p:nvPr>
        </p:nvSpPr>
        <p:spPr bwMode="auto">
          <a:xfrm>
            <a:off x="8222721" y="3776925"/>
            <a:ext cx="6507" cy="51823"/>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5" name="Freeform 436">
            <a:extLst>
              <a:ext uri="{FF2B5EF4-FFF2-40B4-BE49-F238E27FC236}">
                <a16:creationId xmlns:a16="http://schemas.microsoft.com/office/drawing/2014/main" id="{E92F70D8-04F3-0446-B31E-3017A562DDE3}"/>
              </a:ext>
            </a:extLst>
          </p:cNvPr>
          <p:cNvSpPr>
            <a:spLocks/>
          </p:cNvSpPr>
          <p:nvPr userDrawn="1">
            <p:custDataLst>
              <p:tags r:id="rId275"/>
            </p:custDataLst>
          </p:nvPr>
        </p:nvSpPr>
        <p:spPr bwMode="auto">
          <a:xfrm>
            <a:off x="7700554" y="3084517"/>
            <a:ext cx="255391" cy="453447"/>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6" name="Freeform 437">
            <a:extLst>
              <a:ext uri="{FF2B5EF4-FFF2-40B4-BE49-F238E27FC236}">
                <a16:creationId xmlns:a16="http://schemas.microsoft.com/office/drawing/2014/main" id="{2A77D44A-51E9-CF4E-9FF6-1CB176CC6769}"/>
              </a:ext>
            </a:extLst>
          </p:cNvPr>
          <p:cNvSpPr>
            <a:spLocks/>
          </p:cNvSpPr>
          <p:nvPr userDrawn="1">
            <p:custDataLst>
              <p:tags r:id="rId276"/>
            </p:custDataLst>
          </p:nvPr>
        </p:nvSpPr>
        <p:spPr bwMode="auto">
          <a:xfrm>
            <a:off x="7368707" y="2524545"/>
            <a:ext cx="16267" cy="51823"/>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7" name="Freeform 1036">
            <a:extLst>
              <a:ext uri="{FF2B5EF4-FFF2-40B4-BE49-F238E27FC236}">
                <a16:creationId xmlns:a16="http://schemas.microsoft.com/office/drawing/2014/main" id="{CCD2259D-BCF2-6E41-ABCC-60FC495E0CF4}"/>
              </a:ext>
            </a:extLst>
          </p:cNvPr>
          <p:cNvSpPr>
            <a:spLocks/>
          </p:cNvSpPr>
          <p:nvPr userDrawn="1">
            <p:custDataLst>
              <p:tags r:id="rId277"/>
            </p:custDataLst>
          </p:nvPr>
        </p:nvSpPr>
        <p:spPr bwMode="auto">
          <a:xfrm>
            <a:off x="8403287" y="2536061"/>
            <a:ext cx="126882" cy="99327"/>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8" name="Freeform 1037">
            <a:extLst>
              <a:ext uri="{FF2B5EF4-FFF2-40B4-BE49-F238E27FC236}">
                <a16:creationId xmlns:a16="http://schemas.microsoft.com/office/drawing/2014/main" id="{C6DAB633-4067-784D-A4FF-652EA9E26559}"/>
              </a:ext>
            </a:extLst>
          </p:cNvPr>
          <p:cNvSpPr>
            <a:spLocks/>
          </p:cNvSpPr>
          <p:nvPr userDrawn="1">
            <p:custDataLst>
              <p:tags r:id="rId278"/>
            </p:custDataLst>
          </p:nvPr>
        </p:nvSpPr>
        <p:spPr bwMode="auto">
          <a:xfrm>
            <a:off x="7856715" y="2148831"/>
            <a:ext cx="214724" cy="13675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9" name="Freeform 1038">
            <a:extLst>
              <a:ext uri="{FF2B5EF4-FFF2-40B4-BE49-F238E27FC236}">
                <a16:creationId xmlns:a16="http://schemas.microsoft.com/office/drawing/2014/main" id="{7BAAE51A-E594-8E46-BA54-A7ED935C8666}"/>
              </a:ext>
            </a:extLst>
          </p:cNvPr>
          <p:cNvSpPr>
            <a:spLocks/>
          </p:cNvSpPr>
          <p:nvPr userDrawn="1">
            <p:custDataLst>
              <p:tags r:id="rId279"/>
            </p:custDataLst>
          </p:nvPr>
        </p:nvSpPr>
        <p:spPr bwMode="auto">
          <a:xfrm>
            <a:off x="7710313" y="2449691"/>
            <a:ext cx="84588" cy="7917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0" name="Freeform 1039">
            <a:extLst>
              <a:ext uri="{FF2B5EF4-FFF2-40B4-BE49-F238E27FC236}">
                <a16:creationId xmlns:a16="http://schemas.microsoft.com/office/drawing/2014/main" id="{1D93F2AD-BB99-7943-B3EA-4303D8AD687C}"/>
              </a:ext>
            </a:extLst>
          </p:cNvPr>
          <p:cNvSpPr>
            <a:spLocks/>
          </p:cNvSpPr>
          <p:nvPr userDrawn="1">
            <p:custDataLst>
              <p:tags r:id="rId280"/>
            </p:custDataLst>
          </p:nvPr>
        </p:nvSpPr>
        <p:spPr bwMode="auto">
          <a:xfrm>
            <a:off x="6034814" y="3752453"/>
            <a:ext cx="84588" cy="51823"/>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1" name="Freeform 1040">
            <a:extLst>
              <a:ext uri="{FF2B5EF4-FFF2-40B4-BE49-F238E27FC236}">
                <a16:creationId xmlns:a16="http://schemas.microsoft.com/office/drawing/2014/main" id="{D866F0C8-71B0-A144-B0D2-F61AC43F911A}"/>
              </a:ext>
            </a:extLst>
          </p:cNvPr>
          <p:cNvSpPr>
            <a:spLocks/>
          </p:cNvSpPr>
          <p:nvPr userDrawn="1">
            <p:custDataLst>
              <p:tags r:id="rId281"/>
            </p:custDataLst>
          </p:nvPr>
        </p:nvSpPr>
        <p:spPr bwMode="auto">
          <a:xfrm>
            <a:off x="7872983" y="2481359"/>
            <a:ext cx="136642" cy="8781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2" name="Freeform 1041">
            <a:extLst>
              <a:ext uri="{FF2B5EF4-FFF2-40B4-BE49-F238E27FC236}">
                <a16:creationId xmlns:a16="http://schemas.microsoft.com/office/drawing/2014/main" id="{4B0742ED-976A-4C48-B44A-070E35670116}"/>
              </a:ext>
            </a:extLst>
          </p:cNvPr>
          <p:cNvSpPr>
            <a:spLocks/>
          </p:cNvSpPr>
          <p:nvPr userDrawn="1">
            <p:custDataLst>
              <p:tags r:id="rId282"/>
            </p:custDataLst>
          </p:nvPr>
        </p:nvSpPr>
        <p:spPr bwMode="auto">
          <a:xfrm>
            <a:off x="7212543" y="3322038"/>
            <a:ext cx="182191" cy="14971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3" name="Freeform 1042">
            <a:extLst>
              <a:ext uri="{FF2B5EF4-FFF2-40B4-BE49-F238E27FC236}">
                <a16:creationId xmlns:a16="http://schemas.microsoft.com/office/drawing/2014/main" id="{D2865AC5-6C4A-E64C-B452-BEDE14EF42A9}"/>
              </a:ext>
            </a:extLst>
          </p:cNvPr>
          <p:cNvSpPr>
            <a:spLocks/>
          </p:cNvSpPr>
          <p:nvPr userDrawn="1">
            <p:custDataLst>
              <p:tags r:id="rId283"/>
            </p:custDataLst>
          </p:nvPr>
        </p:nvSpPr>
        <p:spPr bwMode="auto">
          <a:xfrm>
            <a:off x="7568790" y="3383938"/>
            <a:ext cx="198457" cy="31669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4" name="Freeform 1043">
            <a:extLst>
              <a:ext uri="{FF2B5EF4-FFF2-40B4-BE49-F238E27FC236}">
                <a16:creationId xmlns:a16="http://schemas.microsoft.com/office/drawing/2014/main" id="{4F51F2F7-9392-5047-803F-8BDE6C271897}"/>
              </a:ext>
            </a:extLst>
          </p:cNvPr>
          <p:cNvSpPr>
            <a:spLocks/>
          </p:cNvSpPr>
          <p:nvPr userDrawn="1">
            <p:custDataLst>
              <p:tags r:id="rId284"/>
            </p:custDataLst>
          </p:nvPr>
        </p:nvSpPr>
        <p:spPr bwMode="auto">
          <a:xfrm>
            <a:off x="10077972" y="3155054"/>
            <a:ext cx="56935" cy="51823"/>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5" name="Freeform 1044">
            <a:extLst>
              <a:ext uri="{FF2B5EF4-FFF2-40B4-BE49-F238E27FC236}">
                <a16:creationId xmlns:a16="http://schemas.microsoft.com/office/drawing/2014/main" id="{C0004EF2-42D8-2C4D-8731-B69023939BDC}"/>
              </a:ext>
            </a:extLst>
          </p:cNvPr>
          <p:cNvSpPr>
            <a:spLocks/>
          </p:cNvSpPr>
          <p:nvPr userDrawn="1">
            <p:custDataLst>
              <p:tags r:id="rId285"/>
            </p:custDataLst>
          </p:nvPr>
        </p:nvSpPr>
        <p:spPr bwMode="auto">
          <a:xfrm>
            <a:off x="5320693" y="3404091"/>
            <a:ext cx="305819" cy="475041"/>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6" name="Freeform 1045">
            <a:extLst>
              <a:ext uri="{FF2B5EF4-FFF2-40B4-BE49-F238E27FC236}">
                <a16:creationId xmlns:a16="http://schemas.microsoft.com/office/drawing/2014/main" id="{0300D386-88FA-E04A-9F62-65052B767C1E}"/>
              </a:ext>
            </a:extLst>
          </p:cNvPr>
          <p:cNvSpPr>
            <a:spLocks/>
          </p:cNvSpPr>
          <p:nvPr userDrawn="1">
            <p:custDataLst>
              <p:tags r:id="rId286"/>
            </p:custDataLst>
          </p:nvPr>
        </p:nvSpPr>
        <p:spPr bwMode="auto">
          <a:xfrm>
            <a:off x="7628978" y="3647368"/>
            <a:ext cx="191950" cy="249037"/>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7" name="Freeform 1046">
            <a:extLst>
              <a:ext uri="{FF2B5EF4-FFF2-40B4-BE49-F238E27FC236}">
                <a16:creationId xmlns:a16="http://schemas.microsoft.com/office/drawing/2014/main" id="{ABE3FE09-7C4E-4A48-9F26-1716300645E0}"/>
              </a:ext>
            </a:extLst>
          </p:cNvPr>
          <p:cNvSpPr>
            <a:spLocks/>
          </p:cNvSpPr>
          <p:nvPr userDrawn="1">
            <p:custDataLst>
              <p:tags r:id="rId287"/>
            </p:custDataLst>
          </p:nvPr>
        </p:nvSpPr>
        <p:spPr bwMode="auto">
          <a:xfrm>
            <a:off x="7661511" y="2416582"/>
            <a:ext cx="130135" cy="103645"/>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8" name="Freeform 1047">
            <a:extLst>
              <a:ext uri="{FF2B5EF4-FFF2-40B4-BE49-F238E27FC236}">
                <a16:creationId xmlns:a16="http://schemas.microsoft.com/office/drawing/2014/main" id="{8E98EB3F-60A3-3B4C-969A-EF5F733F449B}"/>
              </a:ext>
            </a:extLst>
          </p:cNvPr>
          <p:cNvSpPr>
            <a:spLocks/>
          </p:cNvSpPr>
          <p:nvPr userDrawn="1">
            <p:custDataLst>
              <p:tags r:id="rId288"/>
            </p:custDataLst>
          </p:nvPr>
        </p:nvSpPr>
        <p:spPr bwMode="auto">
          <a:xfrm>
            <a:off x="7611085" y="2288464"/>
            <a:ext cx="172430" cy="70537"/>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9" name="Freeform 1048">
            <a:extLst>
              <a:ext uri="{FF2B5EF4-FFF2-40B4-BE49-F238E27FC236}">
                <a16:creationId xmlns:a16="http://schemas.microsoft.com/office/drawing/2014/main" id="{AEE7994F-0E24-F24C-ACC2-434EC52D8B07}"/>
              </a:ext>
            </a:extLst>
          </p:cNvPr>
          <p:cNvSpPr>
            <a:spLocks/>
          </p:cNvSpPr>
          <p:nvPr userDrawn="1">
            <p:custDataLst>
              <p:tags r:id="rId289"/>
            </p:custDataLst>
          </p:nvPr>
        </p:nvSpPr>
        <p:spPr bwMode="auto">
          <a:xfrm>
            <a:off x="7573670" y="2157469"/>
            <a:ext cx="30907" cy="54702"/>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0" name="Freeform 1049">
            <a:extLst>
              <a:ext uri="{FF2B5EF4-FFF2-40B4-BE49-F238E27FC236}">
                <a16:creationId xmlns:a16="http://schemas.microsoft.com/office/drawing/2014/main" id="{DB1E0A16-0082-ED4D-9C1E-2A190CE8036A}"/>
              </a:ext>
            </a:extLst>
          </p:cNvPr>
          <p:cNvSpPr>
            <a:spLocks/>
          </p:cNvSpPr>
          <p:nvPr userDrawn="1">
            <p:custDataLst>
              <p:tags r:id="rId290"/>
            </p:custDataLst>
          </p:nvPr>
        </p:nvSpPr>
        <p:spPr bwMode="auto">
          <a:xfrm>
            <a:off x="7544389" y="2161786"/>
            <a:ext cx="26027" cy="5326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1" name="Freeform 1050">
            <a:extLst>
              <a:ext uri="{FF2B5EF4-FFF2-40B4-BE49-F238E27FC236}">
                <a16:creationId xmlns:a16="http://schemas.microsoft.com/office/drawing/2014/main" id="{9FB17685-259F-5A4E-80D8-C93916CEF42A}"/>
              </a:ext>
            </a:extLst>
          </p:cNvPr>
          <p:cNvSpPr>
            <a:spLocks/>
          </p:cNvSpPr>
          <p:nvPr userDrawn="1">
            <p:custDataLst>
              <p:tags r:id="rId291"/>
            </p:custDataLst>
          </p:nvPr>
        </p:nvSpPr>
        <p:spPr bwMode="auto">
          <a:xfrm>
            <a:off x="7513482" y="2112843"/>
            <a:ext cx="53681" cy="70537"/>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2" name="Freeform 1051">
            <a:extLst>
              <a:ext uri="{FF2B5EF4-FFF2-40B4-BE49-F238E27FC236}">
                <a16:creationId xmlns:a16="http://schemas.microsoft.com/office/drawing/2014/main" id="{774FFE55-66B9-DD4E-9CB9-2A627E42C76D}"/>
              </a:ext>
            </a:extLst>
          </p:cNvPr>
          <p:cNvSpPr>
            <a:spLocks/>
          </p:cNvSpPr>
          <p:nvPr userDrawn="1">
            <p:custDataLst>
              <p:tags r:id="rId292"/>
            </p:custDataLst>
          </p:nvPr>
        </p:nvSpPr>
        <p:spPr bwMode="auto">
          <a:xfrm>
            <a:off x="7955944" y="2842680"/>
            <a:ext cx="279792" cy="279266"/>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3" name="Freeform 1052">
            <a:extLst>
              <a:ext uri="{FF2B5EF4-FFF2-40B4-BE49-F238E27FC236}">
                <a16:creationId xmlns:a16="http://schemas.microsoft.com/office/drawing/2014/main" id="{E2337EB4-3714-ED46-8C75-3AED317543EA}"/>
              </a:ext>
            </a:extLst>
          </p:cNvPr>
          <p:cNvSpPr>
            <a:spLocks/>
          </p:cNvSpPr>
          <p:nvPr userDrawn="1">
            <p:custDataLst>
              <p:tags r:id="rId293"/>
            </p:custDataLst>
          </p:nvPr>
        </p:nvSpPr>
        <p:spPr bwMode="auto">
          <a:xfrm>
            <a:off x="7541136" y="2511589"/>
            <a:ext cx="17893" cy="51823"/>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4" name="Freeform 1053">
            <a:extLst>
              <a:ext uri="{FF2B5EF4-FFF2-40B4-BE49-F238E27FC236}">
                <a16:creationId xmlns:a16="http://schemas.microsoft.com/office/drawing/2014/main" id="{B9149AA7-8376-AB40-9D52-F0F5EED8E241}"/>
              </a:ext>
            </a:extLst>
          </p:cNvPr>
          <p:cNvSpPr>
            <a:spLocks/>
          </p:cNvSpPr>
          <p:nvPr userDrawn="1">
            <p:custDataLst>
              <p:tags r:id="rId294"/>
            </p:custDataLst>
          </p:nvPr>
        </p:nvSpPr>
        <p:spPr bwMode="auto">
          <a:xfrm>
            <a:off x="7246704" y="2294681"/>
            <a:ext cx="302566" cy="247597"/>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5" name="Freeform 1054">
            <a:extLst>
              <a:ext uri="{FF2B5EF4-FFF2-40B4-BE49-F238E27FC236}">
                <a16:creationId xmlns:a16="http://schemas.microsoft.com/office/drawing/2014/main" id="{22FB1ABF-381D-9F47-AF8C-9AA72495F592}"/>
              </a:ext>
            </a:extLst>
          </p:cNvPr>
          <p:cNvSpPr>
            <a:spLocks/>
          </p:cNvSpPr>
          <p:nvPr userDrawn="1">
            <p:custDataLst>
              <p:tags r:id="rId295"/>
            </p:custDataLst>
          </p:nvPr>
        </p:nvSpPr>
        <p:spPr bwMode="auto">
          <a:xfrm>
            <a:off x="8279656" y="2498633"/>
            <a:ext cx="154536" cy="74855"/>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6" name="Freeform 1055">
            <a:extLst>
              <a:ext uri="{FF2B5EF4-FFF2-40B4-BE49-F238E27FC236}">
                <a16:creationId xmlns:a16="http://schemas.microsoft.com/office/drawing/2014/main" id="{6E5BDF0B-70CC-C64D-9A6D-E306D86B9A36}"/>
              </a:ext>
            </a:extLst>
          </p:cNvPr>
          <p:cNvSpPr>
            <a:spLocks/>
          </p:cNvSpPr>
          <p:nvPr userDrawn="1">
            <p:custDataLst>
              <p:tags r:id="rId296"/>
            </p:custDataLst>
          </p:nvPr>
        </p:nvSpPr>
        <p:spPr bwMode="auto">
          <a:xfrm>
            <a:off x="7817676" y="2553335"/>
            <a:ext cx="151283" cy="15690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7" name="Freeform 1056">
            <a:extLst>
              <a:ext uri="{FF2B5EF4-FFF2-40B4-BE49-F238E27FC236}">
                <a16:creationId xmlns:a16="http://schemas.microsoft.com/office/drawing/2014/main" id="{C57A5C77-A5CF-6E41-8EE6-BA0A8EC431DA}"/>
              </a:ext>
            </a:extLst>
          </p:cNvPr>
          <p:cNvSpPr>
            <a:spLocks/>
          </p:cNvSpPr>
          <p:nvPr userDrawn="1">
            <p:custDataLst>
              <p:tags r:id="rId297"/>
            </p:custDataLst>
          </p:nvPr>
        </p:nvSpPr>
        <p:spPr bwMode="auto">
          <a:xfrm>
            <a:off x="7903889" y="2727518"/>
            <a:ext cx="71574" cy="51823"/>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8" name="Freeform 1057">
            <a:extLst>
              <a:ext uri="{FF2B5EF4-FFF2-40B4-BE49-F238E27FC236}">
                <a16:creationId xmlns:a16="http://schemas.microsoft.com/office/drawing/2014/main" id="{F1A1E938-1C4E-C941-AB63-753A744AD554}"/>
              </a:ext>
            </a:extLst>
          </p:cNvPr>
          <p:cNvSpPr>
            <a:spLocks/>
          </p:cNvSpPr>
          <p:nvPr userDrawn="1">
            <p:custDataLst>
              <p:tags r:id="rId298"/>
            </p:custDataLst>
          </p:nvPr>
        </p:nvSpPr>
        <p:spPr bwMode="auto">
          <a:xfrm>
            <a:off x="6960405" y="3391134"/>
            <a:ext cx="191950" cy="143951"/>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9" name="Freeform 1058">
            <a:extLst>
              <a:ext uri="{FF2B5EF4-FFF2-40B4-BE49-F238E27FC236}">
                <a16:creationId xmlns:a16="http://schemas.microsoft.com/office/drawing/2014/main" id="{DCCEA7D6-A4B4-1F40-B179-E3E7AAA459DC}"/>
              </a:ext>
            </a:extLst>
          </p:cNvPr>
          <p:cNvSpPr>
            <a:spLocks/>
          </p:cNvSpPr>
          <p:nvPr userDrawn="1">
            <p:custDataLst>
              <p:tags r:id="rId299"/>
            </p:custDataLst>
          </p:nvPr>
        </p:nvSpPr>
        <p:spPr bwMode="auto">
          <a:xfrm>
            <a:off x="9055591" y="2723200"/>
            <a:ext cx="709240" cy="793174"/>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0" name="Freeform 1059">
            <a:extLst>
              <a:ext uri="{FF2B5EF4-FFF2-40B4-BE49-F238E27FC236}">
                <a16:creationId xmlns:a16="http://schemas.microsoft.com/office/drawing/2014/main" id="{D6B6D974-B186-5247-994D-4FFC98A5F49A}"/>
              </a:ext>
            </a:extLst>
          </p:cNvPr>
          <p:cNvSpPr>
            <a:spLocks/>
          </p:cNvSpPr>
          <p:nvPr userDrawn="1">
            <p:custDataLst>
              <p:tags r:id="rId300"/>
            </p:custDataLst>
          </p:nvPr>
        </p:nvSpPr>
        <p:spPr bwMode="auto">
          <a:xfrm>
            <a:off x="7131208" y="3444398"/>
            <a:ext cx="162670" cy="187137"/>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1" name="Freeform 1060">
            <a:extLst>
              <a:ext uri="{FF2B5EF4-FFF2-40B4-BE49-F238E27FC236}">
                <a16:creationId xmlns:a16="http://schemas.microsoft.com/office/drawing/2014/main" id="{7BF5AFF9-D3F6-E145-AD9A-7A4CAB8CCCC7}"/>
              </a:ext>
            </a:extLst>
          </p:cNvPr>
          <p:cNvSpPr>
            <a:spLocks/>
          </p:cNvSpPr>
          <p:nvPr userDrawn="1">
            <p:custDataLst>
              <p:tags r:id="rId301"/>
            </p:custDataLst>
          </p:nvPr>
        </p:nvSpPr>
        <p:spPr bwMode="auto">
          <a:xfrm>
            <a:off x="8225975" y="3621457"/>
            <a:ext cx="196831" cy="24615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2" name="Freeform 1061">
            <a:extLst>
              <a:ext uri="{FF2B5EF4-FFF2-40B4-BE49-F238E27FC236}">
                <a16:creationId xmlns:a16="http://schemas.microsoft.com/office/drawing/2014/main" id="{FFE4A158-1340-184A-A0E5-FF0D6E9174C9}"/>
              </a:ext>
            </a:extLst>
          </p:cNvPr>
          <p:cNvSpPr>
            <a:spLocks/>
          </p:cNvSpPr>
          <p:nvPr userDrawn="1">
            <p:custDataLst>
              <p:tags r:id="rId302"/>
            </p:custDataLst>
          </p:nvPr>
        </p:nvSpPr>
        <p:spPr bwMode="auto">
          <a:xfrm>
            <a:off x="8208082" y="2792295"/>
            <a:ext cx="104108" cy="118041"/>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3" name="Freeform 1062">
            <a:extLst>
              <a:ext uri="{FF2B5EF4-FFF2-40B4-BE49-F238E27FC236}">
                <a16:creationId xmlns:a16="http://schemas.microsoft.com/office/drawing/2014/main" id="{C1B10316-11DE-BB44-B129-074586F515F3}"/>
              </a:ext>
            </a:extLst>
          </p:cNvPr>
          <p:cNvSpPr>
            <a:spLocks/>
          </p:cNvSpPr>
          <p:nvPr userDrawn="1">
            <p:custDataLst>
              <p:tags r:id="rId303"/>
            </p:custDataLst>
          </p:nvPr>
        </p:nvSpPr>
        <p:spPr bwMode="auto">
          <a:xfrm>
            <a:off x="8513902" y="2885864"/>
            <a:ext cx="22774" cy="50383"/>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4" name="Freeform 1063">
            <a:extLst>
              <a:ext uri="{FF2B5EF4-FFF2-40B4-BE49-F238E27FC236}">
                <a16:creationId xmlns:a16="http://schemas.microsoft.com/office/drawing/2014/main" id="{DA6FC56E-1E2B-FF4A-9AE4-D173F55E83BB}"/>
              </a:ext>
            </a:extLst>
          </p:cNvPr>
          <p:cNvSpPr>
            <a:spLocks/>
          </p:cNvSpPr>
          <p:nvPr userDrawn="1">
            <p:custDataLst>
              <p:tags r:id="rId304"/>
            </p:custDataLst>
          </p:nvPr>
        </p:nvSpPr>
        <p:spPr bwMode="auto">
          <a:xfrm>
            <a:off x="7783515" y="2101327"/>
            <a:ext cx="165923" cy="60460"/>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5" name="Freeform 1064">
            <a:extLst>
              <a:ext uri="{FF2B5EF4-FFF2-40B4-BE49-F238E27FC236}">
                <a16:creationId xmlns:a16="http://schemas.microsoft.com/office/drawing/2014/main" id="{AA50AE29-8EC2-474B-B7A7-C221B361CF14}"/>
              </a:ext>
            </a:extLst>
          </p:cNvPr>
          <p:cNvSpPr>
            <a:spLocks/>
          </p:cNvSpPr>
          <p:nvPr userDrawn="1">
            <p:custDataLst>
              <p:tags r:id="rId305"/>
            </p:custDataLst>
          </p:nvPr>
        </p:nvSpPr>
        <p:spPr bwMode="auto">
          <a:xfrm>
            <a:off x="8204829" y="2754868"/>
            <a:ext cx="30907" cy="51823"/>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6" name="Freeform 1065">
            <a:extLst>
              <a:ext uri="{FF2B5EF4-FFF2-40B4-BE49-F238E27FC236}">
                <a16:creationId xmlns:a16="http://schemas.microsoft.com/office/drawing/2014/main" id="{D82B7B9C-AEEB-1E46-8A2C-B80510D9FB3C}"/>
              </a:ext>
            </a:extLst>
          </p:cNvPr>
          <p:cNvSpPr>
            <a:spLocks/>
          </p:cNvSpPr>
          <p:nvPr userDrawn="1">
            <p:custDataLst>
              <p:tags r:id="rId306"/>
            </p:custDataLst>
          </p:nvPr>
        </p:nvSpPr>
        <p:spPr bwMode="auto">
          <a:xfrm>
            <a:off x="8016132" y="4578736"/>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7" name="Freeform 1066">
            <a:extLst>
              <a:ext uri="{FF2B5EF4-FFF2-40B4-BE49-F238E27FC236}">
                <a16:creationId xmlns:a16="http://schemas.microsoft.com/office/drawing/2014/main" id="{8ECC9C71-4A6F-5249-9948-0AD15BD877C9}"/>
              </a:ext>
            </a:extLst>
          </p:cNvPr>
          <p:cNvSpPr>
            <a:spLocks/>
          </p:cNvSpPr>
          <p:nvPr userDrawn="1">
            <p:custDataLst>
              <p:tags r:id="rId307"/>
            </p:custDataLst>
          </p:nvPr>
        </p:nvSpPr>
        <p:spPr bwMode="auto">
          <a:xfrm>
            <a:off x="7781887" y="2144512"/>
            <a:ext cx="135015" cy="76294"/>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8" name="Freeform 1067">
            <a:extLst>
              <a:ext uri="{FF2B5EF4-FFF2-40B4-BE49-F238E27FC236}">
                <a16:creationId xmlns:a16="http://schemas.microsoft.com/office/drawing/2014/main" id="{D5EF0D88-B1E6-5344-A40F-C92CFE9D37E8}"/>
              </a:ext>
            </a:extLst>
          </p:cNvPr>
          <p:cNvSpPr>
            <a:spLocks/>
          </p:cNvSpPr>
          <p:nvPr userDrawn="1">
            <p:custDataLst>
              <p:tags r:id="rId308"/>
            </p:custDataLst>
          </p:nvPr>
        </p:nvSpPr>
        <p:spPr bwMode="auto">
          <a:xfrm>
            <a:off x="7480948" y="2312938"/>
            <a:ext cx="19520" cy="54702"/>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9" name="Freeform 1068">
            <a:extLst>
              <a:ext uri="{FF2B5EF4-FFF2-40B4-BE49-F238E27FC236}">
                <a16:creationId xmlns:a16="http://schemas.microsoft.com/office/drawing/2014/main" id="{1330DA25-6354-EF4D-B430-B3F69398E7EA}"/>
              </a:ext>
            </a:extLst>
          </p:cNvPr>
          <p:cNvSpPr>
            <a:spLocks/>
          </p:cNvSpPr>
          <p:nvPr userDrawn="1">
            <p:custDataLst>
              <p:tags r:id="rId309"/>
            </p:custDataLst>
          </p:nvPr>
        </p:nvSpPr>
        <p:spPr bwMode="auto">
          <a:xfrm>
            <a:off x="8195068" y="4021642"/>
            <a:ext cx="71574" cy="218806"/>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0" name="Freeform 1069">
            <a:extLst>
              <a:ext uri="{FF2B5EF4-FFF2-40B4-BE49-F238E27FC236}">
                <a16:creationId xmlns:a16="http://schemas.microsoft.com/office/drawing/2014/main" id="{C4F38EDC-DBE3-9D4F-9E82-87825607C263}"/>
              </a:ext>
            </a:extLst>
          </p:cNvPr>
          <p:cNvSpPr>
            <a:spLocks/>
          </p:cNvSpPr>
          <p:nvPr userDrawn="1">
            <p:custDataLst>
              <p:tags r:id="rId310"/>
            </p:custDataLst>
          </p:nvPr>
        </p:nvSpPr>
        <p:spPr bwMode="auto">
          <a:xfrm>
            <a:off x="7674527" y="2726077"/>
            <a:ext cx="14640" cy="5182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1" name="Freeform 1070">
            <a:extLst>
              <a:ext uri="{FF2B5EF4-FFF2-40B4-BE49-F238E27FC236}">
                <a16:creationId xmlns:a16="http://schemas.microsoft.com/office/drawing/2014/main" id="{8B4EF412-142F-674C-9BC4-8A2A88A2B40D}"/>
              </a:ext>
            </a:extLst>
          </p:cNvPr>
          <p:cNvSpPr>
            <a:spLocks/>
          </p:cNvSpPr>
          <p:nvPr userDrawn="1">
            <p:custDataLst>
              <p:tags r:id="rId311"/>
            </p:custDataLst>
          </p:nvPr>
        </p:nvSpPr>
        <p:spPr bwMode="auto">
          <a:xfrm>
            <a:off x="8001492" y="4195825"/>
            <a:ext cx="193577" cy="1972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2" name="Freeform 1071">
            <a:extLst>
              <a:ext uri="{FF2B5EF4-FFF2-40B4-BE49-F238E27FC236}">
                <a16:creationId xmlns:a16="http://schemas.microsoft.com/office/drawing/2014/main" id="{FA1709AE-3C81-6D48-80A9-F6512459C4D9}"/>
              </a:ext>
            </a:extLst>
          </p:cNvPr>
          <p:cNvSpPr>
            <a:spLocks/>
          </p:cNvSpPr>
          <p:nvPr userDrawn="1">
            <p:custDataLst>
              <p:tags r:id="rId312"/>
            </p:custDataLst>
          </p:nvPr>
        </p:nvSpPr>
        <p:spPr bwMode="auto">
          <a:xfrm>
            <a:off x="7912024" y="3992852"/>
            <a:ext cx="300938" cy="272069"/>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3" name="Freeform 1072">
            <a:extLst>
              <a:ext uri="{FF2B5EF4-FFF2-40B4-BE49-F238E27FC236}">
                <a16:creationId xmlns:a16="http://schemas.microsoft.com/office/drawing/2014/main" id="{74E90B58-9423-F446-8057-D436A77460A9}"/>
              </a:ext>
            </a:extLst>
          </p:cNvPr>
          <p:cNvSpPr>
            <a:spLocks/>
          </p:cNvSpPr>
          <p:nvPr userDrawn="1">
            <p:custDataLst>
              <p:tags r:id="rId313"/>
            </p:custDataLst>
          </p:nvPr>
        </p:nvSpPr>
        <p:spPr bwMode="auto">
          <a:xfrm>
            <a:off x="7641992" y="4240449"/>
            <a:ext cx="359499" cy="34548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4" name="Freeform 1073">
            <a:extLst>
              <a:ext uri="{FF2B5EF4-FFF2-40B4-BE49-F238E27FC236}">
                <a16:creationId xmlns:a16="http://schemas.microsoft.com/office/drawing/2014/main" id="{44815F67-D825-DF4C-9D11-C011D0EBB10F}"/>
              </a:ext>
            </a:extLst>
          </p:cNvPr>
          <p:cNvSpPr>
            <a:spLocks/>
          </p:cNvSpPr>
          <p:nvPr userDrawn="1">
            <p:custDataLst>
              <p:tags r:id="rId314"/>
            </p:custDataLst>
          </p:nvPr>
        </p:nvSpPr>
        <p:spPr bwMode="auto">
          <a:xfrm>
            <a:off x="6903471" y="3270215"/>
            <a:ext cx="165923" cy="12811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5" name="Freeform 1074">
            <a:extLst>
              <a:ext uri="{FF2B5EF4-FFF2-40B4-BE49-F238E27FC236}">
                <a16:creationId xmlns:a16="http://schemas.microsoft.com/office/drawing/2014/main" id="{F5452F66-A19A-C349-8336-23B2150CAAAB}"/>
              </a:ext>
            </a:extLst>
          </p:cNvPr>
          <p:cNvSpPr>
            <a:spLocks/>
          </p:cNvSpPr>
          <p:nvPr userDrawn="1">
            <p:custDataLst>
              <p:tags r:id="rId315"/>
            </p:custDataLst>
          </p:nvPr>
        </p:nvSpPr>
        <p:spPr bwMode="auto">
          <a:xfrm>
            <a:off x="8105600" y="3779804"/>
            <a:ext cx="276538" cy="30373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6" name="Freeform 1075">
            <a:extLst>
              <a:ext uri="{FF2B5EF4-FFF2-40B4-BE49-F238E27FC236}">
                <a16:creationId xmlns:a16="http://schemas.microsoft.com/office/drawing/2014/main" id="{520DE8EB-05B3-B64E-BB99-F89B141F0F8C}"/>
              </a:ext>
            </a:extLst>
          </p:cNvPr>
          <p:cNvSpPr>
            <a:spLocks/>
          </p:cNvSpPr>
          <p:nvPr userDrawn="1">
            <p:custDataLst>
              <p:tags r:id="rId316"/>
            </p:custDataLst>
          </p:nvPr>
        </p:nvSpPr>
        <p:spPr bwMode="auto">
          <a:xfrm>
            <a:off x="10732717" y="2432415"/>
            <a:ext cx="19520" cy="51823"/>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7" name="Freeform 1076">
            <a:extLst>
              <a:ext uri="{FF2B5EF4-FFF2-40B4-BE49-F238E27FC236}">
                <a16:creationId xmlns:a16="http://schemas.microsoft.com/office/drawing/2014/main" id="{359C5A60-B3A5-994E-B857-A84738E39B47}"/>
              </a:ext>
            </a:extLst>
          </p:cNvPr>
          <p:cNvSpPr>
            <a:spLocks/>
          </p:cNvSpPr>
          <p:nvPr userDrawn="1">
            <p:custDataLst>
              <p:tags r:id="rId317"/>
            </p:custDataLst>
          </p:nvPr>
        </p:nvSpPr>
        <p:spPr bwMode="auto">
          <a:xfrm>
            <a:off x="10587941" y="2433855"/>
            <a:ext cx="144777" cy="11372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8" name="Freeform 1077">
            <a:extLst>
              <a:ext uri="{FF2B5EF4-FFF2-40B4-BE49-F238E27FC236}">
                <a16:creationId xmlns:a16="http://schemas.microsoft.com/office/drawing/2014/main" id="{6BEB5B03-C7D8-C94B-ADD0-3C1AD367DBAB}"/>
              </a:ext>
            </a:extLst>
          </p:cNvPr>
          <p:cNvSpPr>
            <a:spLocks/>
          </p:cNvSpPr>
          <p:nvPr userDrawn="1">
            <p:custDataLst>
              <p:tags r:id="rId318"/>
            </p:custDataLst>
          </p:nvPr>
        </p:nvSpPr>
        <p:spPr bwMode="auto">
          <a:xfrm>
            <a:off x="10557035" y="2754868"/>
            <a:ext cx="53680" cy="51823"/>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9" name="Freeform 1078">
            <a:extLst>
              <a:ext uri="{FF2B5EF4-FFF2-40B4-BE49-F238E27FC236}">
                <a16:creationId xmlns:a16="http://schemas.microsoft.com/office/drawing/2014/main" id="{CBC0CDEA-1B76-D340-BFE5-D06140300A63}"/>
              </a:ext>
            </a:extLst>
          </p:cNvPr>
          <p:cNvSpPr>
            <a:spLocks/>
          </p:cNvSpPr>
          <p:nvPr userDrawn="1">
            <p:custDataLst>
              <p:tags r:id="rId319"/>
            </p:custDataLst>
          </p:nvPr>
        </p:nvSpPr>
        <p:spPr bwMode="auto">
          <a:xfrm>
            <a:off x="10501727" y="2767825"/>
            <a:ext cx="61815" cy="76294"/>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0" name="Freeform 1079">
            <a:extLst>
              <a:ext uri="{FF2B5EF4-FFF2-40B4-BE49-F238E27FC236}">
                <a16:creationId xmlns:a16="http://schemas.microsoft.com/office/drawing/2014/main" id="{A992596B-0A30-A045-B12A-9E48061288C5}"/>
              </a:ext>
            </a:extLst>
          </p:cNvPr>
          <p:cNvSpPr>
            <a:spLocks/>
          </p:cNvSpPr>
          <p:nvPr userDrawn="1">
            <p:custDataLst>
              <p:tags r:id="rId320"/>
            </p:custDataLst>
          </p:nvPr>
        </p:nvSpPr>
        <p:spPr bwMode="auto">
          <a:xfrm>
            <a:off x="10517993" y="2551897"/>
            <a:ext cx="214724" cy="221686"/>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1" name="Freeform 1080">
            <a:extLst>
              <a:ext uri="{FF2B5EF4-FFF2-40B4-BE49-F238E27FC236}">
                <a16:creationId xmlns:a16="http://schemas.microsoft.com/office/drawing/2014/main" id="{26B660C4-FB8E-A743-B442-E0C5D8229CDE}"/>
              </a:ext>
            </a:extLst>
          </p:cNvPr>
          <p:cNvSpPr>
            <a:spLocks/>
          </p:cNvSpPr>
          <p:nvPr userDrawn="1">
            <p:custDataLst>
              <p:tags r:id="rId321"/>
            </p:custDataLst>
          </p:nvPr>
        </p:nvSpPr>
        <p:spPr bwMode="auto">
          <a:xfrm>
            <a:off x="8042159" y="1545674"/>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2" name="Freeform 1081">
            <a:extLst>
              <a:ext uri="{FF2B5EF4-FFF2-40B4-BE49-F238E27FC236}">
                <a16:creationId xmlns:a16="http://schemas.microsoft.com/office/drawing/2014/main" id="{A46000F3-1DB9-0F43-AC07-1A13200A00FF}"/>
              </a:ext>
            </a:extLst>
          </p:cNvPr>
          <p:cNvSpPr>
            <a:spLocks/>
          </p:cNvSpPr>
          <p:nvPr userDrawn="1">
            <p:custDataLst>
              <p:tags r:id="rId322"/>
            </p:custDataLst>
          </p:nvPr>
        </p:nvSpPr>
        <p:spPr bwMode="auto">
          <a:xfrm>
            <a:off x="8188562" y="1529840"/>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3" name="Freeform 1082">
            <a:extLst>
              <a:ext uri="{FF2B5EF4-FFF2-40B4-BE49-F238E27FC236}">
                <a16:creationId xmlns:a16="http://schemas.microsoft.com/office/drawing/2014/main" id="{8B3609CA-1A68-9F48-BB31-AC13992DA945}"/>
              </a:ext>
            </a:extLst>
          </p:cNvPr>
          <p:cNvSpPr>
            <a:spLocks/>
          </p:cNvSpPr>
          <p:nvPr userDrawn="1">
            <p:custDataLst>
              <p:tags r:id="rId323"/>
            </p:custDataLst>
          </p:nvPr>
        </p:nvSpPr>
        <p:spPr bwMode="auto">
          <a:xfrm>
            <a:off x="8225976" y="1537036"/>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4" name="Freeform 1083">
            <a:extLst>
              <a:ext uri="{FF2B5EF4-FFF2-40B4-BE49-F238E27FC236}">
                <a16:creationId xmlns:a16="http://schemas.microsoft.com/office/drawing/2014/main" id="{E73E38E2-4CAF-1544-B868-E525313B9A4E}"/>
              </a:ext>
            </a:extLst>
          </p:cNvPr>
          <p:cNvSpPr>
            <a:spLocks/>
          </p:cNvSpPr>
          <p:nvPr userDrawn="1">
            <p:custDataLst>
              <p:tags r:id="rId324"/>
            </p:custDataLst>
          </p:nvPr>
        </p:nvSpPr>
        <p:spPr bwMode="auto">
          <a:xfrm>
            <a:off x="8772547" y="1705460"/>
            <a:ext cx="42294" cy="51823"/>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5" name="Freeform 1084">
            <a:extLst>
              <a:ext uri="{FF2B5EF4-FFF2-40B4-BE49-F238E27FC236}">
                <a16:creationId xmlns:a16="http://schemas.microsoft.com/office/drawing/2014/main" id="{783C687C-5306-204B-A384-7703D71DCC12}"/>
              </a:ext>
            </a:extLst>
          </p:cNvPr>
          <p:cNvSpPr>
            <a:spLocks/>
          </p:cNvSpPr>
          <p:nvPr userDrawn="1">
            <p:custDataLst>
              <p:tags r:id="rId325"/>
            </p:custDataLst>
          </p:nvPr>
        </p:nvSpPr>
        <p:spPr bwMode="auto">
          <a:xfrm>
            <a:off x="8679825" y="1577343"/>
            <a:ext cx="16267" cy="5326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6" name="Freeform 1085">
            <a:extLst>
              <a:ext uri="{FF2B5EF4-FFF2-40B4-BE49-F238E27FC236}">
                <a16:creationId xmlns:a16="http://schemas.microsoft.com/office/drawing/2014/main" id="{D683DA25-966E-6448-94A9-EA7B55D23668}"/>
              </a:ext>
            </a:extLst>
          </p:cNvPr>
          <p:cNvSpPr>
            <a:spLocks/>
          </p:cNvSpPr>
          <p:nvPr userDrawn="1">
            <p:custDataLst>
              <p:tags r:id="rId326"/>
            </p:custDataLst>
          </p:nvPr>
        </p:nvSpPr>
        <p:spPr bwMode="auto">
          <a:xfrm>
            <a:off x="8702599" y="1539917"/>
            <a:ext cx="14640" cy="54702"/>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7" name="Freeform 1086">
            <a:extLst>
              <a:ext uri="{FF2B5EF4-FFF2-40B4-BE49-F238E27FC236}">
                <a16:creationId xmlns:a16="http://schemas.microsoft.com/office/drawing/2014/main" id="{CA7487D8-4D29-5A41-8D44-613EA372E286}"/>
              </a:ext>
            </a:extLst>
          </p:cNvPr>
          <p:cNvSpPr>
            <a:spLocks/>
          </p:cNvSpPr>
          <p:nvPr userDrawn="1">
            <p:custDataLst>
              <p:tags r:id="rId327"/>
            </p:custDataLst>
          </p:nvPr>
        </p:nvSpPr>
        <p:spPr bwMode="auto">
          <a:xfrm>
            <a:off x="8850628" y="1645001"/>
            <a:ext cx="17894" cy="51823"/>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8" name="Freeform 1087">
            <a:extLst>
              <a:ext uri="{FF2B5EF4-FFF2-40B4-BE49-F238E27FC236}">
                <a16:creationId xmlns:a16="http://schemas.microsoft.com/office/drawing/2014/main" id="{8000594D-16D4-4C46-93DF-A423178C40CA}"/>
              </a:ext>
            </a:extLst>
          </p:cNvPr>
          <p:cNvSpPr>
            <a:spLocks/>
          </p:cNvSpPr>
          <p:nvPr userDrawn="1">
            <p:custDataLst>
              <p:tags r:id="rId328"/>
            </p:custDataLst>
          </p:nvPr>
        </p:nvSpPr>
        <p:spPr bwMode="auto">
          <a:xfrm>
            <a:off x="8905936" y="1539917"/>
            <a:ext cx="95976" cy="54702"/>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9" name="Freeform 1088">
            <a:extLst>
              <a:ext uri="{FF2B5EF4-FFF2-40B4-BE49-F238E27FC236}">
                <a16:creationId xmlns:a16="http://schemas.microsoft.com/office/drawing/2014/main" id="{59D3BB81-2EB8-EC42-A57B-B0F91837D7C4}"/>
              </a:ext>
            </a:extLst>
          </p:cNvPr>
          <p:cNvSpPr>
            <a:spLocks/>
          </p:cNvSpPr>
          <p:nvPr userDrawn="1">
            <p:custDataLst>
              <p:tags r:id="rId329"/>
            </p:custDataLst>
          </p:nvPr>
        </p:nvSpPr>
        <p:spPr bwMode="auto">
          <a:xfrm>
            <a:off x="8967749" y="1562948"/>
            <a:ext cx="105736" cy="54702"/>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0" name="Freeform 1089">
            <a:extLst>
              <a:ext uri="{FF2B5EF4-FFF2-40B4-BE49-F238E27FC236}">
                <a16:creationId xmlns:a16="http://schemas.microsoft.com/office/drawing/2014/main" id="{D4EC0CE7-9F9F-304F-B5D0-AFF6116FD5B5}"/>
              </a:ext>
            </a:extLst>
          </p:cNvPr>
          <p:cNvSpPr>
            <a:spLocks/>
          </p:cNvSpPr>
          <p:nvPr userDrawn="1">
            <p:custDataLst>
              <p:tags r:id="rId330"/>
            </p:custDataLst>
          </p:nvPr>
        </p:nvSpPr>
        <p:spPr bwMode="auto">
          <a:xfrm>
            <a:off x="9088125" y="1575904"/>
            <a:ext cx="84588" cy="51823"/>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1" name="Freeform 1090">
            <a:extLst>
              <a:ext uri="{FF2B5EF4-FFF2-40B4-BE49-F238E27FC236}">
                <a16:creationId xmlns:a16="http://schemas.microsoft.com/office/drawing/2014/main" id="{1AECA729-5898-724D-BA58-9D5A137ECCDE}"/>
              </a:ext>
            </a:extLst>
          </p:cNvPr>
          <p:cNvSpPr>
            <a:spLocks/>
          </p:cNvSpPr>
          <p:nvPr userDrawn="1">
            <p:custDataLst>
              <p:tags r:id="rId331"/>
            </p:custDataLst>
          </p:nvPr>
        </p:nvSpPr>
        <p:spPr bwMode="auto">
          <a:xfrm>
            <a:off x="9628190" y="1689625"/>
            <a:ext cx="81335" cy="5326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2" name="Freeform 1091">
            <a:extLst>
              <a:ext uri="{FF2B5EF4-FFF2-40B4-BE49-F238E27FC236}">
                <a16:creationId xmlns:a16="http://schemas.microsoft.com/office/drawing/2014/main" id="{39F25F58-3C44-3242-B827-377CF520F121}"/>
              </a:ext>
            </a:extLst>
          </p:cNvPr>
          <p:cNvSpPr>
            <a:spLocks/>
          </p:cNvSpPr>
          <p:nvPr userDrawn="1">
            <p:custDataLst>
              <p:tags r:id="rId332"/>
            </p:custDataLst>
          </p:nvPr>
        </p:nvSpPr>
        <p:spPr bwMode="auto">
          <a:xfrm>
            <a:off x="9696510" y="1705460"/>
            <a:ext cx="34161" cy="51823"/>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3" name="Freeform 1092">
            <a:extLst>
              <a:ext uri="{FF2B5EF4-FFF2-40B4-BE49-F238E27FC236}">
                <a16:creationId xmlns:a16="http://schemas.microsoft.com/office/drawing/2014/main" id="{3CBAAF20-D391-064A-92BD-4EC47410B40C}"/>
              </a:ext>
            </a:extLst>
          </p:cNvPr>
          <p:cNvSpPr>
            <a:spLocks/>
          </p:cNvSpPr>
          <p:nvPr userDrawn="1">
            <p:custDataLst>
              <p:tags r:id="rId333"/>
            </p:custDataLst>
          </p:nvPr>
        </p:nvSpPr>
        <p:spPr bwMode="auto">
          <a:xfrm>
            <a:off x="9727419" y="1715537"/>
            <a:ext cx="53680" cy="5326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4" name="Freeform 1093">
            <a:extLst>
              <a:ext uri="{FF2B5EF4-FFF2-40B4-BE49-F238E27FC236}">
                <a16:creationId xmlns:a16="http://schemas.microsoft.com/office/drawing/2014/main" id="{A54F5923-5605-5547-8CBC-0422A48E0262}"/>
              </a:ext>
            </a:extLst>
          </p:cNvPr>
          <p:cNvSpPr>
            <a:spLocks/>
          </p:cNvSpPr>
          <p:nvPr userDrawn="1">
            <p:custDataLst>
              <p:tags r:id="rId334"/>
            </p:custDataLst>
          </p:nvPr>
        </p:nvSpPr>
        <p:spPr bwMode="auto">
          <a:xfrm>
            <a:off x="9493173" y="1691066"/>
            <a:ext cx="63441" cy="5326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5" name="Freeform 1094">
            <a:extLst>
              <a:ext uri="{FF2B5EF4-FFF2-40B4-BE49-F238E27FC236}">
                <a16:creationId xmlns:a16="http://schemas.microsoft.com/office/drawing/2014/main" id="{71FBB6B4-D067-5D48-A160-FE3451746DDC}"/>
              </a:ext>
            </a:extLst>
          </p:cNvPr>
          <p:cNvSpPr>
            <a:spLocks/>
          </p:cNvSpPr>
          <p:nvPr userDrawn="1">
            <p:custDataLst>
              <p:tags r:id="rId335"/>
            </p:custDataLst>
          </p:nvPr>
        </p:nvSpPr>
        <p:spPr bwMode="auto">
          <a:xfrm>
            <a:off x="9800619" y="1637802"/>
            <a:ext cx="143149" cy="51823"/>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6" name="Freeform 1095">
            <a:extLst>
              <a:ext uri="{FF2B5EF4-FFF2-40B4-BE49-F238E27FC236}">
                <a16:creationId xmlns:a16="http://schemas.microsoft.com/office/drawing/2014/main" id="{8135833E-07C0-2D4D-8193-5C599DA64420}"/>
              </a:ext>
            </a:extLst>
          </p:cNvPr>
          <p:cNvSpPr>
            <a:spLocks/>
          </p:cNvSpPr>
          <p:nvPr userDrawn="1">
            <p:custDataLst>
              <p:tags r:id="rId336"/>
            </p:custDataLst>
          </p:nvPr>
        </p:nvSpPr>
        <p:spPr bwMode="auto">
          <a:xfrm>
            <a:off x="9964916" y="1645001"/>
            <a:ext cx="97602" cy="51823"/>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7" name="Freeform 1096">
            <a:extLst>
              <a:ext uri="{FF2B5EF4-FFF2-40B4-BE49-F238E27FC236}">
                <a16:creationId xmlns:a16="http://schemas.microsoft.com/office/drawing/2014/main" id="{579AFD49-0232-0D49-950F-F8ADE42444D3}"/>
              </a:ext>
            </a:extLst>
          </p:cNvPr>
          <p:cNvSpPr>
            <a:spLocks/>
          </p:cNvSpPr>
          <p:nvPr userDrawn="1">
            <p:custDataLst>
              <p:tags r:id="rId337"/>
            </p:custDataLst>
          </p:nvPr>
        </p:nvSpPr>
        <p:spPr bwMode="auto">
          <a:xfrm>
            <a:off x="9924248" y="1688187"/>
            <a:ext cx="65068" cy="5326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8" name="Freeform 1097">
            <a:extLst>
              <a:ext uri="{FF2B5EF4-FFF2-40B4-BE49-F238E27FC236}">
                <a16:creationId xmlns:a16="http://schemas.microsoft.com/office/drawing/2014/main" id="{F19DA33E-A94A-4F4F-B786-3CE279D4D5C3}"/>
              </a:ext>
            </a:extLst>
          </p:cNvPr>
          <p:cNvSpPr>
            <a:spLocks/>
          </p:cNvSpPr>
          <p:nvPr userDrawn="1">
            <p:custDataLst>
              <p:tags r:id="rId338"/>
            </p:custDataLst>
          </p:nvPr>
        </p:nvSpPr>
        <p:spPr bwMode="auto">
          <a:xfrm>
            <a:off x="9903103" y="1685308"/>
            <a:ext cx="21146" cy="5326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9" name="Line 504">
            <a:extLst>
              <a:ext uri="{FF2B5EF4-FFF2-40B4-BE49-F238E27FC236}">
                <a16:creationId xmlns:a16="http://schemas.microsoft.com/office/drawing/2014/main" id="{3E6B40F9-C7EF-1548-8EB8-CF25318DA13D}"/>
              </a:ext>
            </a:extLst>
          </p:cNvPr>
          <p:cNvSpPr>
            <a:spLocks noChangeShapeType="1"/>
          </p:cNvSpPr>
          <p:nvPr userDrawn="1">
            <p:custDataLst>
              <p:tags r:id="rId339"/>
            </p:custDataLst>
          </p:nvPr>
        </p:nvSpPr>
        <p:spPr bwMode="auto">
          <a:xfrm flipV="1">
            <a:off x="9904728" y="1683867"/>
            <a:ext cx="0" cy="14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0" name="Freeform 1099">
            <a:extLst>
              <a:ext uri="{FF2B5EF4-FFF2-40B4-BE49-F238E27FC236}">
                <a16:creationId xmlns:a16="http://schemas.microsoft.com/office/drawing/2014/main" id="{BC6759E4-7DC2-C742-867C-B1A610CFFE12}"/>
              </a:ext>
            </a:extLst>
          </p:cNvPr>
          <p:cNvSpPr>
            <a:spLocks/>
          </p:cNvSpPr>
          <p:nvPr userDrawn="1">
            <p:custDataLst>
              <p:tags r:id="rId340"/>
            </p:custDataLst>
          </p:nvPr>
        </p:nvSpPr>
        <p:spPr bwMode="auto">
          <a:xfrm>
            <a:off x="9053965" y="1619089"/>
            <a:ext cx="11387" cy="50383"/>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1" name="Freeform 1100">
            <a:extLst>
              <a:ext uri="{FF2B5EF4-FFF2-40B4-BE49-F238E27FC236}">
                <a16:creationId xmlns:a16="http://schemas.microsoft.com/office/drawing/2014/main" id="{038E2809-2803-7F45-881A-E275C83F032C}"/>
              </a:ext>
            </a:extLst>
          </p:cNvPr>
          <p:cNvSpPr>
            <a:spLocks/>
          </p:cNvSpPr>
          <p:nvPr userDrawn="1">
            <p:custDataLst>
              <p:tags r:id="rId341"/>
            </p:custDataLst>
          </p:nvPr>
        </p:nvSpPr>
        <p:spPr bwMode="auto">
          <a:xfrm>
            <a:off x="9821768" y="1683867"/>
            <a:ext cx="9761" cy="51823"/>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2" name="Freeform 1101">
            <a:extLst>
              <a:ext uri="{FF2B5EF4-FFF2-40B4-BE49-F238E27FC236}">
                <a16:creationId xmlns:a16="http://schemas.microsoft.com/office/drawing/2014/main" id="{929EBD2C-CBBD-FB4D-984E-4778EEE4C637}"/>
              </a:ext>
            </a:extLst>
          </p:cNvPr>
          <p:cNvSpPr>
            <a:spLocks/>
          </p:cNvSpPr>
          <p:nvPr userDrawn="1">
            <p:custDataLst>
              <p:tags r:id="rId342"/>
            </p:custDataLst>
          </p:nvPr>
        </p:nvSpPr>
        <p:spPr bwMode="auto">
          <a:xfrm>
            <a:off x="9774592" y="1650758"/>
            <a:ext cx="9761" cy="51823"/>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3" name="Freeform 1102">
            <a:extLst>
              <a:ext uri="{FF2B5EF4-FFF2-40B4-BE49-F238E27FC236}">
                <a16:creationId xmlns:a16="http://schemas.microsoft.com/office/drawing/2014/main" id="{47345558-639E-F84E-ABBB-9E2C26781454}"/>
              </a:ext>
            </a:extLst>
          </p:cNvPr>
          <p:cNvSpPr>
            <a:spLocks/>
          </p:cNvSpPr>
          <p:nvPr userDrawn="1">
            <p:custDataLst>
              <p:tags r:id="rId343"/>
            </p:custDataLst>
          </p:nvPr>
        </p:nvSpPr>
        <p:spPr bwMode="auto">
          <a:xfrm>
            <a:off x="10287002" y="2167545"/>
            <a:ext cx="13014" cy="5326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4" name="Freeform 1103">
            <a:extLst>
              <a:ext uri="{FF2B5EF4-FFF2-40B4-BE49-F238E27FC236}">
                <a16:creationId xmlns:a16="http://schemas.microsoft.com/office/drawing/2014/main" id="{9FDD7E29-EC2D-834F-9AA3-7345CD296359}"/>
              </a:ext>
            </a:extLst>
          </p:cNvPr>
          <p:cNvSpPr>
            <a:spLocks/>
          </p:cNvSpPr>
          <p:nvPr userDrawn="1">
            <p:custDataLst>
              <p:tags r:id="rId344"/>
            </p:custDataLst>
          </p:nvPr>
        </p:nvSpPr>
        <p:spPr bwMode="auto">
          <a:xfrm>
            <a:off x="10587942" y="1734252"/>
            <a:ext cx="56935" cy="5326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5" name="Freeform 1104">
            <a:extLst>
              <a:ext uri="{FF2B5EF4-FFF2-40B4-BE49-F238E27FC236}">
                <a16:creationId xmlns:a16="http://schemas.microsoft.com/office/drawing/2014/main" id="{E76CE865-89AC-7D45-8B1A-AD94BEE757F0}"/>
              </a:ext>
            </a:extLst>
          </p:cNvPr>
          <p:cNvSpPr>
            <a:spLocks/>
          </p:cNvSpPr>
          <p:nvPr userDrawn="1">
            <p:custDataLst>
              <p:tags r:id="rId345"/>
            </p:custDataLst>
          </p:nvPr>
        </p:nvSpPr>
        <p:spPr bwMode="auto">
          <a:xfrm>
            <a:off x="10727837" y="2053824"/>
            <a:ext cx="14640" cy="51823"/>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6" name="Freeform 1105">
            <a:extLst>
              <a:ext uri="{FF2B5EF4-FFF2-40B4-BE49-F238E27FC236}">
                <a16:creationId xmlns:a16="http://schemas.microsoft.com/office/drawing/2014/main" id="{EF6A6350-AF77-604B-872A-C932F1803EFB}"/>
              </a:ext>
            </a:extLst>
          </p:cNvPr>
          <p:cNvSpPr>
            <a:spLocks/>
          </p:cNvSpPr>
          <p:nvPr userDrawn="1">
            <p:custDataLst>
              <p:tags r:id="rId346"/>
            </p:custDataLst>
          </p:nvPr>
        </p:nvSpPr>
        <p:spPr bwMode="auto">
          <a:xfrm>
            <a:off x="10880747" y="2156030"/>
            <a:ext cx="43921" cy="54702"/>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7" name="Freeform 1106">
            <a:extLst>
              <a:ext uri="{FF2B5EF4-FFF2-40B4-BE49-F238E27FC236}">
                <a16:creationId xmlns:a16="http://schemas.microsoft.com/office/drawing/2014/main" id="{29071A79-B1E8-8346-BB19-617F569216C4}"/>
              </a:ext>
            </a:extLst>
          </p:cNvPr>
          <p:cNvSpPr>
            <a:spLocks/>
          </p:cNvSpPr>
          <p:nvPr userDrawn="1">
            <p:custDataLst>
              <p:tags r:id="rId347"/>
            </p:custDataLst>
          </p:nvPr>
        </p:nvSpPr>
        <p:spPr bwMode="auto">
          <a:xfrm>
            <a:off x="10932800" y="2170423"/>
            <a:ext cx="19520" cy="5326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8" name="Freeform 1107">
            <a:extLst>
              <a:ext uri="{FF2B5EF4-FFF2-40B4-BE49-F238E27FC236}">
                <a16:creationId xmlns:a16="http://schemas.microsoft.com/office/drawing/2014/main" id="{F7778464-4758-4C4B-B3DD-80130EF30190}"/>
              </a:ext>
            </a:extLst>
          </p:cNvPr>
          <p:cNvSpPr>
            <a:spLocks/>
          </p:cNvSpPr>
          <p:nvPr userDrawn="1">
            <p:custDataLst>
              <p:tags r:id="rId348"/>
            </p:custDataLst>
          </p:nvPr>
        </p:nvSpPr>
        <p:spPr bwMode="auto">
          <a:xfrm>
            <a:off x="10794533" y="2285586"/>
            <a:ext cx="14640" cy="51823"/>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9" name="Freeform 1108">
            <a:extLst>
              <a:ext uri="{FF2B5EF4-FFF2-40B4-BE49-F238E27FC236}">
                <a16:creationId xmlns:a16="http://schemas.microsoft.com/office/drawing/2014/main" id="{1404A17D-B901-DE48-B6E5-2A3A9961B83F}"/>
              </a:ext>
            </a:extLst>
          </p:cNvPr>
          <p:cNvSpPr>
            <a:spLocks/>
          </p:cNvSpPr>
          <p:nvPr userDrawn="1">
            <p:custDataLst>
              <p:tags r:id="rId349"/>
            </p:custDataLst>
          </p:nvPr>
        </p:nvSpPr>
        <p:spPr bwMode="auto">
          <a:xfrm>
            <a:off x="10805919" y="2311497"/>
            <a:ext cx="3254" cy="54702"/>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0" name="Freeform 1109">
            <a:extLst>
              <a:ext uri="{FF2B5EF4-FFF2-40B4-BE49-F238E27FC236}">
                <a16:creationId xmlns:a16="http://schemas.microsoft.com/office/drawing/2014/main" id="{9C72AD86-8CC1-574D-92C2-F5EBFE9602C7}"/>
              </a:ext>
            </a:extLst>
          </p:cNvPr>
          <p:cNvSpPr>
            <a:spLocks/>
          </p:cNvSpPr>
          <p:nvPr userDrawn="1">
            <p:custDataLst>
              <p:tags r:id="rId350"/>
            </p:custDataLst>
          </p:nvPr>
        </p:nvSpPr>
        <p:spPr bwMode="auto">
          <a:xfrm>
            <a:off x="10792905" y="2386353"/>
            <a:ext cx="9761" cy="5038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1" name="Freeform 1110">
            <a:extLst>
              <a:ext uri="{FF2B5EF4-FFF2-40B4-BE49-F238E27FC236}">
                <a16:creationId xmlns:a16="http://schemas.microsoft.com/office/drawing/2014/main" id="{DD106EAD-18D1-144F-B4A1-AA4EAE0F7931}"/>
              </a:ext>
            </a:extLst>
          </p:cNvPr>
          <p:cNvSpPr>
            <a:spLocks/>
          </p:cNvSpPr>
          <p:nvPr userDrawn="1">
            <p:custDataLst>
              <p:tags r:id="rId351"/>
            </p:custDataLst>
          </p:nvPr>
        </p:nvSpPr>
        <p:spPr bwMode="auto">
          <a:xfrm>
            <a:off x="10770131" y="2418021"/>
            <a:ext cx="0" cy="5326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2" name="Freeform 1111">
            <a:extLst>
              <a:ext uri="{FF2B5EF4-FFF2-40B4-BE49-F238E27FC236}">
                <a16:creationId xmlns:a16="http://schemas.microsoft.com/office/drawing/2014/main" id="{80BD110D-7876-3F4A-B9AB-093331E50044}"/>
              </a:ext>
            </a:extLst>
          </p:cNvPr>
          <p:cNvSpPr>
            <a:spLocks/>
          </p:cNvSpPr>
          <p:nvPr userDrawn="1">
            <p:custDataLst>
              <p:tags r:id="rId352"/>
            </p:custDataLst>
          </p:nvPr>
        </p:nvSpPr>
        <p:spPr bwMode="auto">
          <a:xfrm>
            <a:off x="10770131" y="2418021"/>
            <a:ext cx="8134" cy="5326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3" name="Freeform 1112">
            <a:extLst>
              <a:ext uri="{FF2B5EF4-FFF2-40B4-BE49-F238E27FC236}">
                <a16:creationId xmlns:a16="http://schemas.microsoft.com/office/drawing/2014/main" id="{95C87C73-8811-C741-8FEC-A74A406160A4}"/>
              </a:ext>
            </a:extLst>
          </p:cNvPr>
          <p:cNvSpPr>
            <a:spLocks/>
          </p:cNvSpPr>
          <p:nvPr userDrawn="1">
            <p:custDataLst>
              <p:tags r:id="rId353"/>
            </p:custDataLst>
          </p:nvPr>
        </p:nvSpPr>
        <p:spPr bwMode="auto">
          <a:xfrm>
            <a:off x="10517993" y="2043747"/>
            <a:ext cx="17893" cy="54702"/>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4" name="Freeform 1113">
            <a:extLst>
              <a:ext uri="{FF2B5EF4-FFF2-40B4-BE49-F238E27FC236}">
                <a16:creationId xmlns:a16="http://schemas.microsoft.com/office/drawing/2014/main" id="{3D08E34E-1B3B-2042-A5E1-02EFC4DF76AC}"/>
              </a:ext>
            </a:extLst>
          </p:cNvPr>
          <p:cNvSpPr>
            <a:spLocks/>
          </p:cNvSpPr>
          <p:nvPr userDrawn="1">
            <p:custDataLst>
              <p:tags r:id="rId354"/>
            </p:custDataLst>
          </p:nvPr>
        </p:nvSpPr>
        <p:spPr bwMode="auto">
          <a:xfrm>
            <a:off x="7767247" y="2170423"/>
            <a:ext cx="48801" cy="5326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5" name="Freeform 1114">
            <a:extLst>
              <a:ext uri="{FF2B5EF4-FFF2-40B4-BE49-F238E27FC236}">
                <a16:creationId xmlns:a16="http://schemas.microsoft.com/office/drawing/2014/main" id="{F3261702-BF06-8B4B-BAFF-F9F7075739EB}"/>
              </a:ext>
            </a:extLst>
          </p:cNvPr>
          <p:cNvSpPr>
            <a:spLocks/>
          </p:cNvSpPr>
          <p:nvPr userDrawn="1">
            <p:custDataLst>
              <p:tags r:id="rId355"/>
            </p:custDataLst>
          </p:nvPr>
        </p:nvSpPr>
        <p:spPr bwMode="auto">
          <a:xfrm>
            <a:off x="8227602" y="1800469"/>
            <a:ext cx="43920" cy="5326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6" name="Freeform 1115">
            <a:extLst>
              <a:ext uri="{FF2B5EF4-FFF2-40B4-BE49-F238E27FC236}">
                <a16:creationId xmlns:a16="http://schemas.microsoft.com/office/drawing/2014/main" id="{09D15526-1046-4545-A4F2-5DDE91FB28B8}"/>
              </a:ext>
            </a:extLst>
          </p:cNvPr>
          <p:cNvSpPr>
            <a:spLocks/>
          </p:cNvSpPr>
          <p:nvPr userDrawn="1">
            <p:custDataLst>
              <p:tags r:id="rId356"/>
            </p:custDataLst>
          </p:nvPr>
        </p:nvSpPr>
        <p:spPr bwMode="auto">
          <a:xfrm>
            <a:off x="8263390" y="1630605"/>
            <a:ext cx="234245" cy="148269"/>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7" name="Freeform 1116">
            <a:extLst>
              <a:ext uri="{FF2B5EF4-FFF2-40B4-BE49-F238E27FC236}">
                <a16:creationId xmlns:a16="http://schemas.microsoft.com/office/drawing/2014/main" id="{EECFB05D-EF01-0849-84FF-084A06C63762}"/>
              </a:ext>
            </a:extLst>
          </p:cNvPr>
          <p:cNvSpPr>
            <a:spLocks/>
          </p:cNvSpPr>
          <p:nvPr userDrawn="1">
            <p:custDataLst>
              <p:tags r:id="rId357"/>
            </p:custDataLst>
          </p:nvPr>
        </p:nvSpPr>
        <p:spPr bwMode="auto">
          <a:xfrm>
            <a:off x="8050292" y="1912750"/>
            <a:ext cx="32534" cy="50383"/>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8" name="Freeform 1117">
            <a:extLst>
              <a:ext uri="{FF2B5EF4-FFF2-40B4-BE49-F238E27FC236}">
                <a16:creationId xmlns:a16="http://schemas.microsoft.com/office/drawing/2014/main" id="{90F44AC3-47A7-0E43-986C-69A2785ED48E}"/>
              </a:ext>
            </a:extLst>
          </p:cNvPr>
          <p:cNvSpPr>
            <a:spLocks/>
          </p:cNvSpPr>
          <p:nvPr userDrawn="1">
            <p:custDataLst>
              <p:tags r:id="rId358"/>
            </p:custDataLst>
          </p:nvPr>
        </p:nvSpPr>
        <p:spPr bwMode="auto">
          <a:xfrm>
            <a:off x="10412257" y="2181940"/>
            <a:ext cx="201711" cy="24327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19" name="Group 1118">
            <a:extLst>
              <a:ext uri="{FF2B5EF4-FFF2-40B4-BE49-F238E27FC236}">
                <a16:creationId xmlns:a16="http://schemas.microsoft.com/office/drawing/2014/main" id="{D92245AA-E2BB-804E-B5CC-A852808A2437}"/>
              </a:ext>
            </a:extLst>
          </p:cNvPr>
          <p:cNvGrpSpPr>
            <a:grpSpLocks/>
          </p:cNvGrpSpPr>
          <p:nvPr userDrawn="1">
            <p:custDataLst>
              <p:tags r:id="rId359"/>
            </p:custDataLst>
          </p:nvPr>
        </p:nvGrpSpPr>
        <p:grpSpPr bwMode="auto">
          <a:xfrm>
            <a:off x="9172715" y="2141634"/>
            <a:ext cx="688094" cy="348363"/>
            <a:chOff x="4115" y="1551"/>
            <a:chExt cx="504" cy="244"/>
          </a:xfrm>
          <a:solidFill>
            <a:srgbClr val="DADADA"/>
          </a:solidFill>
        </p:grpSpPr>
        <p:sp>
          <p:nvSpPr>
            <p:cNvPr id="1120" name="Freeform 1119">
              <a:extLst>
                <a:ext uri="{FF2B5EF4-FFF2-40B4-BE49-F238E27FC236}">
                  <a16:creationId xmlns:a16="http://schemas.microsoft.com/office/drawing/2014/main" id="{AC6A3A36-611E-9948-AAAF-A3FBDD57AC90}"/>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1" name="Freeform 1120">
              <a:extLst>
                <a:ext uri="{FF2B5EF4-FFF2-40B4-BE49-F238E27FC236}">
                  <a16:creationId xmlns:a16="http://schemas.microsoft.com/office/drawing/2014/main" id="{21716310-720D-D54C-8B68-BE46DF7FAB01}"/>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22" name="Freeform 1121">
            <a:extLst>
              <a:ext uri="{FF2B5EF4-FFF2-40B4-BE49-F238E27FC236}">
                <a16:creationId xmlns:a16="http://schemas.microsoft.com/office/drawing/2014/main" id="{6872780F-9E09-7D49-80AF-2CE495532691}"/>
              </a:ext>
            </a:extLst>
          </p:cNvPr>
          <p:cNvSpPr>
            <a:spLocks/>
          </p:cNvSpPr>
          <p:nvPr userDrawn="1">
            <p:custDataLst>
              <p:tags r:id="rId360"/>
            </p:custDataLst>
          </p:nvPr>
        </p:nvSpPr>
        <p:spPr bwMode="auto">
          <a:xfrm>
            <a:off x="8206456" y="2821087"/>
            <a:ext cx="543317" cy="46352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3" name="Freeform 1122">
            <a:extLst>
              <a:ext uri="{FF2B5EF4-FFF2-40B4-BE49-F238E27FC236}">
                <a16:creationId xmlns:a16="http://schemas.microsoft.com/office/drawing/2014/main" id="{6686C1A7-A07D-FE43-B78C-F29FE8D99AFF}"/>
              </a:ext>
            </a:extLst>
          </p:cNvPr>
          <p:cNvSpPr>
            <a:spLocks/>
          </p:cNvSpPr>
          <p:nvPr userDrawn="1">
            <p:custDataLst>
              <p:tags r:id="rId361"/>
            </p:custDataLst>
          </p:nvPr>
        </p:nvSpPr>
        <p:spPr bwMode="auto">
          <a:xfrm>
            <a:off x="7668018" y="2407945"/>
            <a:ext cx="58561" cy="51823"/>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4" name="Freeform 1123">
            <a:extLst>
              <a:ext uri="{FF2B5EF4-FFF2-40B4-BE49-F238E27FC236}">
                <a16:creationId xmlns:a16="http://schemas.microsoft.com/office/drawing/2014/main" id="{B97FF7F1-EFE4-E546-A0DF-78A5724A451F}"/>
              </a:ext>
            </a:extLst>
          </p:cNvPr>
          <p:cNvSpPr>
            <a:spLocks/>
          </p:cNvSpPr>
          <p:nvPr userDrawn="1">
            <p:custDataLst>
              <p:tags r:id="rId362"/>
            </p:custDataLst>
          </p:nvPr>
        </p:nvSpPr>
        <p:spPr bwMode="auto">
          <a:xfrm>
            <a:off x="7401241" y="2600840"/>
            <a:ext cx="16267" cy="51823"/>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5" name="Freeform 1124">
            <a:extLst>
              <a:ext uri="{FF2B5EF4-FFF2-40B4-BE49-F238E27FC236}">
                <a16:creationId xmlns:a16="http://schemas.microsoft.com/office/drawing/2014/main" id="{23E53CD3-648D-7141-8241-7ABA45E1376A}"/>
              </a:ext>
            </a:extLst>
          </p:cNvPr>
          <p:cNvSpPr>
            <a:spLocks/>
          </p:cNvSpPr>
          <p:nvPr userDrawn="1">
            <p:custDataLst>
              <p:tags r:id="rId363"/>
            </p:custDataLst>
          </p:nvPr>
        </p:nvSpPr>
        <p:spPr bwMode="auto">
          <a:xfrm>
            <a:off x="6983179" y="2914654"/>
            <a:ext cx="29281" cy="51823"/>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6" name="Freeform 1125">
            <a:extLst>
              <a:ext uri="{FF2B5EF4-FFF2-40B4-BE49-F238E27FC236}">
                <a16:creationId xmlns:a16="http://schemas.microsoft.com/office/drawing/2014/main" id="{BBBD7EC6-9639-6444-B65B-F3B44AD07501}"/>
              </a:ext>
            </a:extLst>
          </p:cNvPr>
          <p:cNvSpPr>
            <a:spLocks/>
          </p:cNvSpPr>
          <p:nvPr userDrawn="1">
            <p:custDataLst>
              <p:tags r:id="rId364"/>
            </p:custDataLst>
          </p:nvPr>
        </p:nvSpPr>
        <p:spPr bwMode="auto">
          <a:xfrm>
            <a:off x="6922990" y="2929051"/>
            <a:ext cx="24400" cy="54702"/>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7" name="Freeform 1126">
            <a:extLst>
              <a:ext uri="{FF2B5EF4-FFF2-40B4-BE49-F238E27FC236}">
                <a16:creationId xmlns:a16="http://schemas.microsoft.com/office/drawing/2014/main" id="{D3E1E995-8DEA-764A-AF79-17908A9628EF}"/>
              </a:ext>
            </a:extLst>
          </p:cNvPr>
          <p:cNvSpPr>
            <a:spLocks/>
          </p:cNvSpPr>
          <p:nvPr userDrawn="1">
            <p:custDataLst>
              <p:tags r:id="rId365"/>
            </p:custDataLst>
          </p:nvPr>
        </p:nvSpPr>
        <p:spPr bwMode="auto">
          <a:xfrm>
            <a:off x="6896963" y="2923291"/>
            <a:ext cx="6507" cy="51823"/>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8" name="Freeform 1127">
            <a:extLst>
              <a:ext uri="{FF2B5EF4-FFF2-40B4-BE49-F238E27FC236}">
                <a16:creationId xmlns:a16="http://schemas.microsoft.com/office/drawing/2014/main" id="{E25E023E-D2CA-1445-8B33-1F754F65B0BA}"/>
              </a:ext>
            </a:extLst>
          </p:cNvPr>
          <p:cNvSpPr>
            <a:spLocks/>
          </p:cNvSpPr>
          <p:nvPr userDrawn="1">
            <p:custDataLst>
              <p:tags r:id="rId366"/>
            </p:custDataLst>
          </p:nvPr>
        </p:nvSpPr>
        <p:spPr bwMode="auto">
          <a:xfrm>
            <a:off x="8199949" y="2677133"/>
            <a:ext cx="178937" cy="143951"/>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9" name="Freeform 1128">
            <a:extLst>
              <a:ext uri="{FF2B5EF4-FFF2-40B4-BE49-F238E27FC236}">
                <a16:creationId xmlns:a16="http://schemas.microsoft.com/office/drawing/2014/main" id="{130D4CAC-8A48-7941-BF8B-B5BF03A261DB}"/>
              </a:ext>
            </a:extLst>
          </p:cNvPr>
          <p:cNvSpPr>
            <a:spLocks/>
          </p:cNvSpPr>
          <p:nvPr userDrawn="1">
            <p:custDataLst>
              <p:tags r:id="rId367"/>
            </p:custDataLst>
          </p:nvPr>
        </p:nvSpPr>
        <p:spPr bwMode="auto">
          <a:xfrm>
            <a:off x="10345563" y="3022618"/>
            <a:ext cx="43920" cy="719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30" name="Group 1129">
            <a:extLst>
              <a:ext uri="{FF2B5EF4-FFF2-40B4-BE49-F238E27FC236}">
                <a16:creationId xmlns:a16="http://schemas.microsoft.com/office/drawing/2014/main" id="{CDE4E975-091C-DE4C-97F4-4F4CEC71A106}"/>
              </a:ext>
            </a:extLst>
          </p:cNvPr>
          <p:cNvGrpSpPr>
            <a:grpSpLocks/>
          </p:cNvGrpSpPr>
          <p:nvPr userDrawn="1">
            <p:custDataLst>
              <p:tags r:id="rId368"/>
            </p:custDataLst>
          </p:nvPr>
        </p:nvGrpSpPr>
        <p:grpSpPr bwMode="auto">
          <a:xfrm>
            <a:off x="7934797" y="2540380"/>
            <a:ext cx="494516" cy="182818"/>
            <a:chOff x="3289" y="1830"/>
            <a:chExt cx="363" cy="128"/>
          </a:xfrm>
          <a:solidFill>
            <a:schemeClr val="accent1"/>
          </a:solidFill>
        </p:grpSpPr>
        <p:sp>
          <p:nvSpPr>
            <p:cNvPr id="1131" name="Freeform 1130">
              <a:extLst>
                <a:ext uri="{FF2B5EF4-FFF2-40B4-BE49-F238E27FC236}">
                  <a16:creationId xmlns:a16="http://schemas.microsoft.com/office/drawing/2014/main" id="{D1C11507-51CD-A74D-B313-BC3A8B5981F8}"/>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2" name="Freeform 1131">
              <a:extLst>
                <a:ext uri="{FF2B5EF4-FFF2-40B4-BE49-F238E27FC236}">
                  <a16:creationId xmlns:a16="http://schemas.microsoft.com/office/drawing/2014/main" id="{ED3C0271-28FC-A942-AD38-CF36EBD63C2B}"/>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3" name="Freeform 1132">
              <a:extLst>
                <a:ext uri="{FF2B5EF4-FFF2-40B4-BE49-F238E27FC236}">
                  <a16:creationId xmlns:a16="http://schemas.microsoft.com/office/drawing/2014/main" id="{570F7CCE-DA80-774D-ABD7-D11776FC3C98}"/>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4" name="Freeform 1133">
              <a:extLst>
                <a:ext uri="{FF2B5EF4-FFF2-40B4-BE49-F238E27FC236}">
                  <a16:creationId xmlns:a16="http://schemas.microsoft.com/office/drawing/2014/main" id="{3A63B359-5BD1-C248-AF6A-1B25D783F795}"/>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5" name="Freeform 1134">
              <a:extLst>
                <a:ext uri="{FF2B5EF4-FFF2-40B4-BE49-F238E27FC236}">
                  <a16:creationId xmlns:a16="http://schemas.microsoft.com/office/drawing/2014/main" id="{0765A823-FE2C-9646-AD5D-E2263718823A}"/>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36" name="Freeform 1135">
            <a:extLst>
              <a:ext uri="{FF2B5EF4-FFF2-40B4-BE49-F238E27FC236}">
                <a16:creationId xmlns:a16="http://schemas.microsoft.com/office/drawing/2014/main" id="{A22FC18C-B7EB-6E44-A1C7-C3D4B2682AFE}"/>
              </a:ext>
            </a:extLst>
          </p:cNvPr>
          <p:cNvSpPr>
            <a:spLocks/>
          </p:cNvSpPr>
          <p:nvPr userDrawn="1">
            <p:custDataLst>
              <p:tags r:id="rId369"/>
            </p:custDataLst>
          </p:nvPr>
        </p:nvSpPr>
        <p:spPr bwMode="auto">
          <a:xfrm>
            <a:off x="5873771" y="3585470"/>
            <a:ext cx="102482" cy="110842"/>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7" name="Freeform 1136">
            <a:extLst>
              <a:ext uri="{FF2B5EF4-FFF2-40B4-BE49-F238E27FC236}">
                <a16:creationId xmlns:a16="http://schemas.microsoft.com/office/drawing/2014/main" id="{F320A909-A078-BE4A-AA74-B0D740378194}"/>
              </a:ext>
            </a:extLst>
          </p:cNvPr>
          <p:cNvSpPr>
            <a:spLocks/>
          </p:cNvSpPr>
          <p:nvPr userDrawn="1">
            <p:custDataLst>
              <p:tags r:id="rId370"/>
            </p:custDataLst>
          </p:nvPr>
        </p:nvSpPr>
        <p:spPr bwMode="auto">
          <a:xfrm>
            <a:off x="9916114" y="3074440"/>
            <a:ext cx="213097" cy="416021"/>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8" name="Freeform 1137">
            <a:extLst>
              <a:ext uri="{FF2B5EF4-FFF2-40B4-BE49-F238E27FC236}">
                <a16:creationId xmlns:a16="http://schemas.microsoft.com/office/drawing/2014/main" id="{34EC68A1-7A25-4747-8692-6EA02CB88429}"/>
              </a:ext>
            </a:extLst>
          </p:cNvPr>
          <p:cNvSpPr>
            <a:spLocks/>
          </p:cNvSpPr>
          <p:nvPr userDrawn="1">
            <p:custDataLst>
              <p:tags r:id="rId371"/>
            </p:custDataLst>
          </p:nvPr>
        </p:nvSpPr>
        <p:spPr bwMode="auto">
          <a:xfrm>
            <a:off x="10005582" y="3696311"/>
            <a:ext cx="26027" cy="5182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9" name="Freeform 1138">
            <a:extLst>
              <a:ext uri="{FF2B5EF4-FFF2-40B4-BE49-F238E27FC236}">
                <a16:creationId xmlns:a16="http://schemas.microsoft.com/office/drawing/2014/main" id="{FD2F9876-01C3-5C48-9D34-2937A8099353}"/>
              </a:ext>
            </a:extLst>
          </p:cNvPr>
          <p:cNvSpPr>
            <a:spLocks/>
          </p:cNvSpPr>
          <p:nvPr userDrawn="1">
            <p:custDataLst>
              <p:tags r:id="rId372"/>
            </p:custDataLst>
          </p:nvPr>
        </p:nvSpPr>
        <p:spPr bwMode="auto">
          <a:xfrm>
            <a:off x="8665185" y="3024058"/>
            <a:ext cx="178937" cy="246157"/>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0" name="Freeform 1139">
            <a:extLst>
              <a:ext uri="{FF2B5EF4-FFF2-40B4-BE49-F238E27FC236}">
                <a16:creationId xmlns:a16="http://schemas.microsoft.com/office/drawing/2014/main" id="{32FCDE5A-4DE2-3E49-8049-E4B54D135D94}"/>
              </a:ext>
            </a:extLst>
          </p:cNvPr>
          <p:cNvSpPr>
            <a:spLocks/>
          </p:cNvSpPr>
          <p:nvPr userDrawn="1">
            <p:custDataLst>
              <p:tags r:id="rId373"/>
            </p:custDataLst>
          </p:nvPr>
        </p:nvSpPr>
        <p:spPr bwMode="auto">
          <a:xfrm>
            <a:off x="7360572" y="3073001"/>
            <a:ext cx="385528" cy="34980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1" name="Freeform 1140">
            <a:extLst>
              <a:ext uri="{FF2B5EF4-FFF2-40B4-BE49-F238E27FC236}">
                <a16:creationId xmlns:a16="http://schemas.microsoft.com/office/drawing/2014/main" id="{C4CDE564-D39F-C74C-AD27-864D152FBFB8}"/>
              </a:ext>
            </a:extLst>
          </p:cNvPr>
          <p:cNvSpPr>
            <a:spLocks/>
          </p:cNvSpPr>
          <p:nvPr userDrawn="1">
            <p:custDataLst>
              <p:tags r:id="rId374"/>
            </p:custDataLst>
          </p:nvPr>
        </p:nvSpPr>
        <p:spPr bwMode="auto">
          <a:xfrm>
            <a:off x="7022219" y="2726077"/>
            <a:ext cx="307446" cy="236081"/>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2" name="Freeform 1141">
            <a:extLst>
              <a:ext uri="{FF2B5EF4-FFF2-40B4-BE49-F238E27FC236}">
                <a16:creationId xmlns:a16="http://schemas.microsoft.com/office/drawing/2014/main" id="{CD1D2A9A-522D-614C-8CD6-53A8815DB7F2}"/>
              </a:ext>
            </a:extLst>
          </p:cNvPr>
          <p:cNvSpPr>
            <a:spLocks/>
          </p:cNvSpPr>
          <p:nvPr userDrawn="1">
            <p:custDataLst>
              <p:tags r:id="rId375"/>
            </p:custDataLst>
          </p:nvPr>
        </p:nvSpPr>
        <p:spPr bwMode="auto">
          <a:xfrm>
            <a:off x="7739594" y="1755844"/>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3" name="Freeform 1142">
            <a:extLst>
              <a:ext uri="{FF2B5EF4-FFF2-40B4-BE49-F238E27FC236}">
                <a16:creationId xmlns:a16="http://schemas.microsoft.com/office/drawing/2014/main" id="{34DD7388-564D-AD42-B80C-18F102D6BBE2}"/>
              </a:ext>
            </a:extLst>
          </p:cNvPr>
          <p:cNvSpPr>
            <a:spLocks/>
          </p:cNvSpPr>
          <p:nvPr userDrawn="1">
            <p:custDataLst>
              <p:tags r:id="rId376"/>
            </p:custDataLst>
          </p:nvPr>
        </p:nvSpPr>
        <p:spPr bwMode="auto">
          <a:xfrm>
            <a:off x="8263390" y="1741448"/>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4" name="Freeform 1143">
            <a:extLst>
              <a:ext uri="{FF2B5EF4-FFF2-40B4-BE49-F238E27FC236}">
                <a16:creationId xmlns:a16="http://schemas.microsoft.com/office/drawing/2014/main" id="{670EB436-698C-C048-B9C2-2BE49F2DCD85}"/>
              </a:ext>
            </a:extLst>
          </p:cNvPr>
          <p:cNvSpPr>
            <a:spLocks/>
          </p:cNvSpPr>
          <p:nvPr userDrawn="1">
            <p:custDataLst>
              <p:tags r:id="rId377"/>
            </p:custDataLst>
          </p:nvPr>
        </p:nvSpPr>
        <p:spPr bwMode="auto">
          <a:xfrm>
            <a:off x="8409793" y="1725613"/>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5" name="Freeform 1144">
            <a:extLst>
              <a:ext uri="{FF2B5EF4-FFF2-40B4-BE49-F238E27FC236}">
                <a16:creationId xmlns:a16="http://schemas.microsoft.com/office/drawing/2014/main" id="{97107CB4-6AAD-E54A-878E-EA5D7E6D158F}"/>
              </a:ext>
            </a:extLst>
          </p:cNvPr>
          <p:cNvSpPr>
            <a:spLocks/>
          </p:cNvSpPr>
          <p:nvPr userDrawn="1">
            <p:custDataLst>
              <p:tags r:id="rId378"/>
            </p:custDataLst>
          </p:nvPr>
        </p:nvSpPr>
        <p:spPr bwMode="auto">
          <a:xfrm>
            <a:off x="8447207" y="1732810"/>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6" name="Rectangle 1145">
            <a:extLst>
              <a:ext uri="{FF2B5EF4-FFF2-40B4-BE49-F238E27FC236}">
                <a16:creationId xmlns:a16="http://schemas.microsoft.com/office/drawing/2014/main" id="{D1AE0B26-1BE6-AF4E-98E0-EC1BD63B3EA0}"/>
              </a:ext>
            </a:extLst>
          </p:cNvPr>
          <p:cNvSpPr/>
          <p:nvPr userDrawn="1"/>
        </p:nvSpPr>
        <p:spPr>
          <a:xfrm>
            <a:off x="3747835" y="3878278"/>
            <a:ext cx="1141659" cy="338554"/>
          </a:xfrm>
          <a:prstGeom prst="rect">
            <a:avLst/>
          </a:prstGeom>
        </p:spPr>
        <p:txBody>
          <a:bodyPr wrap="square">
            <a:spAutoFit/>
          </a:bodyPr>
          <a:lstStyle/>
          <a:p>
            <a:pPr>
              <a:spcAft>
                <a:spcPts val="1600"/>
              </a:spcAft>
            </a:pPr>
            <a:r>
              <a:rPr lang="en-US" sz="1600" b="1">
                <a:solidFill>
                  <a:schemeClr val="tx2"/>
                </a:solidFill>
                <a:latin typeface="Arial" panose="020B0604020202020204" pitchFamily="34" charset="0"/>
              </a:rPr>
              <a:t>Countries</a:t>
            </a:r>
          </a:p>
        </p:txBody>
      </p:sp>
      <p:cxnSp>
        <p:nvCxnSpPr>
          <p:cNvPr id="1147" name="Straight Connector 1146">
            <a:extLst>
              <a:ext uri="{FF2B5EF4-FFF2-40B4-BE49-F238E27FC236}">
                <a16:creationId xmlns:a16="http://schemas.microsoft.com/office/drawing/2014/main" id="{71915B97-BDDF-684C-94E0-1020D954D5AD}"/>
              </a:ext>
            </a:extLst>
          </p:cNvPr>
          <p:cNvCxnSpPr>
            <a:cxnSpLocks/>
          </p:cNvCxnSpPr>
          <p:nvPr userDrawn="1"/>
        </p:nvCxnSpPr>
        <p:spPr>
          <a:xfrm flipH="1">
            <a:off x="5062049" y="3059781"/>
            <a:ext cx="34139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148" name="Straight Connector 1147">
            <a:extLst>
              <a:ext uri="{FF2B5EF4-FFF2-40B4-BE49-F238E27FC236}">
                <a16:creationId xmlns:a16="http://schemas.microsoft.com/office/drawing/2014/main" id="{8C44B6C8-E132-3241-B2AA-2013CB5DD62C}"/>
              </a:ext>
            </a:extLst>
          </p:cNvPr>
          <p:cNvCxnSpPr>
            <a:cxnSpLocks/>
          </p:cNvCxnSpPr>
          <p:nvPr userDrawn="1"/>
        </p:nvCxnSpPr>
        <p:spPr>
          <a:xfrm>
            <a:off x="5406147" y="2990627"/>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49" name="Rectangle 1148">
            <a:extLst>
              <a:ext uri="{FF2B5EF4-FFF2-40B4-BE49-F238E27FC236}">
                <a16:creationId xmlns:a16="http://schemas.microsoft.com/office/drawing/2014/main" id="{F164F22E-8D83-6A4C-8A68-9575B0A86F52}"/>
              </a:ext>
            </a:extLst>
          </p:cNvPr>
          <p:cNvSpPr/>
          <p:nvPr userDrawn="1"/>
        </p:nvSpPr>
        <p:spPr>
          <a:xfrm>
            <a:off x="4159643" y="4640541"/>
            <a:ext cx="1374147" cy="230497"/>
          </a:xfrm>
          <a:prstGeom prst="rect">
            <a:avLst/>
          </a:prstGeom>
          <a:noFill/>
          <a:ln w="1270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Latin America</a:t>
            </a:r>
            <a:br>
              <a:rPr lang="en-US" sz="1100" b="1" kern="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Argentina, Brazil,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Colombia, Mexico</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50" name="Straight Connector 1149">
            <a:extLst>
              <a:ext uri="{FF2B5EF4-FFF2-40B4-BE49-F238E27FC236}">
                <a16:creationId xmlns:a16="http://schemas.microsoft.com/office/drawing/2014/main" id="{2DAB28C0-3617-CC42-A505-62C572832C6D}"/>
              </a:ext>
            </a:extLst>
          </p:cNvPr>
          <p:cNvCxnSpPr>
            <a:cxnSpLocks/>
          </p:cNvCxnSpPr>
          <p:nvPr userDrawn="1"/>
        </p:nvCxnSpPr>
        <p:spPr>
          <a:xfrm flipH="1" flipV="1">
            <a:off x="7409903" y="1042827"/>
            <a:ext cx="7" cy="1177404"/>
          </a:xfrm>
          <a:prstGeom prst="line">
            <a:avLst/>
          </a:prstGeom>
          <a:ln>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151" name="Straight Connector 1150">
            <a:extLst>
              <a:ext uri="{FF2B5EF4-FFF2-40B4-BE49-F238E27FC236}">
                <a16:creationId xmlns:a16="http://schemas.microsoft.com/office/drawing/2014/main" id="{2835D0C6-3586-BE49-A1B5-4657E2593FAC}"/>
              </a:ext>
            </a:extLst>
          </p:cNvPr>
          <p:cNvCxnSpPr>
            <a:cxnSpLocks/>
          </p:cNvCxnSpPr>
          <p:nvPr userDrawn="1"/>
        </p:nvCxnSpPr>
        <p:spPr>
          <a:xfrm flipH="1">
            <a:off x="6562306" y="1045742"/>
            <a:ext cx="85357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2" name="Straight Connector 1151">
            <a:extLst>
              <a:ext uri="{FF2B5EF4-FFF2-40B4-BE49-F238E27FC236}">
                <a16:creationId xmlns:a16="http://schemas.microsoft.com/office/drawing/2014/main" id="{A4962C89-A4A6-8E4A-92D1-A414DEAE18E7}"/>
              </a:ext>
            </a:extLst>
          </p:cNvPr>
          <p:cNvCxnSpPr>
            <a:cxnSpLocks/>
          </p:cNvCxnSpPr>
          <p:nvPr userDrawn="1"/>
        </p:nvCxnSpPr>
        <p:spPr>
          <a:xfrm flipH="1">
            <a:off x="5189458" y="4568203"/>
            <a:ext cx="341394" cy="0"/>
          </a:xfrm>
          <a:prstGeom prst="line">
            <a:avLst/>
          </a:pr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153" name="Straight Connector 1152">
            <a:extLst>
              <a:ext uri="{FF2B5EF4-FFF2-40B4-BE49-F238E27FC236}">
                <a16:creationId xmlns:a16="http://schemas.microsoft.com/office/drawing/2014/main" id="{00B57751-3794-0C42-9581-09B10BFB1C92}"/>
              </a:ext>
            </a:extLst>
          </p:cNvPr>
          <p:cNvCxnSpPr>
            <a:cxnSpLocks/>
          </p:cNvCxnSpPr>
          <p:nvPr userDrawn="1"/>
        </p:nvCxnSpPr>
        <p:spPr>
          <a:xfrm>
            <a:off x="5183930" y="4495243"/>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4" name="Straight Connector 1153">
            <a:extLst>
              <a:ext uri="{FF2B5EF4-FFF2-40B4-BE49-F238E27FC236}">
                <a16:creationId xmlns:a16="http://schemas.microsoft.com/office/drawing/2014/main" id="{451E3FD0-8689-3744-8D36-107F45270CD8}"/>
              </a:ext>
            </a:extLst>
          </p:cNvPr>
          <p:cNvCxnSpPr>
            <a:cxnSpLocks/>
          </p:cNvCxnSpPr>
          <p:nvPr userDrawn="1"/>
        </p:nvCxnSpPr>
        <p:spPr>
          <a:xfrm>
            <a:off x="6565446" y="981966"/>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55" name="Rectangle 1154">
            <a:extLst>
              <a:ext uri="{FF2B5EF4-FFF2-40B4-BE49-F238E27FC236}">
                <a16:creationId xmlns:a16="http://schemas.microsoft.com/office/drawing/2014/main" id="{1917F65B-2E12-E641-8ADA-D9457ABD9B57}"/>
              </a:ext>
            </a:extLst>
          </p:cNvPr>
          <p:cNvSpPr/>
          <p:nvPr userDrawn="1"/>
        </p:nvSpPr>
        <p:spPr>
          <a:xfrm>
            <a:off x="10811522" y="3062413"/>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t>APAC</a:t>
            </a:r>
            <a:b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Australia, Chin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India, Japan,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outh Korea</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56" name="Straight Connector 1155">
            <a:extLst>
              <a:ext uri="{FF2B5EF4-FFF2-40B4-BE49-F238E27FC236}">
                <a16:creationId xmlns:a16="http://schemas.microsoft.com/office/drawing/2014/main" id="{C40EAECD-F107-D84F-8879-3FDA4B8FD43A}"/>
              </a:ext>
            </a:extLst>
          </p:cNvPr>
          <p:cNvCxnSpPr>
            <a:cxnSpLocks/>
          </p:cNvCxnSpPr>
          <p:nvPr userDrawn="1"/>
        </p:nvCxnSpPr>
        <p:spPr>
          <a:xfrm flipH="1">
            <a:off x="10463673" y="2922573"/>
            <a:ext cx="34139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7F155845-BEAD-5245-A1C3-E87558073C30}"/>
              </a:ext>
            </a:extLst>
          </p:cNvPr>
          <p:cNvCxnSpPr>
            <a:cxnSpLocks/>
          </p:cNvCxnSpPr>
          <p:nvPr userDrawn="1"/>
        </p:nvCxnSpPr>
        <p:spPr>
          <a:xfrm>
            <a:off x="10808622" y="2849722"/>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58" name="Rectangle 1157">
            <a:extLst>
              <a:ext uri="{FF2B5EF4-FFF2-40B4-BE49-F238E27FC236}">
                <a16:creationId xmlns:a16="http://schemas.microsoft.com/office/drawing/2014/main" id="{FAEE2BEC-7C0B-B54F-95BD-DDF825BCC1FC}"/>
              </a:ext>
            </a:extLst>
          </p:cNvPr>
          <p:cNvSpPr/>
          <p:nvPr userDrawn="1"/>
        </p:nvSpPr>
        <p:spPr>
          <a:xfrm>
            <a:off x="5392257" y="3087580"/>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t>North America</a:t>
            </a:r>
            <a:b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United States, Canada</a:t>
            </a: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59" name="Rectangle 1158">
            <a:extLst>
              <a:ext uri="{FF2B5EF4-FFF2-40B4-BE49-F238E27FC236}">
                <a16:creationId xmlns:a16="http://schemas.microsoft.com/office/drawing/2014/main" id="{3290B415-FCBB-3242-9378-F32423C9A399}"/>
              </a:ext>
            </a:extLst>
          </p:cNvPr>
          <p:cNvSpPr/>
          <p:nvPr userDrawn="1"/>
        </p:nvSpPr>
        <p:spPr>
          <a:xfrm>
            <a:off x="6157304" y="1250592"/>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EU5</a:t>
            </a:r>
          </a:p>
          <a:p>
            <a:pPr defTabSz="914400" fontAlgn="base">
              <a:spcBef>
                <a:spcPct val="0"/>
              </a:spcBef>
              <a:spcAft>
                <a:spcPct val="0"/>
              </a:spcAft>
              <a:defRPr/>
            </a:pPr>
            <a:r>
              <a:rPr lang="en-US" sz="800">
                <a:ea typeface="Regular Clarivate" panose="02000503040000020003" pitchFamily="2" charset="0"/>
                <a:cs typeface="Regular Clarivate" panose="02000503040000020003" pitchFamily="2" charset="0"/>
              </a:rPr>
              <a:t>UK, France,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pain, Italy,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Germany</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60" name="Rectangle 1159">
            <a:extLst>
              <a:ext uri="{FF2B5EF4-FFF2-40B4-BE49-F238E27FC236}">
                <a16:creationId xmlns:a16="http://schemas.microsoft.com/office/drawing/2014/main" id="{77A90401-8165-904D-8CDF-619AC965219E}"/>
              </a:ext>
            </a:extLst>
          </p:cNvPr>
          <p:cNvSpPr/>
          <p:nvPr userDrawn="1"/>
        </p:nvSpPr>
        <p:spPr>
          <a:xfrm>
            <a:off x="6166575" y="2360016"/>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Rest of EU</a:t>
            </a:r>
          </a:p>
          <a:p>
            <a:pPr>
              <a:spcAft>
                <a:spcPts val="1000"/>
              </a:spcAft>
              <a:buClr>
                <a:schemeClr val="tx2"/>
              </a:buClr>
            </a:pPr>
            <a:r>
              <a:rPr lang="en-US" sz="800">
                <a:ea typeface="Regular Clarivate" panose="02000503040000020003" pitchFamily="2" charset="0"/>
                <a:cs typeface="Regular Clarivate" panose="02000503040000020003" pitchFamily="2" charset="0"/>
              </a:rPr>
              <a:t>Belgium,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Czech Republic,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Hungary, Sweden,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witzerland,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Netherlands,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Poland,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Romani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Russia</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61" name="Straight Connector 1160">
            <a:extLst>
              <a:ext uri="{FF2B5EF4-FFF2-40B4-BE49-F238E27FC236}">
                <a16:creationId xmlns:a16="http://schemas.microsoft.com/office/drawing/2014/main" id="{F3796C15-6935-E74D-BC46-68B227B4FF59}"/>
              </a:ext>
            </a:extLst>
          </p:cNvPr>
          <p:cNvCxnSpPr>
            <a:cxnSpLocks/>
          </p:cNvCxnSpPr>
          <p:nvPr userDrawn="1"/>
        </p:nvCxnSpPr>
        <p:spPr>
          <a:xfrm>
            <a:off x="6931019" y="1711609"/>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2" name="Straight Connector 1161">
            <a:extLst>
              <a:ext uri="{FF2B5EF4-FFF2-40B4-BE49-F238E27FC236}">
                <a16:creationId xmlns:a16="http://schemas.microsoft.com/office/drawing/2014/main" id="{0D001FFF-B889-AB41-94A0-682A2C2A8BE4}"/>
              </a:ext>
            </a:extLst>
          </p:cNvPr>
          <p:cNvCxnSpPr>
            <a:cxnSpLocks/>
          </p:cNvCxnSpPr>
          <p:nvPr userDrawn="1"/>
        </p:nvCxnSpPr>
        <p:spPr>
          <a:xfrm flipH="1">
            <a:off x="6931020" y="1784633"/>
            <a:ext cx="484861" cy="18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3" name="Straight Connector 1162">
            <a:extLst>
              <a:ext uri="{FF2B5EF4-FFF2-40B4-BE49-F238E27FC236}">
                <a16:creationId xmlns:a16="http://schemas.microsoft.com/office/drawing/2014/main" id="{CC5B8BC8-D3BA-CB41-A6A1-1DACC37E7BB7}"/>
              </a:ext>
            </a:extLst>
          </p:cNvPr>
          <p:cNvCxnSpPr>
            <a:cxnSpLocks/>
          </p:cNvCxnSpPr>
          <p:nvPr userDrawn="1"/>
        </p:nvCxnSpPr>
        <p:spPr>
          <a:xfrm>
            <a:off x="8130396" y="4285075"/>
            <a:ext cx="8121" cy="548754"/>
          </a:xfrm>
          <a:prstGeom prst="line">
            <a:avLst/>
          </a:prstGeom>
          <a:ln>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D17B9F96-9592-A94E-9234-9C3E29CC562A}"/>
              </a:ext>
            </a:extLst>
          </p:cNvPr>
          <p:cNvCxnSpPr>
            <a:cxnSpLocks/>
          </p:cNvCxnSpPr>
          <p:nvPr userDrawn="1"/>
        </p:nvCxnSpPr>
        <p:spPr>
          <a:xfrm flipH="1">
            <a:off x="8141771" y="4828643"/>
            <a:ext cx="226976" cy="18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5" name="Straight Connector 1164">
            <a:extLst>
              <a:ext uri="{FF2B5EF4-FFF2-40B4-BE49-F238E27FC236}">
                <a16:creationId xmlns:a16="http://schemas.microsoft.com/office/drawing/2014/main" id="{48503EF5-FCE7-DE4E-A127-1F17F6D3DC35}"/>
              </a:ext>
            </a:extLst>
          </p:cNvPr>
          <p:cNvCxnSpPr>
            <a:cxnSpLocks/>
          </p:cNvCxnSpPr>
          <p:nvPr userDrawn="1"/>
        </p:nvCxnSpPr>
        <p:spPr>
          <a:xfrm>
            <a:off x="8368625" y="4759750"/>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66" name="Rectangle 1165">
            <a:extLst>
              <a:ext uri="{FF2B5EF4-FFF2-40B4-BE49-F238E27FC236}">
                <a16:creationId xmlns:a16="http://schemas.microsoft.com/office/drawing/2014/main" id="{6D7F9718-8FA6-6441-9154-F134CD150489}"/>
              </a:ext>
            </a:extLst>
          </p:cNvPr>
          <p:cNvSpPr/>
          <p:nvPr userDrawn="1"/>
        </p:nvSpPr>
        <p:spPr>
          <a:xfrm>
            <a:off x="8334370" y="5047683"/>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EMEA</a:t>
            </a:r>
          </a:p>
          <a:p>
            <a:pPr>
              <a:spcAft>
                <a:spcPts val="1000"/>
              </a:spcAft>
              <a:buClr>
                <a:schemeClr val="tx2"/>
              </a:buClr>
            </a:pPr>
            <a:r>
              <a:rPr lang="en-US" sz="800">
                <a:ea typeface="Regular Clarivate" panose="02000503040000020003" pitchFamily="2" charset="0"/>
                <a:cs typeface="Regular Clarivate" panose="02000503040000020003" pitchFamily="2" charset="0"/>
              </a:rPr>
              <a:t>Pakistan, Saudi Arabi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outh Africa, Turkey</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67" name="Rectangle 1166">
            <a:extLst>
              <a:ext uri="{FF2B5EF4-FFF2-40B4-BE49-F238E27FC236}">
                <a16:creationId xmlns:a16="http://schemas.microsoft.com/office/drawing/2014/main" id="{96CB43F4-ACC4-6C4F-B92F-60B1DF76387F}"/>
              </a:ext>
            </a:extLst>
          </p:cNvPr>
          <p:cNvSpPr/>
          <p:nvPr userDrawn="1"/>
        </p:nvSpPr>
        <p:spPr>
          <a:xfrm>
            <a:off x="8352655" y="5549696"/>
            <a:ext cx="2871940" cy="646331"/>
          </a:xfrm>
          <a:prstGeom prst="rect">
            <a:avLst/>
          </a:prstGeom>
        </p:spPr>
        <p:txBody>
          <a:bodyPr wrap="square">
            <a:spAutoFit/>
          </a:bodyPr>
          <a:lstStyle/>
          <a:p>
            <a:pPr>
              <a:spcAft>
                <a:spcPts val="500"/>
              </a:spcAft>
              <a:buClr>
                <a:schemeClr val="tx2"/>
              </a:buClr>
            </a:pPr>
            <a:r>
              <a:rPr lang="en-US" sz="1200">
                <a:ea typeface="Regular Clarivate" panose="02000503040000020003" pitchFamily="2" charset="0"/>
                <a:cs typeface="Regular Clarivate" panose="02000503040000020003" pitchFamily="2" charset="0"/>
              </a:rPr>
              <a:t>Plus supplemental or aggregate coverage of smaller markets across Europe, </a:t>
            </a:r>
            <a:br>
              <a:rPr lang="en-US" sz="1200">
                <a:ea typeface="Regular Clarivate" panose="02000503040000020003" pitchFamily="2" charset="0"/>
                <a:cs typeface="Regular Clarivate" panose="02000503040000020003" pitchFamily="2" charset="0"/>
              </a:rPr>
            </a:br>
            <a:r>
              <a:rPr lang="en-US" sz="1200">
                <a:ea typeface="Regular Clarivate" panose="02000503040000020003" pitchFamily="2" charset="0"/>
                <a:cs typeface="Regular Clarivate" panose="02000503040000020003" pitchFamily="2" charset="0"/>
              </a:rPr>
              <a:t>Asia-Pacific and Latin America</a:t>
            </a:r>
          </a:p>
        </p:txBody>
      </p:sp>
      <p:sp>
        <p:nvSpPr>
          <p:cNvPr id="1168" name="Text Placeholder 3">
            <a:extLst>
              <a:ext uri="{FF2B5EF4-FFF2-40B4-BE49-F238E27FC236}">
                <a16:creationId xmlns:a16="http://schemas.microsoft.com/office/drawing/2014/main" id="{67E637C4-80F9-334B-9A19-5E0DF7372C77}"/>
              </a:ext>
            </a:extLst>
          </p:cNvPr>
          <p:cNvSpPr>
            <a:spLocks noGrp="1"/>
          </p:cNvSpPr>
          <p:nvPr>
            <p:ph type="body" sz="quarter" idx="34" hasCustomPrompt="1"/>
          </p:nvPr>
        </p:nvSpPr>
        <p:spPr>
          <a:xfrm>
            <a:off x="576000" y="1820252"/>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169" name="Text Placeholder 3">
            <a:extLst>
              <a:ext uri="{FF2B5EF4-FFF2-40B4-BE49-F238E27FC236}">
                <a16:creationId xmlns:a16="http://schemas.microsoft.com/office/drawing/2014/main" id="{87848F88-572A-F644-8871-68CEF3A904D7}"/>
              </a:ext>
            </a:extLst>
          </p:cNvPr>
          <p:cNvSpPr>
            <a:spLocks noGrp="1"/>
          </p:cNvSpPr>
          <p:nvPr>
            <p:ph type="body" sz="quarter" idx="36" hasCustomPrompt="1"/>
          </p:nvPr>
        </p:nvSpPr>
        <p:spPr>
          <a:xfrm>
            <a:off x="576000" y="4062709"/>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170" name="Text Placeholder 13">
            <a:extLst>
              <a:ext uri="{FF2B5EF4-FFF2-40B4-BE49-F238E27FC236}">
                <a16:creationId xmlns:a16="http://schemas.microsoft.com/office/drawing/2014/main" id="{B0394DBC-B8DB-D74D-8AB2-C4A6BC6D760A}"/>
              </a:ext>
            </a:extLst>
          </p:cNvPr>
          <p:cNvSpPr>
            <a:spLocks noGrp="1"/>
          </p:cNvSpPr>
          <p:nvPr>
            <p:ph type="body" sz="quarter" idx="63" hasCustomPrompt="1"/>
          </p:nvPr>
        </p:nvSpPr>
        <p:spPr>
          <a:xfrm>
            <a:off x="576000" y="2362199"/>
            <a:ext cx="3574800"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71" name="Text Placeholder 13">
            <a:extLst>
              <a:ext uri="{FF2B5EF4-FFF2-40B4-BE49-F238E27FC236}">
                <a16:creationId xmlns:a16="http://schemas.microsoft.com/office/drawing/2014/main" id="{A6BAA597-572B-DD4B-9BCB-19E1B292183A}"/>
              </a:ext>
            </a:extLst>
          </p:cNvPr>
          <p:cNvSpPr>
            <a:spLocks noGrp="1"/>
          </p:cNvSpPr>
          <p:nvPr>
            <p:ph type="body" sz="quarter" idx="64" hasCustomPrompt="1"/>
          </p:nvPr>
        </p:nvSpPr>
        <p:spPr>
          <a:xfrm>
            <a:off x="576000" y="4608442"/>
            <a:ext cx="3575313"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3C10B1A2-89DB-FE43-AA99-9D6AF557D6CD}"/>
              </a:ext>
            </a:extLst>
          </p:cNvPr>
          <p:cNvSpPr>
            <a:spLocks noGrp="1"/>
          </p:cNvSpPr>
          <p:nvPr>
            <p:ph type="ftr" sz="quarter" idx="65"/>
          </p:nvPr>
        </p:nvSpPr>
        <p:spPr/>
        <p:txBody>
          <a:bodyPr/>
          <a:lstStyle/>
          <a:p>
            <a:endParaRPr lang="en-GB"/>
          </a:p>
        </p:txBody>
      </p:sp>
      <p:sp>
        <p:nvSpPr>
          <p:cNvPr id="3" name="Slide Number Placeholder 2">
            <a:extLst>
              <a:ext uri="{FF2B5EF4-FFF2-40B4-BE49-F238E27FC236}">
                <a16:creationId xmlns:a16="http://schemas.microsoft.com/office/drawing/2014/main" id="{AE3929A9-3B07-6848-B05D-638AAC1A0C12}"/>
              </a:ext>
            </a:extLst>
          </p:cNvPr>
          <p:cNvSpPr>
            <a:spLocks noGrp="1"/>
          </p:cNvSpPr>
          <p:nvPr>
            <p:ph type="sldNum" sz="quarter" idx="66"/>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3993594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859"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2052"/>
            <a:ext cx="1069285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6" name="Picture Placeholder 15">
            <a:extLst>
              <a:ext uri="{FF2B5EF4-FFF2-40B4-BE49-F238E27FC236}">
                <a16:creationId xmlns:a16="http://schemas.microsoft.com/office/drawing/2014/main" id="{5EA0C833-46C2-988C-0074-D6A83249C216}"/>
              </a:ext>
            </a:extLst>
          </p:cNvPr>
          <p:cNvSpPr>
            <a:spLocks noGrp="1"/>
          </p:cNvSpPr>
          <p:nvPr>
            <p:ph type="pic" sz="quarter" idx="20" hasCustomPrompt="1"/>
          </p:nvPr>
        </p:nvSpPr>
        <p:spPr>
          <a:xfrm>
            <a:off x="55123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15" name="Text Placeholder 12">
            <a:extLst>
              <a:ext uri="{FF2B5EF4-FFF2-40B4-BE49-F238E27FC236}">
                <a16:creationId xmlns:a16="http://schemas.microsoft.com/office/drawing/2014/main" id="{7E826685-2A04-0F68-4915-A118119AB364}"/>
              </a:ext>
            </a:extLst>
          </p:cNvPr>
          <p:cNvSpPr>
            <a:spLocks noGrp="1"/>
          </p:cNvSpPr>
          <p:nvPr>
            <p:ph type="body" sz="quarter" idx="26"/>
          </p:nvPr>
        </p:nvSpPr>
        <p:spPr>
          <a:xfrm>
            <a:off x="55086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164A5E75-1C3A-DC3D-81BD-E0B3A4964763}"/>
              </a:ext>
            </a:extLst>
          </p:cNvPr>
          <p:cNvSpPr>
            <a:spLocks noGrp="1"/>
          </p:cNvSpPr>
          <p:nvPr>
            <p:ph type="pic" sz="quarter" idx="27" hasCustomPrompt="1"/>
          </p:nvPr>
        </p:nvSpPr>
        <p:spPr>
          <a:xfrm>
            <a:off x="3359518"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23" name="Text Placeholder 12">
            <a:extLst>
              <a:ext uri="{FF2B5EF4-FFF2-40B4-BE49-F238E27FC236}">
                <a16:creationId xmlns:a16="http://schemas.microsoft.com/office/drawing/2014/main" id="{5371896C-3F0D-4AC8-A11F-BDE72D75131C}"/>
              </a:ext>
            </a:extLst>
          </p:cNvPr>
          <p:cNvSpPr>
            <a:spLocks noGrp="1"/>
          </p:cNvSpPr>
          <p:nvPr>
            <p:ph type="body" sz="quarter" idx="28"/>
          </p:nvPr>
        </p:nvSpPr>
        <p:spPr>
          <a:xfrm>
            <a:off x="3359151"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4" name="Picture Placeholder 15">
            <a:extLst>
              <a:ext uri="{FF2B5EF4-FFF2-40B4-BE49-F238E27FC236}">
                <a16:creationId xmlns:a16="http://schemas.microsoft.com/office/drawing/2014/main" id="{113F9B6D-211A-B9B6-4248-1FACCD47C162}"/>
              </a:ext>
            </a:extLst>
          </p:cNvPr>
          <p:cNvSpPr>
            <a:spLocks noGrp="1"/>
          </p:cNvSpPr>
          <p:nvPr>
            <p:ph type="pic" sz="quarter" idx="29" hasCustomPrompt="1"/>
          </p:nvPr>
        </p:nvSpPr>
        <p:spPr>
          <a:xfrm>
            <a:off x="6167805"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a:t>to insert  pictogram</a:t>
            </a:r>
          </a:p>
        </p:txBody>
      </p:sp>
      <p:sp>
        <p:nvSpPr>
          <p:cNvPr id="25" name="Text Placeholder 12">
            <a:extLst>
              <a:ext uri="{FF2B5EF4-FFF2-40B4-BE49-F238E27FC236}">
                <a16:creationId xmlns:a16="http://schemas.microsoft.com/office/drawing/2014/main" id="{9319EC4E-4AC2-69F0-186B-251CEA53F4F3}"/>
              </a:ext>
            </a:extLst>
          </p:cNvPr>
          <p:cNvSpPr>
            <a:spLocks noGrp="1"/>
          </p:cNvSpPr>
          <p:nvPr>
            <p:ph type="body" sz="quarter" idx="30"/>
          </p:nvPr>
        </p:nvSpPr>
        <p:spPr>
          <a:xfrm>
            <a:off x="6167438"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26" name="Picture Placeholder 15">
            <a:extLst>
              <a:ext uri="{FF2B5EF4-FFF2-40B4-BE49-F238E27FC236}">
                <a16:creationId xmlns:a16="http://schemas.microsoft.com/office/drawing/2014/main" id="{B2667B7A-D629-4091-56C6-D363D67E793B}"/>
              </a:ext>
            </a:extLst>
          </p:cNvPr>
          <p:cNvSpPr>
            <a:spLocks noGrp="1"/>
          </p:cNvSpPr>
          <p:nvPr>
            <p:ph type="pic" sz="quarter" idx="31" hasCustomPrompt="1"/>
          </p:nvPr>
        </p:nvSpPr>
        <p:spPr>
          <a:xfrm>
            <a:off x="8976091" y="1815304"/>
            <a:ext cx="936257" cy="892971"/>
          </a:xfrm>
          <a:noFill/>
        </p:spPr>
        <p:txBody>
          <a:bodyPr anchor="ctr" anchorCtr="0"/>
          <a:lstStyle>
            <a:lvl1pPr marL="0" indent="0" algn="ctr">
              <a:spcBef>
                <a:spcPts val="0"/>
              </a:spcBef>
              <a:buNone/>
              <a:defRPr sz="1000">
                <a:solidFill>
                  <a:schemeClr val="accent2"/>
                </a:solidFill>
                <a:latin typeface="+mn-lt"/>
              </a:defRPr>
            </a:lvl1pPr>
          </a:lstStyle>
          <a:p>
            <a:pPr lvl="0"/>
            <a:r>
              <a:rPr lang="en-GB"/>
              <a:t>click or drag </a:t>
            </a:r>
            <a:br>
              <a:rPr lang="en-GB"/>
            </a:br>
            <a:r>
              <a:rPr lang="en-GB" err="1"/>
              <a:t>toinsert</a:t>
            </a:r>
            <a:r>
              <a:rPr lang="en-GB"/>
              <a:t>  pictogram</a:t>
            </a:r>
          </a:p>
        </p:txBody>
      </p:sp>
      <p:sp>
        <p:nvSpPr>
          <p:cNvPr id="27" name="Text Placeholder 12">
            <a:extLst>
              <a:ext uri="{FF2B5EF4-FFF2-40B4-BE49-F238E27FC236}">
                <a16:creationId xmlns:a16="http://schemas.microsoft.com/office/drawing/2014/main" id="{CA6B12B2-861A-5081-56F5-2053A7672719}"/>
              </a:ext>
            </a:extLst>
          </p:cNvPr>
          <p:cNvSpPr>
            <a:spLocks noGrp="1"/>
          </p:cNvSpPr>
          <p:nvPr>
            <p:ph type="body" sz="quarter" idx="32"/>
          </p:nvPr>
        </p:nvSpPr>
        <p:spPr>
          <a:xfrm>
            <a:off x="8975724" y="3429000"/>
            <a:ext cx="2268000" cy="1979613"/>
          </a:xfrm>
        </p:spPr>
        <p:txBody>
          <a:body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169E0A6E-F6FC-97AD-7624-C07FE47220AD}"/>
              </a:ext>
            </a:extLst>
          </p:cNvPr>
          <p:cNvSpPr>
            <a:spLocks noGrp="1"/>
          </p:cNvSpPr>
          <p:nvPr>
            <p:ph type="body" sz="quarter" idx="41" hasCustomPrompt="1"/>
          </p:nvPr>
        </p:nvSpPr>
        <p:spPr>
          <a:xfrm>
            <a:off x="550864"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6" name="Text Placeholder 12">
            <a:extLst>
              <a:ext uri="{FF2B5EF4-FFF2-40B4-BE49-F238E27FC236}">
                <a16:creationId xmlns:a16="http://schemas.microsoft.com/office/drawing/2014/main" id="{C8EA8597-2A4A-0CD6-F43E-581D734CDCAD}"/>
              </a:ext>
            </a:extLst>
          </p:cNvPr>
          <p:cNvSpPr>
            <a:spLocks noGrp="1"/>
          </p:cNvSpPr>
          <p:nvPr>
            <p:ph type="body" sz="quarter" idx="45" hasCustomPrompt="1"/>
          </p:nvPr>
        </p:nvSpPr>
        <p:spPr>
          <a:xfrm>
            <a:off x="3364873"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7" name="Text Placeholder 12">
            <a:extLst>
              <a:ext uri="{FF2B5EF4-FFF2-40B4-BE49-F238E27FC236}">
                <a16:creationId xmlns:a16="http://schemas.microsoft.com/office/drawing/2014/main" id="{68A568C4-ADFE-5A6C-2391-882D49319A87}"/>
              </a:ext>
            </a:extLst>
          </p:cNvPr>
          <p:cNvSpPr>
            <a:spLocks noGrp="1"/>
          </p:cNvSpPr>
          <p:nvPr>
            <p:ph type="body" sz="quarter" idx="67" hasCustomPrompt="1"/>
          </p:nvPr>
        </p:nvSpPr>
        <p:spPr>
          <a:xfrm>
            <a:off x="6167438"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9" name="Text Placeholder 12">
            <a:extLst>
              <a:ext uri="{FF2B5EF4-FFF2-40B4-BE49-F238E27FC236}">
                <a16:creationId xmlns:a16="http://schemas.microsoft.com/office/drawing/2014/main" id="{27AAA7D2-9EA7-4887-CE73-9A4FFE173C8C}"/>
              </a:ext>
            </a:extLst>
          </p:cNvPr>
          <p:cNvSpPr>
            <a:spLocks noGrp="1"/>
          </p:cNvSpPr>
          <p:nvPr>
            <p:ph type="body" sz="quarter" idx="70" hasCustomPrompt="1"/>
          </p:nvPr>
        </p:nvSpPr>
        <p:spPr>
          <a:xfrm>
            <a:off x="8982703" y="3068637"/>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Tree>
    <p:extLst>
      <p:ext uri="{BB962C8B-B14F-4D97-AF65-F5344CB8AC3E}">
        <p14:creationId xmlns:p14="http://schemas.microsoft.com/office/powerpoint/2010/main" val="304959104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text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632E09-C808-C343-91A7-C20324242EF7}"/>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Rectangle 13">
            <a:extLst>
              <a:ext uri="{FF2B5EF4-FFF2-40B4-BE49-F238E27FC236}">
                <a16:creationId xmlns:a16="http://schemas.microsoft.com/office/drawing/2014/main" id="{08720B5C-8333-5047-B270-7E403B8710CA}"/>
              </a:ext>
            </a:extLst>
          </p:cNvPr>
          <p:cNvSpPr/>
          <p:nvPr/>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Footer Placeholder 1">
            <a:extLst>
              <a:ext uri="{FF2B5EF4-FFF2-40B4-BE49-F238E27FC236}">
                <a16:creationId xmlns:a16="http://schemas.microsoft.com/office/drawing/2014/main" id="{13FB358C-4641-CA40-9216-45EF34F92701}"/>
              </a:ext>
            </a:extLst>
          </p:cNvPr>
          <p:cNvSpPr>
            <a:spLocks noGrp="1"/>
          </p:cNvSpPr>
          <p:nvPr>
            <p:ph type="ftr" sz="quarter" idx="39"/>
          </p:nvPr>
        </p:nvSpPr>
        <p:spPr/>
        <p:txBody>
          <a:bodyPr/>
          <a:lstStyle/>
          <a:p>
            <a:endParaRPr lang="en-GB"/>
          </a:p>
        </p:txBody>
      </p:sp>
      <p:sp>
        <p:nvSpPr>
          <p:cNvPr id="3" name="Slide Number Placeholder 2">
            <a:extLst>
              <a:ext uri="{FF2B5EF4-FFF2-40B4-BE49-F238E27FC236}">
                <a16:creationId xmlns:a16="http://schemas.microsoft.com/office/drawing/2014/main" id="{009E4DDC-EB79-E642-9008-F16DBA4A368B}"/>
              </a:ext>
            </a:extLst>
          </p:cNvPr>
          <p:cNvSpPr>
            <a:spLocks noGrp="1"/>
          </p:cNvSpPr>
          <p:nvPr>
            <p:ph type="sldNum" sz="quarter" idx="40"/>
          </p:nvPr>
        </p:nvSpPr>
        <p:spPr/>
        <p:txBody>
          <a:bodyPr/>
          <a:lstStyle/>
          <a:p>
            <a:fld id="{F18EFF25-22D3-7349-97D6-73D11F9E5B0D}" type="slidenum">
              <a:rPr lang="en-GB" smtClean="0"/>
              <a:pPr/>
              <a:t>‹#›</a:t>
            </a:fld>
            <a:endParaRPr lang="en-GB"/>
          </a:p>
        </p:txBody>
      </p:sp>
      <p:sp>
        <p:nvSpPr>
          <p:cNvPr id="16" name="Text Placeholder 3">
            <a:extLst>
              <a:ext uri="{FF2B5EF4-FFF2-40B4-BE49-F238E27FC236}">
                <a16:creationId xmlns:a16="http://schemas.microsoft.com/office/drawing/2014/main" id="{7B19FF3C-C585-6146-99B8-FA7377318055}"/>
              </a:ext>
            </a:extLst>
          </p:cNvPr>
          <p:cNvSpPr>
            <a:spLocks noGrp="1"/>
          </p:cNvSpPr>
          <p:nvPr>
            <p:ph type="body" sz="quarter" idx="33" hasCustomPrompt="1"/>
          </p:nvPr>
        </p:nvSpPr>
        <p:spPr>
          <a:xfrm>
            <a:off x="576000" y="1828343"/>
            <a:ext cx="5421600"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3">
            <a:extLst>
              <a:ext uri="{FF2B5EF4-FFF2-40B4-BE49-F238E27FC236}">
                <a16:creationId xmlns:a16="http://schemas.microsoft.com/office/drawing/2014/main" id="{AFFC7BE1-419A-F64E-9062-E514406568CE}"/>
              </a:ext>
            </a:extLst>
          </p:cNvPr>
          <p:cNvSpPr>
            <a:spLocks noGrp="1"/>
          </p:cNvSpPr>
          <p:nvPr>
            <p:ph type="body" sz="quarter" idx="34" hasCustomPrompt="1"/>
          </p:nvPr>
        </p:nvSpPr>
        <p:spPr>
          <a:xfrm>
            <a:off x="6182126" y="1828343"/>
            <a:ext cx="54229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8" name="Text Placeholder 13">
            <a:extLst>
              <a:ext uri="{FF2B5EF4-FFF2-40B4-BE49-F238E27FC236}">
                <a16:creationId xmlns:a16="http://schemas.microsoft.com/office/drawing/2014/main" id="{93E9D367-B499-684B-8825-DBDA558212CF}"/>
              </a:ext>
            </a:extLst>
          </p:cNvPr>
          <p:cNvSpPr>
            <a:spLocks noGrp="1"/>
          </p:cNvSpPr>
          <p:nvPr>
            <p:ph type="body" sz="quarter" idx="35" hasCustomPrompt="1"/>
          </p:nvPr>
        </p:nvSpPr>
        <p:spPr>
          <a:xfrm>
            <a:off x="576000" y="2362200"/>
            <a:ext cx="5421600" cy="3733800"/>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40BD10B9-9796-F144-A2F2-29B16914C83B}"/>
              </a:ext>
            </a:extLst>
          </p:cNvPr>
          <p:cNvSpPr>
            <a:spLocks noGrp="1"/>
          </p:cNvSpPr>
          <p:nvPr>
            <p:ph type="body" sz="quarter" idx="36" hasCustomPrompt="1"/>
          </p:nvPr>
        </p:nvSpPr>
        <p:spPr>
          <a:xfrm>
            <a:off x="6181726" y="2362200"/>
            <a:ext cx="5421600" cy="3733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1" name="Title 1">
            <a:extLst>
              <a:ext uri="{FF2B5EF4-FFF2-40B4-BE49-F238E27FC236}">
                <a16:creationId xmlns:a16="http://schemas.microsoft.com/office/drawing/2014/main" id="{38CE56DB-07E0-2A49-A328-C51FACE46EF8}"/>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32" name="Text Placeholder 17">
            <a:extLst>
              <a:ext uri="{FF2B5EF4-FFF2-40B4-BE49-F238E27FC236}">
                <a16:creationId xmlns:a16="http://schemas.microsoft.com/office/drawing/2014/main" id="{0F4281F8-66AF-AC41-A3C8-E2F2A31D7351}"/>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66216731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text whit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632E09-C808-C343-91A7-C20324242EF7}"/>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Footer Placeholder 1">
            <a:extLst>
              <a:ext uri="{FF2B5EF4-FFF2-40B4-BE49-F238E27FC236}">
                <a16:creationId xmlns:a16="http://schemas.microsoft.com/office/drawing/2014/main" id="{13FB358C-4641-CA40-9216-45EF34F92701}"/>
              </a:ext>
            </a:extLst>
          </p:cNvPr>
          <p:cNvSpPr>
            <a:spLocks noGrp="1"/>
          </p:cNvSpPr>
          <p:nvPr>
            <p:ph type="ftr" sz="quarter" idx="39"/>
          </p:nvPr>
        </p:nvSpPr>
        <p:spPr/>
        <p:txBody>
          <a:bodyPr/>
          <a:lstStyle/>
          <a:p>
            <a:endParaRPr lang="en-GB"/>
          </a:p>
        </p:txBody>
      </p:sp>
      <p:sp>
        <p:nvSpPr>
          <p:cNvPr id="3" name="Slide Number Placeholder 2">
            <a:extLst>
              <a:ext uri="{FF2B5EF4-FFF2-40B4-BE49-F238E27FC236}">
                <a16:creationId xmlns:a16="http://schemas.microsoft.com/office/drawing/2014/main" id="{009E4DDC-EB79-E642-9008-F16DBA4A368B}"/>
              </a:ext>
            </a:extLst>
          </p:cNvPr>
          <p:cNvSpPr>
            <a:spLocks noGrp="1"/>
          </p:cNvSpPr>
          <p:nvPr>
            <p:ph type="sldNum" sz="quarter" idx="40"/>
          </p:nvPr>
        </p:nvSpPr>
        <p:spPr/>
        <p:txBody>
          <a:bodyPr/>
          <a:lstStyle/>
          <a:p>
            <a:fld id="{F18EFF25-22D3-7349-97D6-73D11F9E5B0D}" type="slidenum">
              <a:rPr lang="en-GB" smtClean="0"/>
              <a:pPr/>
              <a:t>‹#›</a:t>
            </a:fld>
            <a:endParaRPr lang="en-GB"/>
          </a:p>
        </p:txBody>
      </p:sp>
      <p:sp>
        <p:nvSpPr>
          <p:cNvPr id="18" name="Text Placeholder 13">
            <a:extLst>
              <a:ext uri="{FF2B5EF4-FFF2-40B4-BE49-F238E27FC236}">
                <a16:creationId xmlns:a16="http://schemas.microsoft.com/office/drawing/2014/main" id="{93E9D367-B499-684B-8825-DBDA558212CF}"/>
              </a:ext>
            </a:extLst>
          </p:cNvPr>
          <p:cNvSpPr>
            <a:spLocks noGrp="1"/>
          </p:cNvSpPr>
          <p:nvPr>
            <p:ph type="body" sz="quarter" idx="35" hasCustomPrompt="1"/>
          </p:nvPr>
        </p:nvSpPr>
        <p:spPr>
          <a:xfrm>
            <a:off x="576000" y="1828800"/>
            <a:ext cx="5421600" cy="4283075"/>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40BD10B9-9796-F144-A2F2-29B16914C83B}"/>
              </a:ext>
            </a:extLst>
          </p:cNvPr>
          <p:cNvSpPr>
            <a:spLocks noGrp="1"/>
          </p:cNvSpPr>
          <p:nvPr>
            <p:ph type="body" sz="quarter" idx="36" hasCustomPrompt="1"/>
          </p:nvPr>
        </p:nvSpPr>
        <p:spPr>
          <a:xfrm>
            <a:off x="6181726" y="1828800"/>
            <a:ext cx="54216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5" name="Title 1">
            <a:extLst>
              <a:ext uri="{FF2B5EF4-FFF2-40B4-BE49-F238E27FC236}">
                <a16:creationId xmlns:a16="http://schemas.microsoft.com/office/drawing/2014/main" id="{5DDF8654-33FA-5545-8629-D42576C53F13}"/>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88530F2A-3869-E842-8BAE-C7F6C862C8D7}"/>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1226131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text purp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6FDFAA77-B209-9D49-8491-31BED4874D58}"/>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1" name="Text Placeholder 3">
            <a:extLst>
              <a:ext uri="{FF2B5EF4-FFF2-40B4-BE49-F238E27FC236}">
                <a16:creationId xmlns:a16="http://schemas.microsoft.com/office/drawing/2014/main" id="{4AF8B835-20CF-DB46-9CDB-368948B545C3}"/>
              </a:ext>
            </a:extLst>
          </p:cNvPr>
          <p:cNvSpPr>
            <a:spLocks noGrp="1"/>
          </p:cNvSpPr>
          <p:nvPr>
            <p:ph type="body" sz="quarter" idx="33" hasCustomPrompt="1"/>
          </p:nvPr>
        </p:nvSpPr>
        <p:spPr>
          <a:xfrm>
            <a:off x="575999" y="1828343"/>
            <a:ext cx="54485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2" name="Text Placeholder 13">
            <a:extLst>
              <a:ext uri="{FF2B5EF4-FFF2-40B4-BE49-F238E27FC236}">
                <a16:creationId xmlns:a16="http://schemas.microsoft.com/office/drawing/2014/main" id="{E30A39C7-EFD5-8E49-AAC3-86A27E8D8740}"/>
              </a:ext>
            </a:extLst>
          </p:cNvPr>
          <p:cNvSpPr>
            <a:spLocks noGrp="1"/>
          </p:cNvSpPr>
          <p:nvPr>
            <p:ph type="body" sz="quarter" idx="36" hasCustomPrompt="1"/>
          </p:nvPr>
        </p:nvSpPr>
        <p:spPr>
          <a:xfrm>
            <a:off x="575999" y="2362200"/>
            <a:ext cx="54468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ext Placeholder 3">
            <a:extLst>
              <a:ext uri="{FF2B5EF4-FFF2-40B4-BE49-F238E27FC236}">
                <a16:creationId xmlns:a16="http://schemas.microsoft.com/office/drawing/2014/main" id="{02C1A758-1834-9D43-8568-C4416949AC1E}"/>
              </a:ext>
            </a:extLst>
          </p:cNvPr>
          <p:cNvSpPr>
            <a:spLocks noGrp="1"/>
          </p:cNvSpPr>
          <p:nvPr>
            <p:ph type="body" sz="quarter" idx="37" hasCustomPrompt="1"/>
          </p:nvPr>
        </p:nvSpPr>
        <p:spPr>
          <a:xfrm>
            <a:off x="6251443" y="1812925"/>
            <a:ext cx="5353182"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4" name="Text Placeholder 13">
            <a:extLst>
              <a:ext uri="{FF2B5EF4-FFF2-40B4-BE49-F238E27FC236}">
                <a16:creationId xmlns:a16="http://schemas.microsoft.com/office/drawing/2014/main" id="{4D086B01-4D72-B44A-9E21-77A017787782}"/>
              </a:ext>
            </a:extLst>
          </p:cNvPr>
          <p:cNvSpPr>
            <a:spLocks noGrp="1"/>
          </p:cNvSpPr>
          <p:nvPr>
            <p:ph type="body" sz="quarter" idx="38" hasCustomPrompt="1"/>
          </p:nvPr>
        </p:nvSpPr>
        <p:spPr>
          <a:xfrm>
            <a:off x="6251443" y="2346782"/>
            <a:ext cx="53532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A8C02282-2880-6E4D-8745-58DE67ED1C37}"/>
              </a:ext>
            </a:extLst>
          </p:cNvPr>
          <p:cNvSpPr>
            <a:spLocks noGrp="1"/>
          </p:cNvSpPr>
          <p:nvPr>
            <p:ph type="ftr" sz="quarter" idx="3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3AB23330-2269-804B-A27E-5D396334541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96414052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text purpl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1"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6FDFAA77-B209-9D49-8491-31BED4874D58}"/>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A8C02282-2880-6E4D-8745-58DE67ED1C37}"/>
              </a:ext>
            </a:extLst>
          </p:cNvPr>
          <p:cNvSpPr>
            <a:spLocks noGrp="1"/>
          </p:cNvSpPr>
          <p:nvPr>
            <p:ph type="ftr" sz="quarter" idx="3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3AB23330-2269-804B-A27E-5D396334541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E4DBBBDC-D4A2-DC44-B7E5-F79A3382AA94}"/>
              </a:ext>
            </a:extLst>
          </p:cNvPr>
          <p:cNvSpPr>
            <a:spLocks noGrp="1"/>
          </p:cNvSpPr>
          <p:nvPr>
            <p:ph type="body" sz="quarter" idx="35" hasCustomPrompt="1"/>
          </p:nvPr>
        </p:nvSpPr>
        <p:spPr>
          <a:xfrm>
            <a:off x="576000" y="1828800"/>
            <a:ext cx="5446800" cy="4283075"/>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5" name="Text Placeholder 13">
            <a:extLst>
              <a:ext uri="{FF2B5EF4-FFF2-40B4-BE49-F238E27FC236}">
                <a16:creationId xmlns:a16="http://schemas.microsoft.com/office/drawing/2014/main" id="{2C1405B5-79F0-244D-AB0C-1B6E7F3AA4EB}"/>
              </a:ext>
            </a:extLst>
          </p:cNvPr>
          <p:cNvSpPr>
            <a:spLocks noGrp="1"/>
          </p:cNvSpPr>
          <p:nvPr>
            <p:ph type="body" sz="quarter" idx="38" hasCustomPrompt="1"/>
          </p:nvPr>
        </p:nvSpPr>
        <p:spPr>
          <a:xfrm>
            <a:off x="6251443" y="1828800"/>
            <a:ext cx="5353200" cy="4267657"/>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20266215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text midnight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37BC9F56-6448-C349-8432-1F4AC023D06B}"/>
              </a:ext>
            </a:extLst>
          </p:cNvPr>
          <p:cNvSpPr>
            <a:spLocks noGrp="1"/>
          </p:cNvSpPr>
          <p:nvPr>
            <p:ph type="ftr" sz="quarter" idx="3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AA983E32-2992-4C4A-AD04-0BD538A34D7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991B346E-51D3-E046-AEA8-4888D52605BF}"/>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8" name="Text Placeholder 3">
            <a:extLst>
              <a:ext uri="{FF2B5EF4-FFF2-40B4-BE49-F238E27FC236}">
                <a16:creationId xmlns:a16="http://schemas.microsoft.com/office/drawing/2014/main" id="{5AD40E72-A52E-934D-B62B-16E753E1D8C1}"/>
              </a:ext>
            </a:extLst>
          </p:cNvPr>
          <p:cNvSpPr>
            <a:spLocks noGrp="1"/>
          </p:cNvSpPr>
          <p:nvPr>
            <p:ph type="body" sz="quarter" idx="33" hasCustomPrompt="1"/>
          </p:nvPr>
        </p:nvSpPr>
        <p:spPr>
          <a:xfrm>
            <a:off x="575999" y="1828343"/>
            <a:ext cx="54485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A1F64413-D50B-574E-995E-10BB81A3ECF4}"/>
              </a:ext>
            </a:extLst>
          </p:cNvPr>
          <p:cNvSpPr>
            <a:spLocks noGrp="1"/>
          </p:cNvSpPr>
          <p:nvPr>
            <p:ph type="body" sz="quarter" idx="36" hasCustomPrompt="1"/>
          </p:nvPr>
        </p:nvSpPr>
        <p:spPr>
          <a:xfrm>
            <a:off x="575999" y="2362200"/>
            <a:ext cx="5448564"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ext Placeholder 3">
            <a:extLst>
              <a:ext uri="{FF2B5EF4-FFF2-40B4-BE49-F238E27FC236}">
                <a16:creationId xmlns:a16="http://schemas.microsoft.com/office/drawing/2014/main" id="{5CC9352E-1357-6040-BCD6-FC6AEA7CC373}"/>
              </a:ext>
            </a:extLst>
          </p:cNvPr>
          <p:cNvSpPr>
            <a:spLocks noGrp="1"/>
          </p:cNvSpPr>
          <p:nvPr>
            <p:ph type="body" sz="quarter" idx="37" hasCustomPrompt="1"/>
          </p:nvPr>
        </p:nvSpPr>
        <p:spPr>
          <a:xfrm>
            <a:off x="6251443" y="1812925"/>
            <a:ext cx="5353182"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A944D3B1-0B6C-324C-8804-3262A6DBD5DA}"/>
              </a:ext>
            </a:extLst>
          </p:cNvPr>
          <p:cNvSpPr>
            <a:spLocks noGrp="1"/>
          </p:cNvSpPr>
          <p:nvPr>
            <p:ph type="body" sz="quarter" idx="38" hasCustomPrompt="1"/>
          </p:nvPr>
        </p:nvSpPr>
        <p:spPr>
          <a:xfrm>
            <a:off x="6251443" y="2346782"/>
            <a:ext cx="53532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34392293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text midnight blu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37BC9F56-6448-C349-8432-1F4AC023D06B}"/>
              </a:ext>
            </a:extLst>
          </p:cNvPr>
          <p:cNvSpPr>
            <a:spLocks noGrp="1"/>
          </p:cNvSpPr>
          <p:nvPr>
            <p:ph type="ftr" sz="quarter" idx="3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AA983E32-2992-4C4A-AD04-0BD538A34D7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1ADADDF1-6D84-354B-ADAC-71CD7C2E589A}"/>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13">
            <a:extLst>
              <a:ext uri="{FF2B5EF4-FFF2-40B4-BE49-F238E27FC236}">
                <a16:creationId xmlns:a16="http://schemas.microsoft.com/office/drawing/2014/main" id="{29671604-398C-9444-9F80-E67623E46A2D}"/>
              </a:ext>
            </a:extLst>
          </p:cNvPr>
          <p:cNvSpPr>
            <a:spLocks noGrp="1"/>
          </p:cNvSpPr>
          <p:nvPr>
            <p:ph type="body" sz="quarter" idx="35" hasCustomPrompt="1"/>
          </p:nvPr>
        </p:nvSpPr>
        <p:spPr>
          <a:xfrm>
            <a:off x="576000" y="1828800"/>
            <a:ext cx="5446800" cy="4283075"/>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92CD9204-20D8-964E-912C-2FB4676BD8C1}"/>
              </a:ext>
            </a:extLst>
          </p:cNvPr>
          <p:cNvSpPr>
            <a:spLocks noGrp="1"/>
          </p:cNvSpPr>
          <p:nvPr>
            <p:ph type="body" sz="quarter" idx="38" hasCustomPrompt="1"/>
          </p:nvPr>
        </p:nvSpPr>
        <p:spPr>
          <a:xfrm>
            <a:off x="6251443" y="1828800"/>
            <a:ext cx="5353200" cy="4267657"/>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06557755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tex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8C4AA7AB-9E3C-1347-AE21-00A36CAAF2F4}"/>
              </a:ext>
            </a:extLst>
          </p:cNvPr>
          <p:cNvSpPr>
            <a:spLocks noGrp="1"/>
          </p:cNvSpPr>
          <p:nvPr>
            <p:ph type="ftr" sz="quarter" idx="3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F4A808AF-C3E1-DA45-87A0-84079BBD79EE}"/>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8" name="Text Placeholder 17">
            <a:extLst>
              <a:ext uri="{FF2B5EF4-FFF2-40B4-BE49-F238E27FC236}">
                <a16:creationId xmlns:a16="http://schemas.microsoft.com/office/drawing/2014/main" id="{544BC1BD-96A4-AB48-887D-ABFA126BC7D9}"/>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5" name="Text Placeholder 3">
            <a:extLst>
              <a:ext uri="{FF2B5EF4-FFF2-40B4-BE49-F238E27FC236}">
                <a16:creationId xmlns:a16="http://schemas.microsoft.com/office/drawing/2014/main" id="{9FF99FD6-A8C2-FE4E-A020-E5EC330D3A6F}"/>
              </a:ext>
            </a:extLst>
          </p:cNvPr>
          <p:cNvSpPr>
            <a:spLocks noGrp="1"/>
          </p:cNvSpPr>
          <p:nvPr>
            <p:ph type="body" sz="quarter" idx="33" hasCustomPrompt="1"/>
          </p:nvPr>
        </p:nvSpPr>
        <p:spPr>
          <a:xfrm>
            <a:off x="575999" y="1828343"/>
            <a:ext cx="54485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13">
            <a:extLst>
              <a:ext uri="{FF2B5EF4-FFF2-40B4-BE49-F238E27FC236}">
                <a16:creationId xmlns:a16="http://schemas.microsoft.com/office/drawing/2014/main" id="{0AF81782-0A16-7F44-A0D3-4E2D68893B5B}"/>
              </a:ext>
            </a:extLst>
          </p:cNvPr>
          <p:cNvSpPr>
            <a:spLocks noGrp="1"/>
          </p:cNvSpPr>
          <p:nvPr>
            <p:ph type="body" sz="quarter" idx="36" hasCustomPrompt="1"/>
          </p:nvPr>
        </p:nvSpPr>
        <p:spPr>
          <a:xfrm>
            <a:off x="575999" y="2362200"/>
            <a:ext cx="5448564"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ext Placeholder 3">
            <a:extLst>
              <a:ext uri="{FF2B5EF4-FFF2-40B4-BE49-F238E27FC236}">
                <a16:creationId xmlns:a16="http://schemas.microsoft.com/office/drawing/2014/main" id="{CE0DA9FD-F3AF-A84D-B4A2-0F799FAE941A}"/>
              </a:ext>
            </a:extLst>
          </p:cNvPr>
          <p:cNvSpPr>
            <a:spLocks noGrp="1"/>
          </p:cNvSpPr>
          <p:nvPr>
            <p:ph type="body" sz="quarter" idx="37" hasCustomPrompt="1"/>
          </p:nvPr>
        </p:nvSpPr>
        <p:spPr>
          <a:xfrm>
            <a:off x="6251443" y="1812925"/>
            <a:ext cx="5353182"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8C7FC5CD-BEFE-B64B-8483-2F64F3924C1B}"/>
              </a:ext>
            </a:extLst>
          </p:cNvPr>
          <p:cNvSpPr>
            <a:spLocks noGrp="1"/>
          </p:cNvSpPr>
          <p:nvPr>
            <p:ph type="body" sz="quarter" idx="38" hasCustomPrompt="1"/>
          </p:nvPr>
        </p:nvSpPr>
        <p:spPr>
          <a:xfrm>
            <a:off x="6251443" y="2346782"/>
            <a:ext cx="5353182"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7062444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text teal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8C4AA7AB-9E3C-1347-AE21-00A36CAAF2F4}"/>
              </a:ext>
            </a:extLst>
          </p:cNvPr>
          <p:cNvSpPr>
            <a:spLocks noGrp="1"/>
          </p:cNvSpPr>
          <p:nvPr>
            <p:ph type="ftr" sz="quarter" idx="3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F4A808AF-C3E1-DA45-87A0-84079BBD79EE}"/>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8" name="Text Placeholder 17">
            <a:extLst>
              <a:ext uri="{FF2B5EF4-FFF2-40B4-BE49-F238E27FC236}">
                <a16:creationId xmlns:a16="http://schemas.microsoft.com/office/drawing/2014/main" id="{0E9B81E3-D03B-0748-9A33-F31282F481EC}"/>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0" name="Text Placeholder 13">
            <a:extLst>
              <a:ext uri="{FF2B5EF4-FFF2-40B4-BE49-F238E27FC236}">
                <a16:creationId xmlns:a16="http://schemas.microsoft.com/office/drawing/2014/main" id="{D8551DBB-6D01-E94E-A159-E1FE3423AF06}"/>
              </a:ext>
            </a:extLst>
          </p:cNvPr>
          <p:cNvSpPr>
            <a:spLocks noGrp="1"/>
          </p:cNvSpPr>
          <p:nvPr>
            <p:ph type="body" sz="quarter" idx="35" hasCustomPrompt="1"/>
          </p:nvPr>
        </p:nvSpPr>
        <p:spPr>
          <a:xfrm>
            <a:off x="576000" y="1828800"/>
            <a:ext cx="5446800" cy="4283075"/>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ext Placeholder 13">
            <a:extLst>
              <a:ext uri="{FF2B5EF4-FFF2-40B4-BE49-F238E27FC236}">
                <a16:creationId xmlns:a16="http://schemas.microsoft.com/office/drawing/2014/main" id="{2516E303-02B7-4547-B42B-4D6827C363ED}"/>
              </a:ext>
            </a:extLst>
          </p:cNvPr>
          <p:cNvSpPr>
            <a:spLocks noGrp="1"/>
          </p:cNvSpPr>
          <p:nvPr>
            <p:ph type="body" sz="quarter" idx="38" hasCustomPrompt="1"/>
          </p:nvPr>
        </p:nvSpPr>
        <p:spPr>
          <a:xfrm>
            <a:off x="6251443" y="1828800"/>
            <a:ext cx="5353200" cy="4267657"/>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50953908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632E09-C808-C343-91A7-C20324242EF7}"/>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Text Placeholder 4">
            <a:extLst>
              <a:ext uri="{FF2B5EF4-FFF2-40B4-BE49-F238E27FC236}">
                <a16:creationId xmlns:a16="http://schemas.microsoft.com/office/drawing/2014/main" id="{E0CF6FB4-095A-B240-A505-7ADD15711AA0}"/>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tx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2" name="Footer Placeholder 1">
            <a:extLst>
              <a:ext uri="{FF2B5EF4-FFF2-40B4-BE49-F238E27FC236}">
                <a16:creationId xmlns:a16="http://schemas.microsoft.com/office/drawing/2014/main" id="{D9FDD32F-2551-6B47-84B3-4F59E9742F98}"/>
              </a:ext>
            </a:extLst>
          </p:cNvPr>
          <p:cNvSpPr>
            <a:spLocks noGrp="1"/>
          </p:cNvSpPr>
          <p:nvPr>
            <p:ph type="ftr" sz="quarter" idx="32"/>
          </p:nvPr>
        </p:nvSpPr>
        <p:spPr/>
        <p:txBody>
          <a:bodyPr/>
          <a:lstStyle/>
          <a:p>
            <a:endParaRPr lang="en-GB"/>
          </a:p>
        </p:txBody>
      </p:sp>
      <p:sp>
        <p:nvSpPr>
          <p:cNvPr id="3" name="Slide Number Placeholder 2">
            <a:extLst>
              <a:ext uri="{FF2B5EF4-FFF2-40B4-BE49-F238E27FC236}">
                <a16:creationId xmlns:a16="http://schemas.microsoft.com/office/drawing/2014/main" id="{884DBCE0-5DE5-5F40-B98F-1DB0AB9BD95B}"/>
              </a:ext>
            </a:extLst>
          </p:cNvPr>
          <p:cNvSpPr>
            <a:spLocks noGrp="1"/>
          </p:cNvSpPr>
          <p:nvPr>
            <p:ph type="sldNum" sz="quarter" idx="33"/>
          </p:nvPr>
        </p:nvSpPr>
        <p:spPr/>
        <p:txBody>
          <a:bodyPr/>
          <a:lstStyle/>
          <a:p>
            <a:fld id="{F18EFF25-22D3-7349-97D6-73D11F9E5B0D}" type="slidenum">
              <a:rPr lang="en-GB" smtClean="0"/>
              <a:pPr/>
              <a:t>‹#›</a:t>
            </a:fld>
            <a:endParaRPr lang="en-GB"/>
          </a:p>
        </p:txBody>
      </p:sp>
      <p:sp>
        <p:nvSpPr>
          <p:cNvPr id="30" name="Text Placeholder 17">
            <a:extLst>
              <a:ext uri="{FF2B5EF4-FFF2-40B4-BE49-F238E27FC236}">
                <a16:creationId xmlns:a16="http://schemas.microsoft.com/office/drawing/2014/main" id="{4634DFC8-82F3-5F4A-BA0B-D3B6FF666175}"/>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tx1"/>
                </a:solidFill>
              </a:defRPr>
            </a:lvl1pPr>
          </a:lstStyle>
          <a:p>
            <a:pPr lvl="0"/>
            <a:r>
              <a:rPr lang="en-US"/>
              <a:t>Insert name</a:t>
            </a:r>
          </a:p>
        </p:txBody>
      </p:sp>
      <p:sp>
        <p:nvSpPr>
          <p:cNvPr id="31" name="Text Placeholder 17">
            <a:extLst>
              <a:ext uri="{FF2B5EF4-FFF2-40B4-BE49-F238E27FC236}">
                <a16:creationId xmlns:a16="http://schemas.microsoft.com/office/drawing/2014/main" id="{1F718D8F-FE3D-3041-B7A8-E53496B7601B}"/>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tx1"/>
                </a:solidFill>
              </a:defRPr>
            </a:lvl1pPr>
          </a:lstStyle>
          <a:p>
            <a:pPr lvl="0"/>
            <a:r>
              <a:rPr lang="en-US"/>
              <a:t>Insert title</a:t>
            </a:r>
          </a:p>
        </p:txBody>
      </p:sp>
      <p:sp>
        <p:nvSpPr>
          <p:cNvPr id="32" name="Text Placeholder 17">
            <a:extLst>
              <a:ext uri="{FF2B5EF4-FFF2-40B4-BE49-F238E27FC236}">
                <a16:creationId xmlns:a16="http://schemas.microsoft.com/office/drawing/2014/main" id="{BC1298E4-D977-A748-9586-789F41B8D8D9}"/>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Insert company name</a:t>
            </a:r>
          </a:p>
        </p:txBody>
      </p:sp>
    </p:spTree>
    <p:extLst>
      <p:ext uri="{BB962C8B-B14F-4D97-AF65-F5344CB8AC3E}">
        <p14:creationId xmlns:p14="http://schemas.microsoft.com/office/powerpoint/2010/main" val="127272005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Quote purp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0427946D-4EAF-1F4C-AAEB-F3C02E98FCF1}"/>
              </a:ext>
            </a:extLst>
          </p:cNvPr>
          <p:cNvSpPr>
            <a:spLocks noGrp="1"/>
          </p:cNvSpPr>
          <p:nvPr>
            <p:ph type="ftr" sz="quarter" idx="32"/>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9DA7D024-85E8-844E-A307-6DD959B9C727}"/>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7" name="Text Placeholder 17">
            <a:extLst>
              <a:ext uri="{FF2B5EF4-FFF2-40B4-BE49-F238E27FC236}">
                <a16:creationId xmlns:a16="http://schemas.microsoft.com/office/drawing/2014/main" id="{D20C4C80-683A-B943-BAC4-ACB3655939C1}"/>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bg1"/>
                </a:solidFill>
              </a:defRPr>
            </a:lvl1pPr>
          </a:lstStyle>
          <a:p>
            <a:pPr lvl="0"/>
            <a:r>
              <a:rPr lang="en-US"/>
              <a:t>Insert name</a:t>
            </a:r>
          </a:p>
        </p:txBody>
      </p:sp>
      <p:sp>
        <p:nvSpPr>
          <p:cNvPr id="19" name="Text Placeholder 17">
            <a:extLst>
              <a:ext uri="{FF2B5EF4-FFF2-40B4-BE49-F238E27FC236}">
                <a16:creationId xmlns:a16="http://schemas.microsoft.com/office/drawing/2014/main" id="{7E10BEC5-9F43-C54D-9D78-C8AF9BB4348E}"/>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title</a:t>
            </a:r>
          </a:p>
        </p:txBody>
      </p:sp>
      <p:sp>
        <p:nvSpPr>
          <p:cNvPr id="20" name="Text Placeholder 17">
            <a:extLst>
              <a:ext uri="{FF2B5EF4-FFF2-40B4-BE49-F238E27FC236}">
                <a16:creationId xmlns:a16="http://schemas.microsoft.com/office/drawing/2014/main" id="{18324929-D19E-8E49-AE8F-3B82917F72FB}"/>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company name</a:t>
            </a:r>
          </a:p>
        </p:txBody>
      </p:sp>
    </p:spTree>
    <p:extLst>
      <p:ext uri="{BB962C8B-B14F-4D97-AF65-F5344CB8AC3E}">
        <p14:creationId xmlns:p14="http://schemas.microsoft.com/office/powerpoint/2010/main" val="1328806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x Columns - Past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A42F6E-246E-1108-4C12-F80987CC1815}"/>
              </a:ext>
            </a:extLst>
          </p:cNvPr>
          <p:cNvSpPr/>
          <p:nvPr userDrawn="1"/>
        </p:nvSpPr>
        <p:spPr>
          <a:xfrm>
            <a:off x="7896226" y="0"/>
            <a:ext cx="4295774"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8" name="Text Placeholder 12">
            <a:extLst>
              <a:ext uri="{FF2B5EF4-FFF2-40B4-BE49-F238E27FC236}">
                <a16:creationId xmlns:a16="http://schemas.microsoft.com/office/drawing/2014/main" id="{3F44278E-E901-C1DE-92E4-ACA715734969}"/>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9" name="Text Placeholder 12">
            <a:extLst>
              <a:ext uri="{FF2B5EF4-FFF2-40B4-BE49-F238E27FC236}">
                <a16:creationId xmlns:a16="http://schemas.microsoft.com/office/drawing/2014/main" id="{BF118552-E3C1-3540-F57A-9CA2F0C7D623}"/>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A9CD24D4-DA21-58A6-D7F7-52F6BB2323FF}"/>
              </a:ext>
            </a:extLst>
          </p:cNvPr>
          <p:cNvSpPr>
            <a:spLocks noGrp="1"/>
          </p:cNvSpPr>
          <p:nvPr>
            <p:ph type="body" sz="quarter" idx="18"/>
          </p:nvPr>
        </p:nvSpPr>
        <p:spPr>
          <a:xfrm>
            <a:off x="8437136"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043404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Quote midnight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AD334F6-7BE4-A04A-B581-AE8C23A996CF}"/>
              </a:ext>
            </a:extLst>
          </p:cNvPr>
          <p:cNvSpPr>
            <a:spLocks noGrp="1"/>
          </p:cNvSpPr>
          <p:nvPr>
            <p:ph type="ftr" sz="quarter" idx="32"/>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5BABDE63-0CB6-A74E-879A-A9A8AB4BEF20}"/>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7" name="Text Placeholder 4">
            <a:extLst>
              <a:ext uri="{FF2B5EF4-FFF2-40B4-BE49-F238E27FC236}">
                <a16:creationId xmlns:a16="http://schemas.microsoft.com/office/drawing/2014/main" id="{F1DC5EFD-52D1-B140-96B3-C1BF8E2B5BF1}"/>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19" name="Text Placeholder 17">
            <a:extLst>
              <a:ext uri="{FF2B5EF4-FFF2-40B4-BE49-F238E27FC236}">
                <a16:creationId xmlns:a16="http://schemas.microsoft.com/office/drawing/2014/main" id="{A331652D-E28F-CF4E-BABF-4D528BA47D45}"/>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bg1"/>
                </a:solidFill>
              </a:defRPr>
            </a:lvl1pPr>
          </a:lstStyle>
          <a:p>
            <a:pPr lvl="0"/>
            <a:r>
              <a:rPr lang="en-US"/>
              <a:t>Insert name</a:t>
            </a:r>
          </a:p>
        </p:txBody>
      </p:sp>
      <p:sp>
        <p:nvSpPr>
          <p:cNvPr id="20" name="Text Placeholder 17">
            <a:extLst>
              <a:ext uri="{FF2B5EF4-FFF2-40B4-BE49-F238E27FC236}">
                <a16:creationId xmlns:a16="http://schemas.microsoft.com/office/drawing/2014/main" id="{CE5C2593-176D-394D-AD45-B389F7E22888}"/>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title</a:t>
            </a:r>
          </a:p>
        </p:txBody>
      </p:sp>
      <p:sp>
        <p:nvSpPr>
          <p:cNvPr id="21" name="Text Placeholder 17">
            <a:extLst>
              <a:ext uri="{FF2B5EF4-FFF2-40B4-BE49-F238E27FC236}">
                <a16:creationId xmlns:a16="http://schemas.microsoft.com/office/drawing/2014/main" id="{5D2C1BB8-8B3A-7542-873E-CDBC88195B91}"/>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company name</a:t>
            </a:r>
          </a:p>
        </p:txBody>
      </p:sp>
    </p:spTree>
    <p:extLst>
      <p:ext uri="{BB962C8B-B14F-4D97-AF65-F5344CB8AC3E}">
        <p14:creationId xmlns:p14="http://schemas.microsoft.com/office/powerpoint/2010/main" val="351707791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Quote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6" name="Footer Placeholder 5">
            <a:extLst>
              <a:ext uri="{FF2B5EF4-FFF2-40B4-BE49-F238E27FC236}">
                <a16:creationId xmlns:a16="http://schemas.microsoft.com/office/drawing/2014/main" id="{991EE376-12C7-A540-B354-A20AE94484B7}"/>
              </a:ext>
            </a:extLst>
          </p:cNvPr>
          <p:cNvSpPr>
            <a:spLocks noGrp="1"/>
          </p:cNvSpPr>
          <p:nvPr>
            <p:ph type="ftr" sz="quarter" idx="32"/>
          </p:nvPr>
        </p:nvSpPr>
        <p:spPr/>
        <p:txBody>
          <a:bodyPr/>
          <a:lstStyle>
            <a:lvl1pPr>
              <a:defRPr>
                <a:solidFill>
                  <a:schemeClr val="bg1"/>
                </a:solidFill>
              </a:defRPr>
            </a:lvl1pPr>
          </a:lstStyle>
          <a:p>
            <a:endParaRPr lang="en-GB"/>
          </a:p>
        </p:txBody>
      </p:sp>
      <p:sp>
        <p:nvSpPr>
          <p:cNvPr id="7" name="Slide Number Placeholder 6">
            <a:extLst>
              <a:ext uri="{FF2B5EF4-FFF2-40B4-BE49-F238E27FC236}">
                <a16:creationId xmlns:a16="http://schemas.microsoft.com/office/drawing/2014/main" id="{AE6E3051-1500-9349-824A-A50271C53C59}"/>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7" name="Text Placeholder 4">
            <a:extLst>
              <a:ext uri="{FF2B5EF4-FFF2-40B4-BE49-F238E27FC236}">
                <a16:creationId xmlns:a16="http://schemas.microsoft.com/office/drawing/2014/main" id="{7BC1FC66-C86C-2A49-A200-B344682700FD}"/>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19" name="Text Placeholder 17">
            <a:extLst>
              <a:ext uri="{FF2B5EF4-FFF2-40B4-BE49-F238E27FC236}">
                <a16:creationId xmlns:a16="http://schemas.microsoft.com/office/drawing/2014/main" id="{3EE8291B-3CE7-DB48-8F6F-5746072CA3E6}"/>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bg1"/>
                </a:solidFill>
              </a:defRPr>
            </a:lvl1pPr>
          </a:lstStyle>
          <a:p>
            <a:pPr lvl="0"/>
            <a:r>
              <a:rPr lang="en-US"/>
              <a:t>Insert name</a:t>
            </a:r>
          </a:p>
        </p:txBody>
      </p:sp>
      <p:sp>
        <p:nvSpPr>
          <p:cNvPr id="20" name="Text Placeholder 17">
            <a:extLst>
              <a:ext uri="{FF2B5EF4-FFF2-40B4-BE49-F238E27FC236}">
                <a16:creationId xmlns:a16="http://schemas.microsoft.com/office/drawing/2014/main" id="{C69BFCF1-DF5E-0B45-A4E6-001F04F7D09B}"/>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title</a:t>
            </a:r>
          </a:p>
        </p:txBody>
      </p:sp>
      <p:sp>
        <p:nvSpPr>
          <p:cNvPr id="21" name="Text Placeholder 17">
            <a:extLst>
              <a:ext uri="{FF2B5EF4-FFF2-40B4-BE49-F238E27FC236}">
                <a16:creationId xmlns:a16="http://schemas.microsoft.com/office/drawing/2014/main" id="{F601B3AD-1770-E04B-994E-77B2F09BB4D7}"/>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company name</a:t>
            </a:r>
          </a:p>
        </p:txBody>
      </p:sp>
    </p:spTree>
    <p:extLst>
      <p:ext uri="{BB962C8B-B14F-4D97-AF65-F5344CB8AC3E}">
        <p14:creationId xmlns:p14="http://schemas.microsoft.com/office/powerpoint/2010/main" val="121412690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ack cover_1">
    <p:bg>
      <p:bgPr>
        <a:solidFill>
          <a:schemeClr val="bg1"/>
        </a:solidFill>
        <a:effectLst/>
      </p:bgPr>
    </p:bg>
    <p:spTree>
      <p:nvGrpSpPr>
        <p:cNvPr id="1" name=""/>
        <p:cNvGrpSpPr/>
        <p:nvPr/>
      </p:nvGrpSpPr>
      <p:grpSpPr>
        <a:xfrm>
          <a:off x="0" y="0"/>
          <a:ext cx="0" cy="0"/>
          <a:chOff x="0" y="0"/>
          <a:chExt cx="0" cy="0"/>
        </a:xfrm>
      </p:grpSpPr>
      <p:pic>
        <p:nvPicPr>
          <p:cNvPr id="4" name="Picture 3" descr="A close up of a plastic container&#10;&#10;Description automatically generated">
            <a:extLst>
              <a:ext uri="{FF2B5EF4-FFF2-40B4-BE49-F238E27FC236}">
                <a16:creationId xmlns:a16="http://schemas.microsoft.com/office/drawing/2014/main" id="{0E2195EA-C1B5-7A4F-BB55-023A5B48E07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Text Placeholder 7">
            <a:extLst>
              <a:ext uri="{FF2B5EF4-FFF2-40B4-BE49-F238E27FC236}">
                <a16:creationId xmlns:a16="http://schemas.microsoft.com/office/drawing/2014/main" id="{0F95A04A-A638-D544-A4AC-E0EEA43B3B79}"/>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
        <p:nvSpPr>
          <p:cNvPr id="15" name="Text Placeholder 17">
            <a:extLst>
              <a:ext uri="{FF2B5EF4-FFF2-40B4-BE49-F238E27FC236}">
                <a16:creationId xmlns:a16="http://schemas.microsoft.com/office/drawing/2014/main" id="{A41B1AE7-9CDE-B944-BE30-C6D3E56634C1}"/>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8" name="Text Placeholder 17">
            <a:extLst>
              <a:ext uri="{FF2B5EF4-FFF2-40B4-BE49-F238E27FC236}">
                <a16:creationId xmlns:a16="http://schemas.microsoft.com/office/drawing/2014/main" id="{05667D61-7251-8642-A80D-5FCF8497827C}"/>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9" name="Text Placeholder 17">
            <a:extLst>
              <a:ext uri="{FF2B5EF4-FFF2-40B4-BE49-F238E27FC236}">
                <a16:creationId xmlns:a16="http://schemas.microsoft.com/office/drawing/2014/main" id="{C12066B1-A5CE-7246-972A-C9428F9D315A}"/>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1" name="Text Placeholder 17">
            <a:extLst>
              <a:ext uri="{FF2B5EF4-FFF2-40B4-BE49-F238E27FC236}">
                <a16:creationId xmlns:a16="http://schemas.microsoft.com/office/drawing/2014/main" id="{667376C9-8569-EC45-A8EF-E214BA57A92D}"/>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22" name="TextBox 21">
            <a:extLst>
              <a:ext uri="{FF2B5EF4-FFF2-40B4-BE49-F238E27FC236}">
                <a16:creationId xmlns:a16="http://schemas.microsoft.com/office/drawing/2014/main" id="{12A1591E-87ED-0143-8B74-91CD08ED08B4}"/>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1452F5AF-B8F5-804F-9E55-464E4286E41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Tree>
    <p:extLst>
      <p:ext uri="{BB962C8B-B14F-4D97-AF65-F5344CB8AC3E}">
        <p14:creationId xmlns:p14="http://schemas.microsoft.com/office/powerpoint/2010/main" val="222532767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ack cover_2">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table, white, sitting, food&#10;&#10;Description automatically generated">
            <a:extLst>
              <a:ext uri="{FF2B5EF4-FFF2-40B4-BE49-F238E27FC236}">
                <a16:creationId xmlns:a16="http://schemas.microsoft.com/office/drawing/2014/main" id="{41EF93AF-158A-634A-AFAD-0643C43481E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2" name="TextBox 21">
            <a:extLst>
              <a:ext uri="{FF2B5EF4-FFF2-40B4-BE49-F238E27FC236}">
                <a16:creationId xmlns:a16="http://schemas.microsoft.com/office/drawing/2014/main" id="{AEA105E4-7D2A-AA4D-B063-203D693DF212}"/>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795AC3E2-BB85-2241-ABD9-551B484D64D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1" name="Text Placeholder 17">
            <a:extLst>
              <a:ext uri="{FF2B5EF4-FFF2-40B4-BE49-F238E27FC236}">
                <a16:creationId xmlns:a16="http://schemas.microsoft.com/office/drawing/2014/main" id="{BCBB2176-5E6B-5540-AA7C-3AD45E82089A}"/>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2" name="Text Placeholder 17">
            <a:extLst>
              <a:ext uri="{FF2B5EF4-FFF2-40B4-BE49-F238E27FC236}">
                <a16:creationId xmlns:a16="http://schemas.microsoft.com/office/drawing/2014/main" id="{747E31F3-5829-4343-9380-63E853DC7956}"/>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3" name="Text Placeholder 17">
            <a:extLst>
              <a:ext uri="{FF2B5EF4-FFF2-40B4-BE49-F238E27FC236}">
                <a16:creationId xmlns:a16="http://schemas.microsoft.com/office/drawing/2014/main" id="{1FF365FD-80FD-9A4E-8762-B59F235241BE}"/>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6" name="Text Placeholder 17">
            <a:extLst>
              <a:ext uri="{FF2B5EF4-FFF2-40B4-BE49-F238E27FC236}">
                <a16:creationId xmlns:a16="http://schemas.microsoft.com/office/drawing/2014/main" id="{ABCB0AA3-4241-D74B-A449-A622C3AD56C2}"/>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4" name="Text Placeholder 7">
            <a:extLst>
              <a:ext uri="{FF2B5EF4-FFF2-40B4-BE49-F238E27FC236}">
                <a16:creationId xmlns:a16="http://schemas.microsoft.com/office/drawing/2014/main" id="{D60A7C93-9A43-B940-BCEC-8D253CACB4CE}"/>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142657910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ack cover_3">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white, man, air, bird&#10;&#10;Description automatically generated">
            <a:extLst>
              <a:ext uri="{FF2B5EF4-FFF2-40B4-BE49-F238E27FC236}">
                <a16:creationId xmlns:a16="http://schemas.microsoft.com/office/drawing/2014/main" id="{2277FF01-2860-FA40-804C-C963BE1B2F7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6" name="TextBox 15">
            <a:extLst>
              <a:ext uri="{FF2B5EF4-FFF2-40B4-BE49-F238E27FC236}">
                <a16:creationId xmlns:a16="http://schemas.microsoft.com/office/drawing/2014/main" id="{84307A3D-E45E-BA40-AEDD-EA97CF141828}"/>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7" name="Picture 16" descr="A close up of a flower&#10;&#10;Description automatically generated">
            <a:extLst>
              <a:ext uri="{FF2B5EF4-FFF2-40B4-BE49-F238E27FC236}">
                <a16:creationId xmlns:a16="http://schemas.microsoft.com/office/drawing/2014/main" id="{2786AF85-35A7-0E47-8469-39363474179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8" name="Text Placeholder 17">
            <a:extLst>
              <a:ext uri="{FF2B5EF4-FFF2-40B4-BE49-F238E27FC236}">
                <a16:creationId xmlns:a16="http://schemas.microsoft.com/office/drawing/2014/main" id="{E6327BFC-A233-ED4A-BE84-69711075F993}"/>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9" name="Text Placeholder 17">
            <a:extLst>
              <a:ext uri="{FF2B5EF4-FFF2-40B4-BE49-F238E27FC236}">
                <a16:creationId xmlns:a16="http://schemas.microsoft.com/office/drawing/2014/main" id="{AAA77F6E-8785-784F-97A9-C8A58433129B}"/>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20" name="Text Placeholder 17">
            <a:extLst>
              <a:ext uri="{FF2B5EF4-FFF2-40B4-BE49-F238E27FC236}">
                <a16:creationId xmlns:a16="http://schemas.microsoft.com/office/drawing/2014/main" id="{9934B366-F80E-2C46-940E-63ACBD4C607B}"/>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1" name="Text Placeholder 17">
            <a:extLst>
              <a:ext uri="{FF2B5EF4-FFF2-40B4-BE49-F238E27FC236}">
                <a16:creationId xmlns:a16="http://schemas.microsoft.com/office/drawing/2014/main" id="{EF7462C7-A3FA-454B-A7AC-A321D0234629}"/>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1" name="Text Placeholder 7">
            <a:extLst>
              <a:ext uri="{FF2B5EF4-FFF2-40B4-BE49-F238E27FC236}">
                <a16:creationId xmlns:a16="http://schemas.microsoft.com/office/drawing/2014/main" id="{F306B7D3-3BEE-4E4F-A79B-95718F09B5A0}"/>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310721980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ack cover_4">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indoor, sitting, table, white&#10;&#10;Description automatically generated">
            <a:extLst>
              <a:ext uri="{FF2B5EF4-FFF2-40B4-BE49-F238E27FC236}">
                <a16:creationId xmlns:a16="http://schemas.microsoft.com/office/drawing/2014/main" id="{546A1D87-1311-D347-9C03-03F971B62AA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8" name="TextBox 17">
            <a:extLst>
              <a:ext uri="{FF2B5EF4-FFF2-40B4-BE49-F238E27FC236}">
                <a16:creationId xmlns:a16="http://schemas.microsoft.com/office/drawing/2014/main" id="{B65341F0-897B-2149-B3F9-2DD71A12C4EB}"/>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67DB58A6-04B7-2D45-A20B-7F3EA320D4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1" name="Text Placeholder 17">
            <a:extLst>
              <a:ext uri="{FF2B5EF4-FFF2-40B4-BE49-F238E27FC236}">
                <a16:creationId xmlns:a16="http://schemas.microsoft.com/office/drawing/2014/main" id="{525B496B-122F-DC4E-9207-E5E846FFA45C}"/>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5" name="Text Placeholder 17">
            <a:extLst>
              <a:ext uri="{FF2B5EF4-FFF2-40B4-BE49-F238E27FC236}">
                <a16:creationId xmlns:a16="http://schemas.microsoft.com/office/drawing/2014/main" id="{DB8DD8E4-20AC-8C4E-BEDC-48340613EDC9}"/>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9" name="Text Placeholder 17">
            <a:extLst>
              <a:ext uri="{FF2B5EF4-FFF2-40B4-BE49-F238E27FC236}">
                <a16:creationId xmlns:a16="http://schemas.microsoft.com/office/drawing/2014/main" id="{84FB6CC5-22F1-6D42-B825-0A90A2DD3138}"/>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0" name="Text Placeholder 17">
            <a:extLst>
              <a:ext uri="{FF2B5EF4-FFF2-40B4-BE49-F238E27FC236}">
                <a16:creationId xmlns:a16="http://schemas.microsoft.com/office/drawing/2014/main" id="{485568F6-B4A3-AA46-8B36-F48C3FEFA8BE}"/>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2" name="Text Placeholder 7">
            <a:extLst>
              <a:ext uri="{FF2B5EF4-FFF2-40B4-BE49-F238E27FC236}">
                <a16:creationId xmlns:a16="http://schemas.microsoft.com/office/drawing/2014/main" id="{B9487FD9-A740-3B48-A66B-A19D9FBA4C53}"/>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292613136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ack cover_5">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person, game, white&#10;&#10;Description automatically generated">
            <a:extLst>
              <a:ext uri="{FF2B5EF4-FFF2-40B4-BE49-F238E27FC236}">
                <a16:creationId xmlns:a16="http://schemas.microsoft.com/office/drawing/2014/main" id="{3F7357BE-4A92-7F4F-B642-CC61FF844D6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extBox 18">
            <a:extLst>
              <a:ext uri="{FF2B5EF4-FFF2-40B4-BE49-F238E27FC236}">
                <a16:creationId xmlns:a16="http://schemas.microsoft.com/office/drawing/2014/main" id="{B17B9CCF-9F75-FB47-8E14-F2D317837A65}"/>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5F1F5278-3860-C247-B4CE-7D288EF70BA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1" name="Text Placeholder 17">
            <a:extLst>
              <a:ext uri="{FF2B5EF4-FFF2-40B4-BE49-F238E27FC236}">
                <a16:creationId xmlns:a16="http://schemas.microsoft.com/office/drawing/2014/main" id="{4841BE0D-9604-7B48-9E4E-4A620636F035}"/>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5" name="Text Placeholder 17">
            <a:extLst>
              <a:ext uri="{FF2B5EF4-FFF2-40B4-BE49-F238E27FC236}">
                <a16:creationId xmlns:a16="http://schemas.microsoft.com/office/drawing/2014/main" id="{F2B656EC-735E-2442-ADC1-189294D1C3F3}"/>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8" name="Text Placeholder 17">
            <a:extLst>
              <a:ext uri="{FF2B5EF4-FFF2-40B4-BE49-F238E27FC236}">
                <a16:creationId xmlns:a16="http://schemas.microsoft.com/office/drawing/2014/main" id="{B99AE345-1ED6-F54D-B4E8-A6104CDD5ACD}"/>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0" name="Text Placeholder 17">
            <a:extLst>
              <a:ext uri="{FF2B5EF4-FFF2-40B4-BE49-F238E27FC236}">
                <a16:creationId xmlns:a16="http://schemas.microsoft.com/office/drawing/2014/main" id="{AE3E3401-10E0-3244-98CE-EC528138AD79}"/>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2" name="Text Placeholder 7">
            <a:extLst>
              <a:ext uri="{FF2B5EF4-FFF2-40B4-BE49-F238E27FC236}">
                <a16:creationId xmlns:a16="http://schemas.microsoft.com/office/drawing/2014/main" id="{1B68893F-B369-9E48-9ECB-F598E4090DFE}"/>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148524258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ack cover_6">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iron, toothbrush, sitting, white&#10;&#10;Description automatically generated">
            <a:extLst>
              <a:ext uri="{FF2B5EF4-FFF2-40B4-BE49-F238E27FC236}">
                <a16:creationId xmlns:a16="http://schemas.microsoft.com/office/drawing/2014/main" id="{B845B4C2-9ABE-624A-B548-1566480E9B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8" name="TextBox 27">
            <a:extLst>
              <a:ext uri="{FF2B5EF4-FFF2-40B4-BE49-F238E27FC236}">
                <a16:creationId xmlns:a16="http://schemas.microsoft.com/office/drawing/2014/main" id="{72ADB0B5-8DB4-5645-A2EE-BDFB6623255F}"/>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1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1" name="Picture 10" descr="A close up of a flower&#10;&#10;Description automatically generated">
            <a:extLst>
              <a:ext uri="{FF2B5EF4-FFF2-40B4-BE49-F238E27FC236}">
                <a16:creationId xmlns:a16="http://schemas.microsoft.com/office/drawing/2014/main" id="{4DFE791F-2EDD-9845-BABE-AAFE7F3BF40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2" name="Text Placeholder 17">
            <a:extLst>
              <a:ext uri="{FF2B5EF4-FFF2-40B4-BE49-F238E27FC236}">
                <a16:creationId xmlns:a16="http://schemas.microsoft.com/office/drawing/2014/main" id="{EAA6D689-EB63-5049-B91B-49EE15491BE8}"/>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3" name="Text Placeholder 17">
            <a:extLst>
              <a:ext uri="{FF2B5EF4-FFF2-40B4-BE49-F238E27FC236}">
                <a16:creationId xmlns:a16="http://schemas.microsoft.com/office/drawing/2014/main" id="{3F0C96B9-B44B-F04C-A3FB-493267A74C30}"/>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4" name="Text Placeholder 17">
            <a:extLst>
              <a:ext uri="{FF2B5EF4-FFF2-40B4-BE49-F238E27FC236}">
                <a16:creationId xmlns:a16="http://schemas.microsoft.com/office/drawing/2014/main" id="{392B2CDD-7834-1247-BF81-729BA1CCCA7D}"/>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5" name="Text Placeholder 17">
            <a:extLst>
              <a:ext uri="{FF2B5EF4-FFF2-40B4-BE49-F238E27FC236}">
                <a16:creationId xmlns:a16="http://schemas.microsoft.com/office/drawing/2014/main" id="{902B5C10-BDC3-7841-A05A-2674141002FE}"/>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6" name="Text Placeholder 7">
            <a:extLst>
              <a:ext uri="{FF2B5EF4-FFF2-40B4-BE49-F238E27FC236}">
                <a16:creationId xmlns:a16="http://schemas.microsoft.com/office/drawing/2014/main" id="{9F9122EA-1011-264B-B2D6-F1FC1E37EB37}"/>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389180945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Introduction / overview">
    <p:spTree>
      <p:nvGrpSpPr>
        <p:cNvPr id="1" name=""/>
        <p:cNvGrpSpPr/>
        <p:nvPr/>
      </p:nvGrpSpPr>
      <p:grpSpPr>
        <a:xfrm>
          <a:off x="0" y="0"/>
          <a:ext cx="0" cy="0"/>
          <a:chOff x="0" y="0"/>
          <a:chExt cx="0" cy="0"/>
        </a:xfrm>
      </p:grpSpPr>
      <p:sp>
        <p:nvSpPr>
          <p:cNvPr id="2" name="Title 1"/>
          <p:cNvSpPr>
            <a:spLocks noGrp="1"/>
          </p:cNvSpPr>
          <p:nvPr>
            <p:ph type="ctrTitle"/>
          </p:nvPr>
        </p:nvSpPr>
        <p:spPr>
          <a:xfrm>
            <a:off x="478368" y="2877504"/>
            <a:ext cx="5505873" cy="1928176"/>
          </a:xfrm>
          <a:prstGeom prst="rect">
            <a:avLst/>
          </a:prstGeom>
        </p:spPr>
        <p:txBody>
          <a:bodyPr anchor="t">
            <a:noAutofit/>
          </a:bodyPr>
          <a:lstStyle>
            <a:lvl1pPr algn="l">
              <a:defRPr sz="2200">
                <a:solidFill>
                  <a:schemeClr val="tx2"/>
                </a:solidFill>
              </a:defRPr>
            </a:lvl1pPr>
          </a:lstStyle>
          <a:p>
            <a:r>
              <a:rPr lang="en-US"/>
              <a:t>Click to edit Master title style</a:t>
            </a:r>
          </a:p>
        </p:txBody>
      </p:sp>
      <p:sp>
        <p:nvSpPr>
          <p:cNvPr id="3" name="Subtitle 2"/>
          <p:cNvSpPr>
            <a:spLocks noGrp="1"/>
          </p:cNvSpPr>
          <p:nvPr>
            <p:ph type="subTitle" idx="1"/>
          </p:nvPr>
        </p:nvSpPr>
        <p:spPr>
          <a:xfrm>
            <a:off x="478368" y="4805680"/>
            <a:ext cx="5505873" cy="1463040"/>
          </a:xfrm>
          <a:prstGeom prst="rect">
            <a:avLst/>
          </a:prstGeom>
        </p:spPr>
        <p:txBody>
          <a:bodyPr anchor="b">
            <a:noAutofit/>
          </a:bodyPr>
          <a:lstStyle>
            <a:lvl1pPr marL="0" indent="0" algn="l">
              <a:lnSpc>
                <a:spcPts val="1100"/>
              </a:lnSpc>
              <a:buNone/>
              <a:defRPr sz="1100">
                <a:solidFill>
                  <a:schemeClr val="tx1">
                    <a:lumMod val="75000"/>
                    <a:lumOff val="2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278276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Default page - 50%">
    <p:bg>
      <p:bgPr>
        <a:solidFill>
          <a:schemeClr val="bg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78367" y="1026365"/>
            <a:ext cx="11232090" cy="565898"/>
          </a:xfrm>
          <a:prstGeom prst="rect">
            <a:avLst/>
          </a:prstGeom>
        </p:spPr>
        <p:txBody>
          <a:bodyPr lIns="0" tIns="72000"/>
          <a:lstStyle>
            <a:lvl1pPr>
              <a:defRPr sz="1600" b="0">
                <a:solidFill>
                  <a:schemeClr val="tx2"/>
                </a:solidFill>
              </a:defRPr>
            </a:lvl1pPr>
            <a:lvl2pPr marL="361950" indent="-180975">
              <a:defRPr sz="1100"/>
            </a:lvl2pPr>
            <a:lvl3pPr marL="361950" indent="-180975">
              <a:defRPr sz="1100"/>
            </a:lvl3pPr>
            <a:lvl4pPr marL="361950" indent="-180975">
              <a:defRPr sz="1100"/>
            </a:lvl4pPr>
            <a:lvl5pPr marL="361950" indent="-180975">
              <a:defRPr sz="1100"/>
            </a:lvl5pPr>
          </a:lstStyle>
          <a:p>
            <a:pPr lvl="0"/>
            <a:r>
              <a:rPr lang="en-US"/>
              <a:t>Click to edit Master text styles</a:t>
            </a:r>
          </a:p>
        </p:txBody>
      </p:sp>
      <p:sp>
        <p:nvSpPr>
          <p:cNvPr id="9" name="Text Placeholder 8"/>
          <p:cNvSpPr>
            <a:spLocks noGrp="1"/>
          </p:cNvSpPr>
          <p:nvPr>
            <p:ph type="body" sz="quarter" idx="11"/>
          </p:nvPr>
        </p:nvSpPr>
        <p:spPr>
          <a:xfrm>
            <a:off x="477837" y="1592263"/>
            <a:ext cx="11232089" cy="4537075"/>
          </a:xfrm>
        </p:spPr>
        <p:txBody>
          <a:bodyPr/>
          <a:lstStyle>
            <a:lvl1pPr>
              <a:defRPr sz="1200"/>
            </a:lvl1pPr>
            <a:lvl2pPr>
              <a:defRPr sz="1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a:extLst>
              <a:ext uri="{FF2B5EF4-FFF2-40B4-BE49-F238E27FC236}">
                <a16:creationId xmlns:a16="http://schemas.microsoft.com/office/drawing/2014/main" id="{0809EF4A-2D33-42DD-8200-FF77CC3930EB}"/>
              </a:ext>
            </a:extLst>
          </p:cNvPr>
          <p:cNvSpPr>
            <a:spLocks noGrp="1"/>
          </p:cNvSpPr>
          <p:nvPr>
            <p:ph type="title"/>
          </p:nvPr>
        </p:nvSpPr>
        <p:spPr>
          <a:xfrm>
            <a:off x="478368" y="0"/>
            <a:ext cx="11233150" cy="1026365"/>
          </a:xfrm>
        </p:spPr>
        <p:txBody>
          <a:bodyPr/>
          <a:lstStyle/>
          <a:p>
            <a:r>
              <a:rPr lang="en-US"/>
              <a:t>Click to edit Master title style</a:t>
            </a:r>
            <a:endParaRPr lang="en-GB"/>
          </a:p>
        </p:txBody>
      </p:sp>
    </p:spTree>
    <p:extLst>
      <p:ext uri="{BB962C8B-B14F-4D97-AF65-F5344CB8AC3E}">
        <p14:creationId xmlns:p14="http://schemas.microsoft.com/office/powerpoint/2010/main" val="2437746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x Columns - Blue / 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D0FDE-F3B7-E9ED-8FBE-820CEDD9BD52}"/>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1" name="Text Placeholder 12">
            <a:extLst>
              <a:ext uri="{FF2B5EF4-FFF2-40B4-BE49-F238E27FC236}">
                <a16:creationId xmlns:a16="http://schemas.microsoft.com/office/drawing/2014/main" id="{CBD94631-F21A-E9A8-E18B-36A8C2123E83}"/>
              </a:ext>
            </a:extLst>
          </p:cNvPr>
          <p:cNvSpPr>
            <a:spLocks noGrp="1"/>
          </p:cNvSpPr>
          <p:nvPr>
            <p:ph type="body" sz="quarter" idx="14"/>
          </p:nvPr>
        </p:nvSpPr>
        <p:spPr>
          <a:xfrm>
            <a:off x="550864"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2" name="Text Placeholder 12">
            <a:extLst>
              <a:ext uri="{FF2B5EF4-FFF2-40B4-BE49-F238E27FC236}">
                <a16:creationId xmlns:a16="http://schemas.microsoft.com/office/drawing/2014/main" id="{78E62AFA-8CAC-DF8F-ECBF-F7D5E587FEDD}"/>
              </a:ext>
            </a:extLst>
          </p:cNvPr>
          <p:cNvSpPr>
            <a:spLocks noGrp="1"/>
          </p:cNvSpPr>
          <p:nvPr>
            <p:ph type="body" sz="quarter" idx="17"/>
          </p:nvPr>
        </p:nvSpPr>
        <p:spPr>
          <a:xfrm>
            <a:off x="4295151" y="1808163"/>
            <a:ext cx="3204000" cy="4321175"/>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FB29449A-7F88-8F52-2169-99B80B568955}"/>
              </a:ext>
            </a:extLst>
          </p:cNvPr>
          <p:cNvSpPr>
            <a:spLocks noGrp="1"/>
          </p:cNvSpPr>
          <p:nvPr>
            <p:ph type="body" sz="quarter" idx="18"/>
          </p:nvPr>
        </p:nvSpPr>
        <p:spPr>
          <a:xfrm>
            <a:off x="8437136" y="1808163"/>
            <a:ext cx="3204000" cy="432117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4450821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7_2 Col - 6_smaller colum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05DF56D-181F-4DE8-B98C-E1EC73880A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F94AE2F8-4B2E-48BE-89D1-BB7DC6EB48DC}"/>
              </a:ext>
            </a:extLst>
          </p:cNvPr>
          <p:cNvSpPr/>
          <p:nvPr/>
        </p:nvSpPr>
        <p:spPr>
          <a:xfrm>
            <a:off x="0" y="0"/>
            <a:ext cx="12191999" cy="6858000"/>
          </a:xfrm>
          <a:prstGeom prst="rect">
            <a:avLst/>
          </a:prstGeom>
          <a:solidFill>
            <a:srgbClr val="D1D7E1">
              <a:alpha val="8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400ADF09-A826-4BF7-AC10-967320E5241A}"/>
              </a:ext>
            </a:extLst>
          </p:cNvPr>
          <p:cNvSpPr/>
          <p:nvPr userDrawn="1"/>
        </p:nvSpPr>
        <p:spPr>
          <a:xfrm>
            <a:off x="3439060" y="0"/>
            <a:ext cx="8752939" cy="66132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GB"/>
          </a:p>
        </p:txBody>
      </p:sp>
      <p:pic>
        <p:nvPicPr>
          <p:cNvPr id="13" name="Picture 12">
            <a:extLst>
              <a:ext uri="{FF2B5EF4-FFF2-40B4-BE49-F238E27FC236}">
                <a16:creationId xmlns:a16="http://schemas.microsoft.com/office/drawing/2014/main" id="{E48BF3C8-B39D-4D75-A0E9-C363D0734BC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6538F538-4D1D-44B3-8AC8-1C1CE6C4B142}"/>
              </a:ext>
            </a:extLst>
          </p:cNvPr>
          <p:cNvSpPr/>
          <p:nvPr userDrawn="1"/>
        </p:nvSpPr>
        <p:spPr>
          <a:xfrm>
            <a:off x="0" y="0"/>
            <a:ext cx="12191999" cy="6858000"/>
          </a:xfrm>
          <a:prstGeom prst="rect">
            <a:avLst/>
          </a:prstGeom>
          <a:solidFill>
            <a:srgbClr val="D1D7E1">
              <a:alpha val="8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 name="Rectangle 2">
            <a:extLst>
              <a:ext uri="{FF2B5EF4-FFF2-40B4-BE49-F238E27FC236}">
                <a16:creationId xmlns:a16="http://schemas.microsoft.com/office/drawing/2014/main" id="{F3609A4A-F218-4100-9336-745C473BF7F3}"/>
              </a:ext>
            </a:extLst>
          </p:cNvPr>
          <p:cNvSpPr/>
          <p:nvPr/>
        </p:nvSpPr>
        <p:spPr>
          <a:xfrm>
            <a:off x="3439060" y="0"/>
            <a:ext cx="8752939" cy="66132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9D9B3C71-437D-4297-9AFD-39CDD6DA6FD9}"/>
              </a:ext>
            </a:extLst>
          </p:cNvPr>
          <p:cNvSpPr/>
          <p:nvPr/>
        </p:nvSpPr>
        <p:spPr>
          <a:xfrm>
            <a:off x="1972210" y="0"/>
            <a:ext cx="10219789" cy="66132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 name="Text Placeholder 4"/>
          <p:cNvSpPr>
            <a:spLocks noGrp="1"/>
          </p:cNvSpPr>
          <p:nvPr>
            <p:ph type="body" sz="quarter" idx="10"/>
          </p:nvPr>
        </p:nvSpPr>
        <p:spPr>
          <a:xfrm>
            <a:off x="1972209" y="1455576"/>
            <a:ext cx="9741955" cy="3797559"/>
          </a:xfrm>
          <a:prstGeom prst="rect">
            <a:avLst/>
          </a:prstGeom>
        </p:spPr>
        <p:txBody>
          <a:bodyPr lIns="360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B705659E-414F-436E-9332-6035DD433CDB}"/>
              </a:ext>
            </a:extLst>
          </p:cNvPr>
          <p:cNvSpPr>
            <a:spLocks noGrp="1"/>
          </p:cNvSpPr>
          <p:nvPr>
            <p:ph type="title"/>
          </p:nvPr>
        </p:nvSpPr>
        <p:spPr>
          <a:xfrm>
            <a:off x="1972210" y="0"/>
            <a:ext cx="9741954" cy="709127"/>
          </a:xfrm>
        </p:spPr>
        <p:txBody>
          <a:bodyPr lIns="360000"/>
          <a:lstStyle>
            <a:lvl1pPr>
              <a:defRPr sz="1400">
                <a:solidFill>
                  <a:schemeClr val="bg2">
                    <a:lumMod val="60000"/>
                    <a:lumOff val="40000"/>
                  </a:schemeClr>
                </a:solidFill>
              </a:defRPr>
            </a:lvl1pPr>
          </a:lstStyle>
          <a:p>
            <a:r>
              <a:rPr lang="en-US"/>
              <a:t>Click to edit Master title style</a:t>
            </a:r>
            <a:endParaRPr lang="en-GB"/>
          </a:p>
        </p:txBody>
      </p:sp>
      <p:sp>
        <p:nvSpPr>
          <p:cNvPr id="12" name="Text Placeholder 12">
            <a:extLst>
              <a:ext uri="{FF2B5EF4-FFF2-40B4-BE49-F238E27FC236}">
                <a16:creationId xmlns:a16="http://schemas.microsoft.com/office/drawing/2014/main" id="{E44E8731-6864-4B2D-BBC5-C45A9D40081C}"/>
              </a:ext>
            </a:extLst>
          </p:cNvPr>
          <p:cNvSpPr>
            <a:spLocks noGrp="1"/>
          </p:cNvSpPr>
          <p:nvPr>
            <p:ph type="body" sz="quarter" idx="11"/>
          </p:nvPr>
        </p:nvSpPr>
        <p:spPr>
          <a:xfrm>
            <a:off x="1972210" y="709127"/>
            <a:ext cx="9741954" cy="569167"/>
          </a:xfrm>
          <a:prstGeom prst="rect">
            <a:avLst/>
          </a:prstGeom>
          <a:noFill/>
          <a:ln>
            <a:noFill/>
          </a:ln>
        </p:spPr>
        <p:txBody>
          <a:bodyPr lIns="360000" rIns="144000" anchor="t">
            <a:noAutofit/>
          </a:bodyPr>
          <a:lstStyle>
            <a:lvl1pPr>
              <a:defRPr sz="2200" b="0">
                <a:solidFill>
                  <a:schemeClr val="tx2"/>
                </a:solidFill>
              </a:defRPr>
            </a:lvl1pPr>
          </a:lstStyle>
          <a:p>
            <a:pPr lvl="0"/>
            <a:r>
              <a:rPr lang="en-US"/>
              <a:t>Click to edit Master text styles</a:t>
            </a:r>
          </a:p>
        </p:txBody>
      </p:sp>
      <p:sp>
        <p:nvSpPr>
          <p:cNvPr id="10" name="Rectangle 9">
            <a:extLst>
              <a:ext uri="{FF2B5EF4-FFF2-40B4-BE49-F238E27FC236}">
                <a16:creationId xmlns:a16="http://schemas.microsoft.com/office/drawing/2014/main" id="{13C727E3-9F7D-403F-AF44-AD6A10A7925E}"/>
              </a:ext>
            </a:extLst>
          </p:cNvPr>
          <p:cNvSpPr/>
          <p:nvPr/>
        </p:nvSpPr>
        <p:spPr>
          <a:xfrm>
            <a:off x="0" y="6618000"/>
            <a:ext cx="6096000" cy="2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44000" rtlCol="0" anchor="ct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chemeClr val="accent2"/>
                </a:solidFill>
                <a:effectLst/>
                <a:uLnTx/>
                <a:uFillTx/>
              </a:rPr>
              <a:t>© 2021 DECISION RESOURCES, LLC. PART OF CLARIVATE. ALL RIGHTS RESERVED. CONFIDENTIAL.</a:t>
            </a:r>
          </a:p>
        </p:txBody>
      </p:sp>
      <p:sp>
        <p:nvSpPr>
          <p:cNvPr id="11" name="TextBox 10">
            <a:extLst>
              <a:ext uri="{FF2B5EF4-FFF2-40B4-BE49-F238E27FC236}">
                <a16:creationId xmlns:a16="http://schemas.microsoft.com/office/drawing/2014/main" id="{D93836B5-804D-4800-B522-B6BDEBE2E28F}"/>
              </a:ext>
            </a:extLst>
          </p:cNvPr>
          <p:cNvSpPr txBox="1"/>
          <p:nvPr/>
        </p:nvSpPr>
        <p:spPr>
          <a:xfrm>
            <a:off x="6096000" y="6618000"/>
            <a:ext cx="6096000" cy="240000"/>
          </a:xfrm>
          <a:prstGeom prst="rect">
            <a:avLst/>
          </a:prstGeom>
          <a:noFill/>
        </p:spPr>
        <p:txBody>
          <a:bodyPr wrap="square" rIns="144000" anchor="ctr" anchorCtr="0">
            <a:noAutofit/>
          </a:bodyPr>
          <a:lstStyle>
            <a:defPPr>
              <a:defRPr lang="en-US"/>
            </a:defPPr>
            <a:lvl1pPr marL="49213" algn="r">
              <a:defRPr kumimoji="0" sz="800" b="0" i="0" u="none" strike="noStrike" kern="0" cap="none" spc="30" normalizeH="0" baseline="0">
                <a:ln>
                  <a:noFill/>
                </a:ln>
                <a:solidFill>
                  <a:schemeClr val="bg1"/>
                </a:solidFill>
                <a:effectLst/>
                <a:uLnTx/>
                <a:uFillTx/>
              </a:defRPr>
            </a:lvl1pPr>
          </a:lstStyle>
          <a:p>
            <a:pPr lvl="0"/>
            <a:r>
              <a:rPr lang="en-GB" sz="700">
                <a:solidFill>
                  <a:schemeClr val="accent2"/>
                </a:solidFill>
              </a:rPr>
              <a:t>FOR INTERNAL USE ONLY</a:t>
            </a:r>
          </a:p>
        </p:txBody>
      </p:sp>
      <p:sp>
        <p:nvSpPr>
          <p:cNvPr id="17" name="Rectangle 16">
            <a:extLst>
              <a:ext uri="{FF2B5EF4-FFF2-40B4-BE49-F238E27FC236}">
                <a16:creationId xmlns:a16="http://schemas.microsoft.com/office/drawing/2014/main" id="{EEDFB763-2129-496B-A510-4646E0053D58}"/>
              </a:ext>
            </a:extLst>
          </p:cNvPr>
          <p:cNvSpPr/>
          <p:nvPr userDrawn="1"/>
        </p:nvSpPr>
        <p:spPr>
          <a:xfrm>
            <a:off x="0" y="6618000"/>
            <a:ext cx="6096000" cy="2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44000" rtlCol="0" anchor="ct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a:ln>
                  <a:noFill/>
                </a:ln>
                <a:solidFill>
                  <a:schemeClr val="accent2"/>
                </a:solidFill>
                <a:effectLst/>
                <a:uLnTx/>
                <a:uFillTx/>
              </a:rPr>
              <a:t>© 2021 DECISION RESOURCES, LLC. PART OF CLARIVATE. ALL RIGHTS RESERVED. CONFIDENTIAL.</a:t>
            </a:r>
          </a:p>
        </p:txBody>
      </p:sp>
      <p:sp>
        <p:nvSpPr>
          <p:cNvPr id="18" name="TextBox 17">
            <a:extLst>
              <a:ext uri="{FF2B5EF4-FFF2-40B4-BE49-F238E27FC236}">
                <a16:creationId xmlns:a16="http://schemas.microsoft.com/office/drawing/2014/main" id="{F7B363E3-4BA0-412B-8B98-D5C1533BD868}"/>
              </a:ext>
            </a:extLst>
          </p:cNvPr>
          <p:cNvSpPr txBox="1"/>
          <p:nvPr userDrawn="1"/>
        </p:nvSpPr>
        <p:spPr>
          <a:xfrm>
            <a:off x="6096000" y="6618000"/>
            <a:ext cx="6096000" cy="240000"/>
          </a:xfrm>
          <a:prstGeom prst="rect">
            <a:avLst/>
          </a:prstGeom>
          <a:noFill/>
        </p:spPr>
        <p:txBody>
          <a:bodyPr wrap="square" rIns="144000" anchor="ctr" anchorCtr="0">
            <a:noAutofit/>
          </a:bodyPr>
          <a:lstStyle>
            <a:defPPr>
              <a:defRPr lang="en-US"/>
            </a:defPPr>
            <a:lvl1pPr marL="49213" algn="r">
              <a:defRPr kumimoji="0" sz="800" b="0" i="0" u="none" strike="noStrike" kern="0" cap="none" spc="30" normalizeH="0" baseline="0">
                <a:ln>
                  <a:noFill/>
                </a:ln>
                <a:solidFill>
                  <a:schemeClr val="bg1"/>
                </a:solidFill>
                <a:effectLst/>
                <a:uLnTx/>
                <a:uFillTx/>
              </a:defRPr>
            </a:lvl1pPr>
          </a:lstStyle>
          <a:p>
            <a:pPr lvl="0"/>
            <a:r>
              <a:rPr lang="en-GB" sz="700">
                <a:solidFill>
                  <a:schemeClr val="accent2"/>
                </a:solidFill>
              </a:rPr>
              <a:t>FOR INTERNAL USE ONLY</a:t>
            </a:r>
          </a:p>
        </p:txBody>
      </p:sp>
      <p:sp>
        <p:nvSpPr>
          <p:cNvPr id="19" name="Rectangle 18">
            <a:extLst>
              <a:ext uri="{FF2B5EF4-FFF2-40B4-BE49-F238E27FC236}">
                <a16:creationId xmlns:a16="http://schemas.microsoft.com/office/drawing/2014/main" id="{9F3659B3-F480-402F-83F5-63C0800A9D3A}"/>
              </a:ext>
            </a:extLst>
          </p:cNvPr>
          <p:cNvSpPr/>
          <p:nvPr userDrawn="1"/>
        </p:nvSpPr>
        <p:spPr>
          <a:xfrm>
            <a:off x="1846003" y="102638"/>
            <a:ext cx="126207" cy="6408000"/>
          </a:xfrm>
          <a:prstGeom prst="rect">
            <a:avLst/>
          </a:prstGeom>
          <a:solidFill>
            <a:schemeClr val="accent6">
              <a:alpha val="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0072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Blank inc.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A8959-FBC3-4168-82F4-D0DCC8A4947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6919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Contents">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B5419A1-F6F5-CE4D-B8ED-201166F8865E}"/>
              </a:ext>
            </a:extLst>
          </p:cNvPr>
          <p:cNvPicPr>
            <a:picLocks noChangeAspect="1"/>
          </p:cNvPicPr>
          <p:nvPr userDrawn="1"/>
        </p:nvPicPr>
        <p:blipFill>
          <a:blip r:embed="rId2"/>
          <a:stretch>
            <a:fillRect/>
          </a:stretch>
        </p:blipFill>
        <p:spPr>
          <a:xfrm>
            <a:off x="3175" y="0"/>
            <a:ext cx="8972550" cy="6858000"/>
          </a:xfrm>
          <a:prstGeom prst="rect">
            <a:avLst/>
          </a:prstGeom>
        </p:spPr>
      </p:pic>
      <p:sp>
        <p:nvSpPr>
          <p:cNvPr id="15" name="Text Placeholder 4">
            <a:extLst>
              <a:ext uri="{FF2B5EF4-FFF2-40B4-BE49-F238E27FC236}">
                <a16:creationId xmlns:a16="http://schemas.microsoft.com/office/drawing/2014/main" id="{7D9DD87A-0E01-C54F-846B-A6E511B7BF8E}"/>
              </a:ext>
            </a:extLst>
          </p:cNvPr>
          <p:cNvSpPr>
            <a:spLocks noGrp="1"/>
          </p:cNvSpPr>
          <p:nvPr>
            <p:ph type="body" sz="quarter" idx="15" hasCustomPrompt="1"/>
          </p:nvPr>
        </p:nvSpPr>
        <p:spPr>
          <a:xfrm>
            <a:off x="9925200" y="1157417"/>
            <a:ext cx="1679425" cy="219359"/>
          </a:xfrm>
        </p:spPr>
        <p:txBody>
          <a:bodyPr>
            <a:noAutofit/>
          </a:bodyPr>
          <a:lstStyle>
            <a:lvl1pPr marL="0" indent="0">
              <a:lnSpc>
                <a:spcPct val="85000"/>
              </a:lnSpc>
              <a:spcAft>
                <a:spcPts val="0"/>
              </a:spcAft>
              <a:buNone/>
              <a:defRPr sz="2000" b="0">
                <a:solidFill>
                  <a:schemeClr val="tx1"/>
                </a:solidFill>
              </a:defRPr>
            </a:lvl1pPr>
            <a:lvl2pPr marL="457189" indent="0">
              <a:buNone/>
              <a:defRPr/>
            </a:lvl2pPr>
          </a:lstStyle>
          <a:p>
            <a:pPr lvl="0"/>
            <a:r>
              <a:rPr lang="en-US"/>
              <a:t>Contents</a:t>
            </a:r>
          </a:p>
        </p:txBody>
      </p:sp>
      <p:pic>
        <p:nvPicPr>
          <p:cNvPr id="9" name="Picture 8" descr="A close up of a flower&#10;&#10;Description automatically generated">
            <a:extLst>
              <a:ext uri="{FF2B5EF4-FFF2-40B4-BE49-F238E27FC236}">
                <a16:creationId xmlns:a16="http://schemas.microsoft.com/office/drawing/2014/main" id="{99B101DC-FF5C-414B-ADEF-B7CD74221D4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5367" y="6301117"/>
            <a:ext cx="1258035" cy="376657"/>
          </a:xfrm>
          <a:prstGeom prst="rect">
            <a:avLst/>
          </a:prstGeom>
        </p:spPr>
      </p:pic>
      <p:sp>
        <p:nvSpPr>
          <p:cNvPr id="10" name="Text Placeholder 7">
            <a:extLst>
              <a:ext uri="{FF2B5EF4-FFF2-40B4-BE49-F238E27FC236}">
                <a16:creationId xmlns:a16="http://schemas.microsoft.com/office/drawing/2014/main" id="{BB009121-6B3B-E345-9288-021819CDEB24}"/>
              </a:ext>
            </a:extLst>
          </p:cNvPr>
          <p:cNvSpPr>
            <a:spLocks noGrp="1"/>
          </p:cNvSpPr>
          <p:nvPr>
            <p:ph type="body" sz="quarter" idx="16" hasCustomPrompt="1"/>
          </p:nvPr>
        </p:nvSpPr>
        <p:spPr>
          <a:xfrm>
            <a:off x="9521562" y="2015841"/>
            <a:ext cx="211401" cy="219359"/>
          </a:xfrm>
        </p:spPr>
        <p:txBody>
          <a:bodyPr wrap="square">
            <a:noAutofit/>
          </a:bodyPr>
          <a:lstStyle>
            <a:lvl1pPr marL="0" indent="0" algn="r">
              <a:lnSpc>
                <a:spcPct val="85000"/>
              </a:lnSpc>
              <a:spcAft>
                <a:spcPts val="0"/>
              </a:spcAft>
              <a:buNone/>
              <a:defRPr sz="1400" b="0" spc="20" baseline="0">
                <a:solidFill>
                  <a:schemeClr val="tx1"/>
                </a:solidFill>
              </a:defRPr>
            </a:lvl1pPr>
          </a:lstStyle>
          <a:p>
            <a:pPr lvl="0"/>
            <a:r>
              <a:rPr lang="en-US"/>
              <a:t>00</a:t>
            </a:r>
          </a:p>
        </p:txBody>
      </p:sp>
      <p:sp>
        <p:nvSpPr>
          <p:cNvPr id="12" name="Text Placeholder 7">
            <a:extLst>
              <a:ext uri="{FF2B5EF4-FFF2-40B4-BE49-F238E27FC236}">
                <a16:creationId xmlns:a16="http://schemas.microsoft.com/office/drawing/2014/main" id="{99F054C7-8BC7-9B45-A3D5-CDF2796D6593}"/>
              </a:ext>
            </a:extLst>
          </p:cNvPr>
          <p:cNvSpPr>
            <a:spLocks noGrp="1"/>
          </p:cNvSpPr>
          <p:nvPr>
            <p:ph type="body" sz="quarter" idx="17" hasCustomPrompt="1"/>
          </p:nvPr>
        </p:nvSpPr>
        <p:spPr>
          <a:xfrm>
            <a:off x="9521562" y="2362200"/>
            <a:ext cx="211401" cy="219359"/>
          </a:xfrm>
        </p:spPr>
        <p:txBody>
          <a:bodyPr wrap="square">
            <a:noAutofit/>
          </a:bodyPr>
          <a:lstStyle>
            <a:lvl1pPr marL="0" indent="0" algn="r">
              <a:lnSpc>
                <a:spcPct val="85000"/>
              </a:lnSpc>
              <a:spcAft>
                <a:spcPts val="0"/>
              </a:spcAft>
              <a:buNone/>
              <a:defRPr sz="1400" b="0" spc="20" baseline="0">
                <a:solidFill>
                  <a:schemeClr val="tx1"/>
                </a:solidFill>
              </a:defRPr>
            </a:lvl1pPr>
          </a:lstStyle>
          <a:p>
            <a:pPr lvl="0"/>
            <a:r>
              <a:rPr lang="en-US"/>
              <a:t>00</a:t>
            </a:r>
          </a:p>
        </p:txBody>
      </p:sp>
      <p:sp>
        <p:nvSpPr>
          <p:cNvPr id="17" name="Text Placeholder 7">
            <a:extLst>
              <a:ext uri="{FF2B5EF4-FFF2-40B4-BE49-F238E27FC236}">
                <a16:creationId xmlns:a16="http://schemas.microsoft.com/office/drawing/2014/main" id="{B0945C48-5930-7D41-BD98-183AC5D65572}"/>
              </a:ext>
            </a:extLst>
          </p:cNvPr>
          <p:cNvSpPr>
            <a:spLocks noGrp="1"/>
          </p:cNvSpPr>
          <p:nvPr>
            <p:ph type="body" sz="quarter" idx="18" hasCustomPrompt="1"/>
          </p:nvPr>
        </p:nvSpPr>
        <p:spPr>
          <a:xfrm>
            <a:off x="9521561" y="2909220"/>
            <a:ext cx="211401" cy="219359"/>
          </a:xfrm>
        </p:spPr>
        <p:txBody>
          <a:bodyPr wrap="square">
            <a:noAutofit/>
          </a:bodyPr>
          <a:lstStyle>
            <a:lvl1pPr marL="0" indent="0" algn="r">
              <a:lnSpc>
                <a:spcPct val="85000"/>
              </a:lnSpc>
              <a:spcAft>
                <a:spcPts val="0"/>
              </a:spcAft>
              <a:buNone/>
              <a:defRPr sz="1400" b="0" spc="20" baseline="0">
                <a:solidFill>
                  <a:schemeClr val="tx1"/>
                </a:solidFill>
              </a:defRPr>
            </a:lvl1pPr>
          </a:lstStyle>
          <a:p>
            <a:pPr lvl="0"/>
            <a:r>
              <a:rPr lang="en-US"/>
              <a:t>00</a:t>
            </a:r>
          </a:p>
        </p:txBody>
      </p:sp>
      <p:sp>
        <p:nvSpPr>
          <p:cNvPr id="18" name="Text Placeholder 7">
            <a:extLst>
              <a:ext uri="{FF2B5EF4-FFF2-40B4-BE49-F238E27FC236}">
                <a16:creationId xmlns:a16="http://schemas.microsoft.com/office/drawing/2014/main" id="{2721B809-67FB-5246-A4D0-69DB6FE2FD3C}"/>
              </a:ext>
            </a:extLst>
          </p:cNvPr>
          <p:cNvSpPr>
            <a:spLocks noGrp="1"/>
          </p:cNvSpPr>
          <p:nvPr>
            <p:ph type="body" sz="quarter" idx="19" hasCustomPrompt="1"/>
          </p:nvPr>
        </p:nvSpPr>
        <p:spPr>
          <a:xfrm>
            <a:off x="9521560" y="3255579"/>
            <a:ext cx="211401" cy="219359"/>
          </a:xfrm>
        </p:spPr>
        <p:txBody>
          <a:bodyPr wrap="square">
            <a:noAutofit/>
          </a:bodyPr>
          <a:lstStyle>
            <a:lvl1pPr marL="0" indent="0" algn="r">
              <a:lnSpc>
                <a:spcPct val="85000"/>
              </a:lnSpc>
              <a:spcAft>
                <a:spcPts val="0"/>
              </a:spcAft>
              <a:buNone/>
              <a:defRPr sz="1400" b="0" spc="20" baseline="0">
                <a:solidFill>
                  <a:schemeClr val="tx1"/>
                </a:solidFill>
              </a:defRPr>
            </a:lvl1pPr>
          </a:lstStyle>
          <a:p>
            <a:pPr lvl="0"/>
            <a:r>
              <a:rPr lang="en-US"/>
              <a:t>00</a:t>
            </a:r>
          </a:p>
        </p:txBody>
      </p:sp>
      <p:sp>
        <p:nvSpPr>
          <p:cNvPr id="19" name="Text Placeholder 7">
            <a:extLst>
              <a:ext uri="{FF2B5EF4-FFF2-40B4-BE49-F238E27FC236}">
                <a16:creationId xmlns:a16="http://schemas.microsoft.com/office/drawing/2014/main" id="{4CFDBDC6-99AC-974F-9BEF-A6CB13836CA8}"/>
              </a:ext>
            </a:extLst>
          </p:cNvPr>
          <p:cNvSpPr>
            <a:spLocks noGrp="1"/>
          </p:cNvSpPr>
          <p:nvPr>
            <p:ph type="body" sz="quarter" idx="20" hasCustomPrompt="1"/>
          </p:nvPr>
        </p:nvSpPr>
        <p:spPr>
          <a:xfrm>
            <a:off x="9521559" y="3601938"/>
            <a:ext cx="211401" cy="219359"/>
          </a:xfrm>
        </p:spPr>
        <p:txBody>
          <a:bodyPr wrap="square">
            <a:noAutofit/>
          </a:bodyPr>
          <a:lstStyle>
            <a:lvl1pPr marL="0" indent="0" algn="r">
              <a:lnSpc>
                <a:spcPct val="85000"/>
              </a:lnSpc>
              <a:spcAft>
                <a:spcPts val="0"/>
              </a:spcAft>
              <a:buNone/>
              <a:defRPr sz="1400" b="0" spc="20" baseline="0">
                <a:solidFill>
                  <a:schemeClr val="tx1"/>
                </a:solidFill>
              </a:defRPr>
            </a:lvl1pPr>
          </a:lstStyle>
          <a:p>
            <a:pPr lvl="0"/>
            <a:r>
              <a:rPr lang="en-US"/>
              <a:t>00</a:t>
            </a:r>
          </a:p>
        </p:txBody>
      </p:sp>
      <p:sp>
        <p:nvSpPr>
          <p:cNvPr id="20" name="Text Placeholder 7">
            <a:extLst>
              <a:ext uri="{FF2B5EF4-FFF2-40B4-BE49-F238E27FC236}">
                <a16:creationId xmlns:a16="http://schemas.microsoft.com/office/drawing/2014/main" id="{B15C4E0F-1368-0249-A4E0-F349D1DB3D2C}"/>
              </a:ext>
            </a:extLst>
          </p:cNvPr>
          <p:cNvSpPr>
            <a:spLocks noGrp="1"/>
          </p:cNvSpPr>
          <p:nvPr>
            <p:ph type="body" sz="quarter" idx="21" hasCustomPrompt="1"/>
          </p:nvPr>
        </p:nvSpPr>
        <p:spPr>
          <a:xfrm>
            <a:off x="9521562" y="3962006"/>
            <a:ext cx="211401" cy="219359"/>
          </a:xfrm>
        </p:spPr>
        <p:txBody>
          <a:bodyPr wrap="square">
            <a:noAutofit/>
          </a:bodyPr>
          <a:lstStyle>
            <a:lvl1pPr marL="0" indent="0" algn="r">
              <a:lnSpc>
                <a:spcPct val="85000"/>
              </a:lnSpc>
              <a:spcAft>
                <a:spcPts val="0"/>
              </a:spcAft>
              <a:buNone/>
              <a:defRPr sz="1400" b="0" spc="20" baseline="0">
                <a:solidFill>
                  <a:schemeClr val="tx1"/>
                </a:solidFill>
              </a:defRPr>
            </a:lvl1pPr>
          </a:lstStyle>
          <a:p>
            <a:pPr lvl="0"/>
            <a:r>
              <a:rPr lang="en-US"/>
              <a:t>00</a:t>
            </a:r>
          </a:p>
        </p:txBody>
      </p:sp>
      <p:sp>
        <p:nvSpPr>
          <p:cNvPr id="21" name="Text Placeholder 7">
            <a:extLst>
              <a:ext uri="{FF2B5EF4-FFF2-40B4-BE49-F238E27FC236}">
                <a16:creationId xmlns:a16="http://schemas.microsoft.com/office/drawing/2014/main" id="{36F090E3-5C3A-1842-AD84-6414419DA664}"/>
              </a:ext>
            </a:extLst>
          </p:cNvPr>
          <p:cNvSpPr>
            <a:spLocks noGrp="1"/>
          </p:cNvSpPr>
          <p:nvPr>
            <p:ph type="body" sz="quarter" idx="22" hasCustomPrompt="1"/>
          </p:nvPr>
        </p:nvSpPr>
        <p:spPr>
          <a:xfrm>
            <a:off x="9521562" y="4330592"/>
            <a:ext cx="211401" cy="219359"/>
          </a:xfrm>
        </p:spPr>
        <p:txBody>
          <a:bodyPr wrap="square">
            <a:noAutofit/>
          </a:bodyPr>
          <a:lstStyle>
            <a:lvl1pPr marL="0" indent="0" algn="r">
              <a:lnSpc>
                <a:spcPct val="85000"/>
              </a:lnSpc>
              <a:spcAft>
                <a:spcPts val="0"/>
              </a:spcAft>
              <a:buNone/>
              <a:defRPr sz="1400" b="0" spc="20" baseline="0">
                <a:solidFill>
                  <a:schemeClr val="tx1"/>
                </a:solidFill>
              </a:defRPr>
            </a:lvl1pPr>
          </a:lstStyle>
          <a:p>
            <a:pPr lvl="0"/>
            <a:r>
              <a:rPr lang="en-US"/>
              <a:t>00</a:t>
            </a:r>
          </a:p>
        </p:txBody>
      </p:sp>
      <p:sp>
        <p:nvSpPr>
          <p:cNvPr id="22" name="Text Placeholder 7">
            <a:extLst>
              <a:ext uri="{FF2B5EF4-FFF2-40B4-BE49-F238E27FC236}">
                <a16:creationId xmlns:a16="http://schemas.microsoft.com/office/drawing/2014/main" id="{A31A7E58-9ECD-0F4E-A91E-3F142D13C571}"/>
              </a:ext>
            </a:extLst>
          </p:cNvPr>
          <p:cNvSpPr>
            <a:spLocks noGrp="1"/>
          </p:cNvSpPr>
          <p:nvPr>
            <p:ph type="body" sz="quarter" idx="23" hasCustomPrompt="1"/>
          </p:nvPr>
        </p:nvSpPr>
        <p:spPr>
          <a:xfrm>
            <a:off x="9925200" y="2016000"/>
            <a:ext cx="1679575" cy="345348"/>
          </a:xfrm>
        </p:spPr>
        <p:txBody>
          <a:bodyPr wrap="square">
            <a:noAutofit/>
          </a:bodyPr>
          <a:lstStyle>
            <a:lvl1pPr marL="0" indent="0">
              <a:lnSpc>
                <a:spcPct val="85000"/>
              </a:lnSpc>
              <a:spcAft>
                <a:spcPts val="0"/>
              </a:spcAft>
              <a:buNone/>
              <a:defRPr sz="1400" b="1" spc="0" baseline="0">
                <a:solidFill>
                  <a:schemeClr val="tx1"/>
                </a:solidFill>
              </a:defRPr>
            </a:lvl1pPr>
          </a:lstStyle>
          <a:p>
            <a:pPr lvl="0"/>
            <a:r>
              <a:rPr lang="en-US"/>
              <a:t>Executive summary</a:t>
            </a:r>
          </a:p>
        </p:txBody>
      </p:sp>
      <p:sp>
        <p:nvSpPr>
          <p:cNvPr id="23" name="Text Placeholder 7">
            <a:extLst>
              <a:ext uri="{FF2B5EF4-FFF2-40B4-BE49-F238E27FC236}">
                <a16:creationId xmlns:a16="http://schemas.microsoft.com/office/drawing/2014/main" id="{0F4FFA6C-1A0C-9B47-B7F7-3E59A402EC36}"/>
              </a:ext>
            </a:extLst>
          </p:cNvPr>
          <p:cNvSpPr>
            <a:spLocks noGrp="1"/>
          </p:cNvSpPr>
          <p:nvPr>
            <p:ph type="body" sz="quarter" idx="24" hasCustomPrompt="1"/>
          </p:nvPr>
        </p:nvSpPr>
        <p:spPr>
          <a:xfrm>
            <a:off x="9925200" y="2362200"/>
            <a:ext cx="1679575" cy="345348"/>
          </a:xfrm>
        </p:spPr>
        <p:txBody>
          <a:bodyPr wrap="square">
            <a:noAutofit/>
          </a:bodyPr>
          <a:lstStyle>
            <a:lvl1pPr marL="0" indent="0">
              <a:lnSpc>
                <a:spcPct val="85000"/>
              </a:lnSpc>
              <a:spcAft>
                <a:spcPts val="0"/>
              </a:spcAft>
              <a:buNone/>
              <a:defRPr sz="1400" b="1" spc="0" baseline="0">
                <a:solidFill>
                  <a:schemeClr val="tx1"/>
                </a:solidFill>
              </a:defRPr>
            </a:lvl1pPr>
          </a:lstStyle>
          <a:p>
            <a:pPr lvl="0"/>
            <a:r>
              <a:rPr lang="en-US"/>
              <a:t>Context and </a:t>
            </a:r>
            <a:br>
              <a:rPr lang="en-US"/>
            </a:br>
            <a:r>
              <a:rPr lang="en-US"/>
              <a:t>key challenges</a:t>
            </a:r>
          </a:p>
        </p:txBody>
      </p:sp>
      <p:sp>
        <p:nvSpPr>
          <p:cNvPr id="24" name="Text Placeholder 7">
            <a:extLst>
              <a:ext uri="{FF2B5EF4-FFF2-40B4-BE49-F238E27FC236}">
                <a16:creationId xmlns:a16="http://schemas.microsoft.com/office/drawing/2014/main" id="{CC410CD4-72EF-D147-AAC9-BC77AD4A1B3A}"/>
              </a:ext>
            </a:extLst>
          </p:cNvPr>
          <p:cNvSpPr>
            <a:spLocks noGrp="1"/>
          </p:cNvSpPr>
          <p:nvPr>
            <p:ph type="body" sz="quarter" idx="25" hasCustomPrompt="1"/>
          </p:nvPr>
        </p:nvSpPr>
        <p:spPr>
          <a:xfrm>
            <a:off x="9925050" y="2909219"/>
            <a:ext cx="1679575" cy="345348"/>
          </a:xfrm>
        </p:spPr>
        <p:txBody>
          <a:bodyPr wrap="square">
            <a:noAutofit/>
          </a:bodyPr>
          <a:lstStyle>
            <a:lvl1pPr marL="0" indent="0">
              <a:lnSpc>
                <a:spcPct val="85000"/>
              </a:lnSpc>
              <a:spcAft>
                <a:spcPts val="0"/>
              </a:spcAft>
              <a:buNone/>
              <a:defRPr sz="1400" b="1" spc="0" baseline="0">
                <a:solidFill>
                  <a:schemeClr val="tx1"/>
                </a:solidFill>
              </a:defRPr>
            </a:lvl1pPr>
          </a:lstStyle>
          <a:p>
            <a:pPr lvl="0"/>
            <a:r>
              <a:rPr lang="en-US"/>
              <a:t>Experience</a:t>
            </a:r>
          </a:p>
        </p:txBody>
      </p:sp>
      <p:sp>
        <p:nvSpPr>
          <p:cNvPr id="26" name="Text Placeholder 7">
            <a:extLst>
              <a:ext uri="{FF2B5EF4-FFF2-40B4-BE49-F238E27FC236}">
                <a16:creationId xmlns:a16="http://schemas.microsoft.com/office/drawing/2014/main" id="{C275EB13-FCEC-4E41-B784-6BBB1EBF82F7}"/>
              </a:ext>
            </a:extLst>
          </p:cNvPr>
          <p:cNvSpPr>
            <a:spLocks noGrp="1"/>
          </p:cNvSpPr>
          <p:nvPr>
            <p:ph type="body" sz="quarter" idx="26" hasCustomPrompt="1"/>
          </p:nvPr>
        </p:nvSpPr>
        <p:spPr>
          <a:xfrm>
            <a:off x="9925200" y="3255579"/>
            <a:ext cx="1679575" cy="345348"/>
          </a:xfrm>
        </p:spPr>
        <p:txBody>
          <a:bodyPr wrap="square">
            <a:noAutofit/>
          </a:bodyPr>
          <a:lstStyle>
            <a:lvl1pPr marL="0" indent="0">
              <a:lnSpc>
                <a:spcPct val="85000"/>
              </a:lnSpc>
              <a:spcAft>
                <a:spcPts val="0"/>
              </a:spcAft>
              <a:buNone/>
              <a:defRPr sz="1400" b="1" spc="0" baseline="0">
                <a:solidFill>
                  <a:schemeClr val="tx1"/>
                </a:solidFill>
              </a:defRPr>
            </a:lvl1pPr>
          </a:lstStyle>
          <a:p>
            <a:pPr lvl="0"/>
            <a:r>
              <a:rPr lang="en-US"/>
              <a:t>Our approach</a:t>
            </a:r>
          </a:p>
        </p:txBody>
      </p:sp>
      <p:sp>
        <p:nvSpPr>
          <p:cNvPr id="27" name="Text Placeholder 7">
            <a:extLst>
              <a:ext uri="{FF2B5EF4-FFF2-40B4-BE49-F238E27FC236}">
                <a16:creationId xmlns:a16="http://schemas.microsoft.com/office/drawing/2014/main" id="{BE8160D2-4847-3B48-BA0A-7D0D61A61BE3}"/>
              </a:ext>
            </a:extLst>
          </p:cNvPr>
          <p:cNvSpPr>
            <a:spLocks noGrp="1"/>
          </p:cNvSpPr>
          <p:nvPr>
            <p:ph type="body" sz="quarter" idx="27" hasCustomPrompt="1"/>
          </p:nvPr>
        </p:nvSpPr>
        <p:spPr>
          <a:xfrm>
            <a:off x="9925200" y="3619743"/>
            <a:ext cx="1679575" cy="345348"/>
          </a:xfrm>
        </p:spPr>
        <p:txBody>
          <a:bodyPr wrap="square">
            <a:noAutofit/>
          </a:bodyPr>
          <a:lstStyle>
            <a:lvl1pPr marL="0" indent="0">
              <a:lnSpc>
                <a:spcPct val="85000"/>
              </a:lnSpc>
              <a:spcAft>
                <a:spcPts val="0"/>
              </a:spcAft>
              <a:buNone/>
              <a:defRPr sz="1400" b="1" spc="0" baseline="0">
                <a:solidFill>
                  <a:schemeClr val="tx1"/>
                </a:solidFill>
              </a:defRPr>
            </a:lvl1pPr>
          </a:lstStyle>
          <a:p>
            <a:pPr lvl="0"/>
            <a:r>
              <a:rPr lang="en-US"/>
              <a:t>Optional tools</a:t>
            </a:r>
          </a:p>
        </p:txBody>
      </p:sp>
      <p:sp>
        <p:nvSpPr>
          <p:cNvPr id="28" name="Text Placeholder 7">
            <a:extLst>
              <a:ext uri="{FF2B5EF4-FFF2-40B4-BE49-F238E27FC236}">
                <a16:creationId xmlns:a16="http://schemas.microsoft.com/office/drawing/2014/main" id="{5EEE2426-00E2-3A4A-80BB-55CE33853B4B}"/>
              </a:ext>
            </a:extLst>
          </p:cNvPr>
          <p:cNvSpPr>
            <a:spLocks noGrp="1"/>
          </p:cNvSpPr>
          <p:nvPr>
            <p:ph type="body" sz="quarter" idx="28" hasCustomPrompt="1"/>
          </p:nvPr>
        </p:nvSpPr>
        <p:spPr>
          <a:xfrm>
            <a:off x="9925200" y="3972323"/>
            <a:ext cx="1679575" cy="345348"/>
          </a:xfrm>
        </p:spPr>
        <p:txBody>
          <a:bodyPr wrap="square">
            <a:noAutofit/>
          </a:bodyPr>
          <a:lstStyle>
            <a:lvl1pPr marL="0" indent="0">
              <a:lnSpc>
                <a:spcPct val="85000"/>
              </a:lnSpc>
              <a:spcAft>
                <a:spcPts val="0"/>
              </a:spcAft>
              <a:buNone/>
              <a:defRPr sz="1400" b="1" spc="0" baseline="0">
                <a:solidFill>
                  <a:schemeClr val="tx1"/>
                </a:solidFill>
              </a:defRPr>
            </a:lvl1pPr>
          </a:lstStyle>
          <a:p>
            <a:pPr lvl="0"/>
            <a:r>
              <a:rPr lang="en-US"/>
              <a:t>Timeline</a:t>
            </a:r>
          </a:p>
        </p:txBody>
      </p:sp>
      <p:sp>
        <p:nvSpPr>
          <p:cNvPr id="29" name="Text Placeholder 7">
            <a:extLst>
              <a:ext uri="{FF2B5EF4-FFF2-40B4-BE49-F238E27FC236}">
                <a16:creationId xmlns:a16="http://schemas.microsoft.com/office/drawing/2014/main" id="{FCD69E1E-E865-CC45-BA29-739BBB85D478}"/>
              </a:ext>
            </a:extLst>
          </p:cNvPr>
          <p:cNvSpPr>
            <a:spLocks noGrp="1"/>
          </p:cNvSpPr>
          <p:nvPr>
            <p:ph type="body" sz="quarter" idx="29" hasCustomPrompt="1"/>
          </p:nvPr>
        </p:nvSpPr>
        <p:spPr>
          <a:xfrm>
            <a:off x="9925050" y="4328252"/>
            <a:ext cx="1679575" cy="345348"/>
          </a:xfrm>
        </p:spPr>
        <p:txBody>
          <a:bodyPr wrap="square">
            <a:noAutofit/>
          </a:bodyPr>
          <a:lstStyle>
            <a:lvl1pPr marL="0" indent="0">
              <a:lnSpc>
                <a:spcPct val="85000"/>
              </a:lnSpc>
              <a:spcAft>
                <a:spcPts val="0"/>
              </a:spcAft>
              <a:buNone/>
              <a:defRPr sz="1400" b="1" spc="0" baseline="0">
                <a:solidFill>
                  <a:schemeClr val="tx1"/>
                </a:solidFill>
              </a:defRPr>
            </a:lvl1pPr>
          </a:lstStyle>
          <a:p>
            <a:pPr lvl="0"/>
            <a:r>
              <a:rPr lang="en-US"/>
              <a:t>Project team </a:t>
            </a:r>
            <a:br>
              <a:rPr lang="en-US"/>
            </a:br>
            <a:r>
              <a:rPr lang="en-US"/>
              <a:t>and biographies</a:t>
            </a:r>
          </a:p>
        </p:txBody>
      </p:sp>
      <p:sp>
        <p:nvSpPr>
          <p:cNvPr id="7" name="Slide Number Placeholder 6">
            <a:extLst>
              <a:ext uri="{FF2B5EF4-FFF2-40B4-BE49-F238E27FC236}">
                <a16:creationId xmlns:a16="http://schemas.microsoft.com/office/drawing/2014/main" id="{793C5FB8-81F2-2A4E-BB52-9BF5A643218E}"/>
              </a:ext>
            </a:extLst>
          </p:cNvPr>
          <p:cNvSpPr>
            <a:spLocks noGrp="1"/>
          </p:cNvSpPr>
          <p:nvPr>
            <p:ph type="sldNum" sz="quarter" idx="31"/>
          </p:nvPr>
        </p:nvSpPr>
        <p:spPr/>
        <p:txBody>
          <a:bodyPr/>
          <a:lstStyle/>
          <a:p>
            <a:fld id="{F18EFF25-22D3-7349-97D6-73D11F9E5B0D}" type="slidenum">
              <a:rPr lang="en-GB" smtClean="0"/>
              <a:pPr/>
              <a:t>‹#›</a:t>
            </a:fld>
            <a:endParaRPr lang="en-GB"/>
          </a:p>
        </p:txBody>
      </p:sp>
      <p:sp>
        <p:nvSpPr>
          <p:cNvPr id="2" name="Footer Placeholder 1">
            <a:extLst>
              <a:ext uri="{FF2B5EF4-FFF2-40B4-BE49-F238E27FC236}">
                <a16:creationId xmlns:a16="http://schemas.microsoft.com/office/drawing/2014/main" id="{716D9EF4-0EE5-594F-9752-8DDEA01E6E5F}"/>
              </a:ext>
            </a:extLst>
          </p:cNvPr>
          <p:cNvSpPr>
            <a:spLocks noGrp="1"/>
          </p:cNvSpPr>
          <p:nvPr>
            <p:ph type="ftr" sz="quarter" idx="32"/>
          </p:nvPr>
        </p:nvSpPr>
        <p:spPr>
          <a:xfrm>
            <a:off x="9182100" y="6446507"/>
            <a:ext cx="1769050" cy="114631"/>
          </a:xfrm>
        </p:spPr>
        <p:txBody>
          <a:bodyPr/>
          <a:lstStyle/>
          <a:p>
            <a:r>
              <a:rPr lang="en-GB"/>
              <a:t>For internal use only</a:t>
            </a:r>
          </a:p>
        </p:txBody>
      </p:sp>
    </p:spTree>
    <p:extLst>
      <p:ext uri="{BB962C8B-B14F-4D97-AF65-F5344CB8AC3E}">
        <p14:creationId xmlns:p14="http://schemas.microsoft.com/office/powerpoint/2010/main" val="2094121380"/>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Break_01">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indoor, toilet, white, electronic&#10;&#10;Description automatically generated">
            <a:extLst>
              <a:ext uri="{FF2B5EF4-FFF2-40B4-BE49-F238E27FC236}">
                <a16:creationId xmlns:a16="http://schemas.microsoft.com/office/drawing/2014/main" id="{987A45B8-1AD5-A242-962E-DD4DBB932A5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5" name="Text Placeholder 7">
            <a:extLst>
              <a:ext uri="{FF2B5EF4-FFF2-40B4-BE49-F238E27FC236}">
                <a16:creationId xmlns:a16="http://schemas.microsoft.com/office/drawing/2014/main" id="{A706FF6C-99C0-3F4C-9BBB-08AE20024AB5}"/>
              </a:ext>
            </a:extLst>
          </p:cNvPr>
          <p:cNvSpPr>
            <a:spLocks noGrp="1"/>
          </p:cNvSpPr>
          <p:nvPr>
            <p:ph type="body" sz="quarter" idx="13" hasCustomPrompt="1"/>
          </p:nvPr>
        </p:nvSpPr>
        <p:spPr>
          <a:xfrm>
            <a:off x="600142" y="4935584"/>
            <a:ext cx="5089525" cy="838200"/>
          </a:xfrm>
        </p:spPr>
        <p:txBody>
          <a:bodyPr wrap="square">
            <a:noAutofit/>
          </a:bodyPr>
          <a:lstStyle>
            <a:lvl1pPr marL="0" indent="0">
              <a:lnSpc>
                <a:spcPct val="85000"/>
              </a:lnSpc>
              <a:spcAft>
                <a:spcPts val="0"/>
              </a:spcAft>
              <a:buNone/>
              <a:defRPr sz="3000" b="1" spc="20" baseline="0">
                <a:solidFill>
                  <a:schemeClr val="tx1"/>
                </a:solidFill>
              </a:defRPr>
            </a:lvl1pPr>
          </a:lstStyle>
          <a:p>
            <a:pPr lvl="0"/>
            <a:r>
              <a:rPr lang="en-US"/>
              <a:t>Executive summary</a:t>
            </a:r>
          </a:p>
        </p:txBody>
      </p:sp>
      <p:pic>
        <p:nvPicPr>
          <p:cNvPr id="30" name="Picture 29" descr="A close up of a flower&#10;&#10;Description automatically generated">
            <a:extLst>
              <a:ext uri="{FF2B5EF4-FFF2-40B4-BE49-F238E27FC236}">
                <a16:creationId xmlns:a16="http://schemas.microsoft.com/office/drawing/2014/main" id="{2E6AA48B-384B-594C-A3BF-ED852697772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5367" y="6301117"/>
            <a:ext cx="1258035" cy="376657"/>
          </a:xfrm>
          <a:prstGeom prst="rect">
            <a:avLst/>
          </a:prstGeom>
        </p:spPr>
      </p:pic>
      <p:sp>
        <p:nvSpPr>
          <p:cNvPr id="3" name="Slide Number Placeholder 2">
            <a:extLst>
              <a:ext uri="{FF2B5EF4-FFF2-40B4-BE49-F238E27FC236}">
                <a16:creationId xmlns:a16="http://schemas.microsoft.com/office/drawing/2014/main" id="{1F74279B-567A-E049-A6A3-102A2E8708D6}"/>
              </a:ext>
            </a:extLst>
          </p:cNvPr>
          <p:cNvSpPr>
            <a:spLocks noGrp="1"/>
          </p:cNvSpPr>
          <p:nvPr>
            <p:ph type="sldNum" sz="quarter" idx="15"/>
          </p:nvPr>
        </p:nvSpPr>
        <p:spPr/>
        <p:txBody>
          <a:bodyPr/>
          <a:lstStyle/>
          <a:p>
            <a:fld id="{F18EFF25-22D3-7349-97D6-73D11F9E5B0D}" type="slidenum">
              <a:rPr lang="en-GB" smtClean="0"/>
              <a:pPr/>
              <a:t>‹#›</a:t>
            </a:fld>
            <a:endParaRPr lang="en-GB"/>
          </a:p>
        </p:txBody>
      </p:sp>
      <p:sp>
        <p:nvSpPr>
          <p:cNvPr id="4" name="Footer Placeholder 3">
            <a:extLst>
              <a:ext uri="{FF2B5EF4-FFF2-40B4-BE49-F238E27FC236}">
                <a16:creationId xmlns:a16="http://schemas.microsoft.com/office/drawing/2014/main" id="{5D696177-BF35-2C4A-81FD-FE598629D816}"/>
              </a:ext>
            </a:extLst>
          </p:cNvPr>
          <p:cNvSpPr>
            <a:spLocks noGrp="1"/>
          </p:cNvSpPr>
          <p:nvPr>
            <p:ph type="ftr" sz="quarter" idx="16"/>
          </p:nvPr>
        </p:nvSpPr>
        <p:spPr/>
        <p:txBody>
          <a:bodyPr/>
          <a:lstStyle/>
          <a:p>
            <a:r>
              <a:rPr lang="en-GB"/>
              <a:t>For internal use only</a:t>
            </a:r>
          </a:p>
        </p:txBody>
      </p:sp>
    </p:spTree>
    <p:extLst>
      <p:ext uri="{BB962C8B-B14F-4D97-AF65-F5344CB8AC3E}">
        <p14:creationId xmlns:p14="http://schemas.microsoft.com/office/powerpoint/2010/main" val="3400964026"/>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Break_02">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indoor, white&#10;&#10;Description automatically generated">
            <a:extLst>
              <a:ext uri="{FF2B5EF4-FFF2-40B4-BE49-F238E27FC236}">
                <a16:creationId xmlns:a16="http://schemas.microsoft.com/office/drawing/2014/main" id="{A6CEF0D5-150B-0645-8FE6-2D416EC9DB6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7">
            <a:extLst>
              <a:ext uri="{FF2B5EF4-FFF2-40B4-BE49-F238E27FC236}">
                <a16:creationId xmlns:a16="http://schemas.microsoft.com/office/drawing/2014/main" id="{8043F9A4-512E-E941-BF94-EBD7292369AB}"/>
              </a:ext>
            </a:extLst>
          </p:cNvPr>
          <p:cNvSpPr>
            <a:spLocks noGrp="1"/>
          </p:cNvSpPr>
          <p:nvPr>
            <p:ph type="body" sz="quarter" idx="13" hasCustomPrompt="1"/>
          </p:nvPr>
        </p:nvSpPr>
        <p:spPr>
          <a:xfrm>
            <a:off x="600142" y="4935584"/>
            <a:ext cx="5387908" cy="838200"/>
          </a:xfrm>
        </p:spPr>
        <p:txBody>
          <a:bodyPr wrap="square">
            <a:noAutofit/>
          </a:bodyPr>
          <a:lstStyle>
            <a:lvl1pPr marL="0" indent="0">
              <a:lnSpc>
                <a:spcPct val="85000"/>
              </a:lnSpc>
              <a:spcAft>
                <a:spcPts val="0"/>
              </a:spcAft>
              <a:buNone/>
              <a:defRPr sz="3000" b="1" spc="20" baseline="0">
                <a:solidFill>
                  <a:schemeClr val="tx1"/>
                </a:solidFill>
              </a:defRPr>
            </a:lvl1pPr>
          </a:lstStyle>
          <a:p>
            <a:pPr lvl="0"/>
            <a:r>
              <a:rPr lang="en-US"/>
              <a:t>Context and objectives</a:t>
            </a:r>
          </a:p>
        </p:txBody>
      </p:sp>
      <p:pic>
        <p:nvPicPr>
          <p:cNvPr id="8" name="Picture 7" descr="A close up of a flower&#10;&#10;Description automatically generated">
            <a:extLst>
              <a:ext uri="{FF2B5EF4-FFF2-40B4-BE49-F238E27FC236}">
                <a16:creationId xmlns:a16="http://schemas.microsoft.com/office/drawing/2014/main" id="{9AA9C013-0566-1C46-BD38-FB2B1B90BFC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5367" y="6301117"/>
            <a:ext cx="1258035" cy="376657"/>
          </a:xfrm>
          <a:prstGeom prst="rect">
            <a:avLst/>
          </a:prstGeom>
        </p:spPr>
      </p:pic>
      <p:sp>
        <p:nvSpPr>
          <p:cNvPr id="4" name="Slide Number Placeholder 3">
            <a:extLst>
              <a:ext uri="{FF2B5EF4-FFF2-40B4-BE49-F238E27FC236}">
                <a16:creationId xmlns:a16="http://schemas.microsoft.com/office/drawing/2014/main" id="{E55B7D66-C164-824A-BA51-BF354D921BB9}"/>
              </a:ext>
            </a:extLst>
          </p:cNvPr>
          <p:cNvSpPr>
            <a:spLocks noGrp="1"/>
          </p:cNvSpPr>
          <p:nvPr>
            <p:ph type="sldNum" sz="quarter" idx="15"/>
          </p:nvPr>
        </p:nvSpPr>
        <p:spPr/>
        <p:txBody>
          <a:bodyPr/>
          <a:lstStyle/>
          <a:p>
            <a:fld id="{F18EFF25-22D3-7349-97D6-73D11F9E5B0D}" type="slidenum">
              <a:rPr lang="en-GB" smtClean="0"/>
              <a:pPr/>
              <a:t>‹#›</a:t>
            </a:fld>
            <a:endParaRPr lang="en-GB"/>
          </a:p>
        </p:txBody>
      </p:sp>
      <p:sp>
        <p:nvSpPr>
          <p:cNvPr id="5" name="Footer Placeholder 4">
            <a:extLst>
              <a:ext uri="{FF2B5EF4-FFF2-40B4-BE49-F238E27FC236}">
                <a16:creationId xmlns:a16="http://schemas.microsoft.com/office/drawing/2014/main" id="{4DA1FB71-E0D1-6544-8D3F-792B4DDD8E08}"/>
              </a:ext>
            </a:extLst>
          </p:cNvPr>
          <p:cNvSpPr>
            <a:spLocks noGrp="1"/>
          </p:cNvSpPr>
          <p:nvPr>
            <p:ph type="ftr" sz="quarter" idx="16"/>
          </p:nvPr>
        </p:nvSpPr>
        <p:spPr/>
        <p:txBody>
          <a:bodyPr/>
          <a:lstStyle/>
          <a:p>
            <a:r>
              <a:rPr lang="en-GB"/>
              <a:t>For internal use only</a:t>
            </a:r>
          </a:p>
        </p:txBody>
      </p:sp>
    </p:spTree>
    <p:extLst>
      <p:ext uri="{BB962C8B-B14F-4D97-AF65-F5344CB8AC3E}">
        <p14:creationId xmlns:p14="http://schemas.microsoft.com/office/powerpoint/2010/main" val="3159813051"/>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Content_02_Three_Columns">
    <p:bg>
      <p:bgPr>
        <a:solidFill>
          <a:schemeClr val="bg1"/>
        </a:solidFill>
        <a:effectLst/>
      </p:bgPr>
    </p:bg>
    <p:spTree>
      <p:nvGrpSpPr>
        <p:cNvPr id="1" name=""/>
        <p:cNvGrpSpPr/>
        <p:nvPr/>
      </p:nvGrpSpPr>
      <p:grpSpPr>
        <a:xfrm>
          <a:off x="0" y="0"/>
          <a:ext cx="0" cy="0"/>
          <a:chOff x="0" y="0"/>
          <a:chExt cx="0" cy="0"/>
        </a:xfrm>
      </p:grpSpPr>
      <p:sp>
        <p:nvSpPr>
          <p:cNvPr id="25" name="Text Placeholder 7">
            <a:extLst>
              <a:ext uri="{FF2B5EF4-FFF2-40B4-BE49-F238E27FC236}">
                <a16:creationId xmlns:a16="http://schemas.microsoft.com/office/drawing/2014/main" id="{A706FF6C-99C0-3F4C-9BBB-08AE20024AB5}"/>
              </a:ext>
            </a:extLst>
          </p:cNvPr>
          <p:cNvSpPr>
            <a:spLocks noGrp="1"/>
          </p:cNvSpPr>
          <p:nvPr>
            <p:ph type="body" sz="quarter" idx="13" hasCustomPrompt="1"/>
          </p:nvPr>
        </p:nvSpPr>
        <p:spPr>
          <a:xfrm>
            <a:off x="579600" y="421329"/>
            <a:ext cx="3601508" cy="391471"/>
          </a:xfrm>
        </p:spPr>
        <p:txBody>
          <a:bodyPr wrap="square">
            <a:noAutofit/>
          </a:bodyPr>
          <a:lstStyle>
            <a:lvl1pPr marL="0" indent="0">
              <a:lnSpc>
                <a:spcPct val="85000"/>
              </a:lnSpc>
              <a:spcAft>
                <a:spcPts val="0"/>
              </a:spcAft>
              <a:buNone/>
              <a:defRPr sz="2000" b="1" spc="20" baseline="0">
                <a:solidFill>
                  <a:schemeClr val="tx1"/>
                </a:solidFill>
              </a:defRPr>
            </a:lvl1pPr>
          </a:lstStyle>
          <a:p>
            <a:pPr lvl="0"/>
            <a:r>
              <a:rPr lang="en-US"/>
              <a:t>Context and objectives</a:t>
            </a:r>
          </a:p>
        </p:txBody>
      </p:sp>
      <p:sp>
        <p:nvSpPr>
          <p:cNvPr id="9" name="Text Placeholder 7">
            <a:extLst>
              <a:ext uri="{FF2B5EF4-FFF2-40B4-BE49-F238E27FC236}">
                <a16:creationId xmlns:a16="http://schemas.microsoft.com/office/drawing/2014/main" id="{D1DF77B6-3965-634E-990D-4E255BA5F1CD}"/>
              </a:ext>
            </a:extLst>
          </p:cNvPr>
          <p:cNvSpPr>
            <a:spLocks noGrp="1"/>
          </p:cNvSpPr>
          <p:nvPr>
            <p:ph type="body" sz="quarter" idx="14" hasCustomPrompt="1"/>
          </p:nvPr>
        </p:nvSpPr>
        <p:spPr>
          <a:xfrm>
            <a:off x="602903" y="1321200"/>
            <a:ext cx="3198813" cy="571661"/>
          </a:xfrm>
        </p:spPr>
        <p:txBody>
          <a:bodyPr wrap="square">
            <a:noAutofit/>
          </a:bodyPr>
          <a:lstStyle>
            <a:lvl1pPr marL="0" indent="0">
              <a:lnSpc>
                <a:spcPct val="85000"/>
              </a:lnSpc>
              <a:spcAft>
                <a:spcPts val="0"/>
              </a:spcAft>
              <a:buNone/>
              <a:defRPr sz="2000" b="0" spc="20" baseline="0">
                <a:solidFill>
                  <a:schemeClr val="tx1"/>
                </a:solidFill>
              </a:defRPr>
            </a:lvl1pPr>
          </a:lstStyle>
          <a:p>
            <a:pPr lvl="0"/>
            <a:r>
              <a:rPr lang="en-US"/>
              <a:t>Value </a:t>
            </a:r>
            <a:br>
              <a:rPr lang="en-US"/>
            </a:br>
            <a:r>
              <a:rPr lang="en-US"/>
              <a:t>communication strategy</a:t>
            </a:r>
          </a:p>
        </p:txBody>
      </p:sp>
      <p:sp>
        <p:nvSpPr>
          <p:cNvPr id="11" name="Text Placeholder 7">
            <a:extLst>
              <a:ext uri="{FF2B5EF4-FFF2-40B4-BE49-F238E27FC236}">
                <a16:creationId xmlns:a16="http://schemas.microsoft.com/office/drawing/2014/main" id="{2AB690D0-9191-5641-B48A-1B612977988B}"/>
              </a:ext>
            </a:extLst>
          </p:cNvPr>
          <p:cNvSpPr>
            <a:spLocks noGrp="1"/>
          </p:cNvSpPr>
          <p:nvPr>
            <p:ph type="body" sz="quarter" idx="15" hasCustomPrompt="1"/>
          </p:nvPr>
        </p:nvSpPr>
        <p:spPr>
          <a:xfrm>
            <a:off x="4485600" y="1321200"/>
            <a:ext cx="3198812" cy="571659"/>
          </a:xfrm>
        </p:spPr>
        <p:txBody>
          <a:bodyPr wrap="square">
            <a:noAutofit/>
          </a:bodyPr>
          <a:lstStyle>
            <a:lvl1pPr marL="0" indent="0">
              <a:lnSpc>
                <a:spcPct val="85000"/>
              </a:lnSpc>
              <a:spcAft>
                <a:spcPts val="0"/>
              </a:spcAft>
              <a:buNone/>
              <a:defRPr sz="2000" b="0" spc="20" baseline="0">
                <a:solidFill>
                  <a:schemeClr val="tx1"/>
                </a:solidFill>
              </a:defRPr>
            </a:lvl1pPr>
          </a:lstStyle>
          <a:p>
            <a:pPr lvl="0"/>
            <a:r>
              <a:rPr lang="en-US"/>
              <a:t>Development and approval </a:t>
            </a:r>
            <a:br>
              <a:rPr lang="en-US"/>
            </a:br>
            <a:r>
              <a:rPr lang="en-US"/>
              <a:t>of communication tools</a:t>
            </a:r>
          </a:p>
        </p:txBody>
      </p:sp>
      <p:cxnSp>
        <p:nvCxnSpPr>
          <p:cNvPr id="6" name="Straight Connector 5">
            <a:extLst>
              <a:ext uri="{FF2B5EF4-FFF2-40B4-BE49-F238E27FC236}">
                <a16:creationId xmlns:a16="http://schemas.microsoft.com/office/drawing/2014/main" id="{793177B7-BD72-0D49-BCB6-494A113895F7}"/>
              </a:ext>
            </a:extLst>
          </p:cNvPr>
          <p:cNvCxnSpPr>
            <a:cxnSpLocks/>
          </p:cNvCxnSpPr>
          <p:nvPr userDrawn="1"/>
        </p:nvCxnSpPr>
        <p:spPr>
          <a:xfrm>
            <a:off x="587374" y="2048934"/>
            <a:ext cx="32004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FFA180B-B4ED-5A42-945E-C2523C6FD837}"/>
              </a:ext>
            </a:extLst>
          </p:cNvPr>
          <p:cNvCxnSpPr>
            <a:cxnSpLocks/>
          </p:cNvCxnSpPr>
          <p:nvPr userDrawn="1"/>
        </p:nvCxnSpPr>
        <p:spPr>
          <a:xfrm flipV="1">
            <a:off x="4485600" y="2048400"/>
            <a:ext cx="3200400" cy="534"/>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A8A0BF9-035A-BC41-A1B4-D550EC374811}"/>
              </a:ext>
            </a:extLst>
          </p:cNvPr>
          <p:cNvCxnSpPr>
            <a:cxnSpLocks/>
          </p:cNvCxnSpPr>
          <p:nvPr userDrawn="1"/>
        </p:nvCxnSpPr>
        <p:spPr>
          <a:xfrm>
            <a:off x="8397687" y="2048934"/>
            <a:ext cx="32004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778AD05-2395-B544-94A8-0DEA03D56DE6}"/>
              </a:ext>
            </a:extLst>
          </p:cNvPr>
          <p:cNvCxnSpPr>
            <a:cxnSpLocks/>
          </p:cNvCxnSpPr>
          <p:nvPr userDrawn="1"/>
        </p:nvCxnSpPr>
        <p:spPr>
          <a:xfrm>
            <a:off x="579600" y="5994327"/>
            <a:ext cx="3206588"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BD4F3AA-CE40-794B-9DD2-02A04BCF8C69}"/>
              </a:ext>
            </a:extLst>
          </p:cNvPr>
          <p:cNvCxnSpPr>
            <a:cxnSpLocks/>
          </p:cNvCxnSpPr>
          <p:nvPr userDrawn="1"/>
        </p:nvCxnSpPr>
        <p:spPr>
          <a:xfrm>
            <a:off x="4485600" y="5994327"/>
            <a:ext cx="32004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6DBE6FD-0110-C543-9CF3-183773F8CF0D}"/>
              </a:ext>
            </a:extLst>
          </p:cNvPr>
          <p:cNvCxnSpPr>
            <a:cxnSpLocks/>
          </p:cNvCxnSpPr>
          <p:nvPr userDrawn="1"/>
        </p:nvCxnSpPr>
        <p:spPr>
          <a:xfrm>
            <a:off x="8397687" y="5994327"/>
            <a:ext cx="32004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8912BD8-90A4-414D-846A-2E784868D8F5}"/>
              </a:ext>
            </a:extLst>
          </p:cNvPr>
          <p:cNvSpPr/>
          <p:nvPr userDrawn="1"/>
        </p:nvSpPr>
        <p:spPr>
          <a:xfrm>
            <a:off x="1998934" y="5799337"/>
            <a:ext cx="389467" cy="38946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F43BAC9C-7935-6045-850C-25ACD2B5EC10}"/>
              </a:ext>
            </a:extLst>
          </p:cNvPr>
          <p:cNvSpPr/>
          <p:nvPr userDrawn="1"/>
        </p:nvSpPr>
        <p:spPr>
          <a:xfrm>
            <a:off x="5919195" y="5799337"/>
            <a:ext cx="389467" cy="38946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Oval 22">
            <a:extLst>
              <a:ext uri="{FF2B5EF4-FFF2-40B4-BE49-F238E27FC236}">
                <a16:creationId xmlns:a16="http://schemas.microsoft.com/office/drawing/2014/main" id="{DF425D05-79A2-1148-B48F-EACD6EBB3B07}"/>
              </a:ext>
            </a:extLst>
          </p:cNvPr>
          <p:cNvSpPr/>
          <p:nvPr userDrawn="1"/>
        </p:nvSpPr>
        <p:spPr>
          <a:xfrm>
            <a:off x="9764605" y="5799337"/>
            <a:ext cx="389467" cy="38946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DF6AA237-BB17-E14A-A30A-294E8AA565A6}"/>
              </a:ext>
            </a:extLst>
          </p:cNvPr>
          <p:cNvSpPr>
            <a:spLocks noGrp="1"/>
          </p:cNvSpPr>
          <p:nvPr>
            <p:ph type="body" sz="quarter" idx="17" hasCustomPrompt="1"/>
          </p:nvPr>
        </p:nvSpPr>
        <p:spPr>
          <a:xfrm>
            <a:off x="8415349" y="1321200"/>
            <a:ext cx="3200400" cy="571659"/>
          </a:xfrm>
        </p:spPr>
        <p:txBody>
          <a:bodyPr wrap="square">
            <a:noAutofit/>
          </a:bodyPr>
          <a:lstStyle>
            <a:lvl1pPr marL="0" indent="0">
              <a:lnSpc>
                <a:spcPct val="85000"/>
              </a:lnSpc>
              <a:spcAft>
                <a:spcPts val="0"/>
              </a:spcAft>
              <a:buNone/>
              <a:defRPr sz="2000" b="0" spc="20" baseline="0">
                <a:solidFill>
                  <a:schemeClr val="tx1"/>
                </a:solidFill>
              </a:defRPr>
            </a:lvl1pPr>
          </a:lstStyle>
          <a:p>
            <a:pPr lvl="0"/>
            <a:r>
              <a:rPr lang="en-US"/>
              <a:t>Our approach</a:t>
            </a:r>
          </a:p>
        </p:txBody>
      </p:sp>
      <p:sp>
        <p:nvSpPr>
          <p:cNvPr id="29" name="Text Placeholder 28">
            <a:extLst>
              <a:ext uri="{FF2B5EF4-FFF2-40B4-BE49-F238E27FC236}">
                <a16:creationId xmlns:a16="http://schemas.microsoft.com/office/drawing/2014/main" id="{21D1337B-623D-1B43-949F-83A10C708915}"/>
              </a:ext>
            </a:extLst>
          </p:cNvPr>
          <p:cNvSpPr>
            <a:spLocks noGrp="1"/>
          </p:cNvSpPr>
          <p:nvPr>
            <p:ph type="body" sz="quarter" idx="18" hasCustomPrompt="1"/>
          </p:nvPr>
        </p:nvSpPr>
        <p:spPr>
          <a:xfrm>
            <a:off x="598159" y="2347952"/>
            <a:ext cx="3198813" cy="3116263"/>
          </a:xfrm>
        </p:spPr>
        <p:txBody>
          <a:bodyPr/>
          <a:lstStyle>
            <a:lvl1pPr marL="285750" indent="-285750">
              <a:lnSpc>
                <a:spcPct val="100000"/>
              </a:lnSpc>
              <a:spcAft>
                <a:spcPts val="2000"/>
              </a:spcAft>
              <a:buFont typeface="Arial" panose="020B0604020202020204" pitchFamily="34" charset="0"/>
              <a:buChar char="•"/>
              <a:tabLst/>
              <a:defRPr sz="1200"/>
            </a:lvl1pPr>
            <a:lvl2pPr>
              <a:defRPr sz="1400"/>
            </a:lvl2pPr>
            <a:lvl3pPr>
              <a:defRPr sz="1400"/>
            </a:lvl3pPr>
            <a:lvl4pPr>
              <a:defRPr sz="1400"/>
            </a:lvl4pPr>
            <a:lvl5pPr>
              <a:defRPr sz="1400"/>
            </a:lvl5pPr>
          </a:lstStyle>
          <a:p>
            <a:pPr lvl="0"/>
            <a:r>
              <a:rPr lang="en-US"/>
              <a:t>Our  value communication experts provide </a:t>
            </a:r>
            <a:br>
              <a:rPr lang="en-US"/>
            </a:br>
            <a:r>
              <a:rPr lang="en-US"/>
              <a:t>advice on the ideal combination of</a:t>
            </a:r>
            <a:br>
              <a:rPr lang="en-US"/>
            </a:br>
            <a:r>
              <a:rPr lang="en-US"/>
              <a:t>communication tools for your assets and </a:t>
            </a:r>
            <a:br>
              <a:rPr lang="en-US"/>
            </a:br>
            <a:r>
              <a:rPr lang="en-US"/>
              <a:t>customers</a:t>
            </a:r>
          </a:p>
          <a:p>
            <a:pPr lvl="0"/>
            <a:r>
              <a:rPr lang="en-US"/>
              <a:t>We assemble a single, in-house  team of creative designers, medical writers, payer engagement experts, and therapy area experts to work with you to design and develop your print and digital communication tools</a:t>
            </a:r>
          </a:p>
          <a:p>
            <a:pPr lvl="0"/>
            <a:r>
              <a:rPr lang="en-US"/>
              <a:t>Engaging with our U.S. global payer experts and health economists helps us tailor messaging to specific stakeholder needs</a:t>
            </a:r>
          </a:p>
          <a:p>
            <a:pPr lvl="0"/>
            <a:endParaRPr lang="en-GB"/>
          </a:p>
        </p:txBody>
      </p:sp>
      <p:sp>
        <p:nvSpPr>
          <p:cNvPr id="30" name="Text Placeholder 28">
            <a:extLst>
              <a:ext uri="{FF2B5EF4-FFF2-40B4-BE49-F238E27FC236}">
                <a16:creationId xmlns:a16="http://schemas.microsoft.com/office/drawing/2014/main" id="{67796B21-62D6-6C46-A77A-569CD7ED5B22}"/>
              </a:ext>
            </a:extLst>
          </p:cNvPr>
          <p:cNvSpPr>
            <a:spLocks noGrp="1"/>
          </p:cNvSpPr>
          <p:nvPr>
            <p:ph type="body" sz="quarter" idx="19" hasCustomPrompt="1"/>
          </p:nvPr>
        </p:nvSpPr>
        <p:spPr>
          <a:xfrm>
            <a:off x="4485600" y="2347952"/>
            <a:ext cx="3200400" cy="3116263"/>
          </a:xfrm>
        </p:spPr>
        <p:txBody>
          <a:bodyPr/>
          <a:lstStyle>
            <a:lvl1pPr marL="285750" indent="-285750">
              <a:lnSpc>
                <a:spcPct val="100000"/>
              </a:lnSpc>
              <a:spcAft>
                <a:spcPts val="2000"/>
              </a:spcAft>
              <a:buFont typeface="Arial" panose="020B0604020202020204" pitchFamily="34" charset="0"/>
              <a:buChar char="•"/>
              <a:tabLst/>
              <a:defRPr sz="1200"/>
            </a:lvl1pPr>
            <a:lvl2pPr>
              <a:defRPr sz="1400"/>
            </a:lvl2pPr>
            <a:lvl3pPr>
              <a:defRPr sz="1400"/>
            </a:lvl3pPr>
            <a:lvl4pPr>
              <a:defRPr sz="1400"/>
            </a:lvl4pPr>
            <a:lvl5pPr>
              <a:defRPr sz="1400"/>
            </a:lvl5pPr>
          </a:lstStyle>
          <a:p>
            <a:pPr lvl="0"/>
            <a:r>
              <a:rPr lang="en-US"/>
              <a:t>An impactful value story, that is designed for clarity of messaging and high visual appeal is often the first step, providing a foundation for other tools</a:t>
            </a:r>
          </a:p>
          <a:p>
            <a:pPr lvl="0"/>
            <a:r>
              <a:rPr lang="en-US"/>
              <a:t>We frequently test the core value story with affiliates, and with payers / payer advisors</a:t>
            </a:r>
          </a:p>
          <a:p>
            <a:pPr lvl="0"/>
            <a:r>
              <a:rPr lang="en-US"/>
              <a:t>We manage the compliance review process including the creation of highlighted reference packs</a:t>
            </a:r>
          </a:p>
          <a:p>
            <a:pPr lvl="0"/>
            <a:endParaRPr lang="en-GB"/>
          </a:p>
        </p:txBody>
      </p:sp>
      <p:sp>
        <p:nvSpPr>
          <p:cNvPr id="31" name="Text Placeholder 28">
            <a:extLst>
              <a:ext uri="{FF2B5EF4-FFF2-40B4-BE49-F238E27FC236}">
                <a16:creationId xmlns:a16="http://schemas.microsoft.com/office/drawing/2014/main" id="{6EF736F5-614D-1C41-8400-8CE0871EF53D}"/>
              </a:ext>
            </a:extLst>
          </p:cNvPr>
          <p:cNvSpPr>
            <a:spLocks noGrp="1"/>
          </p:cNvSpPr>
          <p:nvPr>
            <p:ph type="body" sz="quarter" idx="20" hasCustomPrompt="1"/>
          </p:nvPr>
        </p:nvSpPr>
        <p:spPr>
          <a:xfrm>
            <a:off x="8415349" y="2347952"/>
            <a:ext cx="3182738" cy="3116263"/>
          </a:xfrm>
        </p:spPr>
        <p:txBody>
          <a:bodyPr/>
          <a:lstStyle>
            <a:lvl1pPr marL="285750" indent="-285750">
              <a:lnSpc>
                <a:spcPct val="100000"/>
              </a:lnSpc>
              <a:spcAft>
                <a:spcPts val="2000"/>
              </a:spcAft>
              <a:buFont typeface="Arial" panose="020B0604020202020204" pitchFamily="34" charset="0"/>
              <a:buChar char="•"/>
              <a:tabLst/>
              <a:defRPr sz="1200"/>
            </a:lvl1pPr>
            <a:lvl2pPr>
              <a:defRPr sz="1400"/>
            </a:lvl2pPr>
            <a:lvl3pPr>
              <a:defRPr sz="1400"/>
            </a:lvl3pPr>
            <a:lvl4pPr>
              <a:defRPr sz="1400"/>
            </a:lvl4pPr>
            <a:lvl5pPr>
              <a:defRPr sz="1400"/>
            </a:lvl5pPr>
          </a:lstStyle>
          <a:p>
            <a:pPr lvl="0"/>
            <a:r>
              <a:rPr lang="en-US"/>
              <a:t>Our clients most value our accuracy, our flexibility, and above all our willingness to engage thoughtfully and boldly – rather </a:t>
            </a:r>
            <a:br>
              <a:rPr lang="en-US"/>
            </a:br>
            <a:r>
              <a:rPr lang="en-US"/>
              <a:t>than mechanically – challenging positioning or evidence in the pursuit if the most successful final deliverables</a:t>
            </a:r>
          </a:p>
          <a:p>
            <a:pPr lvl="0"/>
            <a:endParaRPr lang="en-GB"/>
          </a:p>
        </p:txBody>
      </p:sp>
      <p:sp>
        <p:nvSpPr>
          <p:cNvPr id="33" name="Picture Placeholder 32">
            <a:extLst>
              <a:ext uri="{FF2B5EF4-FFF2-40B4-BE49-F238E27FC236}">
                <a16:creationId xmlns:a16="http://schemas.microsoft.com/office/drawing/2014/main" id="{541FDFA9-C279-0740-AB1F-DE7AA9D651CA}"/>
              </a:ext>
            </a:extLst>
          </p:cNvPr>
          <p:cNvSpPr>
            <a:spLocks noGrp="1"/>
          </p:cNvSpPr>
          <p:nvPr>
            <p:ph type="pic" sz="quarter" idx="21"/>
          </p:nvPr>
        </p:nvSpPr>
        <p:spPr>
          <a:xfrm>
            <a:off x="2102734" y="5904327"/>
            <a:ext cx="179388" cy="179387"/>
          </a:xfrm>
          <a:ln>
            <a:noFill/>
          </a:ln>
        </p:spPr>
        <p:txBody>
          <a:bodyPr/>
          <a:lstStyle>
            <a:lvl1pPr>
              <a:defRPr sz="800"/>
            </a:lvl1pPr>
          </a:lstStyle>
          <a:p>
            <a:endParaRPr lang="en-GB"/>
          </a:p>
        </p:txBody>
      </p:sp>
      <p:sp>
        <p:nvSpPr>
          <p:cNvPr id="34" name="Picture Placeholder 32">
            <a:extLst>
              <a:ext uri="{FF2B5EF4-FFF2-40B4-BE49-F238E27FC236}">
                <a16:creationId xmlns:a16="http://schemas.microsoft.com/office/drawing/2014/main" id="{5FA99119-9357-E94F-86B3-6ADD87D2A4CA}"/>
              </a:ext>
            </a:extLst>
          </p:cNvPr>
          <p:cNvSpPr>
            <a:spLocks noGrp="1"/>
          </p:cNvSpPr>
          <p:nvPr>
            <p:ph type="pic" sz="quarter" idx="22"/>
          </p:nvPr>
        </p:nvSpPr>
        <p:spPr>
          <a:xfrm>
            <a:off x="6024234" y="5903273"/>
            <a:ext cx="179388" cy="179387"/>
          </a:xfrm>
          <a:ln>
            <a:noFill/>
          </a:ln>
        </p:spPr>
        <p:txBody>
          <a:bodyPr/>
          <a:lstStyle>
            <a:lvl1pPr>
              <a:defRPr sz="800"/>
            </a:lvl1pPr>
          </a:lstStyle>
          <a:p>
            <a:endParaRPr lang="en-GB"/>
          </a:p>
        </p:txBody>
      </p:sp>
      <p:sp>
        <p:nvSpPr>
          <p:cNvPr id="35" name="Picture Placeholder 32">
            <a:extLst>
              <a:ext uri="{FF2B5EF4-FFF2-40B4-BE49-F238E27FC236}">
                <a16:creationId xmlns:a16="http://schemas.microsoft.com/office/drawing/2014/main" id="{4263405A-20C7-614E-820F-5DCBAAD42BC5}"/>
              </a:ext>
            </a:extLst>
          </p:cNvPr>
          <p:cNvSpPr>
            <a:spLocks noGrp="1"/>
          </p:cNvSpPr>
          <p:nvPr>
            <p:ph type="pic" sz="quarter" idx="23"/>
          </p:nvPr>
        </p:nvSpPr>
        <p:spPr>
          <a:xfrm>
            <a:off x="9869117" y="5903273"/>
            <a:ext cx="179388" cy="179387"/>
          </a:xfrm>
          <a:ln>
            <a:noFill/>
          </a:ln>
        </p:spPr>
        <p:txBody>
          <a:bodyPr/>
          <a:lstStyle>
            <a:lvl1pPr>
              <a:defRPr sz="800"/>
            </a:lvl1pPr>
          </a:lstStyle>
          <a:p>
            <a:endParaRPr lang="en-GB"/>
          </a:p>
        </p:txBody>
      </p:sp>
      <p:pic>
        <p:nvPicPr>
          <p:cNvPr id="38" name="Picture 37" descr="A close up of a flower&#10;&#10;Description automatically generated">
            <a:extLst>
              <a:ext uri="{FF2B5EF4-FFF2-40B4-BE49-F238E27FC236}">
                <a16:creationId xmlns:a16="http://schemas.microsoft.com/office/drawing/2014/main" id="{D9C4305D-7D7F-8A46-8EB7-DEA731C82A2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85367" y="6301117"/>
            <a:ext cx="1258035" cy="376657"/>
          </a:xfrm>
          <a:prstGeom prst="rect">
            <a:avLst/>
          </a:prstGeom>
        </p:spPr>
      </p:pic>
      <p:sp>
        <p:nvSpPr>
          <p:cNvPr id="39" name="Footer Placeholder 38">
            <a:extLst>
              <a:ext uri="{FF2B5EF4-FFF2-40B4-BE49-F238E27FC236}">
                <a16:creationId xmlns:a16="http://schemas.microsoft.com/office/drawing/2014/main" id="{2287100B-2FEC-A445-BFC1-BB8CE603614E}"/>
              </a:ext>
            </a:extLst>
          </p:cNvPr>
          <p:cNvSpPr>
            <a:spLocks noGrp="1"/>
          </p:cNvSpPr>
          <p:nvPr>
            <p:ph type="ftr" sz="quarter" idx="24"/>
          </p:nvPr>
        </p:nvSpPr>
        <p:spPr/>
        <p:txBody>
          <a:bodyPr/>
          <a:lstStyle/>
          <a:p>
            <a:r>
              <a:rPr lang="en-GB"/>
              <a:t>For internal use only</a:t>
            </a:r>
          </a:p>
        </p:txBody>
      </p:sp>
      <p:sp>
        <p:nvSpPr>
          <p:cNvPr id="40" name="Slide Number Placeholder 39">
            <a:extLst>
              <a:ext uri="{FF2B5EF4-FFF2-40B4-BE49-F238E27FC236}">
                <a16:creationId xmlns:a16="http://schemas.microsoft.com/office/drawing/2014/main" id="{F6FA1E53-378B-5D44-B5CB-BF94825DC7CF}"/>
              </a:ext>
            </a:extLst>
          </p:cNvPr>
          <p:cNvSpPr>
            <a:spLocks noGrp="1"/>
          </p:cNvSpPr>
          <p:nvPr>
            <p:ph type="sldNum" sz="quarter" idx="25"/>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427208669"/>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Content_03_Timeline">
    <p:bg>
      <p:bgPr>
        <a:solidFill>
          <a:schemeClr val="bg1"/>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B828760-A207-A24A-913C-09B3F59E752A}"/>
              </a:ext>
            </a:extLst>
          </p:cNvPr>
          <p:cNvCxnSpPr/>
          <p:nvPr userDrawn="1"/>
        </p:nvCxnSpPr>
        <p:spPr>
          <a:xfrm flipV="1">
            <a:off x="1154969" y="924625"/>
            <a:ext cx="0" cy="2482366"/>
          </a:xfrm>
          <a:prstGeom prst="line">
            <a:avLst/>
          </a:prstGeom>
          <a:ln w="19050">
            <a:solidFill>
              <a:srgbClr val="DADADA"/>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993A798-03E3-464C-9638-7D7BBC5C103E}"/>
              </a:ext>
            </a:extLst>
          </p:cNvPr>
          <p:cNvCxnSpPr/>
          <p:nvPr userDrawn="1"/>
        </p:nvCxnSpPr>
        <p:spPr>
          <a:xfrm flipV="1">
            <a:off x="7861399" y="946634"/>
            <a:ext cx="0" cy="2482366"/>
          </a:xfrm>
          <a:prstGeom prst="line">
            <a:avLst/>
          </a:prstGeom>
          <a:ln w="19050">
            <a:solidFill>
              <a:srgbClr val="DADADA"/>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AADB6E4-1AF8-8E41-9C6E-C2419879AD65}"/>
              </a:ext>
            </a:extLst>
          </p:cNvPr>
          <p:cNvCxnSpPr/>
          <p:nvPr userDrawn="1"/>
        </p:nvCxnSpPr>
        <p:spPr>
          <a:xfrm flipV="1">
            <a:off x="4159122" y="924625"/>
            <a:ext cx="0" cy="2482366"/>
          </a:xfrm>
          <a:prstGeom prst="line">
            <a:avLst/>
          </a:prstGeom>
          <a:ln w="19050">
            <a:solidFill>
              <a:srgbClr val="DADADA"/>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9A037BB-8B9B-3344-BE07-477536DAA30A}"/>
              </a:ext>
            </a:extLst>
          </p:cNvPr>
          <p:cNvCxnSpPr/>
          <p:nvPr userDrawn="1"/>
        </p:nvCxnSpPr>
        <p:spPr>
          <a:xfrm flipV="1">
            <a:off x="2465965" y="3788362"/>
            <a:ext cx="0" cy="2482366"/>
          </a:xfrm>
          <a:prstGeom prst="line">
            <a:avLst/>
          </a:prstGeom>
          <a:ln w="19050">
            <a:solidFill>
              <a:srgbClr val="DADADA"/>
            </a:solidFill>
            <a:prstDash val="sysDot"/>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D293447D-261A-934C-ABF3-6E1C742DFC42}"/>
              </a:ext>
            </a:extLst>
          </p:cNvPr>
          <p:cNvCxnSpPr/>
          <p:nvPr userDrawn="1"/>
        </p:nvCxnSpPr>
        <p:spPr>
          <a:xfrm flipV="1">
            <a:off x="9735949" y="3797414"/>
            <a:ext cx="0" cy="2482366"/>
          </a:xfrm>
          <a:prstGeom prst="line">
            <a:avLst/>
          </a:prstGeom>
          <a:ln w="19050">
            <a:solidFill>
              <a:srgbClr val="DADADA"/>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691DD4D-7FAC-8C4E-B810-0B2ED51029C4}"/>
              </a:ext>
            </a:extLst>
          </p:cNvPr>
          <p:cNvCxnSpPr/>
          <p:nvPr userDrawn="1"/>
        </p:nvCxnSpPr>
        <p:spPr>
          <a:xfrm flipV="1">
            <a:off x="6001522" y="3789258"/>
            <a:ext cx="0" cy="2482366"/>
          </a:xfrm>
          <a:prstGeom prst="line">
            <a:avLst/>
          </a:prstGeom>
          <a:ln w="19050">
            <a:solidFill>
              <a:srgbClr val="DADADA"/>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7">
            <a:extLst>
              <a:ext uri="{FF2B5EF4-FFF2-40B4-BE49-F238E27FC236}">
                <a16:creationId xmlns:a16="http://schemas.microsoft.com/office/drawing/2014/main" id="{A706FF6C-99C0-3F4C-9BBB-08AE20024AB5}"/>
              </a:ext>
            </a:extLst>
          </p:cNvPr>
          <p:cNvSpPr>
            <a:spLocks noGrp="1"/>
          </p:cNvSpPr>
          <p:nvPr>
            <p:ph type="body" sz="quarter" idx="13" hasCustomPrompt="1"/>
          </p:nvPr>
        </p:nvSpPr>
        <p:spPr>
          <a:xfrm>
            <a:off x="580295" y="421329"/>
            <a:ext cx="3556893" cy="391471"/>
          </a:xfrm>
        </p:spPr>
        <p:txBody>
          <a:bodyPr wrap="square">
            <a:noAutofit/>
          </a:bodyPr>
          <a:lstStyle>
            <a:lvl1pPr marL="0" indent="0">
              <a:lnSpc>
                <a:spcPct val="85000"/>
              </a:lnSpc>
              <a:spcAft>
                <a:spcPts val="0"/>
              </a:spcAft>
              <a:buNone/>
              <a:defRPr sz="2000" b="1" spc="20" baseline="0">
                <a:solidFill>
                  <a:schemeClr val="tx1"/>
                </a:solidFill>
              </a:defRPr>
            </a:lvl1pPr>
          </a:lstStyle>
          <a:p>
            <a:pPr lvl="0"/>
            <a:r>
              <a:rPr lang="en-US"/>
              <a:t>Context and objectives</a:t>
            </a:r>
          </a:p>
        </p:txBody>
      </p:sp>
      <p:pic>
        <p:nvPicPr>
          <p:cNvPr id="19" name="Picture 18" descr="A close up of a flower&#10;&#10;Description automatically generated">
            <a:extLst>
              <a:ext uri="{FF2B5EF4-FFF2-40B4-BE49-F238E27FC236}">
                <a16:creationId xmlns:a16="http://schemas.microsoft.com/office/drawing/2014/main" id="{758FE046-E09D-E24E-881E-F3188DC2A0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85367" y="6301117"/>
            <a:ext cx="1258035" cy="376657"/>
          </a:xfrm>
          <a:prstGeom prst="rect">
            <a:avLst/>
          </a:prstGeom>
        </p:spPr>
      </p:pic>
      <p:sp>
        <p:nvSpPr>
          <p:cNvPr id="9" name="Text Placeholder 7">
            <a:extLst>
              <a:ext uri="{FF2B5EF4-FFF2-40B4-BE49-F238E27FC236}">
                <a16:creationId xmlns:a16="http://schemas.microsoft.com/office/drawing/2014/main" id="{D1DF77B6-3965-634E-990D-4E255BA5F1CD}"/>
              </a:ext>
            </a:extLst>
          </p:cNvPr>
          <p:cNvSpPr>
            <a:spLocks noGrp="1"/>
          </p:cNvSpPr>
          <p:nvPr>
            <p:ph type="body" sz="quarter" idx="14" hasCustomPrompt="1"/>
          </p:nvPr>
        </p:nvSpPr>
        <p:spPr>
          <a:xfrm>
            <a:off x="1343461" y="1433795"/>
            <a:ext cx="3489854" cy="571661"/>
          </a:xfrm>
        </p:spPr>
        <p:txBody>
          <a:bodyPr wrap="square">
            <a:noAutofit/>
          </a:bodyPr>
          <a:lstStyle>
            <a:lvl1pPr marL="0" indent="0">
              <a:lnSpc>
                <a:spcPct val="85000"/>
              </a:lnSpc>
              <a:spcAft>
                <a:spcPts val="0"/>
              </a:spcAft>
              <a:buNone/>
              <a:defRPr sz="1800" b="0" spc="20" baseline="0">
                <a:solidFill>
                  <a:schemeClr val="tx1"/>
                </a:solidFill>
              </a:defRPr>
            </a:lvl1pPr>
          </a:lstStyle>
          <a:p>
            <a:pPr lvl="0"/>
            <a:r>
              <a:rPr lang="en-US"/>
              <a:t>Kick off meeting</a:t>
            </a:r>
          </a:p>
        </p:txBody>
      </p:sp>
      <p:cxnSp>
        <p:nvCxnSpPr>
          <p:cNvPr id="18" name="Straight Connector 17">
            <a:extLst>
              <a:ext uri="{FF2B5EF4-FFF2-40B4-BE49-F238E27FC236}">
                <a16:creationId xmlns:a16="http://schemas.microsoft.com/office/drawing/2014/main" id="{0778AD05-2395-B544-94A8-0DEA03D56DE6}"/>
              </a:ext>
            </a:extLst>
          </p:cNvPr>
          <p:cNvCxnSpPr>
            <a:cxnSpLocks/>
          </p:cNvCxnSpPr>
          <p:nvPr userDrawn="1"/>
        </p:nvCxnSpPr>
        <p:spPr>
          <a:xfrm>
            <a:off x="966847" y="3606114"/>
            <a:ext cx="8638761" cy="1757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8912BD8-90A4-414D-846A-2E784868D8F5}"/>
              </a:ext>
            </a:extLst>
          </p:cNvPr>
          <p:cNvSpPr/>
          <p:nvPr userDrawn="1"/>
        </p:nvSpPr>
        <p:spPr>
          <a:xfrm>
            <a:off x="966847" y="3406991"/>
            <a:ext cx="389467" cy="38946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Text Placeholder 28">
            <a:extLst>
              <a:ext uri="{FF2B5EF4-FFF2-40B4-BE49-F238E27FC236}">
                <a16:creationId xmlns:a16="http://schemas.microsoft.com/office/drawing/2014/main" id="{21D1337B-623D-1B43-949F-83A10C708915}"/>
              </a:ext>
            </a:extLst>
          </p:cNvPr>
          <p:cNvSpPr>
            <a:spLocks noGrp="1"/>
          </p:cNvSpPr>
          <p:nvPr>
            <p:ph type="body" sz="quarter" idx="18" hasCustomPrompt="1"/>
          </p:nvPr>
        </p:nvSpPr>
        <p:spPr>
          <a:xfrm>
            <a:off x="1344016" y="1848860"/>
            <a:ext cx="1870601" cy="1210760"/>
          </a:xfrm>
        </p:spPr>
        <p:txBody>
          <a:bodyPr vert="horz" lIns="0" tIns="0" rIns="0" bIns="0" rtlCol="0">
            <a:noAutofit/>
          </a:bodyPr>
          <a:lstStyle>
            <a:lvl1pPr>
              <a:defRPr lang="en-GB" sz="1000" dirty="0"/>
            </a:lvl1pPr>
          </a:lstStyle>
          <a:p>
            <a:pPr marL="0" lvl="0" indent="0">
              <a:spcAft>
                <a:spcPts val="1000"/>
              </a:spcAft>
              <a:buFontTx/>
              <a:buNone/>
              <a:tabLst/>
            </a:pPr>
            <a:r>
              <a:rPr lang="en-US"/>
              <a:t>Clarivate will host a call to align with &lt;Client&gt; on wats of working, data sources, and have a strategic briefing for the project.</a:t>
            </a:r>
            <a:endParaRPr lang="en-GB"/>
          </a:p>
        </p:txBody>
      </p:sp>
      <p:sp>
        <p:nvSpPr>
          <p:cNvPr id="27" name="Oval 26">
            <a:extLst>
              <a:ext uri="{FF2B5EF4-FFF2-40B4-BE49-F238E27FC236}">
                <a16:creationId xmlns:a16="http://schemas.microsoft.com/office/drawing/2014/main" id="{2DEA37AB-4DD1-1945-9858-FA63C878B53E}"/>
              </a:ext>
            </a:extLst>
          </p:cNvPr>
          <p:cNvSpPr/>
          <p:nvPr userDrawn="1"/>
        </p:nvSpPr>
        <p:spPr>
          <a:xfrm>
            <a:off x="2287638" y="3406991"/>
            <a:ext cx="389467" cy="38946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Oval 31">
            <a:extLst>
              <a:ext uri="{FF2B5EF4-FFF2-40B4-BE49-F238E27FC236}">
                <a16:creationId xmlns:a16="http://schemas.microsoft.com/office/drawing/2014/main" id="{0719112E-EF9C-CD46-81AD-166D99D0699B}"/>
              </a:ext>
            </a:extLst>
          </p:cNvPr>
          <p:cNvSpPr/>
          <p:nvPr userDrawn="1"/>
        </p:nvSpPr>
        <p:spPr>
          <a:xfrm>
            <a:off x="3959259" y="3406991"/>
            <a:ext cx="389467" cy="38946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Oval 36">
            <a:extLst>
              <a:ext uri="{FF2B5EF4-FFF2-40B4-BE49-F238E27FC236}">
                <a16:creationId xmlns:a16="http://schemas.microsoft.com/office/drawing/2014/main" id="{D0B27B6B-DD89-CB47-B04F-D6A95C4C334C}"/>
              </a:ext>
            </a:extLst>
          </p:cNvPr>
          <p:cNvSpPr/>
          <p:nvPr userDrawn="1"/>
        </p:nvSpPr>
        <p:spPr>
          <a:xfrm>
            <a:off x="5807482" y="3415279"/>
            <a:ext cx="389467" cy="38946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Oval 38">
            <a:extLst>
              <a:ext uri="{FF2B5EF4-FFF2-40B4-BE49-F238E27FC236}">
                <a16:creationId xmlns:a16="http://schemas.microsoft.com/office/drawing/2014/main" id="{C0FB33E0-8E53-804A-A935-E08470AF2B7C}"/>
              </a:ext>
            </a:extLst>
          </p:cNvPr>
          <p:cNvSpPr/>
          <p:nvPr userDrawn="1"/>
        </p:nvSpPr>
        <p:spPr>
          <a:xfrm>
            <a:off x="7669842" y="3406991"/>
            <a:ext cx="389467" cy="38946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Oval 40">
            <a:extLst>
              <a:ext uri="{FF2B5EF4-FFF2-40B4-BE49-F238E27FC236}">
                <a16:creationId xmlns:a16="http://schemas.microsoft.com/office/drawing/2014/main" id="{95FC11A7-76DB-FD4E-9558-FE495D2A3CB6}"/>
              </a:ext>
            </a:extLst>
          </p:cNvPr>
          <p:cNvSpPr/>
          <p:nvPr userDrawn="1"/>
        </p:nvSpPr>
        <p:spPr>
          <a:xfrm>
            <a:off x="9530447" y="3429000"/>
            <a:ext cx="389467" cy="38946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Picture Placeholder 32">
            <a:extLst>
              <a:ext uri="{FF2B5EF4-FFF2-40B4-BE49-F238E27FC236}">
                <a16:creationId xmlns:a16="http://schemas.microsoft.com/office/drawing/2014/main" id="{4C96ECB8-61EB-B34B-A5D9-742C8F332813}"/>
              </a:ext>
            </a:extLst>
          </p:cNvPr>
          <p:cNvSpPr>
            <a:spLocks noGrp="1"/>
          </p:cNvSpPr>
          <p:nvPr>
            <p:ph type="pic" sz="quarter" idx="29"/>
          </p:nvPr>
        </p:nvSpPr>
        <p:spPr>
          <a:xfrm>
            <a:off x="1353864" y="924625"/>
            <a:ext cx="396000" cy="396000"/>
          </a:xfrm>
          <a:ln>
            <a:noFill/>
          </a:ln>
        </p:spPr>
        <p:txBody>
          <a:bodyPr/>
          <a:lstStyle>
            <a:lvl1pPr>
              <a:defRPr sz="800"/>
            </a:lvl1pPr>
          </a:lstStyle>
          <a:p>
            <a:endParaRPr lang="en-GB"/>
          </a:p>
        </p:txBody>
      </p:sp>
      <p:sp>
        <p:nvSpPr>
          <p:cNvPr id="44" name="Text Placeholder 7">
            <a:extLst>
              <a:ext uri="{FF2B5EF4-FFF2-40B4-BE49-F238E27FC236}">
                <a16:creationId xmlns:a16="http://schemas.microsoft.com/office/drawing/2014/main" id="{7AEA8D78-DEC8-9449-BF57-4F8865AAC311}"/>
              </a:ext>
            </a:extLst>
          </p:cNvPr>
          <p:cNvSpPr>
            <a:spLocks noGrp="1"/>
          </p:cNvSpPr>
          <p:nvPr>
            <p:ph type="body" sz="quarter" idx="30" hasCustomPrompt="1"/>
          </p:nvPr>
        </p:nvSpPr>
        <p:spPr>
          <a:xfrm>
            <a:off x="4334409" y="1433795"/>
            <a:ext cx="3489854" cy="571661"/>
          </a:xfrm>
        </p:spPr>
        <p:txBody>
          <a:bodyPr wrap="square">
            <a:noAutofit/>
          </a:bodyPr>
          <a:lstStyle>
            <a:lvl1pPr marL="0" indent="0">
              <a:lnSpc>
                <a:spcPct val="85000"/>
              </a:lnSpc>
              <a:spcAft>
                <a:spcPts val="0"/>
              </a:spcAft>
              <a:buNone/>
              <a:defRPr sz="1800" b="0" spc="20" baseline="0">
                <a:solidFill>
                  <a:schemeClr val="tx1"/>
                </a:solidFill>
              </a:defRPr>
            </a:lvl1pPr>
          </a:lstStyle>
          <a:p>
            <a:pPr lvl="0"/>
            <a:r>
              <a:rPr lang="en-US"/>
              <a:t>Unbranded </a:t>
            </a:r>
            <a:br>
              <a:rPr lang="en-US"/>
            </a:br>
            <a:r>
              <a:rPr lang="en-US"/>
              <a:t>communication tools</a:t>
            </a:r>
          </a:p>
        </p:txBody>
      </p:sp>
      <p:sp>
        <p:nvSpPr>
          <p:cNvPr id="45" name="Text Placeholder 28">
            <a:extLst>
              <a:ext uri="{FF2B5EF4-FFF2-40B4-BE49-F238E27FC236}">
                <a16:creationId xmlns:a16="http://schemas.microsoft.com/office/drawing/2014/main" id="{8F6C705C-14FA-B840-867F-05421672D424}"/>
              </a:ext>
            </a:extLst>
          </p:cNvPr>
          <p:cNvSpPr>
            <a:spLocks noGrp="1"/>
          </p:cNvSpPr>
          <p:nvPr>
            <p:ph type="body" sz="quarter" idx="31" hasCustomPrompt="1"/>
          </p:nvPr>
        </p:nvSpPr>
        <p:spPr>
          <a:xfrm>
            <a:off x="4334965" y="2104352"/>
            <a:ext cx="1964986" cy="1028625"/>
          </a:xfrm>
        </p:spPr>
        <p:txBody>
          <a:bodyPr vert="horz" lIns="0" tIns="0" rIns="0" bIns="0" rtlCol="0">
            <a:noAutofit/>
          </a:bodyPr>
          <a:lstStyle>
            <a:lvl1pPr>
              <a:defRPr lang="en-GB" sz="1000" dirty="0"/>
            </a:lvl1pPr>
          </a:lstStyle>
          <a:p>
            <a:pPr marL="0" lvl="0" indent="0">
              <a:spcAft>
                <a:spcPts val="1000"/>
              </a:spcAft>
              <a:buFontTx/>
              <a:buNone/>
              <a:tabLst/>
            </a:pPr>
            <a:r>
              <a:rPr lang="en-GB"/>
              <a:t>Develop an unbranded presentation and printed and / or  digital flashcard card to communicate the burden and unmet needs in the fertility space.</a:t>
            </a:r>
          </a:p>
        </p:txBody>
      </p:sp>
      <p:sp>
        <p:nvSpPr>
          <p:cNvPr id="46" name="Text Placeholder 7">
            <a:extLst>
              <a:ext uri="{FF2B5EF4-FFF2-40B4-BE49-F238E27FC236}">
                <a16:creationId xmlns:a16="http://schemas.microsoft.com/office/drawing/2014/main" id="{A5F9C26E-B2F8-A646-85EF-30D702BBE1B0}"/>
              </a:ext>
            </a:extLst>
          </p:cNvPr>
          <p:cNvSpPr>
            <a:spLocks noGrp="1"/>
          </p:cNvSpPr>
          <p:nvPr>
            <p:ph type="body" sz="quarter" idx="32" hasCustomPrompt="1"/>
          </p:nvPr>
        </p:nvSpPr>
        <p:spPr>
          <a:xfrm>
            <a:off x="8034470" y="1444814"/>
            <a:ext cx="3489854" cy="571661"/>
          </a:xfrm>
        </p:spPr>
        <p:txBody>
          <a:bodyPr wrap="square">
            <a:noAutofit/>
          </a:bodyPr>
          <a:lstStyle>
            <a:lvl1pPr marL="0" indent="0">
              <a:lnSpc>
                <a:spcPct val="85000"/>
              </a:lnSpc>
              <a:spcAft>
                <a:spcPts val="0"/>
              </a:spcAft>
              <a:buNone/>
              <a:defRPr sz="1800" b="0" spc="20" baseline="0">
                <a:solidFill>
                  <a:schemeClr val="tx1"/>
                </a:solidFill>
              </a:defRPr>
            </a:lvl1pPr>
          </a:lstStyle>
          <a:p>
            <a:pPr lvl="0"/>
            <a:r>
              <a:rPr lang="en-US"/>
              <a:t>Payer testing</a:t>
            </a:r>
          </a:p>
        </p:txBody>
      </p:sp>
      <p:sp>
        <p:nvSpPr>
          <p:cNvPr id="47" name="Text Placeholder 28">
            <a:extLst>
              <a:ext uri="{FF2B5EF4-FFF2-40B4-BE49-F238E27FC236}">
                <a16:creationId xmlns:a16="http://schemas.microsoft.com/office/drawing/2014/main" id="{8566A6E4-76DE-1B4B-A367-06D295AC18C3}"/>
              </a:ext>
            </a:extLst>
          </p:cNvPr>
          <p:cNvSpPr>
            <a:spLocks noGrp="1"/>
          </p:cNvSpPr>
          <p:nvPr>
            <p:ph type="body" sz="quarter" idx="33" hasCustomPrompt="1"/>
          </p:nvPr>
        </p:nvSpPr>
        <p:spPr>
          <a:xfrm>
            <a:off x="8047726" y="1859878"/>
            <a:ext cx="1988016" cy="3116263"/>
          </a:xfrm>
        </p:spPr>
        <p:txBody>
          <a:bodyPr/>
          <a:lstStyle>
            <a:lvl1pPr marL="0" indent="0">
              <a:lnSpc>
                <a:spcPct val="100000"/>
              </a:lnSpc>
              <a:spcAft>
                <a:spcPts val="1000"/>
              </a:spcAft>
              <a:buFontTx/>
              <a:buNone/>
              <a:tabLst/>
              <a:defRPr sz="1000"/>
            </a:lvl1pPr>
            <a:lvl2pPr>
              <a:defRPr sz="1400"/>
            </a:lvl2pPr>
            <a:lvl3pPr>
              <a:defRPr sz="1400"/>
            </a:lvl3pPr>
            <a:lvl4pPr>
              <a:defRPr sz="1400"/>
            </a:lvl4pPr>
            <a:lvl5pPr>
              <a:defRPr sz="1400"/>
            </a:lvl5pPr>
          </a:lstStyle>
          <a:p>
            <a:pPr lvl="0"/>
            <a:r>
              <a:rPr lang="en-GB"/>
              <a:t>Test the payer value story with U.S. payers from regional and national health plans, and PBM formulary decision makers.</a:t>
            </a:r>
          </a:p>
          <a:p>
            <a:pPr lvl="0"/>
            <a:r>
              <a:rPr lang="en-GB"/>
              <a:t>Provide a summary report with recommendations for updates to the value story.</a:t>
            </a:r>
          </a:p>
        </p:txBody>
      </p:sp>
      <p:sp>
        <p:nvSpPr>
          <p:cNvPr id="48" name="Picture Placeholder 32">
            <a:extLst>
              <a:ext uri="{FF2B5EF4-FFF2-40B4-BE49-F238E27FC236}">
                <a16:creationId xmlns:a16="http://schemas.microsoft.com/office/drawing/2014/main" id="{69CC410B-4447-4C45-A054-08152BA6E164}"/>
              </a:ext>
            </a:extLst>
          </p:cNvPr>
          <p:cNvSpPr>
            <a:spLocks noGrp="1"/>
          </p:cNvSpPr>
          <p:nvPr>
            <p:ph type="pic" sz="quarter" idx="34"/>
          </p:nvPr>
        </p:nvSpPr>
        <p:spPr>
          <a:xfrm>
            <a:off x="4362112" y="928807"/>
            <a:ext cx="396000" cy="396000"/>
          </a:xfrm>
          <a:ln>
            <a:noFill/>
          </a:ln>
        </p:spPr>
        <p:txBody>
          <a:bodyPr/>
          <a:lstStyle>
            <a:lvl1pPr>
              <a:defRPr sz="800"/>
            </a:lvl1pPr>
          </a:lstStyle>
          <a:p>
            <a:endParaRPr lang="en-GB"/>
          </a:p>
        </p:txBody>
      </p:sp>
      <p:sp>
        <p:nvSpPr>
          <p:cNvPr id="49" name="Picture Placeholder 32">
            <a:extLst>
              <a:ext uri="{FF2B5EF4-FFF2-40B4-BE49-F238E27FC236}">
                <a16:creationId xmlns:a16="http://schemas.microsoft.com/office/drawing/2014/main" id="{6B89A295-2B5E-6B4A-A7EA-E0CFE0864C76}"/>
              </a:ext>
            </a:extLst>
          </p:cNvPr>
          <p:cNvSpPr>
            <a:spLocks noGrp="1"/>
          </p:cNvSpPr>
          <p:nvPr>
            <p:ph type="pic" sz="quarter" idx="35"/>
          </p:nvPr>
        </p:nvSpPr>
        <p:spPr>
          <a:xfrm>
            <a:off x="8047605" y="928807"/>
            <a:ext cx="396000" cy="396000"/>
          </a:xfrm>
          <a:ln>
            <a:noFill/>
          </a:ln>
        </p:spPr>
        <p:txBody>
          <a:bodyPr/>
          <a:lstStyle>
            <a:lvl1pPr>
              <a:defRPr sz="800"/>
            </a:lvl1pPr>
          </a:lstStyle>
          <a:p>
            <a:endParaRPr lang="en-GB"/>
          </a:p>
        </p:txBody>
      </p:sp>
      <p:sp>
        <p:nvSpPr>
          <p:cNvPr id="50" name="Text Placeholder 7">
            <a:extLst>
              <a:ext uri="{FF2B5EF4-FFF2-40B4-BE49-F238E27FC236}">
                <a16:creationId xmlns:a16="http://schemas.microsoft.com/office/drawing/2014/main" id="{94781D20-D8C3-F149-9033-284A783C5C2B}"/>
              </a:ext>
            </a:extLst>
          </p:cNvPr>
          <p:cNvSpPr>
            <a:spLocks noGrp="1"/>
          </p:cNvSpPr>
          <p:nvPr>
            <p:ph type="body" sz="quarter" idx="36" hasCustomPrompt="1"/>
          </p:nvPr>
        </p:nvSpPr>
        <p:spPr>
          <a:xfrm>
            <a:off x="2669363" y="4626332"/>
            <a:ext cx="1752570" cy="571661"/>
          </a:xfrm>
        </p:spPr>
        <p:txBody>
          <a:bodyPr wrap="square">
            <a:noAutofit/>
          </a:bodyPr>
          <a:lstStyle>
            <a:lvl1pPr marL="0" indent="0">
              <a:lnSpc>
                <a:spcPct val="85000"/>
              </a:lnSpc>
              <a:spcAft>
                <a:spcPts val="0"/>
              </a:spcAft>
              <a:buNone/>
              <a:defRPr sz="1800" b="0" spc="20" baseline="0">
                <a:solidFill>
                  <a:schemeClr val="tx1"/>
                </a:solidFill>
              </a:defRPr>
            </a:lvl1pPr>
          </a:lstStyle>
          <a:p>
            <a:pPr lvl="0"/>
            <a:r>
              <a:rPr lang="en-US"/>
              <a:t>Targeted </a:t>
            </a:r>
            <a:br>
              <a:rPr lang="en-US"/>
            </a:br>
            <a:r>
              <a:rPr lang="en-US"/>
              <a:t>literature review</a:t>
            </a:r>
          </a:p>
        </p:txBody>
      </p:sp>
      <p:sp>
        <p:nvSpPr>
          <p:cNvPr id="51" name="Text Placeholder 28">
            <a:extLst>
              <a:ext uri="{FF2B5EF4-FFF2-40B4-BE49-F238E27FC236}">
                <a16:creationId xmlns:a16="http://schemas.microsoft.com/office/drawing/2014/main" id="{CDA6F933-6A71-0740-83E5-A3147AF6EA65}"/>
              </a:ext>
            </a:extLst>
          </p:cNvPr>
          <p:cNvSpPr>
            <a:spLocks noGrp="1"/>
          </p:cNvSpPr>
          <p:nvPr>
            <p:ph type="body" sz="quarter" idx="37" hasCustomPrompt="1"/>
          </p:nvPr>
        </p:nvSpPr>
        <p:spPr>
          <a:xfrm>
            <a:off x="2669915" y="5296890"/>
            <a:ext cx="1888832" cy="809708"/>
          </a:xfrm>
        </p:spPr>
        <p:txBody>
          <a:bodyPr vert="horz" lIns="0" tIns="0" rIns="0" bIns="0" rtlCol="0">
            <a:noAutofit/>
          </a:bodyPr>
          <a:lstStyle>
            <a:lvl1pPr>
              <a:defRPr lang="en-GB" sz="1000" dirty="0"/>
            </a:lvl1pPr>
          </a:lstStyle>
          <a:p>
            <a:pPr marL="0" lvl="0" indent="0">
              <a:spcAft>
                <a:spcPts val="1000"/>
              </a:spcAft>
              <a:buFontTx/>
              <a:buNone/>
              <a:tabLst/>
            </a:pPr>
            <a:r>
              <a:rPr lang="en-GB"/>
              <a:t>Conduct a targeted literature review to identify publications reporting on the epidemiology, unmet needs, current treatment patterns, cost and burden of infertility in the U.S.</a:t>
            </a:r>
          </a:p>
        </p:txBody>
      </p:sp>
      <p:sp>
        <p:nvSpPr>
          <p:cNvPr id="54" name="Picture Placeholder 32">
            <a:extLst>
              <a:ext uri="{FF2B5EF4-FFF2-40B4-BE49-F238E27FC236}">
                <a16:creationId xmlns:a16="http://schemas.microsoft.com/office/drawing/2014/main" id="{A9A6CA22-C7D9-D640-B2DB-969D00C12BEE}"/>
              </a:ext>
            </a:extLst>
          </p:cNvPr>
          <p:cNvSpPr>
            <a:spLocks noGrp="1"/>
          </p:cNvSpPr>
          <p:nvPr>
            <p:ph type="pic" sz="quarter" idx="39"/>
          </p:nvPr>
        </p:nvSpPr>
        <p:spPr>
          <a:xfrm>
            <a:off x="2676760" y="4098764"/>
            <a:ext cx="396000" cy="396000"/>
          </a:xfrm>
          <a:ln>
            <a:noFill/>
          </a:ln>
        </p:spPr>
        <p:txBody>
          <a:bodyPr/>
          <a:lstStyle>
            <a:lvl1pPr>
              <a:defRPr sz="800"/>
            </a:lvl1pPr>
          </a:lstStyle>
          <a:p>
            <a:endParaRPr lang="en-GB"/>
          </a:p>
        </p:txBody>
      </p:sp>
      <p:sp>
        <p:nvSpPr>
          <p:cNvPr id="57" name="Text Placeholder 7">
            <a:extLst>
              <a:ext uri="{FF2B5EF4-FFF2-40B4-BE49-F238E27FC236}">
                <a16:creationId xmlns:a16="http://schemas.microsoft.com/office/drawing/2014/main" id="{646AFC06-B7D3-744C-8C07-1C3E986BDFC2}"/>
              </a:ext>
            </a:extLst>
          </p:cNvPr>
          <p:cNvSpPr>
            <a:spLocks noGrp="1"/>
          </p:cNvSpPr>
          <p:nvPr>
            <p:ph type="body" sz="quarter" idx="40" hasCustomPrompt="1"/>
          </p:nvPr>
        </p:nvSpPr>
        <p:spPr>
          <a:xfrm>
            <a:off x="6211795" y="4639513"/>
            <a:ext cx="1988572" cy="571661"/>
          </a:xfrm>
        </p:spPr>
        <p:txBody>
          <a:bodyPr wrap="square">
            <a:noAutofit/>
          </a:bodyPr>
          <a:lstStyle>
            <a:lvl1pPr marL="0" indent="0">
              <a:lnSpc>
                <a:spcPct val="85000"/>
              </a:lnSpc>
              <a:spcAft>
                <a:spcPts val="0"/>
              </a:spcAft>
              <a:buNone/>
              <a:defRPr sz="1800" b="0" spc="20" baseline="0">
                <a:solidFill>
                  <a:schemeClr val="tx1"/>
                </a:solidFill>
              </a:defRPr>
            </a:lvl1pPr>
          </a:lstStyle>
          <a:p>
            <a:pPr lvl="0"/>
            <a:r>
              <a:rPr lang="en-US"/>
              <a:t>Branded</a:t>
            </a:r>
            <a:br>
              <a:rPr lang="en-US"/>
            </a:br>
            <a:r>
              <a:rPr lang="en-US"/>
              <a:t>payer value story</a:t>
            </a:r>
          </a:p>
        </p:txBody>
      </p:sp>
      <p:sp>
        <p:nvSpPr>
          <p:cNvPr id="58" name="Text Placeholder 28">
            <a:extLst>
              <a:ext uri="{FF2B5EF4-FFF2-40B4-BE49-F238E27FC236}">
                <a16:creationId xmlns:a16="http://schemas.microsoft.com/office/drawing/2014/main" id="{C6662B14-5138-5648-BE46-A4D88982622C}"/>
              </a:ext>
            </a:extLst>
          </p:cNvPr>
          <p:cNvSpPr>
            <a:spLocks noGrp="1"/>
          </p:cNvSpPr>
          <p:nvPr>
            <p:ph type="body" sz="quarter" idx="41" hasCustomPrompt="1"/>
          </p:nvPr>
        </p:nvSpPr>
        <p:spPr>
          <a:xfrm>
            <a:off x="6212350" y="5310071"/>
            <a:ext cx="1988018" cy="785929"/>
          </a:xfrm>
        </p:spPr>
        <p:txBody>
          <a:bodyPr vert="horz" lIns="0" tIns="0" rIns="0" bIns="0" rtlCol="0">
            <a:noAutofit/>
          </a:bodyPr>
          <a:lstStyle>
            <a:lvl1pPr>
              <a:defRPr lang="en-GB" sz="1000" dirty="0"/>
            </a:lvl1pPr>
          </a:lstStyle>
          <a:p>
            <a:pPr marL="0" lvl="0" indent="0">
              <a:spcAft>
                <a:spcPts val="1000"/>
              </a:spcAft>
              <a:buFontTx/>
              <a:buNone/>
              <a:tabLst/>
            </a:pPr>
            <a:r>
              <a:rPr lang="en-GB"/>
              <a:t>Create an informative, highly visual, and modular PowerPoint presentation communicating the value of RMMH portfolio and individual products.</a:t>
            </a:r>
          </a:p>
        </p:txBody>
      </p:sp>
      <p:sp>
        <p:nvSpPr>
          <p:cNvPr id="59" name="Picture Placeholder 32">
            <a:extLst>
              <a:ext uri="{FF2B5EF4-FFF2-40B4-BE49-F238E27FC236}">
                <a16:creationId xmlns:a16="http://schemas.microsoft.com/office/drawing/2014/main" id="{776CDC16-51DB-B845-B936-1CCC1A8A88EC}"/>
              </a:ext>
            </a:extLst>
          </p:cNvPr>
          <p:cNvSpPr>
            <a:spLocks noGrp="1"/>
          </p:cNvSpPr>
          <p:nvPr>
            <p:ph type="pic" sz="quarter" idx="42"/>
          </p:nvPr>
        </p:nvSpPr>
        <p:spPr>
          <a:xfrm>
            <a:off x="6219195" y="4111945"/>
            <a:ext cx="396000" cy="396000"/>
          </a:xfrm>
          <a:ln>
            <a:noFill/>
          </a:ln>
        </p:spPr>
        <p:txBody>
          <a:bodyPr/>
          <a:lstStyle>
            <a:lvl1pPr>
              <a:defRPr sz="800"/>
            </a:lvl1pPr>
          </a:lstStyle>
          <a:p>
            <a:endParaRPr lang="en-GB"/>
          </a:p>
        </p:txBody>
      </p:sp>
      <p:sp>
        <p:nvSpPr>
          <p:cNvPr id="60" name="Text Placeholder 7">
            <a:extLst>
              <a:ext uri="{FF2B5EF4-FFF2-40B4-BE49-F238E27FC236}">
                <a16:creationId xmlns:a16="http://schemas.microsoft.com/office/drawing/2014/main" id="{83135EF4-A05E-2E4D-9C31-11233EB22747}"/>
              </a:ext>
            </a:extLst>
          </p:cNvPr>
          <p:cNvSpPr>
            <a:spLocks noGrp="1"/>
          </p:cNvSpPr>
          <p:nvPr>
            <p:ph type="body" sz="quarter" idx="43" hasCustomPrompt="1"/>
          </p:nvPr>
        </p:nvSpPr>
        <p:spPr>
          <a:xfrm>
            <a:off x="9912662" y="4638499"/>
            <a:ext cx="1740837" cy="571661"/>
          </a:xfrm>
        </p:spPr>
        <p:txBody>
          <a:bodyPr wrap="square">
            <a:noAutofit/>
          </a:bodyPr>
          <a:lstStyle>
            <a:lvl1pPr marL="0" indent="0">
              <a:lnSpc>
                <a:spcPct val="85000"/>
              </a:lnSpc>
              <a:spcAft>
                <a:spcPts val="0"/>
              </a:spcAft>
              <a:buNone/>
              <a:defRPr sz="1800" b="0" spc="20" baseline="0">
                <a:solidFill>
                  <a:schemeClr val="tx1"/>
                </a:solidFill>
              </a:defRPr>
            </a:lvl1pPr>
          </a:lstStyle>
          <a:p>
            <a:pPr lvl="0"/>
            <a:r>
              <a:rPr lang="en-US"/>
              <a:t>Final PVS </a:t>
            </a:r>
            <a:br>
              <a:rPr lang="en-US"/>
            </a:br>
            <a:r>
              <a:rPr lang="en-US"/>
              <a:t>and branded tools</a:t>
            </a:r>
          </a:p>
        </p:txBody>
      </p:sp>
      <p:sp>
        <p:nvSpPr>
          <p:cNvPr id="61" name="Text Placeholder 28">
            <a:extLst>
              <a:ext uri="{FF2B5EF4-FFF2-40B4-BE49-F238E27FC236}">
                <a16:creationId xmlns:a16="http://schemas.microsoft.com/office/drawing/2014/main" id="{4126D8BA-9A52-4D41-9C3D-00A18AAF4478}"/>
              </a:ext>
            </a:extLst>
          </p:cNvPr>
          <p:cNvSpPr>
            <a:spLocks noGrp="1"/>
          </p:cNvSpPr>
          <p:nvPr>
            <p:ph type="body" sz="quarter" idx="44" hasCustomPrompt="1"/>
          </p:nvPr>
        </p:nvSpPr>
        <p:spPr>
          <a:xfrm>
            <a:off x="9925910" y="5309057"/>
            <a:ext cx="1696644" cy="786944"/>
          </a:xfrm>
        </p:spPr>
        <p:txBody>
          <a:bodyPr vert="horz" lIns="0" tIns="0" rIns="0" bIns="0" rtlCol="0">
            <a:noAutofit/>
          </a:bodyPr>
          <a:lstStyle>
            <a:lvl1pPr>
              <a:defRPr lang="en-GB" sz="1000" dirty="0"/>
            </a:lvl1pPr>
          </a:lstStyle>
          <a:p>
            <a:pPr marL="0" lvl="0" indent="0">
              <a:spcAft>
                <a:spcPts val="1000"/>
              </a:spcAft>
              <a:buFontTx/>
              <a:buNone/>
              <a:tabLst/>
            </a:pPr>
            <a:r>
              <a:rPr lang="en-GB"/>
              <a:t>Revise the PVS in light of payer feedback and develop a suite of printed and / or digital flashcards for the portfolio and individual products.</a:t>
            </a:r>
          </a:p>
        </p:txBody>
      </p:sp>
      <p:sp>
        <p:nvSpPr>
          <p:cNvPr id="62" name="Picture Placeholder 32">
            <a:extLst>
              <a:ext uri="{FF2B5EF4-FFF2-40B4-BE49-F238E27FC236}">
                <a16:creationId xmlns:a16="http://schemas.microsoft.com/office/drawing/2014/main" id="{CE60DA3A-4589-6A46-A3C5-D9150CFCEF95}"/>
              </a:ext>
            </a:extLst>
          </p:cNvPr>
          <p:cNvSpPr>
            <a:spLocks noGrp="1"/>
          </p:cNvSpPr>
          <p:nvPr>
            <p:ph type="pic" sz="quarter" idx="45"/>
          </p:nvPr>
        </p:nvSpPr>
        <p:spPr>
          <a:xfrm>
            <a:off x="9932756" y="4110931"/>
            <a:ext cx="396000" cy="396000"/>
          </a:xfrm>
          <a:ln>
            <a:noFill/>
          </a:ln>
        </p:spPr>
        <p:txBody>
          <a:bodyPr/>
          <a:lstStyle>
            <a:lvl1pPr>
              <a:defRPr sz="800"/>
            </a:lvl1pPr>
          </a:lstStyle>
          <a:p>
            <a:endParaRPr lang="en-GB"/>
          </a:p>
        </p:txBody>
      </p:sp>
      <p:sp>
        <p:nvSpPr>
          <p:cNvPr id="14" name="Text Placeholder 13">
            <a:extLst>
              <a:ext uri="{FF2B5EF4-FFF2-40B4-BE49-F238E27FC236}">
                <a16:creationId xmlns:a16="http://schemas.microsoft.com/office/drawing/2014/main" id="{3DCE1226-B4A6-DF4D-A751-0CAD1503B730}"/>
              </a:ext>
            </a:extLst>
          </p:cNvPr>
          <p:cNvSpPr>
            <a:spLocks noGrp="1"/>
          </p:cNvSpPr>
          <p:nvPr>
            <p:ph type="body" sz="quarter" idx="46" hasCustomPrompt="1"/>
          </p:nvPr>
        </p:nvSpPr>
        <p:spPr>
          <a:xfrm>
            <a:off x="975814" y="3419376"/>
            <a:ext cx="368128" cy="367458"/>
          </a:xfrm>
        </p:spPr>
        <p:txBody>
          <a:bodyPr anchor="ctr"/>
          <a:lstStyle>
            <a:lvl1pPr marL="0" indent="0" algn="ctr">
              <a:buFontTx/>
              <a:buNone/>
              <a:defRPr b="1">
                <a:solidFill>
                  <a:schemeClr val="bg1"/>
                </a:solidFill>
              </a:defRPr>
            </a:lvl1pPr>
          </a:lstStyle>
          <a:p>
            <a:pPr lvl="0"/>
            <a:r>
              <a:rPr lang="en-US"/>
              <a:t>01</a:t>
            </a:r>
            <a:endParaRPr lang="en-GB"/>
          </a:p>
        </p:txBody>
      </p:sp>
      <p:sp>
        <p:nvSpPr>
          <p:cNvPr id="69" name="Text Placeholder 13">
            <a:extLst>
              <a:ext uri="{FF2B5EF4-FFF2-40B4-BE49-F238E27FC236}">
                <a16:creationId xmlns:a16="http://schemas.microsoft.com/office/drawing/2014/main" id="{422A187C-6AED-F04E-A026-0AE9AD044BB3}"/>
              </a:ext>
            </a:extLst>
          </p:cNvPr>
          <p:cNvSpPr>
            <a:spLocks noGrp="1"/>
          </p:cNvSpPr>
          <p:nvPr>
            <p:ph type="body" sz="quarter" idx="47" hasCustomPrompt="1"/>
          </p:nvPr>
        </p:nvSpPr>
        <p:spPr>
          <a:xfrm>
            <a:off x="2298307" y="3417946"/>
            <a:ext cx="368128" cy="367458"/>
          </a:xfrm>
        </p:spPr>
        <p:txBody>
          <a:bodyPr anchor="ctr"/>
          <a:lstStyle>
            <a:lvl1pPr marL="0" indent="0" algn="ctr">
              <a:buFontTx/>
              <a:buNone/>
              <a:defRPr b="1">
                <a:solidFill>
                  <a:schemeClr val="bg1"/>
                </a:solidFill>
              </a:defRPr>
            </a:lvl1pPr>
          </a:lstStyle>
          <a:p>
            <a:pPr lvl="0"/>
            <a:r>
              <a:rPr lang="en-US"/>
              <a:t>02</a:t>
            </a:r>
            <a:endParaRPr lang="en-GB"/>
          </a:p>
        </p:txBody>
      </p:sp>
      <p:sp>
        <p:nvSpPr>
          <p:cNvPr id="70" name="Text Placeholder 13">
            <a:extLst>
              <a:ext uri="{FF2B5EF4-FFF2-40B4-BE49-F238E27FC236}">
                <a16:creationId xmlns:a16="http://schemas.microsoft.com/office/drawing/2014/main" id="{D42E3B83-FC0B-734D-A349-2E51210D5F6D}"/>
              </a:ext>
            </a:extLst>
          </p:cNvPr>
          <p:cNvSpPr>
            <a:spLocks noGrp="1"/>
          </p:cNvSpPr>
          <p:nvPr>
            <p:ph type="body" sz="quarter" idx="48" hasCustomPrompt="1"/>
          </p:nvPr>
        </p:nvSpPr>
        <p:spPr>
          <a:xfrm>
            <a:off x="3964945" y="3426283"/>
            <a:ext cx="368128" cy="367458"/>
          </a:xfrm>
        </p:spPr>
        <p:txBody>
          <a:bodyPr anchor="ctr"/>
          <a:lstStyle>
            <a:lvl1pPr marL="0" indent="0" algn="ctr">
              <a:buFontTx/>
              <a:buNone/>
              <a:defRPr b="1">
                <a:solidFill>
                  <a:schemeClr val="bg1"/>
                </a:solidFill>
              </a:defRPr>
            </a:lvl1pPr>
          </a:lstStyle>
          <a:p>
            <a:pPr lvl="0"/>
            <a:r>
              <a:rPr lang="en-US"/>
              <a:t>03</a:t>
            </a:r>
            <a:endParaRPr lang="en-GB"/>
          </a:p>
        </p:txBody>
      </p:sp>
      <p:sp>
        <p:nvSpPr>
          <p:cNvPr id="71" name="Text Placeholder 13">
            <a:extLst>
              <a:ext uri="{FF2B5EF4-FFF2-40B4-BE49-F238E27FC236}">
                <a16:creationId xmlns:a16="http://schemas.microsoft.com/office/drawing/2014/main" id="{607D7CD9-2420-6145-8FF6-F2A2DC617951}"/>
              </a:ext>
            </a:extLst>
          </p:cNvPr>
          <p:cNvSpPr>
            <a:spLocks noGrp="1"/>
          </p:cNvSpPr>
          <p:nvPr>
            <p:ph type="body" sz="quarter" idx="49" hasCustomPrompt="1"/>
          </p:nvPr>
        </p:nvSpPr>
        <p:spPr>
          <a:xfrm>
            <a:off x="5818633" y="3425109"/>
            <a:ext cx="368128" cy="367458"/>
          </a:xfrm>
        </p:spPr>
        <p:txBody>
          <a:bodyPr anchor="ctr"/>
          <a:lstStyle>
            <a:lvl1pPr marL="0" indent="0" algn="ctr">
              <a:buFontTx/>
              <a:buNone/>
              <a:defRPr b="1">
                <a:solidFill>
                  <a:schemeClr val="bg1"/>
                </a:solidFill>
              </a:defRPr>
            </a:lvl1pPr>
          </a:lstStyle>
          <a:p>
            <a:pPr lvl="0"/>
            <a:r>
              <a:rPr lang="en-US"/>
              <a:t>04</a:t>
            </a:r>
            <a:endParaRPr lang="en-GB"/>
          </a:p>
        </p:txBody>
      </p:sp>
      <p:sp>
        <p:nvSpPr>
          <p:cNvPr id="72" name="Text Placeholder 13">
            <a:extLst>
              <a:ext uri="{FF2B5EF4-FFF2-40B4-BE49-F238E27FC236}">
                <a16:creationId xmlns:a16="http://schemas.microsoft.com/office/drawing/2014/main" id="{51B76D5F-5EDA-B74B-B03E-586062420190}"/>
              </a:ext>
            </a:extLst>
          </p:cNvPr>
          <p:cNvSpPr>
            <a:spLocks noGrp="1"/>
          </p:cNvSpPr>
          <p:nvPr>
            <p:ph type="body" sz="quarter" idx="50" hasCustomPrompt="1"/>
          </p:nvPr>
        </p:nvSpPr>
        <p:spPr>
          <a:xfrm>
            <a:off x="7680030" y="3417946"/>
            <a:ext cx="368128" cy="367458"/>
          </a:xfrm>
        </p:spPr>
        <p:txBody>
          <a:bodyPr anchor="ctr"/>
          <a:lstStyle>
            <a:lvl1pPr marL="0" indent="0" algn="ctr">
              <a:buFontTx/>
              <a:buNone/>
              <a:defRPr b="1">
                <a:solidFill>
                  <a:schemeClr val="bg1"/>
                </a:solidFill>
              </a:defRPr>
            </a:lvl1pPr>
          </a:lstStyle>
          <a:p>
            <a:pPr lvl="0"/>
            <a:r>
              <a:rPr lang="en-US"/>
              <a:t>05</a:t>
            </a:r>
            <a:endParaRPr lang="en-GB"/>
          </a:p>
        </p:txBody>
      </p:sp>
      <p:sp>
        <p:nvSpPr>
          <p:cNvPr id="73" name="Text Placeholder 13">
            <a:extLst>
              <a:ext uri="{FF2B5EF4-FFF2-40B4-BE49-F238E27FC236}">
                <a16:creationId xmlns:a16="http://schemas.microsoft.com/office/drawing/2014/main" id="{FF3F69AD-6C9C-DC4F-ADDC-473D8F858292}"/>
              </a:ext>
            </a:extLst>
          </p:cNvPr>
          <p:cNvSpPr>
            <a:spLocks noGrp="1"/>
          </p:cNvSpPr>
          <p:nvPr>
            <p:ph type="body" sz="quarter" idx="51" hasCustomPrompt="1"/>
          </p:nvPr>
        </p:nvSpPr>
        <p:spPr>
          <a:xfrm>
            <a:off x="9536224" y="3434758"/>
            <a:ext cx="368128" cy="367458"/>
          </a:xfrm>
        </p:spPr>
        <p:txBody>
          <a:bodyPr anchor="ctr"/>
          <a:lstStyle>
            <a:lvl1pPr marL="0" indent="0" algn="ctr">
              <a:buFontTx/>
              <a:buNone/>
              <a:defRPr b="1">
                <a:solidFill>
                  <a:schemeClr val="bg1"/>
                </a:solidFill>
              </a:defRPr>
            </a:lvl1pPr>
          </a:lstStyle>
          <a:p>
            <a:pPr lvl="0"/>
            <a:r>
              <a:rPr lang="en-US"/>
              <a:t>06</a:t>
            </a:r>
            <a:endParaRPr lang="en-GB"/>
          </a:p>
        </p:txBody>
      </p:sp>
      <p:sp>
        <p:nvSpPr>
          <p:cNvPr id="17" name="Footer Placeholder 16">
            <a:extLst>
              <a:ext uri="{FF2B5EF4-FFF2-40B4-BE49-F238E27FC236}">
                <a16:creationId xmlns:a16="http://schemas.microsoft.com/office/drawing/2014/main" id="{E88C3B24-9F24-3D4B-A21B-D165DB031E58}"/>
              </a:ext>
            </a:extLst>
          </p:cNvPr>
          <p:cNvSpPr>
            <a:spLocks noGrp="1"/>
          </p:cNvSpPr>
          <p:nvPr>
            <p:ph type="ftr" sz="quarter" idx="52"/>
          </p:nvPr>
        </p:nvSpPr>
        <p:spPr/>
        <p:txBody>
          <a:bodyPr/>
          <a:lstStyle/>
          <a:p>
            <a:r>
              <a:rPr lang="en-GB"/>
              <a:t>For internal use only</a:t>
            </a:r>
          </a:p>
        </p:txBody>
      </p:sp>
      <p:sp>
        <p:nvSpPr>
          <p:cNvPr id="52" name="Slide Number Placeholder 9">
            <a:extLst>
              <a:ext uri="{FF2B5EF4-FFF2-40B4-BE49-F238E27FC236}">
                <a16:creationId xmlns:a16="http://schemas.microsoft.com/office/drawing/2014/main" id="{F135DB42-BE66-914B-8A5C-5D6898B56279}"/>
              </a:ext>
            </a:extLst>
          </p:cNvPr>
          <p:cNvSpPr>
            <a:spLocks noGrp="1"/>
          </p:cNvSpPr>
          <p:nvPr>
            <p:ph type="sldNum" sz="quarter" idx="27"/>
          </p:nvPr>
        </p:nvSpPr>
        <p:spPr>
          <a:xfrm>
            <a:off x="11336459" y="6446507"/>
            <a:ext cx="366016" cy="162000"/>
          </a:xfrm>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334332897"/>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Project_Team_01_Group">
    <p:bg>
      <p:bgPr>
        <a:solidFill>
          <a:schemeClr val="bg1"/>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6B5714A9-45DE-524D-9970-9EA7DDF87BEB}"/>
              </a:ext>
            </a:extLst>
          </p:cNvPr>
          <p:cNvPicPr>
            <a:picLocks noChangeAspect="1"/>
          </p:cNvPicPr>
          <p:nvPr userDrawn="1"/>
        </p:nvPicPr>
        <p:blipFill>
          <a:blip r:embed="rId2"/>
          <a:stretch>
            <a:fillRect/>
          </a:stretch>
        </p:blipFill>
        <p:spPr>
          <a:xfrm>
            <a:off x="0" y="0"/>
            <a:ext cx="2459038" cy="6858000"/>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758FE046-E09D-E24E-881E-F3188DC2A04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5367" y="6301117"/>
            <a:ext cx="1258035" cy="376657"/>
          </a:xfrm>
          <a:prstGeom prst="rect">
            <a:avLst/>
          </a:prstGeom>
        </p:spPr>
      </p:pic>
      <p:sp>
        <p:nvSpPr>
          <p:cNvPr id="13" name="Text Placeholder 7">
            <a:extLst>
              <a:ext uri="{FF2B5EF4-FFF2-40B4-BE49-F238E27FC236}">
                <a16:creationId xmlns:a16="http://schemas.microsoft.com/office/drawing/2014/main" id="{6457E5D1-FE44-7348-B50B-4BC998A4930C}"/>
              </a:ext>
            </a:extLst>
          </p:cNvPr>
          <p:cNvSpPr>
            <a:spLocks noGrp="1"/>
          </p:cNvSpPr>
          <p:nvPr>
            <p:ph type="body" sz="quarter" idx="13" hasCustomPrompt="1"/>
          </p:nvPr>
        </p:nvSpPr>
        <p:spPr>
          <a:xfrm>
            <a:off x="580295" y="421329"/>
            <a:ext cx="1709209" cy="1149880"/>
          </a:xfrm>
        </p:spPr>
        <p:txBody>
          <a:bodyPr wrap="square">
            <a:noAutofit/>
          </a:bodyPr>
          <a:lstStyle>
            <a:lvl1pPr marL="0" indent="0">
              <a:lnSpc>
                <a:spcPct val="85000"/>
              </a:lnSpc>
              <a:spcAft>
                <a:spcPts val="0"/>
              </a:spcAft>
              <a:buNone/>
              <a:defRPr sz="2000" b="1" spc="20" baseline="0">
                <a:solidFill>
                  <a:schemeClr val="tx1"/>
                </a:solidFill>
              </a:defRPr>
            </a:lvl1pPr>
          </a:lstStyle>
          <a:p>
            <a:pPr lvl="0"/>
            <a:r>
              <a:rPr lang="en-US"/>
              <a:t>Project team</a:t>
            </a:r>
          </a:p>
        </p:txBody>
      </p:sp>
      <p:sp>
        <p:nvSpPr>
          <p:cNvPr id="5" name="Picture Placeholder 4">
            <a:extLst>
              <a:ext uri="{FF2B5EF4-FFF2-40B4-BE49-F238E27FC236}">
                <a16:creationId xmlns:a16="http://schemas.microsoft.com/office/drawing/2014/main" id="{50D31802-E02C-9447-9A54-CEBAC4A63C05}"/>
              </a:ext>
            </a:extLst>
          </p:cNvPr>
          <p:cNvSpPr>
            <a:spLocks noGrp="1"/>
          </p:cNvSpPr>
          <p:nvPr>
            <p:ph type="pic" sz="quarter" idx="28"/>
          </p:nvPr>
        </p:nvSpPr>
        <p:spPr>
          <a:xfrm>
            <a:off x="3406775" y="704336"/>
            <a:ext cx="1332000" cy="1332000"/>
          </a:xfrm>
        </p:spPr>
        <p:txBody>
          <a:bodyPr/>
          <a:lstStyle/>
          <a:p>
            <a:endParaRPr lang="en-GB"/>
          </a:p>
        </p:txBody>
      </p:sp>
      <p:sp>
        <p:nvSpPr>
          <p:cNvPr id="20" name="Picture Placeholder 4">
            <a:extLst>
              <a:ext uri="{FF2B5EF4-FFF2-40B4-BE49-F238E27FC236}">
                <a16:creationId xmlns:a16="http://schemas.microsoft.com/office/drawing/2014/main" id="{9B7DEB3B-C47E-B441-AB7D-1C6B0556365A}"/>
              </a:ext>
            </a:extLst>
          </p:cNvPr>
          <p:cNvSpPr>
            <a:spLocks noGrp="1"/>
          </p:cNvSpPr>
          <p:nvPr>
            <p:ph type="pic" sz="quarter" idx="29"/>
          </p:nvPr>
        </p:nvSpPr>
        <p:spPr>
          <a:xfrm>
            <a:off x="5462526" y="690654"/>
            <a:ext cx="1332000" cy="1332000"/>
          </a:xfrm>
        </p:spPr>
        <p:txBody>
          <a:bodyPr/>
          <a:lstStyle/>
          <a:p>
            <a:endParaRPr lang="en-GB"/>
          </a:p>
        </p:txBody>
      </p:sp>
      <p:sp>
        <p:nvSpPr>
          <p:cNvPr id="23" name="Picture Placeholder 4">
            <a:extLst>
              <a:ext uri="{FF2B5EF4-FFF2-40B4-BE49-F238E27FC236}">
                <a16:creationId xmlns:a16="http://schemas.microsoft.com/office/drawing/2014/main" id="{3D5521A9-631A-EC4C-B998-8EB21329A1BB}"/>
              </a:ext>
            </a:extLst>
          </p:cNvPr>
          <p:cNvSpPr>
            <a:spLocks noGrp="1" noChangeAspect="1"/>
          </p:cNvSpPr>
          <p:nvPr>
            <p:ph type="pic" sz="quarter" idx="30"/>
          </p:nvPr>
        </p:nvSpPr>
        <p:spPr>
          <a:xfrm>
            <a:off x="3408020" y="3655995"/>
            <a:ext cx="936000" cy="936000"/>
          </a:xfrm>
        </p:spPr>
        <p:txBody>
          <a:bodyPr/>
          <a:lstStyle/>
          <a:p>
            <a:endParaRPr lang="en-GB"/>
          </a:p>
        </p:txBody>
      </p:sp>
      <p:sp>
        <p:nvSpPr>
          <p:cNvPr id="27" name="Picture Placeholder 4">
            <a:extLst>
              <a:ext uri="{FF2B5EF4-FFF2-40B4-BE49-F238E27FC236}">
                <a16:creationId xmlns:a16="http://schemas.microsoft.com/office/drawing/2014/main" id="{02CB0BF6-7C6F-B94C-8466-8D0193EE132D}"/>
              </a:ext>
            </a:extLst>
          </p:cNvPr>
          <p:cNvSpPr>
            <a:spLocks noGrp="1" noChangeAspect="1"/>
          </p:cNvSpPr>
          <p:nvPr>
            <p:ph type="pic" sz="quarter" idx="32"/>
          </p:nvPr>
        </p:nvSpPr>
        <p:spPr>
          <a:xfrm>
            <a:off x="5456735" y="3662579"/>
            <a:ext cx="936000" cy="936000"/>
          </a:xfrm>
        </p:spPr>
        <p:txBody>
          <a:bodyPr/>
          <a:lstStyle/>
          <a:p>
            <a:endParaRPr lang="en-GB"/>
          </a:p>
        </p:txBody>
      </p:sp>
      <p:sp>
        <p:nvSpPr>
          <p:cNvPr id="28" name="Picture Placeholder 4">
            <a:extLst>
              <a:ext uri="{FF2B5EF4-FFF2-40B4-BE49-F238E27FC236}">
                <a16:creationId xmlns:a16="http://schemas.microsoft.com/office/drawing/2014/main" id="{5E0CD40C-91CC-1541-BB84-B760FAE6E01C}"/>
              </a:ext>
            </a:extLst>
          </p:cNvPr>
          <p:cNvSpPr>
            <a:spLocks noGrp="1" noChangeAspect="1"/>
          </p:cNvSpPr>
          <p:nvPr>
            <p:ph type="pic" sz="quarter" idx="33"/>
          </p:nvPr>
        </p:nvSpPr>
        <p:spPr>
          <a:xfrm>
            <a:off x="7505931" y="3655995"/>
            <a:ext cx="936000" cy="936000"/>
          </a:xfrm>
        </p:spPr>
        <p:txBody>
          <a:bodyPr/>
          <a:lstStyle/>
          <a:p>
            <a:endParaRPr lang="en-GB"/>
          </a:p>
        </p:txBody>
      </p:sp>
      <p:sp>
        <p:nvSpPr>
          <p:cNvPr id="30" name="Picture Placeholder 4">
            <a:extLst>
              <a:ext uri="{FF2B5EF4-FFF2-40B4-BE49-F238E27FC236}">
                <a16:creationId xmlns:a16="http://schemas.microsoft.com/office/drawing/2014/main" id="{12906366-DB0A-414B-A117-17D4BC1B7A38}"/>
              </a:ext>
            </a:extLst>
          </p:cNvPr>
          <p:cNvSpPr>
            <a:spLocks noGrp="1" noChangeAspect="1"/>
          </p:cNvSpPr>
          <p:nvPr>
            <p:ph type="pic" sz="quarter" idx="34"/>
          </p:nvPr>
        </p:nvSpPr>
        <p:spPr>
          <a:xfrm>
            <a:off x="9551974" y="3662579"/>
            <a:ext cx="936000" cy="936000"/>
          </a:xfrm>
        </p:spPr>
        <p:txBody>
          <a:bodyPr/>
          <a:lstStyle/>
          <a:p>
            <a:endParaRPr lang="en-GB"/>
          </a:p>
        </p:txBody>
      </p:sp>
      <p:cxnSp>
        <p:nvCxnSpPr>
          <p:cNvPr id="7" name="Straight Connector 6">
            <a:extLst>
              <a:ext uri="{FF2B5EF4-FFF2-40B4-BE49-F238E27FC236}">
                <a16:creationId xmlns:a16="http://schemas.microsoft.com/office/drawing/2014/main" id="{3B493D89-E9F5-584C-97C7-CEC74957F0BE}"/>
              </a:ext>
            </a:extLst>
          </p:cNvPr>
          <p:cNvCxnSpPr/>
          <p:nvPr userDrawn="1"/>
        </p:nvCxnSpPr>
        <p:spPr>
          <a:xfrm>
            <a:off x="3394075" y="2151368"/>
            <a:ext cx="0" cy="777183"/>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1" name="Text Placeholder 7">
            <a:extLst>
              <a:ext uri="{FF2B5EF4-FFF2-40B4-BE49-F238E27FC236}">
                <a16:creationId xmlns:a16="http://schemas.microsoft.com/office/drawing/2014/main" id="{8A6CAF88-6815-C446-A9E9-D9690E4F1890}"/>
              </a:ext>
            </a:extLst>
          </p:cNvPr>
          <p:cNvSpPr>
            <a:spLocks noGrp="1"/>
          </p:cNvSpPr>
          <p:nvPr>
            <p:ph type="body" sz="quarter" idx="35" hasCustomPrompt="1"/>
          </p:nvPr>
        </p:nvSpPr>
        <p:spPr>
          <a:xfrm>
            <a:off x="3589305" y="2212755"/>
            <a:ext cx="1498633" cy="149445"/>
          </a:xfrm>
        </p:spPr>
        <p:txBody>
          <a:bodyPr wrap="square">
            <a:noAutofit/>
          </a:bodyPr>
          <a:lstStyle>
            <a:lvl1pPr marL="0" indent="0">
              <a:lnSpc>
                <a:spcPct val="85000"/>
              </a:lnSpc>
              <a:spcAft>
                <a:spcPts val="0"/>
              </a:spcAft>
              <a:buNone/>
              <a:defRPr sz="1000" b="1" spc="20" baseline="0">
                <a:solidFill>
                  <a:schemeClr val="tx1"/>
                </a:solidFill>
              </a:defRPr>
            </a:lvl1pPr>
          </a:lstStyle>
          <a:p>
            <a:pPr lvl="0"/>
            <a:r>
              <a:rPr lang="en-US"/>
              <a:t>Mary Fletcher-Louis</a:t>
            </a:r>
          </a:p>
        </p:txBody>
      </p:sp>
      <p:sp>
        <p:nvSpPr>
          <p:cNvPr id="32" name="Text Placeholder 7">
            <a:extLst>
              <a:ext uri="{FF2B5EF4-FFF2-40B4-BE49-F238E27FC236}">
                <a16:creationId xmlns:a16="http://schemas.microsoft.com/office/drawing/2014/main" id="{8C403900-3033-EC47-B30E-0251B718D855}"/>
              </a:ext>
            </a:extLst>
          </p:cNvPr>
          <p:cNvSpPr>
            <a:spLocks noGrp="1"/>
          </p:cNvSpPr>
          <p:nvPr>
            <p:ph type="body" sz="quarter" idx="36" hasCustomPrompt="1"/>
          </p:nvPr>
        </p:nvSpPr>
        <p:spPr>
          <a:xfrm>
            <a:off x="3589305" y="2364034"/>
            <a:ext cx="1498633" cy="149445"/>
          </a:xfrm>
        </p:spPr>
        <p:txBody>
          <a:bodyPr wrap="square">
            <a:noAutofit/>
          </a:bodyPr>
          <a:lstStyle>
            <a:lvl1pPr marL="0" indent="0">
              <a:lnSpc>
                <a:spcPct val="85000"/>
              </a:lnSpc>
              <a:spcAft>
                <a:spcPts val="0"/>
              </a:spcAft>
              <a:buNone/>
              <a:defRPr sz="1000" b="0" spc="20" baseline="0">
                <a:solidFill>
                  <a:schemeClr val="tx1"/>
                </a:solidFill>
              </a:defRPr>
            </a:lvl1pPr>
          </a:lstStyle>
          <a:p>
            <a:pPr lvl="0"/>
            <a:r>
              <a:rPr lang="en-US"/>
              <a:t>Payer testing expert</a:t>
            </a:r>
          </a:p>
        </p:txBody>
      </p:sp>
      <p:sp>
        <p:nvSpPr>
          <p:cNvPr id="34" name="Text Placeholder 7">
            <a:extLst>
              <a:ext uri="{FF2B5EF4-FFF2-40B4-BE49-F238E27FC236}">
                <a16:creationId xmlns:a16="http://schemas.microsoft.com/office/drawing/2014/main" id="{781ECD7D-170E-3A44-9833-C149786F7FD7}"/>
              </a:ext>
            </a:extLst>
          </p:cNvPr>
          <p:cNvSpPr>
            <a:spLocks noGrp="1"/>
          </p:cNvSpPr>
          <p:nvPr>
            <p:ph type="body" sz="quarter" idx="37" hasCustomPrompt="1"/>
          </p:nvPr>
        </p:nvSpPr>
        <p:spPr>
          <a:xfrm>
            <a:off x="3589305" y="2694695"/>
            <a:ext cx="1498633" cy="149445"/>
          </a:xfrm>
        </p:spPr>
        <p:txBody>
          <a:bodyPr wrap="square">
            <a:noAutofit/>
          </a:bodyPr>
          <a:lstStyle>
            <a:lvl1pPr marL="171450" indent="-171450">
              <a:lnSpc>
                <a:spcPct val="100000"/>
              </a:lnSpc>
              <a:spcAft>
                <a:spcPts val="0"/>
              </a:spcAft>
              <a:buFont typeface="Arial" panose="020B0604020202020204" pitchFamily="34" charset="0"/>
              <a:buChar char="•"/>
              <a:defRPr sz="800" b="0" spc="20" baseline="0">
                <a:solidFill>
                  <a:schemeClr val="tx1"/>
                </a:solidFill>
              </a:defRPr>
            </a:lvl1pPr>
          </a:lstStyle>
          <a:p>
            <a:pPr lvl="0"/>
            <a:r>
              <a:rPr lang="en-US"/>
              <a:t>Planning of payer testing</a:t>
            </a:r>
          </a:p>
        </p:txBody>
      </p:sp>
      <p:sp>
        <p:nvSpPr>
          <p:cNvPr id="38" name="Text Placeholder 7">
            <a:extLst>
              <a:ext uri="{FF2B5EF4-FFF2-40B4-BE49-F238E27FC236}">
                <a16:creationId xmlns:a16="http://schemas.microsoft.com/office/drawing/2014/main" id="{A1EBDA58-F011-EF4B-934E-CDDC1F062D08}"/>
              </a:ext>
            </a:extLst>
          </p:cNvPr>
          <p:cNvSpPr>
            <a:spLocks noGrp="1"/>
          </p:cNvSpPr>
          <p:nvPr>
            <p:ph type="body" sz="quarter" idx="38" hasCustomPrompt="1"/>
          </p:nvPr>
        </p:nvSpPr>
        <p:spPr>
          <a:xfrm>
            <a:off x="5639265" y="2212755"/>
            <a:ext cx="1498633" cy="149445"/>
          </a:xfrm>
        </p:spPr>
        <p:txBody>
          <a:bodyPr wrap="square">
            <a:noAutofit/>
          </a:bodyPr>
          <a:lstStyle>
            <a:lvl1pPr marL="0" indent="0">
              <a:lnSpc>
                <a:spcPct val="85000"/>
              </a:lnSpc>
              <a:spcAft>
                <a:spcPts val="0"/>
              </a:spcAft>
              <a:buNone/>
              <a:defRPr sz="1000" b="1" spc="20" baseline="0">
                <a:solidFill>
                  <a:schemeClr val="tx1"/>
                </a:solidFill>
              </a:defRPr>
            </a:lvl1pPr>
          </a:lstStyle>
          <a:p>
            <a:pPr lvl="0"/>
            <a:r>
              <a:rPr lang="en-US"/>
              <a:t>Carrie Fidler</a:t>
            </a:r>
          </a:p>
        </p:txBody>
      </p:sp>
      <p:sp>
        <p:nvSpPr>
          <p:cNvPr id="39" name="Text Placeholder 7">
            <a:extLst>
              <a:ext uri="{FF2B5EF4-FFF2-40B4-BE49-F238E27FC236}">
                <a16:creationId xmlns:a16="http://schemas.microsoft.com/office/drawing/2014/main" id="{1AF6E139-55AF-9548-9961-1AE579C69B64}"/>
              </a:ext>
            </a:extLst>
          </p:cNvPr>
          <p:cNvSpPr>
            <a:spLocks noGrp="1"/>
          </p:cNvSpPr>
          <p:nvPr>
            <p:ph type="body" sz="quarter" idx="39" hasCustomPrompt="1"/>
          </p:nvPr>
        </p:nvSpPr>
        <p:spPr>
          <a:xfrm>
            <a:off x="5639265" y="2364034"/>
            <a:ext cx="1498633" cy="149445"/>
          </a:xfrm>
        </p:spPr>
        <p:txBody>
          <a:bodyPr wrap="square">
            <a:noAutofit/>
          </a:bodyPr>
          <a:lstStyle>
            <a:lvl1pPr marL="0" indent="0">
              <a:lnSpc>
                <a:spcPct val="85000"/>
              </a:lnSpc>
              <a:spcAft>
                <a:spcPts val="0"/>
              </a:spcAft>
              <a:buNone/>
              <a:defRPr sz="1000" b="0" spc="20" baseline="0">
                <a:solidFill>
                  <a:schemeClr val="tx1"/>
                </a:solidFill>
              </a:defRPr>
            </a:lvl1pPr>
          </a:lstStyle>
          <a:p>
            <a:pPr lvl="0"/>
            <a:r>
              <a:rPr lang="en-US"/>
              <a:t>Senior Director</a:t>
            </a:r>
          </a:p>
        </p:txBody>
      </p:sp>
      <p:sp>
        <p:nvSpPr>
          <p:cNvPr id="40" name="Text Placeholder 7">
            <a:extLst>
              <a:ext uri="{FF2B5EF4-FFF2-40B4-BE49-F238E27FC236}">
                <a16:creationId xmlns:a16="http://schemas.microsoft.com/office/drawing/2014/main" id="{2A042059-CE1C-A547-B8CE-B945CF567BBB}"/>
              </a:ext>
            </a:extLst>
          </p:cNvPr>
          <p:cNvSpPr>
            <a:spLocks noGrp="1"/>
          </p:cNvSpPr>
          <p:nvPr>
            <p:ph type="body" sz="quarter" idx="40" hasCustomPrompt="1"/>
          </p:nvPr>
        </p:nvSpPr>
        <p:spPr>
          <a:xfrm>
            <a:off x="5639265" y="2694695"/>
            <a:ext cx="1498633" cy="149445"/>
          </a:xfrm>
        </p:spPr>
        <p:txBody>
          <a:bodyPr wrap="square">
            <a:noAutofit/>
          </a:bodyPr>
          <a:lstStyle>
            <a:lvl1pPr marL="171450" indent="-171450">
              <a:lnSpc>
                <a:spcPct val="100000"/>
              </a:lnSpc>
              <a:spcAft>
                <a:spcPts val="0"/>
              </a:spcAft>
              <a:buFont typeface="Arial" panose="020B0604020202020204" pitchFamily="34" charset="0"/>
              <a:buChar char="•"/>
              <a:defRPr sz="800" b="0" spc="20" baseline="0">
                <a:solidFill>
                  <a:schemeClr val="tx1"/>
                </a:solidFill>
              </a:defRPr>
            </a:lvl1pPr>
          </a:lstStyle>
          <a:p>
            <a:pPr lvl="0"/>
            <a:r>
              <a:rPr lang="en-US"/>
              <a:t>Strategic advice: value communication tools</a:t>
            </a:r>
          </a:p>
        </p:txBody>
      </p:sp>
      <p:cxnSp>
        <p:nvCxnSpPr>
          <p:cNvPr id="41" name="Straight Connector 40">
            <a:extLst>
              <a:ext uri="{FF2B5EF4-FFF2-40B4-BE49-F238E27FC236}">
                <a16:creationId xmlns:a16="http://schemas.microsoft.com/office/drawing/2014/main" id="{F236A289-6DD9-574E-AF84-B8656A6A642D}"/>
              </a:ext>
            </a:extLst>
          </p:cNvPr>
          <p:cNvCxnSpPr>
            <a:cxnSpLocks/>
          </p:cNvCxnSpPr>
          <p:nvPr userDrawn="1"/>
        </p:nvCxnSpPr>
        <p:spPr>
          <a:xfrm>
            <a:off x="3395842" y="4735050"/>
            <a:ext cx="0" cy="136095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2" name="Text Placeholder 7">
            <a:extLst>
              <a:ext uri="{FF2B5EF4-FFF2-40B4-BE49-F238E27FC236}">
                <a16:creationId xmlns:a16="http://schemas.microsoft.com/office/drawing/2014/main" id="{BD5D04D3-D39D-D940-A24C-DD7727D56C5C}"/>
              </a:ext>
            </a:extLst>
          </p:cNvPr>
          <p:cNvSpPr>
            <a:spLocks noGrp="1"/>
          </p:cNvSpPr>
          <p:nvPr>
            <p:ph type="body" sz="quarter" idx="41" hasCustomPrompt="1"/>
          </p:nvPr>
        </p:nvSpPr>
        <p:spPr>
          <a:xfrm>
            <a:off x="3578193" y="4796437"/>
            <a:ext cx="1498633" cy="149445"/>
          </a:xfrm>
        </p:spPr>
        <p:txBody>
          <a:bodyPr wrap="square">
            <a:noAutofit/>
          </a:bodyPr>
          <a:lstStyle>
            <a:lvl1pPr marL="0" indent="0">
              <a:lnSpc>
                <a:spcPct val="85000"/>
              </a:lnSpc>
              <a:spcAft>
                <a:spcPts val="0"/>
              </a:spcAft>
              <a:buNone/>
              <a:defRPr sz="1000" b="1" spc="20" baseline="0">
                <a:solidFill>
                  <a:schemeClr val="tx1"/>
                </a:solidFill>
              </a:defRPr>
            </a:lvl1pPr>
          </a:lstStyle>
          <a:p>
            <a:pPr lvl="0"/>
            <a:r>
              <a:rPr lang="en-US"/>
              <a:t>Ryan Bishop</a:t>
            </a:r>
          </a:p>
        </p:txBody>
      </p:sp>
      <p:sp>
        <p:nvSpPr>
          <p:cNvPr id="43" name="Text Placeholder 7">
            <a:extLst>
              <a:ext uri="{FF2B5EF4-FFF2-40B4-BE49-F238E27FC236}">
                <a16:creationId xmlns:a16="http://schemas.microsoft.com/office/drawing/2014/main" id="{8CEAB024-C126-C04D-8B48-51A08A07E704}"/>
              </a:ext>
            </a:extLst>
          </p:cNvPr>
          <p:cNvSpPr>
            <a:spLocks noGrp="1"/>
          </p:cNvSpPr>
          <p:nvPr>
            <p:ph type="body" sz="quarter" idx="42" hasCustomPrompt="1"/>
          </p:nvPr>
        </p:nvSpPr>
        <p:spPr>
          <a:xfrm>
            <a:off x="3578193" y="4947716"/>
            <a:ext cx="1498633" cy="149445"/>
          </a:xfrm>
        </p:spPr>
        <p:txBody>
          <a:bodyPr wrap="square">
            <a:noAutofit/>
          </a:bodyPr>
          <a:lstStyle>
            <a:lvl1pPr marL="0" indent="0">
              <a:lnSpc>
                <a:spcPct val="85000"/>
              </a:lnSpc>
              <a:spcAft>
                <a:spcPts val="0"/>
              </a:spcAft>
              <a:buNone/>
              <a:defRPr sz="1000" b="0" spc="20" baseline="0">
                <a:solidFill>
                  <a:schemeClr val="tx1"/>
                </a:solidFill>
              </a:defRPr>
            </a:lvl1pPr>
          </a:lstStyle>
          <a:p>
            <a:pPr lvl="0"/>
            <a:r>
              <a:rPr lang="en-US"/>
              <a:t>Project Lead</a:t>
            </a:r>
          </a:p>
        </p:txBody>
      </p:sp>
      <p:sp>
        <p:nvSpPr>
          <p:cNvPr id="44" name="Text Placeholder 7">
            <a:extLst>
              <a:ext uri="{FF2B5EF4-FFF2-40B4-BE49-F238E27FC236}">
                <a16:creationId xmlns:a16="http://schemas.microsoft.com/office/drawing/2014/main" id="{E1C73E7D-0150-8941-8AC3-0CE1A29F8DE2}"/>
              </a:ext>
            </a:extLst>
          </p:cNvPr>
          <p:cNvSpPr>
            <a:spLocks noGrp="1"/>
          </p:cNvSpPr>
          <p:nvPr>
            <p:ph type="body" sz="quarter" idx="43" hasCustomPrompt="1"/>
          </p:nvPr>
        </p:nvSpPr>
        <p:spPr>
          <a:xfrm>
            <a:off x="3578193" y="5278377"/>
            <a:ext cx="1498633" cy="149445"/>
          </a:xfrm>
        </p:spPr>
        <p:txBody>
          <a:bodyPr wrap="square">
            <a:noAutofit/>
          </a:bodyPr>
          <a:lstStyle>
            <a:lvl1pPr marL="171450" indent="-171450">
              <a:lnSpc>
                <a:spcPct val="100000"/>
              </a:lnSpc>
              <a:spcAft>
                <a:spcPts val="0"/>
              </a:spcAft>
              <a:buFont typeface="Arial" panose="020B0604020202020204" pitchFamily="34" charset="0"/>
              <a:buChar char="•"/>
              <a:defRPr sz="800" b="0" spc="20" baseline="0">
                <a:solidFill>
                  <a:schemeClr val="tx1"/>
                </a:solidFill>
              </a:defRPr>
            </a:lvl1pPr>
          </a:lstStyle>
          <a:p>
            <a:pPr lvl="0"/>
            <a:r>
              <a:rPr lang="en-US"/>
              <a:t>Project planning</a:t>
            </a:r>
          </a:p>
          <a:p>
            <a:pPr lvl="0"/>
            <a:r>
              <a:rPr lang="en-US"/>
              <a:t>Liaison and consultancy</a:t>
            </a:r>
          </a:p>
          <a:p>
            <a:pPr lvl="0"/>
            <a:r>
              <a:rPr lang="en-US"/>
              <a:t>Internal reviews and QC </a:t>
            </a:r>
          </a:p>
        </p:txBody>
      </p:sp>
      <p:cxnSp>
        <p:nvCxnSpPr>
          <p:cNvPr id="49" name="Straight Connector 48">
            <a:extLst>
              <a:ext uri="{FF2B5EF4-FFF2-40B4-BE49-F238E27FC236}">
                <a16:creationId xmlns:a16="http://schemas.microsoft.com/office/drawing/2014/main" id="{3E16E982-34F8-0F47-9307-3ECFCC7C4086}"/>
              </a:ext>
            </a:extLst>
          </p:cNvPr>
          <p:cNvCxnSpPr>
            <a:cxnSpLocks/>
          </p:cNvCxnSpPr>
          <p:nvPr userDrawn="1"/>
        </p:nvCxnSpPr>
        <p:spPr>
          <a:xfrm>
            <a:off x="5456735" y="4708569"/>
            <a:ext cx="0" cy="1387431"/>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0" name="Text Placeholder 7">
            <a:extLst>
              <a:ext uri="{FF2B5EF4-FFF2-40B4-BE49-F238E27FC236}">
                <a16:creationId xmlns:a16="http://schemas.microsoft.com/office/drawing/2014/main" id="{B5839DE9-DC55-1F4C-9E47-2F4A856167F4}"/>
              </a:ext>
            </a:extLst>
          </p:cNvPr>
          <p:cNvSpPr>
            <a:spLocks noGrp="1"/>
          </p:cNvSpPr>
          <p:nvPr>
            <p:ph type="body" sz="quarter" idx="44" hasCustomPrompt="1"/>
          </p:nvPr>
        </p:nvSpPr>
        <p:spPr>
          <a:xfrm>
            <a:off x="5639265" y="4769956"/>
            <a:ext cx="1498633" cy="149445"/>
          </a:xfrm>
        </p:spPr>
        <p:txBody>
          <a:bodyPr wrap="square">
            <a:noAutofit/>
          </a:bodyPr>
          <a:lstStyle>
            <a:lvl1pPr marL="0" indent="0">
              <a:lnSpc>
                <a:spcPct val="85000"/>
              </a:lnSpc>
              <a:spcAft>
                <a:spcPts val="0"/>
              </a:spcAft>
              <a:buNone/>
              <a:defRPr sz="1000" b="1" spc="20" baseline="0">
                <a:solidFill>
                  <a:schemeClr val="tx1"/>
                </a:solidFill>
              </a:defRPr>
            </a:lvl1pPr>
          </a:lstStyle>
          <a:p>
            <a:pPr lvl="0"/>
            <a:r>
              <a:rPr lang="en-US"/>
              <a:t>Andre </a:t>
            </a:r>
            <a:r>
              <a:rPr lang="en-US" err="1"/>
              <a:t>Niezgoda</a:t>
            </a:r>
            <a:endParaRPr lang="en-US"/>
          </a:p>
        </p:txBody>
      </p:sp>
      <p:sp>
        <p:nvSpPr>
          <p:cNvPr id="51" name="Text Placeholder 7">
            <a:extLst>
              <a:ext uri="{FF2B5EF4-FFF2-40B4-BE49-F238E27FC236}">
                <a16:creationId xmlns:a16="http://schemas.microsoft.com/office/drawing/2014/main" id="{CADC2729-F7CE-AB4F-8545-072C37EA3971}"/>
              </a:ext>
            </a:extLst>
          </p:cNvPr>
          <p:cNvSpPr>
            <a:spLocks noGrp="1"/>
          </p:cNvSpPr>
          <p:nvPr>
            <p:ph type="body" sz="quarter" idx="45" hasCustomPrompt="1"/>
          </p:nvPr>
        </p:nvSpPr>
        <p:spPr>
          <a:xfrm>
            <a:off x="5639265" y="4921235"/>
            <a:ext cx="1498633" cy="149445"/>
          </a:xfrm>
        </p:spPr>
        <p:txBody>
          <a:bodyPr wrap="square">
            <a:noAutofit/>
          </a:bodyPr>
          <a:lstStyle>
            <a:lvl1pPr marL="0" indent="0">
              <a:lnSpc>
                <a:spcPct val="85000"/>
              </a:lnSpc>
              <a:spcAft>
                <a:spcPts val="0"/>
              </a:spcAft>
              <a:buNone/>
              <a:defRPr sz="1000" b="0" spc="20" baseline="0">
                <a:solidFill>
                  <a:schemeClr val="tx1"/>
                </a:solidFill>
              </a:defRPr>
            </a:lvl1pPr>
          </a:lstStyle>
          <a:p>
            <a:pPr lvl="0"/>
            <a:r>
              <a:rPr lang="en-US"/>
              <a:t>Creative Director</a:t>
            </a:r>
          </a:p>
        </p:txBody>
      </p:sp>
      <p:sp>
        <p:nvSpPr>
          <p:cNvPr id="52" name="Text Placeholder 7">
            <a:extLst>
              <a:ext uri="{FF2B5EF4-FFF2-40B4-BE49-F238E27FC236}">
                <a16:creationId xmlns:a16="http://schemas.microsoft.com/office/drawing/2014/main" id="{ACC267D9-3DCB-1F44-BB99-F71D3DA5F2CB}"/>
              </a:ext>
            </a:extLst>
          </p:cNvPr>
          <p:cNvSpPr>
            <a:spLocks noGrp="1"/>
          </p:cNvSpPr>
          <p:nvPr>
            <p:ph type="body" sz="quarter" idx="46" hasCustomPrompt="1"/>
          </p:nvPr>
        </p:nvSpPr>
        <p:spPr>
          <a:xfrm>
            <a:off x="5639265" y="5251896"/>
            <a:ext cx="1498633" cy="149445"/>
          </a:xfrm>
        </p:spPr>
        <p:txBody>
          <a:bodyPr wrap="square">
            <a:noAutofit/>
          </a:bodyPr>
          <a:lstStyle>
            <a:lvl1pPr marL="171450" indent="-171450">
              <a:lnSpc>
                <a:spcPct val="100000"/>
              </a:lnSpc>
              <a:spcAft>
                <a:spcPts val="0"/>
              </a:spcAft>
              <a:buFont typeface="Arial" panose="020B0604020202020204" pitchFamily="34" charset="0"/>
              <a:buChar char="•"/>
              <a:defRPr sz="800" b="0" spc="20" baseline="0">
                <a:solidFill>
                  <a:schemeClr val="tx1"/>
                </a:solidFill>
              </a:defRPr>
            </a:lvl1pPr>
          </a:lstStyle>
          <a:p>
            <a:pPr lvl="0"/>
            <a:r>
              <a:rPr lang="en-US"/>
              <a:t>Creative design for all deliverables</a:t>
            </a:r>
          </a:p>
          <a:p>
            <a:pPr lvl="0"/>
            <a:r>
              <a:rPr lang="en-US"/>
              <a:t>Brand guidance</a:t>
            </a:r>
          </a:p>
          <a:p>
            <a:pPr lvl="0"/>
            <a:r>
              <a:rPr lang="en-US"/>
              <a:t>Consistency</a:t>
            </a:r>
          </a:p>
        </p:txBody>
      </p:sp>
      <p:cxnSp>
        <p:nvCxnSpPr>
          <p:cNvPr id="53" name="Straight Connector 52">
            <a:extLst>
              <a:ext uri="{FF2B5EF4-FFF2-40B4-BE49-F238E27FC236}">
                <a16:creationId xmlns:a16="http://schemas.microsoft.com/office/drawing/2014/main" id="{8C2350AE-3160-6B4D-B0FE-682A2EFB81D6}"/>
              </a:ext>
            </a:extLst>
          </p:cNvPr>
          <p:cNvCxnSpPr>
            <a:cxnSpLocks/>
          </p:cNvCxnSpPr>
          <p:nvPr userDrawn="1"/>
        </p:nvCxnSpPr>
        <p:spPr>
          <a:xfrm>
            <a:off x="7505931" y="4727366"/>
            <a:ext cx="0" cy="1368634"/>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4" name="Text Placeholder 7">
            <a:extLst>
              <a:ext uri="{FF2B5EF4-FFF2-40B4-BE49-F238E27FC236}">
                <a16:creationId xmlns:a16="http://schemas.microsoft.com/office/drawing/2014/main" id="{E4C16AEE-9B78-6746-B8C4-F1F5D5BB3118}"/>
              </a:ext>
            </a:extLst>
          </p:cNvPr>
          <p:cNvSpPr>
            <a:spLocks noGrp="1"/>
          </p:cNvSpPr>
          <p:nvPr>
            <p:ph type="body" sz="quarter" idx="47" hasCustomPrompt="1"/>
          </p:nvPr>
        </p:nvSpPr>
        <p:spPr>
          <a:xfrm>
            <a:off x="7688461" y="4788753"/>
            <a:ext cx="1498633" cy="149445"/>
          </a:xfrm>
        </p:spPr>
        <p:txBody>
          <a:bodyPr wrap="square">
            <a:noAutofit/>
          </a:bodyPr>
          <a:lstStyle>
            <a:lvl1pPr marL="0" indent="0">
              <a:lnSpc>
                <a:spcPct val="85000"/>
              </a:lnSpc>
              <a:spcAft>
                <a:spcPts val="0"/>
              </a:spcAft>
              <a:buNone/>
              <a:defRPr sz="1000" b="1" spc="20" baseline="0">
                <a:solidFill>
                  <a:schemeClr val="tx1"/>
                </a:solidFill>
              </a:defRPr>
            </a:lvl1pPr>
          </a:lstStyle>
          <a:p>
            <a:pPr lvl="0"/>
            <a:r>
              <a:rPr lang="en-US"/>
              <a:t>Sophie Doran</a:t>
            </a:r>
          </a:p>
        </p:txBody>
      </p:sp>
      <p:sp>
        <p:nvSpPr>
          <p:cNvPr id="55" name="Text Placeholder 7">
            <a:extLst>
              <a:ext uri="{FF2B5EF4-FFF2-40B4-BE49-F238E27FC236}">
                <a16:creationId xmlns:a16="http://schemas.microsoft.com/office/drawing/2014/main" id="{799276E5-81A2-0F49-BA3E-25AFBEC01858}"/>
              </a:ext>
            </a:extLst>
          </p:cNvPr>
          <p:cNvSpPr>
            <a:spLocks noGrp="1"/>
          </p:cNvSpPr>
          <p:nvPr>
            <p:ph type="body" sz="quarter" idx="48" hasCustomPrompt="1"/>
          </p:nvPr>
        </p:nvSpPr>
        <p:spPr>
          <a:xfrm>
            <a:off x="7688461" y="4940032"/>
            <a:ext cx="1498633" cy="149445"/>
          </a:xfrm>
        </p:spPr>
        <p:txBody>
          <a:bodyPr wrap="square">
            <a:noAutofit/>
          </a:bodyPr>
          <a:lstStyle>
            <a:lvl1pPr marL="0" indent="0">
              <a:lnSpc>
                <a:spcPct val="85000"/>
              </a:lnSpc>
              <a:spcAft>
                <a:spcPts val="0"/>
              </a:spcAft>
              <a:buNone/>
              <a:defRPr sz="1000" b="0" spc="20" baseline="0">
                <a:solidFill>
                  <a:schemeClr val="tx1"/>
                </a:solidFill>
              </a:defRPr>
            </a:lvl1pPr>
          </a:lstStyle>
          <a:p>
            <a:pPr lvl="0"/>
            <a:r>
              <a:rPr lang="en-US"/>
              <a:t>Director of Medical Writing</a:t>
            </a:r>
          </a:p>
        </p:txBody>
      </p:sp>
      <p:sp>
        <p:nvSpPr>
          <p:cNvPr id="56" name="Text Placeholder 7">
            <a:extLst>
              <a:ext uri="{FF2B5EF4-FFF2-40B4-BE49-F238E27FC236}">
                <a16:creationId xmlns:a16="http://schemas.microsoft.com/office/drawing/2014/main" id="{AEA5D529-EE7D-0F42-BCF6-C85026DEC944}"/>
              </a:ext>
            </a:extLst>
          </p:cNvPr>
          <p:cNvSpPr>
            <a:spLocks noGrp="1"/>
          </p:cNvSpPr>
          <p:nvPr>
            <p:ph type="body" sz="quarter" idx="49" hasCustomPrompt="1"/>
          </p:nvPr>
        </p:nvSpPr>
        <p:spPr>
          <a:xfrm>
            <a:off x="7688461" y="5270693"/>
            <a:ext cx="1498633" cy="149445"/>
          </a:xfrm>
        </p:spPr>
        <p:txBody>
          <a:bodyPr wrap="square">
            <a:noAutofit/>
          </a:bodyPr>
          <a:lstStyle>
            <a:lvl1pPr marL="171450" indent="-171450">
              <a:lnSpc>
                <a:spcPct val="100000"/>
              </a:lnSpc>
              <a:spcAft>
                <a:spcPts val="0"/>
              </a:spcAft>
              <a:buFont typeface="Arial" panose="020B0604020202020204" pitchFamily="34" charset="0"/>
              <a:buChar char="•"/>
              <a:defRPr sz="800" b="0" spc="20" baseline="0">
                <a:solidFill>
                  <a:schemeClr val="tx1"/>
                </a:solidFill>
              </a:defRPr>
            </a:lvl1pPr>
          </a:lstStyle>
          <a:p>
            <a:pPr lvl="0"/>
            <a:r>
              <a:rPr lang="en-US"/>
              <a:t>Content strategy and generation</a:t>
            </a:r>
          </a:p>
        </p:txBody>
      </p:sp>
      <p:cxnSp>
        <p:nvCxnSpPr>
          <p:cNvPr id="57" name="Straight Connector 56">
            <a:extLst>
              <a:ext uri="{FF2B5EF4-FFF2-40B4-BE49-F238E27FC236}">
                <a16:creationId xmlns:a16="http://schemas.microsoft.com/office/drawing/2014/main" id="{4ABE0B73-C93F-E042-860C-93889C7459A6}"/>
              </a:ext>
            </a:extLst>
          </p:cNvPr>
          <p:cNvCxnSpPr>
            <a:cxnSpLocks/>
          </p:cNvCxnSpPr>
          <p:nvPr userDrawn="1"/>
        </p:nvCxnSpPr>
        <p:spPr>
          <a:xfrm>
            <a:off x="9551974" y="4735050"/>
            <a:ext cx="0" cy="136095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8" name="Text Placeholder 7">
            <a:extLst>
              <a:ext uri="{FF2B5EF4-FFF2-40B4-BE49-F238E27FC236}">
                <a16:creationId xmlns:a16="http://schemas.microsoft.com/office/drawing/2014/main" id="{4A9503BE-617D-D44C-AEEB-49513279BA1D}"/>
              </a:ext>
            </a:extLst>
          </p:cNvPr>
          <p:cNvSpPr>
            <a:spLocks noGrp="1"/>
          </p:cNvSpPr>
          <p:nvPr>
            <p:ph type="body" sz="quarter" idx="50" hasCustomPrompt="1"/>
          </p:nvPr>
        </p:nvSpPr>
        <p:spPr>
          <a:xfrm>
            <a:off x="9734504" y="4796437"/>
            <a:ext cx="1498633" cy="149445"/>
          </a:xfrm>
        </p:spPr>
        <p:txBody>
          <a:bodyPr wrap="square">
            <a:noAutofit/>
          </a:bodyPr>
          <a:lstStyle>
            <a:lvl1pPr marL="0" indent="0">
              <a:lnSpc>
                <a:spcPct val="85000"/>
              </a:lnSpc>
              <a:spcAft>
                <a:spcPts val="0"/>
              </a:spcAft>
              <a:buNone/>
              <a:defRPr sz="1000" b="1" spc="20" baseline="0">
                <a:solidFill>
                  <a:schemeClr val="tx1"/>
                </a:solidFill>
              </a:defRPr>
            </a:lvl1pPr>
          </a:lstStyle>
          <a:p>
            <a:pPr lvl="0"/>
            <a:r>
              <a:rPr lang="en-US"/>
              <a:t>Fiachra Bolger</a:t>
            </a:r>
          </a:p>
        </p:txBody>
      </p:sp>
      <p:sp>
        <p:nvSpPr>
          <p:cNvPr id="59" name="Text Placeholder 7">
            <a:extLst>
              <a:ext uri="{FF2B5EF4-FFF2-40B4-BE49-F238E27FC236}">
                <a16:creationId xmlns:a16="http://schemas.microsoft.com/office/drawing/2014/main" id="{27075198-AC17-2641-861E-66C134625F50}"/>
              </a:ext>
            </a:extLst>
          </p:cNvPr>
          <p:cNvSpPr>
            <a:spLocks noGrp="1"/>
          </p:cNvSpPr>
          <p:nvPr>
            <p:ph type="body" sz="quarter" idx="51" hasCustomPrompt="1"/>
          </p:nvPr>
        </p:nvSpPr>
        <p:spPr>
          <a:xfrm>
            <a:off x="9734504" y="4947716"/>
            <a:ext cx="1498633" cy="149445"/>
          </a:xfrm>
        </p:spPr>
        <p:txBody>
          <a:bodyPr wrap="square">
            <a:noAutofit/>
          </a:bodyPr>
          <a:lstStyle>
            <a:lvl1pPr marL="0" indent="0">
              <a:lnSpc>
                <a:spcPct val="85000"/>
              </a:lnSpc>
              <a:spcAft>
                <a:spcPts val="0"/>
              </a:spcAft>
              <a:buNone/>
              <a:defRPr sz="1000" b="0" spc="20" baseline="0">
                <a:solidFill>
                  <a:schemeClr val="tx1"/>
                </a:solidFill>
              </a:defRPr>
            </a:lvl1pPr>
          </a:lstStyle>
          <a:p>
            <a:pPr lvl="0"/>
            <a:r>
              <a:rPr lang="en-US"/>
              <a:t>Medical Writer</a:t>
            </a:r>
          </a:p>
        </p:txBody>
      </p:sp>
      <p:sp>
        <p:nvSpPr>
          <p:cNvPr id="60" name="Text Placeholder 7">
            <a:extLst>
              <a:ext uri="{FF2B5EF4-FFF2-40B4-BE49-F238E27FC236}">
                <a16:creationId xmlns:a16="http://schemas.microsoft.com/office/drawing/2014/main" id="{17D35E40-D76F-6640-B424-52F6DB4FD780}"/>
              </a:ext>
            </a:extLst>
          </p:cNvPr>
          <p:cNvSpPr>
            <a:spLocks noGrp="1"/>
          </p:cNvSpPr>
          <p:nvPr>
            <p:ph type="body" sz="quarter" idx="52" hasCustomPrompt="1"/>
          </p:nvPr>
        </p:nvSpPr>
        <p:spPr>
          <a:xfrm>
            <a:off x="9734504" y="5278377"/>
            <a:ext cx="1498633" cy="408962"/>
          </a:xfrm>
        </p:spPr>
        <p:txBody>
          <a:bodyPr wrap="square">
            <a:noAutofit/>
          </a:bodyPr>
          <a:lstStyle>
            <a:lvl1pPr marL="171450" indent="-171450">
              <a:lnSpc>
                <a:spcPct val="100000"/>
              </a:lnSpc>
              <a:spcAft>
                <a:spcPts val="0"/>
              </a:spcAft>
              <a:buFont typeface="Arial" panose="020B0604020202020204" pitchFamily="34" charset="0"/>
              <a:buChar char="•"/>
              <a:defRPr sz="800" b="0" spc="20" baseline="0">
                <a:solidFill>
                  <a:schemeClr val="tx1"/>
                </a:solidFill>
              </a:defRPr>
            </a:lvl1pPr>
          </a:lstStyle>
          <a:p>
            <a:pPr lvl="0"/>
            <a:r>
              <a:rPr lang="en-US"/>
              <a:t>Writing and QC</a:t>
            </a:r>
          </a:p>
          <a:p>
            <a:pPr lvl="0"/>
            <a:r>
              <a:rPr lang="en-US"/>
              <a:t>Evidence review</a:t>
            </a:r>
          </a:p>
          <a:p>
            <a:pPr lvl="0"/>
            <a:r>
              <a:rPr lang="en-US"/>
              <a:t>Desk-based research</a:t>
            </a:r>
          </a:p>
          <a:p>
            <a:pPr lvl="0"/>
            <a:r>
              <a:rPr lang="en-US"/>
              <a:t>Content generation</a:t>
            </a:r>
          </a:p>
          <a:p>
            <a:pPr lvl="0"/>
            <a:endParaRPr lang="en-US"/>
          </a:p>
        </p:txBody>
      </p:sp>
      <p:sp>
        <p:nvSpPr>
          <p:cNvPr id="62" name="Footer Placeholder 61">
            <a:extLst>
              <a:ext uri="{FF2B5EF4-FFF2-40B4-BE49-F238E27FC236}">
                <a16:creationId xmlns:a16="http://schemas.microsoft.com/office/drawing/2014/main" id="{CC18B6E8-420D-CB4E-9E48-7A8F14A00685}"/>
              </a:ext>
            </a:extLst>
          </p:cNvPr>
          <p:cNvSpPr>
            <a:spLocks noGrp="1"/>
          </p:cNvSpPr>
          <p:nvPr>
            <p:ph type="ftr" sz="quarter" idx="53"/>
          </p:nvPr>
        </p:nvSpPr>
        <p:spPr/>
        <p:txBody>
          <a:bodyPr/>
          <a:lstStyle/>
          <a:p>
            <a:r>
              <a:rPr lang="en-GB"/>
              <a:t>For internal use only</a:t>
            </a:r>
          </a:p>
        </p:txBody>
      </p:sp>
      <p:sp>
        <p:nvSpPr>
          <p:cNvPr id="63" name="Slide Number Placeholder 62">
            <a:extLst>
              <a:ext uri="{FF2B5EF4-FFF2-40B4-BE49-F238E27FC236}">
                <a16:creationId xmlns:a16="http://schemas.microsoft.com/office/drawing/2014/main" id="{91ADD50D-FCD8-DC4A-B9BD-47AD2BDB3B61}"/>
              </a:ext>
            </a:extLst>
          </p:cNvPr>
          <p:cNvSpPr>
            <a:spLocks noGrp="1"/>
          </p:cNvSpPr>
          <p:nvPr>
            <p:ph type="sldNum" sz="quarter" idx="54"/>
          </p:nvPr>
        </p:nvSpPr>
        <p:spPr/>
        <p:txBody>
          <a:bodyPr/>
          <a:lstStyle/>
          <a:p>
            <a:fld id="{F18EFF25-22D3-7349-97D6-73D11F9E5B0D}" type="slidenum">
              <a:rPr lang="en-GB" smtClean="0"/>
              <a:pPr/>
              <a:t>‹#›</a:t>
            </a:fld>
            <a:endParaRPr lang="en-GB"/>
          </a:p>
        </p:txBody>
      </p:sp>
      <p:cxnSp>
        <p:nvCxnSpPr>
          <p:cNvPr id="45" name="Straight Connector 44">
            <a:extLst>
              <a:ext uri="{FF2B5EF4-FFF2-40B4-BE49-F238E27FC236}">
                <a16:creationId xmlns:a16="http://schemas.microsoft.com/office/drawing/2014/main" id="{DF08D252-B738-E14A-9ACA-5EDB8187A1C3}"/>
              </a:ext>
            </a:extLst>
          </p:cNvPr>
          <p:cNvCxnSpPr>
            <a:cxnSpLocks/>
          </p:cNvCxnSpPr>
          <p:nvPr userDrawn="1"/>
        </p:nvCxnSpPr>
        <p:spPr>
          <a:xfrm>
            <a:off x="3394075" y="3409744"/>
            <a:ext cx="8210550" cy="0"/>
          </a:xfrm>
          <a:prstGeom prst="line">
            <a:avLst/>
          </a:prstGeom>
          <a:ln w="9525">
            <a:solidFill>
              <a:srgbClr val="DADADA"/>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9ABACF4-8448-E34F-80F4-4920FA3DD853}"/>
              </a:ext>
            </a:extLst>
          </p:cNvPr>
          <p:cNvCxnSpPr>
            <a:cxnSpLocks/>
          </p:cNvCxnSpPr>
          <p:nvPr userDrawn="1"/>
        </p:nvCxnSpPr>
        <p:spPr>
          <a:xfrm>
            <a:off x="5456735" y="2151368"/>
            <a:ext cx="0" cy="777183"/>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2299701"/>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Biography_02">
    <p:bg>
      <p:bgPr>
        <a:solidFill>
          <a:schemeClr val="bg1"/>
        </a:solidFill>
        <a:effectLst/>
      </p:bgPr>
    </p:bg>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A545D38F-03A0-9942-8A3A-DA295733DB2B}"/>
              </a:ext>
            </a:extLst>
          </p:cNvPr>
          <p:cNvPicPr>
            <a:picLocks noChangeAspect="1"/>
          </p:cNvPicPr>
          <p:nvPr userDrawn="1"/>
        </p:nvPicPr>
        <p:blipFill>
          <a:blip r:embed="rId2"/>
          <a:stretch>
            <a:fillRect/>
          </a:stretch>
        </p:blipFill>
        <p:spPr>
          <a:xfrm>
            <a:off x="6867" y="22662"/>
            <a:ext cx="3209408" cy="6858000"/>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758FE046-E09D-E24E-881E-F3188DC2A04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5367" y="6301117"/>
            <a:ext cx="1258035" cy="376657"/>
          </a:xfrm>
          <a:prstGeom prst="rect">
            <a:avLst/>
          </a:prstGeom>
        </p:spPr>
      </p:pic>
      <p:sp>
        <p:nvSpPr>
          <p:cNvPr id="13" name="Text Placeholder 7">
            <a:extLst>
              <a:ext uri="{FF2B5EF4-FFF2-40B4-BE49-F238E27FC236}">
                <a16:creationId xmlns:a16="http://schemas.microsoft.com/office/drawing/2014/main" id="{6457E5D1-FE44-7348-B50B-4BC998A4930C}"/>
              </a:ext>
            </a:extLst>
          </p:cNvPr>
          <p:cNvSpPr>
            <a:spLocks noGrp="1"/>
          </p:cNvSpPr>
          <p:nvPr>
            <p:ph type="body" sz="quarter" idx="13" hasCustomPrompt="1"/>
          </p:nvPr>
        </p:nvSpPr>
        <p:spPr>
          <a:xfrm>
            <a:off x="580295" y="421329"/>
            <a:ext cx="1709209" cy="1149880"/>
          </a:xfrm>
        </p:spPr>
        <p:txBody>
          <a:bodyPr wrap="square">
            <a:noAutofit/>
          </a:bodyPr>
          <a:lstStyle>
            <a:lvl1pPr marL="0" indent="0">
              <a:lnSpc>
                <a:spcPct val="85000"/>
              </a:lnSpc>
              <a:spcAft>
                <a:spcPts val="0"/>
              </a:spcAft>
              <a:buNone/>
              <a:defRPr sz="2000" b="1" spc="20" baseline="0">
                <a:solidFill>
                  <a:schemeClr val="tx1"/>
                </a:solidFill>
              </a:defRPr>
            </a:lvl1pPr>
          </a:lstStyle>
          <a:p>
            <a:pPr lvl="0"/>
            <a:r>
              <a:rPr lang="en-US"/>
              <a:t>Team</a:t>
            </a:r>
            <a:br>
              <a:rPr lang="en-US"/>
            </a:br>
            <a:r>
              <a:rPr lang="en-US"/>
              <a:t>biographies</a:t>
            </a:r>
          </a:p>
        </p:txBody>
      </p:sp>
      <p:sp>
        <p:nvSpPr>
          <p:cNvPr id="5" name="Picture Placeholder 4">
            <a:extLst>
              <a:ext uri="{FF2B5EF4-FFF2-40B4-BE49-F238E27FC236}">
                <a16:creationId xmlns:a16="http://schemas.microsoft.com/office/drawing/2014/main" id="{50D31802-E02C-9447-9A54-CEBAC4A63C05}"/>
              </a:ext>
            </a:extLst>
          </p:cNvPr>
          <p:cNvSpPr>
            <a:spLocks noGrp="1"/>
          </p:cNvSpPr>
          <p:nvPr>
            <p:ph type="pic" sz="quarter" idx="28"/>
          </p:nvPr>
        </p:nvSpPr>
        <p:spPr>
          <a:xfrm>
            <a:off x="611740" y="1829901"/>
            <a:ext cx="1800000" cy="1800000"/>
          </a:xfrm>
        </p:spPr>
        <p:txBody>
          <a:bodyPr/>
          <a:lstStyle/>
          <a:p>
            <a:endParaRPr lang="en-GB"/>
          </a:p>
        </p:txBody>
      </p:sp>
      <p:sp>
        <p:nvSpPr>
          <p:cNvPr id="31" name="Text Placeholder 7">
            <a:extLst>
              <a:ext uri="{FF2B5EF4-FFF2-40B4-BE49-F238E27FC236}">
                <a16:creationId xmlns:a16="http://schemas.microsoft.com/office/drawing/2014/main" id="{8A6CAF88-6815-C446-A9E9-D9690E4F1890}"/>
              </a:ext>
            </a:extLst>
          </p:cNvPr>
          <p:cNvSpPr>
            <a:spLocks noGrp="1"/>
          </p:cNvSpPr>
          <p:nvPr>
            <p:ph type="body" sz="quarter" idx="35" hasCustomPrompt="1"/>
          </p:nvPr>
        </p:nvSpPr>
        <p:spPr>
          <a:xfrm>
            <a:off x="600628" y="3762152"/>
            <a:ext cx="1498633" cy="149445"/>
          </a:xfrm>
        </p:spPr>
        <p:txBody>
          <a:bodyPr wrap="square">
            <a:noAutofit/>
          </a:bodyPr>
          <a:lstStyle>
            <a:lvl1pPr marL="0" indent="0">
              <a:lnSpc>
                <a:spcPct val="85000"/>
              </a:lnSpc>
              <a:spcAft>
                <a:spcPts val="0"/>
              </a:spcAft>
              <a:buNone/>
              <a:defRPr sz="1200" b="1" spc="20" baseline="0">
                <a:solidFill>
                  <a:schemeClr val="tx1"/>
                </a:solidFill>
              </a:defRPr>
            </a:lvl1pPr>
          </a:lstStyle>
          <a:p>
            <a:pPr lvl="0"/>
            <a:r>
              <a:rPr lang="en-US"/>
              <a:t>Mary Fletcher-Louis</a:t>
            </a:r>
          </a:p>
        </p:txBody>
      </p:sp>
      <p:sp>
        <p:nvSpPr>
          <p:cNvPr id="32" name="Text Placeholder 7">
            <a:extLst>
              <a:ext uri="{FF2B5EF4-FFF2-40B4-BE49-F238E27FC236}">
                <a16:creationId xmlns:a16="http://schemas.microsoft.com/office/drawing/2014/main" id="{8C403900-3033-EC47-B30E-0251B718D855}"/>
              </a:ext>
            </a:extLst>
          </p:cNvPr>
          <p:cNvSpPr>
            <a:spLocks noGrp="1"/>
          </p:cNvSpPr>
          <p:nvPr>
            <p:ph type="body" sz="quarter" idx="36" hasCustomPrompt="1"/>
          </p:nvPr>
        </p:nvSpPr>
        <p:spPr>
          <a:xfrm>
            <a:off x="613506" y="3966708"/>
            <a:ext cx="1498633" cy="149445"/>
          </a:xfrm>
        </p:spPr>
        <p:txBody>
          <a:bodyPr wrap="square">
            <a:noAutofit/>
          </a:bodyPr>
          <a:lstStyle>
            <a:lvl1pPr marL="0" indent="0">
              <a:lnSpc>
                <a:spcPct val="85000"/>
              </a:lnSpc>
              <a:spcAft>
                <a:spcPts val="0"/>
              </a:spcAft>
              <a:buNone/>
              <a:defRPr sz="1000" b="0" spc="20" baseline="0">
                <a:solidFill>
                  <a:schemeClr val="tx1"/>
                </a:solidFill>
              </a:defRPr>
            </a:lvl1pPr>
          </a:lstStyle>
          <a:p>
            <a:pPr lvl="0"/>
            <a:r>
              <a:rPr lang="en-US"/>
              <a:t>Vice President</a:t>
            </a:r>
          </a:p>
        </p:txBody>
      </p:sp>
      <p:sp>
        <p:nvSpPr>
          <p:cNvPr id="47" name="Text Placeholder 7">
            <a:extLst>
              <a:ext uri="{FF2B5EF4-FFF2-40B4-BE49-F238E27FC236}">
                <a16:creationId xmlns:a16="http://schemas.microsoft.com/office/drawing/2014/main" id="{1C525FD4-174F-214B-9B5D-51C4F7B4A03E}"/>
              </a:ext>
            </a:extLst>
          </p:cNvPr>
          <p:cNvSpPr>
            <a:spLocks noGrp="1"/>
          </p:cNvSpPr>
          <p:nvPr>
            <p:ph type="body" sz="quarter" idx="39" hasCustomPrompt="1"/>
          </p:nvPr>
        </p:nvSpPr>
        <p:spPr>
          <a:xfrm>
            <a:off x="611740" y="4306769"/>
            <a:ext cx="2408352" cy="149445"/>
          </a:xfrm>
        </p:spPr>
        <p:txBody>
          <a:bodyPr wrap="square">
            <a:noAutofit/>
          </a:bodyPr>
          <a:lstStyle>
            <a:lvl1pPr marL="0" indent="0">
              <a:lnSpc>
                <a:spcPct val="85000"/>
              </a:lnSpc>
              <a:spcAft>
                <a:spcPts val="0"/>
              </a:spcAft>
              <a:buNone/>
              <a:defRPr sz="1000" b="0" spc="0" baseline="0">
                <a:solidFill>
                  <a:schemeClr val="tx1"/>
                </a:solidFill>
              </a:defRPr>
            </a:lvl1pPr>
          </a:lstStyle>
          <a:p>
            <a:pPr lvl="0"/>
            <a:r>
              <a:rPr lang="en-US" err="1"/>
              <a:t>Mary.fletcher-lewis@clarivate.com</a:t>
            </a:r>
            <a:endParaRPr lang="en-US"/>
          </a:p>
        </p:txBody>
      </p:sp>
      <p:sp>
        <p:nvSpPr>
          <p:cNvPr id="7" name="Footer Placeholder 6">
            <a:extLst>
              <a:ext uri="{FF2B5EF4-FFF2-40B4-BE49-F238E27FC236}">
                <a16:creationId xmlns:a16="http://schemas.microsoft.com/office/drawing/2014/main" id="{7FAEAF0C-C71C-6C47-9BEE-71939768D313}"/>
              </a:ext>
            </a:extLst>
          </p:cNvPr>
          <p:cNvSpPr>
            <a:spLocks noGrp="1"/>
          </p:cNvSpPr>
          <p:nvPr>
            <p:ph type="ftr" sz="quarter" idx="40"/>
          </p:nvPr>
        </p:nvSpPr>
        <p:spPr/>
        <p:txBody>
          <a:bodyPr/>
          <a:lstStyle/>
          <a:p>
            <a:r>
              <a:rPr lang="en-GB"/>
              <a:t>For internal use only</a:t>
            </a:r>
          </a:p>
        </p:txBody>
      </p:sp>
      <p:sp>
        <p:nvSpPr>
          <p:cNvPr id="8" name="Slide Number Placeholder 7">
            <a:extLst>
              <a:ext uri="{FF2B5EF4-FFF2-40B4-BE49-F238E27FC236}">
                <a16:creationId xmlns:a16="http://schemas.microsoft.com/office/drawing/2014/main" id="{FAF671D0-9609-3348-BF59-7F3B2D4BF4ED}"/>
              </a:ext>
            </a:extLst>
          </p:cNvPr>
          <p:cNvSpPr>
            <a:spLocks noGrp="1"/>
          </p:cNvSpPr>
          <p:nvPr>
            <p:ph type="sldNum" sz="quarter" idx="41"/>
          </p:nvPr>
        </p:nvSpPr>
        <p:spPr/>
        <p:txBody>
          <a:bodyPr/>
          <a:lstStyle/>
          <a:p>
            <a:fld id="{F18EFF25-22D3-7349-97D6-73D11F9E5B0D}" type="slidenum">
              <a:rPr lang="en-GB" smtClean="0"/>
              <a:pPr/>
              <a:t>‹#›</a:t>
            </a:fld>
            <a:endParaRPr lang="en-GB"/>
          </a:p>
        </p:txBody>
      </p:sp>
      <p:sp>
        <p:nvSpPr>
          <p:cNvPr id="29" name="Text Placeholder 28">
            <a:extLst>
              <a:ext uri="{FF2B5EF4-FFF2-40B4-BE49-F238E27FC236}">
                <a16:creationId xmlns:a16="http://schemas.microsoft.com/office/drawing/2014/main" id="{9BDAF3FF-8E8B-7E43-9BE7-2DFDF2F952FB}"/>
              </a:ext>
            </a:extLst>
          </p:cNvPr>
          <p:cNvSpPr>
            <a:spLocks noGrp="1"/>
          </p:cNvSpPr>
          <p:nvPr>
            <p:ph type="body" sz="quarter" idx="19" hasCustomPrompt="1"/>
          </p:nvPr>
        </p:nvSpPr>
        <p:spPr>
          <a:xfrm>
            <a:off x="5112013" y="1829901"/>
            <a:ext cx="4649311" cy="5204506"/>
          </a:xfrm>
        </p:spPr>
        <p:txBody>
          <a:bodyPr/>
          <a:lstStyle>
            <a:lvl1pPr marL="0" indent="0">
              <a:lnSpc>
                <a:spcPct val="100000"/>
              </a:lnSpc>
              <a:spcAft>
                <a:spcPts val="0"/>
              </a:spcAft>
              <a:buFontTx/>
              <a:buNone/>
              <a:tabLst/>
              <a:defRPr sz="1200"/>
            </a:lvl1pPr>
            <a:lvl2pPr>
              <a:defRPr sz="1400"/>
            </a:lvl2pPr>
            <a:lvl3pPr>
              <a:defRPr sz="1400"/>
            </a:lvl3pPr>
            <a:lvl4pPr>
              <a:defRPr sz="1400"/>
            </a:lvl4pPr>
            <a:lvl5pPr>
              <a:defRPr sz="1400"/>
            </a:lvl5pPr>
          </a:lstStyle>
          <a:p>
            <a:pPr lvl="0"/>
            <a:r>
              <a:rPr lang="en-GB" sz="1200">
                <a:effectLst/>
                <a:latin typeface="Calibri" panose="020F0502020204030204" pitchFamily="34" charset="0"/>
                <a:ea typeface="Times New Roman" panose="02020603050405020304" pitchFamily="18" charset="0"/>
              </a:rPr>
              <a:t>Mary is a Vice President at Clarivate, leading our Value Communication Centre of Excellence. Mary has been serving the pharmaceutical industry for more than 20 years and provides leadership to our team of highly skilled medical writers, consultant designers, and digital programmers. Primarily supporting our value communication engagements, Mary provides strategic advice and guidance across a range of health economic outcomes research (HEOR) and market-access-related custom projects. </a:t>
            </a:r>
            <a:br>
              <a:rPr lang="en-GB" sz="1200">
                <a:effectLst/>
                <a:latin typeface="Calibri" panose="020F0502020204030204" pitchFamily="34" charset="0"/>
                <a:ea typeface="Times New Roman" panose="02020603050405020304" pitchFamily="18" charset="0"/>
              </a:rPr>
            </a:br>
            <a:br>
              <a:rPr lang="en-GB" sz="1200">
                <a:effectLst/>
                <a:latin typeface="Calibri" panose="020F0502020204030204" pitchFamily="34" charset="0"/>
                <a:ea typeface="Times New Roman" panose="02020603050405020304" pitchFamily="18" charset="0"/>
              </a:rPr>
            </a:br>
            <a:r>
              <a:rPr lang="en-GB" sz="1200">
                <a:effectLst/>
                <a:latin typeface="Calibri" panose="020F0502020204030204" pitchFamily="34" charset="0"/>
                <a:ea typeface="Times New Roman" panose="02020603050405020304" pitchFamily="18" charset="0"/>
              </a:rPr>
              <a:t>For more than a decade, Mary ran DRG’s global payer research business, exploring payer value drivers across 29 countries and multiple therapy areas. In 2016, Mary brought this deep immersion in the world of the payer into our value communications business. Mary has spearheaded a strong collaboration between our Digital Communications business, and our HEOR consulting business running pioneering strategic multichannel payer communication projects. Mary also has a particular interest in training, and in the power of the workshop format to achieve team consensus and connection.</a:t>
            </a:r>
            <a:br>
              <a:rPr lang="en-GB" sz="1200">
                <a:effectLst/>
                <a:latin typeface="Calibri" panose="020F0502020204030204" pitchFamily="34" charset="0"/>
                <a:ea typeface="Times New Roman" panose="02020603050405020304" pitchFamily="18" charset="0"/>
              </a:rPr>
            </a:br>
            <a:br>
              <a:rPr lang="en-GB" sz="1200">
                <a:effectLst/>
                <a:latin typeface="Calibri" panose="020F0502020204030204" pitchFamily="34" charset="0"/>
                <a:ea typeface="Times New Roman" panose="02020603050405020304" pitchFamily="18" charset="0"/>
              </a:rPr>
            </a:br>
            <a:r>
              <a:rPr lang="en-GB" sz="1200">
                <a:effectLst/>
                <a:latin typeface="Calibri" panose="020F0502020204030204" pitchFamily="34" charset="0"/>
                <a:ea typeface="Times New Roman" panose="02020603050405020304" pitchFamily="18" charset="0"/>
              </a:rPr>
              <a:t>Mary has a BA and MA from the University of Oxford, and a Masters</a:t>
            </a:r>
            <a:br>
              <a:rPr lang="en-GB" sz="1200">
                <a:effectLst/>
                <a:latin typeface="Calibri" panose="020F0502020204030204" pitchFamily="34" charset="0"/>
                <a:ea typeface="Times New Roman" panose="02020603050405020304" pitchFamily="18" charset="0"/>
              </a:rPr>
            </a:br>
            <a:r>
              <a:rPr lang="en-GB" sz="1200">
                <a:effectLst/>
                <a:latin typeface="Calibri" panose="020F0502020204030204" pitchFamily="34" charset="0"/>
                <a:ea typeface="Times New Roman" panose="02020603050405020304" pitchFamily="18" charset="0"/>
              </a:rPr>
              <a:t>in Public Health from the University of Nottingham (distinction). </a:t>
            </a:r>
            <a:endParaRPr lang="en-GB"/>
          </a:p>
          <a:p>
            <a:pPr lvl="0"/>
            <a:endParaRPr lang="en-GB"/>
          </a:p>
        </p:txBody>
      </p:sp>
    </p:spTree>
    <p:extLst>
      <p:ext uri="{BB962C8B-B14F-4D97-AF65-F5344CB8AC3E}">
        <p14:creationId xmlns:p14="http://schemas.microsoft.com/office/powerpoint/2010/main" val="3912586640"/>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3 purple_2/3 whit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41695" cy="68648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pic>
        <p:nvPicPr>
          <p:cNvPr id="20" name="Picture 19" descr="A picture containing drawing&#10;&#10;Description automatically generated">
            <a:extLst>
              <a:ext uri="{FF2B5EF4-FFF2-40B4-BE49-F238E27FC236}">
                <a16:creationId xmlns:a16="http://schemas.microsoft.com/office/drawing/2014/main" id="{C3AAAC47-B413-0E46-906B-FE7F6237A5D0}"/>
              </a:ext>
            </a:extLst>
          </p:cNvPr>
          <p:cNvPicPr>
            <a:picLocks noChangeAspect="1"/>
          </p:cNvPicPr>
          <p:nvPr userDrawn="1"/>
        </p:nvPicPr>
        <p:blipFill>
          <a:blip r:embed="rId2"/>
          <a:stretch>
            <a:fillRect/>
          </a:stretch>
        </p:blipFill>
        <p:spPr>
          <a:xfrm>
            <a:off x="451361" y="6360976"/>
            <a:ext cx="1637116" cy="490154"/>
          </a:xfrm>
          <a:prstGeom prst="rect">
            <a:avLst/>
          </a:prstGeom>
        </p:spPr>
      </p:pic>
      <p:sp>
        <p:nvSpPr>
          <p:cNvPr id="10" name="Slide Number Placeholder 10">
            <a:extLst>
              <a:ext uri="{FF2B5EF4-FFF2-40B4-BE49-F238E27FC236}">
                <a16:creationId xmlns:a16="http://schemas.microsoft.com/office/drawing/2014/main" id="{F2AFD75B-383E-F24B-89A6-DF81FFB6884A}"/>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27A563F9-F6CF-114B-A521-3CFEA1D6747F}"/>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77658735-1BB5-4546-87B5-D43DF28C8F17}"/>
              </a:ext>
            </a:extLst>
          </p:cNvPr>
          <p:cNvSpPr>
            <a:spLocks noGrp="1"/>
          </p:cNvSpPr>
          <p:nvPr>
            <p:ph type="title" hasCustomPrompt="1"/>
          </p:nvPr>
        </p:nvSpPr>
        <p:spPr>
          <a:xfrm>
            <a:off x="573067" y="816951"/>
            <a:ext cx="3267884"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436EC078-0265-7E44-99D7-EF8EA861B3A6}"/>
              </a:ext>
            </a:extLst>
          </p:cNvPr>
          <p:cNvSpPr>
            <a:spLocks noGrp="1"/>
          </p:cNvSpPr>
          <p:nvPr>
            <p:ph type="body" sz="quarter" idx="34" hasCustomPrompt="1"/>
          </p:nvPr>
        </p:nvSpPr>
        <p:spPr>
          <a:xfrm>
            <a:off x="4457689" y="1812925"/>
            <a:ext cx="7143444"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9">
            <a:extLst>
              <a:ext uri="{FF2B5EF4-FFF2-40B4-BE49-F238E27FC236}">
                <a16:creationId xmlns:a16="http://schemas.microsoft.com/office/drawing/2014/main" id="{309D9945-A693-3A42-A246-36EE307FBA3E}"/>
              </a:ext>
            </a:extLst>
          </p:cNvPr>
          <p:cNvSpPr>
            <a:spLocks noGrp="1"/>
          </p:cNvSpPr>
          <p:nvPr>
            <p:ph type="body" sz="quarter" idx="52" hasCustomPrompt="1"/>
          </p:nvPr>
        </p:nvSpPr>
        <p:spPr>
          <a:xfrm>
            <a:off x="573069" y="1812925"/>
            <a:ext cx="3267884" cy="4548188"/>
          </a:xfrm>
        </p:spPr>
        <p:txBody>
          <a:bodyPr>
            <a:normAutofit/>
          </a:bodyPr>
          <a:lstStyle>
            <a:lvl1pPr marL="238125" indent="-238125">
              <a:lnSpc>
                <a:spcPct val="100000"/>
              </a:lnSpc>
              <a:buClr>
                <a:schemeClr val="bg1"/>
              </a:buClr>
              <a:tabLst/>
              <a:defRPr sz="2400">
                <a:solidFill>
                  <a:schemeClr val="bg1"/>
                </a:solidFill>
              </a:defRPr>
            </a:lvl1pPr>
            <a:lvl2pPr marL="465138" indent="-214313">
              <a:lnSpc>
                <a:spcPct val="100000"/>
              </a:lnSpc>
              <a:buClr>
                <a:schemeClr val="bg1"/>
              </a:buClr>
              <a:tabLst/>
              <a:defRPr sz="2400">
                <a:solidFill>
                  <a:schemeClr val="bg1"/>
                </a:solidFill>
              </a:defRPr>
            </a:lvl2pPr>
            <a:lvl3pPr marL="690563" indent="-225425">
              <a:lnSpc>
                <a:spcPct val="100000"/>
              </a:lnSpc>
              <a:buClr>
                <a:schemeClr val="bg1"/>
              </a:buClr>
              <a:tabLst/>
              <a:defRPr sz="1800">
                <a:solidFill>
                  <a:schemeClr val="bg1"/>
                </a:solidFill>
              </a:defRPr>
            </a:lvl3pPr>
            <a:lvl4pPr marL="917575" indent="-227013">
              <a:lnSpc>
                <a:spcPct val="100000"/>
              </a:lnSpc>
              <a:buClr>
                <a:schemeClr val="bg1"/>
              </a:buClr>
              <a:tabLst/>
              <a:defRPr sz="1800">
                <a:solidFill>
                  <a:schemeClr val="bg1"/>
                </a:solidFill>
              </a:defRPr>
            </a:lvl4pPr>
            <a:lvl5pPr marL="1494000" indent="-208800">
              <a:buClr>
                <a:schemeClr val="bg1"/>
              </a:buClr>
              <a:defRPr sz="1400">
                <a:solidFill>
                  <a:schemeClr val="bg1"/>
                </a:solidFill>
              </a:defRPr>
            </a:lvl5pPr>
            <a:lvl6pPr marL="171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364812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50 Split -  Blue / Purple Quo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1870E7-67C3-31B4-3763-30D7343FC40E}"/>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
        <p:nvSpPr>
          <p:cNvPr id="5" name="Text Placeholder 9">
            <a:extLst>
              <a:ext uri="{FF2B5EF4-FFF2-40B4-BE49-F238E27FC236}">
                <a16:creationId xmlns:a16="http://schemas.microsoft.com/office/drawing/2014/main" id="{EA5CF333-E5B7-1960-5F54-967F39A4A11B}"/>
              </a:ext>
            </a:extLst>
          </p:cNvPr>
          <p:cNvSpPr>
            <a:spLocks noGrp="1"/>
          </p:cNvSpPr>
          <p:nvPr>
            <p:ph type="body" sz="quarter" idx="15" hasCustomPrompt="1"/>
          </p:nvPr>
        </p:nvSpPr>
        <p:spPr>
          <a:xfrm>
            <a:off x="7102800" y="2766536"/>
            <a:ext cx="3601713" cy="738664"/>
          </a:xfrm>
          <a:prstGeom prst="rect">
            <a:avLst/>
          </a:prstGeom>
        </p:spPr>
        <p:txBody>
          <a:bodyPr wrap="square" lIns="0" tIns="0" rIns="0" bIns="0" anchor="b" anchorCtr="0">
            <a:spAutoFit/>
          </a:bodyPr>
          <a:lstStyle>
            <a:lvl1pPr marL="0" indent="0" algn="l">
              <a:buNone/>
              <a:tabLst/>
              <a:defRPr sz="2400">
                <a:solidFill>
                  <a:schemeClr val="bg1"/>
                </a:solidFill>
                <a:latin typeface="+mj-lt"/>
              </a:defRPr>
            </a:lvl1pPr>
          </a:lstStyle>
          <a:p>
            <a:pPr lvl="0"/>
            <a:r>
              <a:rPr lang="en-US"/>
              <a:t>“Quote Copy Avenir Demi 24pt”.</a:t>
            </a:r>
            <a:endParaRPr lang="en-GB"/>
          </a:p>
        </p:txBody>
      </p:sp>
      <p:sp>
        <p:nvSpPr>
          <p:cNvPr id="6" name="Text Placeholder 12">
            <a:extLst>
              <a:ext uri="{FF2B5EF4-FFF2-40B4-BE49-F238E27FC236}">
                <a16:creationId xmlns:a16="http://schemas.microsoft.com/office/drawing/2014/main" id="{CF395936-4441-9E95-2851-1ED7A64D3777}"/>
              </a:ext>
            </a:extLst>
          </p:cNvPr>
          <p:cNvSpPr>
            <a:spLocks noGrp="1"/>
          </p:cNvSpPr>
          <p:nvPr>
            <p:ph type="body" sz="quarter" idx="16" hasCustomPrompt="1"/>
          </p:nvPr>
        </p:nvSpPr>
        <p:spPr>
          <a:xfrm>
            <a:off x="7102800" y="3634999"/>
            <a:ext cx="2808287" cy="252000"/>
          </a:xfrm>
        </p:spPr>
        <p:txBody>
          <a:bodyPr/>
          <a:lstStyle>
            <a:lvl1pPr marL="0" indent="0" algn="l">
              <a:buNone/>
              <a:defRPr sz="16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7" name="Text Placeholder 12">
            <a:extLst>
              <a:ext uri="{FF2B5EF4-FFF2-40B4-BE49-F238E27FC236}">
                <a16:creationId xmlns:a16="http://schemas.microsoft.com/office/drawing/2014/main" id="{51759836-E0B1-5577-37C5-D2B5A794D942}"/>
              </a:ext>
            </a:extLst>
          </p:cNvPr>
          <p:cNvSpPr>
            <a:spLocks noGrp="1"/>
          </p:cNvSpPr>
          <p:nvPr>
            <p:ph type="body" sz="quarter" idx="27" hasCustomPrompt="1"/>
          </p:nvPr>
        </p:nvSpPr>
        <p:spPr>
          <a:xfrm>
            <a:off x="7102800" y="3892179"/>
            <a:ext cx="2808287" cy="252000"/>
          </a:xfrm>
        </p:spPr>
        <p:txBody>
          <a:bodyPr/>
          <a:lstStyle>
            <a:lvl1pPr marL="0" indent="0" algn="l">
              <a:buNone/>
              <a:defRPr sz="1500">
                <a:solidFill>
                  <a:schemeClr val="bg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Tree>
    <p:extLst>
      <p:ext uri="{BB962C8B-B14F-4D97-AF65-F5344CB8AC3E}">
        <p14:creationId xmlns:p14="http://schemas.microsoft.com/office/powerpoint/2010/main" val="338197556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Break_0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21FC10-BB88-6D4A-8C98-6C5D9605841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7">
            <a:extLst>
              <a:ext uri="{FF2B5EF4-FFF2-40B4-BE49-F238E27FC236}">
                <a16:creationId xmlns:a16="http://schemas.microsoft.com/office/drawing/2014/main" id="{8043F9A4-512E-E941-BF94-EBD7292369AB}"/>
              </a:ext>
            </a:extLst>
          </p:cNvPr>
          <p:cNvSpPr>
            <a:spLocks noGrp="1"/>
          </p:cNvSpPr>
          <p:nvPr>
            <p:ph type="body" sz="quarter" idx="13" hasCustomPrompt="1"/>
          </p:nvPr>
        </p:nvSpPr>
        <p:spPr>
          <a:xfrm>
            <a:off x="600142" y="4935584"/>
            <a:ext cx="5387908" cy="838200"/>
          </a:xfrm>
        </p:spPr>
        <p:txBody>
          <a:bodyPr wrap="square">
            <a:noAutofit/>
          </a:bodyPr>
          <a:lstStyle>
            <a:lvl1pPr marL="0" indent="0">
              <a:lnSpc>
                <a:spcPct val="85000"/>
              </a:lnSpc>
              <a:spcAft>
                <a:spcPts val="0"/>
              </a:spcAft>
              <a:buNone/>
              <a:defRPr sz="3000" b="1" spc="20" baseline="0">
                <a:solidFill>
                  <a:schemeClr val="tx1"/>
                </a:solidFill>
              </a:defRPr>
            </a:lvl1pPr>
          </a:lstStyle>
          <a:p>
            <a:pPr lvl="0"/>
            <a:r>
              <a:rPr lang="en-US"/>
              <a:t>Our approach</a:t>
            </a:r>
          </a:p>
        </p:txBody>
      </p:sp>
      <p:pic>
        <p:nvPicPr>
          <p:cNvPr id="8" name="Picture 7" descr="A close up of a flower&#10;&#10;Description automatically generated">
            <a:extLst>
              <a:ext uri="{FF2B5EF4-FFF2-40B4-BE49-F238E27FC236}">
                <a16:creationId xmlns:a16="http://schemas.microsoft.com/office/drawing/2014/main" id="{9AA9C013-0566-1C46-BD38-FB2B1B90BFC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5367" y="6301117"/>
            <a:ext cx="1258035" cy="376657"/>
          </a:xfrm>
          <a:prstGeom prst="rect">
            <a:avLst/>
          </a:prstGeom>
        </p:spPr>
      </p:pic>
      <p:sp>
        <p:nvSpPr>
          <p:cNvPr id="3" name="Slide Number Placeholder 2">
            <a:extLst>
              <a:ext uri="{FF2B5EF4-FFF2-40B4-BE49-F238E27FC236}">
                <a16:creationId xmlns:a16="http://schemas.microsoft.com/office/drawing/2014/main" id="{C6042E5A-33CC-C541-B259-3FD3D321F47A}"/>
              </a:ext>
            </a:extLst>
          </p:cNvPr>
          <p:cNvSpPr>
            <a:spLocks noGrp="1"/>
          </p:cNvSpPr>
          <p:nvPr>
            <p:ph type="sldNum" sz="quarter" idx="15"/>
          </p:nvPr>
        </p:nvSpPr>
        <p:spPr/>
        <p:txBody>
          <a:bodyPr/>
          <a:lstStyle/>
          <a:p>
            <a:fld id="{F18EFF25-22D3-7349-97D6-73D11F9E5B0D}" type="slidenum">
              <a:rPr lang="en-GB" smtClean="0"/>
              <a:pPr/>
              <a:t>‹#›</a:t>
            </a:fld>
            <a:endParaRPr lang="en-GB"/>
          </a:p>
        </p:txBody>
      </p:sp>
      <p:sp>
        <p:nvSpPr>
          <p:cNvPr id="5" name="Footer Placeholder 4">
            <a:extLst>
              <a:ext uri="{FF2B5EF4-FFF2-40B4-BE49-F238E27FC236}">
                <a16:creationId xmlns:a16="http://schemas.microsoft.com/office/drawing/2014/main" id="{817DDB11-DAA5-6148-B938-EA29E6C5B744}"/>
              </a:ext>
            </a:extLst>
          </p:cNvPr>
          <p:cNvSpPr>
            <a:spLocks noGrp="1"/>
          </p:cNvSpPr>
          <p:nvPr>
            <p:ph type="ftr" sz="quarter" idx="16"/>
          </p:nvPr>
        </p:nvSpPr>
        <p:spPr/>
        <p:txBody>
          <a:bodyPr/>
          <a:lstStyle/>
          <a:p>
            <a:r>
              <a:rPr lang="en-GB"/>
              <a:t>For internal use only</a:t>
            </a:r>
          </a:p>
        </p:txBody>
      </p:sp>
    </p:spTree>
    <p:extLst>
      <p:ext uri="{BB962C8B-B14F-4D97-AF65-F5344CB8AC3E}">
        <p14:creationId xmlns:p14="http://schemas.microsoft.com/office/powerpoint/2010/main" val="3909253934"/>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Content_05">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appliance, iron&#10;&#10;Description automatically generated">
            <a:extLst>
              <a:ext uri="{FF2B5EF4-FFF2-40B4-BE49-F238E27FC236}">
                <a16:creationId xmlns:a16="http://schemas.microsoft.com/office/drawing/2014/main" id="{670BD821-7B1F-A743-9DD6-6688B31F9802}"/>
              </a:ext>
            </a:extLst>
          </p:cNvPr>
          <p:cNvPicPr>
            <a:picLocks noChangeAspect="1"/>
          </p:cNvPicPr>
          <p:nvPr userDrawn="1"/>
        </p:nvPicPr>
        <p:blipFill>
          <a:blip r:embed="rId2"/>
          <a:stretch>
            <a:fillRect/>
          </a:stretch>
        </p:blipFill>
        <p:spPr>
          <a:xfrm>
            <a:off x="-6780" y="0"/>
            <a:ext cx="2465818" cy="6858000"/>
          </a:xfrm>
          <a:prstGeom prst="rect">
            <a:avLst/>
          </a:prstGeom>
        </p:spPr>
      </p:pic>
      <p:sp>
        <p:nvSpPr>
          <p:cNvPr id="25" name="Text Placeholder 7">
            <a:extLst>
              <a:ext uri="{FF2B5EF4-FFF2-40B4-BE49-F238E27FC236}">
                <a16:creationId xmlns:a16="http://schemas.microsoft.com/office/drawing/2014/main" id="{A706FF6C-99C0-3F4C-9BBB-08AE20024AB5}"/>
              </a:ext>
            </a:extLst>
          </p:cNvPr>
          <p:cNvSpPr>
            <a:spLocks noGrp="1"/>
          </p:cNvSpPr>
          <p:nvPr>
            <p:ph type="body" sz="quarter" idx="13" hasCustomPrompt="1"/>
          </p:nvPr>
        </p:nvSpPr>
        <p:spPr>
          <a:xfrm>
            <a:off x="579600" y="1165125"/>
            <a:ext cx="1700050" cy="1197075"/>
          </a:xfrm>
        </p:spPr>
        <p:txBody>
          <a:bodyPr wrap="square">
            <a:noAutofit/>
          </a:bodyPr>
          <a:lstStyle>
            <a:lvl1pPr marL="0" indent="0">
              <a:lnSpc>
                <a:spcPct val="85000"/>
              </a:lnSpc>
              <a:spcAft>
                <a:spcPts val="0"/>
              </a:spcAft>
              <a:buNone/>
              <a:defRPr sz="2000" b="1" spc="20" baseline="0">
                <a:solidFill>
                  <a:schemeClr val="tx1"/>
                </a:solidFill>
              </a:defRPr>
            </a:lvl1pPr>
          </a:lstStyle>
          <a:p>
            <a:pPr lvl="0"/>
            <a:r>
              <a:rPr lang="en-US"/>
              <a:t>01. Kick-off</a:t>
            </a:r>
            <a:br>
              <a:rPr lang="en-US"/>
            </a:br>
            <a:r>
              <a:rPr lang="en-US"/>
              <a:t>meeting</a:t>
            </a:r>
          </a:p>
        </p:txBody>
      </p:sp>
      <p:pic>
        <p:nvPicPr>
          <p:cNvPr id="19" name="Picture 18" descr="A close up of a flower&#10;&#10;Description automatically generated">
            <a:extLst>
              <a:ext uri="{FF2B5EF4-FFF2-40B4-BE49-F238E27FC236}">
                <a16:creationId xmlns:a16="http://schemas.microsoft.com/office/drawing/2014/main" id="{758FE046-E09D-E24E-881E-F3188DC2A04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5367" y="6301117"/>
            <a:ext cx="1258035" cy="376657"/>
          </a:xfrm>
          <a:prstGeom prst="rect">
            <a:avLst/>
          </a:prstGeom>
        </p:spPr>
      </p:pic>
      <p:sp>
        <p:nvSpPr>
          <p:cNvPr id="11" name="Text Placeholder 7">
            <a:extLst>
              <a:ext uri="{FF2B5EF4-FFF2-40B4-BE49-F238E27FC236}">
                <a16:creationId xmlns:a16="http://schemas.microsoft.com/office/drawing/2014/main" id="{2AB690D0-9191-5641-B48A-1B612977988B}"/>
              </a:ext>
            </a:extLst>
          </p:cNvPr>
          <p:cNvSpPr>
            <a:spLocks noGrp="1"/>
          </p:cNvSpPr>
          <p:nvPr>
            <p:ph type="body" sz="quarter" idx="15" hasCustomPrompt="1"/>
          </p:nvPr>
        </p:nvSpPr>
        <p:spPr>
          <a:xfrm>
            <a:off x="3407538" y="781200"/>
            <a:ext cx="4464050" cy="238547"/>
          </a:xfrm>
        </p:spPr>
        <p:txBody>
          <a:bodyPr wrap="square">
            <a:noAutofit/>
          </a:bodyPr>
          <a:lstStyle>
            <a:lvl1pPr marL="0" indent="0">
              <a:lnSpc>
                <a:spcPct val="85000"/>
              </a:lnSpc>
              <a:spcAft>
                <a:spcPts val="0"/>
              </a:spcAft>
              <a:buNone/>
              <a:defRPr sz="1200" b="1" spc="20" baseline="0">
                <a:solidFill>
                  <a:schemeClr val="accent1"/>
                </a:solidFill>
              </a:defRPr>
            </a:lvl1pPr>
          </a:lstStyle>
          <a:p>
            <a:pPr lvl="0"/>
            <a:r>
              <a:rPr lang="en-US"/>
              <a:t>Location</a:t>
            </a:r>
          </a:p>
        </p:txBody>
      </p:sp>
      <p:sp>
        <p:nvSpPr>
          <p:cNvPr id="30" name="Text Placeholder 28">
            <a:extLst>
              <a:ext uri="{FF2B5EF4-FFF2-40B4-BE49-F238E27FC236}">
                <a16:creationId xmlns:a16="http://schemas.microsoft.com/office/drawing/2014/main" id="{67796B21-62D6-6C46-A77A-569CD7ED5B22}"/>
              </a:ext>
            </a:extLst>
          </p:cNvPr>
          <p:cNvSpPr>
            <a:spLocks noGrp="1"/>
          </p:cNvSpPr>
          <p:nvPr>
            <p:ph type="body" sz="quarter" idx="19" hasCustomPrompt="1"/>
          </p:nvPr>
        </p:nvSpPr>
        <p:spPr>
          <a:xfrm>
            <a:off x="3408539" y="2494171"/>
            <a:ext cx="4451173" cy="3644221"/>
          </a:xfrm>
        </p:spPr>
        <p:txBody>
          <a:bodyPr/>
          <a:lstStyle>
            <a:lvl1pPr marL="179388" indent="-179388">
              <a:lnSpc>
                <a:spcPct val="100000"/>
              </a:lnSpc>
              <a:spcAft>
                <a:spcPts val="0"/>
              </a:spcAft>
              <a:buFont typeface="Arial" panose="020B0604020202020204" pitchFamily="34" charset="0"/>
              <a:buChar char="•"/>
              <a:tabLst/>
              <a:defRPr sz="1000"/>
            </a:lvl1pPr>
            <a:lvl2pPr>
              <a:defRPr sz="1400"/>
            </a:lvl2pPr>
            <a:lvl3pPr>
              <a:defRPr sz="1400"/>
            </a:lvl3pPr>
            <a:lvl4pPr>
              <a:defRPr sz="1400"/>
            </a:lvl4pPr>
            <a:lvl5pPr>
              <a:defRPr sz="1400"/>
            </a:lvl5pPr>
          </a:lstStyle>
          <a:p>
            <a:pPr lvl="0"/>
            <a:r>
              <a:rPr lang="en-US"/>
              <a:t>Clarivate and &lt;Client&gt; team introductions</a:t>
            </a:r>
          </a:p>
          <a:p>
            <a:pPr lvl="0"/>
            <a:r>
              <a:rPr lang="en-US"/>
              <a:t>&lt;Client&gt; to present strategic context and aspirations for this engagement</a:t>
            </a:r>
          </a:p>
          <a:p>
            <a:pPr lvl="0"/>
            <a:r>
              <a:rPr lang="en-US"/>
              <a:t>Clarivate to review project approach</a:t>
            </a:r>
          </a:p>
          <a:p>
            <a:pPr lvl="0"/>
            <a:r>
              <a:rPr lang="en-US"/>
              <a:t>Discussion of materials and resources to be shared by &lt;Client&gt;</a:t>
            </a:r>
          </a:p>
          <a:p>
            <a:pPr lvl="0"/>
            <a:r>
              <a:rPr lang="en-US"/>
              <a:t>Discussion of materials and resources to be shared by &lt;Client&gt;</a:t>
            </a:r>
          </a:p>
          <a:p>
            <a:pPr lvl="0"/>
            <a:r>
              <a:rPr lang="en-US"/>
              <a:t>Present and review detailed project timelines</a:t>
            </a:r>
          </a:p>
          <a:p>
            <a:pPr lvl="0"/>
            <a:r>
              <a:rPr lang="en-US"/>
              <a:t>&lt;Client&gt; review periods, annual leave etc.</a:t>
            </a:r>
          </a:p>
          <a:p>
            <a:pPr lvl="0"/>
            <a:r>
              <a:rPr lang="en-US"/>
              <a:t>Project logistics and further questions</a:t>
            </a:r>
          </a:p>
          <a:p>
            <a:pPr lvl="0"/>
            <a:r>
              <a:rPr lang="en-US"/>
              <a:t>Preferences around regular meetings, points of contact, review conventions</a:t>
            </a:r>
          </a:p>
          <a:p>
            <a:pPr lvl="0"/>
            <a:endParaRPr lang="en-GB"/>
          </a:p>
        </p:txBody>
      </p:sp>
      <p:sp>
        <p:nvSpPr>
          <p:cNvPr id="33" name="Picture Placeholder 32">
            <a:extLst>
              <a:ext uri="{FF2B5EF4-FFF2-40B4-BE49-F238E27FC236}">
                <a16:creationId xmlns:a16="http://schemas.microsoft.com/office/drawing/2014/main" id="{541FDFA9-C279-0740-AB1F-DE7AA9D651CA}"/>
              </a:ext>
            </a:extLst>
          </p:cNvPr>
          <p:cNvSpPr>
            <a:spLocks noGrp="1"/>
          </p:cNvSpPr>
          <p:nvPr>
            <p:ph type="pic" sz="quarter" idx="21"/>
          </p:nvPr>
        </p:nvSpPr>
        <p:spPr>
          <a:xfrm>
            <a:off x="603155" y="441824"/>
            <a:ext cx="542761" cy="602300"/>
          </a:xfrm>
          <a:ln>
            <a:noFill/>
          </a:ln>
        </p:spPr>
        <p:txBody>
          <a:bodyPr/>
          <a:lstStyle>
            <a:lvl1pPr>
              <a:defRPr sz="800"/>
            </a:lvl1pPr>
          </a:lstStyle>
          <a:p>
            <a:endParaRPr lang="en-GB"/>
          </a:p>
        </p:txBody>
      </p:sp>
      <p:sp>
        <p:nvSpPr>
          <p:cNvPr id="27" name="Text Placeholder 7">
            <a:extLst>
              <a:ext uri="{FF2B5EF4-FFF2-40B4-BE49-F238E27FC236}">
                <a16:creationId xmlns:a16="http://schemas.microsoft.com/office/drawing/2014/main" id="{F7D9ECEE-12A3-3141-8B04-27D7D2FF30A7}"/>
              </a:ext>
            </a:extLst>
          </p:cNvPr>
          <p:cNvSpPr>
            <a:spLocks noGrp="1"/>
          </p:cNvSpPr>
          <p:nvPr>
            <p:ph type="body" sz="quarter" idx="22" hasCustomPrompt="1"/>
          </p:nvPr>
        </p:nvSpPr>
        <p:spPr>
          <a:xfrm>
            <a:off x="3407538" y="1504070"/>
            <a:ext cx="4464050" cy="238547"/>
          </a:xfrm>
        </p:spPr>
        <p:txBody>
          <a:bodyPr wrap="square">
            <a:noAutofit/>
          </a:bodyPr>
          <a:lstStyle>
            <a:lvl1pPr marL="0" indent="0">
              <a:lnSpc>
                <a:spcPct val="85000"/>
              </a:lnSpc>
              <a:spcAft>
                <a:spcPts val="0"/>
              </a:spcAft>
              <a:buNone/>
              <a:defRPr sz="1200" b="1" spc="20" baseline="0">
                <a:solidFill>
                  <a:schemeClr val="accent1"/>
                </a:solidFill>
              </a:defRPr>
            </a:lvl1pPr>
          </a:lstStyle>
          <a:p>
            <a:pPr lvl="0"/>
            <a:r>
              <a:rPr lang="en-US"/>
              <a:t>Attendees</a:t>
            </a:r>
          </a:p>
        </p:txBody>
      </p:sp>
      <p:sp>
        <p:nvSpPr>
          <p:cNvPr id="28" name="Text Placeholder 7">
            <a:extLst>
              <a:ext uri="{FF2B5EF4-FFF2-40B4-BE49-F238E27FC236}">
                <a16:creationId xmlns:a16="http://schemas.microsoft.com/office/drawing/2014/main" id="{FB98A5E5-DB07-834C-A18D-41657E8D0C37}"/>
              </a:ext>
            </a:extLst>
          </p:cNvPr>
          <p:cNvSpPr>
            <a:spLocks noGrp="1"/>
          </p:cNvSpPr>
          <p:nvPr>
            <p:ph type="body" sz="quarter" idx="23" hasCustomPrompt="1"/>
          </p:nvPr>
        </p:nvSpPr>
        <p:spPr>
          <a:xfrm>
            <a:off x="3407538" y="2236466"/>
            <a:ext cx="4464050" cy="238547"/>
          </a:xfrm>
        </p:spPr>
        <p:txBody>
          <a:bodyPr wrap="square">
            <a:noAutofit/>
          </a:bodyPr>
          <a:lstStyle>
            <a:lvl1pPr marL="0" indent="0">
              <a:lnSpc>
                <a:spcPct val="85000"/>
              </a:lnSpc>
              <a:spcAft>
                <a:spcPts val="0"/>
              </a:spcAft>
              <a:buNone/>
              <a:defRPr sz="1200" b="1" spc="20" baseline="0">
                <a:solidFill>
                  <a:schemeClr val="accent1"/>
                </a:solidFill>
              </a:defRPr>
            </a:lvl1pPr>
          </a:lstStyle>
          <a:p>
            <a:pPr lvl="0"/>
            <a:r>
              <a:rPr lang="en-US"/>
              <a:t>Objectives</a:t>
            </a:r>
          </a:p>
        </p:txBody>
      </p:sp>
      <p:sp>
        <p:nvSpPr>
          <p:cNvPr id="32" name="Text Placeholder 28">
            <a:extLst>
              <a:ext uri="{FF2B5EF4-FFF2-40B4-BE49-F238E27FC236}">
                <a16:creationId xmlns:a16="http://schemas.microsoft.com/office/drawing/2014/main" id="{F75FD06A-AF26-AF4E-B194-9C4387CF29E3}"/>
              </a:ext>
            </a:extLst>
          </p:cNvPr>
          <p:cNvSpPr>
            <a:spLocks noGrp="1"/>
          </p:cNvSpPr>
          <p:nvPr>
            <p:ph type="body" sz="quarter" idx="24" hasCustomPrompt="1"/>
          </p:nvPr>
        </p:nvSpPr>
        <p:spPr>
          <a:xfrm>
            <a:off x="3409200" y="1759282"/>
            <a:ext cx="4451172" cy="310492"/>
          </a:xfrm>
        </p:spPr>
        <p:txBody>
          <a:bodyPr/>
          <a:lstStyle>
            <a:lvl1pPr marL="179388" indent="-179388">
              <a:lnSpc>
                <a:spcPct val="100000"/>
              </a:lnSpc>
              <a:spcAft>
                <a:spcPts val="0"/>
              </a:spcAft>
              <a:buFont typeface="Arial" panose="020B0604020202020204" pitchFamily="34" charset="0"/>
              <a:buChar char="•"/>
              <a:tabLst/>
              <a:defRPr sz="1000"/>
            </a:lvl1pPr>
            <a:lvl2pPr>
              <a:defRPr sz="1400"/>
            </a:lvl2pPr>
            <a:lvl3pPr>
              <a:defRPr sz="1400"/>
            </a:lvl3pPr>
            <a:lvl4pPr>
              <a:defRPr sz="1400"/>
            </a:lvl4pPr>
            <a:lvl5pPr>
              <a:defRPr sz="1400"/>
            </a:lvl5pPr>
          </a:lstStyle>
          <a:p>
            <a:pPr lvl="0"/>
            <a:r>
              <a:rPr lang="en-US"/>
              <a:t>Key stakeholders in the project from Clarivate and &lt;Client&gt;</a:t>
            </a:r>
          </a:p>
          <a:p>
            <a:pPr lvl="0"/>
            <a:endParaRPr lang="en-GB"/>
          </a:p>
        </p:txBody>
      </p:sp>
      <p:sp>
        <p:nvSpPr>
          <p:cNvPr id="36" name="Text Placeholder 28">
            <a:extLst>
              <a:ext uri="{FF2B5EF4-FFF2-40B4-BE49-F238E27FC236}">
                <a16:creationId xmlns:a16="http://schemas.microsoft.com/office/drawing/2014/main" id="{1304DDA6-B4A8-8944-9C39-9FB58C02F630}"/>
              </a:ext>
            </a:extLst>
          </p:cNvPr>
          <p:cNvSpPr>
            <a:spLocks noGrp="1"/>
          </p:cNvSpPr>
          <p:nvPr>
            <p:ph type="body" sz="quarter" idx="25" hasCustomPrompt="1"/>
          </p:nvPr>
        </p:nvSpPr>
        <p:spPr>
          <a:xfrm>
            <a:off x="3409200" y="1040400"/>
            <a:ext cx="4463049" cy="295289"/>
          </a:xfrm>
        </p:spPr>
        <p:txBody>
          <a:bodyPr/>
          <a:lstStyle>
            <a:lvl1pPr marL="179388" indent="-179388">
              <a:lnSpc>
                <a:spcPct val="100000"/>
              </a:lnSpc>
              <a:spcAft>
                <a:spcPts val="0"/>
              </a:spcAft>
              <a:buFont typeface="Arial" panose="020B0604020202020204" pitchFamily="34" charset="0"/>
              <a:buChar char="•"/>
              <a:tabLst/>
              <a:defRPr sz="1000"/>
            </a:lvl1pPr>
            <a:lvl2pPr>
              <a:defRPr sz="1400"/>
            </a:lvl2pPr>
            <a:lvl3pPr>
              <a:defRPr sz="1400"/>
            </a:lvl3pPr>
            <a:lvl4pPr>
              <a:defRPr sz="1400"/>
            </a:lvl4pPr>
            <a:lvl5pPr>
              <a:defRPr sz="1400"/>
            </a:lvl5pPr>
          </a:lstStyle>
          <a:p>
            <a:pPr lvl="0"/>
            <a:r>
              <a:rPr lang="en-US"/>
              <a:t>Virtual meeting via. Teams</a:t>
            </a:r>
          </a:p>
          <a:p>
            <a:pPr lvl="0"/>
            <a:endParaRPr lang="en-GB"/>
          </a:p>
        </p:txBody>
      </p:sp>
      <p:sp>
        <p:nvSpPr>
          <p:cNvPr id="7" name="Footer Placeholder 6">
            <a:extLst>
              <a:ext uri="{FF2B5EF4-FFF2-40B4-BE49-F238E27FC236}">
                <a16:creationId xmlns:a16="http://schemas.microsoft.com/office/drawing/2014/main" id="{35F1ED04-1150-CE4F-B530-D384AB451C9B}"/>
              </a:ext>
            </a:extLst>
          </p:cNvPr>
          <p:cNvSpPr>
            <a:spLocks noGrp="1"/>
          </p:cNvSpPr>
          <p:nvPr>
            <p:ph type="ftr" sz="quarter" idx="26"/>
          </p:nvPr>
        </p:nvSpPr>
        <p:spPr/>
        <p:txBody>
          <a:bodyPr/>
          <a:lstStyle/>
          <a:p>
            <a:r>
              <a:rPr lang="en-GB"/>
              <a:t>For internal use only</a:t>
            </a:r>
          </a:p>
        </p:txBody>
      </p:sp>
      <p:sp>
        <p:nvSpPr>
          <p:cNvPr id="10" name="Slide Number Placeholder 9">
            <a:extLst>
              <a:ext uri="{FF2B5EF4-FFF2-40B4-BE49-F238E27FC236}">
                <a16:creationId xmlns:a16="http://schemas.microsoft.com/office/drawing/2014/main" id="{0DE0C1EF-390C-4B45-82DD-D7A7414216CD}"/>
              </a:ext>
            </a:extLst>
          </p:cNvPr>
          <p:cNvSpPr>
            <a:spLocks noGrp="1"/>
          </p:cNvSpPr>
          <p:nvPr>
            <p:ph type="sldNum" sz="quarter" idx="27"/>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720388455"/>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Content_06">
    <p:bg>
      <p:bgPr>
        <a:solidFill>
          <a:schemeClr val="bg1"/>
        </a:solidFill>
        <a:effectLst/>
      </p:bgPr>
    </p:bg>
    <p:spTree>
      <p:nvGrpSpPr>
        <p:cNvPr id="1" name=""/>
        <p:cNvGrpSpPr/>
        <p:nvPr/>
      </p:nvGrpSpPr>
      <p:grpSpPr>
        <a:xfrm>
          <a:off x="0" y="0"/>
          <a:ext cx="0" cy="0"/>
          <a:chOff x="0" y="0"/>
          <a:chExt cx="0" cy="0"/>
        </a:xfrm>
      </p:grpSpPr>
      <p:pic>
        <p:nvPicPr>
          <p:cNvPr id="31" name="Picture 30" descr="A picture containing appliance, iron&#10;&#10;Description automatically generated">
            <a:extLst>
              <a:ext uri="{FF2B5EF4-FFF2-40B4-BE49-F238E27FC236}">
                <a16:creationId xmlns:a16="http://schemas.microsoft.com/office/drawing/2014/main" id="{0E6B8A39-F599-0844-9F6C-D329B2B43294}"/>
              </a:ext>
            </a:extLst>
          </p:cNvPr>
          <p:cNvPicPr>
            <a:picLocks noChangeAspect="1"/>
          </p:cNvPicPr>
          <p:nvPr userDrawn="1"/>
        </p:nvPicPr>
        <p:blipFill>
          <a:blip r:embed="rId2"/>
          <a:stretch>
            <a:fillRect/>
          </a:stretch>
        </p:blipFill>
        <p:spPr>
          <a:xfrm>
            <a:off x="-6780" y="0"/>
            <a:ext cx="2465818" cy="6858000"/>
          </a:xfrm>
          <a:prstGeom prst="rect">
            <a:avLst/>
          </a:prstGeom>
        </p:spPr>
      </p:pic>
      <p:sp>
        <p:nvSpPr>
          <p:cNvPr id="25" name="Text Placeholder 7">
            <a:extLst>
              <a:ext uri="{FF2B5EF4-FFF2-40B4-BE49-F238E27FC236}">
                <a16:creationId xmlns:a16="http://schemas.microsoft.com/office/drawing/2014/main" id="{A706FF6C-99C0-3F4C-9BBB-08AE20024AB5}"/>
              </a:ext>
            </a:extLst>
          </p:cNvPr>
          <p:cNvSpPr>
            <a:spLocks noGrp="1"/>
          </p:cNvSpPr>
          <p:nvPr>
            <p:ph type="body" sz="quarter" idx="13" hasCustomPrompt="1"/>
          </p:nvPr>
        </p:nvSpPr>
        <p:spPr>
          <a:xfrm>
            <a:off x="579600" y="1165125"/>
            <a:ext cx="1700050" cy="1197075"/>
          </a:xfrm>
        </p:spPr>
        <p:txBody>
          <a:bodyPr wrap="square">
            <a:noAutofit/>
          </a:bodyPr>
          <a:lstStyle>
            <a:lvl1pPr marL="0" indent="0">
              <a:lnSpc>
                <a:spcPct val="85000"/>
              </a:lnSpc>
              <a:spcAft>
                <a:spcPts val="0"/>
              </a:spcAft>
              <a:buNone/>
              <a:defRPr sz="2000" b="1" spc="20" baseline="0">
                <a:solidFill>
                  <a:schemeClr val="tx1"/>
                </a:solidFill>
              </a:defRPr>
            </a:lvl1pPr>
          </a:lstStyle>
          <a:p>
            <a:pPr lvl="0"/>
            <a:r>
              <a:rPr lang="en-US"/>
              <a:t>05. Payer</a:t>
            </a:r>
            <a:br>
              <a:rPr lang="en-US"/>
            </a:br>
            <a:r>
              <a:rPr lang="en-US"/>
              <a:t>testing</a:t>
            </a:r>
          </a:p>
        </p:txBody>
      </p:sp>
      <p:pic>
        <p:nvPicPr>
          <p:cNvPr id="19" name="Picture 18" descr="A close up of a flower&#10;&#10;Description automatically generated">
            <a:extLst>
              <a:ext uri="{FF2B5EF4-FFF2-40B4-BE49-F238E27FC236}">
                <a16:creationId xmlns:a16="http://schemas.microsoft.com/office/drawing/2014/main" id="{758FE046-E09D-E24E-881E-F3188DC2A04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5367" y="6301117"/>
            <a:ext cx="1258035" cy="376657"/>
          </a:xfrm>
          <a:prstGeom prst="rect">
            <a:avLst/>
          </a:prstGeom>
        </p:spPr>
      </p:pic>
      <p:sp>
        <p:nvSpPr>
          <p:cNvPr id="33" name="Picture Placeholder 32">
            <a:extLst>
              <a:ext uri="{FF2B5EF4-FFF2-40B4-BE49-F238E27FC236}">
                <a16:creationId xmlns:a16="http://schemas.microsoft.com/office/drawing/2014/main" id="{541FDFA9-C279-0740-AB1F-DE7AA9D651CA}"/>
              </a:ext>
            </a:extLst>
          </p:cNvPr>
          <p:cNvSpPr>
            <a:spLocks noGrp="1"/>
          </p:cNvSpPr>
          <p:nvPr>
            <p:ph type="pic" sz="quarter" idx="21"/>
          </p:nvPr>
        </p:nvSpPr>
        <p:spPr>
          <a:xfrm>
            <a:off x="603155" y="441824"/>
            <a:ext cx="542761" cy="602300"/>
          </a:xfrm>
          <a:ln>
            <a:noFill/>
          </a:ln>
        </p:spPr>
        <p:txBody>
          <a:bodyPr/>
          <a:lstStyle>
            <a:lvl1pPr>
              <a:defRPr sz="800"/>
            </a:lvl1pPr>
          </a:lstStyle>
          <a:p>
            <a:endParaRPr lang="en-GB"/>
          </a:p>
        </p:txBody>
      </p:sp>
      <p:sp>
        <p:nvSpPr>
          <p:cNvPr id="15" name="Text Placeholder 7">
            <a:extLst>
              <a:ext uri="{FF2B5EF4-FFF2-40B4-BE49-F238E27FC236}">
                <a16:creationId xmlns:a16="http://schemas.microsoft.com/office/drawing/2014/main" id="{38AED154-E6C1-7242-A131-EFAB6B9B563F}"/>
              </a:ext>
            </a:extLst>
          </p:cNvPr>
          <p:cNvSpPr>
            <a:spLocks noGrp="1"/>
          </p:cNvSpPr>
          <p:nvPr>
            <p:ph type="body" sz="quarter" idx="15" hasCustomPrompt="1"/>
          </p:nvPr>
        </p:nvSpPr>
        <p:spPr>
          <a:xfrm>
            <a:off x="3409200" y="781200"/>
            <a:ext cx="5386420" cy="364634"/>
          </a:xfrm>
        </p:spPr>
        <p:txBody>
          <a:bodyPr wrap="square">
            <a:noAutofit/>
          </a:bodyPr>
          <a:lstStyle>
            <a:lvl1pPr marL="0" indent="0">
              <a:lnSpc>
                <a:spcPct val="85000"/>
              </a:lnSpc>
              <a:spcAft>
                <a:spcPts val="0"/>
              </a:spcAft>
              <a:buNone/>
              <a:defRPr sz="1200" b="1" spc="20" baseline="0">
                <a:solidFill>
                  <a:schemeClr val="accent1"/>
                </a:solidFill>
              </a:defRPr>
            </a:lvl1pPr>
          </a:lstStyle>
          <a:p>
            <a:pPr lvl="0"/>
            <a:r>
              <a:rPr lang="en-US"/>
              <a:t>Objectives</a:t>
            </a:r>
          </a:p>
        </p:txBody>
      </p:sp>
      <p:sp>
        <p:nvSpPr>
          <p:cNvPr id="17" name="Text Placeholder 7">
            <a:extLst>
              <a:ext uri="{FF2B5EF4-FFF2-40B4-BE49-F238E27FC236}">
                <a16:creationId xmlns:a16="http://schemas.microsoft.com/office/drawing/2014/main" id="{7994CCC9-076C-344C-A670-1E5F9B75AFBA}"/>
              </a:ext>
            </a:extLst>
          </p:cNvPr>
          <p:cNvSpPr>
            <a:spLocks noGrp="1"/>
          </p:cNvSpPr>
          <p:nvPr>
            <p:ph type="body" sz="quarter" idx="22" hasCustomPrompt="1"/>
          </p:nvPr>
        </p:nvSpPr>
        <p:spPr>
          <a:xfrm>
            <a:off x="3407537" y="1886938"/>
            <a:ext cx="5386421" cy="257426"/>
          </a:xfrm>
        </p:spPr>
        <p:txBody>
          <a:bodyPr wrap="square">
            <a:noAutofit/>
          </a:bodyPr>
          <a:lstStyle>
            <a:lvl1pPr marL="0" indent="0">
              <a:lnSpc>
                <a:spcPct val="85000"/>
              </a:lnSpc>
              <a:spcAft>
                <a:spcPts val="0"/>
              </a:spcAft>
              <a:buNone/>
              <a:defRPr sz="1200" b="1" spc="20" baseline="0">
                <a:solidFill>
                  <a:schemeClr val="accent1"/>
                </a:solidFill>
              </a:defRPr>
            </a:lvl1pPr>
          </a:lstStyle>
          <a:p>
            <a:pPr lvl="0"/>
            <a:r>
              <a:rPr lang="en-US"/>
              <a:t>Approach</a:t>
            </a:r>
          </a:p>
        </p:txBody>
      </p:sp>
      <p:sp>
        <p:nvSpPr>
          <p:cNvPr id="18" name="Text Placeholder 7">
            <a:extLst>
              <a:ext uri="{FF2B5EF4-FFF2-40B4-BE49-F238E27FC236}">
                <a16:creationId xmlns:a16="http://schemas.microsoft.com/office/drawing/2014/main" id="{33A54CAD-DB8A-2841-A920-87142CBA9834}"/>
              </a:ext>
            </a:extLst>
          </p:cNvPr>
          <p:cNvSpPr>
            <a:spLocks noGrp="1"/>
          </p:cNvSpPr>
          <p:nvPr>
            <p:ph type="body" sz="quarter" idx="23" hasCustomPrompt="1"/>
          </p:nvPr>
        </p:nvSpPr>
        <p:spPr>
          <a:xfrm>
            <a:off x="3407538" y="4849423"/>
            <a:ext cx="5388800" cy="261749"/>
          </a:xfrm>
        </p:spPr>
        <p:txBody>
          <a:bodyPr wrap="square">
            <a:noAutofit/>
          </a:bodyPr>
          <a:lstStyle>
            <a:lvl1pPr marL="0" indent="0">
              <a:lnSpc>
                <a:spcPct val="85000"/>
              </a:lnSpc>
              <a:spcAft>
                <a:spcPts val="0"/>
              </a:spcAft>
              <a:buNone/>
              <a:defRPr sz="1200" b="1" spc="20" baseline="0">
                <a:solidFill>
                  <a:schemeClr val="accent1"/>
                </a:solidFill>
              </a:defRPr>
            </a:lvl1pPr>
          </a:lstStyle>
          <a:p>
            <a:pPr lvl="0"/>
            <a:r>
              <a:rPr lang="en-US"/>
              <a:t>Deliverables</a:t>
            </a:r>
          </a:p>
        </p:txBody>
      </p:sp>
      <p:sp>
        <p:nvSpPr>
          <p:cNvPr id="21" name="Text Placeholder 28">
            <a:extLst>
              <a:ext uri="{FF2B5EF4-FFF2-40B4-BE49-F238E27FC236}">
                <a16:creationId xmlns:a16="http://schemas.microsoft.com/office/drawing/2014/main" id="{A59341D6-2F11-3747-9F15-7AE7632FC436}"/>
              </a:ext>
            </a:extLst>
          </p:cNvPr>
          <p:cNvSpPr>
            <a:spLocks noGrp="1"/>
          </p:cNvSpPr>
          <p:nvPr>
            <p:ph type="body" sz="quarter" idx="25" hasCustomPrompt="1"/>
          </p:nvPr>
        </p:nvSpPr>
        <p:spPr>
          <a:xfrm>
            <a:off x="3409915" y="1040400"/>
            <a:ext cx="5386423" cy="755009"/>
          </a:xfrm>
        </p:spPr>
        <p:txBody>
          <a:bodyPr/>
          <a:lstStyle>
            <a:lvl1pPr marL="179388" indent="-179388">
              <a:lnSpc>
                <a:spcPct val="100000"/>
              </a:lnSpc>
              <a:spcAft>
                <a:spcPts val="0"/>
              </a:spcAft>
              <a:buFont typeface="Arial" panose="020B0604020202020204" pitchFamily="34" charset="0"/>
              <a:buChar char="•"/>
              <a:tabLst/>
              <a:defRPr lang="en-GB" sz="1000" smtClean="0">
                <a:effectLst/>
              </a:defRPr>
            </a:lvl1pPr>
            <a:lvl2pPr>
              <a:defRPr sz="1400"/>
            </a:lvl2pPr>
            <a:lvl3pPr>
              <a:defRPr sz="1400"/>
            </a:lvl3pPr>
            <a:lvl4pPr>
              <a:defRPr sz="1400"/>
            </a:lvl4pPr>
            <a:lvl5pPr>
              <a:defRPr sz="1400"/>
            </a:lvl5pPr>
          </a:lstStyle>
          <a:p>
            <a:r>
              <a:rPr lang="en-GB" sz="1000">
                <a:effectLst/>
                <a:latin typeface="Calibri" panose="020F0502020204030204" pitchFamily="34" charset="0"/>
                <a:ea typeface="Times New Roman" panose="02020603050405020304" pitchFamily="18" charset="0"/>
                <a:cs typeface="Calibri" panose="020F0502020204030204" pitchFamily="34" charset="0"/>
              </a:rPr>
              <a:t>To understand the impact of the value proposition for the &lt;disease&gt; portfolio on payers </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p>
            <a:r>
              <a:rPr lang="en-GB" sz="1000">
                <a:effectLst/>
                <a:latin typeface="Calibri" panose="020F0502020204030204" pitchFamily="34" charset="0"/>
                <a:ea typeface="Times New Roman" panose="02020603050405020304" pitchFamily="18" charset="0"/>
                <a:cs typeface="Calibri" panose="020F0502020204030204" pitchFamily="34" charset="0"/>
              </a:rPr>
              <a:t>Identify the perception of unmet need in the &lt;disease&gt; space</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p>
            <a:r>
              <a:rPr lang="en-GB" sz="1000">
                <a:effectLst/>
                <a:latin typeface="Calibri" panose="020F0502020204030204" pitchFamily="34" charset="0"/>
                <a:ea typeface="Times New Roman" panose="02020603050405020304" pitchFamily="18" charset="0"/>
              </a:rPr>
              <a:t>Identify value drivers and how &lt;Client&gt; can best communicate their commitment to &lt;disease&gt; </a:t>
            </a:r>
            <a:endParaRPr lang="en-GB"/>
          </a:p>
        </p:txBody>
      </p:sp>
      <p:sp>
        <p:nvSpPr>
          <p:cNvPr id="22" name="Text Placeholder 28">
            <a:extLst>
              <a:ext uri="{FF2B5EF4-FFF2-40B4-BE49-F238E27FC236}">
                <a16:creationId xmlns:a16="http://schemas.microsoft.com/office/drawing/2014/main" id="{CE10042C-1AED-8E4E-A186-1781B9138CBA}"/>
              </a:ext>
            </a:extLst>
          </p:cNvPr>
          <p:cNvSpPr>
            <a:spLocks noGrp="1"/>
          </p:cNvSpPr>
          <p:nvPr>
            <p:ph type="body" sz="quarter" idx="26" hasCustomPrompt="1"/>
          </p:nvPr>
        </p:nvSpPr>
        <p:spPr>
          <a:xfrm>
            <a:off x="3407537" y="2149044"/>
            <a:ext cx="5386422" cy="2764996"/>
          </a:xfrm>
        </p:spPr>
        <p:txBody>
          <a:bodyPr/>
          <a:lstStyle>
            <a:lvl1pPr marL="179388" indent="-179388">
              <a:lnSpc>
                <a:spcPct val="100000"/>
              </a:lnSpc>
              <a:spcAft>
                <a:spcPts val="0"/>
              </a:spcAft>
              <a:buFont typeface="Arial" panose="020B0604020202020204" pitchFamily="34" charset="0"/>
              <a:buChar char="•"/>
              <a:tabLst/>
              <a:defRPr sz="1000"/>
            </a:lvl1pPr>
            <a:lvl2pPr marL="182880" indent="0">
              <a:buNone/>
              <a:defRPr sz="1400"/>
            </a:lvl2pPr>
            <a:lvl3pPr>
              <a:defRPr sz="1400"/>
            </a:lvl3pPr>
            <a:lvl4pPr>
              <a:defRPr sz="1400"/>
            </a:lvl4pPr>
            <a:lvl5pPr>
              <a:defRPr sz="1400"/>
            </a:lvl5pPr>
          </a:lstStyle>
          <a:p>
            <a:pPr lvl="0"/>
            <a:r>
              <a:rPr lang="en-US"/>
              <a:t>10 x 45 minute interviews with payers  - in order to confirm and explore themes before  fielding the survey</a:t>
            </a:r>
          </a:p>
          <a:p>
            <a:pPr lvl="0"/>
            <a:r>
              <a:rPr lang="en-US"/>
              <a:t>10 x 25 minute surveys of commercial payers</a:t>
            </a:r>
          </a:p>
          <a:p>
            <a:pPr lvl="0"/>
            <a:r>
              <a:rPr lang="en-US"/>
              <a:t>In the case of qualitative and quantitative research, we will include U.S. payers form regional and national health plans, and PBM formulary decision makers</a:t>
            </a:r>
          </a:p>
          <a:p>
            <a:pPr lvl="0"/>
            <a:r>
              <a:rPr lang="en-US"/>
              <a:t>We will conduct a structured discussion of the value proposition and messages gaining insight on impact credibility</a:t>
            </a:r>
          </a:p>
          <a:p>
            <a:pPr lvl="0"/>
            <a:r>
              <a:rPr lang="en-US"/>
              <a:t>We will develop all necessary research materials, facilitate approvals, and conduct all discussions. Interview transcripts can be provided on request</a:t>
            </a:r>
          </a:p>
          <a:p>
            <a:pPr lvl="0"/>
            <a:r>
              <a:rPr lang="en-US"/>
              <a:t>Payers will be compensated in line with fair market value guidelines from &lt;Client?</a:t>
            </a:r>
          </a:p>
          <a:p>
            <a:pPr lvl="0"/>
            <a:r>
              <a:rPr lang="en-US"/>
              <a:t>We will synthesize the findings from the primary research to provide clear conclusions and recommendations for updating the value proposition in light of the payer testing</a:t>
            </a:r>
          </a:p>
          <a:p>
            <a:pPr lvl="0"/>
            <a:r>
              <a:rPr lang="en-US"/>
              <a:t>We will present the findings from the payer research along with our recommendations to the &lt;Client&gt; team and agree on actions needed for finalization of the payer value story</a:t>
            </a:r>
          </a:p>
          <a:p>
            <a:pPr lvl="0"/>
            <a:endParaRPr lang="en-GB"/>
          </a:p>
        </p:txBody>
      </p:sp>
      <p:sp>
        <p:nvSpPr>
          <p:cNvPr id="26" name="Text Placeholder 28">
            <a:extLst>
              <a:ext uri="{FF2B5EF4-FFF2-40B4-BE49-F238E27FC236}">
                <a16:creationId xmlns:a16="http://schemas.microsoft.com/office/drawing/2014/main" id="{01AD2141-F780-F54C-AD23-111B21AF5BDB}"/>
              </a:ext>
            </a:extLst>
          </p:cNvPr>
          <p:cNvSpPr>
            <a:spLocks noGrp="1"/>
          </p:cNvSpPr>
          <p:nvPr>
            <p:ph type="body" sz="quarter" idx="27" hasCustomPrompt="1"/>
          </p:nvPr>
        </p:nvSpPr>
        <p:spPr>
          <a:xfrm>
            <a:off x="3407538" y="5111173"/>
            <a:ext cx="5388799" cy="990322"/>
          </a:xfrm>
        </p:spPr>
        <p:txBody>
          <a:bodyPr/>
          <a:lstStyle>
            <a:lvl1pPr marL="179388" indent="-179388">
              <a:lnSpc>
                <a:spcPct val="100000"/>
              </a:lnSpc>
              <a:spcAft>
                <a:spcPts val="0"/>
              </a:spcAft>
              <a:buFont typeface="Arial" panose="020B0604020202020204" pitchFamily="34" charset="0"/>
              <a:buChar char="•"/>
              <a:tabLst/>
              <a:defRPr sz="1000"/>
            </a:lvl1pPr>
            <a:lvl2pPr marL="182880" indent="0">
              <a:buNone/>
              <a:defRPr sz="1400"/>
            </a:lvl2pPr>
            <a:lvl3pPr>
              <a:defRPr sz="1400"/>
            </a:lvl3pPr>
            <a:lvl4pPr>
              <a:defRPr sz="1400"/>
            </a:lvl4pPr>
            <a:lvl5pPr>
              <a:defRPr sz="1400"/>
            </a:lvl5pPr>
          </a:lstStyle>
          <a:p>
            <a:pPr lvl="0"/>
            <a:r>
              <a:rPr lang="en-US"/>
              <a:t>Screener, discussion guide and stimuli materials</a:t>
            </a:r>
          </a:p>
          <a:p>
            <a:pPr lvl="0"/>
            <a:r>
              <a:rPr lang="en-US"/>
              <a:t>40 x 25 minute surveys and 10 x 45 minute interviews</a:t>
            </a:r>
          </a:p>
          <a:p>
            <a:pPr lvl="0"/>
            <a:r>
              <a:rPr lang="en-US"/>
              <a:t>PowerPoint report summarizing the key findings from the TDIs, substantiating it with quotes from stakeholders, and strategic recommendations</a:t>
            </a:r>
          </a:p>
          <a:p>
            <a:pPr lvl="0"/>
            <a:r>
              <a:rPr lang="en-US"/>
              <a:t>Relevant comments and feedback from the TDIs will be incorporated into the value story prepared in the next stage</a:t>
            </a:r>
          </a:p>
          <a:p>
            <a:pPr lvl="0"/>
            <a:endParaRPr lang="en-GB"/>
          </a:p>
        </p:txBody>
      </p:sp>
      <p:sp>
        <p:nvSpPr>
          <p:cNvPr id="7" name="Footer Placeholder 6">
            <a:extLst>
              <a:ext uri="{FF2B5EF4-FFF2-40B4-BE49-F238E27FC236}">
                <a16:creationId xmlns:a16="http://schemas.microsoft.com/office/drawing/2014/main" id="{EADBC695-C1EE-9E49-84F6-2861830F6F6D}"/>
              </a:ext>
            </a:extLst>
          </p:cNvPr>
          <p:cNvSpPr>
            <a:spLocks noGrp="1"/>
          </p:cNvSpPr>
          <p:nvPr>
            <p:ph type="ftr" sz="quarter" idx="28"/>
          </p:nvPr>
        </p:nvSpPr>
        <p:spPr/>
        <p:txBody>
          <a:bodyPr/>
          <a:lstStyle/>
          <a:p>
            <a:r>
              <a:rPr lang="en-GB"/>
              <a:t>For internal use only</a:t>
            </a:r>
          </a:p>
        </p:txBody>
      </p:sp>
      <p:sp>
        <p:nvSpPr>
          <p:cNvPr id="8" name="Slide Number Placeholder 7">
            <a:extLst>
              <a:ext uri="{FF2B5EF4-FFF2-40B4-BE49-F238E27FC236}">
                <a16:creationId xmlns:a16="http://schemas.microsoft.com/office/drawing/2014/main" id="{C05A7C56-06F5-4847-9BB0-89E906FB0DCF}"/>
              </a:ext>
            </a:extLst>
          </p:cNvPr>
          <p:cNvSpPr>
            <a:spLocks noGrp="1"/>
          </p:cNvSpPr>
          <p:nvPr>
            <p:ph type="sldNum" sz="quarter" idx="2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733036133"/>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Break_04">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iron, toothbrush&#10;&#10;Description automatically generated">
            <a:extLst>
              <a:ext uri="{FF2B5EF4-FFF2-40B4-BE49-F238E27FC236}">
                <a16:creationId xmlns:a16="http://schemas.microsoft.com/office/drawing/2014/main" id="{7952FCE7-A232-0B49-8BA7-9199FDDCD59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7">
            <a:extLst>
              <a:ext uri="{FF2B5EF4-FFF2-40B4-BE49-F238E27FC236}">
                <a16:creationId xmlns:a16="http://schemas.microsoft.com/office/drawing/2014/main" id="{8043F9A4-512E-E941-BF94-EBD7292369AB}"/>
              </a:ext>
            </a:extLst>
          </p:cNvPr>
          <p:cNvSpPr>
            <a:spLocks noGrp="1"/>
          </p:cNvSpPr>
          <p:nvPr>
            <p:ph type="body" sz="quarter" idx="13" hasCustomPrompt="1"/>
          </p:nvPr>
        </p:nvSpPr>
        <p:spPr>
          <a:xfrm>
            <a:off x="600142" y="4935584"/>
            <a:ext cx="5387908" cy="838200"/>
          </a:xfrm>
        </p:spPr>
        <p:txBody>
          <a:bodyPr wrap="square">
            <a:noAutofit/>
          </a:bodyPr>
          <a:lstStyle>
            <a:lvl1pPr marL="0" indent="0">
              <a:lnSpc>
                <a:spcPct val="85000"/>
              </a:lnSpc>
              <a:spcAft>
                <a:spcPts val="0"/>
              </a:spcAft>
              <a:buNone/>
              <a:defRPr sz="3000" b="1" spc="20" baseline="0">
                <a:solidFill>
                  <a:schemeClr val="tx1"/>
                </a:solidFill>
              </a:defRPr>
            </a:lvl1pPr>
          </a:lstStyle>
          <a:p>
            <a:pPr lvl="0"/>
            <a:r>
              <a:rPr lang="en-US"/>
              <a:t>Timeline</a:t>
            </a:r>
          </a:p>
        </p:txBody>
      </p:sp>
      <p:pic>
        <p:nvPicPr>
          <p:cNvPr id="8" name="Picture 7" descr="A close up of a flower&#10;&#10;Description automatically generated">
            <a:extLst>
              <a:ext uri="{FF2B5EF4-FFF2-40B4-BE49-F238E27FC236}">
                <a16:creationId xmlns:a16="http://schemas.microsoft.com/office/drawing/2014/main" id="{9AA9C013-0566-1C46-BD38-FB2B1B90BFC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5367" y="6301117"/>
            <a:ext cx="1258035" cy="376657"/>
          </a:xfrm>
          <a:prstGeom prst="rect">
            <a:avLst/>
          </a:prstGeom>
        </p:spPr>
      </p:pic>
      <p:sp>
        <p:nvSpPr>
          <p:cNvPr id="2" name="Footer Placeholder 1">
            <a:extLst>
              <a:ext uri="{FF2B5EF4-FFF2-40B4-BE49-F238E27FC236}">
                <a16:creationId xmlns:a16="http://schemas.microsoft.com/office/drawing/2014/main" id="{459CF81F-7313-A545-B82B-2DD552063473}"/>
              </a:ext>
            </a:extLst>
          </p:cNvPr>
          <p:cNvSpPr>
            <a:spLocks noGrp="1"/>
          </p:cNvSpPr>
          <p:nvPr>
            <p:ph type="ftr" sz="quarter" idx="14"/>
          </p:nvPr>
        </p:nvSpPr>
        <p:spPr/>
        <p:txBody>
          <a:bodyPr/>
          <a:lstStyle/>
          <a:p>
            <a:r>
              <a:rPr lang="en-GB"/>
              <a:t>For internal use only</a:t>
            </a:r>
          </a:p>
        </p:txBody>
      </p:sp>
      <p:sp>
        <p:nvSpPr>
          <p:cNvPr id="4" name="Slide Number Placeholder 3">
            <a:extLst>
              <a:ext uri="{FF2B5EF4-FFF2-40B4-BE49-F238E27FC236}">
                <a16:creationId xmlns:a16="http://schemas.microsoft.com/office/drawing/2014/main" id="{E8A1D1BD-9DF8-7A45-835A-8C84345416FA}"/>
              </a:ext>
            </a:extLst>
          </p:cNvPr>
          <p:cNvSpPr>
            <a:spLocks noGrp="1"/>
          </p:cNvSpPr>
          <p:nvPr>
            <p:ph type="sldNum" sz="quarter" idx="15"/>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350926324"/>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Empty_with_Header">
  <p:cSld name="Empty_with_Header">
    <p:spTree>
      <p:nvGrpSpPr>
        <p:cNvPr id="1" name="Shape 72"/>
        <p:cNvGrpSpPr/>
        <p:nvPr/>
      </p:nvGrpSpPr>
      <p:grpSpPr>
        <a:xfrm>
          <a:off x="0" y="0"/>
          <a:ext cx="0" cy="0"/>
          <a:chOff x="0" y="0"/>
          <a:chExt cx="0" cy="0"/>
        </a:xfrm>
      </p:grpSpPr>
      <p:sp>
        <p:nvSpPr>
          <p:cNvPr id="73" name="Google Shape;73;p6"/>
          <p:cNvSpPr txBox="1">
            <a:spLocks noGrp="1"/>
          </p:cNvSpPr>
          <p:nvPr>
            <p:ph type="sldNum" idx="12"/>
          </p:nvPr>
        </p:nvSpPr>
        <p:spPr>
          <a:xfrm>
            <a:off x="11336459" y="6446507"/>
            <a:ext cx="366016" cy="1620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74" name="Google Shape;74;p6"/>
          <p:cNvSpPr txBox="1">
            <a:spLocks noGrp="1"/>
          </p:cNvSpPr>
          <p:nvPr>
            <p:ph type="ftr" idx="11"/>
          </p:nvPr>
        </p:nvSpPr>
        <p:spPr>
          <a:xfrm>
            <a:off x="6299950" y="6446507"/>
            <a:ext cx="4651200" cy="162000"/>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5" name="Google Shape;75;p6"/>
          <p:cNvSpPr txBox="1">
            <a:spLocks noGrp="1"/>
          </p:cNvSpPr>
          <p:nvPr>
            <p:ph type="body" idx="1"/>
          </p:nvPr>
        </p:nvSpPr>
        <p:spPr>
          <a:xfrm>
            <a:off x="580295" y="421329"/>
            <a:ext cx="3571018" cy="391471"/>
          </a:xfrm>
          <a:prstGeom prst="rect">
            <a:avLst/>
          </a:prstGeom>
          <a:noFill/>
          <a:ln>
            <a:noFill/>
          </a:ln>
        </p:spPr>
        <p:txBody>
          <a:bodyPr spcFirstLastPara="1" wrap="square" lIns="0" tIns="0" rIns="0" bIns="0" anchor="t" anchorCtr="0">
            <a:noAutofit/>
          </a:bodyPr>
          <a:lstStyle>
            <a:lvl1pPr marL="457200" lvl="0" indent="-228600" algn="l">
              <a:lnSpc>
                <a:spcPct val="85000"/>
              </a:lnSpc>
              <a:spcBef>
                <a:spcPts val="300"/>
              </a:spcBef>
              <a:spcAft>
                <a:spcPts val="0"/>
              </a:spcAft>
              <a:buSzPts val="2000"/>
              <a:buNone/>
              <a:defRPr sz="2000" b="1">
                <a:solidFill>
                  <a:schemeClr val="dk1"/>
                </a:solidFill>
              </a:defRPr>
            </a:lvl1pPr>
            <a:lvl2pPr marL="914400" lvl="1" indent="-342900" algn="l">
              <a:lnSpc>
                <a:spcPct val="100000"/>
              </a:lnSpc>
              <a:spcBef>
                <a:spcPts val="3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300"/>
              </a:spcBef>
              <a:spcAft>
                <a:spcPts val="0"/>
              </a:spcAft>
              <a:buSzPts val="1800"/>
              <a:buChar char="–"/>
              <a:defRPr/>
            </a:lvl4pPr>
            <a:lvl5pPr marL="2286000" lvl="4" indent="-342900" algn="l">
              <a:lnSpc>
                <a:spcPct val="100000"/>
              </a:lnSpc>
              <a:spcBef>
                <a:spcPts val="300"/>
              </a:spcBef>
              <a:spcAft>
                <a:spcPts val="0"/>
              </a:spcAft>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6" name="Google Shape;76;p6" descr="A close up of a flower&#10;&#10;Description automatically generated"/>
          <p:cNvPicPr preferRelativeResize="0"/>
          <p:nvPr/>
        </p:nvPicPr>
        <p:blipFill rotWithShape="1">
          <a:blip r:embed="rId2">
            <a:alphaModFix/>
          </a:blip>
          <a:srcRect/>
          <a:stretch/>
        </p:blipFill>
        <p:spPr>
          <a:xfrm>
            <a:off x="485367" y="6301117"/>
            <a:ext cx="1258035" cy="376657"/>
          </a:xfrm>
          <a:prstGeom prst="rect">
            <a:avLst/>
          </a:prstGeom>
          <a:noFill/>
          <a:ln>
            <a:noFill/>
          </a:ln>
        </p:spPr>
      </p:pic>
    </p:spTree>
    <p:extLst>
      <p:ext uri="{BB962C8B-B14F-4D97-AF65-F5344CB8AC3E}">
        <p14:creationId xmlns:p14="http://schemas.microsoft.com/office/powerpoint/2010/main" val="16420606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0:50 Text -  Blue / Purple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B8773E-2F29-ECD1-16FF-8BC5E75E1E40}"/>
              </a:ext>
            </a:extLst>
          </p:cNvPr>
          <p:cNvSpPr/>
          <p:nvPr userDrawn="1"/>
        </p:nvSpPr>
        <p:spPr>
          <a:xfrm rot="10800000">
            <a:off x="6095999" y="0"/>
            <a:ext cx="6096000"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073275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8D564B-EB64-218D-674E-69E2C567CF28}"/>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057634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x Columns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E5CACE1-373F-1887-B5D9-B73EA9691DEA}"/>
              </a:ext>
            </a:extLst>
          </p:cNvPr>
          <p:cNvSpPr/>
          <p:nvPr userDrawn="1"/>
        </p:nvSpPr>
        <p:spPr>
          <a:xfrm rot="10800000">
            <a:off x="8040684"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21371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1 Light Image - Blue / Purple Big Sta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3EBDDE-664E-22FA-02F4-D12882D309AB}"/>
              </a:ext>
            </a:extLst>
          </p:cNvPr>
          <p:cNvSpPr/>
          <p:nvPr userDrawn="1"/>
        </p:nvSpPr>
        <p:spPr>
          <a:xfrm rot="10800000">
            <a:off x="8040687" y="0"/>
            <a:ext cx="4151311" cy="6858000"/>
          </a:xfrm>
          <a:prstGeom prst="rect">
            <a:avLst/>
          </a:prstGeom>
          <a:gradFill>
            <a:gsLst>
              <a:gs pos="50000">
                <a:srgbClr val="7188E9"/>
              </a:gs>
              <a:gs pos="85000">
                <a:srgbClr val="319AF0"/>
              </a:gs>
              <a:gs pos="15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5268942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Text / Big Sta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192AC438-4963-3E86-AF1D-907809837B4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96000" y="2861"/>
            <a:ext cx="6096000" cy="6852277"/>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6959600" y="2168525"/>
            <a:ext cx="4679821" cy="1620837"/>
          </a:xfrm>
        </p:spPr>
        <p:txBody>
          <a:bodyPr anchor="b" anchorCtr="0"/>
          <a:lstStyle>
            <a:lvl1pPr marL="0" indent="0" algn="ctr">
              <a:buNone/>
              <a:defRPr lang="en-US" sz="12000" kern="1200" spc="-300" baseline="0" dirty="0">
                <a:solidFill>
                  <a:schemeClr val="accent1"/>
                </a:solidFill>
                <a:latin typeface="+mn-lt"/>
                <a:ea typeface="+mn-ea"/>
                <a:cs typeface="+mn-cs"/>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marL="0" lvl="0" indent="0" algn="ctr" defTabSz="914400" rtl="0" eaLnBrk="1" latinLnBrk="0" hangingPunct="1">
              <a:lnSpc>
                <a:spcPct val="100000"/>
              </a:lnSpc>
              <a:spcBef>
                <a:spcPts val="900"/>
              </a:spcBef>
              <a:buFont typeface="Arial" panose="020B0604020202020204" pitchFamily="34" charset="0"/>
              <a:buNone/>
            </a:pPr>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6959600" y="3608388"/>
            <a:ext cx="4679821"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7" name="Title 1">
            <a:extLst>
              <a:ext uri="{FF2B5EF4-FFF2-40B4-BE49-F238E27FC236}">
                <a16:creationId xmlns:a16="http://schemas.microsoft.com/office/drawing/2014/main" id="{7DE71408-1F6A-1900-3166-8B0F27B91CF7}"/>
              </a:ext>
            </a:extLst>
          </p:cNvPr>
          <p:cNvSpPr>
            <a:spLocks noGrp="1"/>
          </p:cNvSpPr>
          <p:nvPr>
            <p:ph type="title" hasCustomPrompt="1"/>
          </p:nvPr>
        </p:nvSpPr>
        <p:spPr>
          <a:xfrm>
            <a:off x="550865" y="368828"/>
            <a:ext cx="5075998" cy="251885"/>
          </a:xfrm>
        </p:spPr>
        <p:txBody>
          <a:bodyPr/>
          <a:lstStyle>
            <a:lvl1pPr>
              <a:defRPr/>
            </a:lvl1pPr>
          </a:lstStyle>
          <a:p>
            <a:r>
              <a:rPr lang="en-US"/>
              <a:t>Header avenir demi 24pt</a:t>
            </a:r>
            <a:endParaRPr lang="en-GB"/>
          </a:p>
        </p:txBody>
      </p:sp>
      <p:sp>
        <p:nvSpPr>
          <p:cNvPr id="10" name="Text Placeholder 9">
            <a:extLst>
              <a:ext uri="{FF2B5EF4-FFF2-40B4-BE49-F238E27FC236}">
                <a16:creationId xmlns:a16="http://schemas.microsoft.com/office/drawing/2014/main" id="{E040A9B4-F93C-AB35-66CE-1690CFBC2581}"/>
              </a:ext>
            </a:extLst>
          </p:cNvPr>
          <p:cNvSpPr>
            <a:spLocks noGrp="1"/>
          </p:cNvSpPr>
          <p:nvPr>
            <p:ph type="body" sz="quarter" idx="13" hasCustomPrompt="1"/>
          </p:nvPr>
        </p:nvSpPr>
        <p:spPr>
          <a:xfrm>
            <a:off x="550865" y="753852"/>
            <a:ext cx="5075998"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03BC752C-CC9E-C49E-83BC-B6B704830335}"/>
              </a:ext>
            </a:extLst>
          </p:cNvPr>
          <p:cNvSpPr>
            <a:spLocks noGrp="1"/>
          </p:cNvSpPr>
          <p:nvPr>
            <p:ph type="body" sz="quarter" idx="14"/>
          </p:nvPr>
        </p:nvSpPr>
        <p:spPr>
          <a:xfrm>
            <a:off x="550862"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049211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0:50 - 1 line only">
    <p:bg>
      <p:bgPr>
        <a:solidFill>
          <a:srgbClr val="FAF5FF"/>
        </a:solidFill>
        <a:effectLst/>
      </p:bgPr>
    </p:bg>
    <p:spTree>
      <p:nvGrpSpPr>
        <p:cNvPr id="1" name=""/>
        <p:cNvGrpSpPr/>
        <p:nvPr/>
      </p:nvGrpSpPr>
      <p:grpSpPr>
        <a:xfrm>
          <a:off x="0" y="0"/>
          <a:ext cx="0" cy="0"/>
          <a:chOff x="0" y="0"/>
          <a:chExt cx="0" cy="0"/>
        </a:xfrm>
      </p:grpSpPr>
      <p:sp>
        <p:nvSpPr>
          <p:cNvPr id="24" name="Picture Placeholder 177">
            <a:extLst>
              <a:ext uri="{FF2B5EF4-FFF2-40B4-BE49-F238E27FC236}">
                <a16:creationId xmlns:a16="http://schemas.microsoft.com/office/drawing/2014/main" id="{EBF07732-6455-6288-ADD7-82EA3A3699BF}"/>
              </a:ext>
            </a:extLst>
          </p:cNvPr>
          <p:cNvSpPr>
            <a:spLocks noGrp="1"/>
          </p:cNvSpPr>
          <p:nvPr>
            <p:ph type="pic" sz="quarter" idx="21" hasCustomPrompt="1"/>
          </p:nvPr>
        </p:nvSpPr>
        <p:spPr>
          <a:xfrm>
            <a:off x="4062088" y="0"/>
            <a:ext cx="8129913" cy="6858000"/>
          </a:xfrm>
          <a:custGeom>
            <a:avLst/>
            <a:gdLst>
              <a:gd name="connsiteX0" fmla="*/ 4064325 w 8129913"/>
              <a:gd name="connsiteY0" fmla="*/ 0 h 6858000"/>
              <a:gd name="connsiteX1" fmla="*/ 8129913 w 8129913"/>
              <a:gd name="connsiteY1" fmla="*/ 0 h 6858000"/>
              <a:gd name="connsiteX2" fmla="*/ 8129913 w 8129913"/>
              <a:gd name="connsiteY2" fmla="*/ 6858000 h 6858000"/>
              <a:gd name="connsiteX3" fmla="*/ 0 w 81299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9913" h="6858000">
                <a:moveTo>
                  <a:pt x="4064325" y="0"/>
                </a:moveTo>
                <a:lnTo>
                  <a:pt x="8129913" y="0"/>
                </a:lnTo>
                <a:lnTo>
                  <a:pt x="8129913" y="6858000"/>
                </a:lnTo>
                <a:lnTo>
                  <a:pt x="0" y="6858000"/>
                </a:lnTo>
                <a:close/>
              </a:path>
            </a:pathLst>
          </a:custGeom>
          <a:solidFill>
            <a:schemeClr val="bg1">
              <a:lumMod val="95000"/>
            </a:schemeClr>
          </a:solidFill>
          <a:ln>
            <a:noFill/>
          </a:ln>
        </p:spPr>
        <p:txBody>
          <a:bodyPr wrap="square" lIns="540000" tIns="0" bIns="108000" anchor="b" anchorCtr="0">
            <a:noAutofit/>
          </a:bodyPr>
          <a:lstStyle>
            <a:lvl1pPr marL="0" indent="0" algn="ctr">
              <a:buNone/>
              <a:defRPr sz="1000">
                <a:solidFill>
                  <a:schemeClr val="accent2"/>
                </a:solidFill>
                <a:latin typeface="+mn-lt"/>
              </a:defRPr>
            </a:lvl1pPr>
          </a:lstStyle>
          <a:p>
            <a:pPr lvl="0"/>
            <a:r>
              <a:rPr lang="en-US"/>
              <a:t>Drag picture file here to insert image</a:t>
            </a:r>
          </a:p>
        </p:txBody>
      </p:sp>
      <p:sp>
        <p:nvSpPr>
          <p:cNvPr id="25" name="Text Placeholder 9">
            <a:extLst>
              <a:ext uri="{FF2B5EF4-FFF2-40B4-BE49-F238E27FC236}">
                <a16:creationId xmlns:a16="http://schemas.microsoft.com/office/drawing/2014/main" id="{4198B190-8256-B7A4-2DD6-F8CE6D676F33}"/>
              </a:ext>
            </a:extLst>
          </p:cNvPr>
          <p:cNvSpPr>
            <a:spLocks noGrp="1"/>
          </p:cNvSpPr>
          <p:nvPr>
            <p:ph type="body" sz="quarter" idx="16" hasCustomPrompt="1"/>
          </p:nvPr>
        </p:nvSpPr>
        <p:spPr>
          <a:xfrm>
            <a:off x="550864" y="2825312"/>
            <a:ext cx="4944964" cy="719138"/>
          </a:xfrm>
          <a:prstGeom prst="rect">
            <a:avLst/>
          </a:prstGeom>
        </p:spPr>
        <p:txBody>
          <a:bodyPr lIns="0" tIns="36000" rIns="0" bIns="0" anchor="b" anchorCtr="0">
            <a:noAutofit/>
          </a:bodyPr>
          <a:lstStyle>
            <a:lvl1pPr marL="0" indent="0" algn="l">
              <a:lnSpc>
                <a:spcPct val="85000"/>
              </a:lnSpc>
              <a:spcBef>
                <a:spcPts val="0"/>
              </a:spcBef>
              <a:buNone/>
              <a:defRPr sz="3600">
                <a:solidFill>
                  <a:schemeClr val="accent2"/>
                </a:solidFill>
                <a:latin typeface="+mj-lt"/>
              </a:defRPr>
            </a:lvl1pPr>
          </a:lstStyle>
          <a:p>
            <a:pPr lvl="0"/>
            <a:r>
              <a:rPr lang="en-US"/>
              <a:t>Simple cover one line</a:t>
            </a:r>
          </a:p>
        </p:txBody>
      </p:sp>
      <p:sp>
        <p:nvSpPr>
          <p:cNvPr id="26" name="Text Placeholder 9">
            <a:extLst>
              <a:ext uri="{FF2B5EF4-FFF2-40B4-BE49-F238E27FC236}">
                <a16:creationId xmlns:a16="http://schemas.microsoft.com/office/drawing/2014/main" id="{D21ECA6D-9164-BCFE-CCD2-81392195A886}"/>
              </a:ext>
            </a:extLst>
          </p:cNvPr>
          <p:cNvSpPr>
            <a:spLocks noGrp="1"/>
          </p:cNvSpPr>
          <p:nvPr>
            <p:ph type="body" sz="quarter" idx="17" hasCustomPrompt="1"/>
          </p:nvPr>
        </p:nvSpPr>
        <p:spPr>
          <a:xfrm>
            <a:off x="550864" y="3628806"/>
            <a:ext cx="4944964" cy="281703"/>
          </a:xfrm>
          <a:prstGeom prst="rect">
            <a:avLst/>
          </a:prstGeom>
        </p:spPr>
        <p:txBody>
          <a:bodyPr lIns="0" tIns="36000" rIns="0" bIns="0" anchor="b" anchorCtr="0">
            <a:noAutofit/>
          </a:bodyPr>
          <a:lstStyle>
            <a:lvl1pPr marL="0" indent="0" algn="l">
              <a:lnSpc>
                <a:spcPct val="85000"/>
              </a:lnSpc>
              <a:buNone/>
              <a:defRPr sz="2400">
                <a:solidFill>
                  <a:schemeClr val="tx1"/>
                </a:solidFill>
                <a:latin typeface="+mn-lt"/>
              </a:defRPr>
            </a:lvl1pPr>
          </a:lstStyle>
          <a:p>
            <a:pPr lvl="0"/>
            <a:r>
              <a:rPr lang="en-US"/>
              <a:t>Presentation subtitle here</a:t>
            </a:r>
          </a:p>
        </p:txBody>
      </p:sp>
    </p:spTree>
    <p:extLst>
      <p:ext uri="{BB962C8B-B14F-4D97-AF65-F5344CB8AC3E}">
        <p14:creationId xmlns:p14="http://schemas.microsoft.com/office/powerpoint/2010/main" val="21419425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 Big Stat">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057607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x Columns / Big Stat">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262928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1 Light Image /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388812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 2x Big Sta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7C9D9F7-ED91-D58F-4B8A-75E79F808FE3}"/>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0986F515-904D-A198-71ED-870E64DDB4CE}"/>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7" name="Text Placeholder 12">
            <a:extLst>
              <a:ext uri="{FF2B5EF4-FFF2-40B4-BE49-F238E27FC236}">
                <a16:creationId xmlns:a16="http://schemas.microsoft.com/office/drawing/2014/main" id="{3177569F-28AA-9243-A576-B7391466851E}"/>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0" name="Text Placeholder 12">
            <a:extLst>
              <a:ext uri="{FF2B5EF4-FFF2-40B4-BE49-F238E27FC236}">
                <a16:creationId xmlns:a16="http://schemas.microsoft.com/office/drawing/2014/main" id="{B0ABFDE5-ACBC-EA3C-F170-8930EE49A99B}"/>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71A5382E-8AB3-355B-234A-708ABEDECE8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5" name="Text Placeholder 12">
            <a:extLst>
              <a:ext uri="{FF2B5EF4-FFF2-40B4-BE49-F238E27FC236}">
                <a16:creationId xmlns:a16="http://schemas.microsoft.com/office/drawing/2014/main" id="{911B869A-ED46-587C-E1E8-2D7DE72DA99A}"/>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 name="Text Placeholder 12">
            <a:extLst>
              <a:ext uri="{FF2B5EF4-FFF2-40B4-BE49-F238E27FC236}">
                <a16:creationId xmlns:a16="http://schemas.microsoft.com/office/drawing/2014/main" id="{2C9B01AB-F676-3FF4-AEAE-E94065157406}"/>
              </a:ext>
            </a:extLst>
          </p:cNvPr>
          <p:cNvSpPr>
            <a:spLocks noGrp="1"/>
          </p:cNvSpPr>
          <p:nvPr>
            <p:ph type="body" sz="quarter" idx="14"/>
          </p:nvPr>
        </p:nvSpPr>
        <p:spPr>
          <a:xfrm>
            <a:off x="550861" y="1808163"/>
            <a:ext cx="6966375" cy="4321175"/>
          </a:xfrm>
        </p:spPr>
        <p:txBody>
          <a:bodyPr/>
          <a:lstStyle/>
          <a:p>
            <a:pPr lvl="0"/>
            <a:r>
              <a:rPr lang="en-US"/>
              <a:t>Click to edit Master text styles</a:t>
            </a:r>
          </a:p>
          <a:p>
            <a:pPr lvl="1"/>
            <a:r>
              <a:rPr lang="en-US"/>
              <a:t>Second level</a:t>
            </a:r>
          </a:p>
          <a:p>
            <a:pPr lvl="2"/>
            <a:r>
              <a:rPr lang="en-US"/>
              <a:t>Third level</a:t>
            </a:r>
          </a:p>
          <a:p>
            <a:pPr lvl="3"/>
            <a:endParaRPr lang="en-GB"/>
          </a:p>
        </p:txBody>
      </p:sp>
    </p:spTree>
    <p:extLst>
      <p:ext uri="{BB962C8B-B14F-4D97-AF65-F5344CB8AC3E}">
        <p14:creationId xmlns:p14="http://schemas.microsoft.com/office/powerpoint/2010/main" val="926122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x Columns / 2x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98E49A-5FC1-C240-F8BE-AC453CAF0766}"/>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6EA90A8E-21EE-B1AB-3E54-90DA5E7A3E20}"/>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1" name="Title 1">
            <a:extLst>
              <a:ext uri="{FF2B5EF4-FFF2-40B4-BE49-F238E27FC236}">
                <a16:creationId xmlns:a16="http://schemas.microsoft.com/office/drawing/2014/main" id="{5F4A0393-5E31-B1D7-44B4-0AE64D41191E}"/>
              </a:ext>
            </a:extLst>
          </p:cNvPr>
          <p:cNvSpPr>
            <a:spLocks noGrp="1"/>
          </p:cNvSpPr>
          <p:nvPr>
            <p:ph type="title" hasCustomPrompt="1"/>
          </p:nvPr>
        </p:nvSpPr>
        <p:spPr>
          <a:xfrm>
            <a:off x="550864" y="368828"/>
            <a:ext cx="6966375"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50864" y="752052"/>
            <a:ext cx="6966375"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E85E9EA0-2A22-199D-48CF-03EB94ECF487}"/>
              </a:ext>
            </a:extLst>
          </p:cNvPr>
          <p:cNvSpPr>
            <a:spLocks noGrp="1"/>
          </p:cNvSpPr>
          <p:nvPr>
            <p:ph type="body" sz="quarter" idx="14"/>
          </p:nvPr>
        </p:nvSpPr>
        <p:spPr>
          <a:xfrm>
            <a:off x="55086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p:nvPr>
        </p:nvSpPr>
        <p:spPr>
          <a:xfrm>
            <a:off x="4295774"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1B23EB47-EA6A-4201-980F-A29FAC028C02}"/>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7" name="Text Placeholder 12">
            <a:extLst>
              <a:ext uri="{FF2B5EF4-FFF2-40B4-BE49-F238E27FC236}">
                <a16:creationId xmlns:a16="http://schemas.microsoft.com/office/drawing/2014/main" id="{ADB540FA-D322-473E-8258-CEDC558D4B93}"/>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942675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1 Light Image / 2x Big Sta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DCDF42-4795-B9BB-A09E-30C7785EE34D}"/>
              </a:ext>
            </a:extLst>
          </p:cNvPr>
          <p:cNvSpPr/>
          <p:nvPr userDrawn="1"/>
        </p:nvSpPr>
        <p:spPr>
          <a:xfrm rot="10800000">
            <a:off x="8040683" y="0"/>
            <a:ext cx="4151314" cy="3428999"/>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1FF2E5A3-55A9-35F4-3B8B-B4FDDD908EF8}"/>
              </a:ext>
            </a:extLst>
          </p:cNvPr>
          <p:cNvPicPr>
            <a:picLocks noChangeAspect="1"/>
          </p:cNvPicPr>
          <p:nvPr userDrawn="1"/>
        </p:nvPicPr>
        <p:blipFill>
          <a:blip r:embed="rId2">
            <a:extLst>
              <a:ext uri="{28A0092B-C50C-407E-A947-70E740481C1C}">
                <a14:useLocalDpi xmlns:a14="http://schemas.microsoft.com/office/drawing/2010/main" val="0"/>
              </a:ext>
            </a:extLst>
          </a:blip>
          <a:srcRect l="15951" r="15951"/>
          <a:stretch/>
        </p:blipFill>
        <p:spPr>
          <a:xfrm>
            <a:off x="8040689" y="3428999"/>
            <a:ext cx="4151312" cy="3429001"/>
          </a:xfrm>
          <a:prstGeom prst="rect">
            <a:avLst/>
          </a:prstGeom>
        </p:spPr>
      </p:pic>
      <p:sp>
        <p:nvSpPr>
          <p:cNvPr id="7" name="Text Placeholder 12">
            <a:extLst>
              <a:ext uri="{FF2B5EF4-FFF2-40B4-BE49-F238E27FC236}">
                <a16:creationId xmlns:a16="http://schemas.microsoft.com/office/drawing/2014/main" id="{1C7CE8EE-CC8D-2E5F-9BEA-0C8DABDDFC8D}"/>
              </a:ext>
            </a:extLst>
          </p:cNvPr>
          <p:cNvSpPr>
            <a:spLocks noGrp="1"/>
          </p:cNvSpPr>
          <p:nvPr>
            <p:ph type="body" sz="quarter" idx="21" hasCustomPrompt="1"/>
          </p:nvPr>
        </p:nvSpPr>
        <p:spPr>
          <a:xfrm>
            <a:off x="8615421" y="3906838"/>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0" name="Text Placeholder 12">
            <a:extLst>
              <a:ext uri="{FF2B5EF4-FFF2-40B4-BE49-F238E27FC236}">
                <a16:creationId xmlns:a16="http://schemas.microsoft.com/office/drawing/2014/main" id="{8B54CE3D-7DB3-3908-6F56-2737E451B052}"/>
              </a:ext>
            </a:extLst>
          </p:cNvPr>
          <p:cNvSpPr>
            <a:spLocks noGrp="1"/>
          </p:cNvSpPr>
          <p:nvPr>
            <p:ph type="body" sz="quarter" idx="16"/>
          </p:nvPr>
        </p:nvSpPr>
        <p:spPr>
          <a:xfrm>
            <a:off x="8615421" y="5346701"/>
            <a:ext cx="3024000" cy="782637"/>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12" name="Text Placeholder 12">
            <a:extLst>
              <a:ext uri="{FF2B5EF4-FFF2-40B4-BE49-F238E27FC236}">
                <a16:creationId xmlns:a16="http://schemas.microsoft.com/office/drawing/2014/main" id="{294BFB3D-8653-F8BB-E3B2-7D7BFC091DBB}"/>
              </a:ext>
            </a:extLst>
          </p:cNvPr>
          <p:cNvSpPr>
            <a:spLocks noGrp="1"/>
          </p:cNvSpPr>
          <p:nvPr>
            <p:ph type="body" sz="quarter" idx="22" hasCustomPrompt="1"/>
          </p:nvPr>
        </p:nvSpPr>
        <p:spPr>
          <a:xfrm>
            <a:off x="8615421" y="627124"/>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13" name="Text Placeholder 12">
            <a:extLst>
              <a:ext uri="{FF2B5EF4-FFF2-40B4-BE49-F238E27FC236}">
                <a16:creationId xmlns:a16="http://schemas.microsoft.com/office/drawing/2014/main" id="{2415A28B-D58E-716B-17B3-97619E7F95AB}"/>
              </a:ext>
            </a:extLst>
          </p:cNvPr>
          <p:cNvSpPr>
            <a:spLocks noGrp="1"/>
          </p:cNvSpPr>
          <p:nvPr>
            <p:ph type="body" sz="quarter" idx="23"/>
          </p:nvPr>
        </p:nvSpPr>
        <p:spPr>
          <a:xfrm>
            <a:off x="8615421" y="2066987"/>
            <a:ext cx="3024000" cy="781200"/>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31AA0871-DF4F-3D16-30B1-C25E0C64F490}"/>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Tree>
    <p:extLst>
      <p:ext uri="{BB962C8B-B14F-4D97-AF65-F5344CB8AC3E}">
        <p14:creationId xmlns:p14="http://schemas.microsoft.com/office/powerpoint/2010/main" val="16287207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mp; 2x Light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FEB4482-ADD8-A5AC-E88D-E80B1F5288A7}"/>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E521FEA4-99B7-D7D2-C66A-489E89D4E18C}"/>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bg1">
              <a:lumMod val="8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Lst>
          </p:cNvPr>
          <p:cNvSpPr>
            <a:spLocks noGrp="1"/>
          </p:cNvSpPr>
          <p:nvPr>
            <p:ph type="pic" sz="quarter" idx="20" hasCustomPrompt="1"/>
          </p:nvPr>
        </p:nvSpPr>
        <p:spPr>
          <a:xfrm>
            <a:off x="6096001" y="0"/>
            <a:ext cx="6096000" cy="3429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192552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mp; 2x Dark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45FE163-4C99-A5A6-EBA5-2406214B10A1}"/>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9FEFCD9E-E41F-4430-9898-406F2EA0E269}"/>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icon to insert bottom image</a:t>
            </a:r>
          </a:p>
        </p:txBody>
      </p:sp>
      <p:sp>
        <p:nvSpPr>
          <p:cNvPr id="6" name="Picture Placeholder 15">
            <a:extLst>
              <a:ext uri="{FF2B5EF4-FFF2-40B4-BE49-F238E27FC236}">
                <a16:creationId xmlns:a16="http://schemas.microsoft.com/office/drawing/2014/main" id="{911CF731-2F05-DD7D-AA0C-2C0C2EA9256F}"/>
              </a:ext>
            </a:extLst>
          </p:cNvPr>
          <p:cNvSpPr>
            <a:spLocks noGrp="1"/>
          </p:cNvSpPr>
          <p:nvPr>
            <p:ph type="pic" sz="quarter" idx="20" hasCustomPrompt="1"/>
          </p:nvPr>
        </p:nvSpPr>
        <p:spPr>
          <a:xfrm>
            <a:off x="6096001" y="0"/>
            <a:ext cx="6096000" cy="3429000"/>
          </a:xfrm>
          <a:solidFill>
            <a:schemeClr val="tx1">
              <a:lumMod val="65000"/>
              <a:lumOff val="35000"/>
            </a:schemeClr>
          </a:solidFill>
          <a:ln>
            <a:noFill/>
          </a:ln>
        </p:spPr>
        <p:txBody>
          <a:bodyPr tIns="108000" anchor="t" anchorCtr="0"/>
          <a:lstStyle>
            <a:lvl1pPr marL="0" indent="0" algn="ctr">
              <a:buNone/>
              <a:defRPr sz="1000">
                <a:solidFill>
                  <a:schemeClr val="accent1"/>
                </a:solidFill>
                <a:latin typeface="+mn-lt"/>
              </a:defRPr>
            </a:lvl1pPr>
          </a:lstStyle>
          <a:p>
            <a:pPr lvl="0"/>
            <a:r>
              <a:rPr lang="en-US"/>
              <a:t>Drag picture file here or click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149883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orizontal Split - 3x Col / Light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B8D9C3-5BDF-8ABB-CC9B-760506715205}"/>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C58867A9-9407-75CF-0561-28134BDEED22}"/>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10C57F1D-C950-AFEA-188D-505320175FDB}"/>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7" y="6348353"/>
            <a:ext cx="3292474"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3226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orizontal Split - 3x Col / Dark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B8D9C3-5BDF-8ABB-CC9B-760506715205}"/>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C58867A9-9407-75CF-0561-28134BDEED22}"/>
              </a:ext>
            </a:extLst>
          </p:cNvPr>
          <p:cNvSpPr/>
          <p:nvPr userDrawn="1"/>
        </p:nvSpPr>
        <p:spPr>
          <a:xfrm>
            <a:off x="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8BA68AC2-1837-231B-AFE1-BE116D250A39}"/>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7" y="6348353"/>
            <a:ext cx="3292474"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Text Placeholder 12">
            <a:extLst>
              <a:ext uri="{FF2B5EF4-FFF2-40B4-BE49-F238E27FC236}">
                <a16:creationId xmlns:a16="http://schemas.microsoft.com/office/drawing/2014/main" id="{841E26EB-9911-0A6E-407B-8667159EEC13}"/>
              </a:ext>
            </a:extLst>
          </p:cNvPr>
          <p:cNvSpPr>
            <a:spLocks noGrp="1"/>
          </p:cNvSpPr>
          <p:nvPr>
            <p:ph type="body" sz="quarter" idx="14"/>
          </p:nvPr>
        </p:nvSpPr>
        <p:spPr>
          <a:xfrm>
            <a:off x="550863"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BEBC43-8186-4AEB-F4CF-271F011B0368}"/>
              </a:ext>
            </a:extLst>
          </p:cNvPr>
          <p:cNvSpPr>
            <a:spLocks noGrp="1"/>
          </p:cNvSpPr>
          <p:nvPr>
            <p:ph type="body" sz="quarter" idx="15"/>
          </p:nvPr>
        </p:nvSpPr>
        <p:spPr>
          <a:xfrm>
            <a:off x="4295776" y="1808164"/>
            <a:ext cx="3204000" cy="1441450"/>
          </a:xfrm>
        </p:spPr>
        <p:txBody>
          <a:body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042CC176-3CD8-0372-5942-EAD056B059E7}"/>
              </a:ext>
            </a:extLst>
          </p:cNvPr>
          <p:cNvSpPr>
            <a:spLocks noGrp="1"/>
          </p:cNvSpPr>
          <p:nvPr>
            <p:ph type="body" sz="quarter" idx="16"/>
          </p:nvPr>
        </p:nvSpPr>
        <p:spPr>
          <a:xfrm>
            <a:off x="8040687" y="1808164"/>
            <a:ext cx="3204000" cy="144145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43729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0:50 - 2 or 3 lines">
    <p:bg>
      <p:bgPr>
        <a:solidFill>
          <a:srgbClr val="FAF5FF"/>
        </a:solidFill>
        <a:effectLst/>
      </p:bgPr>
    </p:bg>
    <p:spTree>
      <p:nvGrpSpPr>
        <p:cNvPr id="1" name=""/>
        <p:cNvGrpSpPr/>
        <p:nvPr/>
      </p:nvGrpSpPr>
      <p:grpSpPr>
        <a:xfrm>
          <a:off x="0" y="0"/>
          <a:ext cx="0" cy="0"/>
          <a:chOff x="0" y="0"/>
          <a:chExt cx="0" cy="0"/>
        </a:xfrm>
      </p:grpSpPr>
      <p:sp>
        <p:nvSpPr>
          <p:cNvPr id="24" name="Picture Placeholder 177">
            <a:extLst>
              <a:ext uri="{FF2B5EF4-FFF2-40B4-BE49-F238E27FC236}">
                <a16:creationId xmlns:a16="http://schemas.microsoft.com/office/drawing/2014/main" id="{EBF07732-6455-6288-ADD7-82EA3A3699BF}"/>
              </a:ext>
            </a:extLst>
          </p:cNvPr>
          <p:cNvSpPr>
            <a:spLocks noGrp="1"/>
          </p:cNvSpPr>
          <p:nvPr>
            <p:ph type="pic" sz="quarter" idx="21" hasCustomPrompt="1"/>
          </p:nvPr>
        </p:nvSpPr>
        <p:spPr>
          <a:xfrm>
            <a:off x="4062088" y="0"/>
            <a:ext cx="8129913" cy="6858000"/>
          </a:xfrm>
          <a:custGeom>
            <a:avLst/>
            <a:gdLst>
              <a:gd name="connsiteX0" fmla="*/ 4064325 w 8129913"/>
              <a:gd name="connsiteY0" fmla="*/ 0 h 6858000"/>
              <a:gd name="connsiteX1" fmla="*/ 8129913 w 8129913"/>
              <a:gd name="connsiteY1" fmla="*/ 0 h 6858000"/>
              <a:gd name="connsiteX2" fmla="*/ 8129913 w 8129913"/>
              <a:gd name="connsiteY2" fmla="*/ 6858000 h 6858000"/>
              <a:gd name="connsiteX3" fmla="*/ 0 w 81299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9913" h="6858000">
                <a:moveTo>
                  <a:pt x="4064325" y="0"/>
                </a:moveTo>
                <a:lnTo>
                  <a:pt x="8129913" y="0"/>
                </a:lnTo>
                <a:lnTo>
                  <a:pt x="8129913" y="6858000"/>
                </a:lnTo>
                <a:lnTo>
                  <a:pt x="0" y="6858000"/>
                </a:lnTo>
                <a:close/>
              </a:path>
            </a:pathLst>
          </a:custGeom>
          <a:solidFill>
            <a:schemeClr val="bg1">
              <a:lumMod val="95000"/>
            </a:schemeClr>
          </a:solidFill>
          <a:ln>
            <a:noFill/>
          </a:ln>
        </p:spPr>
        <p:txBody>
          <a:bodyPr wrap="square" lIns="540000" tIns="0" bIns="108000" anchor="b" anchorCtr="0">
            <a:noAutofit/>
          </a:bodyPr>
          <a:lstStyle>
            <a:lvl1pPr marL="0" indent="0" algn="ctr">
              <a:buNone/>
              <a:defRPr sz="1000">
                <a:solidFill>
                  <a:schemeClr val="accent2"/>
                </a:solidFill>
                <a:latin typeface="+mn-lt"/>
              </a:defRPr>
            </a:lvl1pPr>
          </a:lstStyle>
          <a:p>
            <a:pPr lvl="0"/>
            <a:r>
              <a:rPr lang="en-US"/>
              <a:t>Drag picture file here to insert image</a:t>
            </a:r>
          </a:p>
        </p:txBody>
      </p:sp>
      <p:sp>
        <p:nvSpPr>
          <p:cNvPr id="25" name="Text Placeholder 9">
            <a:extLst>
              <a:ext uri="{FF2B5EF4-FFF2-40B4-BE49-F238E27FC236}">
                <a16:creationId xmlns:a16="http://schemas.microsoft.com/office/drawing/2014/main" id="{4198B190-8256-B7A4-2DD6-F8CE6D676F33}"/>
              </a:ext>
            </a:extLst>
          </p:cNvPr>
          <p:cNvSpPr>
            <a:spLocks noGrp="1"/>
          </p:cNvSpPr>
          <p:nvPr>
            <p:ph type="body" sz="quarter" idx="16" hasCustomPrompt="1"/>
          </p:nvPr>
        </p:nvSpPr>
        <p:spPr>
          <a:xfrm>
            <a:off x="550864" y="3292324"/>
            <a:ext cx="3744911" cy="719138"/>
          </a:xfrm>
          <a:prstGeom prst="rect">
            <a:avLst/>
          </a:prstGeom>
        </p:spPr>
        <p:txBody>
          <a:bodyPr lIns="0" tIns="36000" rIns="0" bIns="0" anchor="b" anchorCtr="0">
            <a:noAutofit/>
          </a:bodyPr>
          <a:lstStyle>
            <a:lvl1pPr marL="0" indent="0" algn="l">
              <a:lnSpc>
                <a:spcPct val="85000"/>
              </a:lnSpc>
              <a:spcBef>
                <a:spcPts val="0"/>
              </a:spcBef>
              <a:buNone/>
              <a:defRPr sz="3600">
                <a:solidFill>
                  <a:schemeClr val="accent2"/>
                </a:solidFill>
                <a:latin typeface="+mj-lt"/>
              </a:defRPr>
            </a:lvl1pPr>
          </a:lstStyle>
          <a:p>
            <a:pPr lvl="0"/>
            <a:r>
              <a:rPr lang="en-US"/>
              <a:t>Simple cover two or three line title</a:t>
            </a:r>
            <a:br>
              <a:rPr lang="en-US"/>
            </a:br>
            <a:r>
              <a:rPr lang="en-US"/>
              <a:t>lorem ipsum 36pt</a:t>
            </a:r>
          </a:p>
        </p:txBody>
      </p:sp>
      <p:sp>
        <p:nvSpPr>
          <p:cNvPr id="26" name="Text Placeholder 9">
            <a:extLst>
              <a:ext uri="{FF2B5EF4-FFF2-40B4-BE49-F238E27FC236}">
                <a16:creationId xmlns:a16="http://schemas.microsoft.com/office/drawing/2014/main" id="{D21ECA6D-9164-BCFE-CCD2-81392195A886}"/>
              </a:ext>
            </a:extLst>
          </p:cNvPr>
          <p:cNvSpPr>
            <a:spLocks noGrp="1"/>
          </p:cNvSpPr>
          <p:nvPr>
            <p:ph type="body" sz="quarter" idx="17" hasCustomPrompt="1"/>
          </p:nvPr>
        </p:nvSpPr>
        <p:spPr>
          <a:xfrm>
            <a:off x="550864" y="4095818"/>
            <a:ext cx="3744911" cy="281703"/>
          </a:xfrm>
          <a:prstGeom prst="rect">
            <a:avLst/>
          </a:prstGeom>
        </p:spPr>
        <p:txBody>
          <a:bodyPr lIns="0" tIns="36000" rIns="0" bIns="0" anchor="b" anchorCtr="0">
            <a:noAutofit/>
          </a:bodyPr>
          <a:lstStyle>
            <a:lvl1pPr marL="0" indent="0" algn="l">
              <a:lnSpc>
                <a:spcPct val="85000"/>
              </a:lnSpc>
              <a:buNone/>
              <a:defRPr sz="2400">
                <a:solidFill>
                  <a:schemeClr val="tx1"/>
                </a:solidFill>
                <a:latin typeface="+mn-lt"/>
              </a:defRPr>
            </a:lvl1pPr>
          </a:lstStyle>
          <a:p>
            <a:pPr lvl="0"/>
            <a:r>
              <a:rPr lang="en-US"/>
              <a:t>Presentation subtitle here</a:t>
            </a:r>
          </a:p>
        </p:txBody>
      </p:sp>
    </p:spTree>
    <p:extLst>
      <p:ext uri="{BB962C8B-B14F-4D97-AF65-F5344CB8AC3E}">
        <p14:creationId xmlns:p14="http://schemas.microsoft.com/office/powerpoint/2010/main" val="25992471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itrus/mint pattern - Black quote">
    <p:bg>
      <p:bgPr>
        <a:solidFill>
          <a:schemeClr val="bg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5659636-78CF-6EFF-68F5-52F1AB6203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ext Placeholder 12">
            <a:extLst>
              <a:ext uri="{FF2B5EF4-FFF2-40B4-BE49-F238E27FC236}">
                <a16:creationId xmlns:a16="http://schemas.microsoft.com/office/drawing/2014/main" id="{51D1D711-9691-BEE7-727A-A074BC47FEA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12">
            <a:extLst>
              <a:ext uri="{FF2B5EF4-FFF2-40B4-BE49-F238E27FC236}">
                <a16:creationId xmlns:a16="http://schemas.microsoft.com/office/drawing/2014/main" id="{0EFA41F3-CF2B-F07E-F3DA-DC0602B25A9D}"/>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18" name="Text Placeholder 9">
            <a:extLst>
              <a:ext uri="{FF2B5EF4-FFF2-40B4-BE49-F238E27FC236}">
                <a16:creationId xmlns:a16="http://schemas.microsoft.com/office/drawing/2014/main" id="{6A6F47D2-4DE8-3A51-AB24-AA4D5A7F13E9}"/>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horizontally as required”.</a:t>
            </a:r>
            <a:endParaRPr lang="en-GB"/>
          </a:p>
        </p:txBody>
      </p:sp>
      <p:pic>
        <p:nvPicPr>
          <p:cNvPr id="7" name="Graphic 6">
            <a:extLst>
              <a:ext uri="{FF2B5EF4-FFF2-40B4-BE49-F238E27FC236}">
                <a16:creationId xmlns:a16="http://schemas.microsoft.com/office/drawing/2014/main" id="{861E0A2F-248F-8E7B-8F36-71FDC08C0E7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6336448"/>
            <a:ext cx="1381417" cy="233480"/>
          </a:xfrm>
          <a:prstGeom prst="rect">
            <a:avLst/>
          </a:prstGeom>
        </p:spPr>
      </p:pic>
    </p:spTree>
    <p:extLst>
      <p:ext uri="{BB962C8B-B14F-4D97-AF65-F5344CB8AC3E}">
        <p14:creationId xmlns:p14="http://schemas.microsoft.com/office/powerpoint/2010/main" val="40536956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Light Image - 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24388A-E89F-1465-CB42-4F8D1E8B7BCE}"/>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5">
            <a:extLst>
              <a:ext uri="{FF2B5EF4-FFF2-40B4-BE49-F238E27FC236}">
                <a16:creationId xmlns:a16="http://schemas.microsoft.com/office/drawing/2014/main" id="{E7B1683A-D886-9B6C-2690-189E65E5E8DC}"/>
              </a:ext>
            </a:extLst>
          </p:cNvPr>
          <p:cNvSpPr>
            <a:spLocks noGrp="1"/>
          </p:cNvSpPr>
          <p:nvPr>
            <p:ph type="pic" sz="quarter" idx="20" hasCustomPrompt="1"/>
          </p:nvPr>
        </p:nvSpPr>
        <p:spPr>
          <a:xfrm>
            <a:off x="0" y="0"/>
            <a:ext cx="12192000" cy="6858000"/>
          </a:xfrm>
          <a:custGeom>
            <a:avLst/>
            <a:gdLst>
              <a:gd name="connsiteX0" fmla="*/ 1592699 w 12192000"/>
              <a:gd name="connsiteY0" fmla="*/ 6492423 h 6858000"/>
              <a:gd name="connsiteX1" fmla="*/ 1592699 w 12192000"/>
              <a:gd name="connsiteY1" fmla="*/ 6501164 h 6858000"/>
              <a:gd name="connsiteX2" fmla="*/ 1592546 w 12192000"/>
              <a:gd name="connsiteY2" fmla="*/ 6504388 h 6858000"/>
              <a:gd name="connsiteX3" fmla="*/ 1568857 w 12192000"/>
              <a:gd name="connsiteY3" fmla="*/ 6522619 h 6858000"/>
              <a:gd name="connsiteX4" fmla="*/ 1551438 w 12192000"/>
              <a:gd name="connsiteY4" fmla="*/ 6508315 h 6858000"/>
              <a:gd name="connsiteX5" fmla="*/ 1568857 w 12192000"/>
              <a:gd name="connsiteY5" fmla="*/ 6495071 h 6858000"/>
              <a:gd name="connsiteX6" fmla="*/ 1581983 w 12192000"/>
              <a:gd name="connsiteY6" fmla="*/ 6495071 h 6858000"/>
              <a:gd name="connsiteX7" fmla="*/ 1592699 w 12192000"/>
              <a:gd name="connsiteY7" fmla="*/ 6492423 h 6858000"/>
              <a:gd name="connsiteX8" fmla="*/ 1172060 w 12192000"/>
              <a:gd name="connsiteY8" fmla="*/ 6492423 h 6858000"/>
              <a:gd name="connsiteX9" fmla="*/ 1172060 w 12192000"/>
              <a:gd name="connsiteY9" fmla="*/ 6501164 h 6858000"/>
              <a:gd name="connsiteX10" fmla="*/ 1171906 w 12192000"/>
              <a:gd name="connsiteY10" fmla="*/ 6504389 h 6858000"/>
              <a:gd name="connsiteX11" fmla="*/ 1148216 w 12192000"/>
              <a:gd name="connsiteY11" fmla="*/ 6522619 h 6858000"/>
              <a:gd name="connsiteX12" fmla="*/ 1130802 w 12192000"/>
              <a:gd name="connsiteY12" fmla="*/ 6508315 h 6858000"/>
              <a:gd name="connsiteX13" fmla="*/ 1148216 w 12192000"/>
              <a:gd name="connsiteY13" fmla="*/ 6495071 h 6858000"/>
              <a:gd name="connsiteX14" fmla="*/ 1161343 w 12192000"/>
              <a:gd name="connsiteY14" fmla="*/ 6495071 h 6858000"/>
              <a:gd name="connsiteX15" fmla="*/ 1172060 w 12192000"/>
              <a:gd name="connsiteY15" fmla="*/ 6492423 h 6858000"/>
              <a:gd name="connsiteX16" fmla="*/ 1796056 w 12192000"/>
              <a:gd name="connsiteY16" fmla="*/ 6448718 h 6858000"/>
              <a:gd name="connsiteX17" fmla="*/ 1823115 w 12192000"/>
              <a:gd name="connsiteY17" fmla="*/ 6470969 h 6858000"/>
              <a:gd name="connsiteX18" fmla="*/ 1768190 w 12192000"/>
              <a:gd name="connsiteY18" fmla="*/ 6470969 h 6858000"/>
              <a:gd name="connsiteX19" fmla="*/ 1796056 w 12192000"/>
              <a:gd name="connsiteY19" fmla="*/ 6448718 h 6858000"/>
              <a:gd name="connsiteX20" fmla="*/ 1385331 w 12192000"/>
              <a:gd name="connsiteY20" fmla="*/ 6423290 h 6858000"/>
              <a:gd name="connsiteX21" fmla="*/ 1427128 w 12192000"/>
              <a:gd name="connsiteY21" fmla="*/ 6544605 h 6858000"/>
              <a:gd name="connsiteX22" fmla="*/ 1470261 w 12192000"/>
              <a:gd name="connsiteY22" fmla="*/ 6544605 h 6858000"/>
              <a:gd name="connsiteX23" fmla="*/ 1513932 w 12192000"/>
              <a:gd name="connsiteY23" fmla="*/ 6423290 h 6858000"/>
              <a:gd name="connsiteX24" fmla="*/ 1477223 w 12192000"/>
              <a:gd name="connsiteY24" fmla="*/ 6423290 h 6858000"/>
              <a:gd name="connsiteX25" fmla="*/ 1449367 w 12192000"/>
              <a:gd name="connsiteY25" fmla="*/ 6507521 h 6858000"/>
              <a:gd name="connsiteX26" fmla="*/ 1423104 w 12192000"/>
              <a:gd name="connsiteY26" fmla="*/ 6423290 h 6858000"/>
              <a:gd name="connsiteX27" fmla="*/ 1319153 w 12192000"/>
              <a:gd name="connsiteY27" fmla="*/ 6423290 h 6858000"/>
              <a:gd name="connsiteX28" fmla="*/ 1319153 w 12192000"/>
              <a:gd name="connsiteY28" fmla="*/ 6452426 h 6858000"/>
              <a:gd name="connsiteX29" fmla="*/ 1336299 w 12192000"/>
              <a:gd name="connsiteY29" fmla="*/ 6452426 h 6858000"/>
              <a:gd name="connsiteX30" fmla="*/ 1336299 w 12192000"/>
              <a:gd name="connsiteY30" fmla="*/ 6544604 h 6858000"/>
              <a:gd name="connsiteX31" fmla="*/ 1371127 w 12192000"/>
              <a:gd name="connsiteY31" fmla="*/ 6544604 h 6858000"/>
              <a:gd name="connsiteX32" fmla="*/ 1371127 w 12192000"/>
              <a:gd name="connsiteY32" fmla="*/ 6423290 h 6858000"/>
              <a:gd name="connsiteX33" fmla="*/ 1293161 w 12192000"/>
              <a:gd name="connsiteY33" fmla="*/ 6421700 h 6858000"/>
              <a:gd name="connsiteX34" fmla="*/ 1261280 w 12192000"/>
              <a:gd name="connsiteY34" fmla="*/ 6442626 h 6858000"/>
              <a:gd name="connsiteX35" fmla="*/ 1261280 w 12192000"/>
              <a:gd name="connsiteY35" fmla="*/ 6423290 h 6858000"/>
              <a:gd name="connsiteX36" fmla="*/ 1227522 w 12192000"/>
              <a:gd name="connsiteY36" fmla="*/ 6423290 h 6858000"/>
              <a:gd name="connsiteX37" fmla="*/ 1227522 w 12192000"/>
              <a:gd name="connsiteY37" fmla="*/ 6544604 h 6858000"/>
              <a:gd name="connsiteX38" fmla="*/ 1262352 w 12192000"/>
              <a:gd name="connsiteY38" fmla="*/ 6544604 h 6858000"/>
              <a:gd name="connsiteX39" fmla="*/ 1262352 w 12192000"/>
              <a:gd name="connsiteY39" fmla="*/ 6486596 h 6858000"/>
              <a:gd name="connsiteX40" fmla="*/ 1288073 w 12192000"/>
              <a:gd name="connsiteY40" fmla="*/ 6457194 h 6858000"/>
              <a:gd name="connsiteX41" fmla="*/ 1302808 w 12192000"/>
              <a:gd name="connsiteY41" fmla="*/ 6457194 h 6858000"/>
              <a:gd name="connsiteX42" fmla="*/ 1302808 w 12192000"/>
              <a:gd name="connsiteY42" fmla="*/ 6422760 h 6858000"/>
              <a:gd name="connsiteX43" fmla="*/ 1293161 w 12192000"/>
              <a:gd name="connsiteY43" fmla="*/ 6421700 h 6858000"/>
              <a:gd name="connsiteX44" fmla="*/ 1796056 w 12192000"/>
              <a:gd name="connsiteY44" fmla="*/ 6420112 h 6858000"/>
              <a:gd name="connsiteX45" fmla="*/ 1791956 w 12192000"/>
              <a:gd name="connsiteY45" fmla="*/ 6420138 h 6858000"/>
              <a:gd name="connsiteX46" fmla="*/ 1732297 w 12192000"/>
              <a:gd name="connsiteY46" fmla="*/ 6483948 h 6858000"/>
              <a:gd name="connsiteX47" fmla="*/ 1770879 w 12192000"/>
              <a:gd name="connsiteY47" fmla="*/ 6541990 h 6858000"/>
              <a:gd name="connsiteX48" fmla="*/ 1857943 w 12192000"/>
              <a:gd name="connsiteY48" fmla="*/ 6509641 h 6858000"/>
              <a:gd name="connsiteX49" fmla="*/ 1821781 w 12192000"/>
              <a:gd name="connsiteY49" fmla="*/ 6505933 h 6858000"/>
              <a:gd name="connsiteX50" fmla="*/ 1802269 w 12192000"/>
              <a:gd name="connsiteY50" fmla="*/ 6518046 h 6858000"/>
              <a:gd name="connsiteX51" fmla="*/ 1768997 w 12192000"/>
              <a:gd name="connsiteY51" fmla="*/ 6494013 h 6858000"/>
              <a:gd name="connsiteX52" fmla="*/ 1860353 w 12192000"/>
              <a:gd name="connsiteY52" fmla="*/ 6494013 h 6858000"/>
              <a:gd name="connsiteX53" fmla="*/ 1860353 w 12192000"/>
              <a:gd name="connsiteY53" fmla="*/ 6492689 h 6858000"/>
              <a:gd name="connsiteX54" fmla="*/ 1796056 w 12192000"/>
              <a:gd name="connsiteY54" fmla="*/ 6420112 h 6858000"/>
              <a:gd name="connsiteX55" fmla="*/ 1574215 w 12192000"/>
              <a:gd name="connsiteY55" fmla="*/ 6420111 h 6858000"/>
              <a:gd name="connsiteX56" fmla="*/ 1521700 w 12192000"/>
              <a:gd name="connsiteY56" fmla="*/ 6434944 h 6858000"/>
              <a:gd name="connsiteX57" fmla="*/ 1535364 w 12192000"/>
              <a:gd name="connsiteY57" fmla="*/ 6460902 h 6858000"/>
              <a:gd name="connsiteX58" fmla="*/ 1572342 w 12192000"/>
              <a:gd name="connsiteY58" fmla="*/ 6449512 h 6858000"/>
              <a:gd name="connsiteX59" fmla="*/ 1592699 w 12192000"/>
              <a:gd name="connsiteY59" fmla="*/ 6463816 h 6858000"/>
              <a:gd name="connsiteX60" fmla="*/ 1592699 w 12192000"/>
              <a:gd name="connsiteY60" fmla="*/ 6465140 h 6858000"/>
              <a:gd name="connsiteX61" fmla="*/ 1584124 w 12192000"/>
              <a:gd name="connsiteY61" fmla="*/ 6472292 h 6858000"/>
              <a:gd name="connsiteX62" fmla="*/ 1560013 w 12192000"/>
              <a:gd name="connsiteY62" fmla="*/ 6472292 h 6858000"/>
              <a:gd name="connsiteX63" fmla="*/ 1515545 w 12192000"/>
              <a:gd name="connsiteY63" fmla="*/ 6509640 h 6858000"/>
              <a:gd name="connsiteX64" fmla="*/ 1515603 w 12192000"/>
              <a:gd name="connsiteY64" fmla="*/ 6510750 h 6858000"/>
              <a:gd name="connsiteX65" fmla="*/ 1558409 w 12192000"/>
              <a:gd name="connsiteY65" fmla="*/ 6547782 h 6858000"/>
              <a:gd name="connsiteX66" fmla="*/ 1592699 w 12192000"/>
              <a:gd name="connsiteY66" fmla="*/ 6533214 h 6858000"/>
              <a:gd name="connsiteX67" fmla="*/ 1592699 w 12192000"/>
              <a:gd name="connsiteY67" fmla="*/ 6544604 h 6858000"/>
              <a:gd name="connsiteX68" fmla="*/ 1627527 w 12192000"/>
              <a:gd name="connsiteY68" fmla="*/ 6544604 h 6858000"/>
              <a:gd name="connsiteX69" fmla="*/ 1627527 w 12192000"/>
              <a:gd name="connsiteY69" fmla="*/ 6464875 h 6858000"/>
              <a:gd name="connsiteX70" fmla="*/ 1574215 w 12192000"/>
              <a:gd name="connsiteY70" fmla="*/ 6420111 h 6858000"/>
              <a:gd name="connsiteX71" fmla="*/ 1153574 w 12192000"/>
              <a:gd name="connsiteY71" fmla="*/ 6420111 h 6858000"/>
              <a:gd name="connsiteX72" fmla="*/ 1101062 w 12192000"/>
              <a:gd name="connsiteY72" fmla="*/ 6434944 h 6858000"/>
              <a:gd name="connsiteX73" fmla="*/ 1114726 w 12192000"/>
              <a:gd name="connsiteY73" fmla="*/ 6460902 h 6858000"/>
              <a:gd name="connsiteX74" fmla="*/ 1151699 w 12192000"/>
              <a:gd name="connsiteY74" fmla="*/ 6449512 h 6858000"/>
              <a:gd name="connsiteX75" fmla="*/ 1172060 w 12192000"/>
              <a:gd name="connsiteY75" fmla="*/ 6463816 h 6858000"/>
              <a:gd name="connsiteX76" fmla="*/ 1172060 w 12192000"/>
              <a:gd name="connsiteY76" fmla="*/ 6465140 h 6858000"/>
              <a:gd name="connsiteX77" fmla="*/ 1163487 w 12192000"/>
              <a:gd name="connsiteY77" fmla="*/ 6472292 h 6858000"/>
              <a:gd name="connsiteX78" fmla="*/ 1139375 w 12192000"/>
              <a:gd name="connsiteY78" fmla="*/ 6472292 h 6858000"/>
              <a:gd name="connsiteX79" fmla="*/ 1094901 w 12192000"/>
              <a:gd name="connsiteY79" fmla="*/ 6509640 h 6858000"/>
              <a:gd name="connsiteX80" fmla="*/ 1094960 w 12192000"/>
              <a:gd name="connsiteY80" fmla="*/ 6510749 h 6858000"/>
              <a:gd name="connsiteX81" fmla="*/ 1137766 w 12192000"/>
              <a:gd name="connsiteY81" fmla="*/ 6547782 h 6858000"/>
              <a:gd name="connsiteX82" fmla="*/ 1172060 w 12192000"/>
              <a:gd name="connsiteY82" fmla="*/ 6533214 h 6858000"/>
              <a:gd name="connsiteX83" fmla="*/ 1172060 w 12192000"/>
              <a:gd name="connsiteY83" fmla="*/ 6544604 h 6858000"/>
              <a:gd name="connsiteX84" fmla="*/ 1206890 w 12192000"/>
              <a:gd name="connsiteY84" fmla="*/ 6544604 h 6858000"/>
              <a:gd name="connsiteX85" fmla="*/ 1206890 w 12192000"/>
              <a:gd name="connsiteY85" fmla="*/ 6464875 h 6858000"/>
              <a:gd name="connsiteX86" fmla="*/ 1153574 w 12192000"/>
              <a:gd name="connsiteY86" fmla="*/ 6420111 h 6858000"/>
              <a:gd name="connsiteX87" fmla="*/ 568575 w 12192000"/>
              <a:gd name="connsiteY87" fmla="*/ 6383429 h 6858000"/>
              <a:gd name="connsiteX88" fmla="*/ 568549 w 12192000"/>
              <a:gd name="connsiteY88" fmla="*/ 6520396 h 6858000"/>
              <a:gd name="connsiteX89" fmla="*/ 624511 w 12192000"/>
              <a:gd name="connsiteY89" fmla="*/ 6519097 h 6858000"/>
              <a:gd name="connsiteX90" fmla="*/ 618898 w 12192000"/>
              <a:gd name="connsiteY90" fmla="*/ 6402004 h 6858000"/>
              <a:gd name="connsiteX91" fmla="*/ 624479 w 12192000"/>
              <a:gd name="connsiteY91" fmla="*/ 6384725 h 6858000"/>
              <a:gd name="connsiteX92" fmla="*/ 568575 w 12192000"/>
              <a:gd name="connsiteY92" fmla="*/ 6383429 h 6858000"/>
              <a:gd name="connsiteX93" fmla="*/ 1659953 w 12192000"/>
              <a:gd name="connsiteY93" fmla="*/ 6377201 h 6858000"/>
              <a:gd name="connsiteX94" fmla="*/ 1659953 w 12192000"/>
              <a:gd name="connsiteY94" fmla="*/ 6423290 h 6858000"/>
              <a:gd name="connsiteX95" fmla="*/ 1640662 w 12192000"/>
              <a:gd name="connsiteY95" fmla="*/ 6423290 h 6858000"/>
              <a:gd name="connsiteX96" fmla="*/ 1640662 w 12192000"/>
              <a:gd name="connsiteY96" fmla="*/ 6452426 h 6858000"/>
              <a:gd name="connsiteX97" fmla="*/ 1659953 w 12192000"/>
              <a:gd name="connsiteY97" fmla="*/ 6452426 h 6858000"/>
              <a:gd name="connsiteX98" fmla="*/ 1659953 w 12192000"/>
              <a:gd name="connsiteY98" fmla="*/ 6518911 h 6858000"/>
              <a:gd name="connsiteX99" fmla="*/ 1695318 w 12192000"/>
              <a:gd name="connsiteY99" fmla="*/ 6546194 h 6858000"/>
              <a:gd name="connsiteX100" fmla="*/ 1722377 w 12192000"/>
              <a:gd name="connsiteY100" fmla="*/ 6544604 h 6858000"/>
              <a:gd name="connsiteX101" fmla="*/ 1722377 w 12192000"/>
              <a:gd name="connsiteY101" fmla="*/ 6515203 h 6858000"/>
              <a:gd name="connsiteX102" fmla="*/ 1706303 w 12192000"/>
              <a:gd name="connsiteY102" fmla="*/ 6515998 h 6858000"/>
              <a:gd name="connsiteX103" fmla="*/ 1694780 w 12192000"/>
              <a:gd name="connsiteY103" fmla="*/ 6507256 h 6858000"/>
              <a:gd name="connsiteX104" fmla="*/ 1694780 w 12192000"/>
              <a:gd name="connsiteY104" fmla="*/ 6452426 h 6858000"/>
              <a:gd name="connsiteX105" fmla="*/ 1721302 w 12192000"/>
              <a:gd name="connsiteY105" fmla="*/ 6452426 h 6858000"/>
              <a:gd name="connsiteX106" fmla="*/ 1721302 w 12192000"/>
              <a:gd name="connsiteY106" fmla="*/ 6423290 h 6858000"/>
              <a:gd name="connsiteX107" fmla="*/ 1694780 w 12192000"/>
              <a:gd name="connsiteY107" fmla="*/ 6423290 h 6858000"/>
              <a:gd name="connsiteX108" fmla="*/ 1694780 w 12192000"/>
              <a:gd name="connsiteY108" fmla="*/ 6377201 h 6858000"/>
              <a:gd name="connsiteX109" fmla="*/ 1884617 w 12192000"/>
              <a:gd name="connsiteY109" fmla="*/ 6359355 h 6858000"/>
              <a:gd name="connsiteX110" fmla="*/ 1884617 w 12192000"/>
              <a:gd name="connsiteY110" fmla="*/ 6392335 h 6858000"/>
              <a:gd name="connsiteX111" fmla="*/ 1893998 w 12192000"/>
              <a:gd name="connsiteY111" fmla="*/ 6392335 h 6858000"/>
              <a:gd name="connsiteX112" fmla="*/ 1893998 w 12192000"/>
              <a:gd name="connsiteY112" fmla="*/ 6373492 h 6858000"/>
              <a:gd name="connsiteX113" fmla="*/ 1898291 w 12192000"/>
              <a:gd name="connsiteY113" fmla="*/ 6385270 h 6858000"/>
              <a:gd name="connsiteX114" fmla="*/ 1905819 w 12192000"/>
              <a:gd name="connsiteY114" fmla="*/ 6385270 h 6858000"/>
              <a:gd name="connsiteX115" fmla="*/ 1910111 w 12192000"/>
              <a:gd name="connsiteY115" fmla="*/ 6373492 h 6858000"/>
              <a:gd name="connsiteX116" fmla="*/ 1910111 w 12192000"/>
              <a:gd name="connsiteY116" fmla="*/ 6392335 h 6858000"/>
              <a:gd name="connsiteX117" fmla="*/ 1919685 w 12192000"/>
              <a:gd name="connsiteY117" fmla="*/ 6392335 h 6858000"/>
              <a:gd name="connsiteX118" fmla="*/ 1919685 w 12192000"/>
              <a:gd name="connsiteY118" fmla="*/ 6359355 h 6858000"/>
              <a:gd name="connsiteX119" fmla="*/ 1907566 w 12192000"/>
              <a:gd name="connsiteY119" fmla="*/ 6359355 h 6858000"/>
              <a:gd name="connsiteX120" fmla="*/ 1902362 w 12192000"/>
              <a:gd name="connsiteY120" fmla="*/ 6373114 h 6858000"/>
              <a:gd name="connsiteX121" fmla="*/ 1897494 w 12192000"/>
              <a:gd name="connsiteY121" fmla="*/ 6359355 h 6858000"/>
              <a:gd name="connsiteX122" fmla="*/ 1850683 w 12192000"/>
              <a:gd name="connsiteY122" fmla="*/ 6359355 h 6858000"/>
              <a:gd name="connsiteX123" fmla="*/ 1850683 w 12192000"/>
              <a:gd name="connsiteY123" fmla="*/ 6367929 h 6858000"/>
              <a:gd name="connsiteX124" fmla="*/ 1860074 w 12192000"/>
              <a:gd name="connsiteY124" fmla="*/ 6367929 h 6858000"/>
              <a:gd name="connsiteX125" fmla="*/ 1860074 w 12192000"/>
              <a:gd name="connsiteY125" fmla="*/ 6392335 h 6858000"/>
              <a:gd name="connsiteX126" fmla="*/ 1869839 w 12192000"/>
              <a:gd name="connsiteY126" fmla="*/ 6392335 h 6858000"/>
              <a:gd name="connsiteX127" fmla="*/ 1869839 w 12192000"/>
              <a:gd name="connsiteY127" fmla="*/ 6367929 h 6858000"/>
              <a:gd name="connsiteX128" fmla="*/ 1879230 w 12192000"/>
              <a:gd name="connsiteY128" fmla="*/ 6367929 h 6858000"/>
              <a:gd name="connsiteX129" fmla="*/ 1879230 w 12192000"/>
              <a:gd name="connsiteY129" fmla="*/ 6359355 h 6858000"/>
              <a:gd name="connsiteX130" fmla="*/ 1352105 w 12192000"/>
              <a:gd name="connsiteY130" fmla="*/ 6359189 h 6858000"/>
              <a:gd name="connsiteX131" fmla="*/ 1329868 w 12192000"/>
              <a:gd name="connsiteY131" fmla="*/ 6381439 h 6858000"/>
              <a:gd name="connsiteX132" fmla="*/ 1352108 w 12192000"/>
              <a:gd name="connsiteY132" fmla="*/ 6403427 h 6858000"/>
              <a:gd name="connsiteX133" fmla="*/ 1374610 w 12192000"/>
              <a:gd name="connsiteY133" fmla="*/ 6381439 h 6858000"/>
              <a:gd name="connsiteX134" fmla="*/ 1374610 w 12192000"/>
              <a:gd name="connsiteY134" fmla="*/ 6381364 h 6858000"/>
              <a:gd name="connsiteX135" fmla="*/ 1352105 w 12192000"/>
              <a:gd name="connsiteY135" fmla="*/ 6359189 h 6858000"/>
              <a:gd name="connsiteX136" fmla="*/ 1041583 w 12192000"/>
              <a:gd name="connsiteY136" fmla="*/ 6359189 h 6858000"/>
              <a:gd name="connsiteX137" fmla="*/ 1041583 w 12192000"/>
              <a:gd name="connsiteY137" fmla="*/ 6544604 h 6858000"/>
              <a:gd name="connsiteX138" fmla="*/ 1076143 w 12192000"/>
              <a:gd name="connsiteY138" fmla="*/ 6544604 h 6858000"/>
              <a:gd name="connsiteX139" fmla="*/ 1076143 w 12192000"/>
              <a:gd name="connsiteY139" fmla="*/ 6359189 h 6858000"/>
              <a:gd name="connsiteX140" fmla="*/ 925239 w 12192000"/>
              <a:gd name="connsiteY140" fmla="*/ 6355990 h 6858000"/>
              <a:gd name="connsiteX141" fmla="*/ 832602 w 12192000"/>
              <a:gd name="connsiteY141" fmla="*/ 6451897 h 6858000"/>
              <a:gd name="connsiteX142" fmla="*/ 832623 w 12192000"/>
              <a:gd name="connsiteY142" fmla="*/ 6456990 h 6858000"/>
              <a:gd name="connsiteX143" fmla="*/ 930389 w 12192000"/>
              <a:gd name="connsiteY143" fmla="*/ 6547783 h 6858000"/>
              <a:gd name="connsiteX144" fmla="*/ 1022285 w 12192000"/>
              <a:gd name="connsiteY144" fmla="*/ 6478650 h 6858000"/>
              <a:gd name="connsiteX145" fmla="*/ 981294 w 12192000"/>
              <a:gd name="connsiteY145" fmla="*/ 6478650 h 6858000"/>
              <a:gd name="connsiteX146" fmla="*/ 930389 w 12192000"/>
              <a:gd name="connsiteY146" fmla="*/ 6513878 h 6858000"/>
              <a:gd name="connsiteX147" fmla="*/ 871450 w 12192000"/>
              <a:gd name="connsiteY147" fmla="*/ 6451897 h 6858000"/>
              <a:gd name="connsiteX148" fmla="*/ 930389 w 12192000"/>
              <a:gd name="connsiteY148" fmla="*/ 6389916 h 6858000"/>
              <a:gd name="connsiteX149" fmla="*/ 981294 w 12192000"/>
              <a:gd name="connsiteY149" fmla="*/ 6425144 h 6858000"/>
              <a:gd name="connsiteX150" fmla="*/ 1022285 w 12192000"/>
              <a:gd name="connsiteY150" fmla="*/ 6425144 h 6858000"/>
              <a:gd name="connsiteX151" fmla="*/ 930389 w 12192000"/>
              <a:gd name="connsiteY151" fmla="*/ 6356011 h 6858000"/>
              <a:gd name="connsiteX152" fmla="*/ 925239 w 12192000"/>
              <a:gd name="connsiteY152" fmla="*/ 6355990 h 6858000"/>
              <a:gd name="connsiteX153" fmla="*/ 651232 w 12192000"/>
              <a:gd name="connsiteY153" fmla="*/ 6336161 h 6858000"/>
              <a:gd name="connsiteX154" fmla="*/ 624479 w 12192000"/>
              <a:gd name="connsiteY154" fmla="*/ 6384726 h 6858000"/>
              <a:gd name="connsiteX155" fmla="*/ 742033 w 12192000"/>
              <a:gd name="connsiteY155" fmla="*/ 6451914 h 6858000"/>
              <a:gd name="connsiteX156" fmla="*/ 624512 w 12192000"/>
              <a:gd name="connsiteY156" fmla="*/ 6519097 h 6858000"/>
              <a:gd name="connsiteX157" fmla="*/ 651373 w 12192000"/>
              <a:gd name="connsiteY157" fmla="*/ 6567631 h 6858000"/>
              <a:gd name="connsiteX158" fmla="*/ 771228 w 12192000"/>
              <a:gd name="connsiteY158" fmla="*/ 6499136 h 6858000"/>
              <a:gd name="connsiteX159" fmla="*/ 742033 w 12192000"/>
              <a:gd name="connsiteY159" fmla="*/ 6451914 h 6858000"/>
              <a:gd name="connsiteX160" fmla="*/ 771227 w 12192000"/>
              <a:gd name="connsiteY160" fmla="*/ 6404692 h 6858000"/>
              <a:gd name="connsiteX161" fmla="*/ 651232 w 12192000"/>
              <a:gd name="connsiteY161" fmla="*/ 6336161 h 6858000"/>
              <a:gd name="connsiteX162" fmla="*/ 0 w 12192000"/>
              <a:gd name="connsiteY162" fmla="*/ 0 h 6858000"/>
              <a:gd name="connsiteX163" fmla="*/ 7104065 w 12192000"/>
              <a:gd name="connsiteY163" fmla="*/ 0 h 6858000"/>
              <a:gd name="connsiteX164" fmla="*/ 8040688 w 12192000"/>
              <a:gd name="connsiteY164" fmla="*/ 0 h 6858000"/>
              <a:gd name="connsiteX165" fmla="*/ 12192000 w 12192000"/>
              <a:gd name="connsiteY165" fmla="*/ 0 h 6858000"/>
              <a:gd name="connsiteX166" fmla="*/ 12192000 w 12192000"/>
              <a:gd name="connsiteY166" fmla="*/ 6858000 h 6858000"/>
              <a:gd name="connsiteX167" fmla="*/ 8040688 w 12192000"/>
              <a:gd name="connsiteY167" fmla="*/ 6858000 h 6858000"/>
              <a:gd name="connsiteX168" fmla="*/ 7104065 w 12192000"/>
              <a:gd name="connsiteY168" fmla="*/ 6858000 h 6858000"/>
              <a:gd name="connsiteX169" fmla="*/ 0 w 12192000"/>
              <a:gd name="connsiteY1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2192000"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7104065" y="0"/>
                </a:lnTo>
                <a:lnTo>
                  <a:pt x="8040688" y="0"/>
                </a:lnTo>
                <a:lnTo>
                  <a:pt x="12192000" y="0"/>
                </a:lnTo>
                <a:lnTo>
                  <a:pt x="12192000" y="6858000"/>
                </a:lnTo>
                <a:lnTo>
                  <a:pt x="8040688" y="6858000"/>
                </a:lnTo>
                <a:lnTo>
                  <a:pt x="7104065" y="6858000"/>
                </a:lnTo>
                <a:lnTo>
                  <a:pt x="0" y="6858000"/>
                </a:lnTo>
                <a:close/>
              </a:path>
            </a:pathLst>
          </a:custGeom>
          <a:solidFill>
            <a:schemeClr val="bg1">
              <a:lumMod val="95000"/>
            </a:schemeClr>
          </a:solidFill>
          <a:ln>
            <a:noFill/>
          </a:ln>
        </p:spPr>
        <p:txBody>
          <a:bodyPr wrap="square" tIns="180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8" name="Text Placeholder 12">
            <a:extLst>
              <a:ext uri="{FF2B5EF4-FFF2-40B4-BE49-F238E27FC236}">
                <a16:creationId xmlns:a16="http://schemas.microsoft.com/office/drawing/2014/main" id="{8DDC60B7-E753-52DF-078B-3DC551E1050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9" name="Text Placeholder 12">
            <a:extLst>
              <a:ext uri="{FF2B5EF4-FFF2-40B4-BE49-F238E27FC236}">
                <a16:creationId xmlns:a16="http://schemas.microsoft.com/office/drawing/2014/main" id="{4BB56A7A-43A7-EBC8-E591-5A304D59169A}"/>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10" name="Text Placeholder 9">
            <a:extLst>
              <a:ext uri="{FF2B5EF4-FFF2-40B4-BE49-F238E27FC236}">
                <a16:creationId xmlns:a16="http://schemas.microsoft.com/office/drawing/2014/main" id="{768C0EE5-7595-B97C-61F7-F69AAADB86EA}"/>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tx1"/>
                </a:solidFill>
                <a:latin typeface="+mj-lt"/>
              </a:defRPr>
            </a:lvl1pPr>
          </a:lstStyle>
          <a:p>
            <a:pPr lvl="0"/>
            <a:r>
              <a:rPr lang="en-US"/>
              <a:t>“Quote copy, resize textbox </a:t>
            </a:r>
            <a:r>
              <a:rPr lang="en-US" err="1"/>
              <a:t>recolour</a:t>
            </a:r>
            <a:r>
              <a:rPr lang="en-US"/>
              <a:t> text as required”.</a:t>
            </a:r>
            <a:endParaRPr lang="en-GB"/>
          </a:p>
        </p:txBody>
      </p:sp>
    </p:spTree>
    <p:extLst>
      <p:ext uri="{BB962C8B-B14F-4D97-AF65-F5344CB8AC3E}">
        <p14:creationId xmlns:p14="http://schemas.microsoft.com/office/powerpoint/2010/main" val="40506915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x Images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Lst>
          </p:cNvPr>
          <p:cNvSpPr>
            <a:spLocks noGrp="1"/>
          </p:cNvSpPr>
          <p:nvPr>
            <p:ph type="pic" sz="quarter" idx="20" hasCustomPrompt="1"/>
          </p:nvPr>
        </p:nvSpPr>
        <p:spPr>
          <a:xfrm>
            <a:off x="551231"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Lst>
          </p:cNvPr>
          <p:cNvSpPr>
            <a:spLocks noGrp="1"/>
          </p:cNvSpPr>
          <p:nvPr>
            <p:ph type="pic" sz="quarter" idx="27" hasCustomPrompt="1"/>
          </p:nvPr>
        </p:nvSpPr>
        <p:spPr>
          <a:xfrm>
            <a:off x="4295775" y="1815304"/>
            <a:ext cx="3202379"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Lst>
          </p:cNvPr>
          <p:cNvSpPr>
            <a:spLocks noGrp="1"/>
          </p:cNvSpPr>
          <p:nvPr>
            <p:ph type="pic" sz="quarter" idx="29" hasCustomPrompt="1"/>
          </p:nvPr>
        </p:nvSpPr>
        <p:spPr>
          <a:xfrm>
            <a:off x="8040688" y="1815304"/>
            <a:ext cx="3204000" cy="1613696"/>
          </a:xfrm>
          <a:noFill/>
        </p:spPr>
        <p:txBody>
          <a:bodyPr tIns="144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Lst>
          </p:cNvPr>
          <p:cNvSpPr>
            <a:spLocks noGrp="1"/>
          </p:cNvSpPr>
          <p:nvPr>
            <p:ph type="body" sz="quarter" idx="39" hasCustomPrompt="1"/>
          </p:nvPr>
        </p:nvSpPr>
        <p:spPr>
          <a:xfrm>
            <a:off x="550863" y="1720850"/>
            <a:ext cx="3202897"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Lst>
          </p:cNvPr>
          <p:cNvSpPr>
            <a:spLocks noGrp="1"/>
          </p:cNvSpPr>
          <p:nvPr>
            <p:ph type="body" sz="quarter" idx="40" hasCustomPrompt="1"/>
          </p:nvPr>
        </p:nvSpPr>
        <p:spPr>
          <a:xfrm>
            <a:off x="4295560" y="1720850"/>
            <a:ext cx="3202898"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Lst>
          </p:cNvPr>
          <p:cNvSpPr>
            <a:spLocks noGrp="1"/>
          </p:cNvSpPr>
          <p:nvPr>
            <p:ph type="body" sz="quarter" idx="41" hasCustomPrompt="1"/>
          </p:nvPr>
        </p:nvSpPr>
        <p:spPr>
          <a:xfrm>
            <a:off x="8040168" y="1720850"/>
            <a:ext cx="3204519"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4295529" y="3614886"/>
            <a:ext cx="3202379"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8040688" y="3614886"/>
            <a:ext cx="3204000" cy="197470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831646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x Images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903F0106-157C-427D-4EE3-058FF2156B3C}"/>
              </a:ext>
            </a:extLst>
          </p:cNvPr>
          <p:cNvSpPr>
            <a:spLocks noGrp="1"/>
          </p:cNvSpPr>
          <p:nvPr>
            <p:ph type="pic" sz="quarter" idx="20" hasCustomPrompt="1"/>
          </p:nvPr>
        </p:nvSpPr>
        <p:spPr>
          <a:xfrm>
            <a:off x="55123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8" name="Picture Placeholder 15">
            <a:extLst>
              <a:ext uri="{FF2B5EF4-FFF2-40B4-BE49-F238E27FC236}">
                <a16:creationId xmlns:a16="http://schemas.microsoft.com/office/drawing/2014/main" id="{EC657CC3-F918-1A6E-4F80-19CFDA23FC11}"/>
              </a:ext>
            </a:extLst>
          </p:cNvPr>
          <p:cNvSpPr>
            <a:spLocks noGrp="1"/>
          </p:cNvSpPr>
          <p:nvPr>
            <p:ph type="pic" sz="quarter" idx="27" hasCustomPrompt="1"/>
          </p:nvPr>
        </p:nvSpPr>
        <p:spPr>
          <a:xfrm>
            <a:off x="3359518"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9" name="Picture Placeholder 15">
            <a:extLst>
              <a:ext uri="{FF2B5EF4-FFF2-40B4-BE49-F238E27FC236}">
                <a16:creationId xmlns:a16="http://schemas.microsoft.com/office/drawing/2014/main" id="{8D0A983E-8A75-5B03-E6D8-3B461E3D79BB}"/>
              </a:ext>
            </a:extLst>
          </p:cNvPr>
          <p:cNvSpPr>
            <a:spLocks noGrp="1"/>
          </p:cNvSpPr>
          <p:nvPr>
            <p:ph type="pic" sz="quarter" idx="29" hasCustomPrompt="1"/>
          </p:nvPr>
        </p:nvSpPr>
        <p:spPr>
          <a:xfrm>
            <a:off x="6167805"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2" name="Picture Placeholder 15">
            <a:extLst>
              <a:ext uri="{FF2B5EF4-FFF2-40B4-BE49-F238E27FC236}">
                <a16:creationId xmlns:a16="http://schemas.microsoft.com/office/drawing/2014/main" id="{73CB5704-B72F-A122-22D9-327C2FC30431}"/>
              </a:ext>
            </a:extLst>
          </p:cNvPr>
          <p:cNvSpPr>
            <a:spLocks noGrp="1"/>
          </p:cNvSpPr>
          <p:nvPr>
            <p:ph type="pic" sz="quarter" idx="33" hasCustomPrompt="1"/>
          </p:nvPr>
        </p:nvSpPr>
        <p:spPr>
          <a:xfrm>
            <a:off x="8976091" y="1815304"/>
            <a:ext cx="2267633" cy="1613696"/>
          </a:xfrm>
          <a:noFill/>
        </p:spPr>
        <p:txBody>
          <a:bodyPr lIns="288000" tIns="144000" rIns="288000" anchor="t" anchorCtr="0"/>
          <a:lstStyle>
            <a:lvl1pPr marL="0" indent="0" algn="ctr">
              <a:buNone/>
              <a:defRPr sz="1050">
                <a:solidFill>
                  <a:schemeClr val="accent2"/>
                </a:solidFill>
                <a:latin typeface="+mn-lt"/>
              </a:defRPr>
            </a:lvl1pPr>
          </a:lstStyle>
          <a:p>
            <a:pPr lvl="0"/>
            <a:r>
              <a:rPr lang="en-US"/>
              <a:t>Drag picture file or click icon to insert image</a:t>
            </a:r>
          </a:p>
        </p:txBody>
      </p:sp>
      <p:sp>
        <p:nvSpPr>
          <p:cNvPr id="17" name="Text Placeholder 12">
            <a:extLst>
              <a:ext uri="{FF2B5EF4-FFF2-40B4-BE49-F238E27FC236}">
                <a16:creationId xmlns:a16="http://schemas.microsoft.com/office/drawing/2014/main" id="{2DA8D027-1671-C417-E0C3-5993F02B96D9}"/>
              </a:ext>
            </a:extLst>
          </p:cNvPr>
          <p:cNvSpPr>
            <a:spLocks noGrp="1"/>
          </p:cNvSpPr>
          <p:nvPr>
            <p:ph type="body" sz="quarter" idx="39" hasCustomPrompt="1"/>
          </p:nvPr>
        </p:nvSpPr>
        <p:spPr>
          <a:xfrm>
            <a:off x="550864"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0" name="Text Placeholder 12">
            <a:extLst>
              <a:ext uri="{FF2B5EF4-FFF2-40B4-BE49-F238E27FC236}">
                <a16:creationId xmlns:a16="http://schemas.microsoft.com/office/drawing/2014/main" id="{CD7185C1-17ED-4DDA-8D74-3D9B371C3A61}"/>
              </a:ext>
            </a:extLst>
          </p:cNvPr>
          <p:cNvSpPr>
            <a:spLocks noGrp="1"/>
          </p:cNvSpPr>
          <p:nvPr>
            <p:ph type="body" sz="quarter" idx="40" hasCustomPrompt="1"/>
          </p:nvPr>
        </p:nvSpPr>
        <p:spPr>
          <a:xfrm>
            <a:off x="3359151"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1" name="Text Placeholder 12">
            <a:extLst>
              <a:ext uri="{FF2B5EF4-FFF2-40B4-BE49-F238E27FC236}">
                <a16:creationId xmlns:a16="http://schemas.microsoft.com/office/drawing/2014/main" id="{C20373E0-93FA-5E07-BE29-2A7CDEAB21F9}"/>
              </a:ext>
            </a:extLst>
          </p:cNvPr>
          <p:cNvSpPr>
            <a:spLocks noGrp="1"/>
          </p:cNvSpPr>
          <p:nvPr>
            <p:ph type="body" sz="quarter" idx="41" hasCustomPrompt="1"/>
          </p:nvPr>
        </p:nvSpPr>
        <p:spPr>
          <a:xfrm>
            <a:off x="6167438"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2" name="Text Placeholder 12">
            <a:extLst>
              <a:ext uri="{FF2B5EF4-FFF2-40B4-BE49-F238E27FC236}">
                <a16:creationId xmlns:a16="http://schemas.microsoft.com/office/drawing/2014/main" id="{16AEE30E-3916-27B5-D72D-39A00D8F21C2}"/>
              </a:ext>
            </a:extLst>
          </p:cNvPr>
          <p:cNvSpPr>
            <a:spLocks noGrp="1"/>
          </p:cNvSpPr>
          <p:nvPr>
            <p:ph type="body" sz="quarter" idx="42" hasCustomPrompt="1"/>
          </p:nvPr>
        </p:nvSpPr>
        <p:spPr>
          <a:xfrm>
            <a:off x="8975724" y="1720850"/>
            <a:ext cx="2268000" cy="94454"/>
          </a:xfrm>
          <a:solidFill>
            <a:schemeClr val="accent1"/>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23" name="Text Placeholder 12">
            <a:extLst>
              <a:ext uri="{FF2B5EF4-FFF2-40B4-BE49-F238E27FC236}">
                <a16:creationId xmlns:a16="http://schemas.microsoft.com/office/drawing/2014/main" id="{C531B205-D3A4-EA26-3CFE-0FB948EE2890}"/>
              </a:ext>
            </a:extLst>
          </p:cNvPr>
          <p:cNvSpPr>
            <a:spLocks noGrp="1"/>
          </p:cNvSpPr>
          <p:nvPr>
            <p:ph type="body" sz="quarter" idx="43"/>
          </p:nvPr>
        </p:nvSpPr>
        <p:spPr>
          <a:xfrm>
            <a:off x="550863"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4" name="Text Placeholder 12">
            <a:extLst>
              <a:ext uri="{FF2B5EF4-FFF2-40B4-BE49-F238E27FC236}">
                <a16:creationId xmlns:a16="http://schemas.microsoft.com/office/drawing/2014/main" id="{5CD19475-61C5-E508-86C6-A6A43C37FD75}"/>
              </a:ext>
            </a:extLst>
          </p:cNvPr>
          <p:cNvSpPr>
            <a:spLocks noGrp="1"/>
          </p:cNvSpPr>
          <p:nvPr>
            <p:ph type="body" sz="quarter" idx="44"/>
          </p:nvPr>
        </p:nvSpPr>
        <p:spPr>
          <a:xfrm>
            <a:off x="3359272"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5" name="Text Placeholder 12">
            <a:extLst>
              <a:ext uri="{FF2B5EF4-FFF2-40B4-BE49-F238E27FC236}">
                <a16:creationId xmlns:a16="http://schemas.microsoft.com/office/drawing/2014/main" id="{BFA0A616-B625-CB56-07F5-2868451F4AE4}"/>
              </a:ext>
            </a:extLst>
          </p:cNvPr>
          <p:cNvSpPr>
            <a:spLocks noGrp="1"/>
          </p:cNvSpPr>
          <p:nvPr>
            <p:ph type="body" sz="quarter" idx="45"/>
          </p:nvPr>
        </p:nvSpPr>
        <p:spPr>
          <a:xfrm>
            <a:off x="6167681" y="3614886"/>
            <a:ext cx="2267633" cy="1974702"/>
          </a:xfrm>
        </p:spPr>
        <p:txBody>
          <a:bodyPr/>
          <a:lstStyle/>
          <a:p>
            <a:pPr lvl="0"/>
            <a:r>
              <a:rPr lang="en-US"/>
              <a:t>Click to edit Master text styles</a:t>
            </a:r>
          </a:p>
          <a:p>
            <a:pPr lvl="1"/>
            <a:r>
              <a:rPr lang="en-US"/>
              <a:t>Second level</a:t>
            </a:r>
          </a:p>
          <a:p>
            <a:pPr lvl="2"/>
            <a:r>
              <a:rPr lang="en-US"/>
              <a:t>Third level</a:t>
            </a:r>
          </a:p>
        </p:txBody>
      </p:sp>
      <p:sp>
        <p:nvSpPr>
          <p:cNvPr id="26" name="Text Placeholder 12">
            <a:extLst>
              <a:ext uri="{FF2B5EF4-FFF2-40B4-BE49-F238E27FC236}">
                <a16:creationId xmlns:a16="http://schemas.microsoft.com/office/drawing/2014/main" id="{44E764C5-EE0F-D481-485B-3B14A6A1CFCF}"/>
              </a:ext>
            </a:extLst>
          </p:cNvPr>
          <p:cNvSpPr>
            <a:spLocks noGrp="1"/>
          </p:cNvSpPr>
          <p:nvPr>
            <p:ph type="body" sz="quarter" idx="46"/>
          </p:nvPr>
        </p:nvSpPr>
        <p:spPr>
          <a:xfrm>
            <a:off x="8976091" y="3614886"/>
            <a:ext cx="2267633" cy="197470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01064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4 Teams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Picture Placeholder 15">
            <a:extLst>
              <a:ext uri="{FF2B5EF4-FFF2-40B4-BE49-F238E27FC236}">
                <a16:creationId xmlns:a16="http://schemas.microsoft.com/office/drawing/2014/main" id="{8575BBD5-17C3-1DCA-C387-5D44672EB054}"/>
              </a:ext>
            </a:extLst>
          </p:cNvPr>
          <p:cNvSpPr>
            <a:spLocks noGrp="1"/>
          </p:cNvSpPr>
          <p:nvPr>
            <p:ph type="pic" sz="quarter" idx="39" hasCustomPrompt="1"/>
          </p:nvPr>
        </p:nvSpPr>
        <p:spPr>
          <a:xfrm>
            <a:off x="6167437"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6167437"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6167437"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3" name="Picture Placeholder 15">
            <a:extLst>
              <a:ext uri="{FF2B5EF4-FFF2-40B4-BE49-F238E27FC236}">
                <a16:creationId xmlns:a16="http://schemas.microsoft.com/office/drawing/2014/main" id="{7746417C-B9E9-48F3-42E0-5744312D74A8}"/>
              </a:ext>
            </a:extLst>
          </p:cNvPr>
          <p:cNvSpPr>
            <a:spLocks noGrp="1"/>
          </p:cNvSpPr>
          <p:nvPr>
            <p:ph type="pic" sz="quarter" idx="42" hasCustomPrompt="1"/>
          </p:nvPr>
        </p:nvSpPr>
        <p:spPr>
          <a:xfrm>
            <a:off x="8981446"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8981446"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8981446"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6" name="Picture Placeholder 15">
            <a:extLst>
              <a:ext uri="{FF2B5EF4-FFF2-40B4-BE49-F238E27FC236}">
                <a16:creationId xmlns:a16="http://schemas.microsoft.com/office/drawing/2014/main" id="{DA05801B-112D-E8CC-61BD-A4834B349AA6}"/>
              </a:ext>
            </a:extLst>
          </p:cNvPr>
          <p:cNvSpPr>
            <a:spLocks noGrp="1"/>
          </p:cNvSpPr>
          <p:nvPr>
            <p:ph type="pic" sz="quarter" idx="46" hasCustomPrompt="1"/>
          </p:nvPr>
        </p:nvSpPr>
        <p:spPr>
          <a:xfrm>
            <a:off x="551231"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8" name="Text Placeholder 12">
            <a:extLst>
              <a:ext uri="{FF2B5EF4-FFF2-40B4-BE49-F238E27FC236}">
                <a16:creationId xmlns:a16="http://schemas.microsoft.com/office/drawing/2014/main" id="{5D98A119-8A13-B65C-1498-57CF1EC991C8}"/>
              </a:ext>
            </a:extLst>
          </p:cNvPr>
          <p:cNvSpPr>
            <a:spLocks noGrp="1"/>
          </p:cNvSpPr>
          <p:nvPr>
            <p:ph type="body" sz="quarter" idx="47"/>
          </p:nvPr>
        </p:nvSpPr>
        <p:spPr>
          <a:xfrm>
            <a:off x="550863"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
        <p:nvSpPr>
          <p:cNvPr id="19" name="Text Placeholder 12">
            <a:extLst>
              <a:ext uri="{FF2B5EF4-FFF2-40B4-BE49-F238E27FC236}">
                <a16:creationId xmlns:a16="http://schemas.microsoft.com/office/drawing/2014/main" id="{026CE2A2-F93E-B1AA-3611-400C0319FE19}"/>
              </a:ext>
            </a:extLst>
          </p:cNvPr>
          <p:cNvSpPr>
            <a:spLocks noGrp="1"/>
          </p:cNvSpPr>
          <p:nvPr>
            <p:ph type="body" sz="quarter" idx="48" hasCustomPrompt="1"/>
          </p:nvPr>
        </p:nvSpPr>
        <p:spPr>
          <a:xfrm>
            <a:off x="550862"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7" name="Picture Placeholder 15">
            <a:extLst>
              <a:ext uri="{FF2B5EF4-FFF2-40B4-BE49-F238E27FC236}">
                <a16:creationId xmlns:a16="http://schemas.microsoft.com/office/drawing/2014/main" id="{C124DB5D-11D5-E18C-B3C8-AF86AD1E4C51}"/>
              </a:ext>
            </a:extLst>
          </p:cNvPr>
          <p:cNvSpPr>
            <a:spLocks noGrp="1"/>
          </p:cNvSpPr>
          <p:nvPr>
            <p:ph type="pic" sz="quarter" idx="49" hasCustomPrompt="1"/>
          </p:nvPr>
        </p:nvSpPr>
        <p:spPr>
          <a:xfrm>
            <a:off x="3359519" y="1639334"/>
            <a:ext cx="1404000" cy="1404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8" name="Text Placeholder 12">
            <a:extLst>
              <a:ext uri="{FF2B5EF4-FFF2-40B4-BE49-F238E27FC236}">
                <a16:creationId xmlns:a16="http://schemas.microsoft.com/office/drawing/2014/main" id="{BFE8DAEC-7AD2-5CC1-3FE9-5DCB967ECE53}"/>
              </a:ext>
            </a:extLst>
          </p:cNvPr>
          <p:cNvSpPr>
            <a:spLocks noGrp="1"/>
          </p:cNvSpPr>
          <p:nvPr>
            <p:ph type="body" sz="quarter" idx="50" hasCustomPrompt="1"/>
          </p:nvPr>
        </p:nvSpPr>
        <p:spPr>
          <a:xfrm>
            <a:off x="3359150" y="3215665"/>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9" name="Picture Placeholder 15">
            <a:extLst>
              <a:ext uri="{FF2B5EF4-FFF2-40B4-BE49-F238E27FC236}">
                <a16:creationId xmlns:a16="http://schemas.microsoft.com/office/drawing/2014/main" id="{71F103AF-A0DA-F7D1-DABC-38F8B9946D24}"/>
              </a:ext>
            </a:extLst>
          </p:cNvPr>
          <p:cNvSpPr>
            <a:spLocks noGrp="1"/>
          </p:cNvSpPr>
          <p:nvPr>
            <p:ph type="pic" sz="quarter" idx="51" hasCustomPrompt="1"/>
          </p:nvPr>
        </p:nvSpPr>
        <p:spPr>
          <a:xfrm>
            <a:off x="6167437"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6167437"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6167437"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2" name="Picture Placeholder 15">
            <a:extLst>
              <a:ext uri="{FF2B5EF4-FFF2-40B4-BE49-F238E27FC236}">
                <a16:creationId xmlns:a16="http://schemas.microsoft.com/office/drawing/2014/main" id="{50DC4E27-BAC2-8A31-B3AA-FF1575614782}"/>
              </a:ext>
            </a:extLst>
          </p:cNvPr>
          <p:cNvSpPr>
            <a:spLocks noGrp="1"/>
          </p:cNvSpPr>
          <p:nvPr>
            <p:ph type="pic" sz="quarter" idx="54" hasCustomPrompt="1"/>
          </p:nvPr>
        </p:nvSpPr>
        <p:spPr>
          <a:xfrm>
            <a:off x="8981446"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8981446"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8981446"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6167437"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8981446"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7" name="Text Placeholder 12">
            <a:extLst>
              <a:ext uri="{FF2B5EF4-FFF2-40B4-BE49-F238E27FC236}">
                <a16:creationId xmlns:a16="http://schemas.microsoft.com/office/drawing/2014/main" id="{465DB172-EA52-68C6-51D1-D92A6077E7ED}"/>
              </a:ext>
            </a:extLst>
          </p:cNvPr>
          <p:cNvSpPr>
            <a:spLocks noGrp="1"/>
          </p:cNvSpPr>
          <p:nvPr>
            <p:ph type="body" sz="quarter" idx="61" hasCustomPrompt="1"/>
          </p:nvPr>
        </p:nvSpPr>
        <p:spPr>
          <a:xfrm>
            <a:off x="550862"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8" name="Text Placeholder 12">
            <a:extLst>
              <a:ext uri="{FF2B5EF4-FFF2-40B4-BE49-F238E27FC236}">
                <a16:creationId xmlns:a16="http://schemas.microsoft.com/office/drawing/2014/main" id="{FB360039-77C5-A5D7-4360-BC7847A82BB0}"/>
              </a:ext>
            </a:extLst>
          </p:cNvPr>
          <p:cNvSpPr>
            <a:spLocks noGrp="1"/>
          </p:cNvSpPr>
          <p:nvPr>
            <p:ph type="body" sz="quarter" idx="62" hasCustomPrompt="1"/>
          </p:nvPr>
        </p:nvSpPr>
        <p:spPr>
          <a:xfrm>
            <a:off x="3359150" y="3546636"/>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6167437"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8981446"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1" name="Text Placeholder 12">
            <a:extLst>
              <a:ext uri="{FF2B5EF4-FFF2-40B4-BE49-F238E27FC236}">
                <a16:creationId xmlns:a16="http://schemas.microsoft.com/office/drawing/2014/main" id="{70F98EAF-C679-0B0F-8CF9-2B6386737BCC}"/>
              </a:ext>
            </a:extLst>
          </p:cNvPr>
          <p:cNvSpPr>
            <a:spLocks noGrp="1"/>
          </p:cNvSpPr>
          <p:nvPr>
            <p:ph type="body" sz="quarter" idx="65"/>
          </p:nvPr>
        </p:nvSpPr>
        <p:spPr>
          <a:xfrm>
            <a:off x="3359150"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646394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x Profi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itle 1">
            <a:extLst>
              <a:ext uri="{FF2B5EF4-FFF2-40B4-BE49-F238E27FC236}">
                <a16:creationId xmlns:a16="http://schemas.microsoft.com/office/drawing/2014/main" id="{8A7FC2C0-CC0A-6C80-94BA-87548331CA12}"/>
              </a:ext>
            </a:extLst>
          </p:cNvPr>
          <p:cNvSpPr>
            <a:spLocks noGrp="1"/>
          </p:cNvSpPr>
          <p:nvPr>
            <p:ph type="title" hasCustomPrompt="1"/>
          </p:nvPr>
        </p:nvSpPr>
        <p:spPr>
          <a:xfrm>
            <a:off x="550864" y="368828"/>
            <a:ext cx="10693823" cy="251885"/>
          </a:xfrm>
        </p:spPr>
        <p:txBody>
          <a:bodyPr/>
          <a:lstStyle>
            <a:lvl1pPr>
              <a:defRPr/>
            </a:lvl1pPr>
          </a:lstStyle>
          <a:p>
            <a:r>
              <a:rPr lang="en-US"/>
              <a:t>Header avenir demi</a:t>
            </a:r>
            <a:endParaRPr lang="en-GB"/>
          </a:p>
        </p:txBody>
      </p:sp>
      <p:sp>
        <p:nvSpPr>
          <p:cNvPr id="6" name="Text Placeholder 9">
            <a:extLst>
              <a:ext uri="{FF2B5EF4-FFF2-40B4-BE49-F238E27FC236}">
                <a16:creationId xmlns:a16="http://schemas.microsoft.com/office/drawing/2014/main" id="{0D280ED2-2546-B928-49AE-06D36B770708}"/>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Picture Placeholder 15">
            <a:extLst>
              <a:ext uri="{FF2B5EF4-FFF2-40B4-BE49-F238E27FC236}">
                <a16:creationId xmlns:a16="http://schemas.microsoft.com/office/drawing/2014/main" id="{8575BBD5-17C3-1DCA-C387-5D44672EB054}"/>
              </a:ext>
            </a:extLst>
          </p:cNvPr>
          <p:cNvSpPr>
            <a:spLocks noGrp="1"/>
          </p:cNvSpPr>
          <p:nvPr>
            <p:ph type="pic" sz="quarter" idx="39" hasCustomPrompt="1"/>
          </p:nvPr>
        </p:nvSpPr>
        <p:spPr>
          <a:xfrm>
            <a:off x="550864"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0" name="Text Placeholder 12">
            <a:extLst>
              <a:ext uri="{FF2B5EF4-FFF2-40B4-BE49-F238E27FC236}">
                <a16:creationId xmlns:a16="http://schemas.microsoft.com/office/drawing/2014/main" id="{C4150847-1F6F-857E-692F-5C4E2A9E42CE}"/>
              </a:ext>
            </a:extLst>
          </p:cNvPr>
          <p:cNvSpPr>
            <a:spLocks noGrp="1"/>
          </p:cNvSpPr>
          <p:nvPr>
            <p:ph type="body" sz="quarter" idx="40"/>
          </p:nvPr>
        </p:nvSpPr>
        <p:spPr>
          <a:xfrm>
            <a:off x="550864"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1" name="Text Placeholder 12">
            <a:extLst>
              <a:ext uri="{FF2B5EF4-FFF2-40B4-BE49-F238E27FC236}">
                <a16:creationId xmlns:a16="http://schemas.microsoft.com/office/drawing/2014/main" id="{97DA1409-93A0-C554-7ED9-E4C4F2EDDC29}"/>
              </a:ext>
            </a:extLst>
          </p:cNvPr>
          <p:cNvSpPr>
            <a:spLocks noGrp="1"/>
          </p:cNvSpPr>
          <p:nvPr>
            <p:ph type="body" sz="quarter" idx="41" hasCustomPrompt="1"/>
          </p:nvPr>
        </p:nvSpPr>
        <p:spPr>
          <a:xfrm>
            <a:off x="550864"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3" name="Picture Placeholder 15">
            <a:extLst>
              <a:ext uri="{FF2B5EF4-FFF2-40B4-BE49-F238E27FC236}">
                <a16:creationId xmlns:a16="http://schemas.microsoft.com/office/drawing/2014/main" id="{7746417C-B9E9-48F3-42E0-5744312D74A8}"/>
              </a:ext>
            </a:extLst>
          </p:cNvPr>
          <p:cNvSpPr>
            <a:spLocks noGrp="1"/>
          </p:cNvSpPr>
          <p:nvPr>
            <p:ph type="pic" sz="quarter" idx="42" hasCustomPrompt="1"/>
          </p:nvPr>
        </p:nvSpPr>
        <p:spPr>
          <a:xfrm>
            <a:off x="336487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4" name="Text Placeholder 12">
            <a:extLst>
              <a:ext uri="{FF2B5EF4-FFF2-40B4-BE49-F238E27FC236}">
                <a16:creationId xmlns:a16="http://schemas.microsoft.com/office/drawing/2014/main" id="{96D08A06-8C27-0CD8-A99D-675CBC220935}"/>
              </a:ext>
            </a:extLst>
          </p:cNvPr>
          <p:cNvSpPr>
            <a:spLocks noGrp="1"/>
          </p:cNvSpPr>
          <p:nvPr>
            <p:ph type="body" sz="quarter" idx="44"/>
          </p:nvPr>
        </p:nvSpPr>
        <p:spPr>
          <a:xfrm>
            <a:off x="336487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3EF370F-6715-1A9E-C31B-5779E12E9D9F}"/>
              </a:ext>
            </a:extLst>
          </p:cNvPr>
          <p:cNvSpPr>
            <a:spLocks noGrp="1"/>
          </p:cNvSpPr>
          <p:nvPr>
            <p:ph type="body" sz="quarter" idx="45" hasCustomPrompt="1"/>
          </p:nvPr>
        </p:nvSpPr>
        <p:spPr>
          <a:xfrm>
            <a:off x="336487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9" name="Picture Placeholder 15">
            <a:extLst>
              <a:ext uri="{FF2B5EF4-FFF2-40B4-BE49-F238E27FC236}">
                <a16:creationId xmlns:a16="http://schemas.microsoft.com/office/drawing/2014/main" id="{71F103AF-A0DA-F7D1-DABC-38F8B9946D24}"/>
              </a:ext>
            </a:extLst>
          </p:cNvPr>
          <p:cNvSpPr>
            <a:spLocks noGrp="1"/>
          </p:cNvSpPr>
          <p:nvPr>
            <p:ph type="pic" sz="quarter" idx="51" hasCustomPrompt="1"/>
          </p:nvPr>
        </p:nvSpPr>
        <p:spPr>
          <a:xfrm>
            <a:off x="550864"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0" name="Text Placeholder 12">
            <a:extLst>
              <a:ext uri="{FF2B5EF4-FFF2-40B4-BE49-F238E27FC236}">
                <a16:creationId xmlns:a16="http://schemas.microsoft.com/office/drawing/2014/main" id="{EC073910-0BCB-B148-CD87-2DBDC042DB9A}"/>
              </a:ext>
            </a:extLst>
          </p:cNvPr>
          <p:cNvSpPr>
            <a:spLocks noGrp="1"/>
          </p:cNvSpPr>
          <p:nvPr>
            <p:ph type="body" sz="quarter" idx="52"/>
          </p:nvPr>
        </p:nvSpPr>
        <p:spPr>
          <a:xfrm>
            <a:off x="550864"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1" name="Text Placeholder 12">
            <a:extLst>
              <a:ext uri="{FF2B5EF4-FFF2-40B4-BE49-F238E27FC236}">
                <a16:creationId xmlns:a16="http://schemas.microsoft.com/office/drawing/2014/main" id="{0391096C-37E5-CDDB-7C98-44F987E40A99}"/>
              </a:ext>
            </a:extLst>
          </p:cNvPr>
          <p:cNvSpPr>
            <a:spLocks noGrp="1"/>
          </p:cNvSpPr>
          <p:nvPr>
            <p:ph type="body" sz="quarter" idx="53" hasCustomPrompt="1"/>
          </p:nvPr>
        </p:nvSpPr>
        <p:spPr>
          <a:xfrm>
            <a:off x="550864"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2" name="Picture Placeholder 15">
            <a:extLst>
              <a:ext uri="{FF2B5EF4-FFF2-40B4-BE49-F238E27FC236}">
                <a16:creationId xmlns:a16="http://schemas.microsoft.com/office/drawing/2014/main" id="{50DC4E27-BAC2-8A31-B3AA-FF1575614782}"/>
              </a:ext>
            </a:extLst>
          </p:cNvPr>
          <p:cNvSpPr>
            <a:spLocks noGrp="1"/>
          </p:cNvSpPr>
          <p:nvPr>
            <p:ph type="pic" sz="quarter" idx="54" hasCustomPrompt="1"/>
          </p:nvPr>
        </p:nvSpPr>
        <p:spPr>
          <a:xfrm>
            <a:off x="336487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33" name="Text Placeholder 12">
            <a:extLst>
              <a:ext uri="{FF2B5EF4-FFF2-40B4-BE49-F238E27FC236}">
                <a16:creationId xmlns:a16="http://schemas.microsoft.com/office/drawing/2014/main" id="{85D065AE-0699-C9BB-D780-27C3BE3A2A95}"/>
              </a:ext>
            </a:extLst>
          </p:cNvPr>
          <p:cNvSpPr>
            <a:spLocks noGrp="1"/>
          </p:cNvSpPr>
          <p:nvPr>
            <p:ph type="body" sz="quarter" idx="55"/>
          </p:nvPr>
        </p:nvSpPr>
        <p:spPr>
          <a:xfrm>
            <a:off x="336487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4" name="Text Placeholder 12">
            <a:extLst>
              <a:ext uri="{FF2B5EF4-FFF2-40B4-BE49-F238E27FC236}">
                <a16:creationId xmlns:a16="http://schemas.microsoft.com/office/drawing/2014/main" id="{8FE81E16-B801-AA2F-8DCD-8F5AA1B99902}"/>
              </a:ext>
            </a:extLst>
          </p:cNvPr>
          <p:cNvSpPr>
            <a:spLocks noGrp="1"/>
          </p:cNvSpPr>
          <p:nvPr>
            <p:ph type="body" sz="quarter" idx="56" hasCustomPrompt="1"/>
          </p:nvPr>
        </p:nvSpPr>
        <p:spPr>
          <a:xfrm>
            <a:off x="336487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5" name="Text Placeholder 12">
            <a:extLst>
              <a:ext uri="{FF2B5EF4-FFF2-40B4-BE49-F238E27FC236}">
                <a16:creationId xmlns:a16="http://schemas.microsoft.com/office/drawing/2014/main" id="{3FF6A6E9-42A0-7692-13DB-315CDEBD3F10}"/>
              </a:ext>
            </a:extLst>
          </p:cNvPr>
          <p:cNvSpPr>
            <a:spLocks noGrp="1"/>
          </p:cNvSpPr>
          <p:nvPr>
            <p:ph type="body" sz="quarter" idx="59" hasCustomPrompt="1"/>
          </p:nvPr>
        </p:nvSpPr>
        <p:spPr>
          <a:xfrm>
            <a:off x="550864"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6" name="Text Placeholder 12">
            <a:extLst>
              <a:ext uri="{FF2B5EF4-FFF2-40B4-BE49-F238E27FC236}">
                <a16:creationId xmlns:a16="http://schemas.microsoft.com/office/drawing/2014/main" id="{897F3CE4-6AD8-DC5D-E112-48390B92FD4D}"/>
              </a:ext>
            </a:extLst>
          </p:cNvPr>
          <p:cNvSpPr>
            <a:spLocks noGrp="1"/>
          </p:cNvSpPr>
          <p:nvPr>
            <p:ph type="body" sz="quarter" idx="60" hasCustomPrompt="1"/>
          </p:nvPr>
        </p:nvSpPr>
        <p:spPr>
          <a:xfrm>
            <a:off x="336487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39" name="Text Placeholder 12">
            <a:extLst>
              <a:ext uri="{FF2B5EF4-FFF2-40B4-BE49-F238E27FC236}">
                <a16:creationId xmlns:a16="http://schemas.microsoft.com/office/drawing/2014/main" id="{3D6EC732-A113-2052-5F3D-C31549DD1CE1}"/>
              </a:ext>
            </a:extLst>
          </p:cNvPr>
          <p:cNvSpPr>
            <a:spLocks noGrp="1"/>
          </p:cNvSpPr>
          <p:nvPr>
            <p:ph type="body" sz="quarter" idx="63" hasCustomPrompt="1"/>
          </p:nvPr>
        </p:nvSpPr>
        <p:spPr>
          <a:xfrm>
            <a:off x="550864"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0" name="Text Placeholder 12">
            <a:extLst>
              <a:ext uri="{FF2B5EF4-FFF2-40B4-BE49-F238E27FC236}">
                <a16:creationId xmlns:a16="http://schemas.microsoft.com/office/drawing/2014/main" id="{88CC3C61-40E8-CFD0-A1E0-F7B743AC005B}"/>
              </a:ext>
            </a:extLst>
          </p:cNvPr>
          <p:cNvSpPr>
            <a:spLocks noGrp="1"/>
          </p:cNvSpPr>
          <p:nvPr>
            <p:ph type="body" sz="quarter" idx="64" hasCustomPrompt="1"/>
          </p:nvPr>
        </p:nvSpPr>
        <p:spPr>
          <a:xfrm>
            <a:off x="336487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5" name="Picture Placeholder 15">
            <a:extLst>
              <a:ext uri="{FF2B5EF4-FFF2-40B4-BE49-F238E27FC236}">
                <a16:creationId xmlns:a16="http://schemas.microsoft.com/office/drawing/2014/main" id="{579F519F-FF28-E95A-90FD-8ED476302122}"/>
              </a:ext>
            </a:extLst>
          </p:cNvPr>
          <p:cNvSpPr>
            <a:spLocks noGrp="1"/>
          </p:cNvSpPr>
          <p:nvPr>
            <p:ph type="pic" sz="quarter" idx="65" hasCustomPrompt="1"/>
          </p:nvPr>
        </p:nvSpPr>
        <p:spPr>
          <a:xfrm>
            <a:off x="6167438"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8" name="Text Placeholder 12">
            <a:extLst>
              <a:ext uri="{FF2B5EF4-FFF2-40B4-BE49-F238E27FC236}">
                <a16:creationId xmlns:a16="http://schemas.microsoft.com/office/drawing/2014/main" id="{EDFB7F73-2CDA-0D25-68DB-68D4065E2EFB}"/>
              </a:ext>
            </a:extLst>
          </p:cNvPr>
          <p:cNvSpPr>
            <a:spLocks noGrp="1"/>
          </p:cNvSpPr>
          <p:nvPr>
            <p:ph type="body" sz="quarter" idx="66"/>
          </p:nvPr>
        </p:nvSpPr>
        <p:spPr>
          <a:xfrm>
            <a:off x="6167438"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EEB2D7DD-C214-FC47-587A-A689E46CA317}"/>
              </a:ext>
            </a:extLst>
          </p:cNvPr>
          <p:cNvSpPr>
            <a:spLocks noGrp="1"/>
          </p:cNvSpPr>
          <p:nvPr>
            <p:ph type="body" sz="quarter" idx="67" hasCustomPrompt="1"/>
          </p:nvPr>
        </p:nvSpPr>
        <p:spPr>
          <a:xfrm>
            <a:off x="6167438"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2" name="Picture Placeholder 15">
            <a:extLst>
              <a:ext uri="{FF2B5EF4-FFF2-40B4-BE49-F238E27FC236}">
                <a16:creationId xmlns:a16="http://schemas.microsoft.com/office/drawing/2014/main" id="{A16AFFED-3679-EC6F-38E4-BB141B3DC4A0}"/>
              </a:ext>
            </a:extLst>
          </p:cNvPr>
          <p:cNvSpPr>
            <a:spLocks noGrp="1"/>
          </p:cNvSpPr>
          <p:nvPr>
            <p:ph type="pic" sz="quarter" idx="68" hasCustomPrompt="1"/>
          </p:nvPr>
        </p:nvSpPr>
        <p:spPr>
          <a:xfrm>
            <a:off x="8982703" y="1270001"/>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17" name="Text Placeholder 12">
            <a:extLst>
              <a:ext uri="{FF2B5EF4-FFF2-40B4-BE49-F238E27FC236}">
                <a16:creationId xmlns:a16="http://schemas.microsoft.com/office/drawing/2014/main" id="{61B398F2-4320-2608-763F-19F2EAD3DF7D}"/>
              </a:ext>
            </a:extLst>
          </p:cNvPr>
          <p:cNvSpPr>
            <a:spLocks noGrp="1"/>
          </p:cNvSpPr>
          <p:nvPr>
            <p:ph type="body" sz="quarter" idx="69"/>
          </p:nvPr>
        </p:nvSpPr>
        <p:spPr>
          <a:xfrm>
            <a:off x="898270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626B44F3-03D8-5E28-57CB-031C8BA36E3E}"/>
              </a:ext>
            </a:extLst>
          </p:cNvPr>
          <p:cNvSpPr>
            <a:spLocks noGrp="1"/>
          </p:cNvSpPr>
          <p:nvPr>
            <p:ph type="body" sz="quarter" idx="70" hasCustomPrompt="1"/>
          </p:nvPr>
        </p:nvSpPr>
        <p:spPr>
          <a:xfrm>
            <a:off x="8982703" y="2311763"/>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1" name="Picture Placeholder 15">
            <a:extLst>
              <a:ext uri="{FF2B5EF4-FFF2-40B4-BE49-F238E27FC236}">
                <a16:creationId xmlns:a16="http://schemas.microsoft.com/office/drawing/2014/main" id="{40DA321B-E9DB-5413-41F7-007CC6996CC5}"/>
              </a:ext>
            </a:extLst>
          </p:cNvPr>
          <p:cNvSpPr>
            <a:spLocks noGrp="1"/>
          </p:cNvSpPr>
          <p:nvPr>
            <p:ph type="pic" sz="quarter" idx="71" hasCustomPrompt="1"/>
          </p:nvPr>
        </p:nvSpPr>
        <p:spPr>
          <a:xfrm>
            <a:off x="6167438"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2" name="Text Placeholder 12">
            <a:extLst>
              <a:ext uri="{FF2B5EF4-FFF2-40B4-BE49-F238E27FC236}">
                <a16:creationId xmlns:a16="http://schemas.microsoft.com/office/drawing/2014/main" id="{E80292A4-F3B1-05FF-D679-13BCF59C7C94}"/>
              </a:ext>
            </a:extLst>
          </p:cNvPr>
          <p:cNvSpPr>
            <a:spLocks noGrp="1"/>
          </p:cNvSpPr>
          <p:nvPr>
            <p:ph type="body" sz="quarter" idx="72"/>
          </p:nvPr>
        </p:nvSpPr>
        <p:spPr>
          <a:xfrm>
            <a:off x="6167438"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3" name="Text Placeholder 12">
            <a:extLst>
              <a:ext uri="{FF2B5EF4-FFF2-40B4-BE49-F238E27FC236}">
                <a16:creationId xmlns:a16="http://schemas.microsoft.com/office/drawing/2014/main" id="{9AB4C234-EBBC-75A7-2F01-97E082284DFF}"/>
              </a:ext>
            </a:extLst>
          </p:cNvPr>
          <p:cNvSpPr>
            <a:spLocks noGrp="1"/>
          </p:cNvSpPr>
          <p:nvPr>
            <p:ph type="body" sz="quarter" idx="73" hasCustomPrompt="1"/>
          </p:nvPr>
        </p:nvSpPr>
        <p:spPr>
          <a:xfrm>
            <a:off x="6167438"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4" name="Picture Placeholder 15">
            <a:extLst>
              <a:ext uri="{FF2B5EF4-FFF2-40B4-BE49-F238E27FC236}">
                <a16:creationId xmlns:a16="http://schemas.microsoft.com/office/drawing/2014/main" id="{D7DCA51C-09C7-C83C-64D8-CE36012B9682}"/>
              </a:ext>
            </a:extLst>
          </p:cNvPr>
          <p:cNvSpPr>
            <a:spLocks noGrp="1"/>
          </p:cNvSpPr>
          <p:nvPr>
            <p:ph type="pic" sz="quarter" idx="74" hasCustomPrompt="1"/>
          </p:nvPr>
        </p:nvSpPr>
        <p:spPr>
          <a:xfrm>
            <a:off x="8982703" y="3790587"/>
            <a:ext cx="900000" cy="900000"/>
          </a:xfrm>
          <a:prstGeom prst="ellipse">
            <a:avLst/>
          </a:prstGeom>
          <a:solidFill>
            <a:schemeClr val="bg1">
              <a:lumMod val="95000"/>
            </a:schemeClr>
          </a:solidFill>
        </p:spPr>
        <p:txBody>
          <a:bodyPr tIns="0" anchor="ctr" anchorCtr="0"/>
          <a:lstStyle>
            <a:lvl1pPr marL="0" indent="0" algn="ctr">
              <a:buNone/>
              <a:defRPr sz="1000">
                <a:solidFill>
                  <a:schemeClr val="accent2"/>
                </a:solidFill>
                <a:latin typeface="+mn-lt"/>
              </a:defRPr>
            </a:lvl1pPr>
          </a:lstStyle>
          <a:p>
            <a:pPr lvl="0"/>
            <a:r>
              <a:rPr lang="en-GB"/>
              <a:t>insert profile pic</a:t>
            </a:r>
          </a:p>
        </p:txBody>
      </p:sp>
      <p:sp>
        <p:nvSpPr>
          <p:cNvPr id="25" name="Text Placeholder 12">
            <a:extLst>
              <a:ext uri="{FF2B5EF4-FFF2-40B4-BE49-F238E27FC236}">
                <a16:creationId xmlns:a16="http://schemas.microsoft.com/office/drawing/2014/main" id="{28E7888C-B313-A876-D19E-25E7127C1E4E}"/>
              </a:ext>
            </a:extLst>
          </p:cNvPr>
          <p:cNvSpPr>
            <a:spLocks noGrp="1"/>
          </p:cNvSpPr>
          <p:nvPr>
            <p:ph type="body" sz="quarter" idx="75"/>
          </p:nvPr>
        </p:nvSpPr>
        <p:spPr>
          <a:xfrm>
            <a:off x="898270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6" name="Text Placeholder 12">
            <a:extLst>
              <a:ext uri="{FF2B5EF4-FFF2-40B4-BE49-F238E27FC236}">
                <a16:creationId xmlns:a16="http://schemas.microsoft.com/office/drawing/2014/main" id="{A7460C6C-C808-196C-F5E0-454921820765}"/>
              </a:ext>
            </a:extLst>
          </p:cNvPr>
          <p:cNvSpPr>
            <a:spLocks noGrp="1"/>
          </p:cNvSpPr>
          <p:nvPr>
            <p:ph type="body" sz="quarter" idx="76" hasCustomPrompt="1"/>
          </p:nvPr>
        </p:nvSpPr>
        <p:spPr>
          <a:xfrm>
            <a:off x="8982703" y="4832349"/>
            <a:ext cx="2268000" cy="270168"/>
          </a:xfrm>
        </p:spPr>
        <p:txBody>
          <a:bodyPr anchor="b" anchorCtr="0"/>
          <a:lstStyle>
            <a:lvl1pPr marL="0" indent="0" algn="l">
              <a:lnSpc>
                <a:spcPct val="85000"/>
              </a:lnSpc>
              <a:buNone/>
              <a:defRPr sz="1800">
                <a:solidFill>
                  <a:schemeClr val="accent2"/>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2" name="Text Placeholder 12">
            <a:extLst>
              <a:ext uri="{FF2B5EF4-FFF2-40B4-BE49-F238E27FC236}">
                <a16:creationId xmlns:a16="http://schemas.microsoft.com/office/drawing/2014/main" id="{B770DFBB-C159-C249-725B-DC15A247A240}"/>
              </a:ext>
            </a:extLst>
          </p:cNvPr>
          <p:cNvSpPr>
            <a:spLocks noGrp="1"/>
          </p:cNvSpPr>
          <p:nvPr>
            <p:ph type="body" sz="quarter" idx="77" hasCustomPrompt="1"/>
          </p:nvPr>
        </p:nvSpPr>
        <p:spPr>
          <a:xfrm>
            <a:off x="6167438"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3" name="Text Placeholder 12">
            <a:extLst>
              <a:ext uri="{FF2B5EF4-FFF2-40B4-BE49-F238E27FC236}">
                <a16:creationId xmlns:a16="http://schemas.microsoft.com/office/drawing/2014/main" id="{10A5C412-5937-A2B1-0F24-356981AA64A4}"/>
              </a:ext>
            </a:extLst>
          </p:cNvPr>
          <p:cNvSpPr>
            <a:spLocks noGrp="1"/>
          </p:cNvSpPr>
          <p:nvPr>
            <p:ph type="body" sz="quarter" idx="78" hasCustomPrompt="1"/>
          </p:nvPr>
        </p:nvSpPr>
        <p:spPr>
          <a:xfrm>
            <a:off x="8982703" y="2642734"/>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4" name="Text Placeholder 12">
            <a:extLst>
              <a:ext uri="{FF2B5EF4-FFF2-40B4-BE49-F238E27FC236}">
                <a16:creationId xmlns:a16="http://schemas.microsoft.com/office/drawing/2014/main" id="{B47DFAEF-1925-0117-D75F-D223750DD5F5}"/>
              </a:ext>
            </a:extLst>
          </p:cNvPr>
          <p:cNvSpPr>
            <a:spLocks noGrp="1"/>
          </p:cNvSpPr>
          <p:nvPr>
            <p:ph type="body" sz="quarter" idx="79" hasCustomPrompt="1"/>
          </p:nvPr>
        </p:nvSpPr>
        <p:spPr>
          <a:xfrm>
            <a:off x="6167438"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5" name="Text Placeholder 12">
            <a:extLst>
              <a:ext uri="{FF2B5EF4-FFF2-40B4-BE49-F238E27FC236}">
                <a16:creationId xmlns:a16="http://schemas.microsoft.com/office/drawing/2014/main" id="{89BF951E-99C3-2209-D30F-3BEFE1C9319C}"/>
              </a:ext>
            </a:extLst>
          </p:cNvPr>
          <p:cNvSpPr>
            <a:spLocks noGrp="1"/>
          </p:cNvSpPr>
          <p:nvPr>
            <p:ph type="body" sz="quarter" idx="80" hasCustomPrompt="1"/>
          </p:nvPr>
        </p:nvSpPr>
        <p:spPr>
          <a:xfrm>
            <a:off x="8982703" y="5163320"/>
            <a:ext cx="2268000" cy="243704"/>
          </a:xfrm>
        </p:spPr>
        <p:txBody>
          <a:bodyPr anchor="b" anchorCtr="0"/>
          <a:lstStyle>
            <a:lvl1pPr marL="0" indent="0" algn="l">
              <a:lnSpc>
                <a:spcPct val="85000"/>
              </a:lnSpc>
              <a:buNone/>
              <a:defRPr sz="12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Tree>
    <p:extLst>
      <p:ext uri="{BB962C8B-B14F-4D97-AF65-F5344CB8AC3E}">
        <p14:creationId xmlns:p14="http://schemas.microsoft.com/office/powerpoint/2010/main" val="34263584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Pattern - 1 line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F9049-5E28-324A-C127-89A520ECE3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 y="1012"/>
            <a:ext cx="12188400" cy="6855975"/>
          </a:xfrm>
          <a:prstGeom prst="rect">
            <a:avLst/>
          </a:prstGeom>
        </p:spPr>
      </p:pic>
      <p:grpSp>
        <p:nvGrpSpPr>
          <p:cNvPr id="6" name="Graphic 13">
            <a:extLst>
              <a:ext uri="{FF2B5EF4-FFF2-40B4-BE49-F238E27FC236}">
                <a16:creationId xmlns:a16="http://schemas.microsoft.com/office/drawing/2014/main" id="{D52C985B-47D7-433E-A866-3C0AB39DE64B}"/>
              </a:ext>
            </a:extLst>
          </p:cNvPr>
          <p:cNvGrpSpPr/>
          <p:nvPr userDrawn="1"/>
        </p:nvGrpSpPr>
        <p:grpSpPr>
          <a:xfrm>
            <a:off x="5916434" y="371476"/>
            <a:ext cx="341492" cy="376238"/>
            <a:chOff x="5408631" y="362875"/>
            <a:chExt cx="214296" cy="236100"/>
          </a:xfrm>
          <a:solidFill>
            <a:schemeClr val="bg1"/>
          </a:solidFill>
        </p:grpSpPr>
        <p:sp>
          <p:nvSpPr>
            <p:cNvPr id="8" name="Freeform: Shape 7">
              <a:extLst>
                <a:ext uri="{FF2B5EF4-FFF2-40B4-BE49-F238E27FC236}">
                  <a16:creationId xmlns:a16="http://schemas.microsoft.com/office/drawing/2014/main" id="{051CBA01-B8A4-42BF-DAC5-B83D0B7BC3FC}"/>
                </a:ext>
              </a:extLst>
            </p:cNvPr>
            <p:cNvSpPr/>
            <p:nvPr/>
          </p:nvSpPr>
          <p:spPr>
            <a:xfrm>
              <a:off x="5474917" y="481070"/>
              <a:ext cx="147913" cy="117904"/>
            </a:xfrm>
            <a:custGeom>
              <a:avLst/>
              <a:gdLst>
                <a:gd name="connsiteX0" fmla="*/ 97 w 147913"/>
                <a:gd name="connsiteY0" fmla="*/ 68342 h 117904"/>
                <a:gd name="connsiteX1" fmla="*/ 14036 w 147913"/>
                <a:gd name="connsiteY1" fmla="*/ 98061 h 117904"/>
                <a:gd name="connsiteX2" fmla="*/ 27105 w 147913"/>
                <a:gd name="connsiteY2" fmla="*/ 117905 h 117904"/>
                <a:gd name="connsiteX3" fmla="*/ 147913 w 147913"/>
                <a:gd name="connsiteY3" fmla="*/ 48111 h 117904"/>
                <a:gd name="connsiteX4" fmla="*/ 118486 w 147913"/>
                <a:gd name="connsiteY4" fmla="*/ 0 h 117904"/>
                <a:gd name="connsiteX5" fmla="*/ 0 w 147913"/>
                <a:gd name="connsiteY5" fmla="*/ 68536 h 11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13" h="117904">
                  <a:moveTo>
                    <a:pt x="97" y="68342"/>
                  </a:moveTo>
                  <a:cubicBezTo>
                    <a:pt x="3872" y="78506"/>
                    <a:pt x="8519" y="88477"/>
                    <a:pt x="14036" y="98061"/>
                  </a:cubicBezTo>
                  <a:cubicBezTo>
                    <a:pt x="18005" y="104933"/>
                    <a:pt x="22361" y="111516"/>
                    <a:pt x="27105" y="117905"/>
                  </a:cubicBezTo>
                  <a:cubicBezTo>
                    <a:pt x="73957" y="106386"/>
                    <a:pt x="115582" y="81798"/>
                    <a:pt x="147913" y="48111"/>
                  </a:cubicBezTo>
                  <a:cubicBezTo>
                    <a:pt x="140460" y="30589"/>
                    <a:pt x="130489" y="14424"/>
                    <a:pt x="118486" y="0"/>
                  </a:cubicBezTo>
                  <a:cubicBezTo>
                    <a:pt x="89058" y="35526"/>
                    <a:pt x="47336" y="60501"/>
                    <a:pt x="0" y="68536"/>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1BCC4840-F4D7-AF6C-7D05-F1207870A5E0}"/>
                </a:ext>
              </a:extLst>
            </p:cNvPr>
            <p:cNvSpPr/>
            <p:nvPr/>
          </p:nvSpPr>
          <p:spPr>
            <a:xfrm>
              <a:off x="5475014" y="362875"/>
              <a:ext cx="147913" cy="118098"/>
            </a:xfrm>
            <a:custGeom>
              <a:avLst/>
              <a:gdLst>
                <a:gd name="connsiteX0" fmla="*/ 27008 w 147913"/>
                <a:gd name="connsiteY0" fmla="*/ 0 h 118098"/>
                <a:gd name="connsiteX1" fmla="*/ 0 w 147913"/>
                <a:gd name="connsiteY1" fmla="*/ 49563 h 118098"/>
                <a:gd name="connsiteX2" fmla="*/ 118486 w 147913"/>
                <a:gd name="connsiteY2" fmla="*/ 118099 h 118098"/>
                <a:gd name="connsiteX3" fmla="*/ 147913 w 147913"/>
                <a:gd name="connsiteY3" fmla="*/ 69988 h 118098"/>
                <a:gd name="connsiteX4" fmla="*/ 27008 w 147913"/>
                <a:gd name="connsiteY4" fmla="*/ 0 h 11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913" h="118098">
                  <a:moveTo>
                    <a:pt x="27008" y="0"/>
                  </a:moveTo>
                  <a:cubicBezTo>
                    <a:pt x="15779" y="15004"/>
                    <a:pt x="6679" y="31654"/>
                    <a:pt x="0" y="49563"/>
                  </a:cubicBezTo>
                  <a:cubicBezTo>
                    <a:pt x="47433" y="57597"/>
                    <a:pt x="89058" y="82572"/>
                    <a:pt x="118486" y="118099"/>
                  </a:cubicBezTo>
                  <a:cubicBezTo>
                    <a:pt x="130489" y="103675"/>
                    <a:pt x="140460" y="87412"/>
                    <a:pt x="147913" y="69988"/>
                  </a:cubicBezTo>
                  <a:cubicBezTo>
                    <a:pt x="115582" y="36107"/>
                    <a:pt x="73860" y="11519"/>
                    <a:pt x="27008" y="0"/>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81B78DFB-CACF-8A93-6F50-4B852508181E}"/>
                </a:ext>
              </a:extLst>
            </p:cNvPr>
            <p:cNvSpPr/>
            <p:nvPr/>
          </p:nvSpPr>
          <p:spPr>
            <a:xfrm>
              <a:off x="5408631" y="409727"/>
              <a:ext cx="66383" cy="142589"/>
            </a:xfrm>
            <a:custGeom>
              <a:avLst/>
              <a:gdLst>
                <a:gd name="connsiteX0" fmla="*/ 66383 w 66383"/>
                <a:gd name="connsiteY0" fmla="*/ 139685 h 142589"/>
                <a:gd name="connsiteX1" fmla="*/ 60769 w 66383"/>
                <a:gd name="connsiteY1" fmla="*/ 20328 h 142589"/>
                <a:gd name="connsiteX2" fmla="*/ 66383 w 66383"/>
                <a:gd name="connsiteY2" fmla="*/ 2710 h 142589"/>
                <a:gd name="connsiteX3" fmla="*/ 33567 w 66383"/>
                <a:gd name="connsiteY3" fmla="*/ 0 h 142589"/>
                <a:gd name="connsiteX4" fmla="*/ 9948 w 66383"/>
                <a:gd name="connsiteY4" fmla="*/ 1452 h 142589"/>
                <a:gd name="connsiteX5" fmla="*/ 9948 w 66383"/>
                <a:gd name="connsiteY5" fmla="*/ 141137 h 142589"/>
                <a:gd name="connsiteX6" fmla="*/ 33567 w 66383"/>
                <a:gd name="connsiteY6" fmla="*/ 142589 h 142589"/>
                <a:gd name="connsiteX7" fmla="*/ 66383 w 66383"/>
                <a:gd name="connsiteY7" fmla="*/ 139879 h 14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83" h="142589">
                  <a:moveTo>
                    <a:pt x="66383" y="139685"/>
                  </a:moveTo>
                  <a:cubicBezTo>
                    <a:pt x="52153" y="101642"/>
                    <a:pt x="50024" y="60308"/>
                    <a:pt x="60769" y="20328"/>
                  </a:cubicBezTo>
                  <a:cubicBezTo>
                    <a:pt x="62414" y="14327"/>
                    <a:pt x="64254" y="8422"/>
                    <a:pt x="66383" y="2710"/>
                  </a:cubicBezTo>
                  <a:cubicBezTo>
                    <a:pt x="55735" y="871"/>
                    <a:pt x="44796" y="0"/>
                    <a:pt x="33567" y="0"/>
                  </a:cubicBezTo>
                  <a:cubicBezTo>
                    <a:pt x="25630" y="0"/>
                    <a:pt x="17692" y="484"/>
                    <a:pt x="9948" y="1452"/>
                  </a:cubicBezTo>
                  <a:cubicBezTo>
                    <a:pt x="-3024" y="46368"/>
                    <a:pt x="-3605" y="94769"/>
                    <a:pt x="9948" y="141137"/>
                  </a:cubicBezTo>
                  <a:cubicBezTo>
                    <a:pt x="17692" y="142105"/>
                    <a:pt x="25533" y="142589"/>
                    <a:pt x="33567" y="142589"/>
                  </a:cubicBezTo>
                  <a:cubicBezTo>
                    <a:pt x="44700" y="142589"/>
                    <a:pt x="55735" y="141621"/>
                    <a:pt x="66383" y="139879"/>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Text Placeholder 9">
            <a:extLst>
              <a:ext uri="{FF2B5EF4-FFF2-40B4-BE49-F238E27FC236}">
                <a16:creationId xmlns:a16="http://schemas.microsoft.com/office/drawing/2014/main" id="{4C6DD403-4D79-7A8B-97FC-8A42C027024F}"/>
              </a:ext>
            </a:extLst>
          </p:cNvPr>
          <p:cNvSpPr>
            <a:spLocks noGrp="1"/>
          </p:cNvSpPr>
          <p:nvPr>
            <p:ph type="body" sz="quarter" idx="16" hasCustomPrompt="1"/>
          </p:nvPr>
        </p:nvSpPr>
        <p:spPr>
          <a:xfrm>
            <a:off x="1487487" y="2500384"/>
            <a:ext cx="9217026" cy="1030130"/>
          </a:xfrm>
          <a:prstGeom prst="rect">
            <a:avLst/>
          </a:prstGeom>
        </p:spPr>
        <p:txBody>
          <a:bodyPr lIns="0" tIns="36000" rIns="0" bIns="0" anchor="b" anchorCtr="0">
            <a:noAutofit/>
          </a:bodyPr>
          <a:lstStyle>
            <a:lvl1pPr marL="0" indent="0" algn="ctr">
              <a:lnSpc>
                <a:spcPct val="85000"/>
              </a:lnSpc>
              <a:spcBef>
                <a:spcPts val="0"/>
              </a:spcBef>
              <a:buNone/>
              <a:defRPr sz="3600">
                <a:solidFill>
                  <a:schemeClr val="accent1"/>
                </a:solidFill>
                <a:latin typeface="+mj-lt"/>
              </a:defRPr>
            </a:lvl1pPr>
          </a:lstStyle>
          <a:p>
            <a:pPr lvl="0"/>
            <a:r>
              <a:rPr lang="en-US"/>
              <a:t>Section break one line</a:t>
            </a:r>
          </a:p>
        </p:txBody>
      </p:sp>
      <p:sp>
        <p:nvSpPr>
          <p:cNvPr id="39" name="Text Placeholder 9">
            <a:extLst>
              <a:ext uri="{FF2B5EF4-FFF2-40B4-BE49-F238E27FC236}">
                <a16:creationId xmlns:a16="http://schemas.microsoft.com/office/drawing/2014/main" id="{41718DC0-4644-0FF2-8F4A-B6CD6022D8C8}"/>
              </a:ext>
            </a:extLst>
          </p:cNvPr>
          <p:cNvSpPr>
            <a:spLocks noGrp="1"/>
          </p:cNvSpPr>
          <p:nvPr>
            <p:ph type="body" sz="quarter" idx="17" hasCustomPrompt="1"/>
          </p:nvPr>
        </p:nvSpPr>
        <p:spPr>
          <a:xfrm>
            <a:off x="1487487" y="3659011"/>
            <a:ext cx="9213525" cy="281703"/>
          </a:xfrm>
          <a:prstGeom prst="rect">
            <a:avLst/>
          </a:prstGeom>
        </p:spPr>
        <p:txBody>
          <a:bodyPr lIns="0" tIns="36000" rIns="0" bIns="0" anchor="t" anchorCtr="0">
            <a:noAutofit/>
          </a:bodyPr>
          <a:lstStyle>
            <a:lvl1pPr marL="0" indent="0" algn="ctr">
              <a:lnSpc>
                <a:spcPct val="85000"/>
              </a:lnSpc>
              <a:buNone/>
              <a:defRPr sz="2000">
                <a:solidFill>
                  <a:schemeClr val="bg1"/>
                </a:solidFill>
                <a:latin typeface="+mn-lt"/>
              </a:defRPr>
            </a:lvl1pPr>
          </a:lstStyle>
          <a:p>
            <a:pPr lvl="0"/>
            <a:r>
              <a:rPr lang="en-US"/>
              <a:t>Section break subtitle here</a:t>
            </a:r>
          </a:p>
        </p:txBody>
      </p:sp>
    </p:spTree>
    <p:extLst>
      <p:ext uri="{BB962C8B-B14F-4D97-AF65-F5344CB8AC3E}">
        <p14:creationId xmlns:p14="http://schemas.microsoft.com/office/powerpoint/2010/main" val="3179987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Text / Chart">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A387C50-765E-22DF-416A-179E0271B93F}"/>
              </a:ext>
            </a:extLst>
          </p:cNvPr>
          <p:cNvSpPr/>
          <p:nvPr userDrawn="1"/>
        </p:nvSpPr>
        <p:spPr>
          <a:xfrm>
            <a:off x="0" y="0"/>
            <a:ext cx="4151312"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3211511" cy="251885"/>
          </a:xfrm>
        </p:spPr>
        <p:txBody>
          <a:bodyPr/>
          <a:lstStyle>
            <a:lvl1pPr>
              <a:defRPr>
                <a:solidFill>
                  <a:schemeClr val="accent1"/>
                </a:solidFill>
              </a:defRPr>
            </a:lvl1pPr>
          </a:lstStyle>
          <a:p>
            <a:r>
              <a:rPr lang="en-US"/>
              <a:t>Header avenir demi </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3211511" cy="336973"/>
          </a:xfrm>
          <a:prstGeom prst="rect">
            <a:avLst/>
          </a:prstGeom>
        </p:spPr>
        <p:txBody>
          <a:bodyPr lIns="0" tIns="0" rIns="0" bIns="0">
            <a:noAutofit/>
          </a:bodyPr>
          <a:lstStyle>
            <a:lvl1pPr marL="0" indent="0">
              <a:lnSpc>
                <a:spcPct val="90000"/>
              </a:lnSpc>
              <a:buNone/>
              <a:defRPr sz="2000">
                <a:solidFill>
                  <a:schemeClr val="tx1"/>
                </a:solidFill>
              </a:defRPr>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5" y="1808163"/>
            <a:ext cx="3211510" cy="4321175"/>
          </a:xfrm>
        </p:spPr>
        <p:txBody>
          <a:bodyPr/>
          <a:lstStyle>
            <a:lvl1pPr>
              <a:defRPr>
                <a:solidFill>
                  <a:schemeClr val="tx1"/>
                </a:solidFill>
              </a:defRPr>
            </a:lvl1pPr>
            <a:lvl2pPr>
              <a:defRPr>
                <a:solidFill>
                  <a:schemeClr val="tx1"/>
                </a:solidFill>
              </a:defRPr>
            </a:lvl2pPr>
            <a:lvl3pP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11" name="Chart Placeholder 10">
            <a:extLst>
              <a:ext uri="{FF2B5EF4-FFF2-40B4-BE49-F238E27FC236}">
                <a16:creationId xmlns:a16="http://schemas.microsoft.com/office/drawing/2014/main" id="{5951116A-40CB-A706-A107-C78DBAFDEBFE}"/>
              </a:ext>
            </a:extLst>
          </p:cNvPr>
          <p:cNvSpPr>
            <a:spLocks noGrp="1"/>
          </p:cNvSpPr>
          <p:nvPr>
            <p:ph type="chart" sz="quarter" idx="15" hasCustomPrompt="1"/>
          </p:nvPr>
        </p:nvSpPr>
        <p:spPr>
          <a:xfrm>
            <a:off x="4690801" y="1089025"/>
            <a:ext cx="6950338" cy="3060700"/>
          </a:xfrm>
        </p:spPr>
        <p:txBody>
          <a:bodyPr tIns="108000"/>
          <a:lstStyle>
            <a:lvl1pPr marL="0" indent="0" algn="ctr">
              <a:buNone/>
              <a:defRPr sz="1000">
                <a:solidFill>
                  <a:schemeClr val="accent1"/>
                </a:solidFill>
              </a:defRPr>
            </a:lvl1pPr>
          </a:lstStyle>
          <a:p>
            <a:pPr marL="0" marR="0" lvl="0" indent="0" algn="ctr"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a:t>Click </a:t>
            </a:r>
            <a:r>
              <a:rPr lang="en-US" noProof="0"/>
              <a:t>center</a:t>
            </a:r>
            <a:r>
              <a:rPr lang="en-US"/>
              <a:t> icon to insert image </a:t>
            </a:r>
            <a:r>
              <a:rPr lang="en-GB"/>
              <a:t>graph or chart</a:t>
            </a:r>
          </a:p>
        </p:txBody>
      </p:sp>
      <p:sp>
        <p:nvSpPr>
          <p:cNvPr id="12" name="Text Placeholder 9">
            <a:extLst>
              <a:ext uri="{FF2B5EF4-FFF2-40B4-BE49-F238E27FC236}">
                <a16:creationId xmlns:a16="http://schemas.microsoft.com/office/drawing/2014/main" id="{A84DA8BB-5F30-09B1-E985-2D8FA21B48EE}"/>
              </a:ext>
            </a:extLst>
          </p:cNvPr>
          <p:cNvSpPr>
            <a:spLocks noGrp="1"/>
          </p:cNvSpPr>
          <p:nvPr>
            <p:ph type="body" sz="quarter" idx="16" hasCustomPrompt="1"/>
          </p:nvPr>
        </p:nvSpPr>
        <p:spPr>
          <a:xfrm>
            <a:off x="4690801" y="368828"/>
            <a:ext cx="6950334" cy="359835"/>
          </a:xfrm>
          <a:prstGeom prst="rect">
            <a:avLst/>
          </a:prstGeom>
        </p:spPr>
        <p:txBody>
          <a:bodyPr lIns="0" tIns="0" rIns="0" bIns="0" anchor="t" anchorCtr="0">
            <a:noAutofit/>
          </a:bodyPr>
          <a:lstStyle>
            <a:lvl1pPr marL="0" indent="0" algn="l">
              <a:buNone/>
              <a:defRPr sz="1400">
                <a:solidFill>
                  <a:schemeClr val="tx1"/>
                </a:solidFill>
                <a:latin typeface="+mn-lt"/>
              </a:defRPr>
            </a:lvl1pPr>
          </a:lstStyle>
          <a:p>
            <a:pPr lvl="0"/>
            <a:r>
              <a:rPr lang="en-US"/>
              <a:t>Avenir Demi 14pt lorem ipsum dolor sit </a:t>
            </a:r>
            <a:r>
              <a:rPr lang="en-US" err="1"/>
              <a:t>amet</a:t>
            </a:r>
            <a:endParaRPr lang="en-US"/>
          </a:p>
        </p:txBody>
      </p:sp>
      <p:sp>
        <p:nvSpPr>
          <p:cNvPr id="14" name="Text Placeholder 9">
            <a:extLst>
              <a:ext uri="{FF2B5EF4-FFF2-40B4-BE49-F238E27FC236}">
                <a16:creationId xmlns:a16="http://schemas.microsoft.com/office/drawing/2014/main" id="{EF72A8DE-339E-2B3D-4C89-58C8CE53CF5D}"/>
              </a:ext>
            </a:extLst>
          </p:cNvPr>
          <p:cNvSpPr>
            <a:spLocks noGrp="1"/>
          </p:cNvSpPr>
          <p:nvPr>
            <p:ph type="body" sz="quarter" idx="17" hasCustomPrompt="1"/>
          </p:nvPr>
        </p:nvSpPr>
        <p:spPr>
          <a:xfrm>
            <a:off x="5232400" y="4513789"/>
            <a:ext cx="1871664" cy="359835"/>
          </a:xfrm>
          <a:prstGeom prst="rect">
            <a:avLst/>
          </a:prstGeom>
        </p:spPr>
        <p:txBody>
          <a:bodyPr lIns="0" tIns="0" rIns="0" bIns="0" anchor="t" anchorCtr="0">
            <a:noAutofit/>
          </a:bodyPr>
          <a:lstStyle>
            <a:lvl1pPr marL="0" indent="0" algn="l">
              <a:buNone/>
              <a:defRPr sz="1200">
                <a:solidFill>
                  <a:schemeClr val="tx1"/>
                </a:solidFill>
                <a:latin typeface="+mn-lt"/>
              </a:defRPr>
            </a:lvl1pPr>
          </a:lstStyle>
          <a:p>
            <a:pPr lvl="0"/>
            <a:r>
              <a:rPr lang="en-US"/>
              <a:t>Avenir Demi 12pt lorem ipsum dolor sit </a:t>
            </a:r>
            <a:r>
              <a:rPr lang="en-US" err="1"/>
              <a:t>amet</a:t>
            </a:r>
            <a:endParaRPr lang="en-US"/>
          </a:p>
        </p:txBody>
      </p:sp>
      <p:sp>
        <p:nvSpPr>
          <p:cNvPr id="15" name="Text Placeholder 9">
            <a:extLst>
              <a:ext uri="{FF2B5EF4-FFF2-40B4-BE49-F238E27FC236}">
                <a16:creationId xmlns:a16="http://schemas.microsoft.com/office/drawing/2014/main" id="{2BFDD91C-6446-AD48-CAEB-841DC1DC22EA}"/>
              </a:ext>
            </a:extLst>
          </p:cNvPr>
          <p:cNvSpPr>
            <a:spLocks noGrp="1"/>
          </p:cNvSpPr>
          <p:nvPr>
            <p:ph type="body" sz="quarter" idx="18" hasCustomPrompt="1"/>
          </p:nvPr>
        </p:nvSpPr>
        <p:spPr>
          <a:xfrm>
            <a:off x="8977311" y="4513789"/>
            <a:ext cx="1871664" cy="359835"/>
          </a:xfrm>
          <a:prstGeom prst="rect">
            <a:avLst/>
          </a:prstGeom>
        </p:spPr>
        <p:txBody>
          <a:bodyPr lIns="0" tIns="0" rIns="0" bIns="0" anchor="t" anchorCtr="0">
            <a:noAutofit/>
          </a:bodyPr>
          <a:lstStyle>
            <a:lvl1pPr marL="0" indent="0" algn="l">
              <a:buNone/>
              <a:defRPr sz="1200">
                <a:solidFill>
                  <a:schemeClr val="tx1"/>
                </a:solidFill>
                <a:latin typeface="+mn-lt"/>
              </a:defRPr>
            </a:lvl1pPr>
          </a:lstStyle>
          <a:p>
            <a:pPr lvl="0"/>
            <a:r>
              <a:rPr lang="en-US"/>
              <a:t>Avenir Demi 12pt lorem ipsum dolor sit </a:t>
            </a:r>
            <a:r>
              <a:rPr lang="en-US" err="1"/>
              <a:t>amet</a:t>
            </a:r>
            <a:endParaRPr lang="en-US"/>
          </a:p>
        </p:txBody>
      </p:sp>
      <p:sp>
        <p:nvSpPr>
          <p:cNvPr id="16" name="Text Placeholder 9">
            <a:extLst>
              <a:ext uri="{FF2B5EF4-FFF2-40B4-BE49-F238E27FC236}">
                <a16:creationId xmlns:a16="http://schemas.microsoft.com/office/drawing/2014/main" id="{AD20601E-40F2-1DF1-38B7-5101DBF33201}"/>
              </a:ext>
            </a:extLst>
          </p:cNvPr>
          <p:cNvSpPr>
            <a:spLocks noGrp="1"/>
          </p:cNvSpPr>
          <p:nvPr>
            <p:ph type="body" sz="quarter" idx="19" hasCustomPrompt="1"/>
          </p:nvPr>
        </p:nvSpPr>
        <p:spPr>
          <a:xfrm>
            <a:off x="5232400" y="5053539"/>
            <a:ext cx="1871664" cy="359835"/>
          </a:xfrm>
          <a:prstGeom prst="rect">
            <a:avLst/>
          </a:prstGeom>
        </p:spPr>
        <p:txBody>
          <a:bodyPr lIns="0" tIns="0" rIns="0" bIns="0" anchor="t" anchorCtr="0">
            <a:noAutofit/>
          </a:bodyPr>
          <a:lstStyle>
            <a:lvl1pPr marL="0" indent="0" algn="l">
              <a:buNone/>
              <a:defRPr sz="1200">
                <a:solidFill>
                  <a:schemeClr val="tx1"/>
                </a:solidFill>
                <a:latin typeface="+mn-lt"/>
              </a:defRPr>
            </a:lvl1pPr>
          </a:lstStyle>
          <a:p>
            <a:pPr lvl="0"/>
            <a:r>
              <a:rPr lang="en-US"/>
              <a:t>Avenir Demi 12pt lorem ipsum dolor sit </a:t>
            </a:r>
            <a:r>
              <a:rPr lang="en-US" err="1"/>
              <a:t>amet</a:t>
            </a:r>
            <a:endParaRPr lang="en-US"/>
          </a:p>
        </p:txBody>
      </p:sp>
      <p:sp>
        <p:nvSpPr>
          <p:cNvPr id="17" name="Text Placeholder 9">
            <a:extLst>
              <a:ext uri="{FF2B5EF4-FFF2-40B4-BE49-F238E27FC236}">
                <a16:creationId xmlns:a16="http://schemas.microsoft.com/office/drawing/2014/main" id="{82C29969-1AD3-6659-3B8D-11793A66C076}"/>
              </a:ext>
            </a:extLst>
          </p:cNvPr>
          <p:cNvSpPr>
            <a:spLocks noGrp="1"/>
          </p:cNvSpPr>
          <p:nvPr>
            <p:ph type="body" sz="quarter" idx="20" hasCustomPrompt="1"/>
          </p:nvPr>
        </p:nvSpPr>
        <p:spPr>
          <a:xfrm>
            <a:off x="8977311" y="5053539"/>
            <a:ext cx="1871664" cy="359835"/>
          </a:xfrm>
          <a:prstGeom prst="rect">
            <a:avLst/>
          </a:prstGeom>
        </p:spPr>
        <p:txBody>
          <a:bodyPr lIns="0" tIns="0" rIns="0" bIns="0" anchor="t" anchorCtr="0">
            <a:noAutofit/>
          </a:bodyPr>
          <a:lstStyle>
            <a:lvl1pPr marL="0" indent="0" algn="l">
              <a:buNone/>
              <a:defRPr sz="1200">
                <a:solidFill>
                  <a:schemeClr val="tx1"/>
                </a:solidFill>
                <a:latin typeface="+mn-lt"/>
              </a:defRPr>
            </a:lvl1pPr>
          </a:lstStyle>
          <a:p>
            <a:pPr lvl="0"/>
            <a:r>
              <a:rPr lang="en-US"/>
              <a:t>Avenir Demi 12pt lorem ipsum dolor sit </a:t>
            </a:r>
            <a:r>
              <a:rPr lang="en-US" err="1"/>
              <a:t>amet</a:t>
            </a:r>
            <a:endParaRPr lang="en-US"/>
          </a:p>
        </p:txBody>
      </p:sp>
      <p:sp>
        <p:nvSpPr>
          <p:cNvPr id="18" name="Text Placeholder 9">
            <a:extLst>
              <a:ext uri="{FF2B5EF4-FFF2-40B4-BE49-F238E27FC236}">
                <a16:creationId xmlns:a16="http://schemas.microsoft.com/office/drawing/2014/main" id="{EE05C111-C082-6BD5-9282-C948E296F5D3}"/>
              </a:ext>
            </a:extLst>
          </p:cNvPr>
          <p:cNvSpPr>
            <a:spLocks noGrp="1"/>
          </p:cNvSpPr>
          <p:nvPr>
            <p:ph type="body" sz="quarter" idx="21" hasCustomPrompt="1"/>
          </p:nvPr>
        </p:nvSpPr>
        <p:spPr>
          <a:xfrm>
            <a:off x="5232400" y="5593818"/>
            <a:ext cx="1871664" cy="359835"/>
          </a:xfrm>
          <a:prstGeom prst="rect">
            <a:avLst/>
          </a:prstGeom>
        </p:spPr>
        <p:txBody>
          <a:bodyPr lIns="0" tIns="0" rIns="0" bIns="0" anchor="t" anchorCtr="0">
            <a:noAutofit/>
          </a:bodyPr>
          <a:lstStyle>
            <a:lvl1pPr marL="0" indent="0" algn="l">
              <a:buNone/>
              <a:defRPr sz="1200">
                <a:solidFill>
                  <a:schemeClr val="tx1"/>
                </a:solidFill>
                <a:latin typeface="+mn-lt"/>
              </a:defRPr>
            </a:lvl1pPr>
          </a:lstStyle>
          <a:p>
            <a:pPr lvl="0"/>
            <a:r>
              <a:rPr lang="en-US"/>
              <a:t>Avenir Demi 12pt lorem ipsum dolor sit </a:t>
            </a:r>
            <a:r>
              <a:rPr lang="en-US" err="1"/>
              <a:t>amet</a:t>
            </a:r>
            <a:endParaRPr lang="en-US"/>
          </a:p>
        </p:txBody>
      </p:sp>
      <p:sp>
        <p:nvSpPr>
          <p:cNvPr id="19" name="Text Placeholder 9">
            <a:extLst>
              <a:ext uri="{FF2B5EF4-FFF2-40B4-BE49-F238E27FC236}">
                <a16:creationId xmlns:a16="http://schemas.microsoft.com/office/drawing/2014/main" id="{EDDB6F98-8929-B811-A75E-1DD45E444D5A}"/>
              </a:ext>
            </a:extLst>
          </p:cNvPr>
          <p:cNvSpPr>
            <a:spLocks noGrp="1"/>
          </p:cNvSpPr>
          <p:nvPr>
            <p:ph type="body" sz="quarter" idx="22" hasCustomPrompt="1"/>
          </p:nvPr>
        </p:nvSpPr>
        <p:spPr>
          <a:xfrm>
            <a:off x="8977311" y="5593818"/>
            <a:ext cx="1871664" cy="359835"/>
          </a:xfrm>
          <a:prstGeom prst="rect">
            <a:avLst/>
          </a:prstGeom>
        </p:spPr>
        <p:txBody>
          <a:bodyPr lIns="0" tIns="0" rIns="0" bIns="0" anchor="t" anchorCtr="0">
            <a:noAutofit/>
          </a:bodyPr>
          <a:lstStyle>
            <a:lvl1pPr marL="0" indent="0" algn="l">
              <a:buNone/>
              <a:defRPr sz="1200">
                <a:solidFill>
                  <a:schemeClr val="tx1"/>
                </a:solidFill>
                <a:latin typeface="+mn-lt"/>
              </a:defRPr>
            </a:lvl1pPr>
          </a:lstStyle>
          <a:p>
            <a:pPr lvl="0"/>
            <a:r>
              <a:rPr lang="en-US"/>
              <a:t>Avenir Demi 12pt lorem ipsum dolor sit </a:t>
            </a:r>
            <a:r>
              <a:rPr lang="en-US" err="1"/>
              <a:t>amet</a:t>
            </a:r>
            <a:endParaRPr lang="en-US"/>
          </a:p>
        </p:txBody>
      </p:sp>
      <p:sp>
        <p:nvSpPr>
          <p:cNvPr id="20" name="Text Placeholder 9">
            <a:extLst>
              <a:ext uri="{FF2B5EF4-FFF2-40B4-BE49-F238E27FC236}">
                <a16:creationId xmlns:a16="http://schemas.microsoft.com/office/drawing/2014/main" id="{F7E10D3D-78C1-159D-49BD-1BA9282FF888}"/>
              </a:ext>
            </a:extLst>
          </p:cNvPr>
          <p:cNvSpPr>
            <a:spLocks noGrp="1"/>
          </p:cNvSpPr>
          <p:nvPr>
            <p:ph type="body" sz="quarter" idx="23" hasCustomPrompt="1"/>
          </p:nvPr>
        </p:nvSpPr>
        <p:spPr>
          <a:xfrm>
            <a:off x="4690801" y="4508500"/>
            <a:ext cx="216000" cy="216000"/>
          </a:xfrm>
          <a:prstGeom prst="rect">
            <a:avLst/>
          </a:prstGeom>
          <a:solidFill>
            <a:schemeClr val="accent1"/>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a</a:t>
            </a:r>
          </a:p>
        </p:txBody>
      </p:sp>
      <p:sp>
        <p:nvSpPr>
          <p:cNvPr id="21" name="Text Placeholder 9">
            <a:extLst>
              <a:ext uri="{FF2B5EF4-FFF2-40B4-BE49-F238E27FC236}">
                <a16:creationId xmlns:a16="http://schemas.microsoft.com/office/drawing/2014/main" id="{B567B3CC-1D2F-CE11-EA32-4B536ECE6A4C}"/>
              </a:ext>
            </a:extLst>
          </p:cNvPr>
          <p:cNvSpPr>
            <a:spLocks noGrp="1"/>
          </p:cNvSpPr>
          <p:nvPr>
            <p:ph type="body" sz="quarter" idx="24" hasCustomPrompt="1"/>
          </p:nvPr>
        </p:nvSpPr>
        <p:spPr>
          <a:xfrm>
            <a:off x="4690801" y="5053475"/>
            <a:ext cx="216000" cy="216000"/>
          </a:xfrm>
          <a:prstGeom prst="rect">
            <a:avLst/>
          </a:prstGeom>
          <a:solidFill>
            <a:schemeClr val="accent2"/>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b</a:t>
            </a:r>
          </a:p>
        </p:txBody>
      </p:sp>
      <p:sp>
        <p:nvSpPr>
          <p:cNvPr id="22" name="Text Placeholder 9">
            <a:extLst>
              <a:ext uri="{FF2B5EF4-FFF2-40B4-BE49-F238E27FC236}">
                <a16:creationId xmlns:a16="http://schemas.microsoft.com/office/drawing/2014/main" id="{F6CC62FF-967D-8D07-7260-6A7CC23BDACF}"/>
              </a:ext>
            </a:extLst>
          </p:cNvPr>
          <p:cNvSpPr>
            <a:spLocks noGrp="1"/>
          </p:cNvSpPr>
          <p:nvPr>
            <p:ph type="body" sz="quarter" idx="25" hasCustomPrompt="1"/>
          </p:nvPr>
        </p:nvSpPr>
        <p:spPr>
          <a:xfrm>
            <a:off x="4690801" y="5598450"/>
            <a:ext cx="216000" cy="216000"/>
          </a:xfrm>
          <a:prstGeom prst="rect">
            <a:avLst/>
          </a:prstGeom>
          <a:solidFill>
            <a:schemeClr val="accent3"/>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c</a:t>
            </a:r>
          </a:p>
        </p:txBody>
      </p:sp>
      <p:sp>
        <p:nvSpPr>
          <p:cNvPr id="23" name="Text Placeholder 9">
            <a:extLst>
              <a:ext uri="{FF2B5EF4-FFF2-40B4-BE49-F238E27FC236}">
                <a16:creationId xmlns:a16="http://schemas.microsoft.com/office/drawing/2014/main" id="{4BBB55B3-8B4B-6BEB-5E3E-351B0DAE18D8}"/>
              </a:ext>
            </a:extLst>
          </p:cNvPr>
          <p:cNvSpPr>
            <a:spLocks noGrp="1"/>
          </p:cNvSpPr>
          <p:nvPr>
            <p:ph type="body" sz="quarter" idx="26" hasCustomPrompt="1"/>
          </p:nvPr>
        </p:nvSpPr>
        <p:spPr>
          <a:xfrm>
            <a:off x="8441400" y="4508500"/>
            <a:ext cx="216000" cy="216000"/>
          </a:xfrm>
          <a:prstGeom prst="rect">
            <a:avLst/>
          </a:prstGeom>
          <a:solidFill>
            <a:schemeClr val="accent4"/>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d</a:t>
            </a:r>
          </a:p>
        </p:txBody>
      </p:sp>
      <p:sp>
        <p:nvSpPr>
          <p:cNvPr id="24" name="Text Placeholder 9">
            <a:extLst>
              <a:ext uri="{FF2B5EF4-FFF2-40B4-BE49-F238E27FC236}">
                <a16:creationId xmlns:a16="http://schemas.microsoft.com/office/drawing/2014/main" id="{BD1ADDA9-29A1-D4A5-6AF6-10D1ED61F639}"/>
              </a:ext>
            </a:extLst>
          </p:cNvPr>
          <p:cNvSpPr>
            <a:spLocks noGrp="1"/>
          </p:cNvSpPr>
          <p:nvPr>
            <p:ph type="body" sz="quarter" idx="27" hasCustomPrompt="1"/>
          </p:nvPr>
        </p:nvSpPr>
        <p:spPr>
          <a:xfrm>
            <a:off x="8441400" y="5053475"/>
            <a:ext cx="216000" cy="216000"/>
          </a:xfrm>
          <a:prstGeom prst="rect">
            <a:avLst/>
          </a:prstGeom>
          <a:solidFill>
            <a:schemeClr val="accent5"/>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e</a:t>
            </a:r>
          </a:p>
        </p:txBody>
      </p:sp>
      <p:sp>
        <p:nvSpPr>
          <p:cNvPr id="25" name="Text Placeholder 9">
            <a:extLst>
              <a:ext uri="{FF2B5EF4-FFF2-40B4-BE49-F238E27FC236}">
                <a16:creationId xmlns:a16="http://schemas.microsoft.com/office/drawing/2014/main" id="{D1FE7497-FADD-489E-4379-2F4CA8C33FE4}"/>
              </a:ext>
            </a:extLst>
          </p:cNvPr>
          <p:cNvSpPr>
            <a:spLocks noGrp="1"/>
          </p:cNvSpPr>
          <p:nvPr>
            <p:ph type="body" sz="quarter" idx="28" hasCustomPrompt="1"/>
          </p:nvPr>
        </p:nvSpPr>
        <p:spPr>
          <a:xfrm>
            <a:off x="8441400" y="5598450"/>
            <a:ext cx="216000" cy="216000"/>
          </a:xfrm>
          <a:prstGeom prst="rect">
            <a:avLst/>
          </a:prstGeom>
          <a:solidFill>
            <a:schemeClr val="accent6"/>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f</a:t>
            </a:r>
          </a:p>
        </p:txBody>
      </p:sp>
      <p:pic>
        <p:nvPicPr>
          <p:cNvPr id="6" name="Picture Placeholder 13">
            <a:extLst>
              <a:ext uri="{FF2B5EF4-FFF2-40B4-BE49-F238E27FC236}">
                <a16:creationId xmlns:a16="http://schemas.microsoft.com/office/drawing/2014/main" id="{F8EB7B8D-83E7-77EF-CD50-40BA752901B3}"/>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6945" t="19498" r="6909" b="15243"/>
          <a:stretch/>
        </p:blipFill>
        <p:spPr>
          <a:xfrm>
            <a:off x="548482" y="6308725"/>
            <a:ext cx="1381418" cy="309766"/>
          </a:xfrm>
          <a:prstGeom prst="rect">
            <a:avLst/>
          </a:prstGeom>
        </p:spPr>
      </p:pic>
    </p:spTree>
    <p:extLst>
      <p:ext uri="{BB962C8B-B14F-4D97-AF65-F5344CB8AC3E}">
        <p14:creationId xmlns:p14="http://schemas.microsoft.com/office/powerpoint/2010/main" val="2826446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0:50 - Text / Chart">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E15FD49-1CA5-DFE2-A98D-5FB5685F05C3}"/>
              </a:ext>
            </a:extLst>
          </p:cNvPr>
          <p:cNvSpPr/>
          <p:nvPr userDrawn="1"/>
        </p:nvSpPr>
        <p:spPr>
          <a:xfrm>
            <a:off x="0" y="0"/>
            <a:ext cx="6096000" cy="6858000"/>
          </a:xfrm>
          <a:prstGeom prst="rect">
            <a:avLst/>
          </a:prstGeom>
          <a:solidFill>
            <a:srgbClr val="FA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1" name="Chart Placeholder 10">
            <a:extLst>
              <a:ext uri="{FF2B5EF4-FFF2-40B4-BE49-F238E27FC236}">
                <a16:creationId xmlns:a16="http://schemas.microsoft.com/office/drawing/2014/main" id="{5951116A-40CB-A706-A107-C78DBAFDEBFE}"/>
              </a:ext>
            </a:extLst>
          </p:cNvPr>
          <p:cNvSpPr>
            <a:spLocks noGrp="1"/>
          </p:cNvSpPr>
          <p:nvPr>
            <p:ph type="chart" sz="quarter" idx="15" hasCustomPrompt="1"/>
          </p:nvPr>
        </p:nvSpPr>
        <p:spPr>
          <a:xfrm>
            <a:off x="6635488" y="1089025"/>
            <a:ext cx="5005647" cy="3060700"/>
          </a:xfrm>
        </p:spPr>
        <p:txBody>
          <a:bodyPr tIns="108000"/>
          <a:lstStyle>
            <a:lvl1pPr marL="0" indent="0" algn="ctr">
              <a:buNone/>
              <a:defRPr sz="1000">
                <a:solidFill>
                  <a:schemeClr val="accent1"/>
                </a:solidFill>
              </a:defRPr>
            </a:lvl1pPr>
          </a:lstStyle>
          <a:p>
            <a:pPr marL="0" marR="0" lvl="0" indent="0" algn="ctr"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lang="en-GB" noProof="0"/>
              <a:t>Click</a:t>
            </a:r>
            <a:r>
              <a:rPr lang="en-US"/>
              <a:t> </a:t>
            </a:r>
            <a:r>
              <a:rPr lang="en-US" noProof="0"/>
              <a:t>center</a:t>
            </a:r>
            <a:r>
              <a:rPr lang="en-US"/>
              <a:t> icon to</a:t>
            </a:r>
            <a:r>
              <a:rPr lang="en-GB"/>
              <a:t> insert graph or chart</a:t>
            </a:r>
          </a:p>
        </p:txBody>
      </p:sp>
      <p:sp>
        <p:nvSpPr>
          <p:cNvPr id="12" name="Text Placeholder 9">
            <a:extLst>
              <a:ext uri="{FF2B5EF4-FFF2-40B4-BE49-F238E27FC236}">
                <a16:creationId xmlns:a16="http://schemas.microsoft.com/office/drawing/2014/main" id="{A84DA8BB-5F30-09B1-E985-2D8FA21B48EE}"/>
              </a:ext>
            </a:extLst>
          </p:cNvPr>
          <p:cNvSpPr>
            <a:spLocks noGrp="1"/>
          </p:cNvSpPr>
          <p:nvPr>
            <p:ph type="body" sz="quarter" idx="16" hasCustomPrompt="1"/>
          </p:nvPr>
        </p:nvSpPr>
        <p:spPr>
          <a:xfrm>
            <a:off x="6635488" y="368828"/>
            <a:ext cx="5005647" cy="359835"/>
          </a:xfrm>
          <a:prstGeom prst="rect">
            <a:avLst/>
          </a:prstGeom>
        </p:spPr>
        <p:txBody>
          <a:bodyPr lIns="0" tIns="0" rIns="0" bIns="0" anchor="t" anchorCtr="0">
            <a:noAutofit/>
          </a:bodyPr>
          <a:lstStyle>
            <a:lvl1pPr marL="0" indent="0" algn="l">
              <a:buNone/>
              <a:defRPr sz="1400">
                <a:solidFill>
                  <a:schemeClr val="tx1"/>
                </a:solidFill>
                <a:latin typeface="+mn-lt"/>
              </a:defRPr>
            </a:lvl1pPr>
          </a:lstStyle>
          <a:p>
            <a:pPr lvl="0"/>
            <a:r>
              <a:rPr lang="en-US"/>
              <a:t>Avenir Demi 14pt lorem ipsum dolor sit </a:t>
            </a:r>
            <a:r>
              <a:rPr lang="en-US" err="1"/>
              <a:t>amet</a:t>
            </a:r>
            <a:endParaRPr lang="en-US"/>
          </a:p>
        </p:txBody>
      </p:sp>
      <p:sp>
        <p:nvSpPr>
          <p:cNvPr id="14" name="Text Placeholder 9">
            <a:extLst>
              <a:ext uri="{FF2B5EF4-FFF2-40B4-BE49-F238E27FC236}">
                <a16:creationId xmlns:a16="http://schemas.microsoft.com/office/drawing/2014/main" id="{EF72A8DE-339E-2B3D-4C89-58C8CE53CF5D}"/>
              </a:ext>
            </a:extLst>
          </p:cNvPr>
          <p:cNvSpPr>
            <a:spLocks noGrp="1"/>
          </p:cNvSpPr>
          <p:nvPr>
            <p:ph type="body" sz="quarter" idx="17" hasCustomPrompt="1"/>
          </p:nvPr>
        </p:nvSpPr>
        <p:spPr>
          <a:xfrm>
            <a:off x="7104856" y="4513789"/>
            <a:ext cx="1871664" cy="359835"/>
          </a:xfrm>
          <a:prstGeom prst="rect">
            <a:avLst/>
          </a:prstGeom>
        </p:spPr>
        <p:txBody>
          <a:bodyPr lIns="0" tIns="0" rIns="0" bIns="0" anchor="t" anchorCtr="0">
            <a:noAutofit/>
          </a:bodyPr>
          <a:lstStyle>
            <a:lvl1pPr marL="0" indent="0" algn="l">
              <a:buNone/>
              <a:defRPr sz="1200">
                <a:solidFill>
                  <a:schemeClr val="tx1"/>
                </a:solidFill>
                <a:latin typeface="+mn-lt"/>
              </a:defRPr>
            </a:lvl1pPr>
          </a:lstStyle>
          <a:p>
            <a:pPr lvl="0"/>
            <a:r>
              <a:rPr lang="en-US"/>
              <a:t>Avenir Demi 12pt lorem ipsum dolor sit </a:t>
            </a:r>
            <a:r>
              <a:rPr lang="en-US" err="1"/>
              <a:t>amet</a:t>
            </a:r>
            <a:endParaRPr lang="en-US"/>
          </a:p>
        </p:txBody>
      </p:sp>
      <p:sp>
        <p:nvSpPr>
          <p:cNvPr id="15" name="Text Placeholder 9">
            <a:extLst>
              <a:ext uri="{FF2B5EF4-FFF2-40B4-BE49-F238E27FC236}">
                <a16:creationId xmlns:a16="http://schemas.microsoft.com/office/drawing/2014/main" id="{2BFDD91C-6446-AD48-CAEB-841DC1DC22EA}"/>
              </a:ext>
            </a:extLst>
          </p:cNvPr>
          <p:cNvSpPr>
            <a:spLocks noGrp="1"/>
          </p:cNvSpPr>
          <p:nvPr>
            <p:ph type="body" sz="quarter" idx="18" hasCustomPrompt="1"/>
          </p:nvPr>
        </p:nvSpPr>
        <p:spPr>
          <a:xfrm>
            <a:off x="9767505" y="4513789"/>
            <a:ext cx="1871664" cy="359835"/>
          </a:xfrm>
          <a:prstGeom prst="rect">
            <a:avLst/>
          </a:prstGeom>
        </p:spPr>
        <p:txBody>
          <a:bodyPr lIns="0" tIns="0" rIns="0" bIns="0" anchor="t" anchorCtr="0">
            <a:noAutofit/>
          </a:bodyPr>
          <a:lstStyle>
            <a:lvl1pPr marL="0" indent="0" algn="l">
              <a:buNone/>
              <a:defRPr sz="1200">
                <a:solidFill>
                  <a:schemeClr val="tx1"/>
                </a:solidFill>
                <a:latin typeface="+mn-lt"/>
              </a:defRPr>
            </a:lvl1pPr>
          </a:lstStyle>
          <a:p>
            <a:pPr lvl="0"/>
            <a:r>
              <a:rPr lang="en-US"/>
              <a:t>Avenir Demi 12pt lorem ipsum dolor sit </a:t>
            </a:r>
            <a:r>
              <a:rPr lang="en-US" err="1"/>
              <a:t>amet</a:t>
            </a:r>
            <a:endParaRPr lang="en-US"/>
          </a:p>
        </p:txBody>
      </p:sp>
      <p:sp>
        <p:nvSpPr>
          <p:cNvPr id="16" name="Text Placeholder 9">
            <a:extLst>
              <a:ext uri="{FF2B5EF4-FFF2-40B4-BE49-F238E27FC236}">
                <a16:creationId xmlns:a16="http://schemas.microsoft.com/office/drawing/2014/main" id="{AD20601E-40F2-1DF1-38B7-5101DBF33201}"/>
              </a:ext>
            </a:extLst>
          </p:cNvPr>
          <p:cNvSpPr>
            <a:spLocks noGrp="1"/>
          </p:cNvSpPr>
          <p:nvPr>
            <p:ph type="body" sz="quarter" idx="19" hasCustomPrompt="1"/>
          </p:nvPr>
        </p:nvSpPr>
        <p:spPr>
          <a:xfrm>
            <a:off x="7104856" y="5053539"/>
            <a:ext cx="1871664" cy="359835"/>
          </a:xfrm>
          <a:prstGeom prst="rect">
            <a:avLst/>
          </a:prstGeom>
        </p:spPr>
        <p:txBody>
          <a:bodyPr lIns="0" tIns="0" rIns="0" bIns="0" anchor="t" anchorCtr="0">
            <a:noAutofit/>
          </a:bodyPr>
          <a:lstStyle>
            <a:lvl1pPr marL="0" indent="0" algn="l">
              <a:buNone/>
              <a:defRPr sz="1200">
                <a:solidFill>
                  <a:schemeClr val="tx1"/>
                </a:solidFill>
                <a:latin typeface="+mn-lt"/>
              </a:defRPr>
            </a:lvl1pPr>
          </a:lstStyle>
          <a:p>
            <a:pPr lvl="0"/>
            <a:r>
              <a:rPr lang="en-US"/>
              <a:t>Avenir Demi 12pt lorem ipsum dolor sit </a:t>
            </a:r>
            <a:r>
              <a:rPr lang="en-US" err="1"/>
              <a:t>amet</a:t>
            </a:r>
            <a:endParaRPr lang="en-US"/>
          </a:p>
        </p:txBody>
      </p:sp>
      <p:sp>
        <p:nvSpPr>
          <p:cNvPr id="17" name="Text Placeholder 9">
            <a:extLst>
              <a:ext uri="{FF2B5EF4-FFF2-40B4-BE49-F238E27FC236}">
                <a16:creationId xmlns:a16="http://schemas.microsoft.com/office/drawing/2014/main" id="{82C29969-1AD3-6659-3B8D-11793A66C076}"/>
              </a:ext>
            </a:extLst>
          </p:cNvPr>
          <p:cNvSpPr>
            <a:spLocks noGrp="1"/>
          </p:cNvSpPr>
          <p:nvPr>
            <p:ph type="body" sz="quarter" idx="20" hasCustomPrompt="1"/>
          </p:nvPr>
        </p:nvSpPr>
        <p:spPr>
          <a:xfrm>
            <a:off x="9767505" y="5053539"/>
            <a:ext cx="1871664" cy="359835"/>
          </a:xfrm>
          <a:prstGeom prst="rect">
            <a:avLst/>
          </a:prstGeom>
        </p:spPr>
        <p:txBody>
          <a:bodyPr lIns="0" tIns="0" rIns="0" bIns="0" anchor="t" anchorCtr="0">
            <a:noAutofit/>
          </a:bodyPr>
          <a:lstStyle>
            <a:lvl1pPr marL="0" indent="0" algn="l">
              <a:buNone/>
              <a:defRPr sz="1200">
                <a:solidFill>
                  <a:schemeClr val="tx1"/>
                </a:solidFill>
                <a:latin typeface="+mn-lt"/>
              </a:defRPr>
            </a:lvl1pPr>
          </a:lstStyle>
          <a:p>
            <a:pPr lvl="0"/>
            <a:r>
              <a:rPr lang="en-US"/>
              <a:t>Avenir Demi 12pt lorem ipsum dolor sit </a:t>
            </a:r>
            <a:r>
              <a:rPr lang="en-US" err="1"/>
              <a:t>amet</a:t>
            </a:r>
            <a:endParaRPr lang="en-US"/>
          </a:p>
        </p:txBody>
      </p:sp>
      <p:sp>
        <p:nvSpPr>
          <p:cNvPr id="18" name="Text Placeholder 9">
            <a:extLst>
              <a:ext uri="{FF2B5EF4-FFF2-40B4-BE49-F238E27FC236}">
                <a16:creationId xmlns:a16="http://schemas.microsoft.com/office/drawing/2014/main" id="{EE05C111-C082-6BD5-9282-C948E296F5D3}"/>
              </a:ext>
            </a:extLst>
          </p:cNvPr>
          <p:cNvSpPr>
            <a:spLocks noGrp="1"/>
          </p:cNvSpPr>
          <p:nvPr>
            <p:ph type="body" sz="quarter" idx="21" hasCustomPrompt="1"/>
          </p:nvPr>
        </p:nvSpPr>
        <p:spPr>
          <a:xfrm>
            <a:off x="7104856" y="5593818"/>
            <a:ext cx="1871664" cy="359835"/>
          </a:xfrm>
          <a:prstGeom prst="rect">
            <a:avLst/>
          </a:prstGeom>
        </p:spPr>
        <p:txBody>
          <a:bodyPr lIns="0" tIns="0" rIns="0" bIns="0" anchor="t" anchorCtr="0">
            <a:noAutofit/>
          </a:bodyPr>
          <a:lstStyle>
            <a:lvl1pPr marL="0" indent="0" algn="l">
              <a:buNone/>
              <a:defRPr sz="1200">
                <a:solidFill>
                  <a:schemeClr val="tx1"/>
                </a:solidFill>
                <a:latin typeface="+mn-lt"/>
              </a:defRPr>
            </a:lvl1pPr>
          </a:lstStyle>
          <a:p>
            <a:pPr lvl="0"/>
            <a:r>
              <a:rPr lang="en-US"/>
              <a:t>Avenir Demi 12pt lorem ipsum dolor sit </a:t>
            </a:r>
            <a:r>
              <a:rPr lang="en-US" err="1"/>
              <a:t>amet</a:t>
            </a:r>
            <a:endParaRPr lang="en-US"/>
          </a:p>
        </p:txBody>
      </p:sp>
      <p:sp>
        <p:nvSpPr>
          <p:cNvPr id="19" name="Text Placeholder 9">
            <a:extLst>
              <a:ext uri="{FF2B5EF4-FFF2-40B4-BE49-F238E27FC236}">
                <a16:creationId xmlns:a16="http://schemas.microsoft.com/office/drawing/2014/main" id="{EDDB6F98-8929-B811-A75E-1DD45E444D5A}"/>
              </a:ext>
            </a:extLst>
          </p:cNvPr>
          <p:cNvSpPr>
            <a:spLocks noGrp="1"/>
          </p:cNvSpPr>
          <p:nvPr>
            <p:ph type="body" sz="quarter" idx="22" hasCustomPrompt="1"/>
          </p:nvPr>
        </p:nvSpPr>
        <p:spPr>
          <a:xfrm>
            <a:off x="9767505" y="5593818"/>
            <a:ext cx="1871664" cy="359835"/>
          </a:xfrm>
          <a:prstGeom prst="rect">
            <a:avLst/>
          </a:prstGeom>
        </p:spPr>
        <p:txBody>
          <a:bodyPr lIns="0" tIns="0" rIns="0" bIns="0" anchor="t" anchorCtr="0">
            <a:noAutofit/>
          </a:bodyPr>
          <a:lstStyle>
            <a:lvl1pPr marL="0" indent="0" algn="l">
              <a:buNone/>
              <a:defRPr sz="1200">
                <a:solidFill>
                  <a:schemeClr val="tx1"/>
                </a:solidFill>
                <a:latin typeface="+mn-lt"/>
              </a:defRPr>
            </a:lvl1pPr>
          </a:lstStyle>
          <a:p>
            <a:pPr lvl="0"/>
            <a:r>
              <a:rPr lang="en-US"/>
              <a:t>Avenir Demi 12pt lorem ipsum dolor sit </a:t>
            </a:r>
            <a:r>
              <a:rPr lang="en-US" err="1"/>
              <a:t>amet</a:t>
            </a:r>
            <a:endParaRPr lang="en-US"/>
          </a:p>
        </p:txBody>
      </p:sp>
      <p:sp>
        <p:nvSpPr>
          <p:cNvPr id="20" name="Text Placeholder 9">
            <a:extLst>
              <a:ext uri="{FF2B5EF4-FFF2-40B4-BE49-F238E27FC236}">
                <a16:creationId xmlns:a16="http://schemas.microsoft.com/office/drawing/2014/main" id="{F7E10D3D-78C1-159D-49BD-1BA9282FF888}"/>
              </a:ext>
            </a:extLst>
          </p:cNvPr>
          <p:cNvSpPr>
            <a:spLocks noGrp="1"/>
          </p:cNvSpPr>
          <p:nvPr>
            <p:ph type="body" sz="quarter" idx="23" hasCustomPrompt="1"/>
          </p:nvPr>
        </p:nvSpPr>
        <p:spPr>
          <a:xfrm>
            <a:off x="6635488" y="4508500"/>
            <a:ext cx="216000" cy="216000"/>
          </a:xfrm>
          <a:prstGeom prst="rect">
            <a:avLst/>
          </a:prstGeom>
          <a:solidFill>
            <a:schemeClr val="accent1"/>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a</a:t>
            </a:r>
          </a:p>
        </p:txBody>
      </p:sp>
      <p:sp>
        <p:nvSpPr>
          <p:cNvPr id="21" name="Text Placeholder 9">
            <a:extLst>
              <a:ext uri="{FF2B5EF4-FFF2-40B4-BE49-F238E27FC236}">
                <a16:creationId xmlns:a16="http://schemas.microsoft.com/office/drawing/2014/main" id="{B567B3CC-1D2F-CE11-EA32-4B536ECE6A4C}"/>
              </a:ext>
            </a:extLst>
          </p:cNvPr>
          <p:cNvSpPr>
            <a:spLocks noGrp="1"/>
          </p:cNvSpPr>
          <p:nvPr>
            <p:ph type="body" sz="quarter" idx="24" hasCustomPrompt="1"/>
          </p:nvPr>
        </p:nvSpPr>
        <p:spPr>
          <a:xfrm>
            <a:off x="6635488" y="5053475"/>
            <a:ext cx="216000" cy="216000"/>
          </a:xfrm>
          <a:prstGeom prst="rect">
            <a:avLst/>
          </a:prstGeom>
          <a:solidFill>
            <a:schemeClr val="accent2"/>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b</a:t>
            </a:r>
          </a:p>
        </p:txBody>
      </p:sp>
      <p:sp>
        <p:nvSpPr>
          <p:cNvPr id="22" name="Text Placeholder 9">
            <a:extLst>
              <a:ext uri="{FF2B5EF4-FFF2-40B4-BE49-F238E27FC236}">
                <a16:creationId xmlns:a16="http://schemas.microsoft.com/office/drawing/2014/main" id="{F6CC62FF-967D-8D07-7260-6A7CC23BDACF}"/>
              </a:ext>
            </a:extLst>
          </p:cNvPr>
          <p:cNvSpPr>
            <a:spLocks noGrp="1"/>
          </p:cNvSpPr>
          <p:nvPr>
            <p:ph type="body" sz="quarter" idx="25" hasCustomPrompt="1"/>
          </p:nvPr>
        </p:nvSpPr>
        <p:spPr>
          <a:xfrm>
            <a:off x="6635488" y="5598450"/>
            <a:ext cx="216000" cy="216000"/>
          </a:xfrm>
          <a:prstGeom prst="rect">
            <a:avLst/>
          </a:prstGeom>
          <a:solidFill>
            <a:schemeClr val="accent3"/>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c</a:t>
            </a:r>
          </a:p>
        </p:txBody>
      </p:sp>
      <p:sp>
        <p:nvSpPr>
          <p:cNvPr id="23" name="Text Placeholder 9">
            <a:extLst>
              <a:ext uri="{FF2B5EF4-FFF2-40B4-BE49-F238E27FC236}">
                <a16:creationId xmlns:a16="http://schemas.microsoft.com/office/drawing/2014/main" id="{4BBB55B3-8B4B-6BEB-5E3E-351B0DAE18D8}"/>
              </a:ext>
            </a:extLst>
          </p:cNvPr>
          <p:cNvSpPr>
            <a:spLocks noGrp="1"/>
          </p:cNvSpPr>
          <p:nvPr>
            <p:ph type="body" sz="quarter" idx="26" hasCustomPrompt="1"/>
          </p:nvPr>
        </p:nvSpPr>
        <p:spPr>
          <a:xfrm>
            <a:off x="9303825" y="4508500"/>
            <a:ext cx="216000" cy="216000"/>
          </a:xfrm>
          <a:prstGeom prst="rect">
            <a:avLst/>
          </a:prstGeom>
          <a:solidFill>
            <a:schemeClr val="accent4"/>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d</a:t>
            </a:r>
          </a:p>
        </p:txBody>
      </p:sp>
      <p:sp>
        <p:nvSpPr>
          <p:cNvPr id="24" name="Text Placeholder 9">
            <a:extLst>
              <a:ext uri="{FF2B5EF4-FFF2-40B4-BE49-F238E27FC236}">
                <a16:creationId xmlns:a16="http://schemas.microsoft.com/office/drawing/2014/main" id="{BD1ADDA9-29A1-D4A5-6AF6-10D1ED61F639}"/>
              </a:ext>
            </a:extLst>
          </p:cNvPr>
          <p:cNvSpPr>
            <a:spLocks noGrp="1"/>
          </p:cNvSpPr>
          <p:nvPr>
            <p:ph type="body" sz="quarter" idx="27" hasCustomPrompt="1"/>
          </p:nvPr>
        </p:nvSpPr>
        <p:spPr>
          <a:xfrm>
            <a:off x="9303825" y="5053475"/>
            <a:ext cx="216000" cy="216000"/>
          </a:xfrm>
          <a:prstGeom prst="rect">
            <a:avLst/>
          </a:prstGeom>
          <a:solidFill>
            <a:schemeClr val="accent5"/>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e</a:t>
            </a:r>
          </a:p>
        </p:txBody>
      </p:sp>
      <p:sp>
        <p:nvSpPr>
          <p:cNvPr id="25" name="Text Placeholder 9">
            <a:extLst>
              <a:ext uri="{FF2B5EF4-FFF2-40B4-BE49-F238E27FC236}">
                <a16:creationId xmlns:a16="http://schemas.microsoft.com/office/drawing/2014/main" id="{D1FE7497-FADD-489E-4379-2F4CA8C33FE4}"/>
              </a:ext>
            </a:extLst>
          </p:cNvPr>
          <p:cNvSpPr>
            <a:spLocks noGrp="1"/>
          </p:cNvSpPr>
          <p:nvPr>
            <p:ph type="body" sz="quarter" idx="28" hasCustomPrompt="1"/>
          </p:nvPr>
        </p:nvSpPr>
        <p:spPr>
          <a:xfrm>
            <a:off x="9303825" y="5598450"/>
            <a:ext cx="216000" cy="216000"/>
          </a:xfrm>
          <a:prstGeom prst="rect">
            <a:avLst/>
          </a:prstGeom>
          <a:solidFill>
            <a:schemeClr val="accent6"/>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f</a:t>
            </a:r>
          </a:p>
        </p:txBody>
      </p:sp>
      <p:sp>
        <p:nvSpPr>
          <p:cNvPr id="5" name="Title 1">
            <a:extLst>
              <a:ext uri="{FF2B5EF4-FFF2-40B4-BE49-F238E27FC236}">
                <a16:creationId xmlns:a16="http://schemas.microsoft.com/office/drawing/2014/main" id="{62B3885D-E6AF-5A7C-26C2-93D58D36DE66}"/>
              </a:ext>
            </a:extLst>
          </p:cNvPr>
          <p:cNvSpPr>
            <a:spLocks noGrp="1"/>
          </p:cNvSpPr>
          <p:nvPr>
            <p:ph type="title" hasCustomPrompt="1"/>
          </p:nvPr>
        </p:nvSpPr>
        <p:spPr>
          <a:xfrm>
            <a:off x="550864" y="368828"/>
            <a:ext cx="5076000" cy="251885"/>
          </a:xfrm>
        </p:spPr>
        <p:txBody>
          <a:bodyPr/>
          <a:lstStyle>
            <a:lvl1pPr>
              <a:defRPr>
                <a:solidFill>
                  <a:schemeClr val="accent1"/>
                </a:solidFill>
              </a:defRPr>
            </a:lvl1pPr>
          </a:lstStyle>
          <a:p>
            <a:r>
              <a:rPr lang="en-US"/>
              <a:t>Header avenir demi 24pt</a:t>
            </a:r>
            <a:endParaRPr lang="en-GB"/>
          </a:p>
        </p:txBody>
      </p:sp>
      <p:sp>
        <p:nvSpPr>
          <p:cNvPr id="7" name="Text Placeholder 9">
            <a:extLst>
              <a:ext uri="{FF2B5EF4-FFF2-40B4-BE49-F238E27FC236}">
                <a16:creationId xmlns:a16="http://schemas.microsoft.com/office/drawing/2014/main" id="{026A7FE8-7657-E899-CBBD-AA588FB3663B}"/>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solidFill>
                  <a:schemeClr val="tx1"/>
                </a:solidFill>
              </a:defRPr>
            </a:lvl1pPr>
          </a:lstStyle>
          <a:p>
            <a:pPr lvl="0"/>
            <a:r>
              <a:rPr lang="en-US"/>
              <a:t>Subhead avenir pro 20pt</a:t>
            </a:r>
            <a:endParaRPr lang="en-GB"/>
          </a:p>
        </p:txBody>
      </p:sp>
      <p:sp>
        <p:nvSpPr>
          <p:cNvPr id="8" name="Text Placeholder 12">
            <a:extLst>
              <a:ext uri="{FF2B5EF4-FFF2-40B4-BE49-F238E27FC236}">
                <a16:creationId xmlns:a16="http://schemas.microsoft.com/office/drawing/2014/main" id="{173AB386-34F7-6043-4B53-86A723ACB171}"/>
              </a:ext>
            </a:extLst>
          </p:cNvPr>
          <p:cNvSpPr>
            <a:spLocks noGrp="1"/>
          </p:cNvSpPr>
          <p:nvPr>
            <p:ph type="body" sz="quarter" idx="14"/>
          </p:nvPr>
        </p:nvSpPr>
        <p:spPr>
          <a:xfrm>
            <a:off x="550864" y="1808163"/>
            <a:ext cx="5076000" cy="4321175"/>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Click to edit Master text styles</a:t>
            </a:r>
          </a:p>
          <a:p>
            <a:pPr lvl="1"/>
            <a:r>
              <a:rPr lang="en-US"/>
              <a:t>Second level</a:t>
            </a:r>
          </a:p>
          <a:p>
            <a:pPr lvl="2"/>
            <a:r>
              <a:rPr lang="en-US"/>
              <a:t>Third level</a:t>
            </a:r>
          </a:p>
        </p:txBody>
      </p:sp>
      <p:pic>
        <p:nvPicPr>
          <p:cNvPr id="6" name="Picture Placeholder 13">
            <a:extLst>
              <a:ext uri="{FF2B5EF4-FFF2-40B4-BE49-F238E27FC236}">
                <a16:creationId xmlns:a16="http://schemas.microsoft.com/office/drawing/2014/main" id="{2A32B0A2-4793-DE77-B83E-02C86D4EE7B0}"/>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6945" t="19498" r="6909" b="15243"/>
          <a:stretch/>
        </p:blipFill>
        <p:spPr>
          <a:xfrm>
            <a:off x="548482" y="6308725"/>
            <a:ext cx="1381418" cy="309766"/>
          </a:xfrm>
          <a:prstGeom prst="rect">
            <a:avLst/>
          </a:prstGeom>
        </p:spPr>
      </p:pic>
    </p:spTree>
    <p:extLst>
      <p:ext uri="{BB962C8B-B14F-4D97-AF65-F5344CB8AC3E}">
        <p14:creationId xmlns:p14="http://schemas.microsoft.com/office/powerpoint/2010/main" val="29866986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x Text / 1x Screensho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3823"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1628775"/>
            <a:ext cx="3204000" cy="4500563"/>
          </a:xfrm>
        </p:spPr>
        <p:txBody>
          <a:bodyPr/>
          <a:lstStyle/>
          <a:p>
            <a:pPr lvl="0"/>
            <a:r>
              <a:rPr lang="en-US"/>
              <a:t>Click to edit Master text styles</a:t>
            </a:r>
          </a:p>
          <a:p>
            <a:pPr lvl="1"/>
            <a:r>
              <a:rPr lang="en-US"/>
              <a:t>Second level</a:t>
            </a:r>
          </a:p>
          <a:p>
            <a:pPr lvl="2"/>
            <a:r>
              <a:rPr lang="en-US"/>
              <a:t>Third level</a:t>
            </a:r>
          </a:p>
        </p:txBody>
      </p:sp>
      <p:sp>
        <p:nvSpPr>
          <p:cNvPr id="5" name="Rectangle: Top Corners Rounded 4">
            <a:extLst>
              <a:ext uri="{FF2B5EF4-FFF2-40B4-BE49-F238E27FC236}">
                <a16:creationId xmlns:a16="http://schemas.microsoft.com/office/drawing/2014/main" id="{9AE78E4D-1195-3CAD-2E8F-608D49BDA29A}"/>
              </a:ext>
            </a:extLst>
          </p:cNvPr>
          <p:cNvSpPr/>
          <p:nvPr userDrawn="1"/>
        </p:nvSpPr>
        <p:spPr>
          <a:xfrm>
            <a:off x="4740276" y="1603375"/>
            <a:ext cx="6096000" cy="3651250"/>
          </a:xfrm>
          <a:prstGeom prst="round2SameRect">
            <a:avLst>
              <a:gd name="adj1" fmla="val 2349"/>
              <a:gd name="adj2" fmla="val 0"/>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 name="Group 8">
            <a:extLst>
              <a:ext uri="{FF2B5EF4-FFF2-40B4-BE49-F238E27FC236}">
                <a16:creationId xmlns:a16="http://schemas.microsoft.com/office/drawing/2014/main" id="{A9D14ACC-3B80-72E3-AF36-12AAF3A4188F}"/>
              </a:ext>
            </a:extLst>
          </p:cNvPr>
          <p:cNvGrpSpPr/>
          <p:nvPr userDrawn="1"/>
        </p:nvGrpSpPr>
        <p:grpSpPr>
          <a:xfrm>
            <a:off x="10351298" y="1654106"/>
            <a:ext cx="118572" cy="116191"/>
            <a:chOff x="10353679" y="1654106"/>
            <a:chExt cx="118572" cy="116191"/>
          </a:xfrm>
        </p:grpSpPr>
        <p:sp>
          <p:nvSpPr>
            <p:cNvPr id="11" name="Rectangle 10">
              <a:extLst>
                <a:ext uri="{FF2B5EF4-FFF2-40B4-BE49-F238E27FC236}">
                  <a16:creationId xmlns:a16="http://schemas.microsoft.com/office/drawing/2014/main" id="{BD98B882-BAA3-23BC-F2E4-92C80C0D9BD8}"/>
                </a:ext>
              </a:extLst>
            </p:cNvPr>
            <p:cNvSpPr/>
            <p:nvPr/>
          </p:nvSpPr>
          <p:spPr>
            <a:xfrm>
              <a:off x="10382251" y="1680297"/>
              <a:ext cx="90000" cy="9000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55F176FF-F698-0ED4-8DAC-4EF3FFEC0449}"/>
                </a:ext>
              </a:extLst>
            </p:cNvPr>
            <p:cNvSpPr/>
            <p:nvPr/>
          </p:nvSpPr>
          <p:spPr>
            <a:xfrm>
              <a:off x="10353679" y="1654106"/>
              <a:ext cx="90000" cy="9000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4" name="Group 13">
            <a:extLst>
              <a:ext uri="{FF2B5EF4-FFF2-40B4-BE49-F238E27FC236}">
                <a16:creationId xmlns:a16="http://schemas.microsoft.com/office/drawing/2014/main" id="{29475372-49CA-1792-C2EB-B4BDA0D043C8}"/>
              </a:ext>
            </a:extLst>
          </p:cNvPr>
          <p:cNvGrpSpPr/>
          <p:nvPr userDrawn="1"/>
        </p:nvGrpSpPr>
        <p:grpSpPr>
          <a:xfrm>
            <a:off x="10602747" y="1677271"/>
            <a:ext cx="74459" cy="74459"/>
            <a:chOff x="10602747" y="1677271"/>
            <a:chExt cx="74459" cy="74459"/>
          </a:xfrm>
        </p:grpSpPr>
        <p:cxnSp>
          <p:nvCxnSpPr>
            <p:cNvPr id="15" name="Straight Connector 14">
              <a:extLst>
                <a:ext uri="{FF2B5EF4-FFF2-40B4-BE49-F238E27FC236}">
                  <a16:creationId xmlns:a16="http://schemas.microsoft.com/office/drawing/2014/main" id="{9DA2D6D6-E463-5F1C-D1AD-5574FEB8D0CB}"/>
                </a:ext>
              </a:extLst>
            </p:cNvPr>
            <p:cNvCxnSpPr>
              <a:cxnSpLocks/>
            </p:cNvCxnSpPr>
            <p:nvPr/>
          </p:nvCxnSpPr>
          <p:spPr>
            <a:xfrm>
              <a:off x="10602747" y="1677271"/>
              <a:ext cx="74459" cy="74459"/>
            </a:xfrm>
            <a:prstGeom prst="lin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a:extLst>
                <a:ext uri="{FF2B5EF4-FFF2-40B4-BE49-F238E27FC236}">
                  <a16:creationId xmlns:a16="http://schemas.microsoft.com/office/drawing/2014/main" id="{3955D532-8B2E-6D51-79A0-4F01903427C9}"/>
                </a:ext>
              </a:extLst>
            </p:cNvPr>
            <p:cNvCxnSpPr>
              <a:cxnSpLocks/>
            </p:cNvCxnSpPr>
            <p:nvPr/>
          </p:nvCxnSpPr>
          <p:spPr>
            <a:xfrm flipH="1">
              <a:off x="10602747" y="1677271"/>
              <a:ext cx="74459" cy="74459"/>
            </a:xfrm>
            <a:prstGeom prst="lin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17" name="Straight Connector 16">
            <a:extLst>
              <a:ext uri="{FF2B5EF4-FFF2-40B4-BE49-F238E27FC236}">
                <a16:creationId xmlns:a16="http://schemas.microsoft.com/office/drawing/2014/main" id="{1A0C37A6-3B99-8D45-A011-A6EB79DA3611}"/>
              </a:ext>
            </a:extLst>
          </p:cNvPr>
          <p:cNvCxnSpPr>
            <a:cxnSpLocks/>
          </p:cNvCxnSpPr>
          <p:nvPr userDrawn="1"/>
        </p:nvCxnSpPr>
        <p:spPr>
          <a:xfrm rot="2700000" flipH="1">
            <a:off x="10124115" y="1677271"/>
            <a:ext cx="74459" cy="74459"/>
          </a:xfrm>
          <a:prstGeom prst="lin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8" name="Picture Placeholder 15">
            <a:extLst>
              <a:ext uri="{FF2B5EF4-FFF2-40B4-BE49-F238E27FC236}">
                <a16:creationId xmlns:a16="http://schemas.microsoft.com/office/drawing/2014/main" id="{0F058624-3B61-1626-E04D-A5E5F87717E5}"/>
              </a:ext>
            </a:extLst>
          </p:cNvPr>
          <p:cNvSpPr>
            <a:spLocks noGrp="1"/>
          </p:cNvSpPr>
          <p:nvPr>
            <p:ph type="pic" sz="quarter" idx="20" hasCustomPrompt="1"/>
          </p:nvPr>
        </p:nvSpPr>
        <p:spPr>
          <a:xfrm>
            <a:off x="4740276" y="1825625"/>
            <a:ext cx="6096000" cy="3429000"/>
          </a:xfrm>
          <a:solidFill>
            <a:schemeClr val="bg1">
              <a:lumMod val="95000"/>
            </a:schemeClr>
          </a:solidFill>
          <a:ln w="12700">
            <a:solidFill>
              <a:schemeClr val="bg1"/>
            </a:solid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center icon to insert </a:t>
            </a:r>
            <a:r>
              <a:rPr lang="en-GB"/>
              <a:t>screenshot</a:t>
            </a:r>
          </a:p>
        </p:txBody>
      </p:sp>
    </p:spTree>
    <p:extLst>
      <p:ext uri="{BB962C8B-B14F-4D97-AF65-F5344CB8AC3E}">
        <p14:creationId xmlns:p14="http://schemas.microsoft.com/office/powerpoint/2010/main" val="3780197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attern - Agenda">
    <p:spTree>
      <p:nvGrpSpPr>
        <p:cNvPr id="1" name=""/>
        <p:cNvGrpSpPr/>
        <p:nvPr/>
      </p:nvGrpSpPr>
      <p:grpSpPr>
        <a:xfrm>
          <a:off x="0" y="0"/>
          <a:ext cx="0" cy="0"/>
          <a:chOff x="0" y="0"/>
          <a:chExt cx="0" cy="0"/>
        </a:xfrm>
      </p:grpSpPr>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
            <a:ext cx="4151312" cy="6858000"/>
          </a:xfrm>
          <a:prstGeom prst="rect">
            <a:avLst/>
          </a:prstGeom>
        </p:spPr>
      </p:pic>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550864" y="908939"/>
            <a:ext cx="2808286" cy="539751"/>
          </a:xfrm>
        </p:spPr>
        <p:txBody>
          <a:bodyPr tIns="0" anchor="t" anchorCtr="0"/>
          <a:lstStyle>
            <a:lvl1pPr marL="0" indent="0" algn="l">
              <a:lnSpc>
                <a:spcPct val="85000"/>
              </a:lnSpc>
              <a:buNone/>
              <a:defRPr sz="3600" spc="0" baseline="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Agenda</a:t>
            </a:r>
          </a:p>
        </p:txBody>
      </p:sp>
      <p:sp>
        <p:nvSpPr>
          <p:cNvPr id="12" name="Text Placeholder 9">
            <a:extLst>
              <a:ext uri="{FF2B5EF4-FFF2-40B4-BE49-F238E27FC236}">
                <a16:creationId xmlns:a16="http://schemas.microsoft.com/office/drawing/2014/main" id="{3EF12EEA-B717-A2D4-DD8A-8AD5480E07F4}"/>
              </a:ext>
            </a:extLst>
          </p:cNvPr>
          <p:cNvSpPr>
            <a:spLocks noGrp="1"/>
          </p:cNvSpPr>
          <p:nvPr>
            <p:ph type="body" sz="quarter" idx="13" hasCustomPrompt="1"/>
          </p:nvPr>
        </p:nvSpPr>
        <p:spPr>
          <a:xfrm>
            <a:off x="5232400" y="908939"/>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1 avenir pro 16pt</a:t>
            </a:r>
            <a:endParaRPr lang="en-GB"/>
          </a:p>
        </p:txBody>
      </p:sp>
      <p:sp>
        <p:nvSpPr>
          <p:cNvPr id="14" name="Text Placeholder 12">
            <a:extLst>
              <a:ext uri="{FF2B5EF4-FFF2-40B4-BE49-F238E27FC236}">
                <a16:creationId xmlns:a16="http://schemas.microsoft.com/office/drawing/2014/main" id="{269DCDE0-20E2-91A9-6591-26711B40C6C3}"/>
              </a:ext>
            </a:extLst>
          </p:cNvPr>
          <p:cNvSpPr>
            <a:spLocks noGrp="1"/>
          </p:cNvSpPr>
          <p:nvPr>
            <p:ph type="body" sz="quarter" idx="15" hasCustomPrompt="1"/>
          </p:nvPr>
        </p:nvSpPr>
        <p:spPr>
          <a:xfrm>
            <a:off x="5232400" y="1181195"/>
            <a:ext cx="2663825" cy="360362"/>
          </a:xfrm>
        </p:spPr>
        <p:txBody>
          <a:bodyPr/>
          <a:lstStyle>
            <a:lvl1pPr marL="0" indent="0">
              <a:buNone/>
              <a:defRPr/>
            </a:lvl1pPr>
          </a:lstStyle>
          <a:p>
            <a:pPr lvl="0"/>
            <a:r>
              <a:rPr lang="en-US"/>
              <a:t>Speaker name 15pt</a:t>
            </a:r>
            <a:endParaRPr lang="en-GB"/>
          </a:p>
        </p:txBody>
      </p:sp>
      <p:pic>
        <p:nvPicPr>
          <p:cNvPr id="2" name="Graphic 1">
            <a:extLst>
              <a:ext uri="{FF2B5EF4-FFF2-40B4-BE49-F238E27FC236}">
                <a16:creationId xmlns:a16="http://schemas.microsoft.com/office/drawing/2014/main" id="{85E8F12A-96AE-47C6-B255-6B04E5BF4F8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6336448"/>
            <a:ext cx="1381417" cy="233480"/>
          </a:xfrm>
          <a:prstGeom prst="rect">
            <a:avLst/>
          </a:prstGeom>
        </p:spPr>
      </p:pic>
      <p:sp>
        <p:nvSpPr>
          <p:cNvPr id="7" name="Rectangle 6">
            <a:extLst>
              <a:ext uri="{FF2B5EF4-FFF2-40B4-BE49-F238E27FC236}">
                <a16:creationId xmlns:a16="http://schemas.microsoft.com/office/drawing/2014/main" id="{4CD1B346-5EB3-2C1B-85D3-74C6134838FA}"/>
              </a:ext>
            </a:extLst>
          </p:cNvPr>
          <p:cNvSpPr/>
          <p:nvPr userDrawn="1"/>
        </p:nvSpPr>
        <p:spPr>
          <a:xfrm>
            <a:off x="10848975" y="6308725"/>
            <a:ext cx="1343025" cy="549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 Placeholder 9">
            <a:extLst>
              <a:ext uri="{FF2B5EF4-FFF2-40B4-BE49-F238E27FC236}">
                <a16:creationId xmlns:a16="http://schemas.microsoft.com/office/drawing/2014/main" id="{D98FA47A-F5F1-F3F2-DAE0-2B0720FAF2EE}"/>
              </a:ext>
            </a:extLst>
          </p:cNvPr>
          <p:cNvSpPr>
            <a:spLocks noGrp="1"/>
          </p:cNvSpPr>
          <p:nvPr>
            <p:ph type="body" sz="quarter" idx="22" hasCustomPrompt="1"/>
          </p:nvPr>
        </p:nvSpPr>
        <p:spPr>
          <a:xfrm>
            <a:off x="5232400" y="1813813"/>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2  avenir pro 16pt</a:t>
            </a:r>
            <a:endParaRPr lang="en-GB"/>
          </a:p>
        </p:txBody>
      </p:sp>
      <p:sp>
        <p:nvSpPr>
          <p:cNvPr id="16" name="Text Placeholder 12">
            <a:extLst>
              <a:ext uri="{FF2B5EF4-FFF2-40B4-BE49-F238E27FC236}">
                <a16:creationId xmlns:a16="http://schemas.microsoft.com/office/drawing/2014/main" id="{109331F8-60EC-53FE-1485-4F98B855165B}"/>
              </a:ext>
            </a:extLst>
          </p:cNvPr>
          <p:cNvSpPr>
            <a:spLocks noGrp="1"/>
          </p:cNvSpPr>
          <p:nvPr>
            <p:ph type="body" sz="quarter" idx="23" hasCustomPrompt="1"/>
          </p:nvPr>
        </p:nvSpPr>
        <p:spPr>
          <a:xfrm>
            <a:off x="5232400" y="2086069"/>
            <a:ext cx="2663825" cy="360362"/>
          </a:xfrm>
        </p:spPr>
        <p:txBody>
          <a:bodyPr/>
          <a:lstStyle>
            <a:lvl1pPr marL="0" indent="0">
              <a:buNone/>
              <a:defRPr/>
            </a:lvl1pPr>
          </a:lstStyle>
          <a:p>
            <a:pPr lvl="0"/>
            <a:r>
              <a:rPr lang="en-US"/>
              <a:t>Speaker name 15pt</a:t>
            </a:r>
            <a:endParaRPr lang="en-GB"/>
          </a:p>
        </p:txBody>
      </p:sp>
      <p:sp>
        <p:nvSpPr>
          <p:cNvPr id="17" name="Text Placeholder 9">
            <a:extLst>
              <a:ext uri="{FF2B5EF4-FFF2-40B4-BE49-F238E27FC236}">
                <a16:creationId xmlns:a16="http://schemas.microsoft.com/office/drawing/2014/main" id="{B8A5BE2C-5746-DA2F-2A54-E582807C03CE}"/>
              </a:ext>
            </a:extLst>
          </p:cNvPr>
          <p:cNvSpPr>
            <a:spLocks noGrp="1"/>
          </p:cNvSpPr>
          <p:nvPr>
            <p:ph type="body" sz="quarter" idx="24" hasCustomPrompt="1"/>
          </p:nvPr>
        </p:nvSpPr>
        <p:spPr>
          <a:xfrm>
            <a:off x="5232400" y="2708369"/>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3 avenir pro 16pt</a:t>
            </a:r>
            <a:endParaRPr lang="en-GB"/>
          </a:p>
        </p:txBody>
      </p:sp>
      <p:sp>
        <p:nvSpPr>
          <p:cNvPr id="18" name="Text Placeholder 12">
            <a:extLst>
              <a:ext uri="{FF2B5EF4-FFF2-40B4-BE49-F238E27FC236}">
                <a16:creationId xmlns:a16="http://schemas.microsoft.com/office/drawing/2014/main" id="{26C3EE11-6012-B350-B080-3F845D09F863}"/>
              </a:ext>
            </a:extLst>
          </p:cNvPr>
          <p:cNvSpPr>
            <a:spLocks noGrp="1"/>
          </p:cNvSpPr>
          <p:nvPr>
            <p:ph type="body" sz="quarter" idx="25" hasCustomPrompt="1"/>
          </p:nvPr>
        </p:nvSpPr>
        <p:spPr>
          <a:xfrm>
            <a:off x="5232400" y="2980625"/>
            <a:ext cx="2663825" cy="360362"/>
          </a:xfrm>
        </p:spPr>
        <p:txBody>
          <a:bodyPr/>
          <a:lstStyle>
            <a:lvl1pPr marL="0" indent="0">
              <a:buNone/>
              <a:defRPr/>
            </a:lvl1pPr>
          </a:lstStyle>
          <a:p>
            <a:pPr lvl="0"/>
            <a:r>
              <a:rPr lang="en-US"/>
              <a:t>Speaker name 15pt</a:t>
            </a:r>
            <a:endParaRPr lang="en-GB"/>
          </a:p>
        </p:txBody>
      </p:sp>
      <p:sp>
        <p:nvSpPr>
          <p:cNvPr id="19" name="Text Placeholder 9">
            <a:extLst>
              <a:ext uri="{FF2B5EF4-FFF2-40B4-BE49-F238E27FC236}">
                <a16:creationId xmlns:a16="http://schemas.microsoft.com/office/drawing/2014/main" id="{80C727C3-EBAD-6631-9535-34C3D7F5368F}"/>
              </a:ext>
            </a:extLst>
          </p:cNvPr>
          <p:cNvSpPr>
            <a:spLocks noGrp="1"/>
          </p:cNvSpPr>
          <p:nvPr>
            <p:ph type="body" sz="quarter" idx="26" hasCustomPrompt="1"/>
          </p:nvPr>
        </p:nvSpPr>
        <p:spPr>
          <a:xfrm>
            <a:off x="5232400" y="3609276"/>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4 avenir pro 16pt</a:t>
            </a:r>
            <a:endParaRPr lang="en-GB"/>
          </a:p>
        </p:txBody>
      </p:sp>
      <p:sp>
        <p:nvSpPr>
          <p:cNvPr id="20" name="Text Placeholder 12">
            <a:extLst>
              <a:ext uri="{FF2B5EF4-FFF2-40B4-BE49-F238E27FC236}">
                <a16:creationId xmlns:a16="http://schemas.microsoft.com/office/drawing/2014/main" id="{85099225-A0E5-59B3-3D5E-A192E46A411C}"/>
              </a:ext>
            </a:extLst>
          </p:cNvPr>
          <p:cNvSpPr>
            <a:spLocks noGrp="1"/>
          </p:cNvSpPr>
          <p:nvPr>
            <p:ph type="body" sz="quarter" idx="27" hasCustomPrompt="1"/>
          </p:nvPr>
        </p:nvSpPr>
        <p:spPr>
          <a:xfrm>
            <a:off x="5232400" y="3881532"/>
            <a:ext cx="2663825" cy="360362"/>
          </a:xfrm>
        </p:spPr>
        <p:txBody>
          <a:bodyPr/>
          <a:lstStyle>
            <a:lvl1pPr marL="0" indent="0">
              <a:buNone/>
              <a:defRPr/>
            </a:lvl1pPr>
          </a:lstStyle>
          <a:p>
            <a:pPr lvl="0"/>
            <a:r>
              <a:rPr lang="en-US"/>
              <a:t>Speaker name 15pt</a:t>
            </a:r>
            <a:endParaRPr lang="en-GB"/>
          </a:p>
        </p:txBody>
      </p:sp>
      <p:sp>
        <p:nvSpPr>
          <p:cNvPr id="21" name="Text Placeholder 9">
            <a:extLst>
              <a:ext uri="{FF2B5EF4-FFF2-40B4-BE49-F238E27FC236}">
                <a16:creationId xmlns:a16="http://schemas.microsoft.com/office/drawing/2014/main" id="{33B65456-E09E-517B-4422-8EC9719E6041}"/>
              </a:ext>
            </a:extLst>
          </p:cNvPr>
          <p:cNvSpPr>
            <a:spLocks noGrp="1"/>
          </p:cNvSpPr>
          <p:nvPr>
            <p:ph type="body" sz="quarter" idx="28" hasCustomPrompt="1"/>
          </p:nvPr>
        </p:nvSpPr>
        <p:spPr>
          <a:xfrm>
            <a:off x="5232400" y="4511770"/>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5 avenir pro 16pt</a:t>
            </a:r>
            <a:endParaRPr lang="en-GB"/>
          </a:p>
        </p:txBody>
      </p:sp>
      <p:sp>
        <p:nvSpPr>
          <p:cNvPr id="22" name="Text Placeholder 12">
            <a:extLst>
              <a:ext uri="{FF2B5EF4-FFF2-40B4-BE49-F238E27FC236}">
                <a16:creationId xmlns:a16="http://schemas.microsoft.com/office/drawing/2014/main" id="{BD5F8EFF-2E7B-2CB9-29B1-7559E30DA2BB}"/>
              </a:ext>
            </a:extLst>
          </p:cNvPr>
          <p:cNvSpPr>
            <a:spLocks noGrp="1"/>
          </p:cNvSpPr>
          <p:nvPr>
            <p:ph type="body" sz="quarter" idx="29" hasCustomPrompt="1"/>
          </p:nvPr>
        </p:nvSpPr>
        <p:spPr>
          <a:xfrm>
            <a:off x="5232400" y="4784026"/>
            <a:ext cx="2663825" cy="360362"/>
          </a:xfrm>
        </p:spPr>
        <p:txBody>
          <a:bodyPr/>
          <a:lstStyle>
            <a:lvl1pPr marL="0" indent="0">
              <a:buNone/>
              <a:defRPr/>
            </a:lvl1pPr>
          </a:lstStyle>
          <a:p>
            <a:pPr lvl="0"/>
            <a:r>
              <a:rPr lang="en-US"/>
              <a:t>Speaker name 15pt</a:t>
            </a:r>
            <a:endParaRPr lang="en-GB"/>
          </a:p>
        </p:txBody>
      </p:sp>
      <p:sp>
        <p:nvSpPr>
          <p:cNvPr id="23" name="Text Placeholder 9">
            <a:extLst>
              <a:ext uri="{FF2B5EF4-FFF2-40B4-BE49-F238E27FC236}">
                <a16:creationId xmlns:a16="http://schemas.microsoft.com/office/drawing/2014/main" id="{2E54EB12-6817-6039-F4B6-FBCFD17C52A3}"/>
              </a:ext>
            </a:extLst>
          </p:cNvPr>
          <p:cNvSpPr>
            <a:spLocks noGrp="1"/>
          </p:cNvSpPr>
          <p:nvPr>
            <p:ph type="body" sz="quarter" idx="30" hasCustomPrompt="1"/>
          </p:nvPr>
        </p:nvSpPr>
        <p:spPr>
          <a:xfrm>
            <a:off x="5232400" y="5409501"/>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6 avenir pro 16pt</a:t>
            </a:r>
            <a:endParaRPr lang="en-GB"/>
          </a:p>
        </p:txBody>
      </p:sp>
      <p:sp>
        <p:nvSpPr>
          <p:cNvPr id="24" name="Text Placeholder 12">
            <a:extLst>
              <a:ext uri="{FF2B5EF4-FFF2-40B4-BE49-F238E27FC236}">
                <a16:creationId xmlns:a16="http://schemas.microsoft.com/office/drawing/2014/main" id="{14B5A5B8-3553-B020-E57C-6E95FECF4E58}"/>
              </a:ext>
            </a:extLst>
          </p:cNvPr>
          <p:cNvSpPr>
            <a:spLocks noGrp="1"/>
          </p:cNvSpPr>
          <p:nvPr>
            <p:ph type="body" sz="quarter" idx="31" hasCustomPrompt="1"/>
          </p:nvPr>
        </p:nvSpPr>
        <p:spPr>
          <a:xfrm>
            <a:off x="5232400" y="5681757"/>
            <a:ext cx="2663825" cy="360362"/>
          </a:xfrm>
        </p:spPr>
        <p:txBody>
          <a:bodyPr/>
          <a:lstStyle>
            <a:lvl1pPr marL="0" indent="0">
              <a:buNone/>
              <a:defRPr/>
            </a:lvl1pPr>
          </a:lstStyle>
          <a:p>
            <a:pPr lvl="0"/>
            <a:r>
              <a:rPr lang="en-US"/>
              <a:t>Speaker name 15pt</a:t>
            </a:r>
            <a:endParaRPr lang="en-GB"/>
          </a:p>
        </p:txBody>
      </p:sp>
      <p:sp>
        <p:nvSpPr>
          <p:cNvPr id="25" name="Text Placeholder 9">
            <a:extLst>
              <a:ext uri="{FF2B5EF4-FFF2-40B4-BE49-F238E27FC236}">
                <a16:creationId xmlns:a16="http://schemas.microsoft.com/office/drawing/2014/main" id="{EA0719F1-D354-CD5D-304E-EE0A6DBB54BF}"/>
              </a:ext>
            </a:extLst>
          </p:cNvPr>
          <p:cNvSpPr>
            <a:spLocks noGrp="1"/>
          </p:cNvSpPr>
          <p:nvPr>
            <p:ph type="body" sz="quarter" idx="32" hasCustomPrompt="1"/>
          </p:nvPr>
        </p:nvSpPr>
        <p:spPr>
          <a:xfrm>
            <a:off x="8975725" y="908939"/>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7 avenir pro 16pt</a:t>
            </a:r>
            <a:endParaRPr lang="en-GB"/>
          </a:p>
        </p:txBody>
      </p:sp>
      <p:sp>
        <p:nvSpPr>
          <p:cNvPr id="26" name="Text Placeholder 12">
            <a:extLst>
              <a:ext uri="{FF2B5EF4-FFF2-40B4-BE49-F238E27FC236}">
                <a16:creationId xmlns:a16="http://schemas.microsoft.com/office/drawing/2014/main" id="{FF8D2CDC-7383-E032-6FDA-4C6EEA91C19A}"/>
              </a:ext>
            </a:extLst>
          </p:cNvPr>
          <p:cNvSpPr>
            <a:spLocks noGrp="1"/>
          </p:cNvSpPr>
          <p:nvPr>
            <p:ph type="body" sz="quarter" idx="33" hasCustomPrompt="1"/>
          </p:nvPr>
        </p:nvSpPr>
        <p:spPr>
          <a:xfrm>
            <a:off x="8975725" y="1181195"/>
            <a:ext cx="2663825" cy="360362"/>
          </a:xfrm>
        </p:spPr>
        <p:txBody>
          <a:bodyPr/>
          <a:lstStyle>
            <a:lvl1pPr marL="0" indent="0">
              <a:buNone/>
              <a:defRPr/>
            </a:lvl1pPr>
          </a:lstStyle>
          <a:p>
            <a:pPr lvl="0"/>
            <a:r>
              <a:rPr lang="en-US"/>
              <a:t>Speaker name 15pt</a:t>
            </a:r>
            <a:endParaRPr lang="en-GB"/>
          </a:p>
        </p:txBody>
      </p:sp>
      <p:sp>
        <p:nvSpPr>
          <p:cNvPr id="27" name="Text Placeholder 9">
            <a:extLst>
              <a:ext uri="{FF2B5EF4-FFF2-40B4-BE49-F238E27FC236}">
                <a16:creationId xmlns:a16="http://schemas.microsoft.com/office/drawing/2014/main" id="{C2D7637D-8189-7E56-A228-E4137C7D1881}"/>
              </a:ext>
            </a:extLst>
          </p:cNvPr>
          <p:cNvSpPr>
            <a:spLocks noGrp="1"/>
          </p:cNvSpPr>
          <p:nvPr>
            <p:ph type="body" sz="quarter" idx="34" hasCustomPrompt="1"/>
          </p:nvPr>
        </p:nvSpPr>
        <p:spPr>
          <a:xfrm>
            <a:off x="8975725" y="1813813"/>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8  avenir pro 16pt</a:t>
            </a:r>
            <a:endParaRPr lang="en-GB"/>
          </a:p>
        </p:txBody>
      </p:sp>
      <p:sp>
        <p:nvSpPr>
          <p:cNvPr id="28" name="Text Placeholder 12">
            <a:extLst>
              <a:ext uri="{FF2B5EF4-FFF2-40B4-BE49-F238E27FC236}">
                <a16:creationId xmlns:a16="http://schemas.microsoft.com/office/drawing/2014/main" id="{CCAA28CC-DFD5-6F5D-11CB-7AB5AF5520CB}"/>
              </a:ext>
            </a:extLst>
          </p:cNvPr>
          <p:cNvSpPr>
            <a:spLocks noGrp="1"/>
          </p:cNvSpPr>
          <p:nvPr>
            <p:ph type="body" sz="quarter" idx="35" hasCustomPrompt="1"/>
          </p:nvPr>
        </p:nvSpPr>
        <p:spPr>
          <a:xfrm>
            <a:off x="8975725" y="2086069"/>
            <a:ext cx="2663825" cy="360362"/>
          </a:xfrm>
        </p:spPr>
        <p:txBody>
          <a:bodyPr/>
          <a:lstStyle>
            <a:lvl1pPr marL="0" indent="0">
              <a:buNone/>
              <a:defRPr/>
            </a:lvl1pPr>
          </a:lstStyle>
          <a:p>
            <a:pPr lvl="0"/>
            <a:r>
              <a:rPr lang="en-US"/>
              <a:t>Speaker name 15pt</a:t>
            </a:r>
            <a:endParaRPr lang="en-GB"/>
          </a:p>
        </p:txBody>
      </p:sp>
      <p:sp>
        <p:nvSpPr>
          <p:cNvPr id="29" name="Text Placeholder 9">
            <a:extLst>
              <a:ext uri="{FF2B5EF4-FFF2-40B4-BE49-F238E27FC236}">
                <a16:creationId xmlns:a16="http://schemas.microsoft.com/office/drawing/2014/main" id="{0CCE300E-96F1-5E85-1F2C-969E27E84DC5}"/>
              </a:ext>
            </a:extLst>
          </p:cNvPr>
          <p:cNvSpPr>
            <a:spLocks noGrp="1"/>
          </p:cNvSpPr>
          <p:nvPr>
            <p:ph type="body" sz="quarter" idx="36" hasCustomPrompt="1"/>
          </p:nvPr>
        </p:nvSpPr>
        <p:spPr>
          <a:xfrm>
            <a:off x="8975725" y="2708369"/>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9 avenir pro 16pt</a:t>
            </a:r>
            <a:endParaRPr lang="en-GB"/>
          </a:p>
        </p:txBody>
      </p:sp>
      <p:sp>
        <p:nvSpPr>
          <p:cNvPr id="30" name="Text Placeholder 12">
            <a:extLst>
              <a:ext uri="{FF2B5EF4-FFF2-40B4-BE49-F238E27FC236}">
                <a16:creationId xmlns:a16="http://schemas.microsoft.com/office/drawing/2014/main" id="{006BA578-EBC6-4D8D-4D5D-8865C72B730D}"/>
              </a:ext>
            </a:extLst>
          </p:cNvPr>
          <p:cNvSpPr>
            <a:spLocks noGrp="1"/>
          </p:cNvSpPr>
          <p:nvPr>
            <p:ph type="body" sz="quarter" idx="37" hasCustomPrompt="1"/>
          </p:nvPr>
        </p:nvSpPr>
        <p:spPr>
          <a:xfrm>
            <a:off x="8975725" y="2980625"/>
            <a:ext cx="2663825" cy="360362"/>
          </a:xfrm>
        </p:spPr>
        <p:txBody>
          <a:bodyPr/>
          <a:lstStyle>
            <a:lvl1pPr marL="0" indent="0">
              <a:buNone/>
              <a:defRPr/>
            </a:lvl1pPr>
          </a:lstStyle>
          <a:p>
            <a:pPr lvl="0"/>
            <a:r>
              <a:rPr lang="en-US"/>
              <a:t>Speaker name 15pt</a:t>
            </a:r>
            <a:endParaRPr lang="en-GB"/>
          </a:p>
        </p:txBody>
      </p:sp>
      <p:sp>
        <p:nvSpPr>
          <p:cNvPr id="31" name="Text Placeholder 9">
            <a:extLst>
              <a:ext uri="{FF2B5EF4-FFF2-40B4-BE49-F238E27FC236}">
                <a16:creationId xmlns:a16="http://schemas.microsoft.com/office/drawing/2014/main" id="{EB47B132-45B7-F4D1-3F1E-8B5ADCF78F64}"/>
              </a:ext>
            </a:extLst>
          </p:cNvPr>
          <p:cNvSpPr>
            <a:spLocks noGrp="1"/>
          </p:cNvSpPr>
          <p:nvPr>
            <p:ph type="body" sz="quarter" idx="38" hasCustomPrompt="1"/>
          </p:nvPr>
        </p:nvSpPr>
        <p:spPr>
          <a:xfrm>
            <a:off x="8975725" y="3609276"/>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10 avenir pro 16pt</a:t>
            </a:r>
            <a:endParaRPr lang="en-GB"/>
          </a:p>
        </p:txBody>
      </p:sp>
      <p:sp>
        <p:nvSpPr>
          <p:cNvPr id="32" name="Text Placeholder 12">
            <a:extLst>
              <a:ext uri="{FF2B5EF4-FFF2-40B4-BE49-F238E27FC236}">
                <a16:creationId xmlns:a16="http://schemas.microsoft.com/office/drawing/2014/main" id="{30F4EA1B-47E0-A854-D380-6FEB5CA23E85}"/>
              </a:ext>
            </a:extLst>
          </p:cNvPr>
          <p:cNvSpPr>
            <a:spLocks noGrp="1"/>
          </p:cNvSpPr>
          <p:nvPr>
            <p:ph type="body" sz="quarter" idx="39" hasCustomPrompt="1"/>
          </p:nvPr>
        </p:nvSpPr>
        <p:spPr>
          <a:xfrm>
            <a:off x="8975725" y="3881532"/>
            <a:ext cx="2663825" cy="360362"/>
          </a:xfrm>
        </p:spPr>
        <p:txBody>
          <a:bodyPr/>
          <a:lstStyle>
            <a:lvl1pPr marL="0" indent="0">
              <a:buNone/>
              <a:defRPr/>
            </a:lvl1pPr>
          </a:lstStyle>
          <a:p>
            <a:pPr lvl="0"/>
            <a:r>
              <a:rPr lang="en-US"/>
              <a:t>Speaker name 15pt</a:t>
            </a:r>
            <a:endParaRPr lang="en-GB"/>
          </a:p>
        </p:txBody>
      </p:sp>
      <p:sp>
        <p:nvSpPr>
          <p:cNvPr id="33" name="Text Placeholder 9">
            <a:extLst>
              <a:ext uri="{FF2B5EF4-FFF2-40B4-BE49-F238E27FC236}">
                <a16:creationId xmlns:a16="http://schemas.microsoft.com/office/drawing/2014/main" id="{178D9CEE-53D8-0509-1380-FB0ED60C55F0}"/>
              </a:ext>
            </a:extLst>
          </p:cNvPr>
          <p:cNvSpPr>
            <a:spLocks noGrp="1"/>
          </p:cNvSpPr>
          <p:nvPr>
            <p:ph type="body" sz="quarter" idx="40" hasCustomPrompt="1"/>
          </p:nvPr>
        </p:nvSpPr>
        <p:spPr>
          <a:xfrm>
            <a:off x="8975725" y="4511770"/>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11 avenir pro 16pt</a:t>
            </a:r>
            <a:endParaRPr lang="en-GB"/>
          </a:p>
        </p:txBody>
      </p:sp>
      <p:sp>
        <p:nvSpPr>
          <p:cNvPr id="34" name="Text Placeholder 12">
            <a:extLst>
              <a:ext uri="{FF2B5EF4-FFF2-40B4-BE49-F238E27FC236}">
                <a16:creationId xmlns:a16="http://schemas.microsoft.com/office/drawing/2014/main" id="{5CC44E00-F25A-5B43-7AC4-CE90BD0130E2}"/>
              </a:ext>
            </a:extLst>
          </p:cNvPr>
          <p:cNvSpPr>
            <a:spLocks noGrp="1"/>
          </p:cNvSpPr>
          <p:nvPr>
            <p:ph type="body" sz="quarter" idx="41" hasCustomPrompt="1"/>
          </p:nvPr>
        </p:nvSpPr>
        <p:spPr>
          <a:xfrm>
            <a:off x="8975725" y="4784026"/>
            <a:ext cx="2663825" cy="360362"/>
          </a:xfrm>
        </p:spPr>
        <p:txBody>
          <a:bodyPr/>
          <a:lstStyle>
            <a:lvl1pPr marL="0" indent="0">
              <a:buNone/>
              <a:defRPr/>
            </a:lvl1pPr>
          </a:lstStyle>
          <a:p>
            <a:pPr lvl="0"/>
            <a:r>
              <a:rPr lang="en-US"/>
              <a:t>Speaker name 15pt</a:t>
            </a:r>
            <a:endParaRPr lang="en-GB"/>
          </a:p>
        </p:txBody>
      </p:sp>
      <p:sp>
        <p:nvSpPr>
          <p:cNvPr id="35" name="Text Placeholder 9">
            <a:extLst>
              <a:ext uri="{FF2B5EF4-FFF2-40B4-BE49-F238E27FC236}">
                <a16:creationId xmlns:a16="http://schemas.microsoft.com/office/drawing/2014/main" id="{A55681AE-9963-540A-9EFB-7B44D5AE1944}"/>
              </a:ext>
            </a:extLst>
          </p:cNvPr>
          <p:cNvSpPr>
            <a:spLocks noGrp="1"/>
          </p:cNvSpPr>
          <p:nvPr>
            <p:ph type="body" sz="quarter" idx="42" hasCustomPrompt="1"/>
          </p:nvPr>
        </p:nvSpPr>
        <p:spPr>
          <a:xfrm>
            <a:off x="8975725" y="5409501"/>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12 avenir pro 16pt</a:t>
            </a:r>
            <a:endParaRPr lang="en-GB"/>
          </a:p>
        </p:txBody>
      </p:sp>
      <p:sp>
        <p:nvSpPr>
          <p:cNvPr id="36" name="Text Placeholder 12">
            <a:extLst>
              <a:ext uri="{FF2B5EF4-FFF2-40B4-BE49-F238E27FC236}">
                <a16:creationId xmlns:a16="http://schemas.microsoft.com/office/drawing/2014/main" id="{BB0249F4-8C05-A35A-F49D-E3591E7321F9}"/>
              </a:ext>
            </a:extLst>
          </p:cNvPr>
          <p:cNvSpPr>
            <a:spLocks noGrp="1"/>
          </p:cNvSpPr>
          <p:nvPr>
            <p:ph type="body" sz="quarter" idx="43" hasCustomPrompt="1"/>
          </p:nvPr>
        </p:nvSpPr>
        <p:spPr>
          <a:xfrm>
            <a:off x="8975725" y="5681757"/>
            <a:ext cx="2663825" cy="360362"/>
          </a:xfrm>
        </p:spPr>
        <p:txBody>
          <a:bodyPr/>
          <a:lstStyle>
            <a:lvl1pPr marL="0" indent="0">
              <a:buNone/>
              <a:defRPr/>
            </a:lvl1pPr>
          </a:lstStyle>
          <a:p>
            <a:pPr lvl="0"/>
            <a:r>
              <a:rPr lang="en-US"/>
              <a:t>Speaker name 15pt</a:t>
            </a:r>
            <a:endParaRPr lang="en-GB"/>
          </a:p>
        </p:txBody>
      </p:sp>
    </p:spTree>
    <p:extLst>
      <p:ext uri="{BB962C8B-B14F-4D97-AF65-F5344CB8AC3E}">
        <p14:creationId xmlns:p14="http://schemas.microsoft.com/office/powerpoint/2010/main" val="12570909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x Text / 2x Smartpho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3203999"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3203999"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1808165"/>
            <a:ext cx="3204000" cy="4321173"/>
          </a:xfrm>
        </p:spPr>
        <p:txBody>
          <a:bodyPr/>
          <a:lstStyle/>
          <a:p>
            <a:pPr lvl="0"/>
            <a:r>
              <a:rPr lang="en-US"/>
              <a:t>Click to edit Master text styles</a:t>
            </a:r>
          </a:p>
          <a:p>
            <a:pPr lvl="1"/>
            <a:r>
              <a:rPr lang="en-US"/>
              <a:t>Second level</a:t>
            </a:r>
          </a:p>
          <a:p>
            <a:pPr lvl="2"/>
            <a:r>
              <a:rPr lang="en-US"/>
              <a:t>Third level</a:t>
            </a:r>
          </a:p>
        </p:txBody>
      </p:sp>
      <p:sp>
        <p:nvSpPr>
          <p:cNvPr id="6" name="Rectangle: Rounded Corners 5">
            <a:extLst>
              <a:ext uri="{FF2B5EF4-FFF2-40B4-BE49-F238E27FC236}">
                <a16:creationId xmlns:a16="http://schemas.microsoft.com/office/drawing/2014/main" id="{554C177F-8144-2B79-80FF-DDB6ECB5AD64}"/>
              </a:ext>
            </a:extLst>
          </p:cNvPr>
          <p:cNvSpPr/>
          <p:nvPr userDrawn="1"/>
        </p:nvSpPr>
        <p:spPr>
          <a:xfrm>
            <a:off x="4797580" y="741751"/>
            <a:ext cx="2596840" cy="5339329"/>
          </a:xfrm>
          <a:prstGeom prst="roundRect">
            <a:avLst>
              <a:gd name="adj" fmla="val 15682"/>
            </a:avLst>
          </a:prstGeom>
          <a:noFill/>
          <a:ln>
            <a:solidFill>
              <a:srgbClr val="2626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Rounded Corners 6">
            <a:extLst>
              <a:ext uri="{FF2B5EF4-FFF2-40B4-BE49-F238E27FC236}">
                <a16:creationId xmlns:a16="http://schemas.microsoft.com/office/drawing/2014/main" id="{E4274FCD-9313-9C7F-F2E4-4BD4686942CA}"/>
              </a:ext>
            </a:extLst>
          </p:cNvPr>
          <p:cNvSpPr/>
          <p:nvPr userDrawn="1"/>
        </p:nvSpPr>
        <p:spPr>
          <a:xfrm>
            <a:off x="8485788" y="741751"/>
            <a:ext cx="2596840" cy="5339329"/>
          </a:xfrm>
          <a:prstGeom prst="roundRect">
            <a:avLst>
              <a:gd name="adj" fmla="val 15682"/>
            </a:avLst>
          </a:prstGeom>
          <a:noFill/>
          <a:ln>
            <a:solidFill>
              <a:srgbClr val="2626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9" name="Straight Connector 18">
            <a:extLst>
              <a:ext uri="{FF2B5EF4-FFF2-40B4-BE49-F238E27FC236}">
                <a16:creationId xmlns:a16="http://schemas.microsoft.com/office/drawing/2014/main" id="{851819F6-A7F8-6537-C80C-B3334C67B177}"/>
              </a:ext>
            </a:extLst>
          </p:cNvPr>
          <p:cNvCxnSpPr/>
          <p:nvPr userDrawn="1"/>
        </p:nvCxnSpPr>
        <p:spPr>
          <a:xfrm>
            <a:off x="4495800" y="1171568"/>
            <a:ext cx="6896100"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530CFE0-92F7-F4B8-E02F-CC04AFBDF695}"/>
              </a:ext>
            </a:extLst>
          </p:cNvPr>
          <p:cNvCxnSpPr/>
          <p:nvPr userDrawn="1"/>
        </p:nvCxnSpPr>
        <p:spPr>
          <a:xfrm>
            <a:off x="4495800" y="5652617"/>
            <a:ext cx="6896100"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15">
            <a:extLst>
              <a:ext uri="{FF2B5EF4-FFF2-40B4-BE49-F238E27FC236}">
                <a16:creationId xmlns:a16="http://schemas.microsoft.com/office/drawing/2014/main" id="{E729752E-A2D0-6970-2572-715077B0E0E7}"/>
              </a:ext>
            </a:extLst>
          </p:cNvPr>
          <p:cNvSpPr>
            <a:spLocks noGrp="1"/>
          </p:cNvSpPr>
          <p:nvPr>
            <p:ph type="pic" sz="quarter" idx="20" hasCustomPrompt="1"/>
          </p:nvPr>
        </p:nvSpPr>
        <p:spPr>
          <a:xfrm>
            <a:off x="4938715" y="882462"/>
            <a:ext cx="2314571" cy="5057907"/>
          </a:xfrm>
          <a:prstGeom prst="roundRect">
            <a:avLst>
              <a:gd name="adj" fmla="val 12313"/>
            </a:avLst>
          </a:prstGeom>
          <a:solidFill>
            <a:schemeClr val="bg1">
              <a:lumMod val="95000"/>
            </a:schemeClr>
          </a:solidFill>
          <a:ln w="12700">
            <a:noFill/>
          </a:ln>
        </p:spPr>
        <p:txBody>
          <a:bodyPr lIns="72000" tIns="108000" rIns="72000" anchor="t" anchorCtr="0"/>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a:t>
            </a:r>
            <a:r>
              <a:rPr lang="en-GB"/>
              <a:t>screenshot</a:t>
            </a:r>
          </a:p>
        </p:txBody>
      </p:sp>
      <p:sp>
        <p:nvSpPr>
          <p:cNvPr id="22" name="Picture Placeholder 15">
            <a:extLst>
              <a:ext uri="{FF2B5EF4-FFF2-40B4-BE49-F238E27FC236}">
                <a16:creationId xmlns:a16="http://schemas.microsoft.com/office/drawing/2014/main" id="{C542C966-FED7-FFB3-A71F-610CB8C5B103}"/>
              </a:ext>
            </a:extLst>
          </p:cNvPr>
          <p:cNvSpPr>
            <a:spLocks noGrp="1"/>
          </p:cNvSpPr>
          <p:nvPr>
            <p:ph type="pic" sz="quarter" idx="21" hasCustomPrompt="1"/>
          </p:nvPr>
        </p:nvSpPr>
        <p:spPr>
          <a:xfrm>
            <a:off x="8626923" y="882462"/>
            <a:ext cx="2314571" cy="5057907"/>
          </a:xfrm>
          <a:prstGeom prst="roundRect">
            <a:avLst>
              <a:gd name="adj" fmla="val 12313"/>
            </a:avLst>
          </a:prstGeom>
          <a:solidFill>
            <a:schemeClr val="bg1">
              <a:lumMod val="95000"/>
            </a:schemeClr>
          </a:solidFill>
          <a:ln w="12700">
            <a:noFill/>
          </a:ln>
        </p:spPr>
        <p:txBody>
          <a:bodyPr lIns="72000" tIns="108000" rIns="72000" anchor="t" anchorCtr="0"/>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a:t>
            </a:r>
            <a:r>
              <a:rPr lang="en-GB"/>
              <a:t>screenshot</a:t>
            </a:r>
          </a:p>
        </p:txBody>
      </p:sp>
    </p:spTree>
    <p:extLst>
      <p:ext uri="{BB962C8B-B14F-4D97-AF65-F5344CB8AC3E}">
        <p14:creationId xmlns:p14="http://schemas.microsoft.com/office/powerpoint/2010/main" val="26732965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x Text / 1x Smartph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52460"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695246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1808165"/>
            <a:ext cx="3204000" cy="4321173"/>
          </a:xfrm>
        </p:spPr>
        <p:txBody>
          <a:bodyPr/>
          <a:lstStyle/>
          <a:p>
            <a:pPr lvl="0"/>
            <a:r>
              <a:rPr lang="en-US"/>
              <a:t>Click to edit Master text styles</a:t>
            </a:r>
          </a:p>
          <a:p>
            <a:pPr lvl="1"/>
            <a:r>
              <a:rPr lang="en-US"/>
              <a:t>Second level</a:t>
            </a:r>
          </a:p>
          <a:p>
            <a:pPr lvl="2"/>
            <a:r>
              <a:rPr lang="en-US"/>
              <a:t>Third level</a:t>
            </a:r>
          </a:p>
        </p:txBody>
      </p:sp>
      <p:sp>
        <p:nvSpPr>
          <p:cNvPr id="7" name="Rectangle: Rounded Corners 6">
            <a:extLst>
              <a:ext uri="{FF2B5EF4-FFF2-40B4-BE49-F238E27FC236}">
                <a16:creationId xmlns:a16="http://schemas.microsoft.com/office/drawing/2014/main" id="{E4274FCD-9313-9C7F-F2E4-4BD4686942CA}"/>
              </a:ext>
            </a:extLst>
          </p:cNvPr>
          <p:cNvSpPr/>
          <p:nvPr userDrawn="1"/>
        </p:nvSpPr>
        <p:spPr>
          <a:xfrm>
            <a:off x="8485788" y="741751"/>
            <a:ext cx="2596840" cy="5339329"/>
          </a:xfrm>
          <a:prstGeom prst="roundRect">
            <a:avLst>
              <a:gd name="adj" fmla="val 15682"/>
            </a:avLst>
          </a:prstGeom>
          <a:noFill/>
          <a:ln>
            <a:solidFill>
              <a:srgbClr val="2626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9" name="Straight Connector 18">
            <a:extLst>
              <a:ext uri="{FF2B5EF4-FFF2-40B4-BE49-F238E27FC236}">
                <a16:creationId xmlns:a16="http://schemas.microsoft.com/office/drawing/2014/main" id="{851819F6-A7F8-6537-C80C-B3334C67B177}"/>
              </a:ext>
            </a:extLst>
          </p:cNvPr>
          <p:cNvCxnSpPr/>
          <p:nvPr userDrawn="1"/>
        </p:nvCxnSpPr>
        <p:spPr>
          <a:xfrm>
            <a:off x="4495800" y="1171568"/>
            <a:ext cx="6896100"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530CFE0-92F7-F4B8-E02F-CC04AFBDF695}"/>
              </a:ext>
            </a:extLst>
          </p:cNvPr>
          <p:cNvCxnSpPr/>
          <p:nvPr userDrawn="1"/>
        </p:nvCxnSpPr>
        <p:spPr>
          <a:xfrm>
            <a:off x="4495800" y="5652617"/>
            <a:ext cx="6896100"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12">
            <a:extLst>
              <a:ext uri="{FF2B5EF4-FFF2-40B4-BE49-F238E27FC236}">
                <a16:creationId xmlns:a16="http://schemas.microsoft.com/office/drawing/2014/main" id="{B2DE60A2-5411-67A4-7462-2548CF00E8BD}"/>
              </a:ext>
            </a:extLst>
          </p:cNvPr>
          <p:cNvSpPr>
            <a:spLocks noGrp="1"/>
          </p:cNvSpPr>
          <p:nvPr>
            <p:ph type="body" sz="quarter" idx="22"/>
          </p:nvPr>
        </p:nvSpPr>
        <p:spPr>
          <a:xfrm>
            <a:off x="4299324" y="1808165"/>
            <a:ext cx="3204000" cy="4321173"/>
          </a:xfrm>
        </p:spPr>
        <p:txBody>
          <a:bodyPr/>
          <a:lstStyle>
            <a:lvl5pPr>
              <a:defRPr/>
            </a:lvl5pPr>
          </a:lstStyle>
          <a:p>
            <a:pPr lvl="0"/>
            <a:r>
              <a:rPr lang="en-US"/>
              <a:t>Click to edit Master text styles</a:t>
            </a:r>
          </a:p>
          <a:p>
            <a:pPr lvl="1"/>
            <a:r>
              <a:rPr lang="en-US"/>
              <a:t>Second level</a:t>
            </a:r>
          </a:p>
          <a:p>
            <a:pPr lvl="2"/>
            <a:r>
              <a:rPr lang="en-US"/>
              <a:t>Third level</a:t>
            </a:r>
          </a:p>
        </p:txBody>
      </p:sp>
      <p:sp>
        <p:nvSpPr>
          <p:cNvPr id="22" name="Picture Placeholder 15">
            <a:extLst>
              <a:ext uri="{FF2B5EF4-FFF2-40B4-BE49-F238E27FC236}">
                <a16:creationId xmlns:a16="http://schemas.microsoft.com/office/drawing/2014/main" id="{C542C966-FED7-FFB3-A71F-610CB8C5B103}"/>
              </a:ext>
            </a:extLst>
          </p:cNvPr>
          <p:cNvSpPr>
            <a:spLocks noGrp="1"/>
          </p:cNvSpPr>
          <p:nvPr>
            <p:ph type="pic" sz="quarter" idx="21" hasCustomPrompt="1"/>
          </p:nvPr>
        </p:nvSpPr>
        <p:spPr>
          <a:xfrm>
            <a:off x="8626923" y="882462"/>
            <a:ext cx="2314571" cy="5057907"/>
          </a:xfrm>
          <a:prstGeom prst="roundRect">
            <a:avLst>
              <a:gd name="adj" fmla="val 12313"/>
            </a:avLst>
          </a:prstGeom>
          <a:solidFill>
            <a:schemeClr val="bg1">
              <a:lumMod val="95000"/>
            </a:schemeClr>
          </a:solidFill>
          <a:ln w="12700">
            <a:noFill/>
          </a:ln>
        </p:spPr>
        <p:txBody>
          <a:bodyPr lIns="72000" tIns="108000" rIns="72000" anchor="t" anchorCtr="0"/>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a:t>
            </a:r>
            <a:r>
              <a:rPr lang="en-GB"/>
              <a:t>screenshot</a:t>
            </a:r>
          </a:p>
        </p:txBody>
      </p:sp>
    </p:spTree>
    <p:extLst>
      <p:ext uri="{BB962C8B-B14F-4D97-AF65-F5344CB8AC3E}">
        <p14:creationId xmlns:p14="http://schemas.microsoft.com/office/powerpoint/2010/main" val="27888633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x Text / 1x Tablet (Landscap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3823"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1628775"/>
            <a:ext cx="3204000" cy="4500563"/>
          </a:xfrm>
        </p:spPr>
        <p:txBody>
          <a:bodyPr/>
          <a:lstStyle/>
          <a:p>
            <a:pPr lvl="0"/>
            <a:r>
              <a:rPr lang="en-US"/>
              <a:t>Click to edit Master text styles</a:t>
            </a:r>
          </a:p>
          <a:p>
            <a:pPr lvl="1"/>
            <a:r>
              <a:rPr lang="en-US"/>
              <a:t>Second level</a:t>
            </a:r>
          </a:p>
          <a:p>
            <a:pPr lvl="2"/>
            <a:r>
              <a:rPr lang="en-US"/>
              <a:t>Third level</a:t>
            </a:r>
          </a:p>
        </p:txBody>
      </p:sp>
      <p:sp>
        <p:nvSpPr>
          <p:cNvPr id="6" name="Rectangle: Top Corners Rounded 5">
            <a:extLst>
              <a:ext uri="{FF2B5EF4-FFF2-40B4-BE49-F238E27FC236}">
                <a16:creationId xmlns:a16="http://schemas.microsoft.com/office/drawing/2014/main" id="{0D172ACE-2E60-6F2C-1A9C-4E5C5AF68040}"/>
              </a:ext>
            </a:extLst>
          </p:cNvPr>
          <p:cNvSpPr/>
          <p:nvPr userDrawn="1"/>
        </p:nvSpPr>
        <p:spPr>
          <a:xfrm>
            <a:off x="4695563" y="1681560"/>
            <a:ext cx="6148800" cy="3769200"/>
          </a:xfrm>
          <a:prstGeom prst="round2SameRect">
            <a:avLst>
              <a:gd name="adj1" fmla="val 2349"/>
              <a:gd name="adj2" fmla="val 2296"/>
            </a:avLst>
          </a:prstGeom>
          <a:noFill/>
          <a:ln>
            <a:solidFill>
              <a:srgbClr val="2626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15">
            <a:extLst>
              <a:ext uri="{FF2B5EF4-FFF2-40B4-BE49-F238E27FC236}">
                <a16:creationId xmlns:a16="http://schemas.microsoft.com/office/drawing/2014/main" id="{84E42A62-9E1F-CC49-FB5E-025015C68644}"/>
              </a:ext>
            </a:extLst>
          </p:cNvPr>
          <p:cNvSpPr>
            <a:spLocks noGrp="1"/>
          </p:cNvSpPr>
          <p:nvPr>
            <p:ph type="pic" sz="quarter" idx="20" hasCustomPrompt="1"/>
          </p:nvPr>
        </p:nvSpPr>
        <p:spPr>
          <a:xfrm>
            <a:off x="4847376" y="1814760"/>
            <a:ext cx="5846400" cy="3502800"/>
          </a:xfrm>
          <a:solidFill>
            <a:schemeClr val="bg1">
              <a:lumMod val="95000"/>
            </a:schemeClr>
          </a:solidFill>
          <a:ln w="12700">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a:t>
            </a:r>
            <a:r>
              <a:rPr lang="en-GB"/>
              <a:t>screenshot</a:t>
            </a:r>
          </a:p>
        </p:txBody>
      </p:sp>
    </p:spTree>
    <p:extLst>
      <p:ext uri="{BB962C8B-B14F-4D97-AF65-F5344CB8AC3E}">
        <p14:creationId xmlns:p14="http://schemas.microsoft.com/office/powerpoint/2010/main" val="6194999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x Text / 1x Tablet (Portra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3203999"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3203999"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1808163"/>
            <a:ext cx="3204000" cy="4321175"/>
          </a:xfrm>
        </p:spPr>
        <p:txBody>
          <a:bodyPr/>
          <a:lstStyle/>
          <a:p>
            <a:pPr lvl="0"/>
            <a:r>
              <a:rPr lang="en-US"/>
              <a:t>Click to edit Master text styles</a:t>
            </a:r>
          </a:p>
          <a:p>
            <a:pPr lvl="1"/>
            <a:r>
              <a:rPr lang="en-US"/>
              <a:t>Second level</a:t>
            </a:r>
          </a:p>
          <a:p>
            <a:pPr lvl="2"/>
            <a:r>
              <a:rPr lang="en-US"/>
              <a:t>Third level</a:t>
            </a:r>
          </a:p>
        </p:txBody>
      </p:sp>
      <p:sp>
        <p:nvSpPr>
          <p:cNvPr id="5" name="Rectangle: Top Corners Rounded 4">
            <a:extLst>
              <a:ext uri="{FF2B5EF4-FFF2-40B4-BE49-F238E27FC236}">
                <a16:creationId xmlns:a16="http://schemas.microsoft.com/office/drawing/2014/main" id="{D6216F3C-1EDF-9B90-1E7A-C9A4A1DCA1C6}"/>
              </a:ext>
            </a:extLst>
          </p:cNvPr>
          <p:cNvSpPr/>
          <p:nvPr userDrawn="1"/>
        </p:nvSpPr>
        <p:spPr>
          <a:xfrm rot="5400000">
            <a:off x="5081086" y="1298079"/>
            <a:ext cx="5774739" cy="3887787"/>
          </a:xfrm>
          <a:prstGeom prst="round2SameRect">
            <a:avLst>
              <a:gd name="adj1" fmla="val 2349"/>
              <a:gd name="adj2" fmla="val 2296"/>
            </a:avLst>
          </a:prstGeom>
          <a:noFill/>
          <a:ln>
            <a:solidFill>
              <a:srgbClr val="2626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icture Placeholder 15">
            <a:extLst>
              <a:ext uri="{FF2B5EF4-FFF2-40B4-BE49-F238E27FC236}">
                <a16:creationId xmlns:a16="http://schemas.microsoft.com/office/drawing/2014/main" id="{A0E7D2A0-0D05-58CA-310A-406A5D6DA7CD}"/>
              </a:ext>
            </a:extLst>
          </p:cNvPr>
          <p:cNvSpPr>
            <a:spLocks noGrp="1"/>
          </p:cNvSpPr>
          <p:nvPr>
            <p:ph type="pic" sz="quarter" idx="20" hasCustomPrompt="1"/>
          </p:nvPr>
        </p:nvSpPr>
        <p:spPr>
          <a:xfrm>
            <a:off x="6168230" y="507027"/>
            <a:ext cx="3600450" cy="5469890"/>
          </a:xfrm>
          <a:solidFill>
            <a:schemeClr val="bg1">
              <a:lumMod val="95000"/>
            </a:schemeClr>
          </a:solidFill>
          <a:ln w="12700">
            <a:noFill/>
          </a:ln>
        </p:spPr>
        <p:txBody>
          <a:bodyPr tIns="108000" anchor="t" anchorCtr="0"/>
          <a:lstStyle>
            <a:lvl1pPr marL="0" indent="0" algn="ctr">
              <a:buNone/>
              <a:defRPr sz="1000">
                <a:solidFill>
                  <a:schemeClr val="accent2"/>
                </a:solidFill>
                <a:latin typeface="+mn-lt"/>
              </a:defRPr>
            </a:lvl1pPr>
          </a:lstStyle>
          <a:p>
            <a:pPr lvl="0"/>
            <a:r>
              <a:rPr lang="en-US"/>
              <a:t>Drag picture file or click </a:t>
            </a:r>
            <a:r>
              <a:rPr lang="en-US" noProof="0"/>
              <a:t>center</a:t>
            </a:r>
            <a:r>
              <a:rPr lang="en-US"/>
              <a:t> icon to insert </a:t>
            </a:r>
            <a:r>
              <a:rPr lang="en-GB"/>
              <a:t>screenshot</a:t>
            </a:r>
          </a:p>
        </p:txBody>
      </p:sp>
    </p:spTree>
    <p:extLst>
      <p:ext uri="{BB962C8B-B14F-4D97-AF65-F5344CB8AC3E}">
        <p14:creationId xmlns:p14="http://schemas.microsoft.com/office/powerpoint/2010/main" val="3117733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 Map (Fix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3203999"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3203999"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3" y="1808163"/>
            <a:ext cx="3204000" cy="4321175"/>
          </a:xfrm>
        </p:spPr>
        <p:txBody>
          <a:bodyPr/>
          <a:lstStyle/>
          <a:p>
            <a:pPr lvl="0"/>
            <a:r>
              <a:rPr lang="en-US"/>
              <a:t>Click to edit Master text styles</a:t>
            </a:r>
          </a:p>
          <a:p>
            <a:pPr lvl="1"/>
            <a:r>
              <a:rPr lang="en-US"/>
              <a:t>Second level</a:t>
            </a:r>
          </a:p>
          <a:p>
            <a:pPr lvl="2"/>
            <a:r>
              <a:rPr lang="en-US"/>
              <a:t>Third level</a:t>
            </a:r>
          </a:p>
        </p:txBody>
      </p:sp>
      <p:grpSp>
        <p:nvGrpSpPr>
          <p:cNvPr id="6" name="Group 5">
            <a:extLst>
              <a:ext uri="{FF2B5EF4-FFF2-40B4-BE49-F238E27FC236}">
                <a16:creationId xmlns:a16="http://schemas.microsoft.com/office/drawing/2014/main" id="{163C2A50-E23C-B003-E147-B5950F860D19}"/>
              </a:ext>
            </a:extLst>
          </p:cNvPr>
          <p:cNvGrpSpPr/>
          <p:nvPr userDrawn="1"/>
        </p:nvGrpSpPr>
        <p:grpSpPr>
          <a:xfrm>
            <a:off x="3837161" y="866775"/>
            <a:ext cx="7917688" cy="5124452"/>
            <a:chOff x="1857537" y="685800"/>
            <a:chExt cx="8476926" cy="5486400"/>
          </a:xfrm>
          <a:solidFill>
            <a:schemeClr val="bg1">
              <a:lumMod val="95000"/>
            </a:schemeClr>
          </a:solidFill>
        </p:grpSpPr>
        <p:sp>
          <p:nvSpPr>
            <p:cNvPr id="7" name="Fiji">
              <a:extLst>
                <a:ext uri="{FF2B5EF4-FFF2-40B4-BE49-F238E27FC236}">
                  <a16:creationId xmlns:a16="http://schemas.microsoft.com/office/drawing/2014/main" id="{ADE9A2F5-16CD-658A-F581-7DA39F5D4713}"/>
                </a:ext>
              </a:extLst>
            </p:cNvPr>
            <p:cNvSpPr>
              <a:spLocks/>
            </p:cNvSpPr>
            <p:nvPr/>
          </p:nvSpPr>
          <p:spPr bwMode="auto">
            <a:xfrm>
              <a:off x="10005578" y="4972310"/>
              <a:ext cx="66861" cy="54214"/>
            </a:xfrm>
            <a:custGeom>
              <a:avLst/>
              <a:gdLst/>
              <a:ahLst/>
              <a:cxnLst/>
              <a:rect l="l" t="t" r="r" b="b"/>
              <a:pathLst>
                <a:path w="67394" h="54646">
                  <a:moveTo>
                    <a:pt x="21857" y="27323"/>
                  </a:moveTo>
                  <a:lnTo>
                    <a:pt x="21857" y="29145"/>
                  </a:lnTo>
                  <a:lnTo>
                    <a:pt x="27322" y="32788"/>
                  </a:lnTo>
                  <a:lnTo>
                    <a:pt x="32786" y="49182"/>
                  </a:lnTo>
                  <a:lnTo>
                    <a:pt x="29143" y="51003"/>
                  </a:lnTo>
                  <a:lnTo>
                    <a:pt x="20036" y="54646"/>
                  </a:lnTo>
                  <a:lnTo>
                    <a:pt x="0" y="49182"/>
                  </a:lnTo>
                  <a:lnTo>
                    <a:pt x="0" y="34609"/>
                  </a:lnTo>
                  <a:lnTo>
                    <a:pt x="14572" y="29145"/>
                  </a:lnTo>
                  <a:lnTo>
                    <a:pt x="20036" y="29145"/>
                  </a:lnTo>
                  <a:close/>
                  <a:moveTo>
                    <a:pt x="65573" y="0"/>
                  </a:moveTo>
                  <a:lnTo>
                    <a:pt x="67394" y="0"/>
                  </a:lnTo>
                  <a:lnTo>
                    <a:pt x="67394" y="3643"/>
                  </a:lnTo>
                  <a:lnTo>
                    <a:pt x="61930" y="9107"/>
                  </a:lnTo>
                  <a:lnTo>
                    <a:pt x="61930" y="16393"/>
                  </a:lnTo>
                  <a:lnTo>
                    <a:pt x="49179" y="12750"/>
                  </a:lnTo>
                  <a:lnTo>
                    <a:pt x="38251" y="21858"/>
                  </a:lnTo>
                  <a:lnTo>
                    <a:pt x="34608" y="21858"/>
                  </a:lnTo>
                  <a:lnTo>
                    <a:pt x="27322" y="12750"/>
                  </a:lnTo>
                  <a:lnTo>
                    <a:pt x="27322" y="10929"/>
                  </a:lnTo>
                  <a:lnTo>
                    <a:pt x="29143" y="10929"/>
                  </a:lnTo>
                  <a:lnTo>
                    <a:pt x="38251" y="9107"/>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 name="New Zealand (North Island)">
              <a:extLst>
                <a:ext uri="{FF2B5EF4-FFF2-40B4-BE49-F238E27FC236}">
                  <a16:creationId xmlns:a16="http://schemas.microsoft.com/office/drawing/2014/main" id="{6B7BD686-80F8-DCFC-7D78-15D146C0CE8F}"/>
                </a:ext>
              </a:extLst>
            </p:cNvPr>
            <p:cNvSpPr>
              <a:spLocks/>
            </p:cNvSpPr>
            <p:nvPr/>
          </p:nvSpPr>
          <p:spPr bwMode="auto">
            <a:xfrm>
              <a:off x="9898962" y="5449375"/>
              <a:ext cx="139145" cy="215041"/>
            </a:xfrm>
            <a:custGeom>
              <a:avLst/>
              <a:gdLst>
                <a:gd name="T0" fmla="*/ 0 w 77"/>
                <a:gd name="T1" fmla="*/ 0 h 119"/>
                <a:gd name="T2" fmla="*/ 4 w 77"/>
                <a:gd name="T3" fmla="*/ 0 h 119"/>
                <a:gd name="T4" fmla="*/ 7 w 77"/>
                <a:gd name="T5" fmla="*/ 7 h 119"/>
                <a:gd name="T6" fmla="*/ 9 w 77"/>
                <a:gd name="T7" fmla="*/ 6 h 119"/>
                <a:gd name="T8" fmla="*/ 21 w 77"/>
                <a:gd name="T9" fmla="*/ 13 h 119"/>
                <a:gd name="T10" fmla="*/ 25 w 77"/>
                <a:gd name="T11" fmla="*/ 24 h 119"/>
                <a:gd name="T12" fmla="*/ 25 w 77"/>
                <a:gd name="T13" fmla="*/ 25 h 119"/>
                <a:gd name="T14" fmla="*/ 22 w 77"/>
                <a:gd name="T15" fmla="*/ 25 h 119"/>
                <a:gd name="T16" fmla="*/ 29 w 77"/>
                <a:gd name="T17" fmla="*/ 33 h 119"/>
                <a:gd name="T18" fmla="*/ 28 w 77"/>
                <a:gd name="T19" fmla="*/ 40 h 119"/>
                <a:gd name="T20" fmla="*/ 34 w 77"/>
                <a:gd name="T21" fmla="*/ 40 h 119"/>
                <a:gd name="T22" fmla="*/ 35 w 77"/>
                <a:gd name="T23" fmla="*/ 43 h 119"/>
                <a:gd name="T24" fmla="*/ 35 w 77"/>
                <a:gd name="T25" fmla="*/ 34 h 119"/>
                <a:gd name="T26" fmla="*/ 37 w 77"/>
                <a:gd name="T27" fmla="*/ 34 h 119"/>
                <a:gd name="T28" fmla="*/ 40 w 77"/>
                <a:gd name="T29" fmla="*/ 37 h 119"/>
                <a:gd name="T30" fmla="*/ 41 w 77"/>
                <a:gd name="T31" fmla="*/ 37 h 119"/>
                <a:gd name="T32" fmla="*/ 44 w 77"/>
                <a:gd name="T33" fmla="*/ 52 h 119"/>
                <a:gd name="T34" fmla="*/ 58 w 77"/>
                <a:gd name="T35" fmla="*/ 56 h 119"/>
                <a:gd name="T36" fmla="*/ 70 w 77"/>
                <a:gd name="T37" fmla="*/ 49 h 119"/>
                <a:gd name="T38" fmla="*/ 77 w 77"/>
                <a:gd name="T39" fmla="*/ 52 h 119"/>
                <a:gd name="T40" fmla="*/ 77 w 77"/>
                <a:gd name="T41" fmla="*/ 53 h 119"/>
                <a:gd name="T42" fmla="*/ 74 w 77"/>
                <a:gd name="T43" fmla="*/ 68 h 119"/>
                <a:gd name="T44" fmla="*/ 70 w 77"/>
                <a:gd name="T45" fmla="*/ 70 h 119"/>
                <a:gd name="T46" fmla="*/ 70 w 77"/>
                <a:gd name="T47" fmla="*/ 77 h 119"/>
                <a:gd name="T48" fmla="*/ 59 w 77"/>
                <a:gd name="T49" fmla="*/ 79 h 119"/>
                <a:gd name="T50" fmla="*/ 55 w 77"/>
                <a:gd name="T51" fmla="*/ 83 h 119"/>
                <a:gd name="T52" fmla="*/ 58 w 77"/>
                <a:gd name="T53" fmla="*/ 87 h 119"/>
                <a:gd name="T54" fmla="*/ 58 w 77"/>
                <a:gd name="T55" fmla="*/ 89 h 119"/>
                <a:gd name="T56" fmla="*/ 53 w 77"/>
                <a:gd name="T57" fmla="*/ 99 h 119"/>
                <a:gd name="T58" fmla="*/ 37 w 77"/>
                <a:gd name="T59" fmla="*/ 119 h 119"/>
                <a:gd name="T60" fmla="*/ 27 w 77"/>
                <a:gd name="T61" fmla="*/ 114 h 119"/>
                <a:gd name="T62" fmla="*/ 27 w 77"/>
                <a:gd name="T63" fmla="*/ 113 h 119"/>
                <a:gd name="T64" fmla="*/ 32 w 77"/>
                <a:gd name="T65" fmla="*/ 102 h 119"/>
                <a:gd name="T66" fmla="*/ 32 w 77"/>
                <a:gd name="T67" fmla="*/ 95 h 119"/>
                <a:gd name="T68" fmla="*/ 13 w 77"/>
                <a:gd name="T69" fmla="*/ 81 h 119"/>
                <a:gd name="T70" fmla="*/ 13 w 77"/>
                <a:gd name="T71" fmla="*/ 80 h 119"/>
                <a:gd name="T72" fmla="*/ 16 w 77"/>
                <a:gd name="T73" fmla="*/ 76 h 119"/>
                <a:gd name="T74" fmla="*/ 24 w 77"/>
                <a:gd name="T75" fmla="*/ 71 h 119"/>
                <a:gd name="T76" fmla="*/ 27 w 77"/>
                <a:gd name="T77" fmla="*/ 59 h 119"/>
                <a:gd name="T78" fmla="*/ 28 w 77"/>
                <a:gd name="T79" fmla="*/ 59 h 119"/>
                <a:gd name="T80" fmla="*/ 28 w 77"/>
                <a:gd name="T81" fmla="*/ 47 h 119"/>
                <a:gd name="T82" fmla="*/ 25 w 77"/>
                <a:gd name="T83" fmla="*/ 44 h 119"/>
                <a:gd name="T84" fmla="*/ 27 w 77"/>
                <a:gd name="T85" fmla="*/ 41 h 119"/>
                <a:gd name="T86" fmla="*/ 25 w 77"/>
                <a:gd name="T87" fmla="*/ 43 h 119"/>
                <a:gd name="T88" fmla="*/ 24 w 77"/>
                <a:gd name="T89" fmla="*/ 43 h 119"/>
                <a:gd name="T90" fmla="*/ 24 w 77"/>
                <a:gd name="T91" fmla="*/ 41 h 119"/>
                <a:gd name="T92" fmla="*/ 21 w 77"/>
                <a:gd name="T93" fmla="*/ 37 h 119"/>
                <a:gd name="T94" fmla="*/ 21 w 77"/>
                <a:gd name="T95" fmla="*/ 30 h 119"/>
                <a:gd name="T96" fmla="*/ 19 w 77"/>
                <a:gd name="T97" fmla="*/ 30 h 119"/>
                <a:gd name="T98" fmla="*/ 19 w 77"/>
                <a:gd name="T99" fmla="*/ 31 h 119"/>
                <a:gd name="T100" fmla="*/ 10 w 77"/>
                <a:gd name="T101" fmla="*/ 22 h 119"/>
                <a:gd name="T102" fmla="*/ 9 w 77"/>
                <a:gd name="T103" fmla="*/ 18 h 119"/>
                <a:gd name="T104" fmla="*/ 6 w 77"/>
                <a:gd name="T105" fmla="*/ 15 h 119"/>
                <a:gd name="T106" fmla="*/ 0 w 77"/>
                <a:gd name="T107" fmla="*/ 1 h 119"/>
                <a:gd name="T108" fmla="*/ 0 w 7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 h="119">
                  <a:moveTo>
                    <a:pt x="0" y="0"/>
                  </a:moveTo>
                  <a:lnTo>
                    <a:pt x="4" y="0"/>
                  </a:lnTo>
                  <a:lnTo>
                    <a:pt x="7" y="7"/>
                  </a:lnTo>
                  <a:lnTo>
                    <a:pt x="9" y="6"/>
                  </a:lnTo>
                  <a:lnTo>
                    <a:pt x="21" y="13"/>
                  </a:lnTo>
                  <a:lnTo>
                    <a:pt x="25" y="24"/>
                  </a:lnTo>
                  <a:lnTo>
                    <a:pt x="25" y="25"/>
                  </a:lnTo>
                  <a:lnTo>
                    <a:pt x="22" y="25"/>
                  </a:lnTo>
                  <a:lnTo>
                    <a:pt x="29" y="33"/>
                  </a:lnTo>
                  <a:lnTo>
                    <a:pt x="28" y="40"/>
                  </a:lnTo>
                  <a:lnTo>
                    <a:pt x="34" y="40"/>
                  </a:lnTo>
                  <a:lnTo>
                    <a:pt x="35" y="43"/>
                  </a:lnTo>
                  <a:lnTo>
                    <a:pt x="35" y="34"/>
                  </a:lnTo>
                  <a:lnTo>
                    <a:pt x="37" y="34"/>
                  </a:lnTo>
                  <a:lnTo>
                    <a:pt x="40" y="37"/>
                  </a:lnTo>
                  <a:lnTo>
                    <a:pt x="41" y="37"/>
                  </a:lnTo>
                  <a:lnTo>
                    <a:pt x="44" y="52"/>
                  </a:lnTo>
                  <a:lnTo>
                    <a:pt x="58" y="56"/>
                  </a:lnTo>
                  <a:lnTo>
                    <a:pt x="70" y="49"/>
                  </a:lnTo>
                  <a:lnTo>
                    <a:pt x="77" y="52"/>
                  </a:lnTo>
                  <a:lnTo>
                    <a:pt x="77" y="53"/>
                  </a:lnTo>
                  <a:lnTo>
                    <a:pt x="74" y="68"/>
                  </a:lnTo>
                  <a:lnTo>
                    <a:pt x="70" y="70"/>
                  </a:lnTo>
                  <a:lnTo>
                    <a:pt x="70" y="77"/>
                  </a:lnTo>
                  <a:lnTo>
                    <a:pt x="59" y="79"/>
                  </a:lnTo>
                  <a:lnTo>
                    <a:pt x="55" y="83"/>
                  </a:lnTo>
                  <a:lnTo>
                    <a:pt x="58" y="87"/>
                  </a:lnTo>
                  <a:lnTo>
                    <a:pt x="58" y="89"/>
                  </a:lnTo>
                  <a:lnTo>
                    <a:pt x="53" y="99"/>
                  </a:lnTo>
                  <a:lnTo>
                    <a:pt x="37" y="119"/>
                  </a:lnTo>
                  <a:lnTo>
                    <a:pt x="27" y="114"/>
                  </a:lnTo>
                  <a:lnTo>
                    <a:pt x="27" y="113"/>
                  </a:lnTo>
                  <a:lnTo>
                    <a:pt x="32" y="102"/>
                  </a:lnTo>
                  <a:lnTo>
                    <a:pt x="32" y="95"/>
                  </a:lnTo>
                  <a:lnTo>
                    <a:pt x="13" y="81"/>
                  </a:lnTo>
                  <a:lnTo>
                    <a:pt x="13" y="80"/>
                  </a:lnTo>
                  <a:lnTo>
                    <a:pt x="16" y="76"/>
                  </a:lnTo>
                  <a:lnTo>
                    <a:pt x="24" y="71"/>
                  </a:lnTo>
                  <a:lnTo>
                    <a:pt x="27" y="59"/>
                  </a:lnTo>
                  <a:lnTo>
                    <a:pt x="28" y="59"/>
                  </a:lnTo>
                  <a:lnTo>
                    <a:pt x="28" y="47"/>
                  </a:lnTo>
                  <a:lnTo>
                    <a:pt x="25" y="44"/>
                  </a:lnTo>
                  <a:lnTo>
                    <a:pt x="27" y="41"/>
                  </a:lnTo>
                  <a:lnTo>
                    <a:pt x="25" y="43"/>
                  </a:lnTo>
                  <a:lnTo>
                    <a:pt x="24" y="43"/>
                  </a:lnTo>
                  <a:lnTo>
                    <a:pt x="24" y="41"/>
                  </a:lnTo>
                  <a:lnTo>
                    <a:pt x="21" y="37"/>
                  </a:lnTo>
                  <a:lnTo>
                    <a:pt x="21" y="30"/>
                  </a:lnTo>
                  <a:lnTo>
                    <a:pt x="19" y="30"/>
                  </a:lnTo>
                  <a:lnTo>
                    <a:pt x="19" y="31"/>
                  </a:lnTo>
                  <a:lnTo>
                    <a:pt x="10" y="22"/>
                  </a:lnTo>
                  <a:lnTo>
                    <a:pt x="9" y="18"/>
                  </a:lnTo>
                  <a:lnTo>
                    <a:pt x="6" y="15"/>
                  </a:lnTo>
                  <a:lnTo>
                    <a:pt x="0" y="1"/>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 name="New Zealand (South Island)">
              <a:extLst>
                <a:ext uri="{FF2B5EF4-FFF2-40B4-BE49-F238E27FC236}">
                  <a16:creationId xmlns:a16="http://schemas.microsoft.com/office/drawing/2014/main" id="{56D4C16F-9F9A-614C-BE54-254C3503ACC7}"/>
                </a:ext>
              </a:extLst>
            </p:cNvPr>
            <p:cNvSpPr>
              <a:spLocks/>
            </p:cNvSpPr>
            <p:nvPr/>
          </p:nvSpPr>
          <p:spPr bwMode="auto">
            <a:xfrm>
              <a:off x="9754396" y="5631889"/>
              <a:ext cx="182514" cy="200585"/>
            </a:xfrm>
            <a:custGeom>
              <a:avLst/>
              <a:gdLst>
                <a:gd name="T0" fmla="*/ 80 w 101"/>
                <a:gd name="T1" fmla="*/ 0 h 111"/>
                <a:gd name="T2" fmla="*/ 87 w 101"/>
                <a:gd name="T3" fmla="*/ 12 h 111"/>
                <a:gd name="T4" fmla="*/ 95 w 101"/>
                <a:gd name="T5" fmla="*/ 6 h 111"/>
                <a:gd name="T6" fmla="*/ 96 w 101"/>
                <a:gd name="T7" fmla="*/ 6 h 111"/>
                <a:gd name="T8" fmla="*/ 98 w 101"/>
                <a:gd name="T9" fmla="*/ 7 h 111"/>
                <a:gd name="T10" fmla="*/ 101 w 101"/>
                <a:gd name="T11" fmla="*/ 9 h 111"/>
                <a:gd name="T12" fmla="*/ 101 w 101"/>
                <a:gd name="T13" fmla="*/ 10 h 111"/>
                <a:gd name="T14" fmla="*/ 99 w 101"/>
                <a:gd name="T15" fmla="*/ 13 h 111"/>
                <a:gd name="T16" fmla="*/ 101 w 101"/>
                <a:gd name="T17" fmla="*/ 22 h 111"/>
                <a:gd name="T18" fmla="*/ 90 w 101"/>
                <a:gd name="T19" fmla="*/ 40 h 111"/>
                <a:gd name="T20" fmla="*/ 83 w 101"/>
                <a:gd name="T21" fmla="*/ 46 h 111"/>
                <a:gd name="T22" fmla="*/ 81 w 101"/>
                <a:gd name="T23" fmla="*/ 55 h 111"/>
                <a:gd name="T24" fmla="*/ 86 w 101"/>
                <a:gd name="T25" fmla="*/ 59 h 111"/>
                <a:gd name="T26" fmla="*/ 86 w 101"/>
                <a:gd name="T27" fmla="*/ 61 h 111"/>
                <a:gd name="T28" fmla="*/ 77 w 101"/>
                <a:gd name="T29" fmla="*/ 56 h 111"/>
                <a:gd name="T30" fmla="*/ 68 w 101"/>
                <a:gd name="T31" fmla="*/ 64 h 111"/>
                <a:gd name="T32" fmla="*/ 65 w 101"/>
                <a:gd name="T33" fmla="*/ 62 h 111"/>
                <a:gd name="T34" fmla="*/ 55 w 101"/>
                <a:gd name="T35" fmla="*/ 98 h 111"/>
                <a:gd name="T36" fmla="*/ 41 w 101"/>
                <a:gd name="T37" fmla="*/ 108 h 111"/>
                <a:gd name="T38" fmla="*/ 32 w 101"/>
                <a:gd name="T39" fmla="*/ 111 h 111"/>
                <a:gd name="T40" fmla="*/ 16 w 101"/>
                <a:gd name="T41" fmla="*/ 105 h 111"/>
                <a:gd name="T42" fmla="*/ 15 w 101"/>
                <a:gd name="T43" fmla="*/ 102 h 111"/>
                <a:gd name="T44" fmla="*/ 3 w 101"/>
                <a:gd name="T45" fmla="*/ 102 h 111"/>
                <a:gd name="T46" fmla="*/ 3 w 101"/>
                <a:gd name="T47" fmla="*/ 99 h 111"/>
                <a:gd name="T48" fmla="*/ 1 w 101"/>
                <a:gd name="T49" fmla="*/ 99 h 111"/>
                <a:gd name="T50" fmla="*/ 1 w 101"/>
                <a:gd name="T51" fmla="*/ 96 h 111"/>
                <a:gd name="T52" fmla="*/ 0 w 101"/>
                <a:gd name="T53" fmla="*/ 96 h 111"/>
                <a:gd name="T54" fmla="*/ 0 w 101"/>
                <a:gd name="T55" fmla="*/ 95 h 111"/>
                <a:gd name="T56" fmla="*/ 4 w 101"/>
                <a:gd name="T57" fmla="*/ 92 h 111"/>
                <a:gd name="T58" fmla="*/ 6 w 101"/>
                <a:gd name="T59" fmla="*/ 89 h 111"/>
                <a:gd name="T60" fmla="*/ 3 w 101"/>
                <a:gd name="T61" fmla="*/ 89 h 111"/>
                <a:gd name="T62" fmla="*/ 3 w 101"/>
                <a:gd name="T63" fmla="*/ 87 h 111"/>
                <a:gd name="T64" fmla="*/ 4 w 101"/>
                <a:gd name="T65" fmla="*/ 84 h 111"/>
                <a:gd name="T66" fmla="*/ 7 w 101"/>
                <a:gd name="T67" fmla="*/ 84 h 111"/>
                <a:gd name="T68" fmla="*/ 7 w 101"/>
                <a:gd name="T69" fmla="*/ 83 h 111"/>
                <a:gd name="T70" fmla="*/ 6 w 101"/>
                <a:gd name="T71" fmla="*/ 83 h 111"/>
                <a:gd name="T72" fmla="*/ 7 w 101"/>
                <a:gd name="T73" fmla="*/ 78 h 111"/>
                <a:gd name="T74" fmla="*/ 10 w 101"/>
                <a:gd name="T75" fmla="*/ 77 h 111"/>
                <a:gd name="T76" fmla="*/ 12 w 101"/>
                <a:gd name="T77" fmla="*/ 77 h 111"/>
                <a:gd name="T78" fmla="*/ 12 w 101"/>
                <a:gd name="T79" fmla="*/ 75 h 111"/>
                <a:gd name="T80" fmla="*/ 21 w 101"/>
                <a:gd name="T81" fmla="*/ 62 h 111"/>
                <a:gd name="T82" fmla="*/ 21 w 101"/>
                <a:gd name="T83" fmla="*/ 61 h 111"/>
                <a:gd name="T84" fmla="*/ 22 w 101"/>
                <a:gd name="T85" fmla="*/ 61 h 111"/>
                <a:gd name="T86" fmla="*/ 34 w 101"/>
                <a:gd name="T87" fmla="*/ 58 h 111"/>
                <a:gd name="T88" fmla="*/ 56 w 101"/>
                <a:gd name="T89" fmla="*/ 38 h 111"/>
                <a:gd name="T90" fmla="*/ 64 w 101"/>
                <a:gd name="T91" fmla="*/ 22 h 111"/>
                <a:gd name="T92" fmla="*/ 69 w 101"/>
                <a:gd name="T93" fmla="*/ 18 h 111"/>
                <a:gd name="T94" fmla="*/ 72 w 101"/>
                <a:gd name="T95" fmla="*/ 9 h 111"/>
                <a:gd name="T96" fmla="*/ 80 w 101"/>
                <a:gd name="T9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 h="111">
                  <a:moveTo>
                    <a:pt x="80" y="0"/>
                  </a:moveTo>
                  <a:lnTo>
                    <a:pt x="87" y="12"/>
                  </a:lnTo>
                  <a:lnTo>
                    <a:pt x="95" y="6"/>
                  </a:lnTo>
                  <a:lnTo>
                    <a:pt x="96" y="6"/>
                  </a:lnTo>
                  <a:lnTo>
                    <a:pt x="98" y="7"/>
                  </a:lnTo>
                  <a:lnTo>
                    <a:pt x="101" y="9"/>
                  </a:lnTo>
                  <a:lnTo>
                    <a:pt x="101" y="10"/>
                  </a:lnTo>
                  <a:lnTo>
                    <a:pt x="99" y="13"/>
                  </a:lnTo>
                  <a:lnTo>
                    <a:pt x="101" y="22"/>
                  </a:lnTo>
                  <a:lnTo>
                    <a:pt x="90" y="40"/>
                  </a:lnTo>
                  <a:lnTo>
                    <a:pt x="83" y="46"/>
                  </a:lnTo>
                  <a:lnTo>
                    <a:pt x="81" y="55"/>
                  </a:lnTo>
                  <a:lnTo>
                    <a:pt x="86" y="59"/>
                  </a:lnTo>
                  <a:lnTo>
                    <a:pt x="86" y="61"/>
                  </a:lnTo>
                  <a:lnTo>
                    <a:pt x="77" y="56"/>
                  </a:lnTo>
                  <a:lnTo>
                    <a:pt x="68" y="64"/>
                  </a:lnTo>
                  <a:lnTo>
                    <a:pt x="65" y="62"/>
                  </a:lnTo>
                  <a:lnTo>
                    <a:pt x="55" y="98"/>
                  </a:lnTo>
                  <a:lnTo>
                    <a:pt x="41" y="108"/>
                  </a:lnTo>
                  <a:lnTo>
                    <a:pt x="32" y="111"/>
                  </a:lnTo>
                  <a:lnTo>
                    <a:pt x="16" y="105"/>
                  </a:lnTo>
                  <a:lnTo>
                    <a:pt x="15" y="102"/>
                  </a:lnTo>
                  <a:lnTo>
                    <a:pt x="3" y="102"/>
                  </a:lnTo>
                  <a:lnTo>
                    <a:pt x="3" y="99"/>
                  </a:lnTo>
                  <a:lnTo>
                    <a:pt x="1" y="99"/>
                  </a:lnTo>
                  <a:lnTo>
                    <a:pt x="1" y="96"/>
                  </a:lnTo>
                  <a:lnTo>
                    <a:pt x="0" y="96"/>
                  </a:lnTo>
                  <a:lnTo>
                    <a:pt x="0" y="95"/>
                  </a:lnTo>
                  <a:lnTo>
                    <a:pt x="4" y="92"/>
                  </a:lnTo>
                  <a:lnTo>
                    <a:pt x="6" y="89"/>
                  </a:lnTo>
                  <a:lnTo>
                    <a:pt x="3" y="89"/>
                  </a:lnTo>
                  <a:lnTo>
                    <a:pt x="3" y="87"/>
                  </a:lnTo>
                  <a:lnTo>
                    <a:pt x="4" y="84"/>
                  </a:lnTo>
                  <a:lnTo>
                    <a:pt x="7" y="84"/>
                  </a:lnTo>
                  <a:lnTo>
                    <a:pt x="7" y="83"/>
                  </a:lnTo>
                  <a:lnTo>
                    <a:pt x="6" y="83"/>
                  </a:lnTo>
                  <a:lnTo>
                    <a:pt x="7" y="78"/>
                  </a:lnTo>
                  <a:lnTo>
                    <a:pt x="10" y="77"/>
                  </a:lnTo>
                  <a:lnTo>
                    <a:pt x="12" y="77"/>
                  </a:lnTo>
                  <a:lnTo>
                    <a:pt x="12" y="75"/>
                  </a:lnTo>
                  <a:lnTo>
                    <a:pt x="21" y="62"/>
                  </a:lnTo>
                  <a:lnTo>
                    <a:pt x="21" y="61"/>
                  </a:lnTo>
                  <a:lnTo>
                    <a:pt x="22" y="61"/>
                  </a:lnTo>
                  <a:lnTo>
                    <a:pt x="34" y="58"/>
                  </a:lnTo>
                  <a:lnTo>
                    <a:pt x="56" y="38"/>
                  </a:lnTo>
                  <a:lnTo>
                    <a:pt x="64" y="22"/>
                  </a:lnTo>
                  <a:lnTo>
                    <a:pt x="69" y="18"/>
                  </a:lnTo>
                  <a:lnTo>
                    <a:pt x="72" y="9"/>
                  </a:lnTo>
                  <a:lnTo>
                    <a:pt x="8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 name="Stewart Island">
              <a:extLst>
                <a:ext uri="{FF2B5EF4-FFF2-40B4-BE49-F238E27FC236}">
                  <a16:creationId xmlns:a16="http://schemas.microsoft.com/office/drawing/2014/main" id="{264C4D04-4278-B388-EAF2-01DEF32C91F8}"/>
                </a:ext>
              </a:extLst>
            </p:cNvPr>
            <p:cNvSpPr>
              <a:spLocks/>
            </p:cNvSpPr>
            <p:nvPr/>
          </p:nvSpPr>
          <p:spPr bwMode="auto">
            <a:xfrm>
              <a:off x="9777888" y="5828859"/>
              <a:ext cx="16264" cy="21685"/>
            </a:xfrm>
            <a:custGeom>
              <a:avLst/>
              <a:gdLst>
                <a:gd name="T0" fmla="*/ 3 w 9"/>
                <a:gd name="T1" fmla="*/ 0 h 12"/>
                <a:gd name="T2" fmla="*/ 6 w 9"/>
                <a:gd name="T3" fmla="*/ 2 h 12"/>
                <a:gd name="T4" fmla="*/ 9 w 9"/>
                <a:gd name="T5" fmla="*/ 9 h 12"/>
                <a:gd name="T6" fmla="*/ 8 w 9"/>
                <a:gd name="T7" fmla="*/ 9 h 12"/>
                <a:gd name="T8" fmla="*/ 0 w 9"/>
                <a:gd name="T9" fmla="*/ 12 h 12"/>
                <a:gd name="T10" fmla="*/ 3 w 9"/>
                <a:gd name="T11" fmla="*/ 2 h 12"/>
                <a:gd name="T12" fmla="*/ 3 w 9"/>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9" h="12">
                  <a:moveTo>
                    <a:pt x="3" y="0"/>
                  </a:moveTo>
                  <a:lnTo>
                    <a:pt x="6" y="2"/>
                  </a:lnTo>
                  <a:lnTo>
                    <a:pt x="9" y="9"/>
                  </a:lnTo>
                  <a:lnTo>
                    <a:pt x="8" y="9"/>
                  </a:lnTo>
                  <a:lnTo>
                    <a:pt x="0" y="12"/>
                  </a:lnTo>
                  <a:lnTo>
                    <a:pt x="3" y="2"/>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 name="Auckland Island">
              <a:extLst>
                <a:ext uri="{FF2B5EF4-FFF2-40B4-BE49-F238E27FC236}">
                  <a16:creationId xmlns:a16="http://schemas.microsoft.com/office/drawing/2014/main" id="{0754ED91-44EC-0EAB-7BB7-2CFF2A59782A}"/>
                </a:ext>
              </a:extLst>
            </p:cNvPr>
            <p:cNvSpPr>
              <a:spLocks/>
            </p:cNvSpPr>
            <p:nvPr/>
          </p:nvSpPr>
          <p:spPr bwMode="auto">
            <a:xfrm>
              <a:off x="9739941" y="5969810"/>
              <a:ext cx="10843" cy="12650"/>
            </a:xfrm>
            <a:custGeom>
              <a:avLst/>
              <a:gdLst>
                <a:gd name="T0" fmla="*/ 3 w 6"/>
                <a:gd name="T1" fmla="*/ 0 h 7"/>
                <a:gd name="T2" fmla="*/ 5 w 6"/>
                <a:gd name="T3" fmla="*/ 0 h 7"/>
                <a:gd name="T4" fmla="*/ 5 w 6"/>
                <a:gd name="T5" fmla="*/ 1 h 7"/>
                <a:gd name="T6" fmla="*/ 6 w 6"/>
                <a:gd name="T7" fmla="*/ 6 h 7"/>
                <a:gd name="T8" fmla="*/ 5 w 6"/>
                <a:gd name="T9" fmla="*/ 6 h 7"/>
                <a:gd name="T10" fmla="*/ 2 w 6"/>
                <a:gd name="T11" fmla="*/ 7 h 7"/>
                <a:gd name="T12" fmla="*/ 0 w 6"/>
                <a:gd name="T13" fmla="*/ 7 h 7"/>
                <a:gd name="T14" fmla="*/ 0 w 6"/>
                <a:gd name="T15" fmla="*/ 6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lnTo>
                    <a:pt x="5" y="0"/>
                  </a:lnTo>
                  <a:lnTo>
                    <a:pt x="5" y="1"/>
                  </a:lnTo>
                  <a:lnTo>
                    <a:pt x="6" y="6"/>
                  </a:lnTo>
                  <a:lnTo>
                    <a:pt x="5" y="6"/>
                  </a:lnTo>
                  <a:lnTo>
                    <a:pt x="2" y="7"/>
                  </a:lnTo>
                  <a:lnTo>
                    <a:pt x="0" y="7"/>
                  </a:lnTo>
                  <a:lnTo>
                    <a:pt x="0" y="6"/>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 name="New Caledonia">
              <a:extLst>
                <a:ext uri="{FF2B5EF4-FFF2-40B4-BE49-F238E27FC236}">
                  <a16:creationId xmlns:a16="http://schemas.microsoft.com/office/drawing/2014/main" id="{80BC332D-8204-5FF5-D9FB-4BD3F4F91060}"/>
                </a:ext>
              </a:extLst>
            </p:cNvPr>
            <p:cNvSpPr>
              <a:spLocks/>
            </p:cNvSpPr>
            <p:nvPr/>
          </p:nvSpPr>
          <p:spPr bwMode="auto">
            <a:xfrm>
              <a:off x="9694765" y="5071700"/>
              <a:ext cx="97581" cy="61440"/>
            </a:xfrm>
            <a:custGeom>
              <a:avLst/>
              <a:gdLst/>
              <a:ahLst/>
              <a:cxnLst/>
              <a:rect l="l" t="t" r="r" b="b"/>
              <a:pathLst>
                <a:path w="98359" h="61930">
                  <a:moveTo>
                    <a:pt x="89251" y="29144"/>
                  </a:moveTo>
                  <a:lnTo>
                    <a:pt x="98359" y="29144"/>
                  </a:lnTo>
                  <a:lnTo>
                    <a:pt x="98359" y="38252"/>
                  </a:lnTo>
                  <a:lnTo>
                    <a:pt x="94716" y="40073"/>
                  </a:lnTo>
                  <a:lnTo>
                    <a:pt x="94716" y="38252"/>
                  </a:lnTo>
                  <a:lnTo>
                    <a:pt x="89251" y="32787"/>
                  </a:lnTo>
                  <a:close/>
                  <a:moveTo>
                    <a:pt x="71036" y="12750"/>
                  </a:moveTo>
                  <a:lnTo>
                    <a:pt x="72858" y="12750"/>
                  </a:lnTo>
                  <a:lnTo>
                    <a:pt x="78322" y="16393"/>
                  </a:lnTo>
                  <a:lnTo>
                    <a:pt x="81965" y="27322"/>
                  </a:lnTo>
                  <a:lnTo>
                    <a:pt x="78322" y="27322"/>
                  </a:lnTo>
                  <a:lnTo>
                    <a:pt x="72858" y="23679"/>
                  </a:lnTo>
                  <a:lnTo>
                    <a:pt x="71036" y="23679"/>
                  </a:lnTo>
                  <a:close/>
                  <a:moveTo>
                    <a:pt x="0" y="0"/>
                  </a:moveTo>
                  <a:lnTo>
                    <a:pt x="5465" y="1822"/>
                  </a:lnTo>
                  <a:lnTo>
                    <a:pt x="9108" y="1822"/>
                  </a:lnTo>
                  <a:lnTo>
                    <a:pt x="71038" y="54644"/>
                  </a:lnTo>
                  <a:lnTo>
                    <a:pt x="71038" y="56466"/>
                  </a:lnTo>
                  <a:lnTo>
                    <a:pt x="65574" y="61930"/>
                  </a:lnTo>
                  <a:lnTo>
                    <a:pt x="49180" y="51001"/>
                  </a:lnTo>
                  <a:lnTo>
                    <a:pt x="25501" y="32787"/>
                  </a:lnTo>
                  <a:lnTo>
                    <a:pt x="16394" y="29144"/>
                  </a:lnTo>
                  <a:lnTo>
                    <a:pt x="0" y="10929"/>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 name="Australia - Mainland">
              <a:extLst>
                <a:ext uri="{FF2B5EF4-FFF2-40B4-BE49-F238E27FC236}">
                  <a16:creationId xmlns:a16="http://schemas.microsoft.com/office/drawing/2014/main" id="{79E47357-DA49-889A-851C-DBB9D4577270}"/>
                </a:ext>
              </a:extLst>
            </p:cNvPr>
            <p:cNvSpPr>
              <a:spLocks/>
            </p:cNvSpPr>
            <p:nvPr/>
          </p:nvSpPr>
          <p:spPr bwMode="auto">
            <a:xfrm>
              <a:off x="8498488" y="4838588"/>
              <a:ext cx="955937" cy="749932"/>
            </a:xfrm>
            <a:custGeom>
              <a:avLst/>
              <a:gdLst>
                <a:gd name="T0" fmla="*/ 391 w 529"/>
                <a:gd name="T1" fmla="*/ 16 h 415"/>
                <a:gd name="T2" fmla="*/ 410 w 529"/>
                <a:gd name="T3" fmla="*/ 49 h 415"/>
                <a:gd name="T4" fmla="*/ 432 w 529"/>
                <a:gd name="T5" fmla="*/ 105 h 415"/>
                <a:gd name="T6" fmla="*/ 449 w 529"/>
                <a:gd name="T7" fmla="*/ 117 h 415"/>
                <a:gd name="T8" fmla="*/ 467 w 529"/>
                <a:gd name="T9" fmla="*/ 136 h 415"/>
                <a:gd name="T10" fmla="*/ 483 w 529"/>
                <a:gd name="T11" fmla="*/ 156 h 415"/>
                <a:gd name="T12" fmla="*/ 492 w 529"/>
                <a:gd name="T13" fmla="*/ 160 h 415"/>
                <a:gd name="T14" fmla="*/ 529 w 529"/>
                <a:gd name="T15" fmla="*/ 252 h 415"/>
                <a:gd name="T16" fmla="*/ 492 w 529"/>
                <a:gd name="T17" fmla="*/ 351 h 415"/>
                <a:gd name="T18" fmla="*/ 474 w 529"/>
                <a:gd name="T19" fmla="*/ 393 h 415"/>
                <a:gd name="T20" fmla="*/ 438 w 529"/>
                <a:gd name="T21" fmla="*/ 409 h 415"/>
                <a:gd name="T22" fmla="*/ 422 w 529"/>
                <a:gd name="T23" fmla="*/ 400 h 415"/>
                <a:gd name="T24" fmla="*/ 412 w 529"/>
                <a:gd name="T25" fmla="*/ 399 h 415"/>
                <a:gd name="T26" fmla="*/ 370 w 529"/>
                <a:gd name="T27" fmla="*/ 402 h 415"/>
                <a:gd name="T28" fmla="*/ 346 w 529"/>
                <a:gd name="T29" fmla="*/ 366 h 415"/>
                <a:gd name="T30" fmla="*/ 330 w 529"/>
                <a:gd name="T31" fmla="*/ 344 h 415"/>
                <a:gd name="T32" fmla="*/ 309 w 529"/>
                <a:gd name="T33" fmla="*/ 351 h 415"/>
                <a:gd name="T34" fmla="*/ 323 w 529"/>
                <a:gd name="T35" fmla="*/ 323 h 415"/>
                <a:gd name="T36" fmla="*/ 305 w 529"/>
                <a:gd name="T37" fmla="*/ 334 h 415"/>
                <a:gd name="T38" fmla="*/ 287 w 529"/>
                <a:gd name="T39" fmla="*/ 338 h 415"/>
                <a:gd name="T40" fmla="*/ 274 w 529"/>
                <a:gd name="T41" fmla="*/ 314 h 415"/>
                <a:gd name="T42" fmla="*/ 252 w 529"/>
                <a:gd name="T43" fmla="*/ 302 h 415"/>
                <a:gd name="T44" fmla="*/ 195 w 529"/>
                <a:gd name="T45" fmla="*/ 302 h 415"/>
                <a:gd name="T46" fmla="*/ 90 w 529"/>
                <a:gd name="T47" fmla="*/ 331 h 415"/>
                <a:gd name="T48" fmla="*/ 63 w 529"/>
                <a:gd name="T49" fmla="*/ 350 h 415"/>
                <a:gd name="T50" fmla="*/ 40 w 529"/>
                <a:gd name="T51" fmla="*/ 345 h 415"/>
                <a:gd name="T52" fmla="*/ 31 w 529"/>
                <a:gd name="T53" fmla="*/ 325 h 415"/>
                <a:gd name="T54" fmla="*/ 13 w 529"/>
                <a:gd name="T55" fmla="*/ 240 h 415"/>
                <a:gd name="T56" fmla="*/ 4 w 529"/>
                <a:gd name="T57" fmla="*/ 215 h 415"/>
                <a:gd name="T58" fmla="*/ 10 w 529"/>
                <a:gd name="T59" fmla="*/ 215 h 415"/>
                <a:gd name="T60" fmla="*/ 6 w 529"/>
                <a:gd name="T61" fmla="*/ 159 h 415"/>
                <a:gd name="T62" fmla="*/ 17 w 529"/>
                <a:gd name="T63" fmla="*/ 153 h 415"/>
                <a:gd name="T64" fmla="*/ 49 w 529"/>
                <a:gd name="T65" fmla="*/ 133 h 415"/>
                <a:gd name="T66" fmla="*/ 83 w 529"/>
                <a:gd name="T67" fmla="*/ 126 h 415"/>
                <a:gd name="T68" fmla="*/ 115 w 529"/>
                <a:gd name="T69" fmla="*/ 92 h 415"/>
                <a:gd name="T70" fmla="*/ 127 w 529"/>
                <a:gd name="T71" fmla="*/ 77 h 415"/>
                <a:gd name="T72" fmla="*/ 135 w 529"/>
                <a:gd name="T73" fmla="*/ 76 h 415"/>
                <a:gd name="T74" fmla="*/ 145 w 529"/>
                <a:gd name="T75" fmla="*/ 76 h 415"/>
                <a:gd name="T76" fmla="*/ 154 w 529"/>
                <a:gd name="T77" fmla="*/ 59 h 415"/>
                <a:gd name="T78" fmla="*/ 161 w 529"/>
                <a:gd name="T79" fmla="*/ 52 h 415"/>
                <a:gd name="T80" fmla="*/ 167 w 529"/>
                <a:gd name="T81" fmla="*/ 44 h 415"/>
                <a:gd name="T82" fmla="*/ 194 w 529"/>
                <a:gd name="T83" fmla="*/ 61 h 415"/>
                <a:gd name="T84" fmla="*/ 215 w 529"/>
                <a:gd name="T85" fmla="*/ 56 h 415"/>
                <a:gd name="T86" fmla="*/ 220 w 529"/>
                <a:gd name="T87" fmla="*/ 34 h 415"/>
                <a:gd name="T88" fmla="*/ 231 w 529"/>
                <a:gd name="T89" fmla="*/ 24 h 415"/>
                <a:gd name="T90" fmla="*/ 244 w 529"/>
                <a:gd name="T91" fmla="*/ 10 h 415"/>
                <a:gd name="T92" fmla="*/ 247 w 529"/>
                <a:gd name="T93" fmla="*/ 9 h 415"/>
                <a:gd name="T94" fmla="*/ 258 w 529"/>
                <a:gd name="T95" fmla="*/ 10 h 415"/>
                <a:gd name="T96" fmla="*/ 287 w 529"/>
                <a:gd name="T97" fmla="*/ 22 h 415"/>
                <a:gd name="T98" fmla="*/ 303 w 529"/>
                <a:gd name="T99" fmla="*/ 18 h 415"/>
                <a:gd name="T100" fmla="*/ 305 w 529"/>
                <a:gd name="T101" fmla="*/ 30 h 415"/>
                <a:gd name="T102" fmla="*/ 301 w 529"/>
                <a:gd name="T103" fmla="*/ 38 h 415"/>
                <a:gd name="T104" fmla="*/ 293 w 529"/>
                <a:gd name="T105" fmla="*/ 59 h 415"/>
                <a:gd name="T106" fmla="*/ 315 w 529"/>
                <a:gd name="T107" fmla="*/ 70 h 415"/>
                <a:gd name="T108" fmla="*/ 352 w 529"/>
                <a:gd name="T109" fmla="*/ 95 h 415"/>
                <a:gd name="T110" fmla="*/ 373 w 529"/>
                <a:gd name="T111" fmla="*/ 2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15">
                  <a:moveTo>
                    <a:pt x="385" y="0"/>
                  </a:moveTo>
                  <a:lnTo>
                    <a:pt x="386" y="0"/>
                  </a:lnTo>
                  <a:lnTo>
                    <a:pt x="388" y="4"/>
                  </a:lnTo>
                  <a:lnTo>
                    <a:pt x="388" y="15"/>
                  </a:lnTo>
                  <a:lnTo>
                    <a:pt x="391" y="16"/>
                  </a:lnTo>
                  <a:lnTo>
                    <a:pt x="391" y="22"/>
                  </a:lnTo>
                  <a:lnTo>
                    <a:pt x="395" y="27"/>
                  </a:lnTo>
                  <a:lnTo>
                    <a:pt x="401" y="49"/>
                  </a:lnTo>
                  <a:lnTo>
                    <a:pt x="403" y="50"/>
                  </a:lnTo>
                  <a:lnTo>
                    <a:pt x="410" y="49"/>
                  </a:lnTo>
                  <a:lnTo>
                    <a:pt x="412" y="49"/>
                  </a:lnTo>
                  <a:lnTo>
                    <a:pt x="421" y="59"/>
                  </a:lnTo>
                  <a:lnTo>
                    <a:pt x="424" y="80"/>
                  </a:lnTo>
                  <a:lnTo>
                    <a:pt x="428" y="84"/>
                  </a:lnTo>
                  <a:lnTo>
                    <a:pt x="432" y="105"/>
                  </a:lnTo>
                  <a:lnTo>
                    <a:pt x="434" y="107"/>
                  </a:lnTo>
                  <a:lnTo>
                    <a:pt x="435" y="113"/>
                  </a:lnTo>
                  <a:lnTo>
                    <a:pt x="441" y="116"/>
                  </a:lnTo>
                  <a:lnTo>
                    <a:pt x="449" y="116"/>
                  </a:lnTo>
                  <a:lnTo>
                    <a:pt x="449" y="117"/>
                  </a:lnTo>
                  <a:lnTo>
                    <a:pt x="452" y="123"/>
                  </a:lnTo>
                  <a:lnTo>
                    <a:pt x="458" y="124"/>
                  </a:lnTo>
                  <a:lnTo>
                    <a:pt x="467" y="130"/>
                  </a:lnTo>
                  <a:lnTo>
                    <a:pt x="468" y="130"/>
                  </a:lnTo>
                  <a:lnTo>
                    <a:pt x="467" y="136"/>
                  </a:lnTo>
                  <a:lnTo>
                    <a:pt x="469" y="138"/>
                  </a:lnTo>
                  <a:lnTo>
                    <a:pt x="475" y="147"/>
                  </a:lnTo>
                  <a:lnTo>
                    <a:pt x="478" y="160"/>
                  </a:lnTo>
                  <a:lnTo>
                    <a:pt x="480" y="160"/>
                  </a:lnTo>
                  <a:lnTo>
                    <a:pt x="483" y="156"/>
                  </a:lnTo>
                  <a:lnTo>
                    <a:pt x="489" y="162"/>
                  </a:lnTo>
                  <a:lnTo>
                    <a:pt x="490" y="160"/>
                  </a:lnTo>
                  <a:lnTo>
                    <a:pt x="490" y="159"/>
                  </a:lnTo>
                  <a:lnTo>
                    <a:pt x="492" y="159"/>
                  </a:lnTo>
                  <a:lnTo>
                    <a:pt x="492" y="160"/>
                  </a:lnTo>
                  <a:lnTo>
                    <a:pt x="495" y="175"/>
                  </a:lnTo>
                  <a:lnTo>
                    <a:pt x="512" y="191"/>
                  </a:lnTo>
                  <a:lnTo>
                    <a:pt x="523" y="209"/>
                  </a:lnTo>
                  <a:lnTo>
                    <a:pt x="523" y="228"/>
                  </a:lnTo>
                  <a:lnTo>
                    <a:pt x="529" y="252"/>
                  </a:lnTo>
                  <a:lnTo>
                    <a:pt x="521" y="291"/>
                  </a:lnTo>
                  <a:lnTo>
                    <a:pt x="514" y="307"/>
                  </a:lnTo>
                  <a:lnTo>
                    <a:pt x="499" y="326"/>
                  </a:lnTo>
                  <a:lnTo>
                    <a:pt x="501" y="329"/>
                  </a:lnTo>
                  <a:lnTo>
                    <a:pt x="492" y="351"/>
                  </a:lnTo>
                  <a:lnTo>
                    <a:pt x="490" y="351"/>
                  </a:lnTo>
                  <a:lnTo>
                    <a:pt x="486" y="360"/>
                  </a:lnTo>
                  <a:lnTo>
                    <a:pt x="483" y="388"/>
                  </a:lnTo>
                  <a:lnTo>
                    <a:pt x="481" y="388"/>
                  </a:lnTo>
                  <a:lnTo>
                    <a:pt x="474" y="393"/>
                  </a:lnTo>
                  <a:lnTo>
                    <a:pt x="458" y="394"/>
                  </a:lnTo>
                  <a:lnTo>
                    <a:pt x="441" y="408"/>
                  </a:lnTo>
                  <a:lnTo>
                    <a:pt x="434" y="408"/>
                  </a:lnTo>
                  <a:lnTo>
                    <a:pt x="434" y="409"/>
                  </a:lnTo>
                  <a:lnTo>
                    <a:pt x="438" y="409"/>
                  </a:lnTo>
                  <a:lnTo>
                    <a:pt x="438" y="411"/>
                  </a:lnTo>
                  <a:lnTo>
                    <a:pt x="435" y="415"/>
                  </a:lnTo>
                  <a:lnTo>
                    <a:pt x="434" y="415"/>
                  </a:lnTo>
                  <a:lnTo>
                    <a:pt x="424" y="405"/>
                  </a:lnTo>
                  <a:lnTo>
                    <a:pt x="422" y="400"/>
                  </a:lnTo>
                  <a:lnTo>
                    <a:pt x="415" y="402"/>
                  </a:lnTo>
                  <a:lnTo>
                    <a:pt x="416" y="397"/>
                  </a:lnTo>
                  <a:lnTo>
                    <a:pt x="415" y="394"/>
                  </a:lnTo>
                  <a:lnTo>
                    <a:pt x="410" y="397"/>
                  </a:lnTo>
                  <a:lnTo>
                    <a:pt x="412" y="399"/>
                  </a:lnTo>
                  <a:lnTo>
                    <a:pt x="395" y="409"/>
                  </a:lnTo>
                  <a:lnTo>
                    <a:pt x="384" y="403"/>
                  </a:lnTo>
                  <a:lnTo>
                    <a:pt x="375" y="400"/>
                  </a:lnTo>
                  <a:lnTo>
                    <a:pt x="372" y="402"/>
                  </a:lnTo>
                  <a:lnTo>
                    <a:pt x="370" y="402"/>
                  </a:lnTo>
                  <a:lnTo>
                    <a:pt x="357" y="394"/>
                  </a:lnTo>
                  <a:lnTo>
                    <a:pt x="351" y="387"/>
                  </a:lnTo>
                  <a:lnTo>
                    <a:pt x="346" y="379"/>
                  </a:lnTo>
                  <a:lnTo>
                    <a:pt x="348" y="372"/>
                  </a:lnTo>
                  <a:lnTo>
                    <a:pt x="346" y="366"/>
                  </a:lnTo>
                  <a:lnTo>
                    <a:pt x="341" y="359"/>
                  </a:lnTo>
                  <a:lnTo>
                    <a:pt x="342" y="354"/>
                  </a:lnTo>
                  <a:lnTo>
                    <a:pt x="327" y="357"/>
                  </a:lnTo>
                  <a:lnTo>
                    <a:pt x="330" y="351"/>
                  </a:lnTo>
                  <a:lnTo>
                    <a:pt x="330" y="344"/>
                  </a:lnTo>
                  <a:lnTo>
                    <a:pt x="326" y="336"/>
                  </a:lnTo>
                  <a:lnTo>
                    <a:pt x="321" y="350"/>
                  </a:lnTo>
                  <a:lnTo>
                    <a:pt x="318" y="350"/>
                  </a:lnTo>
                  <a:lnTo>
                    <a:pt x="314" y="351"/>
                  </a:lnTo>
                  <a:lnTo>
                    <a:pt x="309" y="351"/>
                  </a:lnTo>
                  <a:lnTo>
                    <a:pt x="309" y="350"/>
                  </a:lnTo>
                  <a:lnTo>
                    <a:pt x="311" y="345"/>
                  </a:lnTo>
                  <a:lnTo>
                    <a:pt x="317" y="344"/>
                  </a:lnTo>
                  <a:lnTo>
                    <a:pt x="317" y="334"/>
                  </a:lnTo>
                  <a:lnTo>
                    <a:pt x="323" y="323"/>
                  </a:lnTo>
                  <a:lnTo>
                    <a:pt x="324" y="317"/>
                  </a:lnTo>
                  <a:lnTo>
                    <a:pt x="323" y="311"/>
                  </a:lnTo>
                  <a:lnTo>
                    <a:pt x="321" y="314"/>
                  </a:lnTo>
                  <a:lnTo>
                    <a:pt x="315" y="328"/>
                  </a:lnTo>
                  <a:lnTo>
                    <a:pt x="305" y="334"/>
                  </a:lnTo>
                  <a:lnTo>
                    <a:pt x="299" y="341"/>
                  </a:lnTo>
                  <a:lnTo>
                    <a:pt x="299" y="348"/>
                  </a:lnTo>
                  <a:lnTo>
                    <a:pt x="298" y="348"/>
                  </a:lnTo>
                  <a:lnTo>
                    <a:pt x="287" y="342"/>
                  </a:lnTo>
                  <a:lnTo>
                    <a:pt x="287" y="338"/>
                  </a:lnTo>
                  <a:lnTo>
                    <a:pt x="290" y="339"/>
                  </a:lnTo>
                  <a:lnTo>
                    <a:pt x="290" y="336"/>
                  </a:lnTo>
                  <a:lnTo>
                    <a:pt x="281" y="319"/>
                  </a:lnTo>
                  <a:lnTo>
                    <a:pt x="274" y="316"/>
                  </a:lnTo>
                  <a:lnTo>
                    <a:pt x="274" y="314"/>
                  </a:lnTo>
                  <a:lnTo>
                    <a:pt x="275" y="310"/>
                  </a:lnTo>
                  <a:lnTo>
                    <a:pt x="265" y="304"/>
                  </a:lnTo>
                  <a:lnTo>
                    <a:pt x="265" y="305"/>
                  </a:lnTo>
                  <a:lnTo>
                    <a:pt x="255" y="301"/>
                  </a:lnTo>
                  <a:lnTo>
                    <a:pt x="252" y="302"/>
                  </a:lnTo>
                  <a:lnTo>
                    <a:pt x="250" y="302"/>
                  </a:lnTo>
                  <a:lnTo>
                    <a:pt x="243" y="295"/>
                  </a:lnTo>
                  <a:lnTo>
                    <a:pt x="232" y="293"/>
                  </a:lnTo>
                  <a:lnTo>
                    <a:pt x="210" y="295"/>
                  </a:lnTo>
                  <a:lnTo>
                    <a:pt x="195" y="302"/>
                  </a:lnTo>
                  <a:lnTo>
                    <a:pt x="170" y="305"/>
                  </a:lnTo>
                  <a:lnTo>
                    <a:pt x="143" y="317"/>
                  </a:lnTo>
                  <a:lnTo>
                    <a:pt x="137" y="328"/>
                  </a:lnTo>
                  <a:lnTo>
                    <a:pt x="137" y="329"/>
                  </a:lnTo>
                  <a:lnTo>
                    <a:pt x="90" y="331"/>
                  </a:lnTo>
                  <a:lnTo>
                    <a:pt x="83" y="338"/>
                  </a:lnTo>
                  <a:lnTo>
                    <a:pt x="75" y="339"/>
                  </a:lnTo>
                  <a:lnTo>
                    <a:pt x="68" y="347"/>
                  </a:lnTo>
                  <a:lnTo>
                    <a:pt x="63" y="347"/>
                  </a:lnTo>
                  <a:lnTo>
                    <a:pt x="63" y="350"/>
                  </a:lnTo>
                  <a:lnTo>
                    <a:pt x="59" y="350"/>
                  </a:lnTo>
                  <a:lnTo>
                    <a:pt x="54" y="348"/>
                  </a:lnTo>
                  <a:lnTo>
                    <a:pt x="51" y="348"/>
                  </a:lnTo>
                  <a:lnTo>
                    <a:pt x="43" y="345"/>
                  </a:lnTo>
                  <a:lnTo>
                    <a:pt x="40" y="345"/>
                  </a:lnTo>
                  <a:lnTo>
                    <a:pt x="31" y="336"/>
                  </a:lnTo>
                  <a:lnTo>
                    <a:pt x="26" y="335"/>
                  </a:lnTo>
                  <a:lnTo>
                    <a:pt x="25" y="335"/>
                  </a:lnTo>
                  <a:lnTo>
                    <a:pt x="25" y="325"/>
                  </a:lnTo>
                  <a:lnTo>
                    <a:pt x="31" y="325"/>
                  </a:lnTo>
                  <a:lnTo>
                    <a:pt x="34" y="317"/>
                  </a:lnTo>
                  <a:lnTo>
                    <a:pt x="34" y="295"/>
                  </a:lnTo>
                  <a:lnTo>
                    <a:pt x="23" y="276"/>
                  </a:lnTo>
                  <a:lnTo>
                    <a:pt x="22" y="258"/>
                  </a:lnTo>
                  <a:lnTo>
                    <a:pt x="13" y="240"/>
                  </a:lnTo>
                  <a:lnTo>
                    <a:pt x="10" y="227"/>
                  </a:lnTo>
                  <a:lnTo>
                    <a:pt x="0" y="215"/>
                  </a:lnTo>
                  <a:lnTo>
                    <a:pt x="0" y="213"/>
                  </a:lnTo>
                  <a:lnTo>
                    <a:pt x="1" y="213"/>
                  </a:lnTo>
                  <a:lnTo>
                    <a:pt x="4" y="215"/>
                  </a:lnTo>
                  <a:lnTo>
                    <a:pt x="7" y="219"/>
                  </a:lnTo>
                  <a:lnTo>
                    <a:pt x="9" y="218"/>
                  </a:lnTo>
                  <a:lnTo>
                    <a:pt x="7" y="212"/>
                  </a:lnTo>
                  <a:lnTo>
                    <a:pt x="9" y="212"/>
                  </a:lnTo>
                  <a:lnTo>
                    <a:pt x="10" y="215"/>
                  </a:lnTo>
                  <a:lnTo>
                    <a:pt x="13" y="212"/>
                  </a:lnTo>
                  <a:lnTo>
                    <a:pt x="3" y="190"/>
                  </a:lnTo>
                  <a:lnTo>
                    <a:pt x="3" y="182"/>
                  </a:lnTo>
                  <a:lnTo>
                    <a:pt x="7" y="173"/>
                  </a:lnTo>
                  <a:lnTo>
                    <a:pt x="6" y="159"/>
                  </a:lnTo>
                  <a:lnTo>
                    <a:pt x="10" y="153"/>
                  </a:lnTo>
                  <a:lnTo>
                    <a:pt x="10" y="150"/>
                  </a:lnTo>
                  <a:lnTo>
                    <a:pt x="11" y="150"/>
                  </a:lnTo>
                  <a:lnTo>
                    <a:pt x="13" y="159"/>
                  </a:lnTo>
                  <a:lnTo>
                    <a:pt x="17" y="153"/>
                  </a:lnTo>
                  <a:lnTo>
                    <a:pt x="17" y="151"/>
                  </a:lnTo>
                  <a:lnTo>
                    <a:pt x="29" y="148"/>
                  </a:lnTo>
                  <a:lnTo>
                    <a:pt x="35" y="141"/>
                  </a:lnTo>
                  <a:lnTo>
                    <a:pt x="46" y="133"/>
                  </a:lnTo>
                  <a:lnTo>
                    <a:pt x="49" y="133"/>
                  </a:lnTo>
                  <a:lnTo>
                    <a:pt x="51" y="135"/>
                  </a:lnTo>
                  <a:lnTo>
                    <a:pt x="57" y="135"/>
                  </a:lnTo>
                  <a:lnTo>
                    <a:pt x="72" y="129"/>
                  </a:lnTo>
                  <a:lnTo>
                    <a:pt x="77" y="126"/>
                  </a:lnTo>
                  <a:lnTo>
                    <a:pt x="83" y="126"/>
                  </a:lnTo>
                  <a:lnTo>
                    <a:pt x="100" y="120"/>
                  </a:lnTo>
                  <a:lnTo>
                    <a:pt x="108" y="114"/>
                  </a:lnTo>
                  <a:lnTo>
                    <a:pt x="112" y="105"/>
                  </a:lnTo>
                  <a:lnTo>
                    <a:pt x="118" y="99"/>
                  </a:lnTo>
                  <a:lnTo>
                    <a:pt x="115" y="92"/>
                  </a:lnTo>
                  <a:lnTo>
                    <a:pt x="117" y="92"/>
                  </a:lnTo>
                  <a:lnTo>
                    <a:pt x="118" y="86"/>
                  </a:lnTo>
                  <a:lnTo>
                    <a:pt x="124" y="81"/>
                  </a:lnTo>
                  <a:lnTo>
                    <a:pt x="126" y="77"/>
                  </a:lnTo>
                  <a:lnTo>
                    <a:pt x="127" y="77"/>
                  </a:lnTo>
                  <a:lnTo>
                    <a:pt x="135" y="90"/>
                  </a:lnTo>
                  <a:lnTo>
                    <a:pt x="135" y="86"/>
                  </a:lnTo>
                  <a:lnTo>
                    <a:pt x="137" y="86"/>
                  </a:lnTo>
                  <a:lnTo>
                    <a:pt x="135" y="80"/>
                  </a:lnTo>
                  <a:lnTo>
                    <a:pt x="135" y="76"/>
                  </a:lnTo>
                  <a:lnTo>
                    <a:pt x="140" y="74"/>
                  </a:lnTo>
                  <a:lnTo>
                    <a:pt x="143" y="79"/>
                  </a:lnTo>
                  <a:lnTo>
                    <a:pt x="146" y="79"/>
                  </a:lnTo>
                  <a:lnTo>
                    <a:pt x="145" y="77"/>
                  </a:lnTo>
                  <a:lnTo>
                    <a:pt x="145" y="76"/>
                  </a:lnTo>
                  <a:lnTo>
                    <a:pt x="148" y="70"/>
                  </a:lnTo>
                  <a:lnTo>
                    <a:pt x="148" y="65"/>
                  </a:lnTo>
                  <a:lnTo>
                    <a:pt x="154" y="64"/>
                  </a:lnTo>
                  <a:lnTo>
                    <a:pt x="152" y="59"/>
                  </a:lnTo>
                  <a:lnTo>
                    <a:pt x="154" y="59"/>
                  </a:lnTo>
                  <a:lnTo>
                    <a:pt x="154" y="58"/>
                  </a:lnTo>
                  <a:lnTo>
                    <a:pt x="157" y="59"/>
                  </a:lnTo>
                  <a:lnTo>
                    <a:pt x="155" y="53"/>
                  </a:lnTo>
                  <a:lnTo>
                    <a:pt x="160" y="53"/>
                  </a:lnTo>
                  <a:lnTo>
                    <a:pt x="161" y="52"/>
                  </a:lnTo>
                  <a:lnTo>
                    <a:pt x="164" y="52"/>
                  </a:lnTo>
                  <a:lnTo>
                    <a:pt x="164" y="53"/>
                  </a:lnTo>
                  <a:lnTo>
                    <a:pt x="166" y="52"/>
                  </a:lnTo>
                  <a:lnTo>
                    <a:pt x="166" y="44"/>
                  </a:lnTo>
                  <a:lnTo>
                    <a:pt x="167" y="44"/>
                  </a:lnTo>
                  <a:lnTo>
                    <a:pt x="169" y="47"/>
                  </a:lnTo>
                  <a:lnTo>
                    <a:pt x="179" y="43"/>
                  </a:lnTo>
                  <a:lnTo>
                    <a:pt x="188" y="46"/>
                  </a:lnTo>
                  <a:lnTo>
                    <a:pt x="197" y="55"/>
                  </a:lnTo>
                  <a:lnTo>
                    <a:pt x="194" y="61"/>
                  </a:lnTo>
                  <a:lnTo>
                    <a:pt x="195" y="59"/>
                  </a:lnTo>
                  <a:lnTo>
                    <a:pt x="200" y="56"/>
                  </a:lnTo>
                  <a:lnTo>
                    <a:pt x="209" y="56"/>
                  </a:lnTo>
                  <a:lnTo>
                    <a:pt x="215" y="59"/>
                  </a:lnTo>
                  <a:lnTo>
                    <a:pt x="215" y="56"/>
                  </a:lnTo>
                  <a:lnTo>
                    <a:pt x="210" y="50"/>
                  </a:lnTo>
                  <a:lnTo>
                    <a:pt x="218" y="38"/>
                  </a:lnTo>
                  <a:lnTo>
                    <a:pt x="222" y="37"/>
                  </a:lnTo>
                  <a:lnTo>
                    <a:pt x="222" y="36"/>
                  </a:lnTo>
                  <a:lnTo>
                    <a:pt x="220" y="34"/>
                  </a:lnTo>
                  <a:lnTo>
                    <a:pt x="222" y="30"/>
                  </a:lnTo>
                  <a:lnTo>
                    <a:pt x="222" y="28"/>
                  </a:lnTo>
                  <a:lnTo>
                    <a:pt x="228" y="25"/>
                  </a:lnTo>
                  <a:lnTo>
                    <a:pt x="231" y="28"/>
                  </a:lnTo>
                  <a:lnTo>
                    <a:pt x="231" y="24"/>
                  </a:lnTo>
                  <a:lnTo>
                    <a:pt x="232" y="22"/>
                  </a:lnTo>
                  <a:lnTo>
                    <a:pt x="247" y="22"/>
                  </a:lnTo>
                  <a:lnTo>
                    <a:pt x="252" y="19"/>
                  </a:lnTo>
                  <a:lnTo>
                    <a:pt x="252" y="15"/>
                  </a:lnTo>
                  <a:lnTo>
                    <a:pt x="244" y="10"/>
                  </a:lnTo>
                  <a:lnTo>
                    <a:pt x="241" y="10"/>
                  </a:lnTo>
                  <a:lnTo>
                    <a:pt x="241" y="9"/>
                  </a:lnTo>
                  <a:lnTo>
                    <a:pt x="243" y="9"/>
                  </a:lnTo>
                  <a:lnTo>
                    <a:pt x="246" y="7"/>
                  </a:lnTo>
                  <a:lnTo>
                    <a:pt x="247" y="9"/>
                  </a:lnTo>
                  <a:lnTo>
                    <a:pt x="249" y="7"/>
                  </a:lnTo>
                  <a:lnTo>
                    <a:pt x="250" y="7"/>
                  </a:lnTo>
                  <a:lnTo>
                    <a:pt x="255" y="12"/>
                  </a:lnTo>
                  <a:lnTo>
                    <a:pt x="256" y="10"/>
                  </a:lnTo>
                  <a:lnTo>
                    <a:pt x="258" y="10"/>
                  </a:lnTo>
                  <a:lnTo>
                    <a:pt x="260" y="15"/>
                  </a:lnTo>
                  <a:lnTo>
                    <a:pt x="268" y="15"/>
                  </a:lnTo>
                  <a:lnTo>
                    <a:pt x="275" y="19"/>
                  </a:lnTo>
                  <a:lnTo>
                    <a:pt x="281" y="19"/>
                  </a:lnTo>
                  <a:lnTo>
                    <a:pt x="287" y="22"/>
                  </a:lnTo>
                  <a:lnTo>
                    <a:pt x="298" y="18"/>
                  </a:lnTo>
                  <a:lnTo>
                    <a:pt x="298" y="19"/>
                  </a:lnTo>
                  <a:lnTo>
                    <a:pt x="299" y="19"/>
                  </a:lnTo>
                  <a:lnTo>
                    <a:pt x="299" y="24"/>
                  </a:lnTo>
                  <a:lnTo>
                    <a:pt x="303" y="18"/>
                  </a:lnTo>
                  <a:lnTo>
                    <a:pt x="305" y="18"/>
                  </a:lnTo>
                  <a:lnTo>
                    <a:pt x="306" y="22"/>
                  </a:lnTo>
                  <a:lnTo>
                    <a:pt x="309" y="22"/>
                  </a:lnTo>
                  <a:lnTo>
                    <a:pt x="309" y="24"/>
                  </a:lnTo>
                  <a:lnTo>
                    <a:pt x="305" y="30"/>
                  </a:lnTo>
                  <a:lnTo>
                    <a:pt x="306" y="33"/>
                  </a:lnTo>
                  <a:lnTo>
                    <a:pt x="305" y="36"/>
                  </a:lnTo>
                  <a:lnTo>
                    <a:pt x="302" y="36"/>
                  </a:lnTo>
                  <a:lnTo>
                    <a:pt x="302" y="38"/>
                  </a:lnTo>
                  <a:lnTo>
                    <a:pt x="301" y="38"/>
                  </a:lnTo>
                  <a:lnTo>
                    <a:pt x="299" y="37"/>
                  </a:lnTo>
                  <a:lnTo>
                    <a:pt x="298" y="41"/>
                  </a:lnTo>
                  <a:lnTo>
                    <a:pt x="299" y="40"/>
                  </a:lnTo>
                  <a:lnTo>
                    <a:pt x="299" y="41"/>
                  </a:lnTo>
                  <a:lnTo>
                    <a:pt x="293" y="59"/>
                  </a:lnTo>
                  <a:lnTo>
                    <a:pt x="303" y="64"/>
                  </a:lnTo>
                  <a:lnTo>
                    <a:pt x="305" y="71"/>
                  </a:lnTo>
                  <a:lnTo>
                    <a:pt x="308" y="71"/>
                  </a:lnTo>
                  <a:lnTo>
                    <a:pt x="311" y="70"/>
                  </a:lnTo>
                  <a:lnTo>
                    <a:pt x="315" y="70"/>
                  </a:lnTo>
                  <a:lnTo>
                    <a:pt x="315" y="71"/>
                  </a:lnTo>
                  <a:lnTo>
                    <a:pt x="326" y="80"/>
                  </a:lnTo>
                  <a:lnTo>
                    <a:pt x="338" y="83"/>
                  </a:lnTo>
                  <a:lnTo>
                    <a:pt x="342" y="89"/>
                  </a:lnTo>
                  <a:lnTo>
                    <a:pt x="352" y="95"/>
                  </a:lnTo>
                  <a:lnTo>
                    <a:pt x="361" y="92"/>
                  </a:lnTo>
                  <a:lnTo>
                    <a:pt x="366" y="80"/>
                  </a:lnTo>
                  <a:lnTo>
                    <a:pt x="370" y="59"/>
                  </a:lnTo>
                  <a:lnTo>
                    <a:pt x="370" y="40"/>
                  </a:lnTo>
                  <a:lnTo>
                    <a:pt x="373" y="27"/>
                  </a:lnTo>
                  <a:lnTo>
                    <a:pt x="370" y="24"/>
                  </a:lnTo>
                  <a:lnTo>
                    <a:pt x="379" y="4"/>
                  </a:lnTo>
                  <a:lnTo>
                    <a:pt x="38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 name="Australia - Offshore">
              <a:extLst>
                <a:ext uri="{FF2B5EF4-FFF2-40B4-BE49-F238E27FC236}">
                  <a16:creationId xmlns:a16="http://schemas.microsoft.com/office/drawing/2014/main" id="{E3464D25-4F66-47B2-3DA4-290B9711CF96}"/>
                </a:ext>
              </a:extLst>
            </p:cNvPr>
            <p:cNvSpPr>
              <a:spLocks/>
            </p:cNvSpPr>
            <p:nvPr/>
          </p:nvSpPr>
          <p:spPr bwMode="auto">
            <a:xfrm>
              <a:off x="8894235" y="4851238"/>
              <a:ext cx="554769" cy="646929"/>
            </a:xfrm>
            <a:custGeom>
              <a:avLst/>
              <a:gdLst/>
              <a:ahLst/>
              <a:cxnLst/>
              <a:rect l="l" t="t" r="r" b="b"/>
              <a:pathLst>
                <a:path w="559191" h="652086">
                  <a:moveTo>
                    <a:pt x="174861" y="635692"/>
                  </a:moveTo>
                  <a:lnTo>
                    <a:pt x="194897" y="646622"/>
                  </a:lnTo>
                  <a:lnTo>
                    <a:pt x="194897" y="648443"/>
                  </a:lnTo>
                  <a:lnTo>
                    <a:pt x="185790" y="648443"/>
                  </a:lnTo>
                  <a:lnTo>
                    <a:pt x="180325" y="652086"/>
                  </a:lnTo>
                  <a:lnTo>
                    <a:pt x="158468" y="652086"/>
                  </a:lnTo>
                  <a:lnTo>
                    <a:pt x="156646" y="642978"/>
                  </a:lnTo>
                  <a:lnTo>
                    <a:pt x="156646" y="641157"/>
                  </a:lnTo>
                  <a:lnTo>
                    <a:pt x="158468" y="641157"/>
                  </a:lnTo>
                  <a:close/>
                  <a:moveTo>
                    <a:pt x="553726" y="338793"/>
                  </a:moveTo>
                  <a:lnTo>
                    <a:pt x="555548" y="338793"/>
                  </a:lnTo>
                  <a:lnTo>
                    <a:pt x="559191" y="349722"/>
                  </a:lnTo>
                  <a:lnTo>
                    <a:pt x="553726" y="362473"/>
                  </a:lnTo>
                  <a:lnTo>
                    <a:pt x="550083" y="362473"/>
                  </a:lnTo>
                  <a:close/>
                  <a:moveTo>
                    <a:pt x="229505" y="127503"/>
                  </a:moveTo>
                  <a:lnTo>
                    <a:pt x="231327" y="127503"/>
                  </a:lnTo>
                  <a:lnTo>
                    <a:pt x="236791" y="131146"/>
                  </a:lnTo>
                  <a:lnTo>
                    <a:pt x="236791" y="132967"/>
                  </a:lnTo>
                  <a:lnTo>
                    <a:pt x="234970" y="132967"/>
                  </a:lnTo>
                  <a:lnTo>
                    <a:pt x="224041" y="138432"/>
                  </a:lnTo>
                  <a:lnTo>
                    <a:pt x="222219" y="138432"/>
                  </a:lnTo>
                  <a:lnTo>
                    <a:pt x="222219" y="132967"/>
                  </a:lnTo>
                  <a:close/>
                  <a:moveTo>
                    <a:pt x="153003" y="61930"/>
                  </a:moveTo>
                  <a:lnTo>
                    <a:pt x="163932" y="61930"/>
                  </a:lnTo>
                  <a:lnTo>
                    <a:pt x="163932" y="65573"/>
                  </a:lnTo>
                  <a:lnTo>
                    <a:pt x="167575" y="72859"/>
                  </a:lnTo>
                  <a:lnTo>
                    <a:pt x="167575" y="76502"/>
                  </a:lnTo>
                  <a:lnTo>
                    <a:pt x="156646" y="78324"/>
                  </a:lnTo>
                  <a:lnTo>
                    <a:pt x="156646" y="76502"/>
                  </a:lnTo>
                  <a:lnTo>
                    <a:pt x="153003" y="65573"/>
                  </a:lnTo>
                  <a:close/>
                  <a:moveTo>
                    <a:pt x="7286" y="0"/>
                  </a:moveTo>
                  <a:lnTo>
                    <a:pt x="10929" y="0"/>
                  </a:lnTo>
                  <a:lnTo>
                    <a:pt x="18215" y="5464"/>
                  </a:lnTo>
                  <a:lnTo>
                    <a:pt x="29144" y="0"/>
                  </a:lnTo>
                  <a:lnTo>
                    <a:pt x="32787" y="0"/>
                  </a:lnTo>
                  <a:lnTo>
                    <a:pt x="38252" y="9107"/>
                  </a:lnTo>
                  <a:lnTo>
                    <a:pt x="38252" y="10929"/>
                  </a:lnTo>
                  <a:lnTo>
                    <a:pt x="34609" y="10929"/>
                  </a:lnTo>
                  <a:lnTo>
                    <a:pt x="23680" y="20037"/>
                  </a:lnTo>
                  <a:lnTo>
                    <a:pt x="21858" y="20037"/>
                  </a:lnTo>
                  <a:lnTo>
                    <a:pt x="14570" y="16393"/>
                  </a:lnTo>
                  <a:lnTo>
                    <a:pt x="12751" y="16393"/>
                  </a:lnTo>
                  <a:lnTo>
                    <a:pt x="10929" y="20036"/>
                  </a:lnTo>
                  <a:lnTo>
                    <a:pt x="1821" y="20036"/>
                  </a:lnTo>
                  <a:lnTo>
                    <a:pt x="0" y="14571"/>
                  </a:lnTo>
                  <a:lnTo>
                    <a:pt x="0" y="10928"/>
                  </a:lnTo>
                  <a:lnTo>
                    <a:pt x="5464" y="5464"/>
                  </a:lnTo>
                  <a:lnTo>
                    <a:pt x="7286" y="5464"/>
                  </a:lnTo>
                  <a:lnTo>
                    <a:pt x="9561" y="8194"/>
                  </a:lnTo>
                  <a:lnTo>
                    <a:pt x="7286" y="3643"/>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 name="Tasmania">
              <a:extLst>
                <a:ext uri="{FF2B5EF4-FFF2-40B4-BE49-F238E27FC236}">
                  <a16:creationId xmlns:a16="http://schemas.microsoft.com/office/drawing/2014/main" id="{1730F3D1-49BC-529C-5156-15B9E8CD01BD}"/>
                </a:ext>
              </a:extLst>
            </p:cNvPr>
            <p:cNvSpPr>
              <a:spLocks/>
            </p:cNvSpPr>
            <p:nvPr/>
          </p:nvSpPr>
          <p:spPr bwMode="auto">
            <a:xfrm>
              <a:off x="9244806" y="5604783"/>
              <a:ext cx="88545" cy="122880"/>
            </a:xfrm>
            <a:custGeom>
              <a:avLst/>
              <a:gdLst/>
              <a:ahLst/>
              <a:cxnLst/>
              <a:rect l="l" t="t" r="r" b="b"/>
              <a:pathLst>
                <a:path w="89251" h="123859">
                  <a:moveTo>
                    <a:pt x="0" y="29143"/>
                  </a:moveTo>
                  <a:lnTo>
                    <a:pt x="3643" y="29143"/>
                  </a:lnTo>
                  <a:lnTo>
                    <a:pt x="43715" y="43715"/>
                  </a:lnTo>
                  <a:lnTo>
                    <a:pt x="78323" y="32786"/>
                  </a:lnTo>
                  <a:lnTo>
                    <a:pt x="81966" y="32786"/>
                  </a:lnTo>
                  <a:lnTo>
                    <a:pt x="81966" y="34608"/>
                  </a:lnTo>
                  <a:lnTo>
                    <a:pt x="87430" y="49179"/>
                  </a:lnTo>
                  <a:lnTo>
                    <a:pt x="87430" y="72858"/>
                  </a:lnTo>
                  <a:lnTo>
                    <a:pt x="78323" y="96537"/>
                  </a:lnTo>
                  <a:lnTo>
                    <a:pt x="76501" y="96537"/>
                  </a:lnTo>
                  <a:lnTo>
                    <a:pt x="67394" y="100180"/>
                  </a:lnTo>
                  <a:lnTo>
                    <a:pt x="61930" y="112930"/>
                  </a:lnTo>
                  <a:lnTo>
                    <a:pt x="56465" y="112930"/>
                  </a:lnTo>
                  <a:lnTo>
                    <a:pt x="51001" y="123859"/>
                  </a:lnTo>
                  <a:lnTo>
                    <a:pt x="32786" y="122038"/>
                  </a:lnTo>
                  <a:lnTo>
                    <a:pt x="29144" y="122038"/>
                  </a:lnTo>
                  <a:lnTo>
                    <a:pt x="29144" y="118395"/>
                  </a:lnTo>
                  <a:lnTo>
                    <a:pt x="34608" y="116573"/>
                  </a:lnTo>
                  <a:lnTo>
                    <a:pt x="27322" y="112930"/>
                  </a:lnTo>
                  <a:lnTo>
                    <a:pt x="14572" y="96537"/>
                  </a:lnTo>
                  <a:lnTo>
                    <a:pt x="10929" y="74680"/>
                  </a:lnTo>
                  <a:lnTo>
                    <a:pt x="14572" y="74680"/>
                  </a:lnTo>
                  <a:lnTo>
                    <a:pt x="16393" y="83787"/>
                  </a:lnTo>
                  <a:lnTo>
                    <a:pt x="20036" y="80144"/>
                  </a:lnTo>
                  <a:lnTo>
                    <a:pt x="0" y="49179"/>
                  </a:lnTo>
                  <a:close/>
                  <a:moveTo>
                    <a:pt x="83787" y="18214"/>
                  </a:moveTo>
                  <a:lnTo>
                    <a:pt x="87430" y="18214"/>
                  </a:lnTo>
                  <a:lnTo>
                    <a:pt x="89251" y="23679"/>
                  </a:lnTo>
                  <a:lnTo>
                    <a:pt x="81965" y="23679"/>
                  </a:lnTo>
                  <a:lnTo>
                    <a:pt x="81965" y="21857"/>
                  </a:lnTo>
                  <a:close/>
                  <a:moveTo>
                    <a:pt x="76501" y="0"/>
                  </a:moveTo>
                  <a:lnTo>
                    <a:pt x="76501" y="1821"/>
                  </a:lnTo>
                  <a:lnTo>
                    <a:pt x="87430" y="7286"/>
                  </a:lnTo>
                  <a:lnTo>
                    <a:pt x="87430" y="16393"/>
                  </a:lnTo>
                  <a:lnTo>
                    <a:pt x="81966" y="18215"/>
                  </a:lnTo>
                  <a:lnTo>
                    <a:pt x="72858" y="182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 name="Solomon Islands">
              <a:extLst>
                <a:ext uri="{FF2B5EF4-FFF2-40B4-BE49-F238E27FC236}">
                  <a16:creationId xmlns:a16="http://schemas.microsoft.com/office/drawing/2014/main" id="{31FACED8-088C-B410-219A-3E05ADA19CE4}"/>
                </a:ext>
              </a:extLst>
            </p:cNvPr>
            <p:cNvSpPr>
              <a:spLocks/>
            </p:cNvSpPr>
            <p:nvPr/>
          </p:nvSpPr>
          <p:spPr bwMode="auto">
            <a:xfrm>
              <a:off x="9477915" y="4715708"/>
              <a:ext cx="182514" cy="155409"/>
            </a:xfrm>
            <a:custGeom>
              <a:avLst/>
              <a:gdLst/>
              <a:ahLst/>
              <a:cxnLst/>
              <a:rect l="l" t="t" r="r" b="b"/>
              <a:pathLst>
                <a:path w="183969" h="156648">
                  <a:moveTo>
                    <a:pt x="127503" y="151183"/>
                  </a:moveTo>
                  <a:lnTo>
                    <a:pt x="134790" y="153005"/>
                  </a:lnTo>
                  <a:lnTo>
                    <a:pt x="134790" y="156648"/>
                  </a:lnTo>
                  <a:lnTo>
                    <a:pt x="122039" y="156648"/>
                  </a:lnTo>
                  <a:lnTo>
                    <a:pt x="122039" y="153005"/>
                  </a:lnTo>
                  <a:close/>
                  <a:moveTo>
                    <a:pt x="160289" y="112931"/>
                  </a:moveTo>
                  <a:lnTo>
                    <a:pt x="178505" y="118396"/>
                  </a:lnTo>
                  <a:lnTo>
                    <a:pt x="183969" y="129325"/>
                  </a:lnTo>
                  <a:lnTo>
                    <a:pt x="171218" y="129325"/>
                  </a:lnTo>
                  <a:close/>
                  <a:moveTo>
                    <a:pt x="116574" y="91074"/>
                  </a:moveTo>
                  <a:lnTo>
                    <a:pt x="134788" y="91074"/>
                  </a:lnTo>
                  <a:lnTo>
                    <a:pt x="149360" y="105646"/>
                  </a:lnTo>
                  <a:lnTo>
                    <a:pt x="149360" y="107468"/>
                  </a:lnTo>
                  <a:lnTo>
                    <a:pt x="127502" y="107468"/>
                  </a:lnTo>
                  <a:lnTo>
                    <a:pt x="116574" y="100182"/>
                  </a:lnTo>
                  <a:close/>
                  <a:moveTo>
                    <a:pt x="140254" y="69216"/>
                  </a:moveTo>
                  <a:lnTo>
                    <a:pt x="143897" y="69216"/>
                  </a:lnTo>
                  <a:lnTo>
                    <a:pt x="165755" y="100180"/>
                  </a:lnTo>
                  <a:lnTo>
                    <a:pt x="165755" y="102002"/>
                  </a:lnTo>
                  <a:lnTo>
                    <a:pt x="151183" y="91073"/>
                  </a:lnTo>
                  <a:lnTo>
                    <a:pt x="140254" y="72859"/>
                  </a:lnTo>
                  <a:close/>
                  <a:moveTo>
                    <a:pt x="54644" y="56467"/>
                  </a:moveTo>
                  <a:lnTo>
                    <a:pt x="60109" y="56467"/>
                  </a:lnTo>
                  <a:lnTo>
                    <a:pt x="60109" y="61930"/>
                  </a:lnTo>
                  <a:lnTo>
                    <a:pt x="61930" y="61930"/>
                  </a:lnTo>
                  <a:lnTo>
                    <a:pt x="67395" y="58287"/>
                  </a:lnTo>
                  <a:lnTo>
                    <a:pt x="71038" y="58287"/>
                  </a:lnTo>
                  <a:lnTo>
                    <a:pt x="76503" y="72859"/>
                  </a:lnTo>
                  <a:lnTo>
                    <a:pt x="61930" y="67394"/>
                  </a:lnTo>
                  <a:lnTo>
                    <a:pt x="60109" y="67394"/>
                  </a:lnTo>
                  <a:lnTo>
                    <a:pt x="60109" y="63753"/>
                  </a:lnTo>
                  <a:lnTo>
                    <a:pt x="56465" y="63753"/>
                  </a:lnTo>
                  <a:close/>
                  <a:moveTo>
                    <a:pt x="92896" y="47359"/>
                  </a:moveTo>
                  <a:lnTo>
                    <a:pt x="118397" y="63752"/>
                  </a:lnTo>
                  <a:lnTo>
                    <a:pt x="123862" y="72860"/>
                  </a:lnTo>
                  <a:lnTo>
                    <a:pt x="122040" y="72860"/>
                  </a:lnTo>
                  <a:lnTo>
                    <a:pt x="96539" y="58288"/>
                  </a:lnTo>
                  <a:lnTo>
                    <a:pt x="92896" y="51002"/>
                  </a:lnTo>
                  <a:close/>
                  <a:moveTo>
                    <a:pt x="43716" y="27323"/>
                  </a:moveTo>
                  <a:lnTo>
                    <a:pt x="45537" y="27323"/>
                  </a:lnTo>
                  <a:lnTo>
                    <a:pt x="67396" y="41895"/>
                  </a:lnTo>
                  <a:lnTo>
                    <a:pt x="71039" y="41895"/>
                  </a:lnTo>
                  <a:lnTo>
                    <a:pt x="71039" y="45538"/>
                  </a:lnTo>
                  <a:lnTo>
                    <a:pt x="67396" y="45538"/>
                  </a:lnTo>
                  <a:lnTo>
                    <a:pt x="54645" y="41895"/>
                  </a:lnTo>
                  <a:lnTo>
                    <a:pt x="43716" y="29144"/>
                  </a:lnTo>
                  <a:close/>
                  <a:moveTo>
                    <a:pt x="0" y="0"/>
                  </a:moveTo>
                  <a:lnTo>
                    <a:pt x="3643" y="0"/>
                  </a:lnTo>
                  <a:lnTo>
                    <a:pt x="9107" y="1821"/>
                  </a:lnTo>
                  <a:lnTo>
                    <a:pt x="32786" y="23679"/>
                  </a:lnTo>
                  <a:lnTo>
                    <a:pt x="32786" y="34608"/>
                  </a:lnTo>
                  <a:lnTo>
                    <a:pt x="21857" y="34608"/>
                  </a:lnTo>
                  <a:lnTo>
                    <a:pt x="14571" y="29143"/>
                  </a:lnTo>
                  <a:lnTo>
                    <a:pt x="14571" y="21857"/>
                  </a:lnTo>
                  <a:lnTo>
                    <a:pt x="3643" y="10929"/>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 name="Papua New Guinea">
              <a:extLst>
                <a:ext uri="{FF2B5EF4-FFF2-40B4-BE49-F238E27FC236}">
                  <a16:creationId xmlns:a16="http://schemas.microsoft.com/office/drawing/2014/main" id="{0CF5863C-F885-0CC6-10CB-98E2D85DBB02}"/>
                </a:ext>
              </a:extLst>
            </p:cNvPr>
            <p:cNvSpPr>
              <a:spLocks/>
            </p:cNvSpPr>
            <p:nvPr/>
          </p:nvSpPr>
          <p:spPr bwMode="auto">
            <a:xfrm>
              <a:off x="9154451" y="4634391"/>
              <a:ext cx="290937" cy="206006"/>
            </a:xfrm>
            <a:custGeom>
              <a:avLst/>
              <a:gdLst/>
              <a:ahLst/>
              <a:cxnLst/>
              <a:rect l="l" t="t" r="r" b="b"/>
              <a:pathLst>
                <a:path w="293256" h="207648">
                  <a:moveTo>
                    <a:pt x="225862" y="173039"/>
                  </a:moveTo>
                  <a:lnTo>
                    <a:pt x="229505" y="173039"/>
                  </a:lnTo>
                  <a:lnTo>
                    <a:pt x="236791" y="176682"/>
                  </a:lnTo>
                  <a:lnTo>
                    <a:pt x="240434" y="178504"/>
                  </a:lnTo>
                  <a:lnTo>
                    <a:pt x="240434" y="187611"/>
                  </a:lnTo>
                  <a:lnTo>
                    <a:pt x="229505" y="183968"/>
                  </a:lnTo>
                  <a:lnTo>
                    <a:pt x="225862" y="176682"/>
                  </a:lnTo>
                  <a:close/>
                  <a:moveTo>
                    <a:pt x="162110" y="83788"/>
                  </a:moveTo>
                  <a:lnTo>
                    <a:pt x="169396" y="83788"/>
                  </a:lnTo>
                  <a:lnTo>
                    <a:pt x="173039" y="87431"/>
                  </a:lnTo>
                  <a:lnTo>
                    <a:pt x="173039" y="92896"/>
                  </a:lnTo>
                  <a:lnTo>
                    <a:pt x="169396" y="92896"/>
                  </a:lnTo>
                  <a:lnTo>
                    <a:pt x="163932" y="87431"/>
                  </a:lnTo>
                  <a:lnTo>
                    <a:pt x="162110" y="87431"/>
                  </a:lnTo>
                  <a:close/>
                  <a:moveTo>
                    <a:pt x="262292" y="51001"/>
                  </a:moveTo>
                  <a:lnTo>
                    <a:pt x="269578" y="51001"/>
                  </a:lnTo>
                  <a:lnTo>
                    <a:pt x="269578" y="54644"/>
                  </a:lnTo>
                  <a:lnTo>
                    <a:pt x="271399" y="60109"/>
                  </a:lnTo>
                  <a:lnTo>
                    <a:pt x="275042" y="60109"/>
                  </a:lnTo>
                  <a:lnTo>
                    <a:pt x="264113" y="87431"/>
                  </a:lnTo>
                  <a:lnTo>
                    <a:pt x="256828" y="87431"/>
                  </a:lnTo>
                  <a:lnTo>
                    <a:pt x="251363" y="98359"/>
                  </a:lnTo>
                  <a:lnTo>
                    <a:pt x="234970" y="103824"/>
                  </a:lnTo>
                  <a:lnTo>
                    <a:pt x="229505" y="103824"/>
                  </a:lnTo>
                  <a:lnTo>
                    <a:pt x="224041" y="105645"/>
                  </a:lnTo>
                  <a:lnTo>
                    <a:pt x="209469" y="105645"/>
                  </a:lnTo>
                  <a:lnTo>
                    <a:pt x="202183" y="100181"/>
                  </a:lnTo>
                  <a:lnTo>
                    <a:pt x="196719" y="100181"/>
                  </a:lnTo>
                  <a:lnTo>
                    <a:pt x="180326" y="94716"/>
                  </a:lnTo>
                  <a:lnTo>
                    <a:pt x="174861" y="87431"/>
                  </a:lnTo>
                  <a:lnTo>
                    <a:pt x="174861" y="83788"/>
                  </a:lnTo>
                  <a:lnTo>
                    <a:pt x="209469" y="83788"/>
                  </a:lnTo>
                  <a:lnTo>
                    <a:pt x="218577" y="72859"/>
                  </a:lnTo>
                  <a:lnTo>
                    <a:pt x="220398" y="72859"/>
                  </a:lnTo>
                  <a:lnTo>
                    <a:pt x="220398" y="81966"/>
                  </a:lnTo>
                  <a:lnTo>
                    <a:pt x="234970" y="83788"/>
                  </a:lnTo>
                  <a:lnTo>
                    <a:pt x="253185" y="67394"/>
                  </a:lnTo>
                  <a:lnTo>
                    <a:pt x="253185" y="54644"/>
                  </a:lnTo>
                  <a:lnTo>
                    <a:pt x="258649" y="54644"/>
                  </a:lnTo>
                  <a:close/>
                  <a:moveTo>
                    <a:pt x="271398" y="38250"/>
                  </a:moveTo>
                  <a:lnTo>
                    <a:pt x="275041" y="38250"/>
                  </a:lnTo>
                  <a:lnTo>
                    <a:pt x="287792" y="45536"/>
                  </a:lnTo>
                  <a:lnTo>
                    <a:pt x="293256" y="56465"/>
                  </a:lnTo>
                  <a:lnTo>
                    <a:pt x="287792" y="67393"/>
                  </a:lnTo>
                  <a:lnTo>
                    <a:pt x="282327" y="67393"/>
                  </a:lnTo>
                  <a:close/>
                  <a:moveTo>
                    <a:pt x="1822" y="14572"/>
                  </a:moveTo>
                  <a:lnTo>
                    <a:pt x="83788" y="40073"/>
                  </a:lnTo>
                  <a:lnTo>
                    <a:pt x="111110" y="61931"/>
                  </a:lnTo>
                  <a:lnTo>
                    <a:pt x="118396" y="83788"/>
                  </a:lnTo>
                  <a:lnTo>
                    <a:pt x="162111" y="98360"/>
                  </a:lnTo>
                  <a:lnTo>
                    <a:pt x="167575" y="114753"/>
                  </a:lnTo>
                  <a:lnTo>
                    <a:pt x="167575" y="116575"/>
                  </a:lnTo>
                  <a:lnTo>
                    <a:pt x="163932" y="116575"/>
                  </a:lnTo>
                  <a:lnTo>
                    <a:pt x="147539" y="118396"/>
                  </a:lnTo>
                  <a:lnTo>
                    <a:pt x="153004" y="129325"/>
                  </a:lnTo>
                  <a:lnTo>
                    <a:pt x="169397" y="143897"/>
                  </a:lnTo>
                  <a:lnTo>
                    <a:pt x="183969" y="165754"/>
                  </a:lnTo>
                  <a:lnTo>
                    <a:pt x="196719" y="167576"/>
                  </a:lnTo>
                  <a:lnTo>
                    <a:pt x="198540" y="178505"/>
                  </a:lnTo>
                  <a:lnTo>
                    <a:pt x="214934" y="183969"/>
                  </a:lnTo>
                  <a:lnTo>
                    <a:pt x="214934" y="189434"/>
                  </a:lnTo>
                  <a:lnTo>
                    <a:pt x="236791" y="194898"/>
                  </a:lnTo>
                  <a:lnTo>
                    <a:pt x="236791" y="196719"/>
                  </a:lnTo>
                  <a:lnTo>
                    <a:pt x="229505" y="200362"/>
                  </a:lnTo>
                  <a:lnTo>
                    <a:pt x="231327" y="200362"/>
                  </a:lnTo>
                  <a:lnTo>
                    <a:pt x="231327" y="202184"/>
                  </a:lnTo>
                  <a:lnTo>
                    <a:pt x="224041" y="207648"/>
                  </a:lnTo>
                  <a:lnTo>
                    <a:pt x="213112" y="202184"/>
                  </a:lnTo>
                  <a:lnTo>
                    <a:pt x="163932" y="194898"/>
                  </a:lnTo>
                  <a:lnTo>
                    <a:pt x="142075" y="176683"/>
                  </a:lnTo>
                  <a:lnTo>
                    <a:pt x="142075" y="171219"/>
                  </a:lnTo>
                  <a:lnTo>
                    <a:pt x="134789" y="171219"/>
                  </a:lnTo>
                  <a:lnTo>
                    <a:pt x="123860" y="151183"/>
                  </a:lnTo>
                  <a:lnTo>
                    <a:pt x="83788" y="132968"/>
                  </a:lnTo>
                  <a:lnTo>
                    <a:pt x="74680" y="138432"/>
                  </a:lnTo>
                  <a:lnTo>
                    <a:pt x="69216" y="134789"/>
                  </a:lnTo>
                  <a:lnTo>
                    <a:pt x="72859" y="140254"/>
                  </a:lnTo>
                  <a:lnTo>
                    <a:pt x="72859" y="143897"/>
                  </a:lnTo>
                  <a:lnTo>
                    <a:pt x="69216" y="143897"/>
                  </a:lnTo>
                  <a:lnTo>
                    <a:pt x="63752" y="145718"/>
                  </a:lnTo>
                  <a:lnTo>
                    <a:pt x="61930" y="149361"/>
                  </a:lnTo>
                  <a:lnTo>
                    <a:pt x="51001" y="154826"/>
                  </a:lnTo>
                  <a:lnTo>
                    <a:pt x="58287" y="165754"/>
                  </a:lnTo>
                  <a:lnTo>
                    <a:pt x="45537" y="176683"/>
                  </a:lnTo>
                  <a:lnTo>
                    <a:pt x="29144" y="176683"/>
                  </a:lnTo>
                  <a:lnTo>
                    <a:pt x="23679" y="173040"/>
                  </a:lnTo>
                  <a:lnTo>
                    <a:pt x="7286" y="173040"/>
                  </a:lnTo>
                  <a:lnTo>
                    <a:pt x="5465" y="171219"/>
                  </a:lnTo>
                  <a:lnTo>
                    <a:pt x="0" y="116575"/>
                  </a:lnTo>
                  <a:lnTo>
                    <a:pt x="1822" y="72859"/>
                  </a:lnTo>
                  <a:close/>
                  <a:moveTo>
                    <a:pt x="214933" y="10929"/>
                  </a:moveTo>
                  <a:lnTo>
                    <a:pt x="225862" y="10929"/>
                  </a:lnTo>
                  <a:lnTo>
                    <a:pt x="229505" y="14572"/>
                  </a:lnTo>
                  <a:lnTo>
                    <a:pt x="229505" y="16394"/>
                  </a:lnTo>
                  <a:lnTo>
                    <a:pt x="225862" y="16394"/>
                  </a:lnTo>
                  <a:lnTo>
                    <a:pt x="220398" y="20037"/>
                  </a:lnTo>
                  <a:lnTo>
                    <a:pt x="214933" y="14572"/>
                  </a:lnTo>
                  <a:close/>
                  <a:moveTo>
                    <a:pt x="134789" y="0"/>
                  </a:moveTo>
                  <a:lnTo>
                    <a:pt x="147540" y="0"/>
                  </a:lnTo>
                  <a:lnTo>
                    <a:pt x="145719" y="9108"/>
                  </a:lnTo>
                  <a:lnTo>
                    <a:pt x="134789" y="9108"/>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 name="Tonga">
              <a:extLst>
                <a:ext uri="{FF2B5EF4-FFF2-40B4-BE49-F238E27FC236}">
                  <a16:creationId xmlns:a16="http://schemas.microsoft.com/office/drawing/2014/main" id="{AEE63CCB-2DA5-33EC-28C9-E804C1CCF55E}"/>
                </a:ext>
              </a:extLst>
            </p:cNvPr>
            <p:cNvSpPr>
              <a:spLocks/>
            </p:cNvSpPr>
            <p:nvPr/>
          </p:nvSpPr>
          <p:spPr bwMode="auto">
            <a:xfrm>
              <a:off x="10177249" y="5093385"/>
              <a:ext cx="10843" cy="7228"/>
            </a:xfrm>
            <a:custGeom>
              <a:avLst/>
              <a:gdLst>
                <a:gd name="T0" fmla="*/ 1 w 6"/>
                <a:gd name="T1" fmla="*/ 0 h 4"/>
                <a:gd name="T2" fmla="*/ 4 w 6"/>
                <a:gd name="T3" fmla="*/ 1 h 4"/>
                <a:gd name="T4" fmla="*/ 6 w 6"/>
                <a:gd name="T5" fmla="*/ 1 h 4"/>
                <a:gd name="T6" fmla="*/ 6 w 6"/>
                <a:gd name="T7" fmla="*/ 4 h 4"/>
                <a:gd name="T8" fmla="*/ 4 w 6"/>
                <a:gd name="T9" fmla="*/ 4 h 4"/>
                <a:gd name="T10" fmla="*/ 1 w 6"/>
                <a:gd name="T11" fmla="*/ 1 h 4"/>
                <a:gd name="T12" fmla="*/ 0 w 6"/>
                <a:gd name="T13" fmla="*/ 1 h 4"/>
                <a:gd name="T14" fmla="*/ 1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1" y="0"/>
                  </a:moveTo>
                  <a:lnTo>
                    <a:pt x="4" y="1"/>
                  </a:lnTo>
                  <a:lnTo>
                    <a:pt x="6" y="1"/>
                  </a:lnTo>
                  <a:lnTo>
                    <a:pt x="6" y="4"/>
                  </a:lnTo>
                  <a:lnTo>
                    <a:pt x="4" y="4"/>
                  </a:lnTo>
                  <a:lnTo>
                    <a:pt x="1" y="1"/>
                  </a:lnTo>
                  <a:lnTo>
                    <a:pt x="0" y="1"/>
                  </a:lnTo>
                  <a:lnTo>
                    <a:pt x="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 name="Vanuatu">
              <a:extLst>
                <a:ext uri="{FF2B5EF4-FFF2-40B4-BE49-F238E27FC236}">
                  <a16:creationId xmlns:a16="http://schemas.microsoft.com/office/drawing/2014/main" id="{5F613AC8-1BA4-81AA-7359-69A999F28C9E}"/>
                </a:ext>
              </a:extLst>
            </p:cNvPr>
            <p:cNvSpPr>
              <a:spLocks/>
            </p:cNvSpPr>
            <p:nvPr/>
          </p:nvSpPr>
          <p:spPr bwMode="auto">
            <a:xfrm>
              <a:off x="9750781" y="4934363"/>
              <a:ext cx="48791" cy="77703"/>
            </a:xfrm>
            <a:custGeom>
              <a:avLst/>
              <a:gdLst/>
              <a:ahLst/>
              <a:cxnLst/>
              <a:rect l="l" t="t" r="r" b="b"/>
              <a:pathLst>
                <a:path w="49180" h="78322">
                  <a:moveTo>
                    <a:pt x="47359" y="71036"/>
                  </a:moveTo>
                  <a:lnTo>
                    <a:pt x="49180" y="71036"/>
                  </a:lnTo>
                  <a:lnTo>
                    <a:pt x="49180" y="78322"/>
                  </a:lnTo>
                  <a:lnTo>
                    <a:pt x="41894" y="78322"/>
                  </a:lnTo>
                  <a:close/>
                  <a:moveTo>
                    <a:pt x="38252" y="36429"/>
                  </a:moveTo>
                  <a:lnTo>
                    <a:pt x="41895" y="36429"/>
                  </a:lnTo>
                  <a:lnTo>
                    <a:pt x="43716" y="41894"/>
                  </a:lnTo>
                  <a:lnTo>
                    <a:pt x="43716" y="43715"/>
                  </a:lnTo>
                  <a:lnTo>
                    <a:pt x="36430" y="43715"/>
                  </a:lnTo>
                  <a:lnTo>
                    <a:pt x="36430" y="41894"/>
                  </a:lnTo>
                  <a:close/>
                  <a:moveTo>
                    <a:pt x="16393" y="30964"/>
                  </a:moveTo>
                  <a:lnTo>
                    <a:pt x="20036" y="30964"/>
                  </a:lnTo>
                  <a:lnTo>
                    <a:pt x="32787" y="47358"/>
                  </a:lnTo>
                  <a:lnTo>
                    <a:pt x="32787" y="49179"/>
                  </a:lnTo>
                  <a:lnTo>
                    <a:pt x="21858" y="49179"/>
                  </a:lnTo>
                  <a:lnTo>
                    <a:pt x="21858" y="47358"/>
                  </a:lnTo>
                  <a:lnTo>
                    <a:pt x="16393" y="32786"/>
                  </a:lnTo>
                  <a:close/>
                  <a:moveTo>
                    <a:pt x="3643" y="0"/>
                  </a:moveTo>
                  <a:lnTo>
                    <a:pt x="3643" y="3643"/>
                  </a:lnTo>
                  <a:lnTo>
                    <a:pt x="9108" y="14573"/>
                  </a:lnTo>
                  <a:lnTo>
                    <a:pt x="14573" y="9108"/>
                  </a:lnTo>
                  <a:lnTo>
                    <a:pt x="16394" y="9108"/>
                  </a:lnTo>
                  <a:lnTo>
                    <a:pt x="16394" y="10929"/>
                  </a:lnTo>
                  <a:lnTo>
                    <a:pt x="20037" y="21859"/>
                  </a:lnTo>
                  <a:lnTo>
                    <a:pt x="20037" y="25502"/>
                  </a:lnTo>
                  <a:lnTo>
                    <a:pt x="16394" y="25502"/>
                  </a:lnTo>
                  <a:lnTo>
                    <a:pt x="9108" y="27323"/>
                  </a:lnTo>
                  <a:lnTo>
                    <a:pt x="9108" y="25502"/>
                  </a:lnTo>
                  <a:lnTo>
                    <a:pt x="0" y="3643"/>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 name="Chatham Island">
              <a:extLst>
                <a:ext uri="{FF2B5EF4-FFF2-40B4-BE49-F238E27FC236}">
                  <a16:creationId xmlns:a16="http://schemas.microsoft.com/office/drawing/2014/main" id="{884E634A-0FE2-0DFF-7709-42ACF20A042B}"/>
                </a:ext>
              </a:extLst>
            </p:cNvPr>
            <p:cNvSpPr>
              <a:spLocks/>
            </p:cNvSpPr>
            <p:nvPr/>
          </p:nvSpPr>
          <p:spPr bwMode="auto">
            <a:xfrm>
              <a:off x="10148336" y="5733084"/>
              <a:ext cx="12650" cy="14457"/>
            </a:xfrm>
            <a:custGeom>
              <a:avLst/>
              <a:gdLst>
                <a:gd name="T0" fmla="*/ 4 w 7"/>
                <a:gd name="T1" fmla="*/ 0 h 8"/>
                <a:gd name="T2" fmla="*/ 7 w 7"/>
                <a:gd name="T3" fmla="*/ 0 h 8"/>
                <a:gd name="T4" fmla="*/ 7 w 7"/>
                <a:gd name="T5" fmla="*/ 2 h 8"/>
                <a:gd name="T6" fmla="*/ 4 w 7"/>
                <a:gd name="T7" fmla="*/ 8 h 8"/>
                <a:gd name="T8" fmla="*/ 3 w 7"/>
                <a:gd name="T9" fmla="*/ 8 h 8"/>
                <a:gd name="T10" fmla="*/ 3 w 7"/>
                <a:gd name="T11" fmla="*/ 6 h 8"/>
                <a:gd name="T12" fmla="*/ 1 w 7"/>
                <a:gd name="T13" fmla="*/ 3 h 8"/>
                <a:gd name="T14" fmla="*/ 0 w 7"/>
                <a:gd name="T15" fmla="*/ 3 h 8"/>
                <a:gd name="T16" fmla="*/ 0 w 7"/>
                <a:gd name="T17" fmla="*/ 2 h 8"/>
                <a:gd name="T18" fmla="*/ 3 w 7"/>
                <a:gd name="T19" fmla="*/ 2 h 8"/>
                <a:gd name="T20" fmla="*/ 4 w 7"/>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4" y="0"/>
                  </a:moveTo>
                  <a:lnTo>
                    <a:pt x="7" y="0"/>
                  </a:lnTo>
                  <a:lnTo>
                    <a:pt x="7" y="2"/>
                  </a:lnTo>
                  <a:lnTo>
                    <a:pt x="4" y="8"/>
                  </a:lnTo>
                  <a:lnTo>
                    <a:pt x="3" y="8"/>
                  </a:lnTo>
                  <a:lnTo>
                    <a:pt x="3" y="6"/>
                  </a:lnTo>
                  <a:lnTo>
                    <a:pt x="1" y="3"/>
                  </a:lnTo>
                  <a:lnTo>
                    <a:pt x="0" y="3"/>
                  </a:lnTo>
                  <a:lnTo>
                    <a:pt x="0" y="2"/>
                  </a:lnTo>
                  <a:lnTo>
                    <a:pt x="3" y="2"/>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 name="American Samoa">
              <a:extLst>
                <a:ext uri="{FF2B5EF4-FFF2-40B4-BE49-F238E27FC236}">
                  <a16:creationId xmlns:a16="http://schemas.microsoft.com/office/drawing/2014/main" id="{3D82BD76-D66E-E3A4-FC02-66408E379697}"/>
                </a:ext>
              </a:extLst>
            </p:cNvPr>
            <p:cNvSpPr>
              <a:spLocks/>
            </p:cNvSpPr>
            <p:nvPr/>
          </p:nvSpPr>
          <p:spPr bwMode="auto">
            <a:xfrm>
              <a:off x="10233268" y="4905449"/>
              <a:ext cx="39755" cy="16264"/>
            </a:xfrm>
            <a:custGeom>
              <a:avLst/>
              <a:gdLst/>
              <a:ahLst/>
              <a:cxnLst/>
              <a:rect l="l" t="t" r="r" b="b"/>
              <a:pathLst>
                <a:path w="40072" h="16394">
                  <a:moveTo>
                    <a:pt x="0" y="0"/>
                  </a:moveTo>
                  <a:lnTo>
                    <a:pt x="9107" y="0"/>
                  </a:lnTo>
                  <a:lnTo>
                    <a:pt x="16393" y="1822"/>
                  </a:lnTo>
                  <a:lnTo>
                    <a:pt x="20037" y="1822"/>
                  </a:lnTo>
                  <a:lnTo>
                    <a:pt x="21858" y="10929"/>
                  </a:lnTo>
                  <a:lnTo>
                    <a:pt x="29143" y="10929"/>
                  </a:lnTo>
                  <a:lnTo>
                    <a:pt x="40072" y="16394"/>
                  </a:lnTo>
                  <a:lnTo>
                    <a:pt x="23679" y="16394"/>
                  </a:lnTo>
                  <a:lnTo>
                    <a:pt x="21857" y="12751"/>
                  </a:lnTo>
                  <a:lnTo>
                    <a:pt x="20037" y="12751"/>
                  </a:lnTo>
                  <a:lnTo>
                    <a:pt x="9107" y="7287"/>
                  </a:lnTo>
                  <a:lnTo>
                    <a:pt x="3643" y="1822"/>
                  </a:lnTo>
                  <a:lnTo>
                    <a:pt x="0" y="1822"/>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 name="Galapagos">
              <a:extLst>
                <a:ext uri="{FF2B5EF4-FFF2-40B4-BE49-F238E27FC236}">
                  <a16:creationId xmlns:a16="http://schemas.microsoft.com/office/drawing/2014/main" id="{23A2E383-346C-D739-AFB9-3B45C4BB40E2}"/>
                </a:ext>
              </a:extLst>
            </p:cNvPr>
            <p:cNvSpPr>
              <a:spLocks/>
            </p:cNvSpPr>
            <p:nvPr/>
          </p:nvSpPr>
          <p:spPr bwMode="auto">
            <a:xfrm>
              <a:off x="3662792" y="4587407"/>
              <a:ext cx="37948" cy="30721"/>
            </a:xfrm>
            <a:custGeom>
              <a:avLst/>
              <a:gdLst/>
              <a:ahLst/>
              <a:cxnLst/>
              <a:rect l="l" t="t" r="r" b="b"/>
              <a:pathLst>
                <a:path w="38251" h="30966">
                  <a:moveTo>
                    <a:pt x="34608" y="12749"/>
                  </a:moveTo>
                  <a:lnTo>
                    <a:pt x="38251" y="12749"/>
                  </a:lnTo>
                  <a:lnTo>
                    <a:pt x="38251" y="14571"/>
                  </a:lnTo>
                  <a:lnTo>
                    <a:pt x="34608" y="20035"/>
                  </a:lnTo>
                  <a:lnTo>
                    <a:pt x="29143" y="20035"/>
                  </a:lnTo>
                  <a:lnTo>
                    <a:pt x="29143" y="18214"/>
                  </a:lnTo>
                  <a:close/>
                  <a:moveTo>
                    <a:pt x="21858" y="5464"/>
                  </a:moveTo>
                  <a:lnTo>
                    <a:pt x="23679" y="5464"/>
                  </a:lnTo>
                  <a:lnTo>
                    <a:pt x="27322" y="12750"/>
                  </a:lnTo>
                  <a:lnTo>
                    <a:pt x="20036" y="12750"/>
                  </a:lnTo>
                  <a:lnTo>
                    <a:pt x="20036" y="9107"/>
                  </a:lnTo>
                  <a:close/>
                  <a:moveTo>
                    <a:pt x="9108" y="0"/>
                  </a:moveTo>
                  <a:lnTo>
                    <a:pt x="20037" y="20037"/>
                  </a:lnTo>
                  <a:lnTo>
                    <a:pt x="10929" y="29145"/>
                  </a:lnTo>
                  <a:lnTo>
                    <a:pt x="10929" y="30966"/>
                  </a:lnTo>
                  <a:lnTo>
                    <a:pt x="9108" y="30966"/>
                  </a:lnTo>
                  <a:lnTo>
                    <a:pt x="9108" y="29145"/>
                  </a:lnTo>
                  <a:lnTo>
                    <a:pt x="5465" y="20037"/>
                  </a:lnTo>
                  <a:lnTo>
                    <a:pt x="8197" y="14572"/>
                  </a:lnTo>
                  <a:lnTo>
                    <a:pt x="0" y="14572"/>
                  </a:lnTo>
                  <a:lnTo>
                    <a:pt x="0" y="12751"/>
                  </a:lnTo>
                  <a:lnTo>
                    <a:pt x="5205" y="7547"/>
                  </a:lnTo>
                  <a:lnTo>
                    <a:pt x="3643" y="5464"/>
                  </a:lnTo>
                  <a:lnTo>
                    <a:pt x="3643" y="182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 name="Venezuela">
              <a:extLst>
                <a:ext uri="{FF2B5EF4-FFF2-40B4-BE49-F238E27FC236}">
                  <a16:creationId xmlns:a16="http://schemas.microsoft.com/office/drawing/2014/main" id="{0E12043F-830C-9789-8DC0-00ECA31A2693}"/>
                </a:ext>
              </a:extLst>
            </p:cNvPr>
            <p:cNvSpPr>
              <a:spLocks noEditPoints="1"/>
            </p:cNvSpPr>
            <p:nvPr/>
          </p:nvSpPr>
          <p:spPr bwMode="auto">
            <a:xfrm>
              <a:off x="4094679" y="4300084"/>
              <a:ext cx="323464" cy="272867"/>
            </a:xfrm>
            <a:custGeom>
              <a:avLst/>
              <a:gdLst>
                <a:gd name="T0" fmla="*/ 21 w 179"/>
                <a:gd name="T1" fmla="*/ 30 h 151"/>
                <a:gd name="T2" fmla="*/ 23 w 179"/>
                <a:gd name="T3" fmla="*/ 41 h 151"/>
                <a:gd name="T4" fmla="*/ 29 w 179"/>
                <a:gd name="T5" fmla="*/ 33 h 151"/>
                <a:gd name="T6" fmla="*/ 25 w 179"/>
                <a:gd name="T7" fmla="*/ 21 h 151"/>
                <a:gd name="T8" fmla="*/ 50 w 179"/>
                <a:gd name="T9" fmla="*/ 9 h 151"/>
                <a:gd name="T10" fmla="*/ 71 w 179"/>
                <a:gd name="T11" fmla="*/ 22 h 151"/>
                <a:gd name="T12" fmla="*/ 90 w 179"/>
                <a:gd name="T13" fmla="*/ 21 h 151"/>
                <a:gd name="T14" fmla="*/ 102 w 179"/>
                <a:gd name="T15" fmla="*/ 27 h 151"/>
                <a:gd name="T16" fmla="*/ 123 w 179"/>
                <a:gd name="T17" fmla="*/ 24 h 151"/>
                <a:gd name="T18" fmla="*/ 118 w 179"/>
                <a:gd name="T19" fmla="*/ 22 h 151"/>
                <a:gd name="T20" fmla="*/ 149 w 179"/>
                <a:gd name="T21" fmla="*/ 21 h 151"/>
                <a:gd name="T22" fmla="*/ 142 w 179"/>
                <a:gd name="T23" fmla="*/ 27 h 151"/>
                <a:gd name="T24" fmla="*/ 152 w 179"/>
                <a:gd name="T25" fmla="*/ 33 h 151"/>
                <a:gd name="T26" fmla="*/ 166 w 179"/>
                <a:gd name="T27" fmla="*/ 46 h 151"/>
                <a:gd name="T28" fmla="*/ 164 w 179"/>
                <a:gd name="T29" fmla="*/ 49 h 151"/>
                <a:gd name="T30" fmla="*/ 172 w 179"/>
                <a:gd name="T31" fmla="*/ 47 h 151"/>
                <a:gd name="T32" fmla="*/ 179 w 179"/>
                <a:gd name="T33" fmla="*/ 52 h 151"/>
                <a:gd name="T34" fmla="*/ 178 w 179"/>
                <a:gd name="T35" fmla="*/ 55 h 151"/>
                <a:gd name="T36" fmla="*/ 166 w 179"/>
                <a:gd name="T37" fmla="*/ 67 h 151"/>
                <a:gd name="T38" fmla="*/ 170 w 179"/>
                <a:gd name="T39" fmla="*/ 68 h 151"/>
                <a:gd name="T40" fmla="*/ 160 w 179"/>
                <a:gd name="T41" fmla="*/ 80 h 151"/>
                <a:gd name="T42" fmla="*/ 167 w 179"/>
                <a:gd name="T43" fmla="*/ 93 h 151"/>
                <a:gd name="T44" fmla="*/ 136 w 179"/>
                <a:gd name="T45" fmla="*/ 111 h 151"/>
                <a:gd name="T46" fmla="*/ 114 w 179"/>
                <a:gd name="T47" fmla="*/ 108 h 151"/>
                <a:gd name="T48" fmla="*/ 120 w 179"/>
                <a:gd name="T49" fmla="*/ 120 h 151"/>
                <a:gd name="T50" fmla="*/ 132 w 179"/>
                <a:gd name="T51" fmla="*/ 129 h 151"/>
                <a:gd name="T52" fmla="*/ 133 w 179"/>
                <a:gd name="T53" fmla="*/ 132 h 151"/>
                <a:gd name="T54" fmla="*/ 132 w 179"/>
                <a:gd name="T55" fmla="*/ 133 h 151"/>
                <a:gd name="T56" fmla="*/ 120 w 179"/>
                <a:gd name="T57" fmla="*/ 141 h 151"/>
                <a:gd name="T58" fmla="*/ 92 w 179"/>
                <a:gd name="T59" fmla="*/ 151 h 151"/>
                <a:gd name="T60" fmla="*/ 84 w 179"/>
                <a:gd name="T61" fmla="*/ 144 h 151"/>
                <a:gd name="T62" fmla="*/ 72 w 179"/>
                <a:gd name="T63" fmla="*/ 124 h 151"/>
                <a:gd name="T64" fmla="*/ 80 w 179"/>
                <a:gd name="T65" fmla="*/ 117 h 151"/>
                <a:gd name="T66" fmla="*/ 71 w 179"/>
                <a:gd name="T67" fmla="*/ 101 h 151"/>
                <a:gd name="T68" fmla="*/ 72 w 179"/>
                <a:gd name="T69" fmla="*/ 80 h 151"/>
                <a:gd name="T70" fmla="*/ 52 w 179"/>
                <a:gd name="T71" fmla="*/ 81 h 151"/>
                <a:gd name="T72" fmla="*/ 37 w 179"/>
                <a:gd name="T73" fmla="*/ 68 h 151"/>
                <a:gd name="T74" fmla="*/ 19 w 179"/>
                <a:gd name="T75" fmla="*/ 68 h 151"/>
                <a:gd name="T76" fmla="*/ 13 w 179"/>
                <a:gd name="T77" fmla="*/ 53 h 151"/>
                <a:gd name="T78" fmla="*/ 0 w 179"/>
                <a:gd name="T79" fmla="*/ 41 h 151"/>
                <a:gd name="T80" fmla="*/ 10 w 179"/>
                <a:gd name="T81" fmla="*/ 18 h 151"/>
                <a:gd name="T82" fmla="*/ 26 w 179"/>
                <a:gd name="T83" fmla="*/ 4 h 151"/>
                <a:gd name="T84" fmla="*/ 28 w 179"/>
                <a:gd name="T85" fmla="*/ 6 h 151"/>
                <a:gd name="T86" fmla="*/ 25 w 179"/>
                <a:gd name="T87" fmla="*/ 19 h 151"/>
                <a:gd name="T88" fmla="*/ 47 w 179"/>
                <a:gd name="T89" fmla="*/ 9 h 151"/>
                <a:gd name="T90" fmla="*/ 41 w 179"/>
                <a:gd name="T91" fmla="*/ 7 h 151"/>
                <a:gd name="T92" fmla="*/ 40 w 179"/>
                <a:gd name="T93" fmla="*/ 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9" h="151">
                  <a:moveTo>
                    <a:pt x="25" y="21"/>
                  </a:moveTo>
                  <a:lnTo>
                    <a:pt x="21" y="30"/>
                  </a:lnTo>
                  <a:lnTo>
                    <a:pt x="21" y="34"/>
                  </a:lnTo>
                  <a:lnTo>
                    <a:pt x="23" y="41"/>
                  </a:lnTo>
                  <a:lnTo>
                    <a:pt x="31" y="37"/>
                  </a:lnTo>
                  <a:lnTo>
                    <a:pt x="29" y="33"/>
                  </a:lnTo>
                  <a:lnTo>
                    <a:pt x="25" y="25"/>
                  </a:lnTo>
                  <a:lnTo>
                    <a:pt x="25" y="21"/>
                  </a:lnTo>
                  <a:close/>
                  <a:moveTo>
                    <a:pt x="46" y="0"/>
                  </a:moveTo>
                  <a:lnTo>
                    <a:pt x="50" y="9"/>
                  </a:lnTo>
                  <a:lnTo>
                    <a:pt x="66" y="13"/>
                  </a:lnTo>
                  <a:lnTo>
                    <a:pt x="71" y="22"/>
                  </a:lnTo>
                  <a:lnTo>
                    <a:pt x="83" y="22"/>
                  </a:lnTo>
                  <a:lnTo>
                    <a:pt x="90" y="21"/>
                  </a:lnTo>
                  <a:lnTo>
                    <a:pt x="96" y="21"/>
                  </a:lnTo>
                  <a:lnTo>
                    <a:pt x="102" y="27"/>
                  </a:lnTo>
                  <a:lnTo>
                    <a:pt x="108" y="27"/>
                  </a:lnTo>
                  <a:lnTo>
                    <a:pt x="123" y="24"/>
                  </a:lnTo>
                  <a:lnTo>
                    <a:pt x="120" y="22"/>
                  </a:lnTo>
                  <a:lnTo>
                    <a:pt x="118" y="22"/>
                  </a:lnTo>
                  <a:lnTo>
                    <a:pt x="118" y="21"/>
                  </a:lnTo>
                  <a:lnTo>
                    <a:pt x="149" y="21"/>
                  </a:lnTo>
                  <a:lnTo>
                    <a:pt x="139" y="25"/>
                  </a:lnTo>
                  <a:lnTo>
                    <a:pt x="142" y="27"/>
                  </a:lnTo>
                  <a:lnTo>
                    <a:pt x="145" y="33"/>
                  </a:lnTo>
                  <a:lnTo>
                    <a:pt x="152" y="33"/>
                  </a:lnTo>
                  <a:lnTo>
                    <a:pt x="163" y="37"/>
                  </a:lnTo>
                  <a:lnTo>
                    <a:pt x="166" y="46"/>
                  </a:lnTo>
                  <a:lnTo>
                    <a:pt x="166" y="47"/>
                  </a:lnTo>
                  <a:lnTo>
                    <a:pt x="164" y="49"/>
                  </a:lnTo>
                  <a:lnTo>
                    <a:pt x="169" y="50"/>
                  </a:lnTo>
                  <a:lnTo>
                    <a:pt x="172" y="47"/>
                  </a:lnTo>
                  <a:lnTo>
                    <a:pt x="173" y="47"/>
                  </a:lnTo>
                  <a:lnTo>
                    <a:pt x="179" y="52"/>
                  </a:lnTo>
                  <a:lnTo>
                    <a:pt x="179" y="53"/>
                  </a:lnTo>
                  <a:lnTo>
                    <a:pt x="178" y="55"/>
                  </a:lnTo>
                  <a:lnTo>
                    <a:pt x="166" y="61"/>
                  </a:lnTo>
                  <a:lnTo>
                    <a:pt x="166" y="67"/>
                  </a:lnTo>
                  <a:lnTo>
                    <a:pt x="170" y="67"/>
                  </a:lnTo>
                  <a:lnTo>
                    <a:pt x="170" y="68"/>
                  </a:lnTo>
                  <a:lnTo>
                    <a:pt x="161" y="74"/>
                  </a:lnTo>
                  <a:lnTo>
                    <a:pt x="160" y="80"/>
                  </a:lnTo>
                  <a:lnTo>
                    <a:pt x="167" y="92"/>
                  </a:lnTo>
                  <a:lnTo>
                    <a:pt x="167" y="93"/>
                  </a:lnTo>
                  <a:lnTo>
                    <a:pt x="163" y="101"/>
                  </a:lnTo>
                  <a:lnTo>
                    <a:pt x="136" y="111"/>
                  </a:lnTo>
                  <a:lnTo>
                    <a:pt x="114" y="105"/>
                  </a:lnTo>
                  <a:lnTo>
                    <a:pt x="114" y="108"/>
                  </a:lnTo>
                  <a:lnTo>
                    <a:pt x="120" y="113"/>
                  </a:lnTo>
                  <a:lnTo>
                    <a:pt x="120" y="120"/>
                  </a:lnTo>
                  <a:lnTo>
                    <a:pt x="121" y="127"/>
                  </a:lnTo>
                  <a:lnTo>
                    <a:pt x="132" y="129"/>
                  </a:lnTo>
                  <a:lnTo>
                    <a:pt x="133" y="129"/>
                  </a:lnTo>
                  <a:lnTo>
                    <a:pt x="133" y="132"/>
                  </a:lnTo>
                  <a:lnTo>
                    <a:pt x="132" y="132"/>
                  </a:lnTo>
                  <a:lnTo>
                    <a:pt x="132" y="133"/>
                  </a:lnTo>
                  <a:lnTo>
                    <a:pt x="123" y="136"/>
                  </a:lnTo>
                  <a:lnTo>
                    <a:pt x="120" y="141"/>
                  </a:lnTo>
                  <a:lnTo>
                    <a:pt x="102" y="151"/>
                  </a:lnTo>
                  <a:lnTo>
                    <a:pt x="92" y="151"/>
                  </a:lnTo>
                  <a:lnTo>
                    <a:pt x="92" y="150"/>
                  </a:lnTo>
                  <a:lnTo>
                    <a:pt x="84" y="144"/>
                  </a:lnTo>
                  <a:lnTo>
                    <a:pt x="78" y="130"/>
                  </a:lnTo>
                  <a:lnTo>
                    <a:pt x="72" y="124"/>
                  </a:lnTo>
                  <a:lnTo>
                    <a:pt x="72" y="123"/>
                  </a:lnTo>
                  <a:lnTo>
                    <a:pt x="80" y="117"/>
                  </a:lnTo>
                  <a:lnTo>
                    <a:pt x="74" y="108"/>
                  </a:lnTo>
                  <a:lnTo>
                    <a:pt x="71" y="101"/>
                  </a:lnTo>
                  <a:lnTo>
                    <a:pt x="77" y="80"/>
                  </a:lnTo>
                  <a:lnTo>
                    <a:pt x="72" y="80"/>
                  </a:lnTo>
                  <a:lnTo>
                    <a:pt x="65" y="81"/>
                  </a:lnTo>
                  <a:lnTo>
                    <a:pt x="52" y="81"/>
                  </a:lnTo>
                  <a:lnTo>
                    <a:pt x="43" y="70"/>
                  </a:lnTo>
                  <a:lnTo>
                    <a:pt x="37" y="68"/>
                  </a:lnTo>
                  <a:lnTo>
                    <a:pt x="26" y="70"/>
                  </a:lnTo>
                  <a:lnTo>
                    <a:pt x="19" y="68"/>
                  </a:lnTo>
                  <a:lnTo>
                    <a:pt x="13" y="64"/>
                  </a:lnTo>
                  <a:lnTo>
                    <a:pt x="13" y="53"/>
                  </a:lnTo>
                  <a:lnTo>
                    <a:pt x="7" y="41"/>
                  </a:lnTo>
                  <a:lnTo>
                    <a:pt x="0" y="41"/>
                  </a:lnTo>
                  <a:lnTo>
                    <a:pt x="0" y="40"/>
                  </a:lnTo>
                  <a:lnTo>
                    <a:pt x="10" y="18"/>
                  </a:lnTo>
                  <a:lnTo>
                    <a:pt x="19" y="7"/>
                  </a:lnTo>
                  <a:lnTo>
                    <a:pt x="26" y="4"/>
                  </a:lnTo>
                  <a:lnTo>
                    <a:pt x="28" y="4"/>
                  </a:lnTo>
                  <a:lnTo>
                    <a:pt x="28" y="6"/>
                  </a:lnTo>
                  <a:lnTo>
                    <a:pt x="22" y="9"/>
                  </a:lnTo>
                  <a:lnTo>
                    <a:pt x="25" y="19"/>
                  </a:lnTo>
                  <a:lnTo>
                    <a:pt x="34" y="13"/>
                  </a:lnTo>
                  <a:lnTo>
                    <a:pt x="47" y="9"/>
                  </a:lnTo>
                  <a:lnTo>
                    <a:pt x="46" y="9"/>
                  </a:lnTo>
                  <a:lnTo>
                    <a:pt x="41" y="7"/>
                  </a:lnTo>
                  <a:lnTo>
                    <a:pt x="40" y="7"/>
                  </a:lnTo>
                  <a:lnTo>
                    <a:pt x="40" y="6"/>
                  </a:lnTo>
                  <a:lnTo>
                    <a:pt x="4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 name="Uruguay">
              <a:extLst>
                <a:ext uri="{FF2B5EF4-FFF2-40B4-BE49-F238E27FC236}">
                  <a16:creationId xmlns:a16="http://schemas.microsoft.com/office/drawing/2014/main" id="{867DA80F-99CC-6827-0471-33E9F6BFE156}"/>
                </a:ext>
              </a:extLst>
            </p:cNvPr>
            <p:cNvSpPr>
              <a:spLocks/>
            </p:cNvSpPr>
            <p:nvPr/>
          </p:nvSpPr>
          <p:spPr bwMode="auto">
            <a:xfrm>
              <a:off x="4445249" y="5328302"/>
              <a:ext cx="128302" cy="137337"/>
            </a:xfrm>
            <a:custGeom>
              <a:avLst/>
              <a:gdLst>
                <a:gd name="T0" fmla="*/ 19 w 71"/>
                <a:gd name="T1" fmla="*/ 0 h 76"/>
                <a:gd name="T2" fmla="*/ 24 w 71"/>
                <a:gd name="T3" fmla="*/ 0 h 76"/>
                <a:gd name="T4" fmla="*/ 31 w 71"/>
                <a:gd name="T5" fmla="*/ 8 h 76"/>
                <a:gd name="T6" fmla="*/ 33 w 71"/>
                <a:gd name="T7" fmla="*/ 14 h 76"/>
                <a:gd name="T8" fmla="*/ 38 w 71"/>
                <a:gd name="T9" fmla="*/ 11 h 76"/>
                <a:gd name="T10" fmla="*/ 38 w 71"/>
                <a:gd name="T11" fmla="*/ 12 h 76"/>
                <a:gd name="T12" fmla="*/ 44 w 71"/>
                <a:gd name="T13" fmla="*/ 18 h 76"/>
                <a:gd name="T14" fmla="*/ 62 w 71"/>
                <a:gd name="T15" fmla="*/ 28 h 76"/>
                <a:gd name="T16" fmla="*/ 65 w 71"/>
                <a:gd name="T17" fmla="*/ 36 h 76"/>
                <a:gd name="T18" fmla="*/ 71 w 71"/>
                <a:gd name="T19" fmla="*/ 40 h 76"/>
                <a:gd name="T20" fmla="*/ 71 w 71"/>
                <a:gd name="T21" fmla="*/ 42 h 76"/>
                <a:gd name="T22" fmla="*/ 67 w 71"/>
                <a:gd name="T23" fmla="*/ 48 h 76"/>
                <a:gd name="T24" fmla="*/ 68 w 71"/>
                <a:gd name="T25" fmla="*/ 57 h 76"/>
                <a:gd name="T26" fmla="*/ 68 w 71"/>
                <a:gd name="T27" fmla="*/ 58 h 76"/>
                <a:gd name="T28" fmla="*/ 58 w 71"/>
                <a:gd name="T29" fmla="*/ 71 h 76"/>
                <a:gd name="T30" fmla="*/ 47 w 71"/>
                <a:gd name="T31" fmla="*/ 76 h 76"/>
                <a:gd name="T32" fmla="*/ 31 w 71"/>
                <a:gd name="T33" fmla="*/ 74 h 76"/>
                <a:gd name="T34" fmla="*/ 16 w 71"/>
                <a:gd name="T35" fmla="*/ 68 h 76"/>
                <a:gd name="T36" fmla="*/ 7 w 71"/>
                <a:gd name="T37" fmla="*/ 68 h 76"/>
                <a:gd name="T38" fmla="*/ 1 w 71"/>
                <a:gd name="T39" fmla="*/ 61 h 76"/>
                <a:gd name="T40" fmla="*/ 0 w 71"/>
                <a:gd name="T41" fmla="*/ 61 h 76"/>
                <a:gd name="T42" fmla="*/ 4 w 71"/>
                <a:gd name="T43" fmla="*/ 43 h 76"/>
                <a:gd name="T44" fmla="*/ 7 w 71"/>
                <a:gd name="T45" fmla="*/ 8 h 76"/>
                <a:gd name="T46" fmla="*/ 12 w 71"/>
                <a:gd name="T47" fmla="*/ 2 h 76"/>
                <a:gd name="T48" fmla="*/ 15 w 71"/>
                <a:gd name="T49" fmla="*/ 2 h 76"/>
                <a:gd name="T50" fmla="*/ 19 w 71"/>
                <a:gd name="T5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 h="76">
                  <a:moveTo>
                    <a:pt x="19" y="0"/>
                  </a:moveTo>
                  <a:lnTo>
                    <a:pt x="24" y="0"/>
                  </a:lnTo>
                  <a:lnTo>
                    <a:pt x="31" y="8"/>
                  </a:lnTo>
                  <a:lnTo>
                    <a:pt x="33" y="14"/>
                  </a:lnTo>
                  <a:lnTo>
                    <a:pt x="38" y="11"/>
                  </a:lnTo>
                  <a:lnTo>
                    <a:pt x="38" y="12"/>
                  </a:lnTo>
                  <a:lnTo>
                    <a:pt x="44" y="18"/>
                  </a:lnTo>
                  <a:lnTo>
                    <a:pt x="62" y="28"/>
                  </a:lnTo>
                  <a:lnTo>
                    <a:pt x="65" y="36"/>
                  </a:lnTo>
                  <a:lnTo>
                    <a:pt x="71" y="40"/>
                  </a:lnTo>
                  <a:lnTo>
                    <a:pt x="71" y="42"/>
                  </a:lnTo>
                  <a:lnTo>
                    <a:pt x="67" y="48"/>
                  </a:lnTo>
                  <a:lnTo>
                    <a:pt x="68" y="57"/>
                  </a:lnTo>
                  <a:lnTo>
                    <a:pt x="68" y="58"/>
                  </a:lnTo>
                  <a:lnTo>
                    <a:pt x="58" y="71"/>
                  </a:lnTo>
                  <a:lnTo>
                    <a:pt x="47" y="76"/>
                  </a:lnTo>
                  <a:lnTo>
                    <a:pt x="31" y="74"/>
                  </a:lnTo>
                  <a:lnTo>
                    <a:pt x="16" y="68"/>
                  </a:lnTo>
                  <a:lnTo>
                    <a:pt x="7" y="68"/>
                  </a:lnTo>
                  <a:lnTo>
                    <a:pt x="1" y="61"/>
                  </a:lnTo>
                  <a:lnTo>
                    <a:pt x="0" y="61"/>
                  </a:lnTo>
                  <a:lnTo>
                    <a:pt x="4" y="43"/>
                  </a:lnTo>
                  <a:lnTo>
                    <a:pt x="7" y="8"/>
                  </a:lnTo>
                  <a:lnTo>
                    <a:pt x="12" y="2"/>
                  </a:lnTo>
                  <a:lnTo>
                    <a:pt x="15" y="2"/>
                  </a:lnTo>
                  <a:lnTo>
                    <a:pt x="1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 name="Trinidad &amp; Tobago">
              <a:extLst>
                <a:ext uri="{FF2B5EF4-FFF2-40B4-BE49-F238E27FC236}">
                  <a16:creationId xmlns:a16="http://schemas.microsoft.com/office/drawing/2014/main" id="{DE896AC8-4A08-1D9F-AB1C-A8BFDD37A041}"/>
                </a:ext>
              </a:extLst>
            </p:cNvPr>
            <p:cNvSpPr>
              <a:spLocks/>
            </p:cNvSpPr>
            <p:nvPr/>
          </p:nvSpPr>
          <p:spPr bwMode="auto">
            <a:xfrm>
              <a:off x="4363932" y="4334418"/>
              <a:ext cx="27107" cy="19879"/>
            </a:xfrm>
            <a:custGeom>
              <a:avLst/>
              <a:gdLst>
                <a:gd name="T0" fmla="*/ 3 w 15"/>
                <a:gd name="T1" fmla="*/ 0 h 11"/>
                <a:gd name="T2" fmla="*/ 15 w 15"/>
                <a:gd name="T3" fmla="*/ 0 h 11"/>
                <a:gd name="T4" fmla="*/ 15 w 15"/>
                <a:gd name="T5" fmla="*/ 2 h 11"/>
                <a:gd name="T6" fmla="*/ 14 w 15"/>
                <a:gd name="T7" fmla="*/ 2 h 11"/>
                <a:gd name="T8" fmla="*/ 12 w 15"/>
                <a:gd name="T9" fmla="*/ 9 h 11"/>
                <a:gd name="T10" fmla="*/ 8 w 15"/>
                <a:gd name="T11" fmla="*/ 9 h 11"/>
                <a:gd name="T12" fmla="*/ 5 w 15"/>
                <a:gd name="T13" fmla="*/ 11 h 11"/>
                <a:gd name="T14" fmla="*/ 0 w 15"/>
                <a:gd name="T15" fmla="*/ 11 h 11"/>
                <a:gd name="T16" fmla="*/ 0 w 15"/>
                <a:gd name="T17" fmla="*/ 9 h 11"/>
                <a:gd name="T18" fmla="*/ 6 w 15"/>
                <a:gd name="T19" fmla="*/ 6 h 11"/>
                <a:gd name="T20" fmla="*/ 3 w 15"/>
                <a:gd name="T21" fmla="*/ 2 h 11"/>
                <a:gd name="T22" fmla="*/ 3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3" y="0"/>
                  </a:moveTo>
                  <a:lnTo>
                    <a:pt x="15" y="0"/>
                  </a:lnTo>
                  <a:lnTo>
                    <a:pt x="15" y="2"/>
                  </a:lnTo>
                  <a:lnTo>
                    <a:pt x="14" y="2"/>
                  </a:lnTo>
                  <a:lnTo>
                    <a:pt x="12" y="9"/>
                  </a:lnTo>
                  <a:lnTo>
                    <a:pt x="8" y="9"/>
                  </a:lnTo>
                  <a:lnTo>
                    <a:pt x="5" y="11"/>
                  </a:lnTo>
                  <a:lnTo>
                    <a:pt x="0" y="11"/>
                  </a:lnTo>
                  <a:lnTo>
                    <a:pt x="0" y="9"/>
                  </a:lnTo>
                  <a:lnTo>
                    <a:pt x="6" y="6"/>
                  </a:lnTo>
                  <a:lnTo>
                    <a:pt x="3" y="2"/>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 name="Suriname">
              <a:extLst>
                <a:ext uri="{FF2B5EF4-FFF2-40B4-BE49-F238E27FC236}">
                  <a16:creationId xmlns:a16="http://schemas.microsoft.com/office/drawing/2014/main" id="{9B3B3A6C-D52C-479F-04F6-B08E71918713}"/>
                </a:ext>
              </a:extLst>
            </p:cNvPr>
            <p:cNvSpPr>
              <a:spLocks/>
            </p:cNvSpPr>
            <p:nvPr/>
          </p:nvSpPr>
          <p:spPr bwMode="auto">
            <a:xfrm>
              <a:off x="4456091" y="4446456"/>
              <a:ext cx="99389" cy="99389"/>
            </a:xfrm>
            <a:custGeom>
              <a:avLst/>
              <a:gdLst>
                <a:gd name="T0" fmla="*/ 41 w 55"/>
                <a:gd name="T1" fmla="*/ 0 h 55"/>
                <a:gd name="T2" fmla="*/ 55 w 55"/>
                <a:gd name="T3" fmla="*/ 3 h 55"/>
                <a:gd name="T4" fmla="*/ 55 w 55"/>
                <a:gd name="T5" fmla="*/ 8 h 55"/>
                <a:gd name="T6" fmla="*/ 50 w 55"/>
                <a:gd name="T7" fmla="*/ 15 h 55"/>
                <a:gd name="T8" fmla="*/ 50 w 55"/>
                <a:gd name="T9" fmla="*/ 23 h 55"/>
                <a:gd name="T10" fmla="*/ 55 w 55"/>
                <a:gd name="T11" fmla="*/ 32 h 55"/>
                <a:gd name="T12" fmla="*/ 53 w 55"/>
                <a:gd name="T13" fmla="*/ 45 h 55"/>
                <a:gd name="T14" fmla="*/ 49 w 55"/>
                <a:gd name="T15" fmla="*/ 49 h 55"/>
                <a:gd name="T16" fmla="*/ 47 w 55"/>
                <a:gd name="T17" fmla="*/ 49 h 55"/>
                <a:gd name="T18" fmla="*/ 41 w 55"/>
                <a:gd name="T19" fmla="*/ 46 h 55"/>
                <a:gd name="T20" fmla="*/ 31 w 55"/>
                <a:gd name="T21" fmla="*/ 48 h 55"/>
                <a:gd name="T22" fmla="*/ 30 w 55"/>
                <a:gd name="T23" fmla="*/ 55 h 55"/>
                <a:gd name="T24" fmla="*/ 21 w 55"/>
                <a:gd name="T25" fmla="*/ 55 h 55"/>
                <a:gd name="T26" fmla="*/ 15 w 55"/>
                <a:gd name="T27" fmla="*/ 48 h 55"/>
                <a:gd name="T28" fmla="*/ 10 w 55"/>
                <a:gd name="T29" fmla="*/ 38 h 55"/>
                <a:gd name="T30" fmla="*/ 6 w 55"/>
                <a:gd name="T31" fmla="*/ 36 h 55"/>
                <a:gd name="T32" fmla="*/ 0 w 55"/>
                <a:gd name="T33" fmla="*/ 26 h 55"/>
                <a:gd name="T34" fmla="*/ 1 w 55"/>
                <a:gd name="T35" fmla="*/ 15 h 55"/>
                <a:gd name="T36" fmla="*/ 3 w 55"/>
                <a:gd name="T37" fmla="*/ 15 h 55"/>
                <a:gd name="T38" fmla="*/ 9 w 55"/>
                <a:gd name="T39" fmla="*/ 14 h 55"/>
                <a:gd name="T40" fmla="*/ 13 w 55"/>
                <a:gd name="T41" fmla="*/ 3 h 55"/>
                <a:gd name="T42" fmla="*/ 13 w 55"/>
                <a:gd name="T43" fmla="*/ 2 h 55"/>
                <a:gd name="T44" fmla="*/ 15 w 55"/>
                <a:gd name="T45" fmla="*/ 2 h 55"/>
                <a:gd name="T46" fmla="*/ 41 w 55"/>
                <a:gd name="T4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55">
                  <a:moveTo>
                    <a:pt x="41" y="0"/>
                  </a:moveTo>
                  <a:lnTo>
                    <a:pt x="55" y="3"/>
                  </a:lnTo>
                  <a:lnTo>
                    <a:pt x="55" y="8"/>
                  </a:lnTo>
                  <a:lnTo>
                    <a:pt x="50" y="15"/>
                  </a:lnTo>
                  <a:lnTo>
                    <a:pt x="50" y="23"/>
                  </a:lnTo>
                  <a:lnTo>
                    <a:pt x="55" y="32"/>
                  </a:lnTo>
                  <a:lnTo>
                    <a:pt x="53" y="45"/>
                  </a:lnTo>
                  <a:lnTo>
                    <a:pt x="49" y="49"/>
                  </a:lnTo>
                  <a:lnTo>
                    <a:pt x="47" y="49"/>
                  </a:lnTo>
                  <a:lnTo>
                    <a:pt x="41" y="46"/>
                  </a:lnTo>
                  <a:lnTo>
                    <a:pt x="31" y="48"/>
                  </a:lnTo>
                  <a:lnTo>
                    <a:pt x="30" y="55"/>
                  </a:lnTo>
                  <a:lnTo>
                    <a:pt x="21" y="55"/>
                  </a:lnTo>
                  <a:lnTo>
                    <a:pt x="15" y="48"/>
                  </a:lnTo>
                  <a:lnTo>
                    <a:pt x="10" y="38"/>
                  </a:lnTo>
                  <a:lnTo>
                    <a:pt x="6" y="36"/>
                  </a:lnTo>
                  <a:lnTo>
                    <a:pt x="0" y="26"/>
                  </a:lnTo>
                  <a:lnTo>
                    <a:pt x="1" y="15"/>
                  </a:lnTo>
                  <a:lnTo>
                    <a:pt x="3" y="15"/>
                  </a:lnTo>
                  <a:lnTo>
                    <a:pt x="9" y="14"/>
                  </a:lnTo>
                  <a:lnTo>
                    <a:pt x="13" y="3"/>
                  </a:lnTo>
                  <a:lnTo>
                    <a:pt x="13" y="2"/>
                  </a:lnTo>
                  <a:lnTo>
                    <a:pt x="15" y="2"/>
                  </a:lnTo>
                  <a:lnTo>
                    <a:pt x="4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 name="Peru">
              <a:extLst>
                <a:ext uri="{FF2B5EF4-FFF2-40B4-BE49-F238E27FC236}">
                  <a16:creationId xmlns:a16="http://schemas.microsoft.com/office/drawing/2014/main" id="{39C8C20F-0F56-9666-0FCD-E1E02E649481}"/>
                </a:ext>
              </a:extLst>
            </p:cNvPr>
            <p:cNvSpPr>
              <a:spLocks/>
            </p:cNvSpPr>
            <p:nvPr/>
          </p:nvSpPr>
          <p:spPr bwMode="auto">
            <a:xfrm>
              <a:off x="3906744" y="4592828"/>
              <a:ext cx="298166" cy="430081"/>
            </a:xfrm>
            <a:custGeom>
              <a:avLst/>
              <a:gdLst>
                <a:gd name="T0" fmla="*/ 82 w 165"/>
                <a:gd name="T1" fmla="*/ 0 h 238"/>
                <a:gd name="T2" fmla="*/ 86 w 165"/>
                <a:gd name="T3" fmla="*/ 1 h 238"/>
                <a:gd name="T4" fmla="*/ 101 w 165"/>
                <a:gd name="T5" fmla="*/ 13 h 238"/>
                <a:gd name="T6" fmla="*/ 107 w 165"/>
                <a:gd name="T7" fmla="*/ 20 h 238"/>
                <a:gd name="T8" fmla="*/ 110 w 165"/>
                <a:gd name="T9" fmla="*/ 29 h 238"/>
                <a:gd name="T10" fmla="*/ 123 w 165"/>
                <a:gd name="T11" fmla="*/ 26 h 238"/>
                <a:gd name="T12" fmla="*/ 130 w 165"/>
                <a:gd name="T13" fmla="*/ 29 h 238"/>
                <a:gd name="T14" fmla="*/ 145 w 165"/>
                <a:gd name="T15" fmla="*/ 31 h 238"/>
                <a:gd name="T16" fmla="*/ 148 w 165"/>
                <a:gd name="T17" fmla="*/ 37 h 238"/>
                <a:gd name="T18" fmla="*/ 148 w 165"/>
                <a:gd name="T19" fmla="*/ 51 h 238"/>
                <a:gd name="T20" fmla="*/ 117 w 165"/>
                <a:gd name="T21" fmla="*/ 65 h 238"/>
                <a:gd name="T22" fmla="*/ 108 w 165"/>
                <a:gd name="T23" fmla="*/ 83 h 238"/>
                <a:gd name="T24" fmla="*/ 104 w 165"/>
                <a:gd name="T25" fmla="*/ 87 h 238"/>
                <a:gd name="T26" fmla="*/ 102 w 165"/>
                <a:gd name="T27" fmla="*/ 105 h 238"/>
                <a:gd name="T28" fmla="*/ 111 w 165"/>
                <a:gd name="T29" fmla="*/ 120 h 238"/>
                <a:gd name="T30" fmla="*/ 117 w 165"/>
                <a:gd name="T31" fmla="*/ 121 h 238"/>
                <a:gd name="T32" fmla="*/ 127 w 165"/>
                <a:gd name="T33" fmla="*/ 127 h 238"/>
                <a:gd name="T34" fmla="*/ 142 w 165"/>
                <a:gd name="T35" fmla="*/ 118 h 238"/>
                <a:gd name="T36" fmla="*/ 144 w 165"/>
                <a:gd name="T37" fmla="*/ 142 h 238"/>
                <a:gd name="T38" fmla="*/ 154 w 165"/>
                <a:gd name="T39" fmla="*/ 139 h 238"/>
                <a:gd name="T40" fmla="*/ 165 w 165"/>
                <a:gd name="T41" fmla="*/ 160 h 238"/>
                <a:gd name="T42" fmla="*/ 162 w 165"/>
                <a:gd name="T43" fmla="*/ 188 h 238"/>
                <a:gd name="T44" fmla="*/ 160 w 165"/>
                <a:gd name="T45" fmla="*/ 197 h 238"/>
                <a:gd name="T46" fmla="*/ 157 w 165"/>
                <a:gd name="T47" fmla="*/ 203 h 238"/>
                <a:gd name="T48" fmla="*/ 162 w 165"/>
                <a:gd name="T49" fmla="*/ 215 h 238"/>
                <a:gd name="T50" fmla="*/ 154 w 165"/>
                <a:gd name="T51" fmla="*/ 226 h 238"/>
                <a:gd name="T52" fmla="*/ 151 w 165"/>
                <a:gd name="T53" fmla="*/ 235 h 238"/>
                <a:gd name="T54" fmla="*/ 141 w 165"/>
                <a:gd name="T55" fmla="*/ 238 h 238"/>
                <a:gd name="T56" fmla="*/ 98 w 165"/>
                <a:gd name="T57" fmla="*/ 213 h 238"/>
                <a:gd name="T58" fmla="*/ 65 w 165"/>
                <a:gd name="T59" fmla="*/ 186 h 238"/>
                <a:gd name="T60" fmla="*/ 64 w 165"/>
                <a:gd name="T61" fmla="*/ 172 h 238"/>
                <a:gd name="T62" fmla="*/ 31 w 165"/>
                <a:gd name="T63" fmla="*/ 106 h 238"/>
                <a:gd name="T64" fmla="*/ 18 w 165"/>
                <a:gd name="T65" fmla="*/ 87 h 238"/>
                <a:gd name="T66" fmla="*/ 3 w 165"/>
                <a:gd name="T67" fmla="*/ 74 h 238"/>
                <a:gd name="T68" fmla="*/ 3 w 165"/>
                <a:gd name="T69" fmla="*/ 68 h 238"/>
                <a:gd name="T70" fmla="*/ 1 w 165"/>
                <a:gd name="T71" fmla="*/ 54 h 238"/>
                <a:gd name="T72" fmla="*/ 13 w 165"/>
                <a:gd name="T73" fmla="*/ 43 h 238"/>
                <a:gd name="T74" fmla="*/ 10 w 165"/>
                <a:gd name="T75" fmla="*/ 51 h 238"/>
                <a:gd name="T76" fmla="*/ 16 w 165"/>
                <a:gd name="T77" fmla="*/ 56 h 238"/>
                <a:gd name="T78" fmla="*/ 24 w 165"/>
                <a:gd name="T79" fmla="*/ 57 h 238"/>
                <a:gd name="T80" fmla="*/ 30 w 165"/>
                <a:gd name="T81" fmla="*/ 62 h 238"/>
                <a:gd name="T82" fmla="*/ 34 w 165"/>
                <a:gd name="T83" fmla="*/ 50 h 238"/>
                <a:gd name="T84" fmla="*/ 42 w 165"/>
                <a:gd name="T85" fmla="*/ 44 h 238"/>
                <a:gd name="T86" fmla="*/ 43 w 165"/>
                <a:gd name="T87" fmla="*/ 38 h 238"/>
                <a:gd name="T88" fmla="*/ 73 w 165"/>
                <a:gd name="T89" fmla="*/ 20 h 238"/>
                <a:gd name="T90" fmla="*/ 80 w 165"/>
                <a:gd name="T91" fmla="*/ 10 h 238"/>
                <a:gd name="T92" fmla="*/ 74 w 165"/>
                <a:gd name="T93" fmla="*/ 1 h 238"/>
                <a:gd name="T94" fmla="*/ 79 w 165"/>
                <a:gd name="T9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5" h="238">
                  <a:moveTo>
                    <a:pt x="79" y="0"/>
                  </a:moveTo>
                  <a:lnTo>
                    <a:pt x="82" y="0"/>
                  </a:lnTo>
                  <a:lnTo>
                    <a:pt x="83" y="1"/>
                  </a:lnTo>
                  <a:lnTo>
                    <a:pt x="86" y="1"/>
                  </a:lnTo>
                  <a:lnTo>
                    <a:pt x="95" y="11"/>
                  </a:lnTo>
                  <a:lnTo>
                    <a:pt x="101" y="13"/>
                  </a:lnTo>
                  <a:lnTo>
                    <a:pt x="102" y="20"/>
                  </a:lnTo>
                  <a:lnTo>
                    <a:pt x="107" y="20"/>
                  </a:lnTo>
                  <a:lnTo>
                    <a:pt x="107" y="22"/>
                  </a:lnTo>
                  <a:lnTo>
                    <a:pt x="110" y="29"/>
                  </a:lnTo>
                  <a:lnTo>
                    <a:pt x="119" y="31"/>
                  </a:lnTo>
                  <a:lnTo>
                    <a:pt x="123" y="26"/>
                  </a:lnTo>
                  <a:lnTo>
                    <a:pt x="125" y="26"/>
                  </a:lnTo>
                  <a:lnTo>
                    <a:pt x="130" y="29"/>
                  </a:lnTo>
                  <a:lnTo>
                    <a:pt x="135" y="26"/>
                  </a:lnTo>
                  <a:lnTo>
                    <a:pt x="145" y="31"/>
                  </a:lnTo>
                  <a:lnTo>
                    <a:pt x="148" y="35"/>
                  </a:lnTo>
                  <a:lnTo>
                    <a:pt x="148" y="37"/>
                  </a:lnTo>
                  <a:lnTo>
                    <a:pt x="141" y="47"/>
                  </a:lnTo>
                  <a:lnTo>
                    <a:pt x="148" y="51"/>
                  </a:lnTo>
                  <a:lnTo>
                    <a:pt x="127" y="57"/>
                  </a:lnTo>
                  <a:lnTo>
                    <a:pt x="117" y="65"/>
                  </a:lnTo>
                  <a:lnTo>
                    <a:pt x="110" y="75"/>
                  </a:lnTo>
                  <a:lnTo>
                    <a:pt x="108" y="83"/>
                  </a:lnTo>
                  <a:lnTo>
                    <a:pt x="108" y="84"/>
                  </a:lnTo>
                  <a:lnTo>
                    <a:pt x="104" y="87"/>
                  </a:lnTo>
                  <a:lnTo>
                    <a:pt x="99" y="96"/>
                  </a:lnTo>
                  <a:lnTo>
                    <a:pt x="102" y="105"/>
                  </a:lnTo>
                  <a:lnTo>
                    <a:pt x="111" y="114"/>
                  </a:lnTo>
                  <a:lnTo>
                    <a:pt x="111" y="120"/>
                  </a:lnTo>
                  <a:lnTo>
                    <a:pt x="117" y="120"/>
                  </a:lnTo>
                  <a:lnTo>
                    <a:pt x="117" y="121"/>
                  </a:lnTo>
                  <a:lnTo>
                    <a:pt x="122" y="126"/>
                  </a:lnTo>
                  <a:lnTo>
                    <a:pt x="127" y="127"/>
                  </a:lnTo>
                  <a:lnTo>
                    <a:pt x="141" y="118"/>
                  </a:lnTo>
                  <a:lnTo>
                    <a:pt x="142" y="118"/>
                  </a:lnTo>
                  <a:lnTo>
                    <a:pt x="142" y="140"/>
                  </a:lnTo>
                  <a:lnTo>
                    <a:pt x="144" y="142"/>
                  </a:lnTo>
                  <a:lnTo>
                    <a:pt x="153" y="139"/>
                  </a:lnTo>
                  <a:lnTo>
                    <a:pt x="154" y="139"/>
                  </a:lnTo>
                  <a:lnTo>
                    <a:pt x="154" y="140"/>
                  </a:lnTo>
                  <a:lnTo>
                    <a:pt x="165" y="160"/>
                  </a:lnTo>
                  <a:lnTo>
                    <a:pt x="162" y="166"/>
                  </a:lnTo>
                  <a:lnTo>
                    <a:pt x="162" y="188"/>
                  </a:lnTo>
                  <a:lnTo>
                    <a:pt x="157" y="191"/>
                  </a:lnTo>
                  <a:lnTo>
                    <a:pt x="160" y="197"/>
                  </a:lnTo>
                  <a:lnTo>
                    <a:pt x="160" y="198"/>
                  </a:lnTo>
                  <a:lnTo>
                    <a:pt x="157" y="203"/>
                  </a:lnTo>
                  <a:lnTo>
                    <a:pt x="157" y="207"/>
                  </a:lnTo>
                  <a:lnTo>
                    <a:pt x="162" y="215"/>
                  </a:lnTo>
                  <a:lnTo>
                    <a:pt x="162" y="216"/>
                  </a:lnTo>
                  <a:lnTo>
                    <a:pt x="154" y="226"/>
                  </a:lnTo>
                  <a:lnTo>
                    <a:pt x="154" y="229"/>
                  </a:lnTo>
                  <a:lnTo>
                    <a:pt x="151" y="235"/>
                  </a:lnTo>
                  <a:lnTo>
                    <a:pt x="151" y="237"/>
                  </a:lnTo>
                  <a:lnTo>
                    <a:pt x="141" y="238"/>
                  </a:lnTo>
                  <a:lnTo>
                    <a:pt x="117" y="219"/>
                  </a:lnTo>
                  <a:lnTo>
                    <a:pt x="98" y="213"/>
                  </a:lnTo>
                  <a:lnTo>
                    <a:pt x="80" y="200"/>
                  </a:lnTo>
                  <a:lnTo>
                    <a:pt x="65" y="186"/>
                  </a:lnTo>
                  <a:lnTo>
                    <a:pt x="65" y="185"/>
                  </a:lnTo>
                  <a:lnTo>
                    <a:pt x="64" y="172"/>
                  </a:lnTo>
                  <a:lnTo>
                    <a:pt x="47" y="148"/>
                  </a:lnTo>
                  <a:lnTo>
                    <a:pt x="31" y="106"/>
                  </a:lnTo>
                  <a:lnTo>
                    <a:pt x="25" y="100"/>
                  </a:lnTo>
                  <a:lnTo>
                    <a:pt x="18" y="87"/>
                  </a:lnTo>
                  <a:lnTo>
                    <a:pt x="3" y="75"/>
                  </a:lnTo>
                  <a:lnTo>
                    <a:pt x="3" y="74"/>
                  </a:lnTo>
                  <a:lnTo>
                    <a:pt x="4" y="71"/>
                  </a:lnTo>
                  <a:lnTo>
                    <a:pt x="3" y="68"/>
                  </a:lnTo>
                  <a:lnTo>
                    <a:pt x="0" y="54"/>
                  </a:lnTo>
                  <a:lnTo>
                    <a:pt x="1" y="54"/>
                  </a:lnTo>
                  <a:lnTo>
                    <a:pt x="12" y="43"/>
                  </a:lnTo>
                  <a:lnTo>
                    <a:pt x="13" y="43"/>
                  </a:lnTo>
                  <a:lnTo>
                    <a:pt x="15" y="48"/>
                  </a:lnTo>
                  <a:lnTo>
                    <a:pt x="10" y="51"/>
                  </a:lnTo>
                  <a:lnTo>
                    <a:pt x="12" y="56"/>
                  </a:lnTo>
                  <a:lnTo>
                    <a:pt x="16" y="56"/>
                  </a:lnTo>
                  <a:lnTo>
                    <a:pt x="22" y="57"/>
                  </a:lnTo>
                  <a:lnTo>
                    <a:pt x="24" y="57"/>
                  </a:lnTo>
                  <a:lnTo>
                    <a:pt x="25" y="62"/>
                  </a:lnTo>
                  <a:lnTo>
                    <a:pt x="30" y="62"/>
                  </a:lnTo>
                  <a:lnTo>
                    <a:pt x="34" y="59"/>
                  </a:lnTo>
                  <a:lnTo>
                    <a:pt x="34" y="50"/>
                  </a:lnTo>
                  <a:lnTo>
                    <a:pt x="37" y="44"/>
                  </a:lnTo>
                  <a:lnTo>
                    <a:pt x="42" y="44"/>
                  </a:lnTo>
                  <a:lnTo>
                    <a:pt x="43" y="40"/>
                  </a:lnTo>
                  <a:lnTo>
                    <a:pt x="43" y="38"/>
                  </a:lnTo>
                  <a:lnTo>
                    <a:pt x="61" y="31"/>
                  </a:lnTo>
                  <a:lnTo>
                    <a:pt x="73" y="20"/>
                  </a:lnTo>
                  <a:lnTo>
                    <a:pt x="79" y="10"/>
                  </a:lnTo>
                  <a:lnTo>
                    <a:pt x="80" y="10"/>
                  </a:lnTo>
                  <a:lnTo>
                    <a:pt x="74" y="2"/>
                  </a:lnTo>
                  <a:lnTo>
                    <a:pt x="74" y="1"/>
                  </a:lnTo>
                  <a:lnTo>
                    <a:pt x="76" y="1"/>
                  </a:lnTo>
                  <a:lnTo>
                    <a:pt x="7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 name="Paraguay">
              <a:extLst>
                <a:ext uri="{FF2B5EF4-FFF2-40B4-BE49-F238E27FC236}">
                  <a16:creationId xmlns:a16="http://schemas.microsoft.com/office/drawing/2014/main" id="{D07A6196-C80D-6ADE-9291-A9F6C34762F8}"/>
                </a:ext>
              </a:extLst>
            </p:cNvPr>
            <p:cNvSpPr>
              <a:spLocks/>
            </p:cNvSpPr>
            <p:nvPr/>
          </p:nvSpPr>
          <p:spPr bwMode="auto">
            <a:xfrm>
              <a:off x="4345861" y="5048207"/>
              <a:ext cx="200584" cy="213233"/>
            </a:xfrm>
            <a:custGeom>
              <a:avLst/>
              <a:gdLst>
                <a:gd name="T0" fmla="*/ 37 w 111"/>
                <a:gd name="T1" fmla="*/ 0 h 118"/>
                <a:gd name="T2" fmla="*/ 48 w 111"/>
                <a:gd name="T3" fmla="*/ 0 h 118"/>
                <a:gd name="T4" fmla="*/ 53 w 111"/>
                <a:gd name="T5" fmla="*/ 3 h 118"/>
                <a:gd name="T6" fmla="*/ 61 w 111"/>
                <a:gd name="T7" fmla="*/ 11 h 118"/>
                <a:gd name="T8" fmla="*/ 64 w 111"/>
                <a:gd name="T9" fmla="*/ 38 h 118"/>
                <a:gd name="T10" fmla="*/ 74 w 111"/>
                <a:gd name="T11" fmla="*/ 41 h 118"/>
                <a:gd name="T12" fmla="*/ 83 w 111"/>
                <a:gd name="T13" fmla="*/ 40 h 118"/>
                <a:gd name="T14" fmla="*/ 91 w 111"/>
                <a:gd name="T15" fmla="*/ 43 h 118"/>
                <a:gd name="T16" fmla="*/ 92 w 111"/>
                <a:gd name="T17" fmla="*/ 43 h 118"/>
                <a:gd name="T18" fmla="*/ 96 w 111"/>
                <a:gd name="T19" fmla="*/ 63 h 118"/>
                <a:gd name="T20" fmla="*/ 110 w 111"/>
                <a:gd name="T21" fmla="*/ 65 h 118"/>
                <a:gd name="T22" fmla="*/ 111 w 111"/>
                <a:gd name="T23" fmla="*/ 74 h 118"/>
                <a:gd name="T24" fmla="*/ 108 w 111"/>
                <a:gd name="T25" fmla="*/ 90 h 118"/>
                <a:gd name="T26" fmla="*/ 105 w 111"/>
                <a:gd name="T27" fmla="*/ 103 h 118"/>
                <a:gd name="T28" fmla="*/ 93 w 111"/>
                <a:gd name="T29" fmla="*/ 115 h 118"/>
                <a:gd name="T30" fmla="*/ 91 w 111"/>
                <a:gd name="T31" fmla="*/ 115 h 118"/>
                <a:gd name="T32" fmla="*/ 88 w 111"/>
                <a:gd name="T33" fmla="*/ 117 h 118"/>
                <a:gd name="T34" fmla="*/ 83 w 111"/>
                <a:gd name="T35" fmla="*/ 117 h 118"/>
                <a:gd name="T36" fmla="*/ 80 w 111"/>
                <a:gd name="T37" fmla="*/ 118 h 118"/>
                <a:gd name="T38" fmla="*/ 77 w 111"/>
                <a:gd name="T39" fmla="*/ 118 h 118"/>
                <a:gd name="T40" fmla="*/ 70 w 111"/>
                <a:gd name="T41" fmla="*/ 114 h 118"/>
                <a:gd name="T42" fmla="*/ 56 w 111"/>
                <a:gd name="T43" fmla="*/ 112 h 118"/>
                <a:gd name="T44" fmla="*/ 56 w 111"/>
                <a:gd name="T45" fmla="*/ 106 h 118"/>
                <a:gd name="T46" fmla="*/ 65 w 111"/>
                <a:gd name="T47" fmla="*/ 90 h 118"/>
                <a:gd name="T48" fmla="*/ 64 w 111"/>
                <a:gd name="T49" fmla="*/ 87 h 118"/>
                <a:gd name="T50" fmla="*/ 40 w 111"/>
                <a:gd name="T51" fmla="*/ 71 h 118"/>
                <a:gd name="T52" fmla="*/ 24 w 111"/>
                <a:gd name="T53" fmla="*/ 66 h 118"/>
                <a:gd name="T54" fmla="*/ 5 w 111"/>
                <a:gd name="T55" fmla="*/ 44 h 118"/>
                <a:gd name="T56" fmla="*/ 0 w 111"/>
                <a:gd name="T57" fmla="*/ 44 h 118"/>
                <a:gd name="T58" fmla="*/ 0 w 111"/>
                <a:gd name="T59" fmla="*/ 43 h 118"/>
                <a:gd name="T60" fmla="*/ 5 w 111"/>
                <a:gd name="T61" fmla="*/ 29 h 118"/>
                <a:gd name="T62" fmla="*/ 5 w 111"/>
                <a:gd name="T63" fmla="*/ 20 h 118"/>
                <a:gd name="T64" fmla="*/ 10 w 111"/>
                <a:gd name="T65" fmla="*/ 7 h 118"/>
                <a:gd name="T66" fmla="*/ 37 w 111"/>
                <a:gd name="T6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 h="118">
                  <a:moveTo>
                    <a:pt x="37" y="0"/>
                  </a:moveTo>
                  <a:lnTo>
                    <a:pt x="48" y="0"/>
                  </a:lnTo>
                  <a:lnTo>
                    <a:pt x="53" y="3"/>
                  </a:lnTo>
                  <a:lnTo>
                    <a:pt x="61" y="11"/>
                  </a:lnTo>
                  <a:lnTo>
                    <a:pt x="64" y="38"/>
                  </a:lnTo>
                  <a:lnTo>
                    <a:pt x="74" y="41"/>
                  </a:lnTo>
                  <a:lnTo>
                    <a:pt x="83" y="40"/>
                  </a:lnTo>
                  <a:lnTo>
                    <a:pt x="91" y="43"/>
                  </a:lnTo>
                  <a:lnTo>
                    <a:pt x="92" y="43"/>
                  </a:lnTo>
                  <a:lnTo>
                    <a:pt x="96" y="63"/>
                  </a:lnTo>
                  <a:lnTo>
                    <a:pt x="110" y="65"/>
                  </a:lnTo>
                  <a:lnTo>
                    <a:pt x="111" y="74"/>
                  </a:lnTo>
                  <a:lnTo>
                    <a:pt x="108" y="90"/>
                  </a:lnTo>
                  <a:lnTo>
                    <a:pt x="105" y="103"/>
                  </a:lnTo>
                  <a:lnTo>
                    <a:pt x="93" y="115"/>
                  </a:lnTo>
                  <a:lnTo>
                    <a:pt x="91" y="115"/>
                  </a:lnTo>
                  <a:lnTo>
                    <a:pt x="88" y="117"/>
                  </a:lnTo>
                  <a:lnTo>
                    <a:pt x="83" y="117"/>
                  </a:lnTo>
                  <a:lnTo>
                    <a:pt x="80" y="118"/>
                  </a:lnTo>
                  <a:lnTo>
                    <a:pt x="77" y="118"/>
                  </a:lnTo>
                  <a:lnTo>
                    <a:pt x="70" y="114"/>
                  </a:lnTo>
                  <a:lnTo>
                    <a:pt x="56" y="112"/>
                  </a:lnTo>
                  <a:lnTo>
                    <a:pt x="56" y="106"/>
                  </a:lnTo>
                  <a:lnTo>
                    <a:pt x="65" y="90"/>
                  </a:lnTo>
                  <a:lnTo>
                    <a:pt x="64" y="87"/>
                  </a:lnTo>
                  <a:lnTo>
                    <a:pt x="40" y="71"/>
                  </a:lnTo>
                  <a:lnTo>
                    <a:pt x="24" y="66"/>
                  </a:lnTo>
                  <a:lnTo>
                    <a:pt x="5" y="44"/>
                  </a:lnTo>
                  <a:lnTo>
                    <a:pt x="0" y="44"/>
                  </a:lnTo>
                  <a:lnTo>
                    <a:pt x="0" y="43"/>
                  </a:lnTo>
                  <a:lnTo>
                    <a:pt x="5" y="29"/>
                  </a:lnTo>
                  <a:lnTo>
                    <a:pt x="5" y="20"/>
                  </a:lnTo>
                  <a:lnTo>
                    <a:pt x="10" y="7"/>
                  </a:lnTo>
                  <a:lnTo>
                    <a:pt x="3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 name="Isla de Margarita">
              <a:extLst>
                <a:ext uri="{FF2B5EF4-FFF2-40B4-BE49-F238E27FC236}">
                  <a16:creationId xmlns:a16="http://schemas.microsoft.com/office/drawing/2014/main" id="{B9E9D666-B4F0-54D1-0AE2-5E0A247FB123}"/>
                </a:ext>
              </a:extLst>
            </p:cNvPr>
            <p:cNvSpPr>
              <a:spLocks/>
            </p:cNvSpPr>
            <p:nvPr/>
          </p:nvSpPr>
          <p:spPr bwMode="auto">
            <a:xfrm>
              <a:off x="4307912" y="4323576"/>
              <a:ext cx="14457" cy="10843"/>
            </a:xfrm>
            <a:custGeom>
              <a:avLst/>
              <a:gdLst>
                <a:gd name="T0" fmla="*/ 5 w 8"/>
                <a:gd name="T1" fmla="*/ 0 h 6"/>
                <a:gd name="T2" fmla="*/ 6 w 8"/>
                <a:gd name="T3" fmla="*/ 0 h 6"/>
                <a:gd name="T4" fmla="*/ 8 w 8"/>
                <a:gd name="T5" fmla="*/ 3 h 6"/>
                <a:gd name="T6" fmla="*/ 8 w 8"/>
                <a:gd name="T7" fmla="*/ 5 h 6"/>
                <a:gd name="T8" fmla="*/ 5 w 8"/>
                <a:gd name="T9" fmla="*/ 6 h 6"/>
                <a:gd name="T10" fmla="*/ 0 w 8"/>
                <a:gd name="T11" fmla="*/ 3 h 6"/>
                <a:gd name="T12" fmla="*/ 0 w 8"/>
                <a:gd name="T13" fmla="*/ 2 h 6"/>
                <a:gd name="T14" fmla="*/ 5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5" y="0"/>
                  </a:moveTo>
                  <a:lnTo>
                    <a:pt x="6" y="0"/>
                  </a:lnTo>
                  <a:lnTo>
                    <a:pt x="8" y="3"/>
                  </a:lnTo>
                  <a:lnTo>
                    <a:pt x="8" y="5"/>
                  </a:lnTo>
                  <a:lnTo>
                    <a:pt x="5" y="6"/>
                  </a:lnTo>
                  <a:lnTo>
                    <a:pt x="0" y="3"/>
                  </a:lnTo>
                  <a:lnTo>
                    <a:pt x="0" y="2"/>
                  </a:lnTo>
                  <a:lnTo>
                    <a:pt x="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 name="French Guiana">
              <a:extLst>
                <a:ext uri="{FF2B5EF4-FFF2-40B4-BE49-F238E27FC236}">
                  <a16:creationId xmlns:a16="http://schemas.microsoft.com/office/drawing/2014/main" id="{25424B77-A2AF-E357-FA2D-E9BD364354DE}"/>
                </a:ext>
              </a:extLst>
            </p:cNvPr>
            <p:cNvSpPr>
              <a:spLocks/>
            </p:cNvSpPr>
            <p:nvPr/>
          </p:nvSpPr>
          <p:spPr bwMode="auto">
            <a:xfrm>
              <a:off x="4541024" y="4455491"/>
              <a:ext cx="72283" cy="88546"/>
            </a:xfrm>
            <a:custGeom>
              <a:avLst/>
              <a:gdLst>
                <a:gd name="T0" fmla="*/ 9 w 40"/>
                <a:gd name="T1" fmla="*/ 0 h 49"/>
                <a:gd name="T2" fmla="*/ 26 w 40"/>
                <a:gd name="T3" fmla="*/ 7 h 49"/>
                <a:gd name="T4" fmla="*/ 36 w 40"/>
                <a:gd name="T5" fmla="*/ 16 h 49"/>
                <a:gd name="T6" fmla="*/ 40 w 40"/>
                <a:gd name="T7" fmla="*/ 21 h 49"/>
                <a:gd name="T8" fmla="*/ 40 w 40"/>
                <a:gd name="T9" fmla="*/ 22 h 49"/>
                <a:gd name="T10" fmla="*/ 27 w 40"/>
                <a:gd name="T11" fmla="*/ 41 h 49"/>
                <a:gd name="T12" fmla="*/ 20 w 40"/>
                <a:gd name="T13" fmla="*/ 47 h 49"/>
                <a:gd name="T14" fmla="*/ 17 w 40"/>
                <a:gd name="T15" fmla="*/ 47 h 49"/>
                <a:gd name="T16" fmla="*/ 14 w 40"/>
                <a:gd name="T17" fmla="*/ 49 h 49"/>
                <a:gd name="T18" fmla="*/ 6 w 40"/>
                <a:gd name="T19" fmla="*/ 49 h 49"/>
                <a:gd name="T20" fmla="*/ 0 w 40"/>
                <a:gd name="T21" fmla="*/ 44 h 49"/>
                <a:gd name="T22" fmla="*/ 0 w 40"/>
                <a:gd name="T23" fmla="*/ 43 h 49"/>
                <a:gd name="T24" fmla="*/ 5 w 40"/>
                <a:gd name="T25" fmla="*/ 40 h 49"/>
                <a:gd name="T26" fmla="*/ 6 w 40"/>
                <a:gd name="T27" fmla="*/ 27 h 49"/>
                <a:gd name="T28" fmla="*/ 2 w 40"/>
                <a:gd name="T29" fmla="*/ 19 h 49"/>
                <a:gd name="T30" fmla="*/ 2 w 40"/>
                <a:gd name="T31" fmla="*/ 9 h 49"/>
                <a:gd name="T32" fmla="*/ 6 w 40"/>
                <a:gd name="T33" fmla="*/ 3 h 49"/>
                <a:gd name="T34" fmla="*/ 9 w 40"/>
                <a:gd name="T3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9">
                  <a:moveTo>
                    <a:pt x="9" y="0"/>
                  </a:moveTo>
                  <a:lnTo>
                    <a:pt x="26" y="7"/>
                  </a:lnTo>
                  <a:lnTo>
                    <a:pt x="36" y="16"/>
                  </a:lnTo>
                  <a:lnTo>
                    <a:pt x="40" y="21"/>
                  </a:lnTo>
                  <a:lnTo>
                    <a:pt x="40" y="22"/>
                  </a:lnTo>
                  <a:lnTo>
                    <a:pt x="27" y="41"/>
                  </a:lnTo>
                  <a:lnTo>
                    <a:pt x="20" y="47"/>
                  </a:lnTo>
                  <a:lnTo>
                    <a:pt x="17" y="47"/>
                  </a:lnTo>
                  <a:lnTo>
                    <a:pt x="14" y="49"/>
                  </a:lnTo>
                  <a:lnTo>
                    <a:pt x="6" y="49"/>
                  </a:lnTo>
                  <a:lnTo>
                    <a:pt x="0" y="44"/>
                  </a:lnTo>
                  <a:lnTo>
                    <a:pt x="0" y="43"/>
                  </a:lnTo>
                  <a:lnTo>
                    <a:pt x="5" y="40"/>
                  </a:lnTo>
                  <a:lnTo>
                    <a:pt x="6" y="27"/>
                  </a:lnTo>
                  <a:lnTo>
                    <a:pt x="2" y="19"/>
                  </a:lnTo>
                  <a:lnTo>
                    <a:pt x="2" y="9"/>
                  </a:lnTo>
                  <a:lnTo>
                    <a:pt x="6" y="3"/>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 name="Guyana">
              <a:extLst>
                <a:ext uri="{FF2B5EF4-FFF2-40B4-BE49-F238E27FC236}">
                  <a16:creationId xmlns:a16="http://schemas.microsoft.com/office/drawing/2014/main" id="{C43E5D70-AACF-8E3F-9282-F5C640D6BC7A}"/>
                </a:ext>
              </a:extLst>
            </p:cNvPr>
            <p:cNvSpPr>
              <a:spLocks/>
            </p:cNvSpPr>
            <p:nvPr/>
          </p:nvSpPr>
          <p:spPr bwMode="auto">
            <a:xfrm>
              <a:off x="4380195" y="4394051"/>
              <a:ext cx="115652" cy="166250"/>
            </a:xfrm>
            <a:custGeom>
              <a:avLst/>
              <a:gdLst>
                <a:gd name="T0" fmla="*/ 20 w 64"/>
                <a:gd name="T1" fmla="*/ 0 h 92"/>
                <a:gd name="T2" fmla="*/ 24 w 64"/>
                <a:gd name="T3" fmla="*/ 0 h 92"/>
                <a:gd name="T4" fmla="*/ 34 w 64"/>
                <a:gd name="T5" fmla="*/ 9 h 92"/>
                <a:gd name="T6" fmla="*/ 37 w 64"/>
                <a:gd name="T7" fmla="*/ 19 h 92"/>
                <a:gd name="T8" fmla="*/ 48 w 64"/>
                <a:gd name="T9" fmla="*/ 21 h 92"/>
                <a:gd name="T10" fmla="*/ 57 w 64"/>
                <a:gd name="T11" fmla="*/ 32 h 92"/>
                <a:gd name="T12" fmla="*/ 52 w 64"/>
                <a:gd name="T13" fmla="*/ 44 h 92"/>
                <a:gd name="T14" fmla="*/ 51 w 64"/>
                <a:gd name="T15" fmla="*/ 44 h 92"/>
                <a:gd name="T16" fmla="*/ 45 w 64"/>
                <a:gd name="T17" fmla="*/ 46 h 92"/>
                <a:gd name="T18" fmla="*/ 43 w 64"/>
                <a:gd name="T19" fmla="*/ 55 h 92"/>
                <a:gd name="T20" fmla="*/ 49 w 64"/>
                <a:gd name="T21" fmla="*/ 64 h 92"/>
                <a:gd name="T22" fmla="*/ 54 w 64"/>
                <a:gd name="T23" fmla="*/ 65 h 92"/>
                <a:gd name="T24" fmla="*/ 58 w 64"/>
                <a:gd name="T25" fmla="*/ 77 h 92"/>
                <a:gd name="T26" fmla="*/ 64 w 64"/>
                <a:gd name="T27" fmla="*/ 83 h 92"/>
                <a:gd name="T28" fmla="*/ 64 w 64"/>
                <a:gd name="T29" fmla="*/ 84 h 92"/>
                <a:gd name="T30" fmla="*/ 61 w 64"/>
                <a:gd name="T31" fmla="*/ 84 h 92"/>
                <a:gd name="T32" fmla="*/ 57 w 64"/>
                <a:gd name="T33" fmla="*/ 83 h 92"/>
                <a:gd name="T34" fmla="*/ 54 w 64"/>
                <a:gd name="T35" fmla="*/ 83 h 92"/>
                <a:gd name="T36" fmla="*/ 36 w 64"/>
                <a:gd name="T37" fmla="*/ 92 h 92"/>
                <a:gd name="T38" fmla="*/ 34 w 64"/>
                <a:gd name="T39" fmla="*/ 92 h 92"/>
                <a:gd name="T40" fmla="*/ 27 w 64"/>
                <a:gd name="T41" fmla="*/ 89 h 92"/>
                <a:gd name="T42" fmla="*/ 21 w 64"/>
                <a:gd name="T43" fmla="*/ 86 h 92"/>
                <a:gd name="T44" fmla="*/ 21 w 64"/>
                <a:gd name="T45" fmla="*/ 78 h 92"/>
                <a:gd name="T46" fmla="*/ 18 w 64"/>
                <a:gd name="T47" fmla="*/ 75 h 92"/>
                <a:gd name="T48" fmla="*/ 20 w 64"/>
                <a:gd name="T49" fmla="*/ 61 h 92"/>
                <a:gd name="T50" fmla="*/ 23 w 64"/>
                <a:gd name="T51" fmla="*/ 58 h 92"/>
                <a:gd name="T52" fmla="*/ 21 w 64"/>
                <a:gd name="T53" fmla="*/ 50 h 92"/>
                <a:gd name="T54" fmla="*/ 17 w 64"/>
                <a:gd name="T55" fmla="*/ 50 h 92"/>
                <a:gd name="T56" fmla="*/ 17 w 64"/>
                <a:gd name="T57" fmla="*/ 41 h 92"/>
                <a:gd name="T58" fmla="*/ 8 w 64"/>
                <a:gd name="T59" fmla="*/ 41 h 92"/>
                <a:gd name="T60" fmla="*/ 0 w 64"/>
                <a:gd name="T61" fmla="*/ 28 h 92"/>
                <a:gd name="T62" fmla="*/ 3 w 64"/>
                <a:gd name="T63" fmla="*/ 21 h 92"/>
                <a:gd name="T64" fmla="*/ 9 w 64"/>
                <a:gd name="T65" fmla="*/ 16 h 92"/>
                <a:gd name="T66" fmla="*/ 6 w 64"/>
                <a:gd name="T67" fmla="*/ 16 h 92"/>
                <a:gd name="T68" fmla="*/ 6 w 64"/>
                <a:gd name="T69" fmla="*/ 7 h 92"/>
                <a:gd name="T70" fmla="*/ 8 w 64"/>
                <a:gd name="T71" fmla="*/ 7 h 92"/>
                <a:gd name="T72" fmla="*/ 18 w 64"/>
                <a:gd name="T73" fmla="*/ 1 h 92"/>
                <a:gd name="T74" fmla="*/ 20 w 64"/>
                <a:gd name="T7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92">
                  <a:moveTo>
                    <a:pt x="20" y="0"/>
                  </a:moveTo>
                  <a:lnTo>
                    <a:pt x="24" y="0"/>
                  </a:lnTo>
                  <a:lnTo>
                    <a:pt x="34" y="9"/>
                  </a:lnTo>
                  <a:lnTo>
                    <a:pt x="37" y="19"/>
                  </a:lnTo>
                  <a:lnTo>
                    <a:pt x="48" y="21"/>
                  </a:lnTo>
                  <a:lnTo>
                    <a:pt x="57" y="32"/>
                  </a:lnTo>
                  <a:lnTo>
                    <a:pt x="52" y="44"/>
                  </a:lnTo>
                  <a:lnTo>
                    <a:pt x="51" y="44"/>
                  </a:lnTo>
                  <a:lnTo>
                    <a:pt x="45" y="46"/>
                  </a:lnTo>
                  <a:lnTo>
                    <a:pt x="43" y="55"/>
                  </a:lnTo>
                  <a:lnTo>
                    <a:pt x="49" y="64"/>
                  </a:lnTo>
                  <a:lnTo>
                    <a:pt x="54" y="65"/>
                  </a:lnTo>
                  <a:lnTo>
                    <a:pt x="58" y="77"/>
                  </a:lnTo>
                  <a:lnTo>
                    <a:pt x="64" y="83"/>
                  </a:lnTo>
                  <a:lnTo>
                    <a:pt x="64" y="84"/>
                  </a:lnTo>
                  <a:lnTo>
                    <a:pt x="61" y="84"/>
                  </a:lnTo>
                  <a:lnTo>
                    <a:pt x="57" y="83"/>
                  </a:lnTo>
                  <a:lnTo>
                    <a:pt x="54" y="83"/>
                  </a:lnTo>
                  <a:lnTo>
                    <a:pt x="36" y="92"/>
                  </a:lnTo>
                  <a:lnTo>
                    <a:pt x="34" y="92"/>
                  </a:lnTo>
                  <a:lnTo>
                    <a:pt x="27" y="89"/>
                  </a:lnTo>
                  <a:lnTo>
                    <a:pt x="21" y="86"/>
                  </a:lnTo>
                  <a:lnTo>
                    <a:pt x="21" y="78"/>
                  </a:lnTo>
                  <a:lnTo>
                    <a:pt x="18" y="75"/>
                  </a:lnTo>
                  <a:lnTo>
                    <a:pt x="20" y="61"/>
                  </a:lnTo>
                  <a:lnTo>
                    <a:pt x="23" y="58"/>
                  </a:lnTo>
                  <a:lnTo>
                    <a:pt x="21" y="50"/>
                  </a:lnTo>
                  <a:lnTo>
                    <a:pt x="17" y="50"/>
                  </a:lnTo>
                  <a:lnTo>
                    <a:pt x="17" y="41"/>
                  </a:lnTo>
                  <a:lnTo>
                    <a:pt x="8" y="41"/>
                  </a:lnTo>
                  <a:lnTo>
                    <a:pt x="0" y="28"/>
                  </a:lnTo>
                  <a:lnTo>
                    <a:pt x="3" y="21"/>
                  </a:lnTo>
                  <a:lnTo>
                    <a:pt x="9" y="16"/>
                  </a:lnTo>
                  <a:lnTo>
                    <a:pt x="6" y="16"/>
                  </a:lnTo>
                  <a:lnTo>
                    <a:pt x="6" y="7"/>
                  </a:lnTo>
                  <a:lnTo>
                    <a:pt x="8" y="7"/>
                  </a:lnTo>
                  <a:lnTo>
                    <a:pt x="18" y="1"/>
                  </a:lnTo>
                  <a:lnTo>
                    <a:pt x="2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 name="Ecuador">
              <a:extLst>
                <a:ext uri="{FF2B5EF4-FFF2-40B4-BE49-F238E27FC236}">
                  <a16:creationId xmlns:a16="http://schemas.microsoft.com/office/drawing/2014/main" id="{CB946F9F-7229-81B0-224E-309DB8C3C889}"/>
                </a:ext>
              </a:extLst>
            </p:cNvPr>
            <p:cNvSpPr>
              <a:spLocks/>
            </p:cNvSpPr>
            <p:nvPr/>
          </p:nvSpPr>
          <p:spPr bwMode="auto">
            <a:xfrm>
              <a:off x="3917587" y="4556686"/>
              <a:ext cx="137336" cy="153601"/>
            </a:xfrm>
            <a:custGeom>
              <a:avLst/>
              <a:gdLst>
                <a:gd name="T0" fmla="*/ 27 w 76"/>
                <a:gd name="T1" fmla="*/ 0 h 85"/>
                <a:gd name="T2" fmla="*/ 43 w 76"/>
                <a:gd name="T3" fmla="*/ 8 h 85"/>
                <a:gd name="T4" fmla="*/ 47 w 76"/>
                <a:gd name="T5" fmla="*/ 15 h 85"/>
                <a:gd name="T6" fmla="*/ 61 w 76"/>
                <a:gd name="T7" fmla="*/ 15 h 85"/>
                <a:gd name="T8" fmla="*/ 62 w 76"/>
                <a:gd name="T9" fmla="*/ 14 h 85"/>
                <a:gd name="T10" fmla="*/ 64 w 76"/>
                <a:gd name="T11" fmla="*/ 14 h 85"/>
                <a:gd name="T12" fmla="*/ 73 w 76"/>
                <a:gd name="T13" fmla="*/ 20 h 85"/>
                <a:gd name="T14" fmla="*/ 74 w 76"/>
                <a:gd name="T15" fmla="*/ 20 h 85"/>
                <a:gd name="T16" fmla="*/ 71 w 76"/>
                <a:gd name="T17" fmla="*/ 22 h 85"/>
                <a:gd name="T18" fmla="*/ 76 w 76"/>
                <a:gd name="T19" fmla="*/ 30 h 85"/>
                <a:gd name="T20" fmla="*/ 76 w 76"/>
                <a:gd name="T21" fmla="*/ 31 h 85"/>
                <a:gd name="T22" fmla="*/ 73 w 76"/>
                <a:gd name="T23" fmla="*/ 31 h 85"/>
                <a:gd name="T24" fmla="*/ 68 w 76"/>
                <a:gd name="T25" fmla="*/ 40 h 85"/>
                <a:gd name="T26" fmla="*/ 56 w 76"/>
                <a:gd name="T27" fmla="*/ 52 h 85"/>
                <a:gd name="T28" fmla="*/ 37 w 76"/>
                <a:gd name="T29" fmla="*/ 60 h 85"/>
                <a:gd name="T30" fmla="*/ 37 w 76"/>
                <a:gd name="T31" fmla="*/ 64 h 85"/>
                <a:gd name="T32" fmla="*/ 36 w 76"/>
                <a:gd name="T33" fmla="*/ 65 h 85"/>
                <a:gd name="T34" fmla="*/ 33 w 76"/>
                <a:gd name="T35" fmla="*/ 65 h 85"/>
                <a:gd name="T36" fmla="*/ 30 w 76"/>
                <a:gd name="T37" fmla="*/ 70 h 85"/>
                <a:gd name="T38" fmla="*/ 30 w 76"/>
                <a:gd name="T39" fmla="*/ 80 h 85"/>
                <a:gd name="T40" fmla="*/ 21 w 76"/>
                <a:gd name="T41" fmla="*/ 85 h 85"/>
                <a:gd name="T42" fmla="*/ 19 w 76"/>
                <a:gd name="T43" fmla="*/ 85 h 85"/>
                <a:gd name="T44" fmla="*/ 19 w 76"/>
                <a:gd name="T45" fmla="*/ 83 h 85"/>
                <a:gd name="T46" fmla="*/ 16 w 76"/>
                <a:gd name="T47" fmla="*/ 77 h 85"/>
                <a:gd name="T48" fmla="*/ 4 w 76"/>
                <a:gd name="T49" fmla="*/ 77 h 85"/>
                <a:gd name="T50" fmla="*/ 3 w 76"/>
                <a:gd name="T51" fmla="*/ 71 h 85"/>
                <a:gd name="T52" fmla="*/ 7 w 76"/>
                <a:gd name="T53" fmla="*/ 68 h 85"/>
                <a:gd name="T54" fmla="*/ 6 w 76"/>
                <a:gd name="T55" fmla="*/ 64 h 85"/>
                <a:gd name="T56" fmla="*/ 6 w 76"/>
                <a:gd name="T57" fmla="*/ 63 h 85"/>
                <a:gd name="T58" fmla="*/ 13 w 76"/>
                <a:gd name="T59" fmla="*/ 58 h 85"/>
                <a:gd name="T60" fmla="*/ 13 w 76"/>
                <a:gd name="T61" fmla="*/ 51 h 85"/>
                <a:gd name="T62" fmla="*/ 12 w 76"/>
                <a:gd name="T63" fmla="*/ 48 h 85"/>
                <a:gd name="T64" fmla="*/ 9 w 76"/>
                <a:gd name="T65" fmla="*/ 54 h 85"/>
                <a:gd name="T66" fmla="*/ 7 w 76"/>
                <a:gd name="T67" fmla="*/ 54 h 85"/>
                <a:gd name="T68" fmla="*/ 1 w 76"/>
                <a:gd name="T69" fmla="*/ 49 h 85"/>
                <a:gd name="T70" fmla="*/ 0 w 76"/>
                <a:gd name="T71" fmla="*/ 49 h 85"/>
                <a:gd name="T72" fmla="*/ 0 w 76"/>
                <a:gd name="T73" fmla="*/ 31 h 85"/>
                <a:gd name="T74" fmla="*/ 1 w 76"/>
                <a:gd name="T75" fmla="*/ 31 h 85"/>
                <a:gd name="T76" fmla="*/ 6 w 76"/>
                <a:gd name="T77" fmla="*/ 27 h 85"/>
                <a:gd name="T78" fmla="*/ 10 w 76"/>
                <a:gd name="T79" fmla="*/ 17 h 85"/>
                <a:gd name="T80" fmla="*/ 10 w 76"/>
                <a:gd name="T81" fmla="*/ 8 h 85"/>
                <a:gd name="T82" fmla="*/ 27 w 76"/>
                <a:gd name="T8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 h="85">
                  <a:moveTo>
                    <a:pt x="27" y="0"/>
                  </a:moveTo>
                  <a:lnTo>
                    <a:pt x="43" y="8"/>
                  </a:lnTo>
                  <a:lnTo>
                    <a:pt x="47" y="15"/>
                  </a:lnTo>
                  <a:lnTo>
                    <a:pt x="61" y="15"/>
                  </a:lnTo>
                  <a:lnTo>
                    <a:pt x="62" y="14"/>
                  </a:lnTo>
                  <a:lnTo>
                    <a:pt x="64" y="14"/>
                  </a:lnTo>
                  <a:lnTo>
                    <a:pt x="73" y="20"/>
                  </a:lnTo>
                  <a:lnTo>
                    <a:pt x="74" y="20"/>
                  </a:lnTo>
                  <a:lnTo>
                    <a:pt x="71" y="22"/>
                  </a:lnTo>
                  <a:lnTo>
                    <a:pt x="76" y="30"/>
                  </a:lnTo>
                  <a:lnTo>
                    <a:pt x="76" y="31"/>
                  </a:lnTo>
                  <a:lnTo>
                    <a:pt x="73" y="31"/>
                  </a:lnTo>
                  <a:lnTo>
                    <a:pt x="68" y="40"/>
                  </a:lnTo>
                  <a:lnTo>
                    <a:pt x="56" y="52"/>
                  </a:lnTo>
                  <a:lnTo>
                    <a:pt x="37" y="60"/>
                  </a:lnTo>
                  <a:lnTo>
                    <a:pt x="37" y="64"/>
                  </a:lnTo>
                  <a:lnTo>
                    <a:pt x="36" y="65"/>
                  </a:lnTo>
                  <a:lnTo>
                    <a:pt x="33" y="65"/>
                  </a:lnTo>
                  <a:lnTo>
                    <a:pt x="30" y="70"/>
                  </a:lnTo>
                  <a:lnTo>
                    <a:pt x="30" y="80"/>
                  </a:lnTo>
                  <a:lnTo>
                    <a:pt x="21" y="85"/>
                  </a:lnTo>
                  <a:lnTo>
                    <a:pt x="19" y="85"/>
                  </a:lnTo>
                  <a:lnTo>
                    <a:pt x="19" y="83"/>
                  </a:lnTo>
                  <a:lnTo>
                    <a:pt x="16" y="77"/>
                  </a:lnTo>
                  <a:lnTo>
                    <a:pt x="4" y="77"/>
                  </a:lnTo>
                  <a:lnTo>
                    <a:pt x="3" y="71"/>
                  </a:lnTo>
                  <a:lnTo>
                    <a:pt x="7" y="68"/>
                  </a:lnTo>
                  <a:lnTo>
                    <a:pt x="6" y="64"/>
                  </a:lnTo>
                  <a:lnTo>
                    <a:pt x="6" y="63"/>
                  </a:lnTo>
                  <a:lnTo>
                    <a:pt x="13" y="58"/>
                  </a:lnTo>
                  <a:lnTo>
                    <a:pt x="13" y="51"/>
                  </a:lnTo>
                  <a:lnTo>
                    <a:pt x="12" y="48"/>
                  </a:lnTo>
                  <a:lnTo>
                    <a:pt x="9" y="54"/>
                  </a:lnTo>
                  <a:lnTo>
                    <a:pt x="7" y="54"/>
                  </a:lnTo>
                  <a:lnTo>
                    <a:pt x="1" y="49"/>
                  </a:lnTo>
                  <a:lnTo>
                    <a:pt x="0" y="49"/>
                  </a:lnTo>
                  <a:lnTo>
                    <a:pt x="0" y="31"/>
                  </a:lnTo>
                  <a:lnTo>
                    <a:pt x="1" y="31"/>
                  </a:lnTo>
                  <a:lnTo>
                    <a:pt x="6" y="27"/>
                  </a:lnTo>
                  <a:lnTo>
                    <a:pt x="10" y="17"/>
                  </a:lnTo>
                  <a:lnTo>
                    <a:pt x="10" y="8"/>
                  </a:lnTo>
                  <a:lnTo>
                    <a:pt x="2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 name="Bolivia">
              <a:extLst>
                <a:ext uri="{FF2B5EF4-FFF2-40B4-BE49-F238E27FC236}">
                  <a16:creationId xmlns:a16="http://schemas.microsoft.com/office/drawing/2014/main" id="{D12E3366-E370-031D-8940-37E1ECE6FEF2}"/>
                </a:ext>
              </a:extLst>
            </p:cNvPr>
            <p:cNvSpPr>
              <a:spLocks/>
            </p:cNvSpPr>
            <p:nvPr/>
          </p:nvSpPr>
          <p:spPr bwMode="auto">
            <a:xfrm>
              <a:off x="4183224" y="4815095"/>
              <a:ext cx="283709" cy="325271"/>
            </a:xfrm>
            <a:custGeom>
              <a:avLst/>
              <a:gdLst>
                <a:gd name="T0" fmla="*/ 55 w 157"/>
                <a:gd name="T1" fmla="*/ 0 h 180"/>
                <a:gd name="T2" fmla="*/ 56 w 157"/>
                <a:gd name="T3" fmla="*/ 22 h 180"/>
                <a:gd name="T4" fmla="*/ 68 w 157"/>
                <a:gd name="T5" fmla="*/ 35 h 180"/>
                <a:gd name="T6" fmla="*/ 87 w 157"/>
                <a:gd name="T7" fmla="*/ 43 h 180"/>
                <a:gd name="T8" fmla="*/ 103 w 157"/>
                <a:gd name="T9" fmla="*/ 50 h 180"/>
                <a:gd name="T10" fmla="*/ 117 w 157"/>
                <a:gd name="T11" fmla="*/ 53 h 180"/>
                <a:gd name="T12" fmla="*/ 121 w 157"/>
                <a:gd name="T13" fmla="*/ 75 h 180"/>
                <a:gd name="T14" fmla="*/ 148 w 157"/>
                <a:gd name="T15" fmla="*/ 89 h 180"/>
                <a:gd name="T16" fmla="*/ 152 w 157"/>
                <a:gd name="T17" fmla="*/ 103 h 180"/>
                <a:gd name="T18" fmla="*/ 154 w 157"/>
                <a:gd name="T19" fmla="*/ 140 h 180"/>
                <a:gd name="T20" fmla="*/ 143 w 157"/>
                <a:gd name="T21" fmla="*/ 133 h 180"/>
                <a:gd name="T22" fmla="*/ 127 w 157"/>
                <a:gd name="T23" fmla="*/ 130 h 180"/>
                <a:gd name="T24" fmla="*/ 96 w 157"/>
                <a:gd name="T25" fmla="*/ 149 h 180"/>
                <a:gd name="T26" fmla="*/ 92 w 157"/>
                <a:gd name="T27" fmla="*/ 173 h 180"/>
                <a:gd name="T28" fmla="*/ 84 w 157"/>
                <a:gd name="T29" fmla="*/ 170 h 180"/>
                <a:gd name="T30" fmla="*/ 71 w 157"/>
                <a:gd name="T31" fmla="*/ 177 h 180"/>
                <a:gd name="T32" fmla="*/ 63 w 157"/>
                <a:gd name="T33" fmla="*/ 172 h 180"/>
                <a:gd name="T34" fmla="*/ 46 w 157"/>
                <a:gd name="T35" fmla="*/ 166 h 180"/>
                <a:gd name="T36" fmla="*/ 22 w 157"/>
                <a:gd name="T37" fmla="*/ 179 h 180"/>
                <a:gd name="T38" fmla="*/ 16 w 157"/>
                <a:gd name="T39" fmla="*/ 152 h 180"/>
                <a:gd name="T40" fmla="*/ 10 w 157"/>
                <a:gd name="T41" fmla="*/ 139 h 180"/>
                <a:gd name="T42" fmla="*/ 13 w 157"/>
                <a:gd name="T43" fmla="*/ 130 h 180"/>
                <a:gd name="T44" fmla="*/ 6 w 157"/>
                <a:gd name="T45" fmla="*/ 112 h 180"/>
                <a:gd name="T46" fmla="*/ 0 w 157"/>
                <a:gd name="T47" fmla="*/ 103 h 180"/>
                <a:gd name="T48" fmla="*/ 3 w 157"/>
                <a:gd name="T49" fmla="*/ 84 h 180"/>
                <a:gd name="T50" fmla="*/ 6 w 157"/>
                <a:gd name="T51" fmla="*/ 74 h 180"/>
                <a:gd name="T52" fmla="*/ 7 w 157"/>
                <a:gd name="T53" fmla="*/ 63 h 180"/>
                <a:gd name="T54" fmla="*/ 10 w 157"/>
                <a:gd name="T55" fmla="*/ 37 h 180"/>
                <a:gd name="T56" fmla="*/ 0 w 157"/>
                <a:gd name="T57" fmla="*/ 16 h 180"/>
                <a:gd name="T58" fmla="*/ 6 w 157"/>
                <a:gd name="T59" fmla="*/ 17 h 180"/>
                <a:gd name="T60" fmla="*/ 13 w 157"/>
                <a:gd name="T61" fmla="*/ 19 h 180"/>
                <a:gd name="T62" fmla="*/ 26 w 157"/>
                <a:gd name="T63" fmla="*/ 13 h 180"/>
                <a:gd name="T64" fmla="*/ 41 w 157"/>
                <a:gd name="T65" fmla="*/ 3 h 180"/>
                <a:gd name="T66" fmla="*/ 49 w 157"/>
                <a:gd name="T67" fmla="*/ 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7" h="180">
                  <a:moveTo>
                    <a:pt x="52" y="0"/>
                  </a:moveTo>
                  <a:lnTo>
                    <a:pt x="55" y="0"/>
                  </a:lnTo>
                  <a:lnTo>
                    <a:pt x="57" y="7"/>
                  </a:lnTo>
                  <a:lnTo>
                    <a:pt x="56" y="22"/>
                  </a:lnTo>
                  <a:lnTo>
                    <a:pt x="59" y="31"/>
                  </a:lnTo>
                  <a:lnTo>
                    <a:pt x="68" y="35"/>
                  </a:lnTo>
                  <a:lnTo>
                    <a:pt x="83" y="38"/>
                  </a:lnTo>
                  <a:lnTo>
                    <a:pt x="87" y="43"/>
                  </a:lnTo>
                  <a:lnTo>
                    <a:pt x="98" y="46"/>
                  </a:lnTo>
                  <a:lnTo>
                    <a:pt x="103" y="50"/>
                  </a:lnTo>
                  <a:lnTo>
                    <a:pt x="111" y="50"/>
                  </a:lnTo>
                  <a:lnTo>
                    <a:pt x="117" y="53"/>
                  </a:lnTo>
                  <a:lnTo>
                    <a:pt x="123" y="68"/>
                  </a:lnTo>
                  <a:lnTo>
                    <a:pt x="121" y="75"/>
                  </a:lnTo>
                  <a:lnTo>
                    <a:pt x="126" y="89"/>
                  </a:lnTo>
                  <a:lnTo>
                    <a:pt x="148" y="89"/>
                  </a:lnTo>
                  <a:lnTo>
                    <a:pt x="148" y="102"/>
                  </a:lnTo>
                  <a:lnTo>
                    <a:pt x="152" y="103"/>
                  </a:lnTo>
                  <a:lnTo>
                    <a:pt x="157" y="114"/>
                  </a:lnTo>
                  <a:lnTo>
                    <a:pt x="154" y="140"/>
                  </a:lnTo>
                  <a:lnTo>
                    <a:pt x="151" y="142"/>
                  </a:lnTo>
                  <a:lnTo>
                    <a:pt x="143" y="133"/>
                  </a:lnTo>
                  <a:lnTo>
                    <a:pt x="138" y="130"/>
                  </a:lnTo>
                  <a:lnTo>
                    <a:pt x="127" y="130"/>
                  </a:lnTo>
                  <a:lnTo>
                    <a:pt x="102" y="137"/>
                  </a:lnTo>
                  <a:lnTo>
                    <a:pt x="96" y="149"/>
                  </a:lnTo>
                  <a:lnTo>
                    <a:pt x="96" y="158"/>
                  </a:lnTo>
                  <a:lnTo>
                    <a:pt x="92" y="173"/>
                  </a:lnTo>
                  <a:lnTo>
                    <a:pt x="90" y="173"/>
                  </a:lnTo>
                  <a:lnTo>
                    <a:pt x="84" y="170"/>
                  </a:lnTo>
                  <a:lnTo>
                    <a:pt x="74" y="169"/>
                  </a:lnTo>
                  <a:lnTo>
                    <a:pt x="71" y="177"/>
                  </a:lnTo>
                  <a:lnTo>
                    <a:pt x="69" y="177"/>
                  </a:lnTo>
                  <a:lnTo>
                    <a:pt x="63" y="172"/>
                  </a:lnTo>
                  <a:lnTo>
                    <a:pt x="50" y="170"/>
                  </a:lnTo>
                  <a:lnTo>
                    <a:pt x="46" y="166"/>
                  </a:lnTo>
                  <a:lnTo>
                    <a:pt x="32" y="180"/>
                  </a:lnTo>
                  <a:lnTo>
                    <a:pt x="22" y="179"/>
                  </a:lnTo>
                  <a:lnTo>
                    <a:pt x="20" y="179"/>
                  </a:lnTo>
                  <a:lnTo>
                    <a:pt x="16" y="152"/>
                  </a:lnTo>
                  <a:lnTo>
                    <a:pt x="10" y="143"/>
                  </a:lnTo>
                  <a:lnTo>
                    <a:pt x="10" y="139"/>
                  </a:lnTo>
                  <a:lnTo>
                    <a:pt x="13" y="136"/>
                  </a:lnTo>
                  <a:lnTo>
                    <a:pt x="13" y="130"/>
                  </a:lnTo>
                  <a:lnTo>
                    <a:pt x="7" y="126"/>
                  </a:lnTo>
                  <a:lnTo>
                    <a:pt x="6" y="112"/>
                  </a:lnTo>
                  <a:lnTo>
                    <a:pt x="0" y="106"/>
                  </a:lnTo>
                  <a:lnTo>
                    <a:pt x="0" y="103"/>
                  </a:lnTo>
                  <a:lnTo>
                    <a:pt x="7" y="92"/>
                  </a:lnTo>
                  <a:lnTo>
                    <a:pt x="3" y="84"/>
                  </a:lnTo>
                  <a:lnTo>
                    <a:pt x="3" y="78"/>
                  </a:lnTo>
                  <a:lnTo>
                    <a:pt x="6" y="74"/>
                  </a:lnTo>
                  <a:lnTo>
                    <a:pt x="3" y="68"/>
                  </a:lnTo>
                  <a:lnTo>
                    <a:pt x="7" y="63"/>
                  </a:lnTo>
                  <a:lnTo>
                    <a:pt x="7" y="43"/>
                  </a:lnTo>
                  <a:lnTo>
                    <a:pt x="10" y="37"/>
                  </a:lnTo>
                  <a:lnTo>
                    <a:pt x="0" y="17"/>
                  </a:lnTo>
                  <a:lnTo>
                    <a:pt x="0" y="16"/>
                  </a:lnTo>
                  <a:lnTo>
                    <a:pt x="3" y="16"/>
                  </a:lnTo>
                  <a:lnTo>
                    <a:pt x="6" y="17"/>
                  </a:lnTo>
                  <a:lnTo>
                    <a:pt x="10" y="17"/>
                  </a:lnTo>
                  <a:lnTo>
                    <a:pt x="13" y="19"/>
                  </a:lnTo>
                  <a:lnTo>
                    <a:pt x="16" y="19"/>
                  </a:lnTo>
                  <a:lnTo>
                    <a:pt x="26" y="13"/>
                  </a:lnTo>
                  <a:lnTo>
                    <a:pt x="38" y="3"/>
                  </a:lnTo>
                  <a:lnTo>
                    <a:pt x="41" y="3"/>
                  </a:lnTo>
                  <a:lnTo>
                    <a:pt x="44" y="1"/>
                  </a:lnTo>
                  <a:lnTo>
                    <a:pt x="49" y="1"/>
                  </a:lnTo>
                  <a:lnTo>
                    <a:pt x="5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 name="Columbia">
              <a:extLst>
                <a:ext uri="{FF2B5EF4-FFF2-40B4-BE49-F238E27FC236}">
                  <a16:creationId xmlns:a16="http://schemas.microsoft.com/office/drawing/2014/main" id="{1C1E816C-702D-C455-E79A-1209A2526EA9}"/>
                </a:ext>
              </a:extLst>
            </p:cNvPr>
            <p:cNvSpPr>
              <a:spLocks/>
            </p:cNvSpPr>
            <p:nvPr/>
          </p:nvSpPr>
          <p:spPr bwMode="auto">
            <a:xfrm>
              <a:off x="3962764" y="4294663"/>
              <a:ext cx="287324" cy="390325"/>
            </a:xfrm>
            <a:custGeom>
              <a:avLst/>
              <a:gdLst>
                <a:gd name="T0" fmla="*/ 102 w 159"/>
                <a:gd name="T1" fmla="*/ 3 h 216"/>
                <a:gd name="T2" fmla="*/ 101 w 159"/>
                <a:gd name="T3" fmla="*/ 7 h 216"/>
                <a:gd name="T4" fmla="*/ 94 w 159"/>
                <a:gd name="T5" fmla="*/ 12 h 216"/>
                <a:gd name="T6" fmla="*/ 74 w 159"/>
                <a:gd name="T7" fmla="*/ 43 h 216"/>
                <a:gd name="T8" fmla="*/ 88 w 159"/>
                <a:gd name="T9" fmla="*/ 56 h 216"/>
                <a:gd name="T10" fmla="*/ 92 w 159"/>
                <a:gd name="T11" fmla="*/ 70 h 216"/>
                <a:gd name="T12" fmla="*/ 110 w 159"/>
                <a:gd name="T13" fmla="*/ 70 h 216"/>
                <a:gd name="T14" fmla="*/ 126 w 159"/>
                <a:gd name="T15" fmla="*/ 83 h 216"/>
                <a:gd name="T16" fmla="*/ 145 w 159"/>
                <a:gd name="T17" fmla="*/ 82 h 216"/>
                <a:gd name="T18" fmla="*/ 151 w 159"/>
                <a:gd name="T19" fmla="*/ 83 h 216"/>
                <a:gd name="T20" fmla="*/ 148 w 159"/>
                <a:gd name="T21" fmla="*/ 110 h 216"/>
                <a:gd name="T22" fmla="*/ 154 w 159"/>
                <a:gd name="T23" fmla="*/ 120 h 216"/>
                <a:gd name="T24" fmla="*/ 153 w 159"/>
                <a:gd name="T25" fmla="*/ 132 h 216"/>
                <a:gd name="T26" fmla="*/ 159 w 159"/>
                <a:gd name="T27" fmla="*/ 147 h 216"/>
                <a:gd name="T28" fmla="*/ 150 w 159"/>
                <a:gd name="T29" fmla="*/ 138 h 216"/>
                <a:gd name="T30" fmla="*/ 141 w 159"/>
                <a:gd name="T31" fmla="*/ 138 h 216"/>
                <a:gd name="T32" fmla="*/ 120 w 159"/>
                <a:gd name="T33" fmla="*/ 141 h 216"/>
                <a:gd name="T34" fmla="*/ 126 w 159"/>
                <a:gd name="T35" fmla="*/ 148 h 216"/>
                <a:gd name="T36" fmla="*/ 129 w 159"/>
                <a:gd name="T37" fmla="*/ 156 h 216"/>
                <a:gd name="T38" fmla="*/ 117 w 159"/>
                <a:gd name="T39" fmla="*/ 165 h 216"/>
                <a:gd name="T40" fmla="*/ 126 w 159"/>
                <a:gd name="T41" fmla="*/ 179 h 216"/>
                <a:gd name="T42" fmla="*/ 117 w 159"/>
                <a:gd name="T43" fmla="*/ 216 h 216"/>
                <a:gd name="T44" fmla="*/ 108 w 159"/>
                <a:gd name="T45" fmla="*/ 212 h 216"/>
                <a:gd name="T46" fmla="*/ 113 w 159"/>
                <a:gd name="T47" fmla="*/ 197 h 216"/>
                <a:gd name="T48" fmla="*/ 101 w 159"/>
                <a:gd name="T49" fmla="*/ 196 h 216"/>
                <a:gd name="T50" fmla="*/ 94 w 159"/>
                <a:gd name="T51" fmla="*/ 193 h 216"/>
                <a:gd name="T52" fmla="*/ 77 w 159"/>
                <a:gd name="T53" fmla="*/ 196 h 216"/>
                <a:gd name="T54" fmla="*/ 70 w 159"/>
                <a:gd name="T55" fmla="*/ 187 h 216"/>
                <a:gd name="T56" fmla="*/ 64 w 159"/>
                <a:gd name="T57" fmla="*/ 178 h 216"/>
                <a:gd name="T58" fmla="*/ 48 w 159"/>
                <a:gd name="T59" fmla="*/ 166 h 216"/>
                <a:gd name="T60" fmla="*/ 36 w 159"/>
                <a:gd name="T61" fmla="*/ 160 h 216"/>
                <a:gd name="T62" fmla="*/ 22 w 159"/>
                <a:gd name="T63" fmla="*/ 160 h 216"/>
                <a:gd name="T64" fmla="*/ 2 w 159"/>
                <a:gd name="T65" fmla="*/ 147 h 216"/>
                <a:gd name="T66" fmla="*/ 0 w 159"/>
                <a:gd name="T67" fmla="*/ 142 h 216"/>
                <a:gd name="T68" fmla="*/ 5 w 159"/>
                <a:gd name="T69" fmla="*/ 129 h 216"/>
                <a:gd name="T70" fmla="*/ 18 w 159"/>
                <a:gd name="T71" fmla="*/ 122 h 216"/>
                <a:gd name="T72" fmla="*/ 19 w 159"/>
                <a:gd name="T73" fmla="*/ 113 h 216"/>
                <a:gd name="T74" fmla="*/ 13 w 159"/>
                <a:gd name="T75" fmla="*/ 68 h 216"/>
                <a:gd name="T76" fmla="*/ 16 w 159"/>
                <a:gd name="T77" fmla="*/ 62 h 216"/>
                <a:gd name="T78" fmla="*/ 22 w 159"/>
                <a:gd name="T79" fmla="*/ 59 h 216"/>
                <a:gd name="T80" fmla="*/ 19 w 159"/>
                <a:gd name="T81" fmla="*/ 50 h 216"/>
                <a:gd name="T82" fmla="*/ 21 w 159"/>
                <a:gd name="T83" fmla="*/ 50 h 216"/>
                <a:gd name="T84" fmla="*/ 27 w 159"/>
                <a:gd name="T85" fmla="*/ 49 h 216"/>
                <a:gd name="T86" fmla="*/ 43 w 159"/>
                <a:gd name="T87" fmla="*/ 25 h 216"/>
                <a:gd name="T88" fmla="*/ 58 w 159"/>
                <a:gd name="T89" fmla="*/ 19 h 216"/>
                <a:gd name="T90" fmla="*/ 62 w 159"/>
                <a:gd name="T91" fmla="*/ 15 h 216"/>
                <a:gd name="T92" fmla="*/ 88 w 159"/>
                <a:gd name="T93" fmla="*/ 9 h 216"/>
                <a:gd name="T94" fmla="*/ 96 w 159"/>
                <a:gd name="T9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 h="216">
                  <a:moveTo>
                    <a:pt x="96" y="0"/>
                  </a:moveTo>
                  <a:lnTo>
                    <a:pt x="102" y="3"/>
                  </a:lnTo>
                  <a:lnTo>
                    <a:pt x="102" y="4"/>
                  </a:lnTo>
                  <a:lnTo>
                    <a:pt x="101" y="7"/>
                  </a:lnTo>
                  <a:lnTo>
                    <a:pt x="101" y="9"/>
                  </a:lnTo>
                  <a:lnTo>
                    <a:pt x="94" y="12"/>
                  </a:lnTo>
                  <a:lnTo>
                    <a:pt x="85" y="21"/>
                  </a:lnTo>
                  <a:lnTo>
                    <a:pt x="74" y="43"/>
                  </a:lnTo>
                  <a:lnTo>
                    <a:pt x="80" y="43"/>
                  </a:lnTo>
                  <a:lnTo>
                    <a:pt x="88" y="56"/>
                  </a:lnTo>
                  <a:lnTo>
                    <a:pt x="88" y="65"/>
                  </a:lnTo>
                  <a:lnTo>
                    <a:pt x="92" y="70"/>
                  </a:lnTo>
                  <a:lnTo>
                    <a:pt x="99" y="71"/>
                  </a:lnTo>
                  <a:lnTo>
                    <a:pt x="110" y="70"/>
                  </a:lnTo>
                  <a:lnTo>
                    <a:pt x="117" y="73"/>
                  </a:lnTo>
                  <a:lnTo>
                    <a:pt x="126" y="83"/>
                  </a:lnTo>
                  <a:lnTo>
                    <a:pt x="138" y="83"/>
                  </a:lnTo>
                  <a:lnTo>
                    <a:pt x="145" y="82"/>
                  </a:lnTo>
                  <a:lnTo>
                    <a:pt x="151" y="82"/>
                  </a:lnTo>
                  <a:lnTo>
                    <a:pt x="151" y="83"/>
                  </a:lnTo>
                  <a:lnTo>
                    <a:pt x="145" y="104"/>
                  </a:lnTo>
                  <a:lnTo>
                    <a:pt x="148" y="110"/>
                  </a:lnTo>
                  <a:lnTo>
                    <a:pt x="154" y="119"/>
                  </a:lnTo>
                  <a:lnTo>
                    <a:pt x="154" y="120"/>
                  </a:lnTo>
                  <a:lnTo>
                    <a:pt x="147" y="127"/>
                  </a:lnTo>
                  <a:lnTo>
                    <a:pt x="153" y="132"/>
                  </a:lnTo>
                  <a:lnTo>
                    <a:pt x="159" y="145"/>
                  </a:lnTo>
                  <a:lnTo>
                    <a:pt x="159" y="147"/>
                  </a:lnTo>
                  <a:lnTo>
                    <a:pt x="156" y="148"/>
                  </a:lnTo>
                  <a:lnTo>
                    <a:pt x="150" y="138"/>
                  </a:lnTo>
                  <a:lnTo>
                    <a:pt x="144" y="141"/>
                  </a:lnTo>
                  <a:lnTo>
                    <a:pt x="141" y="138"/>
                  </a:lnTo>
                  <a:lnTo>
                    <a:pt x="139" y="141"/>
                  </a:lnTo>
                  <a:lnTo>
                    <a:pt x="120" y="141"/>
                  </a:lnTo>
                  <a:lnTo>
                    <a:pt x="120" y="148"/>
                  </a:lnTo>
                  <a:lnTo>
                    <a:pt x="126" y="148"/>
                  </a:lnTo>
                  <a:lnTo>
                    <a:pt x="126" y="150"/>
                  </a:lnTo>
                  <a:lnTo>
                    <a:pt x="129" y="156"/>
                  </a:lnTo>
                  <a:lnTo>
                    <a:pt x="117" y="157"/>
                  </a:lnTo>
                  <a:lnTo>
                    <a:pt x="117" y="165"/>
                  </a:lnTo>
                  <a:lnTo>
                    <a:pt x="123" y="169"/>
                  </a:lnTo>
                  <a:lnTo>
                    <a:pt x="126" y="179"/>
                  </a:lnTo>
                  <a:lnTo>
                    <a:pt x="119" y="216"/>
                  </a:lnTo>
                  <a:lnTo>
                    <a:pt x="117" y="216"/>
                  </a:lnTo>
                  <a:lnTo>
                    <a:pt x="108" y="213"/>
                  </a:lnTo>
                  <a:lnTo>
                    <a:pt x="108" y="212"/>
                  </a:lnTo>
                  <a:lnTo>
                    <a:pt x="116" y="202"/>
                  </a:lnTo>
                  <a:lnTo>
                    <a:pt x="113" y="197"/>
                  </a:lnTo>
                  <a:lnTo>
                    <a:pt x="104" y="193"/>
                  </a:lnTo>
                  <a:lnTo>
                    <a:pt x="101" y="196"/>
                  </a:lnTo>
                  <a:lnTo>
                    <a:pt x="99" y="196"/>
                  </a:lnTo>
                  <a:lnTo>
                    <a:pt x="94" y="193"/>
                  </a:lnTo>
                  <a:lnTo>
                    <a:pt x="88" y="197"/>
                  </a:lnTo>
                  <a:lnTo>
                    <a:pt x="77" y="196"/>
                  </a:lnTo>
                  <a:lnTo>
                    <a:pt x="76" y="187"/>
                  </a:lnTo>
                  <a:lnTo>
                    <a:pt x="70" y="187"/>
                  </a:lnTo>
                  <a:lnTo>
                    <a:pt x="68" y="179"/>
                  </a:lnTo>
                  <a:lnTo>
                    <a:pt x="64" y="178"/>
                  </a:lnTo>
                  <a:lnTo>
                    <a:pt x="54" y="166"/>
                  </a:lnTo>
                  <a:lnTo>
                    <a:pt x="48" y="166"/>
                  </a:lnTo>
                  <a:lnTo>
                    <a:pt x="37" y="160"/>
                  </a:lnTo>
                  <a:lnTo>
                    <a:pt x="36" y="160"/>
                  </a:lnTo>
                  <a:lnTo>
                    <a:pt x="22" y="162"/>
                  </a:lnTo>
                  <a:lnTo>
                    <a:pt x="22" y="160"/>
                  </a:lnTo>
                  <a:lnTo>
                    <a:pt x="16" y="154"/>
                  </a:lnTo>
                  <a:lnTo>
                    <a:pt x="2" y="147"/>
                  </a:lnTo>
                  <a:lnTo>
                    <a:pt x="0" y="145"/>
                  </a:lnTo>
                  <a:lnTo>
                    <a:pt x="0" y="142"/>
                  </a:lnTo>
                  <a:lnTo>
                    <a:pt x="5" y="139"/>
                  </a:lnTo>
                  <a:lnTo>
                    <a:pt x="5" y="129"/>
                  </a:lnTo>
                  <a:lnTo>
                    <a:pt x="16" y="126"/>
                  </a:lnTo>
                  <a:lnTo>
                    <a:pt x="18" y="122"/>
                  </a:lnTo>
                  <a:lnTo>
                    <a:pt x="25" y="114"/>
                  </a:lnTo>
                  <a:lnTo>
                    <a:pt x="19" y="113"/>
                  </a:lnTo>
                  <a:lnTo>
                    <a:pt x="19" y="79"/>
                  </a:lnTo>
                  <a:lnTo>
                    <a:pt x="13" y="68"/>
                  </a:lnTo>
                  <a:lnTo>
                    <a:pt x="13" y="67"/>
                  </a:lnTo>
                  <a:lnTo>
                    <a:pt x="16" y="62"/>
                  </a:lnTo>
                  <a:lnTo>
                    <a:pt x="18" y="62"/>
                  </a:lnTo>
                  <a:lnTo>
                    <a:pt x="22" y="59"/>
                  </a:lnTo>
                  <a:lnTo>
                    <a:pt x="19" y="53"/>
                  </a:lnTo>
                  <a:lnTo>
                    <a:pt x="19" y="50"/>
                  </a:lnTo>
                  <a:lnTo>
                    <a:pt x="21" y="49"/>
                  </a:lnTo>
                  <a:lnTo>
                    <a:pt x="21" y="50"/>
                  </a:lnTo>
                  <a:lnTo>
                    <a:pt x="27" y="56"/>
                  </a:lnTo>
                  <a:lnTo>
                    <a:pt x="27" y="49"/>
                  </a:lnTo>
                  <a:lnTo>
                    <a:pt x="43" y="39"/>
                  </a:lnTo>
                  <a:lnTo>
                    <a:pt x="43" y="25"/>
                  </a:lnTo>
                  <a:lnTo>
                    <a:pt x="52" y="19"/>
                  </a:lnTo>
                  <a:lnTo>
                    <a:pt x="58" y="19"/>
                  </a:lnTo>
                  <a:lnTo>
                    <a:pt x="59" y="21"/>
                  </a:lnTo>
                  <a:lnTo>
                    <a:pt x="62" y="15"/>
                  </a:lnTo>
                  <a:lnTo>
                    <a:pt x="76" y="13"/>
                  </a:lnTo>
                  <a:lnTo>
                    <a:pt x="88" y="9"/>
                  </a:lnTo>
                  <a:lnTo>
                    <a:pt x="91" y="3"/>
                  </a:lnTo>
                  <a:lnTo>
                    <a:pt x="9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 name="Chile - Mainland">
              <a:extLst>
                <a:ext uri="{FF2B5EF4-FFF2-40B4-BE49-F238E27FC236}">
                  <a16:creationId xmlns:a16="http://schemas.microsoft.com/office/drawing/2014/main" id="{E93CE2B9-C890-0113-2B69-F115093F3738}"/>
                </a:ext>
              </a:extLst>
            </p:cNvPr>
            <p:cNvSpPr>
              <a:spLocks noEditPoints="1"/>
            </p:cNvSpPr>
            <p:nvPr/>
          </p:nvSpPr>
          <p:spPr bwMode="auto">
            <a:xfrm>
              <a:off x="4040467" y="5006644"/>
              <a:ext cx="204198" cy="1087851"/>
            </a:xfrm>
            <a:custGeom>
              <a:avLst/>
              <a:gdLst>
                <a:gd name="T0" fmla="*/ 25 w 113"/>
                <a:gd name="T1" fmla="*/ 493 h 602"/>
                <a:gd name="T2" fmla="*/ 80 w 113"/>
                <a:gd name="T3" fmla="*/ 0 h 602"/>
                <a:gd name="T4" fmla="*/ 94 w 113"/>
                <a:gd name="T5" fmla="*/ 31 h 602"/>
                <a:gd name="T6" fmla="*/ 101 w 113"/>
                <a:gd name="T7" fmla="*/ 71 h 602"/>
                <a:gd name="T8" fmla="*/ 110 w 113"/>
                <a:gd name="T9" fmla="*/ 91 h 602"/>
                <a:gd name="T10" fmla="*/ 96 w 113"/>
                <a:gd name="T11" fmla="*/ 132 h 602"/>
                <a:gd name="T12" fmla="*/ 76 w 113"/>
                <a:gd name="T13" fmla="*/ 168 h 602"/>
                <a:gd name="T14" fmla="*/ 76 w 113"/>
                <a:gd name="T15" fmla="*/ 229 h 602"/>
                <a:gd name="T16" fmla="*/ 61 w 113"/>
                <a:gd name="T17" fmla="*/ 282 h 602"/>
                <a:gd name="T18" fmla="*/ 52 w 113"/>
                <a:gd name="T19" fmla="*/ 338 h 602"/>
                <a:gd name="T20" fmla="*/ 48 w 113"/>
                <a:gd name="T21" fmla="*/ 381 h 602"/>
                <a:gd name="T22" fmla="*/ 56 w 113"/>
                <a:gd name="T23" fmla="*/ 415 h 602"/>
                <a:gd name="T24" fmla="*/ 53 w 113"/>
                <a:gd name="T25" fmla="*/ 435 h 602"/>
                <a:gd name="T26" fmla="*/ 42 w 113"/>
                <a:gd name="T27" fmla="*/ 498 h 602"/>
                <a:gd name="T28" fmla="*/ 37 w 113"/>
                <a:gd name="T29" fmla="*/ 537 h 602"/>
                <a:gd name="T30" fmla="*/ 48 w 113"/>
                <a:gd name="T31" fmla="*/ 562 h 602"/>
                <a:gd name="T32" fmla="*/ 91 w 113"/>
                <a:gd name="T33" fmla="*/ 570 h 602"/>
                <a:gd name="T34" fmla="*/ 61 w 113"/>
                <a:gd name="T35" fmla="*/ 601 h 602"/>
                <a:gd name="T36" fmla="*/ 45 w 113"/>
                <a:gd name="T37" fmla="*/ 596 h 602"/>
                <a:gd name="T38" fmla="*/ 48 w 113"/>
                <a:gd name="T39" fmla="*/ 593 h 602"/>
                <a:gd name="T40" fmla="*/ 39 w 113"/>
                <a:gd name="T41" fmla="*/ 576 h 602"/>
                <a:gd name="T42" fmla="*/ 42 w 113"/>
                <a:gd name="T43" fmla="*/ 558 h 602"/>
                <a:gd name="T44" fmla="*/ 37 w 113"/>
                <a:gd name="T45" fmla="*/ 561 h 602"/>
                <a:gd name="T46" fmla="*/ 30 w 113"/>
                <a:gd name="T47" fmla="*/ 564 h 602"/>
                <a:gd name="T48" fmla="*/ 21 w 113"/>
                <a:gd name="T49" fmla="*/ 539 h 602"/>
                <a:gd name="T50" fmla="*/ 19 w 113"/>
                <a:gd name="T51" fmla="*/ 533 h 602"/>
                <a:gd name="T52" fmla="*/ 13 w 113"/>
                <a:gd name="T53" fmla="*/ 525 h 602"/>
                <a:gd name="T54" fmla="*/ 22 w 113"/>
                <a:gd name="T55" fmla="*/ 510 h 602"/>
                <a:gd name="T56" fmla="*/ 18 w 113"/>
                <a:gd name="T57" fmla="*/ 491 h 602"/>
                <a:gd name="T58" fmla="*/ 16 w 113"/>
                <a:gd name="T59" fmla="*/ 481 h 602"/>
                <a:gd name="T60" fmla="*/ 28 w 113"/>
                <a:gd name="T61" fmla="*/ 484 h 602"/>
                <a:gd name="T62" fmla="*/ 22 w 113"/>
                <a:gd name="T63" fmla="*/ 473 h 602"/>
                <a:gd name="T64" fmla="*/ 21 w 113"/>
                <a:gd name="T65" fmla="*/ 466 h 602"/>
                <a:gd name="T66" fmla="*/ 22 w 113"/>
                <a:gd name="T67" fmla="*/ 463 h 602"/>
                <a:gd name="T68" fmla="*/ 5 w 113"/>
                <a:gd name="T69" fmla="*/ 457 h 602"/>
                <a:gd name="T70" fmla="*/ 0 w 113"/>
                <a:gd name="T71" fmla="*/ 458 h 602"/>
                <a:gd name="T72" fmla="*/ 9 w 113"/>
                <a:gd name="T73" fmla="*/ 442 h 602"/>
                <a:gd name="T74" fmla="*/ 21 w 113"/>
                <a:gd name="T75" fmla="*/ 450 h 602"/>
                <a:gd name="T76" fmla="*/ 25 w 113"/>
                <a:gd name="T77" fmla="*/ 451 h 602"/>
                <a:gd name="T78" fmla="*/ 27 w 113"/>
                <a:gd name="T79" fmla="*/ 448 h 602"/>
                <a:gd name="T80" fmla="*/ 30 w 113"/>
                <a:gd name="T81" fmla="*/ 439 h 602"/>
                <a:gd name="T82" fmla="*/ 27 w 113"/>
                <a:gd name="T83" fmla="*/ 436 h 602"/>
                <a:gd name="T84" fmla="*/ 30 w 113"/>
                <a:gd name="T85" fmla="*/ 424 h 602"/>
                <a:gd name="T86" fmla="*/ 31 w 113"/>
                <a:gd name="T87" fmla="*/ 410 h 602"/>
                <a:gd name="T88" fmla="*/ 34 w 113"/>
                <a:gd name="T89" fmla="*/ 396 h 602"/>
                <a:gd name="T90" fmla="*/ 40 w 113"/>
                <a:gd name="T91" fmla="*/ 381 h 602"/>
                <a:gd name="T92" fmla="*/ 42 w 113"/>
                <a:gd name="T93" fmla="*/ 375 h 602"/>
                <a:gd name="T94" fmla="*/ 43 w 113"/>
                <a:gd name="T95" fmla="*/ 365 h 602"/>
                <a:gd name="T96" fmla="*/ 25 w 113"/>
                <a:gd name="T97" fmla="*/ 335 h 602"/>
                <a:gd name="T98" fmla="*/ 33 w 113"/>
                <a:gd name="T99" fmla="*/ 289 h 602"/>
                <a:gd name="T100" fmla="*/ 52 w 113"/>
                <a:gd name="T101" fmla="*/ 235 h 602"/>
                <a:gd name="T102" fmla="*/ 55 w 113"/>
                <a:gd name="T103" fmla="*/ 175 h 602"/>
                <a:gd name="T104" fmla="*/ 67 w 113"/>
                <a:gd name="T105" fmla="*/ 107 h 602"/>
                <a:gd name="T106" fmla="*/ 70 w 113"/>
                <a:gd name="T107" fmla="*/ 33 h 602"/>
                <a:gd name="T108" fmla="*/ 79 w 113"/>
                <a:gd name="T109"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3" h="602">
                  <a:moveTo>
                    <a:pt x="22" y="490"/>
                  </a:moveTo>
                  <a:lnTo>
                    <a:pt x="21" y="491"/>
                  </a:lnTo>
                  <a:lnTo>
                    <a:pt x="19" y="491"/>
                  </a:lnTo>
                  <a:lnTo>
                    <a:pt x="25" y="493"/>
                  </a:lnTo>
                  <a:lnTo>
                    <a:pt x="24" y="490"/>
                  </a:lnTo>
                  <a:lnTo>
                    <a:pt x="22" y="490"/>
                  </a:lnTo>
                  <a:close/>
                  <a:moveTo>
                    <a:pt x="79" y="0"/>
                  </a:moveTo>
                  <a:lnTo>
                    <a:pt x="80" y="0"/>
                  </a:lnTo>
                  <a:lnTo>
                    <a:pt x="86" y="6"/>
                  </a:lnTo>
                  <a:lnTo>
                    <a:pt x="88" y="18"/>
                  </a:lnTo>
                  <a:lnTo>
                    <a:pt x="94" y="23"/>
                  </a:lnTo>
                  <a:lnTo>
                    <a:pt x="94" y="31"/>
                  </a:lnTo>
                  <a:lnTo>
                    <a:pt x="91" y="33"/>
                  </a:lnTo>
                  <a:lnTo>
                    <a:pt x="91" y="37"/>
                  </a:lnTo>
                  <a:lnTo>
                    <a:pt x="96" y="46"/>
                  </a:lnTo>
                  <a:lnTo>
                    <a:pt x="101" y="71"/>
                  </a:lnTo>
                  <a:lnTo>
                    <a:pt x="111" y="73"/>
                  </a:lnTo>
                  <a:lnTo>
                    <a:pt x="113" y="79"/>
                  </a:lnTo>
                  <a:lnTo>
                    <a:pt x="111" y="91"/>
                  </a:lnTo>
                  <a:lnTo>
                    <a:pt x="110" y="91"/>
                  </a:lnTo>
                  <a:lnTo>
                    <a:pt x="95" y="98"/>
                  </a:lnTo>
                  <a:lnTo>
                    <a:pt x="94" y="112"/>
                  </a:lnTo>
                  <a:lnTo>
                    <a:pt x="96" y="131"/>
                  </a:lnTo>
                  <a:lnTo>
                    <a:pt x="96" y="132"/>
                  </a:lnTo>
                  <a:lnTo>
                    <a:pt x="89" y="137"/>
                  </a:lnTo>
                  <a:lnTo>
                    <a:pt x="88" y="143"/>
                  </a:lnTo>
                  <a:lnTo>
                    <a:pt x="80" y="150"/>
                  </a:lnTo>
                  <a:lnTo>
                    <a:pt x="76" y="168"/>
                  </a:lnTo>
                  <a:lnTo>
                    <a:pt x="76" y="183"/>
                  </a:lnTo>
                  <a:lnTo>
                    <a:pt x="68" y="198"/>
                  </a:lnTo>
                  <a:lnTo>
                    <a:pt x="68" y="203"/>
                  </a:lnTo>
                  <a:lnTo>
                    <a:pt x="76" y="229"/>
                  </a:lnTo>
                  <a:lnTo>
                    <a:pt x="77" y="242"/>
                  </a:lnTo>
                  <a:lnTo>
                    <a:pt x="68" y="260"/>
                  </a:lnTo>
                  <a:lnTo>
                    <a:pt x="68" y="273"/>
                  </a:lnTo>
                  <a:lnTo>
                    <a:pt x="61" y="282"/>
                  </a:lnTo>
                  <a:lnTo>
                    <a:pt x="59" y="300"/>
                  </a:lnTo>
                  <a:lnTo>
                    <a:pt x="61" y="312"/>
                  </a:lnTo>
                  <a:lnTo>
                    <a:pt x="56" y="321"/>
                  </a:lnTo>
                  <a:lnTo>
                    <a:pt x="52" y="338"/>
                  </a:lnTo>
                  <a:lnTo>
                    <a:pt x="51" y="359"/>
                  </a:lnTo>
                  <a:lnTo>
                    <a:pt x="53" y="368"/>
                  </a:lnTo>
                  <a:lnTo>
                    <a:pt x="53" y="369"/>
                  </a:lnTo>
                  <a:lnTo>
                    <a:pt x="48" y="381"/>
                  </a:lnTo>
                  <a:lnTo>
                    <a:pt x="51" y="405"/>
                  </a:lnTo>
                  <a:lnTo>
                    <a:pt x="51" y="412"/>
                  </a:lnTo>
                  <a:lnTo>
                    <a:pt x="56" y="414"/>
                  </a:lnTo>
                  <a:lnTo>
                    <a:pt x="56" y="415"/>
                  </a:lnTo>
                  <a:lnTo>
                    <a:pt x="58" y="418"/>
                  </a:lnTo>
                  <a:lnTo>
                    <a:pt x="51" y="421"/>
                  </a:lnTo>
                  <a:lnTo>
                    <a:pt x="56" y="427"/>
                  </a:lnTo>
                  <a:lnTo>
                    <a:pt x="53" y="435"/>
                  </a:lnTo>
                  <a:lnTo>
                    <a:pt x="53" y="455"/>
                  </a:lnTo>
                  <a:lnTo>
                    <a:pt x="45" y="476"/>
                  </a:lnTo>
                  <a:lnTo>
                    <a:pt x="45" y="490"/>
                  </a:lnTo>
                  <a:lnTo>
                    <a:pt x="42" y="498"/>
                  </a:lnTo>
                  <a:lnTo>
                    <a:pt x="33" y="513"/>
                  </a:lnTo>
                  <a:lnTo>
                    <a:pt x="31" y="525"/>
                  </a:lnTo>
                  <a:lnTo>
                    <a:pt x="31" y="537"/>
                  </a:lnTo>
                  <a:lnTo>
                    <a:pt x="37" y="537"/>
                  </a:lnTo>
                  <a:lnTo>
                    <a:pt x="40" y="536"/>
                  </a:lnTo>
                  <a:lnTo>
                    <a:pt x="45" y="536"/>
                  </a:lnTo>
                  <a:lnTo>
                    <a:pt x="45" y="558"/>
                  </a:lnTo>
                  <a:lnTo>
                    <a:pt x="48" y="562"/>
                  </a:lnTo>
                  <a:lnTo>
                    <a:pt x="77" y="564"/>
                  </a:lnTo>
                  <a:lnTo>
                    <a:pt x="96" y="568"/>
                  </a:lnTo>
                  <a:lnTo>
                    <a:pt x="96" y="570"/>
                  </a:lnTo>
                  <a:lnTo>
                    <a:pt x="91" y="570"/>
                  </a:lnTo>
                  <a:lnTo>
                    <a:pt x="88" y="568"/>
                  </a:lnTo>
                  <a:lnTo>
                    <a:pt x="85" y="568"/>
                  </a:lnTo>
                  <a:lnTo>
                    <a:pt x="64" y="580"/>
                  </a:lnTo>
                  <a:lnTo>
                    <a:pt x="61" y="601"/>
                  </a:lnTo>
                  <a:lnTo>
                    <a:pt x="61" y="602"/>
                  </a:lnTo>
                  <a:lnTo>
                    <a:pt x="53" y="602"/>
                  </a:lnTo>
                  <a:lnTo>
                    <a:pt x="46" y="598"/>
                  </a:lnTo>
                  <a:lnTo>
                    <a:pt x="45" y="596"/>
                  </a:lnTo>
                  <a:lnTo>
                    <a:pt x="43" y="592"/>
                  </a:lnTo>
                  <a:lnTo>
                    <a:pt x="43" y="590"/>
                  </a:lnTo>
                  <a:lnTo>
                    <a:pt x="48" y="590"/>
                  </a:lnTo>
                  <a:lnTo>
                    <a:pt x="48" y="593"/>
                  </a:lnTo>
                  <a:lnTo>
                    <a:pt x="56" y="586"/>
                  </a:lnTo>
                  <a:lnTo>
                    <a:pt x="59" y="582"/>
                  </a:lnTo>
                  <a:lnTo>
                    <a:pt x="53" y="576"/>
                  </a:lnTo>
                  <a:lnTo>
                    <a:pt x="39" y="576"/>
                  </a:lnTo>
                  <a:lnTo>
                    <a:pt x="42" y="568"/>
                  </a:lnTo>
                  <a:lnTo>
                    <a:pt x="39" y="564"/>
                  </a:lnTo>
                  <a:lnTo>
                    <a:pt x="39" y="562"/>
                  </a:lnTo>
                  <a:lnTo>
                    <a:pt x="42" y="558"/>
                  </a:lnTo>
                  <a:lnTo>
                    <a:pt x="40" y="558"/>
                  </a:lnTo>
                  <a:lnTo>
                    <a:pt x="40" y="559"/>
                  </a:lnTo>
                  <a:lnTo>
                    <a:pt x="37" y="559"/>
                  </a:lnTo>
                  <a:lnTo>
                    <a:pt x="37" y="561"/>
                  </a:lnTo>
                  <a:lnTo>
                    <a:pt x="34" y="564"/>
                  </a:lnTo>
                  <a:lnTo>
                    <a:pt x="33" y="564"/>
                  </a:lnTo>
                  <a:lnTo>
                    <a:pt x="31" y="565"/>
                  </a:lnTo>
                  <a:lnTo>
                    <a:pt x="30" y="564"/>
                  </a:lnTo>
                  <a:lnTo>
                    <a:pt x="28" y="564"/>
                  </a:lnTo>
                  <a:lnTo>
                    <a:pt x="27" y="550"/>
                  </a:lnTo>
                  <a:lnTo>
                    <a:pt x="21" y="544"/>
                  </a:lnTo>
                  <a:lnTo>
                    <a:pt x="21" y="539"/>
                  </a:lnTo>
                  <a:lnTo>
                    <a:pt x="25" y="537"/>
                  </a:lnTo>
                  <a:lnTo>
                    <a:pt x="21" y="537"/>
                  </a:lnTo>
                  <a:lnTo>
                    <a:pt x="19" y="534"/>
                  </a:lnTo>
                  <a:lnTo>
                    <a:pt x="19" y="533"/>
                  </a:lnTo>
                  <a:lnTo>
                    <a:pt x="21" y="533"/>
                  </a:lnTo>
                  <a:lnTo>
                    <a:pt x="22" y="531"/>
                  </a:lnTo>
                  <a:lnTo>
                    <a:pt x="15" y="525"/>
                  </a:lnTo>
                  <a:lnTo>
                    <a:pt x="13" y="525"/>
                  </a:lnTo>
                  <a:lnTo>
                    <a:pt x="13" y="524"/>
                  </a:lnTo>
                  <a:lnTo>
                    <a:pt x="19" y="515"/>
                  </a:lnTo>
                  <a:lnTo>
                    <a:pt x="24" y="513"/>
                  </a:lnTo>
                  <a:lnTo>
                    <a:pt x="22" y="510"/>
                  </a:lnTo>
                  <a:lnTo>
                    <a:pt x="24" y="506"/>
                  </a:lnTo>
                  <a:lnTo>
                    <a:pt x="19" y="510"/>
                  </a:lnTo>
                  <a:lnTo>
                    <a:pt x="18" y="510"/>
                  </a:lnTo>
                  <a:lnTo>
                    <a:pt x="18" y="491"/>
                  </a:lnTo>
                  <a:lnTo>
                    <a:pt x="16" y="491"/>
                  </a:lnTo>
                  <a:lnTo>
                    <a:pt x="16" y="490"/>
                  </a:lnTo>
                  <a:lnTo>
                    <a:pt x="15" y="481"/>
                  </a:lnTo>
                  <a:lnTo>
                    <a:pt x="16" y="481"/>
                  </a:lnTo>
                  <a:lnTo>
                    <a:pt x="19" y="485"/>
                  </a:lnTo>
                  <a:lnTo>
                    <a:pt x="19" y="482"/>
                  </a:lnTo>
                  <a:lnTo>
                    <a:pt x="21" y="482"/>
                  </a:lnTo>
                  <a:lnTo>
                    <a:pt x="28" y="484"/>
                  </a:lnTo>
                  <a:lnTo>
                    <a:pt x="24" y="476"/>
                  </a:lnTo>
                  <a:lnTo>
                    <a:pt x="22" y="478"/>
                  </a:lnTo>
                  <a:lnTo>
                    <a:pt x="21" y="478"/>
                  </a:lnTo>
                  <a:lnTo>
                    <a:pt x="22" y="473"/>
                  </a:lnTo>
                  <a:lnTo>
                    <a:pt x="16" y="472"/>
                  </a:lnTo>
                  <a:lnTo>
                    <a:pt x="16" y="470"/>
                  </a:lnTo>
                  <a:lnTo>
                    <a:pt x="21" y="467"/>
                  </a:lnTo>
                  <a:lnTo>
                    <a:pt x="21" y="466"/>
                  </a:lnTo>
                  <a:lnTo>
                    <a:pt x="19" y="466"/>
                  </a:lnTo>
                  <a:lnTo>
                    <a:pt x="19" y="464"/>
                  </a:lnTo>
                  <a:lnTo>
                    <a:pt x="21" y="464"/>
                  </a:lnTo>
                  <a:lnTo>
                    <a:pt x="22" y="463"/>
                  </a:lnTo>
                  <a:lnTo>
                    <a:pt x="19" y="458"/>
                  </a:lnTo>
                  <a:lnTo>
                    <a:pt x="13" y="460"/>
                  </a:lnTo>
                  <a:lnTo>
                    <a:pt x="8" y="455"/>
                  </a:lnTo>
                  <a:lnTo>
                    <a:pt x="5" y="457"/>
                  </a:lnTo>
                  <a:lnTo>
                    <a:pt x="6" y="461"/>
                  </a:lnTo>
                  <a:lnTo>
                    <a:pt x="5" y="461"/>
                  </a:lnTo>
                  <a:lnTo>
                    <a:pt x="2" y="460"/>
                  </a:lnTo>
                  <a:lnTo>
                    <a:pt x="0" y="458"/>
                  </a:lnTo>
                  <a:lnTo>
                    <a:pt x="2" y="454"/>
                  </a:lnTo>
                  <a:lnTo>
                    <a:pt x="3" y="454"/>
                  </a:lnTo>
                  <a:lnTo>
                    <a:pt x="12" y="447"/>
                  </a:lnTo>
                  <a:lnTo>
                    <a:pt x="9" y="442"/>
                  </a:lnTo>
                  <a:lnTo>
                    <a:pt x="9" y="441"/>
                  </a:lnTo>
                  <a:lnTo>
                    <a:pt x="19" y="441"/>
                  </a:lnTo>
                  <a:lnTo>
                    <a:pt x="22" y="447"/>
                  </a:lnTo>
                  <a:lnTo>
                    <a:pt x="21" y="450"/>
                  </a:lnTo>
                  <a:lnTo>
                    <a:pt x="22" y="451"/>
                  </a:lnTo>
                  <a:lnTo>
                    <a:pt x="24" y="448"/>
                  </a:lnTo>
                  <a:lnTo>
                    <a:pt x="25" y="448"/>
                  </a:lnTo>
                  <a:lnTo>
                    <a:pt x="25" y="451"/>
                  </a:lnTo>
                  <a:lnTo>
                    <a:pt x="30" y="448"/>
                  </a:lnTo>
                  <a:lnTo>
                    <a:pt x="30" y="447"/>
                  </a:lnTo>
                  <a:lnTo>
                    <a:pt x="28" y="448"/>
                  </a:lnTo>
                  <a:lnTo>
                    <a:pt x="27" y="448"/>
                  </a:lnTo>
                  <a:lnTo>
                    <a:pt x="27" y="441"/>
                  </a:lnTo>
                  <a:lnTo>
                    <a:pt x="28" y="441"/>
                  </a:lnTo>
                  <a:lnTo>
                    <a:pt x="31" y="439"/>
                  </a:lnTo>
                  <a:lnTo>
                    <a:pt x="30" y="439"/>
                  </a:lnTo>
                  <a:lnTo>
                    <a:pt x="30" y="436"/>
                  </a:lnTo>
                  <a:lnTo>
                    <a:pt x="28" y="438"/>
                  </a:lnTo>
                  <a:lnTo>
                    <a:pt x="27" y="438"/>
                  </a:lnTo>
                  <a:lnTo>
                    <a:pt x="27" y="436"/>
                  </a:lnTo>
                  <a:lnTo>
                    <a:pt x="28" y="433"/>
                  </a:lnTo>
                  <a:lnTo>
                    <a:pt x="33" y="432"/>
                  </a:lnTo>
                  <a:lnTo>
                    <a:pt x="30" y="430"/>
                  </a:lnTo>
                  <a:lnTo>
                    <a:pt x="30" y="424"/>
                  </a:lnTo>
                  <a:lnTo>
                    <a:pt x="39" y="420"/>
                  </a:lnTo>
                  <a:lnTo>
                    <a:pt x="39" y="415"/>
                  </a:lnTo>
                  <a:lnTo>
                    <a:pt x="33" y="411"/>
                  </a:lnTo>
                  <a:lnTo>
                    <a:pt x="31" y="410"/>
                  </a:lnTo>
                  <a:lnTo>
                    <a:pt x="33" y="410"/>
                  </a:lnTo>
                  <a:lnTo>
                    <a:pt x="36" y="404"/>
                  </a:lnTo>
                  <a:lnTo>
                    <a:pt x="34" y="398"/>
                  </a:lnTo>
                  <a:lnTo>
                    <a:pt x="34" y="396"/>
                  </a:lnTo>
                  <a:lnTo>
                    <a:pt x="39" y="389"/>
                  </a:lnTo>
                  <a:lnTo>
                    <a:pt x="37" y="384"/>
                  </a:lnTo>
                  <a:lnTo>
                    <a:pt x="37" y="383"/>
                  </a:lnTo>
                  <a:lnTo>
                    <a:pt x="40" y="381"/>
                  </a:lnTo>
                  <a:lnTo>
                    <a:pt x="39" y="378"/>
                  </a:lnTo>
                  <a:lnTo>
                    <a:pt x="39" y="377"/>
                  </a:lnTo>
                  <a:lnTo>
                    <a:pt x="40" y="375"/>
                  </a:lnTo>
                  <a:lnTo>
                    <a:pt x="42" y="375"/>
                  </a:lnTo>
                  <a:lnTo>
                    <a:pt x="42" y="372"/>
                  </a:lnTo>
                  <a:lnTo>
                    <a:pt x="37" y="371"/>
                  </a:lnTo>
                  <a:lnTo>
                    <a:pt x="37" y="369"/>
                  </a:lnTo>
                  <a:lnTo>
                    <a:pt x="43" y="365"/>
                  </a:lnTo>
                  <a:lnTo>
                    <a:pt x="36" y="364"/>
                  </a:lnTo>
                  <a:lnTo>
                    <a:pt x="30" y="368"/>
                  </a:lnTo>
                  <a:lnTo>
                    <a:pt x="24" y="361"/>
                  </a:lnTo>
                  <a:lnTo>
                    <a:pt x="25" y="335"/>
                  </a:lnTo>
                  <a:lnTo>
                    <a:pt x="30" y="328"/>
                  </a:lnTo>
                  <a:lnTo>
                    <a:pt x="27" y="313"/>
                  </a:lnTo>
                  <a:lnTo>
                    <a:pt x="27" y="291"/>
                  </a:lnTo>
                  <a:lnTo>
                    <a:pt x="33" y="289"/>
                  </a:lnTo>
                  <a:lnTo>
                    <a:pt x="31" y="282"/>
                  </a:lnTo>
                  <a:lnTo>
                    <a:pt x="31" y="281"/>
                  </a:lnTo>
                  <a:lnTo>
                    <a:pt x="36" y="281"/>
                  </a:lnTo>
                  <a:lnTo>
                    <a:pt x="52" y="235"/>
                  </a:lnTo>
                  <a:lnTo>
                    <a:pt x="53" y="215"/>
                  </a:lnTo>
                  <a:lnTo>
                    <a:pt x="51" y="187"/>
                  </a:lnTo>
                  <a:lnTo>
                    <a:pt x="52" y="181"/>
                  </a:lnTo>
                  <a:lnTo>
                    <a:pt x="55" y="175"/>
                  </a:lnTo>
                  <a:lnTo>
                    <a:pt x="53" y="160"/>
                  </a:lnTo>
                  <a:lnTo>
                    <a:pt x="64" y="131"/>
                  </a:lnTo>
                  <a:lnTo>
                    <a:pt x="64" y="116"/>
                  </a:lnTo>
                  <a:lnTo>
                    <a:pt x="67" y="107"/>
                  </a:lnTo>
                  <a:lnTo>
                    <a:pt x="65" y="80"/>
                  </a:lnTo>
                  <a:lnTo>
                    <a:pt x="70" y="73"/>
                  </a:lnTo>
                  <a:lnTo>
                    <a:pt x="71" y="55"/>
                  </a:lnTo>
                  <a:lnTo>
                    <a:pt x="70" y="33"/>
                  </a:lnTo>
                  <a:lnTo>
                    <a:pt x="67" y="9"/>
                  </a:lnTo>
                  <a:lnTo>
                    <a:pt x="67" y="8"/>
                  </a:lnTo>
                  <a:lnTo>
                    <a:pt x="76" y="6"/>
                  </a:lnTo>
                  <a:lnTo>
                    <a:pt x="7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 name="Chile - Offshore">
              <a:extLst>
                <a:ext uri="{FF2B5EF4-FFF2-40B4-BE49-F238E27FC236}">
                  <a16:creationId xmlns:a16="http://schemas.microsoft.com/office/drawing/2014/main" id="{2F55E47E-CB0F-BE13-048E-837845FDA036}"/>
                </a:ext>
              </a:extLst>
            </p:cNvPr>
            <p:cNvSpPr>
              <a:spLocks/>
            </p:cNvSpPr>
            <p:nvPr/>
          </p:nvSpPr>
          <p:spPr bwMode="auto">
            <a:xfrm>
              <a:off x="4044081" y="5666222"/>
              <a:ext cx="180705" cy="505978"/>
            </a:xfrm>
            <a:custGeom>
              <a:avLst/>
              <a:gdLst/>
              <a:ahLst/>
              <a:cxnLst/>
              <a:rect l="l" t="t" r="r" b="b"/>
              <a:pathLst>
                <a:path w="182146" h="510011">
                  <a:moveTo>
                    <a:pt x="114752" y="482688"/>
                  </a:moveTo>
                  <a:lnTo>
                    <a:pt x="123860" y="482688"/>
                  </a:lnTo>
                  <a:lnTo>
                    <a:pt x="123860" y="491796"/>
                  </a:lnTo>
                  <a:lnTo>
                    <a:pt x="114752" y="486331"/>
                  </a:lnTo>
                  <a:close/>
                  <a:moveTo>
                    <a:pt x="85608" y="431688"/>
                  </a:moveTo>
                  <a:lnTo>
                    <a:pt x="89251" y="431688"/>
                  </a:lnTo>
                  <a:lnTo>
                    <a:pt x="107466" y="448082"/>
                  </a:lnTo>
                  <a:lnTo>
                    <a:pt x="109287" y="451725"/>
                  </a:lnTo>
                  <a:lnTo>
                    <a:pt x="107466" y="451725"/>
                  </a:lnTo>
                  <a:lnTo>
                    <a:pt x="83787" y="448082"/>
                  </a:lnTo>
                  <a:lnTo>
                    <a:pt x="80144" y="448082"/>
                  </a:lnTo>
                  <a:lnTo>
                    <a:pt x="80144" y="435331"/>
                  </a:lnTo>
                  <a:close/>
                  <a:moveTo>
                    <a:pt x="45537" y="413474"/>
                  </a:moveTo>
                  <a:lnTo>
                    <a:pt x="51001" y="413474"/>
                  </a:lnTo>
                  <a:lnTo>
                    <a:pt x="58287" y="415296"/>
                  </a:lnTo>
                  <a:lnTo>
                    <a:pt x="63752" y="415296"/>
                  </a:lnTo>
                  <a:lnTo>
                    <a:pt x="80145" y="431689"/>
                  </a:lnTo>
                  <a:lnTo>
                    <a:pt x="78323" y="442617"/>
                  </a:lnTo>
                  <a:lnTo>
                    <a:pt x="72859" y="442617"/>
                  </a:lnTo>
                  <a:lnTo>
                    <a:pt x="69216" y="446260"/>
                  </a:lnTo>
                  <a:lnTo>
                    <a:pt x="61930" y="446260"/>
                  </a:lnTo>
                  <a:lnTo>
                    <a:pt x="52823" y="440796"/>
                  </a:lnTo>
                  <a:lnTo>
                    <a:pt x="45537" y="415296"/>
                  </a:lnTo>
                  <a:close/>
                  <a:moveTo>
                    <a:pt x="18215" y="389794"/>
                  </a:moveTo>
                  <a:lnTo>
                    <a:pt x="20036" y="389794"/>
                  </a:lnTo>
                  <a:lnTo>
                    <a:pt x="58287" y="413474"/>
                  </a:lnTo>
                  <a:lnTo>
                    <a:pt x="58287" y="415295"/>
                  </a:lnTo>
                  <a:lnTo>
                    <a:pt x="25501" y="398902"/>
                  </a:lnTo>
                  <a:lnTo>
                    <a:pt x="20036" y="391616"/>
                  </a:lnTo>
                  <a:lnTo>
                    <a:pt x="18215" y="391616"/>
                  </a:lnTo>
                  <a:close/>
                  <a:moveTo>
                    <a:pt x="145717" y="378865"/>
                  </a:moveTo>
                  <a:lnTo>
                    <a:pt x="147539" y="378865"/>
                  </a:lnTo>
                  <a:lnTo>
                    <a:pt x="151182" y="384330"/>
                  </a:lnTo>
                  <a:lnTo>
                    <a:pt x="167575" y="384330"/>
                  </a:lnTo>
                  <a:lnTo>
                    <a:pt x="167575" y="477224"/>
                  </a:lnTo>
                  <a:lnTo>
                    <a:pt x="163932" y="477224"/>
                  </a:lnTo>
                  <a:lnTo>
                    <a:pt x="163104" y="478881"/>
                  </a:lnTo>
                  <a:lnTo>
                    <a:pt x="169396" y="477225"/>
                  </a:lnTo>
                  <a:lnTo>
                    <a:pt x="171217" y="477225"/>
                  </a:lnTo>
                  <a:lnTo>
                    <a:pt x="174860" y="482690"/>
                  </a:lnTo>
                  <a:lnTo>
                    <a:pt x="174860" y="486332"/>
                  </a:lnTo>
                  <a:lnTo>
                    <a:pt x="169396" y="486332"/>
                  </a:lnTo>
                  <a:lnTo>
                    <a:pt x="176682" y="488154"/>
                  </a:lnTo>
                  <a:lnTo>
                    <a:pt x="176682" y="491797"/>
                  </a:lnTo>
                  <a:lnTo>
                    <a:pt x="171217" y="493618"/>
                  </a:lnTo>
                  <a:lnTo>
                    <a:pt x="176682" y="493618"/>
                  </a:lnTo>
                  <a:lnTo>
                    <a:pt x="176682" y="497261"/>
                  </a:lnTo>
                  <a:lnTo>
                    <a:pt x="182146" y="508190"/>
                  </a:lnTo>
                  <a:lnTo>
                    <a:pt x="182146" y="510011"/>
                  </a:lnTo>
                  <a:lnTo>
                    <a:pt x="156646" y="491797"/>
                  </a:lnTo>
                  <a:lnTo>
                    <a:pt x="151181" y="493618"/>
                  </a:lnTo>
                  <a:lnTo>
                    <a:pt x="156646" y="502725"/>
                  </a:lnTo>
                  <a:lnTo>
                    <a:pt x="156646" y="504547"/>
                  </a:lnTo>
                  <a:lnTo>
                    <a:pt x="151181" y="504547"/>
                  </a:lnTo>
                  <a:lnTo>
                    <a:pt x="147538" y="502725"/>
                  </a:lnTo>
                  <a:lnTo>
                    <a:pt x="145717" y="502725"/>
                  </a:lnTo>
                  <a:lnTo>
                    <a:pt x="140252" y="493618"/>
                  </a:lnTo>
                  <a:lnTo>
                    <a:pt x="145717" y="488154"/>
                  </a:lnTo>
                  <a:lnTo>
                    <a:pt x="131145" y="488154"/>
                  </a:lnTo>
                  <a:lnTo>
                    <a:pt x="131145" y="486332"/>
                  </a:lnTo>
                  <a:lnTo>
                    <a:pt x="134788" y="486332"/>
                  </a:lnTo>
                  <a:lnTo>
                    <a:pt x="156016" y="480746"/>
                  </a:lnTo>
                  <a:lnTo>
                    <a:pt x="135108" y="476725"/>
                  </a:lnTo>
                  <a:lnTo>
                    <a:pt x="147539" y="480869"/>
                  </a:lnTo>
                  <a:lnTo>
                    <a:pt x="151182" y="480869"/>
                  </a:lnTo>
                  <a:lnTo>
                    <a:pt x="147539" y="482690"/>
                  </a:lnTo>
                  <a:lnTo>
                    <a:pt x="131145" y="482690"/>
                  </a:lnTo>
                  <a:lnTo>
                    <a:pt x="131145" y="475963"/>
                  </a:lnTo>
                  <a:lnTo>
                    <a:pt x="109288" y="471760"/>
                  </a:lnTo>
                  <a:lnTo>
                    <a:pt x="109288" y="468117"/>
                  </a:lnTo>
                  <a:lnTo>
                    <a:pt x="98359" y="468117"/>
                  </a:lnTo>
                  <a:lnTo>
                    <a:pt x="98359" y="459010"/>
                  </a:lnTo>
                  <a:lnTo>
                    <a:pt x="114752" y="451724"/>
                  </a:lnTo>
                  <a:lnTo>
                    <a:pt x="109289" y="442618"/>
                  </a:lnTo>
                  <a:lnTo>
                    <a:pt x="109288" y="442618"/>
                  </a:lnTo>
                  <a:lnTo>
                    <a:pt x="109288" y="442617"/>
                  </a:lnTo>
                  <a:lnTo>
                    <a:pt x="109288" y="442616"/>
                  </a:lnTo>
                  <a:lnTo>
                    <a:pt x="109288" y="440795"/>
                  </a:lnTo>
                  <a:lnTo>
                    <a:pt x="109288" y="440796"/>
                  </a:lnTo>
                  <a:lnTo>
                    <a:pt x="118396" y="420759"/>
                  </a:lnTo>
                  <a:lnTo>
                    <a:pt x="120217" y="420759"/>
                  </a:lnTo>
                  <a:lnTo>
                    <a:pt x="123860" y="440796"/>
                  </a:lnTo>
                  <a:lnTo>
                    <a:pt x="123860" y="442618"/>
                  </a:lnTo>
                  <a:lnTo>
                    <a:pt x="120217" y="442618"/>
                  </a:lnTo>
                  <a:lnTo>
                    <a:pt x="123860" y="446261"/>
                  </a:lnTo>
                  <a:lnTo>
                    <a:pt x="123860" y="448082"/>
                  </a:lnTo>
                  <a:lnTo>
                    <a:pt x="120217" y="448082"/>
                  </a:lnTo>
                  <a:lnTo>
                    <a:pt x="112931" y="442618"/>
                  </a:lnTo>
                  <a:lnTo>
                    <a:pt x="111515" y="442618"/>
                  </a:lnTo>
                  <a:lnTo>
                    <a:pt x="129324" y="457188"/>
                  </a:lnTo>
                  <a:lnTo>
                    <a:pt x="129324" y="453545"/>
                  </a:lnTo>
                  <a:lnTo>
                    <a:pt x="125681" y="453545"/>
                  </a:lnTo>
                  <a:lnTo>
                    <a:pt x="125681" y="451724"/>
                  </a:lnTo>
                  <a:lnTo>
                    <a:pt x="129324" y="448081"/>
                  </a:lnTo>
                  <a:lnTo>
                    <a:pt x="129324" y="446259"/>
                  </a:lnTo>
                  <a:lnTo>
                    <a:pt x="131146" y="448081"/>
                  </a:lnTo>
                  <a:lnTo>
                    <a:pt x="131146" y="446259"/>
                  </a:lnTo>
                  <a:lnTo>
                    <a:pt x="129324" y="429866"/>
                  </a:lnTo>
                  <a:lnTo>
                    <a:pt x="129324" y="426223"/>
                  </a:lnTo>
                  <a:lnTo>
                    <a:pt x="145717" y="415295"/>
                  </a:lnTo>
                  <a:lnTo>
                    <a:pt x="120217" y="413473"/>
                  </a:lnTo>
                  <a:lnTo>
                    <a:pt x="120217" y="397080"/>
                  </a:lnTo>
                  <a:lnTo>
                    <a:pt x="125681" y="397080"/>
                  </a:lnTo>
                  <a:lnTo>
                    <a:pt x="120217" y="391615"/>
                  </a:lnTo>
                  <a:lnTo>
                    <a:pt x="120217" y="389794"/>
                  </a:lnTo>
                  <a:lnTo>
                    <a:pt x="136610" y="386151"/>
                  </a:lnTo>
                  <a:close/>
                  <a:moveTo>
                    <a:pt x="36429" y="378865"/>
                  </a:moveTo>
                  <a:lnTo>
                    <a:pt x="45537" y="378865"/>
                  </a:lnTo>
                  <a:lnTo>
                    <a:pt x="41894" y="386151"/>
                  </a:lnTo>
                  <a:lnTo>
                    <a:pt x="40072" y="389794"/>
                  </a:lnTo>
                  <a:lnTo>
                    <a:pt x="40072" y="386151"/>
                  </a:lnTo>
                  <a:lnTo>
                    <a:pt x="36429" y="380687"/>
                  </a:lnTo>
                  <a:close/>
                  <a:moveTo>
                    <a:pt x="63752" y="358830"/>
                  </a:moveTo>
                  <a:lnTo>
                    <a:pt x="67395" y="358830"/>
                  </a:lnTo>
                  <a:lnTo>
                    <a:pt x="67395" y="362473"/>
                  </a:lnTo>
                  <a:lnTo>
                    <a:pt x="72859" y="373402"/>
                  </a:lnTo>
                  <a:lnTo>
                    <a:pt x="63752" y="386153"/>
                  </a:lnTo>
                  <a:lnTo>
                    <a:pt x="74681" y="395260"/>
                  </a:lnTo>
                  <a:lnTo>
                    <a:pt x="83788" y="386153"/>
                  </a:lnTo>
                  <a:lnTo>
                    <a:pt x="96538" y="386153"/>
                  </a:lnTo>
                  <a:lnTo>
                    <a:pt x="98360" y="395260"/>
                  </a:lnTo>
                  <a:lnTo>
                    <a:pt x="74681" y="408010"/>
                  </a:lnTo>
                  <a:lnTo>
                    <a:pt x="74681" y="418939"/>
                  </a:lnTo>
                  <a:lnTo>
                    <a:pt x="69216" y="418939"/>
                  </a:lnTo>
                  <a:lnTo>
                    <a:pt x="56466" y="408010"/>
                  </a:lnTo>
                  <a:lnTo>
                    <a:pt x="56466" y="404367"/>
                  </a:lnTo>
                  <a:lnTo>
                    <a:pt x="67395" y="404367"/>
                  </a:lnTo>
                  <a:lnTo>
                    <a:pt x="63752" y="398903"/>
                  </a:lnTo>
                  <a:lnTo>
                    <a:pt x="61930" y="398903"/>
                  </a:lnTo>
                  <a:lnTo>
                    <a:pt x="58287" y="402546"/>
                  </a:lnTo>
                  <a:lnTo>
                    <a:pt x="52823" y="402546"/>
                  </a:lnTo>
                  <a:lnTo>
                    <a:pt x="52823" y="398903"/>
                  </a:lnTo>
                  <a:lnTo>
                    <a:pt x="45537" y="391617"/>
                  </a:lnTo>
                  <a:lnTo>
                    <a:pt x="45537" y="378865"/>
                  </a:lnTo>
                  <a:lnTo>
                    <a:pt x="45537" y="367937"/>
                  </a:lnTo>
                  <a:lnTo>
                    <a:pt x="52823" y="367937"/>
                  </a:lnTo>
                  <a:lnTo>
                    <a:pt x="56466" y="364294"/>
                  </a:lnTo>
                  <a:lnTo>
                    <a:pt x="58287" y="364294"/>
                  </a:lnTo>
                  <a:lnTo>
                    <a:pt x="61930" y="369759"/>
                  </a:lnTo>
                  <a:lnTo>
                    <a:pt x="63752" y="362473"/>
                  </a:lnTo>
                  <a:close/>
                  <a:moveTo>
                    <a:pt x="30965" y="342436"/>
                  </a:moveTo>
                  <a:lnTo>
                    <a:pt x="34608" y="342436"/>
                  </a:lnTo>
                  <a:lnTo>
                    <a:pt x="41894" y="353365"/>
                  </a:lnTo>
                  <a:lnTo>
                    <a:pt x="41894" y="357008"/>
                  </a:lnTo>
                  <a:lnTo>
                    <a:pt x="40072" y="357008"/>
                  </a:lnTo>
                  <a:lnTo>
                    <a:pt x="34608" y="353365"/>
                  </a:lnTo>
                  <a:lnTo>
                    <a:pt x="30965" y="351543"/>
                  </a:lnTo>
                  <a:close/>
                  <a:moveTo>
                    <a:pt x="40072" y="335150"/>
                  </a:moveTo>
                  <a:lnTo>
                    <a:pt x="45537" y="340614"/>
                  </a:lnTo>
                  <a:lnTo>
                    <a:pt x="45537" y="351544"/>
                  </a:lnTo>
                  <a:lnTo>
                    <a:pt x="41894" y="351544"/>
                  </a:lnTo>
                  <a:lnTo>
                    <a:pt x="40072" y="336971"/>
                  </a:lnTo>
                  <a:close/>
                  <a:moveTo>
                    <a:pt x="16394" y="307829"/>
                  </a:moveTo>
                  <a:lnTo>
                    <a:pt x="18215" y="307829"/>
                  </a:lnTo>
                  <a:lnTo>
                    <a:pt x="29145" y="318758"/>
                  </a:lnTo>
                  <a:lnTo>
                    <a:pt x="29145" y="320579"/>
                  </a:lnTo>
                  <a:lnTo>
                    <a:pt x="25502" y="326044"/>
                  </a:lnTo>
                  <a:lnTo>
                    <a:pt x="25502" y="329687"/>
                  </a:lnTo>
                  <a:lnTo>
                    <a:pt x="23680" y="329687"/>
                  </a:lnTo>
                  <a:lnTo>
                    <a:pt x="23680" y="336972"/>
                  </a:lnTo>
                  <a:lnTo>
                    <a:pt x="18215" y="340615"/>
                  </a:lnTo>
                  <a:lnTo>
                    <a:pt x="16394" y="340615"/>
                  </a:lnTo>
                  <a:lnTo>
                    <a:pt x="16394" y="336972"/>
                  </a:lnTo>
                  <a:lnTo>
                    <a:pt x="20037" y="326043"/>
                  </a:lnTo>
                  <a:close/>
                  <a:moveTo>
                    <a:pt x="20037" y="300543"/>
                  </a:moveTo>
                  <a:lnTo>
                    <a:pt x="30966" y="307829"/>
                  </a:lnTo>
                  <a:lnTo>
                    <a:pt x="34609" y="313294"/>
                  </a:lnTo>
                  <a:lnTo>
                    <a:pt x="34609" y="316937"/>
                  </a:lnTo>
                  <a:lnTo>
                    <a:pt x="25501" y="311472"/>
                  </a:lnTo>
                  <a:close/>
                  <a:moveTo>
                    <a:pt x="12751" y="291435"/>
                  </a:moveTo>
                  <a:lnTo>
                    <a:pt x="18216" y="291435"/>
                  </a:lnTo>
                  <a:lnTo>
                    <a:pt x="18216" y="295078"/>
                  </a:lnTo>
                  <a:lnTo>
                    <a:pt x="16394" y="302364"/>
                  </a:lnTo>
                  <a:lnTo>
                    <a:pt x="12751" y="302364"/>
                  </a:lnTo>
                  <a:lnTo>
                    <a:pt x="1822" y="296899"/>
                  </a:lnTo>
                  <a:lnTo>
                    <a:pt x="1822" y="295078"/>
                  </a:lnTo>
                  <a:lnTo>
                    <a:pt x="10930" y="295078"/>
                  </a:lnTo>
                  <a:close/>
                  <a:moveTo>
                    <a:pt x="1821" y="269577"/>
                  </a:moveTo>
                  <a:lnTo>
                    <a:pt x="5464" y="269577"/>
                  </a:lnTo>
                  <a:lnTo>
                    <a:pt x="10929" y="278685"/>
                  </a:lnTo>
                  <a:lnTo>
                    <a:pt x="7286" y="278685"/>
                  </a:lnTo>
                  <a:lnTo>
                    <a:pt x="1821" y="275042"/>
                  </a:lnTo>
                  <a:lnTo>
                    <a:pt x="0" y="275042"/>
                  </a:lnTo>
                  <a:lnTo>
                    <a:pt x="0" y="273220"/>
                  </a:lnTo>
                  <a:close/>
                  <a:moveTo>
                    <a:pt x="16393" y="234970"/>
                  </a:moveTo>
                  <a:lnTo>
                    <a:pt x="18215" y="234970"/>
                  </a:lnTo>
                  <a:lnTo>
                    <a:pt x="25501" y="245899"/>
                  </a:lnTo>
                  <a:lnTo>
                    <a:pt x="23679" y="285971"/>
                  </a:lnTo>
                  <a:lnTo>
                    <a:pt x="16393" y="284149"/>
                  </a:lnTo>
                  <a:lnTo>
                    <a:pt x="16393" y="267756"/>
                  </a:lnTo>
                  <a:lnTo>
                    <a:pt x="7286" y="258649"/>
                  </a:lnTo>
                  <a:lnTo>
                    <a:pt x="7286" y="256827"/>
                  </a:lnTo>
                  <a:lnTo>
                    <a:pt x="10929" y="258649"/>
                  </a:lnTo>
                  <a:lnTo>
                    <a:pt x="7286" y="253184"/>
                  </a:lnTo>
                  <a:lnTo>
                    <a:pt x="7286" y="251363"/>
                  </a:lnTo>
                  <a:lnTo>
                    <a:pt x="12750" y="245899"/>
                  </a:lnTo>
                  <a:close/>
                  <a:moveTo>
                    <a:pt x="1822" y="227684"/>
                  </a:moveTo>
                  <a:lnTo>
                    <a:pt x="5465" y="227684"/>
                  </a:lnTo>
                  <a:lnTo>
                    <a:pt x="7287" y="234970"/>
                  </a:lnTo>
                  <a:lnTo>
                    <a:pt x="5465" y="240435"/>
                  </a:lnTo>
                  <a:lnTo>
                    <a:pt x="1822" y="240435"/>
                  </a:lnTo>
                  <a:close/>
                  <a:moveTo>
                    <a:pt x="5465" y="213112"/>
                  </a:moveTo>
                  <a:lnTo>
                    <a:pt x="7286" y="213112"/>
                  </a:lnTo>
                  <a:lnTo>
                    <a:pt x="12751" y="233148"/>
                  </a:lnTo>
                  <a:lnTo>
                    <a:pt x="12751" y="234970"/>
                  </a:lnTo>
                  <a:lnTo>
                    <a:pt x="10929" y="234970"/>
                  </a:lnTo>
                  <a:lnTo>
                    <a:pt x="1822" y="218576"/>
                  </a:lnTo>
                  <a:lnTo>
                    <a:pt x="1822" y="216755"/>
                  </a:lnTo>
                  <a:close/>
                  <a:moveTo>
                    <a:pt x="23680" y="196719"/>
                  </a:moveTo>
                  <a:lnTo>
                    <a:pt x="25501" y="196719"/>
                  </a:lnTo>
                  <a:lnTo>
                    <a:pt x="30966" y="205827"/>
                  </a:lnTo>
                  <a:lnTo>
                    <a:pt x="29144" y="205827"/>
                  </a:lnTo>
                  <a:lnTo>
                    <a:pt x="20037" y="200362"/>
                  </a:lnTo>
                  <a:close/>
                  <a:moveTo>
                    <a:pt x="40072" y="107467"/>
                  </a:moveTo>
                  <a:lnTo>
                    <a:pt x="41894" y="107467"/>
                  </a:lnTo>
                  <a:lnTo>
                    <a:pt x="41894" y="111110"/>
                  </a:lnTo>
                  <a:lnTo>
                    <a:pt x="45537" y="118396"/>
                  </a:lnTo>
                  <a:lnTo>
                    <a:pt x="45537" y="122039"/>
                  </a:lnTo>
                  <a:lnTo>
                    <a:pt x="41894" y="122039"/>
                  </a:lnTo>
                  <a:lnTo>
                    <a:pt x="41894" y="118396"/>
                  </a:lnTo>
                  <a:lnTo>
                    <a:pt x="30965" y="112931"/>
                  </a:lnTo>
                  <a:lnTo>
                    <a:pt x="30965" y="111110"/>
                  </a:lnTo>
                  <a:close/>
                  <a:moveTo>
                    <a:pt x="58287" y="85610"/>
                  </a:moveTo>
                  <a:lnTo>
                    <a:pt x="67395" y="94717"/>
                  </a:lnTo>
                  <a:lnTo>
                    <a:pt x="63752" y="102003"/>
                  </a:lnTo>
                  <a:lnTo>
                    <a:pt x="52823" y="107468"/>
                  </a:lnTo>
                  <a:lnTo>
                    <a:pt x="51001" y="107468"/>
                  </a:lnTo>
                  <a:lnTo>
                    <a:pt x="51001" y="105646"/>
                  </a:lnTo>
                  <a:lnTo>
                    <a:pt x="45537" y="94717"/>
                  </a:lnTo>
                  <a:lnTo>
                    <a:pt x="47358" y="94717"/>
                  </a:lnTo>
                  <a:close/>
                  <a:moveTo>
                    <a:pt x="40072" y="0"/>
                  </a:moveTo>
                  <a:lnTo>
                    <a:pt x="47358" y="5464"/>
                  </a:lnTo>
                  <a:lnTo>
                    <a:pt x="52823" y="23679"/>
                  </a:lnTo>
                  <a:lnTo>
                    <a:pt x="51001" y="23679"/>
                  </a:lnTo>
                  <a:lnTo>
                    <a:pt x="45537" y="32786"/>
                  </a:lnTo>
                  <a:lnTo>
                    <a:pt x="47358" y="38251"/>
                  </a:lnTo>
                  <a:lnTo>
                    <a:pt x="47358" y="51001"/>
                  </a:lnTo>
                  <a:lnTo>
                    <a:pt x="45537" y="51001"/>
                  </a:lnTo>
                  <a:lnTo>
                    <a:pt x="41894" y="56466"/>
                  </a:lnTo>
                  <a:lnTo>
                    <a:pt x="41894" y="60109"/>
                  </a:lnTo>
                  <a:lnTo>
                    <a:pt x="29143" y="56466"/>
                  </a:lnTo>
                  <a:lnTo>
                    <a:pt x="29143" y="54644"/>
                  </a:lnTo>
                  <a:lnTo>
                    <a:pt x="25500" y="49180"/>
                  </a:lnTo>
                  <a:lnTo>
                    <a:pt x="30964" y="10929"/>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 name="Brazil">
              <a:extLst>
                <a:ext uri="{FF2B5EF4-FFF2-40B4-BE49-F238E27FC236}">
                  <a16:creationId xmlns:a16="http://schemas.microsoft.com/office/drawing/2014/main" id="{3220EA4D-5EBC-2FF1-1FBD-84900974C50E}"/>
                </a:ext>
              </a:extLst>
            </p:cNvPr>
            <p:cNvSpPr>
              <a:spLocks/>
            </p:cNvSpPr>
            <p:nvPr/>
          </p:nvSpPr>
          <p:spPr bwMode="auto">
            <a:xfrm>
              <a:off x="4083837" y="4466333"/>
              <a:ext cx="921601" cy="966779"/>
            </a:xfrm>
            <a:custGeom>
              <a:avLst/>
              <a:gdLst/>
              <a:ahLst/>
              <a:cxnLst/>
              <a:rect l="l" t="t" r="r" b="b"/>
              <a:pathLst>
                <a:path w="928948" h="974486">
                  <a:moveTo>
                    <a:pt x="555547" y="162107"/>
                  </a:moveTo>
                  <a:lnTo>
                    <a:pt x="555547" y="167575"/>
                  </a:lnTo>
                  <a:lnTo>
                    <a:pt x="559190" y="167575"/>
                  </a:lnTo>
                  <a:lnTo>
                    <a:pt x="566841" y="165875"/>
                  </a:lnTo>
                  <a:lnTo>
                    <a:pt x="555548" y="162111"/>
                  </a:lnTo>
                  <a:close/>
                  <a:moveTo>
                    <a:pt x="564655" y="111109"/>
                  </a:moveTo>
                  <a:lnTo>
                    <a:pt x="566476" y="111109"/>
                  </a:lnTo>
                  <a:lnTo>
                    <a:pt x="575584" y="122038"/>
                  </a:lnTo>
                  <a:lnTo>
                    <a:pt x="575584" y="123860"/>
                  </a:lnTo>
                  <a:lnTo>
                    <a:pt x="561012" y="123860"/>
                  </a:lnTo>
                  <a:lnTo>
                    <a:pt x="559190" y="116573"/>
                  </a:lnTo>
                  <a:close/>
                  <a:moveTo>
                    <a:pt x="313292" y="0"/>
                  </a:moveTo>
                  <a:lnTo>
                    <a:pt x="331507" y="0"/>
                  </a:lnTo>
                  <a:lnTo>
                    <a:pt x="331507" y="16393"/>
                  </a:lnTo>
                  <a:lnTo>
                    <a:pt x="340614" y="16393"/>
                  </a:lnTo>
                  <a:lnTo>
                    <a:pt x="340614" y="18215"/>
                  </a:lnTo>
                  <a:lnTo>
                    <a:pt x="342436" y="32787"/>
                  </a:lnTo>
                  <a:lnTo>
                    <a:pt x="336971" y="38251"/>
                  </a:lnTo>
                  <a:lnTo>
                    <a:pt x="335150" y="63752"/>
                  </a:lnTo>
                  <a:lnTo>
                    <a:pt x="340614" y="69216"/>
                  </a:lnTo>
                  <a:lnTo>
                    <a:pt x="340614" y="80145"/>
                  </a:lnTo>
                  <a:lnTo>
                    <a:pt x="347900" y="85609"/>
                  </a:lnTo>
                  <a:lnTo>
                    <a:pt x="364293" y="91074"/>
                  </a:lnTo>
                  <a:lnTo>
                    <a:pt x="397080" y="74680"/>
                  </a:lnTo>
                  <a:lnTo>
                    <a:pt x="415295" y="78323"/>
                  </a:lnTo>
                  <a:lnTo>
                    <a:pt x="426223" y="78323"/>
                  </a:lnTo>
                  <a:lnTo>
                    <a:pt x="431688" y="67395"/>
                  </a:lnTo>
                  <a:lnTo>
                    <a:pt x="431688" y="63752"/>
                  </a:lnTo>
                  <a:lnTo>
                    <a:pt x="449902" y="61930"/>
                  </a:lnTo>
                  <a:lnTo>
                    <a:pt x="464474" y="67395"/>
                  </a:lnTo>
                  <a:lnTo>
                    <a:pt x="475403" y="74680"/>
                  </a:lnTo>
                  <a:lnTo>
                    <a:pt x="497261" y="72859"/>
                  </a:lnTo>
                  <a:lnTo>
                    <a:pt x="510011" y="61930"/>
                  </a:lnTo>
                  <a:lnTo>
                    <a:pt x="531868" y="27322"/>
                  </a:lnTo>
                  <a:lnTo>
                    <a:pt x="533690" y="23679"/>
                  </a:lnTo>
                  <a:lnTo>
                    <a:pt x="537333" y="23679"/>
                  </a:lnTo>
                  <a:lnTo>
                    <a:pt x="542797" y="29144"/>
                  </a:lnTo>
                  <a:lnTo>
                    <a:pt x="561012" y="80145"/>
                  </a:lnTo>
                  <a:lnTo>
                    <a:pt x="571941" y="83788"/>
                  </a:lnTo>
                  <a:lnTo>
                    <a:pt x="571941" y="85609"/>
                  </a:lnTo>
                  <a:lnTo>
                    <a:pt x="570119" y="100181"/>
                  </a:lnTo>
                  <a:lnTo>
                    <a:pt x="537333" y="134789"/>
                  </a:lnTo>
                  <a:lnTo>
                    <a:pt x="539154" y="151182"/>
                  </a:lnTo>
                  <a:lnTo>
                    <a:pt x="550083" y="142075"/>
                  </a:lnTo>
                  <a:lnTo>
                    <a:pt x="550083" y="140253"/>
                  </a:lnTo>
                  <a:lnTo>
                    <a:pt x="553726" y="140253"/>
                  </a:lnTo>
                  <a:lnTo>
                    <a:pt x="553726" y="142075"/>
                  </a:lnTo>
                  <a:lnTo>
                    <a:pt x="550083" y="147539"/>
                  </a:lnTo>
                  <a:lnTo>
                    <a:pt x="553726" y="153004"/>
                  </a:lnTo>
                  <a:lnTo>
                    <a:pt x="554940" y="153004"/>
                  </a:lnTo>
                  <a:lnTo>
                    <a:pt x="553726" y="134789"/>
                  </a:lnTo>
                  <a:lnTo>
                    <a:pt x="553726" y="132968"/>
                  </a:lnTo>
                  <a:lnTo>
                    <a:pt x="544619" y="142075"/>
                  </a:lnTo>
                  <a:lnTo>
                    <a:pt x="542797" y="142075"/>
                  </a:lnTo>
                  <a:lnTo>
                    <a:pt x="539154" y="134789"/>
                  </a:lnTo>
                  <a:lnTo>
                    <a:pt x="548262" y="127503"/>
                  </a:lnTo>
                  <a:lnTo>
                    <a:pt x="553727" y="123860"/>
                  </a:lnTo>
                  <a:lnTo>
                    <a:pt x="555548" y="123860"/>
                  </a:lnTo>
                  <a:lnTo>
                    <a:pt x="555548" y="127503"/>
                  </a:lnTo>
                  <a:lnTo>
                    <a:pt x="553727" y="129325"/>
                  </a:lnTo>
                  <a:lnTo>
                    <a:pt x="555548" y="129325"/>
                  </a:lnTo>
                  <a:lnTo>
                    <a:pt x="555548" y="130691"/>
                  </a:lnTo>
                  <a:lnTo>
                    <a:pt x="561012" y="129325"/>
                  </a:lnTo>
                  <a:lnTo>
                    <a:pt x="575584" y="128558"/>
                  </a:lnTo>
                  <a:lnTo>
                    <a:pt x="575584" y="127503"/>
                  </a:lnTo>
                  <a:lnTo>
                    <a:pt x="581049" y="122038"/>
                  </a:lnTo>
                  <a:lnTo>
                    <a:pt x="582870" y="123859"/>
                  </a:lnTo>
                  <a:lnTo>
                    <a:pt x="582870" y="127503"/>
                  </a:lnTo>
                  <a:lnTo>
                    <a:pt x="580477" y="128300"/>
                  </a:lnTo>
                  <a:lnTo>
                    <a:pt x="595620" y="127503"/>
                  </a:lnTo>
                  <a:lnTo>
                    <a:pt x="606549" y="129325"/>
                  </a:lnTo>
                  <a:lnTo>
                    <a:pt x="606549" y="131146"/>
                  </a:lnTo>
                  <a:lnTo>
                    <a:pt x="604728" y="142075"/>
                  </a:lnTo>
                  <a:lnTo>
                    <a:pt x="590156" y="162111"/>
                  </a:lnTo>
                  <a:lnTo>
                    <a:pt x="584084" y="163932"/>
                  </a:lnTo>
                  <a:lnTo>
                    <a:pt x="584691" y="163932"/>
                  </a:lnTo>
                  <a:lnTo>
                    <a:pt x="584691" y="178504"/>
                  </a:lnTo>
                  <a:lnTo>
                    <a:pt x="593798" y="163932"/>
                  </a:lnTo>
                  <a:lnTo>
                    <a:pt x="604727" y="158468"/>
                  </a:lnTo>
                  <a:lnTo>
                    <a:pt x="612013" y="140253"/>
                  </a:lnTo>
                  <a:lnTo>
                    <a:pt x="637513" y="140253"/>
                  </a:lnTo>
                  <a:lnTo>
                    <a:pt x="677586" y="153004"/>
                  </a:lnTo>
                  <a:lnTo>
                    <a:pt x="679407" y="162111"/>
                  </a:lnTo>
                  <a:lnTo>
                    <a:pt x="690336" y="158468"/>
                  </a:lnTo>
                  <a:lnTo>
                    <a:pt x="699443" y="167575"/>
                  </a:lnTo>
                  <a:lnTo>
                    <a:pt x="699443" y="169397"/>
                  </a:lnTo>
                  <a:lnTo>
                    <a:pt x="695800" y="174861"/>
                  </a:lnTo>
                  <a:lnTo>
                    <a:pt x="704908" y="174861"/>
                  </a:lnTo>
                  <a:lnTo>
                    <a:pt x="704908" y="178504"/>
                  </a:lnTo>
                  <a:lnTo>
                    <a:pt x="701265" y="185790"/>
                  </a:lnTo>
                  <a:lnTo>
                    <a:pt x="721301" y="178504"/>
                  </a:lnTo>
                  <a:lnTo>
                    <a:pt x="723122" y="178504"/>
                  </a:lnTo>
                  <a:lnTo>
                    <a:pt x="761373" y="191254"/>
                  </a:lnTo>
                  <a:lnTo>
                    <a:pt x="806910" y="191254"/>
                  </a:lnTo>
                  <a:lnTo>
                    <a:pt x="819660" y="196719"/>
                  </a:lnTo>
                  <a:lnTo>
                    <a:pt x="877947" y="242256"/>
                  </a:lnTo>
                  <a:lnTo>
                    <a:pt x="912555" y="245899"/>
                  </a:lnTo>
                  <a:lnTo>
                    <a:pt x="914376" y="245899"/>
                  </a:lnTo>
                  <a:lnTo>
                    <a:pt x="914376" y="247720"/>
                  </a:lnTo>
                  <a:lnTo>
                    <a:pt x="923484" y="258649"/>
                  </a:lnTo>
                  <a:lnTo>
                    <a:pt x="928948" y="291435"/>
                  </a:lnTo>
                  <a:lnTo>
                    <a:pt x="919841" y="336972"/>
                  </a:lnTo>
                  <a:lnTo>
                    <a:pt x="892519" y="371580"/>
                  </a:lnTo>
                  <a:lnTo>
                    <a:pt x="868840" y="393438"/>
                  </a:lnTo>
                  <a:lnTo>
                    <a:pt x="850625" y="429867"/>
                  </a:lnTo>
                  <a:lnTo>
                    <a:pt x="830589" y="440796"/>
                  </a:lnTo>
                  <a:lnTo>
                    <a:pt x="828767" y="469939"/>
                  </a:lnTo>
                  <a:lnTo>
                    <a:pt x="830589" y="502726"/>
                  </a:lnTo>
                  <a:lnTo>
                    <a:pt x="825125" y="548262"/>
                  </a:lnTo>
                  <a:lnTo>
                    <a:pt x="814196" y="561013"/>
                  </a:lnTo>
                  <a:lnTo>
                    <a:pt x="810553" y="593799"/>
                  </a:lnTo>
                  <a:lnTo>
                    <a:pt x="783231" y="637514"/>
                  </a:lnTo>
                  <a:lnTo>
                    <a:pt x="777766" y="655729"/>
                  </a:lnTo>
                  <a:lnTo>
                    <a:pt x="757730" y="672122"/>
                  </a:lnTo>
                  <a:lnTo>
                    <a:pt x="752266" y="679408"/>
                  </a:lnTo>
                  <a:lnTo>
                    <a:pt x="699443" y="683051"/>
                  </a:lnTo>
                  <a:lnTo>
                    <a:pt x="695800" y="688516"/>
                  </a:lnTo>
                  <a:lnTo>
                    <a:pt x="695800" y="690337"/>
                  </a:lnTo>
                  <a:lnTo>
                    <a:pt x="648442" y="710373"/>
                  </a:lnTo>
                  <a:lnTo>
                    <a:pt x="610191" y="748624"/>
                  </a:lnTo>
                  <a:lnTo>
                    <a:pt x="599263" y="763196"/>
                  </a:lnTo>
                  <a:lnTo>
                    <a:pt x="601084" y="785053"/>
                  </a:lnTo>
                  <a:lnTo>
                    <a:pt x="604727" y="790518"/>
                  </a:lnTo>
                  <a:lnTo>
                    <a:pt x="604727" y="794161"/>
                  </a:lnTo>
                  <a:lnTo>
                    <a:pt x="601084" y="795982"/>
                  </a:lnTo>
                  <a:lnTo>
                    <a:pt x="599263" y="823304"/>
                  </a:lnTo>
                  <a:lnTo>
                    <a:pt x="571941" y="852448"/>
                  </a:lnTo>
                  <a:lnTo>
                    <a:pt x="561012" y="883413"/>
                  </a:lnTo>
                  <a:lnTo>
                    <a:pt x="542797" y="908913"/>
                  </a:lnTo>
                  <a:lnTo>
                    <a:pt x="511832" y="930771"/>
                  </a:lnTo>
                  <a:lnTo>
                    <a:pt x="510011" y="947164"/>
                  </a:lnTo>
                  <a:lnTo>
                    <a:pt x="486332" y="974486"/>
                  </a:lnTo>
                  <a:lnTo>
                    <a:pt x="486332" y="972665"/>
                  </a:lnTo>
                  <a:lnTo>
                    <a:pt x="482689" y="956272"/>
                  </a:lnTo>
                  <a:lnTo>
                    <a:pt x="491796" y="945343"/>
                  </a:lnTo>
                  <a:lnTo>
                    <a:pt x="480867" y="934414"/>
                  </a:lnTo>
                  <a:lnTo>
                    <a:pt x="475403" y="923485"/>
                  </a:lnTo>
                  <a:lnTo>
                    <a:pt x="444438" y="905270"/>
                  </a:lnTo>
                  <a:lnTo>
                    <a:pt x="433509" y="890699"/>
                  </a:lnTo>
                  <a:lnTo>
                    <a:pt x="424402" y="896163"/>
                  </a:lnTo>
                  <a:lnTo>
                    <a:pt x="420759" y="896163"/>
                  </a:lnTo>
                  <a:lnTo>
                    <a:pt x="420759" y="885234"/>
                  </a:lnTo>
                  <a:lnTo>
                    <a:pt x="404366" y="872484"/>
                  </a:lnTo>
                  <a:lnTo>
                    <a:pt x="398901" y="872484"/>
                  </a:lnTo>
                  <a:lnTo>
                    <a:pt x="391615" y="874305"/>
                  </a:lnTo>
                  <a:lnTo>
                    <a:pt x="386151" y="874305"/>
                  </a:lnTo>
                  <a:lnTo>
                    <a:pt x="386151" y="872484"/>
                  </a:lnTo>
                  <a:lnTo>
                    <a:pt x="455367" y="799625"/>
                  </a:lnTo>
                  <a:lnTo>
                    <a:pt x="477224" y="788696"/>
                  </a:lnTo>
                  <a:lnTo>
                    <a:pt x="480867" y="768660"/>
                  </a:lnTo>
                  <a:lnTo>
                    <a:pt x="475403" y="752267"/>
                  </a:lnTo>
                  <a:lnTo>
                    <a:pt x="459010" y="750445"/>
                  </a:lnTo>
                  <a:lnTo>
                    <a:pt x="464474" y="721302"/>
                  </a:lnTo>
                  <a:lnTo>
                    <a:pt x="460831" y="706730"/>
                  </a:lnTo>
                  <a:lnTo>
                    <a:pt x="437152" y="704909"/>
                  </a:lnTo>
                  <a:lnTo>
                    <a:pt x="429866" y="666658"/>
                  </a:lnTo>
                  <a:lnTo>
                    <a:pt x="415295" y="661194"/>
                  </a:lnTo>
                  <a:lnTo>
                    <a:pt x="398901" y="664836"/>
                  </a:lnTo>
                  <a:lnTo>
                    <a:pt x="380687" y="659372"/>
                  </a:lnTo>
                  <a:lnTo>
                    <a:pt x="377044" y="659372"/>
                  </a:lnTo>
                  <a:lnTo>
                    <a:pt x="375222" y="610192"/>
                  </a:lnTo>
                  <a:lnTo>
                    <a:pt x="375222" y="606549"/>
                  </a:lnTo>
                  <a:lnTo>
                    <a:pt x="377044" y="606549"/>
                  </a:lnTo>
                  <a:lnTo>
                    <a:pt x="382508" y="559191"/>
                  </a:lnTo>
                  <a:lnTo>
                    <a:pt x="377044" y="542798"/>
                  </a:lnTo>
                  <a:lnTo>
                    <a:pt x="366115" y="537334"/>
                  </a:lnTo>
                  <a:lnTo>
                    <a:pt x="366115" y="515476"/>
                  </a:lnTo>
                  <a:lnTo>
                    <a:pt x="326043" y="515476"/>
                  </a:lnTo>
                  <a:lnTo>
                    <a:pt x="326043" y="513655"/>
                  </a:lnTo>
                  <a:lnTo>
                    <a:pt x="318757" y="488154"/>
                  </a:lnTo>
                  <a:lnTo>
                    <a:pt x="320578" y="475404"/>
                  </a:lnTo>
                  <a:lnTo>
                    <a:pt x="309649" y="449903"/>
                  </a:lnTo>
                  <a:lnTo>
                    <a:pt x="302364" y="444439"/>
                  </a:lnTo>
                  <a:lnTo>
                    <a:pt x="285970" y="444439"/>
                  </a:lnTo>
                  <a:lnTo>
                    <a:pt x="278685" y="437153"/>
                  </a:lnTo>
                  <a:lnTo>
                    <a:pt x="256827" y="431688"/>
                  </a:lnTo>
                  <a:lnTo>
                    <a:pt x="251363" y="424403"/>
                  </a:lnTo>
                  <a:lnTo>
                    <a:pt x="220398" y="418938"/>
                  </a:lnTo>
                  <a:lnTo>
                    <a:pt x="204004" y="408009"/>
                  </a:lnTo>
                  <a:lnTo>
                    <a:pt x="200361" y="393438"/>
                  </a:lnTo>
                  <a:lnTo>
                    <a:pt x="202183" y="364294"/>
                  </a:lnTo>
                  <a:lnTo>
                    <a:pt x="196719" y="353365"/>
                  </a:lnTo>
                  <a:lnTo>
                    <a:pt x="169397" y="357008"/>
                  </a:lnTo>
                  <a:lnTo>
                    <a:pt x="151182" y="377044"/>
                  </a:lnTo>
                  <a:lnTo>
                    <a:pt x="131146" y="387973"/>
                  </a:lnTo>
                  <a:lnTo>
                    <a:pt x="100181" y="382509"/>
                  </a:lnTo>
                  <a:lnTo>
                    <a:pt x="83788" y="387973"/>
                  </a:lnTo>
                  <a:lnTo>
                    <a:pt x="78323" y="382509"/>
                  </a:lnTo>
                  <a:lnTo>
                    <a:pt x="78323" y="346079"/>
                  </a:lnTo>
                  <a:lnTo>
                    <a:pt x="52823" y="362473"/>
                  </a:lnTo>
                  <a:lnTo>
                    <a:pt x="40072" y="358830"/>
                  </a:lnTo>
                  <a:lnTo>
                    <a:pt x="34608" y="347901"/>
                  </a:lnTo>
                  <a:lnTo>
                    <a:pt x="21858" y="347901"/>
                  </a:lnTo>
                  <a:lnTo>
                    <a:pt x="21858" y="336972"/>
                  </a:lnTo>
                  <a:lnTo>
                    <a:pt x="5465" y="320579"/>
                  </a:lnTo>
                  <a:lnTo>
                    <a:pt x="0" y="304186"/>
                  </a:lnTo>
                  <a:lnTo>
                    <a:pt x="0" y="302364"/>
                  </a:lnTo>
                  <a:lnTo>
                    <a:pt x="7286" y="284149"/>
                  </a:lnTo>
                  <a:lnTo>
                    <a:pt x="16393" y="278685"/>
                  </a:lnTo>
                  <a:lnTo>
                    <a:pt x="18215" y="264113"/>
                  </a:lnTo>
                  <a:lnTo>
                    <a:pt x="32787" y="242256"/>
                  </a:lnTo>
                  <a:lnTo>
                    <a:pt x="52823" y="231327"/>
                  </a:lnTo>
                  <a:lnTo>
                    <a:pt x="91073" y="220398"/>
                  </a:lnTo>
                  <a:lnTo>
                    <a:pt x="105645" y="153004"/>
                  </a:lnTo>
                  <a:lnTo>
                    <a:pt x="100181" y="136610"/>
                  </a:lnTo>
                  <a:lnTo>
                    <a:pt x="89252" y="129325"/>
                  </a:lnTo>
                  <a:lnTo>
                    <a:pt x="89252" y="111110"/>
                  </a:lnTo>
                  <a:lnTo>
                    <a:pt x="91073" y="111110"/>
                  </a:lnTo>
                  <a:lnTo>
                    <a:pt x="111110" y="107467"/>
                  </a:lnTo>
                  <a:lnTo>
                    <a:pt x="107467" y="100181"/>
                  </a:lnTo>
                  <a:lnTo>
                    <a:pt x="94716" y="100181"/>
                  </a:lnTo>
                  <a:lnTo>
                    <a:pt x="94716" y="80145"/>
                  </a:lnTo>
                  <a:lnTo>
                    <a:pt x="129324" y="80145"/>
                  </a:lnTo>
                  <a:lnTo>
                    <a:pt x="131146" y="74680"/>
                  </a:lnTo>
                  <a:lnTo>
                    <a:pt x="134789" y="74680"/>
                  </a:lnTo>
                  <a:lnTo>
                    <a:pt x="140253" y="80145"/>
                  </a:lnTo>
                  <a:lnTo>
                    <a:pt x="151182" y="74680"/>
                  </a:lnTo>
                  <a:lnTo>
                    <a:pt x="153003" y="74680"/>
                  </a:lnTo>
                  <a:lnTo>
                    <a:pt x="162111" y="94717"/>
                  </a:lnTo>
                  <a:lnTo>
                    <a:pt x="163932" y="91074"/>
                  </a:lnTo>
                  <a:lnTo>
                    <a:pt x="167575" y="91074"/>
                  </a:lnTo>
                  <a:lnTo>
                    <a:pt x="178504" y="105645"/>
                  </a:lnTo>
                  <a:lnTo>
                    <a:pt x="196719" y="105645"/>
                  </a:lnTo>
                  <a:lnTo>
                    <a:pt x="225862" y="85609"/>
                  </a:lnTo>
                  <a:lnTo>
                    <a:pt x="234969" y="78323"/>
                  </a:lnTo>
                  <a:lnTo>
                    <a:pt x="251363" y="72859"/>
                  </a:lnTo>
                  <a:lnTo>
                    <a:pt x="251363" y="69216"/>
                  </a:lnTo>
                  <a:lnTo>
                    <a:pt x="229505" y="67395"/>
                  </a:lnTo>
                  <a:lnTo>
                    <a:pt x="225862" y="51001"/>
                  </a:lnTo>
                  <a:lnTo>
                    <a:pt x="225862" y="38251"/>
                  </a:lnTo>
                  <a:lnTo>
                    <a:pt x="218576" y="32787"/>
                  </a:lnTo>
                  <a:lnTo>
                    <a:pt x="214933" y="32787"/>
                  </a:lnTo>
                  <a:lnTo>
                    <a:pt x="214933" y="21858"/>
                  </a:lnTo>
                  <a:lnTo>
                    <a:pt x="218576" y="21858"/>
                  </a:lnTo>
                  <a:lnTo>
                    <a:pt x="258648" y="32787"/>
                  </a:lnTo>
                  <a:lnTo>
                    <a:pt x="307828" y="1275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 name="Argentina">
              <a:extLst>
                <a:ext uri="{FF2B5EF4-FFF2-40B4-BE49-F238E27FC236}">
                  <a16:creationId xmlns:a16="http://schemas.microsoft.com/office/drawing/2014/main" id="{CE4ED5BD-C79F-0E71-ED73-AF7122A07996}"/>
                </a:ext>
              </a:extLst>
            </p:cNvPr>
            <p:cNvSpPr>
              <a:spLocks/>
            </p:cNvSpPr>
            <p:nvPr/>
          </p:nvSpPr>
          <p:spPr bwMode="auto">
            <a:xfrm>
              <a:off x="4094679" y="5111453"/>
              <a:ext cx="468029" cy="1042676"/>
            </a:xfrm>
            <a:custGeom>
              <a:avLst/>
              <a:gdLst/>
              <a:ahLst/>
              <a:cxnLst/>
              <a:rect l="l" t="t" r="r" b="b"/>
              <a:pathLst>
                <a:path w="471760" h="1050988">
                  <a:moveTo>
                    <a:pt x="213112" y="1029130"/>
                  </a:moveTo>
                  <a:lnTo>
                    <a:pt x="231327" y="1029130"/>
                  </a:lnTo>
                  <a:lnTo>
                    <a:pt x="213112" y="1036416"/>
                  </a:lnTo>
                  <a:lnTo>
                    <a:pt x="207647" y="1036416"/>
                  </a:lnTo>
                  <a:lnTo>
                    <a:pt x="207647" y="1034595"/>
                  </a:lnTo>
                  <a:close/>
                  <a:moveTo>
                    <a:pt x="112931" y="943520"/>
                  </a:moveTo>
                  <a:lnTo>
                    <a:pt x="116574" y="943520"/>
                  </a:lnTo>
                  <a:lnTo>
                    <a:pt x="125681" y="961735"/>
                  </a:lnTo>
                  <a:lnTo>
                    <a:pt x="125681" y="963556"/>
                  </a:lnTo>
                  <a:lnTo>
                    <a:pt x="118396" y="967199"/>
                  </a:lnTo>
                  <a:lnTo>
                    <a:pt x="131146" y="985414"/>
                  </a:lnTo>
                  <a:lnTo>
                    <a:pt x="174861" y="1021843"/>
                  </a:lnTo>
                  <a:lnTo>
                    <a:pt x="198540" y="1027308"/>
                  </a:lnTo>
                  <a:lnTo>
                    <a:pt x="198540" y="1029129"/>
                  </a:lnTo>
                  <a:lnTo>
                    <a:pt x="189433" y="1036415"/>
                  </a:lnTo>
                  <a:lnTo>
                    <a:pt x="185790" y="1036415"/>
                  </a:lnTo>
                  <a:lnTo>
                    <a:pt x="183968" y="1040058"/>
                  </a:lnTo>
                  <a:lnTo>
                    <a:pt x="174861" y="1040058"/>
                  </a:lnTo>
                  <a:lnTo>
                    <a:pt x="173040" y="1041879"/>
                  </a:lnTo>
                  <a:lnTo>
                    <a:pt x="169397" y="1041879"/>
                  </a:lnTo>
                  <a:lnTo>
                    <a:pt x="151342" y="1037365"/>
                  </a:lnTo>
                  <a:lnTo>
                    <a:pt x="153005" y="1047345"/>
                  </a:lnTo>
                  <a:lnTo>
                    <a:pt x="145719" y="1047345"/>
                  </a:lnTo>
                  <a:lnTo>
                    <a:pt x="142076" y="1050988"/>
                  </a:lnTo>
                  <a:lnTo>
                    <a:pt x="136611" y="1050988"/>
                  </a:lnTo>
                  <a:lnTo>
                    <a:pt x="125682" y="1047345"/>
                  </a:lnTo>
                  <a:lnTo>
                    <a:pt x="125682" y="1040059"/>
                  </a:lnTo>
                  <a:lnTo>
                    <a:pt x="136611" y="1040059"/>
                  </a:lnTo>
                  <a:lnTo>
                    <a:pt x="145719" y="1036416"/>
                  </a:lnTo>
                  <a:lnTo>
                    <a:pt x="147545" y="1036416"/>
                  </a:lnTo>
                  <a:lnTo>
                    <a:pt x="125681" y="1030950"/>
                  </a:lnTo>
                  <a:lnTo>
                    <a:pt x="116574" y="1036415"/>
                  </a:lnTo>
                  <a:lnTo>
                    <a:pt x="112931" y="1036415"/>
                  </a:lnTo>
                  <a:close/>
                  <a:moveTo>
                    <a:pt x="169397" y="0"/>
                  </a:moveTo>
                  <a:lnTo>
                    <a:pt x="173040" y="0"/>
                  </a:lnTo>
                  <a:lnTo>
                    <a:pt x="180325" y="9108"/>
                  </a:lnTo>
                  <a:lnTo>
                    <a:pt x="207647" y="10929"/>
                  </a:lnTo>
                  <a:lnTo>
                    <a:pt x="214933" y="21858"/>
                  </a:lnTo>
                  <a:lnTo>
                    <a:pt x="220398" y="5465"/>
                  </a:lnTo>
                  <a:lnTo>
                    <a:pt x="225862" y="5465"/>
                  </a:lnTo>
                  <a:lnTo>
                    <a:pt x="231326" y="9108"/>
                  </a:lnTo>
                  <a:lnTo>
                    <a:pt x="242255" y="9108"/>
                  </a:lnTo>
                  <a:lnTo>
                    <a:pt x="256827" y="14572"/>
                  </a:lnTo>
                  <a:lnTo>
                    <a:pt x="262291" y="14572"/>
                  </a:lnTo>
                  <a:lnTo>
                    <a:pt x="298721" y="56466"/>
                  </a:lnTo>
                  <a:lnTo>
                    <a:pt x="326043" y="61930"/>
                  </a:lnTo>
                  <a:lnTo>
                    <a:pt x="371579" y="92895"/>
                  </a:lnTo>
                  <a:lnTo>
                    <a:pt x="375222" y="100181"/>
                  </a:lnTo>
                  <a:lnTo>
                    <a:pt x="375222" y="102002"/>
                  </a:lnTo>
                  <a:lnTo>
                    <a:pt x="358829" y="129324"/>
                  </a:lnTo>
                  <a:lnTo>
                    <a:pt x="358829" y="138432"/>
                  </a:lnTo>
                  <a:lnTo>
                    <a:pt x="380687" y="140253"/>
                  </a:lnTo>
                  <a:lnTo>
                    <a:pt x="393437" y="149361"/>
                  </a:lnTo>
                  <a:lnTo>
                    <a:pt x="420759" y="145718"/>
                  </a:lnTo>
                  <a:lnTo>
                    <a:pt x="444438" y="122039"/>
                  </a:lnTo>
                  <a:lnTo>
                    <a:pt x="448081" y="100181"/>
                  </a:lnTo>
                  <a:lnTo>
                    <a:pt x="448081" y="98359"/>
                  </a:lnTo>
                  <a:lnTo>
                    <a:pt x="453545" y="98359"/>
                  </a:lnTo>
                  <a:lnTo>
                    <a:pt x="459010" y="100181"/>
                  </a:lnTo>
                  <a:lnTo>
                    <a:pt x="466296" y="100181"/>
                  </a:lnTo>
                  <a:lnTo>
                    <a:pt x="471760" y="118396"/>
                  </a:lnTo>
                  <a:lnTo>
                    <a:pt x="466296" y="138432"/>
                  </a:lnTo>
                  <a:lnTo>
                    <a:pt x="466296" y="140253"/>
                  </a:lnTo>
                  <a:lnTo>
                    <a:pt x="444438" y="151182"/>
                  </a:lnTo>
                  <a:lnTo>
                    <a:pt x="375222" y="224041"/>
                  </a:lnTo>
                  <a:lnTo>
                    <a:pt x="369758" y="233148"/>
                  </a:lnTo>
                  <a:lnTo>
                    <a:pt x="364294" y="296899"/>
                  </a:lnTo>
                  <a:lnTo>
                    <a:pt x="355186" y="329686"/>
                  </a:lnTo>
                  <a:lnTo>
                    <a:pt x="358829" y="346079"/>
                  </a:lnTo>
                  <a:lnTo>
                    <a:pt x="386151" y="364294"/>
                  </a:lnTo>
                  <a:lnTo>
                    <a:pt x="386151" y="367937"/>
                  </a:lnTo>
                  <a:lnTo>
                    <a:pt x="380687" y="384330"/>
                  </a:lnTo>
                  <a:lnTo>
                    <a:pt x="387973" y="395259"/>
                  </a:lnTo>
                  <a:lnTo>
                    <a:pt x="398901" y="395259"/>
                  </a:lnTo>
                  <a:lnTo>
                    <a:pt x="398901" y="397080"/>
                  </a:lnTo>
                  <a:lnTo>
                    <a:pt x="397080" y="418938"/>
                  </a:lnTo>
                  <a:lnTo>
                    <a:pt x="380687" y="440795"/>
                  </a:lnTo>
                  <a:lnTo>
                    <a:pt x="377044" y="451724"/>
                  </a:lnTo>
                  <a:lnTo>
                    <a:pt x="364294" y="462653"/>
                  </a:lnTo>
                  <a:lnTo>
                    <a:pt x="293256" y="475403"/>
                  </a:lnTo>
                  <a:lnTo>
                    <a:pt x="269577" y="475403"/>
                  </a:lnTo>
                  <a:lnTo>
                    <a:pt x="264113" y="473582"/>
                  </a:lnTo>
                  <a:lnTo>
                    <a:pt x="264113" y="484510"/>
                  </a:lnTo>
                  <a:lnTo>
                    <a:pt x="271399" y="488153"/>
                  </a:lnTo>
                  <a:lnTo>
                    <a:pt x="271399" y="491796"/>
                  </a:lnTo>
                  <a:lnTo>
                    <a:pt x="264113" y="510011"/>
                  </a:lnTo>
                  <a:lnTo>
                    <a:pt x="264113" y="530047"/>
                  </a:lnTo>
                  <a:lnTo>
                    <a:pt x="262291" y="537333"/>
                  </a:lnTo>
                  <a:lnTo>
                    <a:pt x="245898" y="546440"/>
                  </a:lnTo>
                  <a:lnTo>
                    <a:pt x="229505" y="546440"/>
                  </a:lnTo>
                  <a:lnTo>
                    <a:pt x="202183" y="530047"/>
                  </a:lnTo>
                  <a:lnTo>
                    <a:pt x="196719" y="535511"/>
                  </a:lnTo>
                  <a:lnTo>
                    <a:pt x="202183" y="571941"/>
                  </a:lnTo>
                  <a:lnTo>
                    <a:pt x="213112" y="582870"/>
                  </a:lnTo>
                  <a:lnTo>
                    <a:pt x="218576" y="581048"/>
                  </a:lnTo>
                  <a:lnTo>
                    <a:pt x="214933" y="577405"/>
                  </a:lnTo>
                  <a:lnTo>
                    <a:pt x="214933" y="575584"/>
                  </a:lnTo>
                  <a:lnTo>
                    <a:pt x="229505" y="570119"/>
                  </a:lnTo>
                  <a:lnTo>
                    <a:pt x="229505" y="571941"/>
                  </a:lnTo>
                  <a:lnTo>
                    <a:pt x="231326" y="577405"/>
                  </a:lnTo>
                  <a:lnTo>
                    <a:pt x="234969" y="588334"/>
                  </a:lnTo>
                  <a:lnTo>
                    <a:pt x="231326" y="597441"/>
                  </a:lnTo>
                  <a:lnTo>
                    <a:pt x="218576" y="597441"/>
                  </a:lnTo>
                  <a:lnTo>
                    <a:pt x="209469" y="588334"/>
                  </a:lnTo>
                  <a:lnTo>
                    <a:pt x="202183" y="593798"/>
                  </a:lnTo>
                  <a:lnTo>
                    <a:pt x="218576" y="602906"/>
                  </a:lnTo>
                  <a:lnTo>
                    <a:pt x="218576" y="604727"/>
                  </a:lnTo>
                  <a:lnTo>
                    <a:pt x="202183" y="613835"/>
                  </a:lnTo>
                  <a:lnTo>
                    <a:pt x="196719" y="621120"/>
                  </a:lnTo>
                  <a:lnTo>
                    <a:pt x="196719" y="648442"/>
                  </a:lnTo>
                  <a:lnTo>
                    <a:pt x="185790" y="659371"/>
                  </a:lnTo>
                  <a:lnTo>
                    <a:pt x="189433" y="670300"/>
                  </a:lnTo>
                  <a:lnTo>
                    <a:pt x="173040" y="670300"/>
                  </a:lnTo>
                  <a:lnTo>
                    <a:pt x="156646" y="677586"/>
                  </a:lnTo>
                  <a:lnTo>
                    <a:pt x="140253" y="703086"/>
                  </a:lnTo>
                  <a:lnTo>
                    <a:pt x="140253" y="710372"/>
                  </a:lnTo>
                  <a:lnTo>
                    <a:pt x="147539" y="721301"/>
                  </a:lnTo>
                  <a:lnTo>
                    <a:pt x="158468" y="734051"/>
                  </a:lnTo>
                  <a:lnTo>
                    <a:pt x="180325" y="739516"/>
                  </a:lnTo>
                  <a:lnTo>
                    <a:pt x="183968" y="739516"/>
                  </a:lnTo>
                  <a:lnTo>
                    <a:pt x="185790" y="755909"/>
                  </a:lnTo>
                  <a:lnTo>
                    <a:pt x="178504" y="777767"/>
                  </a:lnTo>
                  <a:lnTo>
                    <a:pt x="140253" y="810553"/>
                  </a:lnTo>
                  <a:lnTo>
                    <a:pt x="134789" y="843339"/>
                  </a:lnTo>
                  <a:lnTo>
                    <a:pt x="131146" y="843339"/>
                  </a:lnTo>
                  <a:lnTo>
                    <a:pt x="120217" y="848804"/>
                  </a:lnTo>
                  <a:lnTo>
                    <a:pt x="120217" y="850625"/>
                  </a:lnTo>
                  <a:lnTo>
                    <a:pt x="116574" y="845161"/>
                  </a:lnTo>
                  <a:lnTo>
                    <a:pt x="118395" y="850625"/>
                  </a:lnTo>
                  <a:lnTo>
                    <a:pt x="105645" y="861554"/>
                  </a:lnTo>
                  <a:lnTo>
                    <a:pt x="96538" y="883412"/>
                  </a:lnTo>
                  <a:lnTo>
                    <a:pt x="100181" y="883412"/>
                  </a:lnTo>
                  <a:lnTo>
                    <a:pt x="102002" y="879769"/>
                  </a:lnTo>
                  <a:lnTo>
                    <a:pt x="102002" y="883412"/>
                  </a:lnTo>
                  <a:lnTo>
                    <a:pt x="105645" y="901626"/>
                  </a:lnTo>
                  <a:lnTo>
                    <a:pt x="100181" y="905269"/>
                  </a:lnTo>
                  <a:lnTo>
                    <a:pt x="105645" y="905269"/>
                  </a:lnTo>
                  <a:lnTo>
                    <a:pt x="120217" y="932591"/>
                  </a:lnTo>
                  <a:lnTo>
                    <a:pt x="85609" y="923484"/>
                  </a:lnTo>
                  <a:lnTo>
                    <a:pt x="32787" y="921662"/>
                  </a:lnTo>
                  <a:lnTo>
                    <a:pt x="29144" y="921662"/>
                  </a:lnTo>
                  <a:lnTo>
                    <a:pt x="27322" y="910734"/>
                  </a:lnTo>
                  <a:lnTo>
                    <a:pt x="23679" y="872483"/>
                  </a:lnTo>
                  <a:lnTo>
                    <a:pt x="18215" y="872483"/>
                  </a:lnTo>
                  <a:lnTo>
                    <a:pt x="12750" y="876126"/>
                  </a:lnTo>
                  <a:lnTo>
                    <a:pt x="1822" y="876126"/>
                  </a:lnTo>
                  <a:lnTo>
                    <a:pt x="0" y="850625"/>
                  </a:lnTo>
                  <a:lnTo>
                    <a:pt x="1822" y="828768"/>
                  </a:lnTo>
                  <a:lnTo>
                    <a:pt x="18215" y="801446"/>
                  </a:lnTo>
                  <a:lnTo>
                    <a:pt x="23679" y="786874"/>
                  </a:lnTo>
                  <a:lnTo>
                    <a:pt x="23679" y="761373"/>
                  </a:lnTo>
                  <a:lnTo>
                    <a:pt x="40072" y="723123"/>
                  </a:lnTo>
                  <a:lnTo>
                    <a:pt x="40072" y="686693"/>
                  </a:lnTo>
                  <a:lnTo>
                    <a:pt x="45537" y="672121"/>
                  </a:lnTo>
                  <a:lnTo>
                    <a:pt x="34608" y="661193"/>
                  </a:lnTo>
                  <a:lnTo>
                    <a:pt x="34608" y="659371"/>
                  </a:lnTo>
                  <a:lnTo>
                    <a:pt x="47358" y="655728"/>
                  </a:lnTo>
                  <a:lnTo>
                    <a:pt x="45537" y="650264"/>
                  </a:lnTo>
                  <a:lnTo>
                    <a:pt x="34608" y="648442"/>
                  </a:lnTo>
                  <a:lnTo>
                    <a:pt x="34608" y="632049"/>
                  </a:lnTo>
                  <a:lnTo>
                    <a:pt x="29144" y="588334"/>
                  </a:lnTo>
                  <a:lnTo>
                    <a:pt x="40072" y="564655"/>
                  </a:lnTo>
                  <a:lnTo>
                    <a:pt x="34608" y="548262"/>
                  </a:lnTo>
                  <a:lnTo>
                    <a:pt x="38251" y="510011"/>
                  </a:lnTo>
                  <a:lnTo>
                    <a:pt x="47358" y="475403"/>
                  </a:lnTo>
                  <a:lnTo>
                    <a:pt x="52823" y="462653"/>
                  </a:lnTo>
                  <a:lnTo>
                    <a:pt x="51001" y="440795"/>
                  </a:lnTo>
                  <a:lnTo>
                    <a:pt x="52823" y="408009"/>
                  </a:lnTo>
                  <a:lnTo>
                    <a:pt x="67394" y="389794"/>
                  </a:lnTo>
                  <a:lnTo>
                    <a:pt x="67394" y="364294"/>
                  </a:lnTo>
                  <a:lnTo>
                    <a:pt x="83788" y="333329"/>
                  </a:lnTo>
                  <a:lnTo>
                    <a:pt x="80145" y="311471"/>
                  </a:lnTo>
                  <a:lnTo>
                    <a:pt x="67394" y="264113"/>
                  </a:lnTo>
                  <a:lnTo>
                    <a:pt x="67394" y="251363"/>
                  </a:lnTo>
                  <a:lnTo>
                    <a:pt x="80145" y="224041"/>
                  </a:lnTo>
                  <a:lnTo>
                    <a:pt x="80145" y="200362"/>
                  </a:lnTo>
                  <a:lnTo>
                    <a:pt x="91073" y="167575"/>
                  </a:lnTo>
                  <a:lnTo>
                    <a:pt x="102002" y="154825"/>
                  </a:lnTo>
                  <a:lnTo>
                    <a:pt x="105645" y="143896"/>
                  </a:lnTo>
                  <a:lnTo>
                    <a:pt x="118395" y="132967"/>
                  </a:lnTo>
                  <a:lnTo>
                    <a:pt x="112931" y="98359"/>
                  </a:lnTo>
                  <a:lnTo>
                    <a:pt x="116574" y="71037"/>
                  </a:lnTo>
                  <a:lnTo>
                    <a:pt x="145718" y="56466"/>
                  </a:lnTo>
                  <a:lnTo>
                    <a:pt x="147539" y="38251"/>
                  </a:lnTo>
                  <a:lnTo>
                    <a:pt x="145718" y="27322"/>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 name="The Bahamas">
              <a:extLst>
                <a:ext uri="{FF2B5EF4-FFF2-40B4-BE49-F238E27FC236}">
                  <a16:creationId xmlns:a16="http://schemas.microsoft.com/office/drawing/2014/main" id="{D5C7AE94-5C04-5F11-2E3E-420E0DE38643}"/>
                </a:ext>
              </a:extLst>
            </p:cNvPr>
            <p:cNvSpPr>
              <a:spLocks/>
            </p:cNvSpPr>
            <p:nvPr/>
          </p:nvSpPr>
          <p:spPr bwMode="auto">
            <a:xfrm>
              <a:off x="3962763" y="3933249"/>
              <a:ext cx="142759" cy="151794"/>
            </a:xfrm>
            <a:custGeom>
              <a:avLst/>
              <a:gdLst/>
              <a:ahLst/>
              <a:cxnLst/>
              <a:rect l="l" t="t" r="r" b="b"/>
              <a:pathLst>
                <a:path w="143897" h="153004">
                  <a:moveTo>
                    <a:pt x="140254" y="140253"/>
                  </a:moveTo>
                  <a:lnTo>
                    <a:pt x="143897" y="140253"/>
                  </a:lnTo>
                  <a:lnTo>
                    <a:pt x="143897" y="142075"/>
                  </a:lnTo>
                  <a:lnTo>
                    <a:pt x="140254" y="147539"/>
                  </a:lnTo>
                  <a:lnTo>
                    <a:pt x="140254" y="151183"/>
                  </a:lnTo>
                  <a:lnTo>
                    <a:pt x="127503" y="153004"/>
                  </a:lnTo>
                  <a:lnTo>
                    <a:pt x="123860" y="153004"/>
                  </a:lnTo>
                  <a:lnTo>
                    <a:pt x="123860" y="147539"/>
                  </a:lnTo>
                  <a:lnTo>
                    <a:pt x="127503" y="147539"/>
                  </a:lnTo>
                  <a:lnTo>
                    <a:pt x="127503" y="145718"/>
                  </a:lnTo>
                  <a:close/>
                  <a:moveTo>
                    <a:pt x="107467" y="105645"/>
                  </a:moveTo>
                  <a:lnTo>
                    <a:pt x="112932" y="105645"/>
                  </a:lnTo>
                  <a:lnTo>
                    <a:pt x="116575" y="107467"/>
                  </a:lnTo>
                  <a:lnTo>
                    <a:pt x="122039" y="107467"/>
                  </a:lnTo>
                  <a:lnTo>
                    <a:pt x="116575" y="118396"/>
                  </a:lnTo>
                  <a:lnTo>
                    <a:pt x="116575" y="122039"/>
                  </a:lnTo>
                  <a:lnTo>
                    <a:pt x="112932" y="118396"/>
                  </a:lnTo>
                  <a:lnTo>
                    <a:pt x="112932" y="112931"/>
                  </a:lnTo>
                  <a:lnTo>
                    <a:pt x="107467" y="107467"/>
                  </a:lnTo>
                  <a:close/>
                  <a:moveTo>
                    <a:pt x="29145" y="67395"/>
                  </a:moveTo>
                  <a:lnTo>
                    <a:pt x="32788" y="67395"/>
                  </a:lnTo>
                  <a:lnTo>
                    <a:pt x="32788" y="83789"/>
                  </a:lnTo>
                  <a:lnTo>
                    <a:pt x="29145" y="83789"/>
                  </a:lnTo>
                  <a:lnTo>
                    <a:pt x="23680" y="74681"/>
                  </a:lnTo>
                  <a:lnTo>
                    <a:pt x="29145" y="69217"/>
                  </a:lnTo>
                  <a:close/>
                  <a:moveTo>
                    <a:pt x="72859" y="56466"/>
                  </a:moveTo>
                  <a:lnTo>
                    <a:pt x="76502" y="56466"/>
                  </a:lnTo>
                  <a:lnTo>
                    <a:pt x="89253" y="69217"/>
                  </a:lnTo>
                  <a:lnTo>
                    <a:pt x="89253" y="72860"/>
                  </a:lnTo>
                  <a:lnTo>
                    <a:pt x="81967" y="72860"/>
                  </a:lnTo>
                  <a:close/>
                  <a:moveTo>
                    <a:pt x="65574" y="43715"/>
                  </a:moveTo>
                  <a:lnTo>
                    <a:pt x="67395" y="43715"/>
                  </a:lnTo>
                  <a:lnTo>
                    <a:pt x="67395" y="58287"/>
                  </a:lnTo>
                  <a:lnTo>
                    <a:pt x="65574" y="58287"/>
                  </a:lnTo>
                  <a:lnTo>
                    <a:pt x="60109" y="52823"/>
                  </a:lnTo>
                  <a:lnTo>
                    <a:pt x="60109" y="51001"/>
                  </a:lnTo>
                  <a:close/>
                  <a:moveTo>
                    <a:pt x="16394" y="43715"/>
                  </a:moveTo>
                  <a:lnTo>
                    <a:pt x="20037" y="43715"/>
                  </a:lnTo>
                  <a:lnTo>
                    <a:pt x="21858" y="45537"/>
                  </a:lnTo>
                  <a:lnTo>
                    <a:pt x="27323" y="56466"/>
                  </a:lnTo>
                  <a:lnTo>
                    <a:pt x="23680" y="63752"/>
                  </a:lnTo>
                  <a:lnTo>
                    <a:pt x="23680" y="67395"/>
                  </a:lnTo>
                  <a:lnTo>
                    <a:pt x="14572" y="56466"/>
                  </a:lnTo>
                  <a:lnTo>
                    <a:pt x="10929" y="56466"/>
                  </a:lnTo>
                  <a:close/>
                  <a:moveTo>
                    <a:pt x="40074" y="5465"/>
                  </a:moveTo>
                  <a:lnTo>
                    <a:pt x="43717" y="5465"/>
                  </a:lnTo>
                  <a:lnTo>
                    <a:pt x="43717" y="7287"/>
                  </a:lnTo>
                  <a:lnTo>
                    <a:pt x="45538" y="12751"/>
                  </a:lnTo>
                  <a:lnTo>
                    <a:pt x="43717" y="27323"/>
                  </a:lnTo>
                  <a:lnTo>
                    <a:pt x="40074" y="27323"/>
                  </a:lnTo>
                  <a:lnTo>
                    <a:pt x="38252" y="16394"/>
                  </a:lnTo>
                  <a:close/>
                  <a:moveTo>
                    <a:pt x="10929" y="0"/>
                  </a:moveTo>
                  <a:lnTo>
                    <a:pt x="21859" y="0"/>
                  </a:lnTo>
                  <a:lnTo>
                    <a:pt x="21859" y="1822"/>
                  </a:lnTo>
                  <a:lnTo>
                    <a:pt x="27323" y="5465"/>
                  </a:lnTo>
                  <a:lnTo>
                    <a:pt x="27323" y="10929"/>
                  </a:lnTo>
                  <a:lnTo>
                    <a:pt x="23680" y="10929"/>
                  </a:lnTo>
                  <a:lnTo>
                    <a:pt x="0" y="5465"/>
                  </a:lnTo>
                  <a:lnTo>
                    <a:pt x="0" y="1822"/>
                  </a:lnTo>
                  <a:lnTo>
                    <a:pt x="5465" y="1822"/>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 name="Canada - Offshore">
              <a:extLst>
                <a:ext uri="{FF2B5EF4-FFF2-40B4-BE49-F238E27FC236}">
                  <a16:creationId xmlns:a16="http://schemas.microsoft.com/office/drawing/2014/main" id="{981B72FF-4E8D-537C-9F47-5F1C471DB139}"/>
                </a:ext>
              </a:extLst>
            </p:cNvPr>
            <p:cNvSpPr>
              <a:spLocks/>
            </p:cNvSpPr>
            <p:nvPr/>
          </p:nvSpPr>
          <p:spPr bwMode="auto">
            <a:xfrm>
              <a:off x="2616501" y="788821"/>
              <a:ext cx="1967892" cy="2596891"/>
            </a:xfrm>
            <a:custGeom>
              <a:avLst/>
              <a:gdLst/>
              <a:ahLst/>
              <a:cxnLst/>
              <a:rect l="l" t="t" r="r" b="b"/>
              <a:pathLst>
                <a:path w="1983579" h="2617593">
                  <a:moveTo>
                    <a:pt x="1256814" y="2601199"/>
                  </a:moveTo>
                  <a:lnTo>
                    <a:pt x="1289600" y="2601199"/>
                  </a:lnTo>
                  <a:lnTo>
                    <a:pt x="1289600" y="2612128"/>
                  </a:lnTo>
                  <a:lnTo>
                    <a:pt x="1287779" y="2617593"/>
                  </a:lnTo>
                  <a:lnTo>
                    <a:pt x="1284136" y="2617593"/>
                  </a:lnTo>
                  <a:lnTo>
                    <a:pt x="1256814" y="2604842"/>
                  </a:lnTo>
                  <a:lnTo>
                    <a:pt x="1254992" y="2604842"/>
                  </a:lnTo>
                  <a:close/>
                  <a:moveTo>
                    <a:pt x="1794147" y="2564770"/>
                  </a:moveTo>
                  <a:lnTo>
                    <a:pt x="1797790" y="2564770"/>
                  </a:lnTo>
                  <a:lnTo>
                    <a:pt x="1803254" y="2570235"/>
                  </a:lnTo>
                  <a:lnTo>
                    <a:pt x="1803254" y="2572056"/>
                  </a:lnTo>
                  <a:lnTo>
                    <a:pt x="1794147" y="2597556"/>
                  </a:lnTo>
                  <a:lnTo>
                    <a:pt x="1803254" y="2597556"/>
                  </a:lnTo>
                  <a:lnTo>
                    <a:pt x="1808718" y="2588449"/>
                  </a:lnTo>
                  <a:lnTo>
                    <a:pt x="1810540" y="2588449"/>
                  </a:lnTo>
                  <a:lnTo>
                    <a:pt x="1816004" y="2599378"/>
                  </a:lnTo>
                  <a:lnTo>
                    <a:pt x="1816004" y="2601199"/>
                  </a:lnTo>
                  <a:lnTo>
                    <a:pt x="1797790" y="2612128"/>
                  </a:lnTo>
                  <a:lnTo>
                    <a:pt x="1792325" y="2612128"/>
                  </a:lnTo>
                  <a:lnTo>
                    <a:pt x="1783218" y="2615771"/>
                  </a:lnTo>
                  <a:lnTo>
                    <a:pt x="1777754" y="2615771"/>
                  </a:lnTo>
                  <a:lnTo>
                    <a:pt x="1777754" y="2612128"/>
                  </a:lnTo>
                  <a:lnTo>
                    <a:pt x="1772289" y="2606664"/>
                  </a:lnTo>
                  <a:lnTo>
                    <a:pt x="1775932" y="2593914"/>
                  </a:lnTo>
                  <a:close/>
                  <a:moveTo>
                    <a:pt x="1714002" y="2564770"/>
                  </a:moveTo>
                  <a:lnTo>
                    <a:pt x="1715823" y="2564770"/>
                  </a:lnTo>
                  <a:lnTo>
                    <a:pt x="1715823" y="2566592"/>
                  </a:lnTo>
                  <a:lnTo>
                    <a:pt x="1714002" y="2572056"/>
                  </a:lnTo>
                  <a:lnTo>
                    <a:pt x="1721287" y="2581163"/>
                  </a:lnTo>
                  <a:lnTo>
                    <a:pt x="1761360" y="2586628"/>
                  </a:lnTo>
                  <a:lnTo>
                    <a:pt x="1761360" y="2588449"/>
                  </a:lnTo>
                  <a:lnTo>
                    <a:pt x="1748610" y="2601199"/>
                  </a:lnTo>
                  <a:lnTo>
                    <a:pt x="1746788" y="2601199"/>
                  </a:lnTo>
                  <a:lnTo>
                    <a:pt x="1737681" y="2592092"/>
                  </a:lnTo>
                  <a:lnTo>
                    <a:pt x="1726752" y="2593913"/>
                  </a:lnTo>
                  <a:lnTo>
                    <a:pt x="1724930" y="2593913"/>
                  </a:lnTo>
                  <a:lnTo>
                    <a:pt x="1704894" y="2577520"/>
                  </a:lnTo>
                  <a:lnTo>
                    <a:pt x="1704894" y="2575699"/>
                  </a:lnTo>
                  <a:close/>
                  <a:moveTo>
                    <a:pt x="1714002" y="2459125"/>
                  </a:moveTo>
                  <a:lnTo>
                    <a:pt x="1748610" y="2471875"/>
                  </a:lnTo>
                  <a:lnTo>
                    <a:pt x="1765004" y="2480982"/>
                  </a:lnTo>
                  <a:lnTo>
                    <a:pt x="1770468" y="2488268"/>
                  </a:lnTo>
                  <a:lnTo>
                    <a:pt x="1770468" y="2491911"/>
                  </a:lnTo>
                  <a:lnTo>
                    <a:pt x="1754075" y="2491911"/>
                  </a:lnTo>
                  <a:lnTo>
                    <a:pt x="1726752" y="2482804"/>
                  </a:lnTo>
                  <a:lnTo>
                    <a:pt x="1721288" y="2475518"/>
                  </a:lnTo>
                  <a:lnTo>
                    <a:pt x="1703073" y="2466411"/>
                  </a:lnTo>
                  <a:lnTo>
                    <a:pt x="1703073" y="2464589"/>
                  </a:lnTo>
                  <a:close/>
                  <a:moveTo>
                    <a:pt x="187613" y="2424516"/>
                  </a:moveTo>
                  <a:lnTo>
                    <a:pt x="191256" y="2424516"/>
                  </a:lnTo>
                  <a:lnTo>
                    <a:pt x="247721" y="2444552"/>
                  </a:lnTo>
                  <a:lnTo>
                    <a:pt x="269579" y="2475517"/>
                  </a:lnTo>
                  <a:lnTo>
                    <a:pt x="291437" y="2491911"/>
                  </a:lnTo>
                  <a:lnTo>
                    <a:pt x="304187" y="2513768"/>
                  </a:lnTo>
                  <a:lnTo>
                    <a:pt x="304187" y="2515590"/>
                  </a:lnTo>
                  <a:lnTo>
                    <a:pt x="302366" y="2515590"/>
                  </a:lnTo>
                  <a:lnTo>
                    <a:pt x="293258" y="2521054"/>
                  </a:lnTo>
                  <a:lnTo>
                    <a:pt x="265936" y="2510125"/>
                  </a:lnTo>
                  <a:lnTo>
                    <a:pt x="265936" y="2508304"/>
                  </a:lnTo>
                  <a:lnTo>
                    <a:pt x="258650" y="2502839"/>
                  </a:lnTo>
                  <a:lnTo>
                    <a:pt x="260472" y="2497375"/>
                  </a:lnTo>
                  <a:lnTo>
                    <a:pt x="255007" y="2497375"/>
                  </a:lnTo>
                  <a:lnTo>
                    <a:pt x="253186" y="2499196"/>
                  </a:lnTo>
                  <a:lnTo>
                    <a:pt x="247721" y="2499196"/>
                  </a:lnTo>
                  <a:lnTo>
                    <a:pt x="242257" y="2493732"/>
                  </a:lnTo>
                  <a:lnTo>
                    <a:pt x="242257" y="2491911"/>
                  </a:lnTo>
                  <a:lnTo>
                    <a:pt x="247721" y="2491911"/>
                  </a:lnTo>
                  <a:lnTo>
                    <a:pt x="242257" y="2486446"/>
                  </a:lnTo>
                  <a:lnTo>
                    <a:pt x="229507" y="2480982"/>
                  </a:lnTo>
                  <a:lnTo>
                    <a:pt x="225864" y="2480982"/>
                  </a:lnTo>
                  <a:lnTo>
                    <a:pt x="225864" y="2471874"/>
                  </a:lnTo>
                  <a:lnTo>
                    <a:pt x="231328" y="2471874"/>
                  </a:lnTo>
                  <a:lnTo>
                    <a:pt x="213114" y="2466410"/>
                  </a:lnTo>
                  <a:lnTo>
                    <a:pt x="213114" y="2464589"/>
                  </a:lnTo>
                  <a:lnTo>
                    <a:pt x="207649" y="2455481"/>
                  </a:lnTo>
                  <a:lnTo>
                    <a:pt x="207649" y="2459124"/>
                  </a:lnTo>
                  <a:lnTo>
                    <a:pt x="202185" y="2459124"/>
                  </a:lnTo>
                  <a:lnTo>
                    <a:pt x="198542" y="2455481"/>
                  </a:lnTo>
                  <a:lnTo>
                    <a:pt x="193077" y="2455481"/>
                  </a:lnTo>
                  <a:lnTo>
                    <a:pt x="191256" y="2442731"/>
                  </a:lnTo>
                  <a:lnTo>
                    <a:pt x="202185" y="2442731"/>
                  </a:lnTo>
                  <a:lnTo>
                    <a:pt x="202185" y="2437266"/>
                  </a:lnTo>
                  <a:lnTo>
                    <a:pt x="182149" y="2435445"/>
                  </a:lnTo>
                  <a:lnTo>
                    <a:pt x="180327" y="2435445"/>
                  </a:lnTo>
                  <a:lnTo>
                    <a:pt x="180327" y="2431802"/>
                  </a:lnTo>
                  <a:lnTo>
                    <a:pt x="182149" y="2431802"/>
                  </a:lnTo>
                  <a:lnTo>
                    <a:pt x="187613" y="2426338"/>
                  </a:lnTo>
                  <a:close/>
                  <a:moveTo>
                    <a:pt x="1908899" y="2399016"/>
                  </a:moveTo>
                  <a:lnTo>
                    <a:pt x="1916185" y="2399016"/>
                  </a:lnTo>
                  <a:lnTo>
                    <a:pt x="1916185" y="2402659"/>
                  </a:lnTo>
                  <a:lnTo>
                    <a:pt x="1908899" y="2408123"/>
                  </a:lnTo>
                  <a:lnTo>
                    <a:pt x="1910720" y="2415409"/>
                  </a:lnTo>
                  <a:lnTo>
                    <a:pt x="1908899" y="2424517"/>
                  </a:lnTo>
                  <a:lnTo>
                    <a:pt x="1908899" y="2426338"/>
                  </a:lnTo>
                  <a:lnTo>
                    <a:pt x="1899791" y="2426338"/>
                  </a:lnTo>
                  <a:lnTo>
                    <a:pt x="1899791" y="2437267"/>
                  </a:lnTo>
                  <a:lnTo>
                    <a:pt x="1887041" y="2455482"/>
                  </a:lnTo>
                  <a:lnTo>
                    <a:pt x="1888863" y="2470053"/>
                  </a:lnTo>
                  <a:lnTo>
                    <a:pt x="1903434" y="2453660"/>
                  </a:lnTo>
                  <a:lnTo>
                    <a:pt x="1903434" y="2459125"/>
                  </a:lnTo>
                  <a:lnTo>
                    <a:pt x="1916185" y="2460946"/>
                  </a:lnTo>
                  <a:lnTo>
                    <a:pt x="1918006" y="2460946"/>
                  </a:lnTo>
                  <a:lnTo>
                    <a:pt x="1918006" y="2464589"/>
                  </a:lnTo>
                  <a:lnTo>
                    <a:pt x="1916185" y="2464589"/>
                  </a:lnTo>
                  <a:lnTo>
                    <a:pt x="1905256" y="2470053"/>
                  </a:lnTo>
                  <a:lnTo>
                    <a:pt x="1908899" y="2477339"/>
                  </a:lnTo>
                  <a:lnTo>
                    <a:pt x="1910720" y="2477339"/>
                  </a:lnTo>
                  <a:lnTo>
                    <a:pt x="1912542" y="2475518"/>
                  </a:lnTo>
                  <a:lnTo>
                    <a:pt x="1918006" y="2475518"/>
                  </a:lnTo>
                  <a:lnTo>
                    <a:pt x="1921649" y="2471875"/>
                  </a:lnTo>
                  <a:lnTo>
                    <a:pt x="1923471" y="2471875"/>
                  </a:lnTo>
                  <a:lnTo>
                    <a:pt x="1923471" y="2475518"/>
                  </a:lnTo>
                  <a:lnTo>
                    <a:pt x="1921649" y="2482804"/>
                  </a:lnTo>
                  <a:lnTo>
                    <a:pt x="1939864" y="2477339"/>
                  </a:lnTo>
                  <a:lnTo>
                    <a:pt x="1961721" y="2480982"/>
                  </a:lnTo>
                  <a:lnTo>
                    <a:pt x="1965364" y="2480982"/>
                  </a:lnTo>
                  <a:lnTo>
                    <a:pt x="1965364" y="2482804"/>
                  </a:lnTo>
                  <a:lnTo>
                    <a:pt x="1954436" y="2513769"/>
                  </a:lnTo>
                  <a:lnTo>
                    <a:pt x="1972650" y="2508304"/>
                  </a:lnTo>
                  <a:lnTo>
                    <a:pt x="1976293" y="2508304"/>
                  </a:lnTo>
                  <a:lnTo>
                    <a:pt x="1972650" y="2515590"/>
                  </a:lnTo>
                  <a:lnTo>
                    <a:pt x="1956257" y="2526519"/>
                  </a:lnTo>
                  <a:lnTo>
                    <a:pt x="1961721" y="2528340"/>
                  </a:lnTo>
                  <a:lnTo>
                    <a:pt x="1959900" y="2539269"/>
                  </a:lnTo>
                  <a:lnTo>
                    <a:pt x="1961721" y="2542912"/>
                  </a:lnTo>
                  <a:lnTo>
                    <a:pt x="1978115" y="2522876"/>
                  </a:lnTo>
                  <a:lnTo>
                    <a:pt x="1981758" y="2522876"/>
                  </a:lnTo>
                  <a:lnTo>
                    <a:pt x="1981758" y="2526519"/>
                  </a:lnTo>
                  <a:lnTo>
                    <a:pt x="1976293" y="2544734"/>
                  </a:lnTo>
                  <a:lnTo>
                    <a:pt x="1978115" y="2539269"/>
                  </a:lnTo>
                  <a:lnTo>
                    <a:pt x="1981758" y="2539269"/>
                  </a:lnTo>
                  <a:lnTo>
                    <a:pt x="1983579" y="2550198"/>
                  </a:lnTo>
                  <a:lnTo>
                    <a:pt x="1976293" y="2577520"/>
                  </a:lnTo>
                  <a:lnTo>
                    <a:pt x="1972650" y="2577520"/>
                  </a:lnTo>
                  <a:lnTo>
                    <a:pt x="1965364" y="2581163"/>
                  </a:lnTo>
                  <a:lnTo>
                    <a:pt x="1959900" y="2564770"/>
                  </a:lnTo>
                  <a:lnTo>
                    <a:pt x="1950793" y="2572056"/>
                  </a:lnTo>
                  <a:lnTo>
                    <a:pt x="1948971" y="2572056"/>
                  </a:lnTo>
                  <a:lnTo>
                    <a:pt x="1948971" y="2570234"/>
                  </a:lnTo>
                  <a:lnTo>
                    <a:pt x="1954436" y="2553841"/>
                  </a:lnTo>
                  <a:lnTo>
                    <a:pt x="1948971" y="2533805"/>
                  </a:lnTo>
                  <a:lnTo>
                    <a:pt x="1943507" y="2550198"/>
                  </a:lnTo>
                  <a:lnTo>
                    <a:pt x="1912542" y="2572056"/>
                  </a:lnTo>
                  <a:lnTo>
                    <a:pt x="1910720" y="2572056"/>
                  </a:lnTo>
                  <a:lnTo>
                    <a:pt x="1905256" y="2566591"/>
                  </a:lnTo>
                  <a:lnTo>
                    <a:pt x="1905256" y="2564770"/>
                  </a:lnTo>
                  <a:lnTo>
                    <a:pt x="1928935" y="2544734"/>
                  </a:lnTo>
                  <a:lnTo>
                    <a:pt x="1921649" y="2542912"/>
                  </a:lnTo>
                  <a:lnTo>
                    <a:pt x="1918006" y="2550198"/>
                  </a:lnTo>
                  <a:lnTo>
                    <a:pt x="1899791" y="2550198"/>
                  </a:lnTo>
                  <a:lnTo>
                    <a:pt x="1899791" y="2548377"/>
                  </a:lnTo>
                  <a:lnTo>
                    <a:pt x="1908899" y="2542912"/>
                  </a:lnTo>
                  <a:lnTo>
                    <a:pt x="1908899" y="2539269"/>
                  </a:lnTo>
                  <a:lnTo>
                    <a:pt x="1887041" y="2548377"/>
                  </a:lnTo>
                  <a:lnTo>
                    <a:pt x="1832397" y="2548377"/>
                  </a:lnTo>
                  <a:lnTo>
                    <a:pt x="1825111" y="2542912"/>
                  </a:lnTo>
                  <a:lnTo>
                    <a:pt x="1825111" y="2533805"/>
                  </a:lnTo>
                  <a:lnTo>
                    <a:pt x="1843326" y="2519233"/>
                  </a:lnTo>
                  <a:lnTo>
                    <a:pt x="1830576" y="2515590"/>
                  </a:lnTo>
                  <a:lnTo>
                    <a:pt x="1826933" y="2513769"/>
                  </a:lnTo>
                  <a:lnTo>
                    <a:pt x="1839683" y="2508304"/>
                  </a:lnTo>
                  <a:lnTo>
                    <a:pt x="1845147" y="2491911"/>
                  </a:lnTo>
                  <a:lnTo>
                    <a:pt x="1854255" y="2491911"/>
                  </a:lnTo>
                  <a:lnTo>
                    <a:pt x="1850612" y="2480982"/>
                  </a:lnTo>
                  <a:lnTo>
                    <a:pt x="1859719" y="2475518"/>
                  </a:lnTo>
                  <a:lnTo>
                    <a:pt x="1865183" y="2453660"/>
                  </a:lnTo>
                  <a:lnTo>
                    <a:pt x="1870648" y="2450017"/>
                  </a:lnTo>
                  <a:lnTo>
                    <a:pt x="1867005" y="2450017"/>
                  </a:lnTo>
                  <a:lnTo>
                    <a:pt x="1867005" y="2448196"/>
                  </a:lnTo>
                  <a:lnTo>
                    <a:pt x="1872469" y="2437267"/>
                  </a:lnTo>
                  <a:lnTo>
                    <a:pt x="1870648" y="2431803"/>
                  </a:lnTo>
                  <a:lnTo>
                    <a:pt x="1888863" y="2408123"/>
                  </a:lnTo>
                  <a:lnTo>
                    <a:pt x="1899791" y="2402659"/>
                  </a:lnTo>
                  <a:lnTo>
                    <a:pt x="1905256" y="2402659"/>
                  </a:lnTo>
                  <a:close/>
                  <a:moveTo>
                    <a:pt x="1284136" y="2340729"/>
                  </a:moveTo>
                  <a:lnTo>
                    <a:pt x="1307815" y="2340729"/>
                  </a:lnTo>
                  <a:lnTo>
                    <a:pt x="1316922" y="2357123"/>
                  </a:lnTo>
                  <a:lnTo>
                    <a:pt x="1316922" y="2358944"/>
                  </a:lnTo>
                  <a:lnTo>
                    <a:pt x="1313279" y="2358944"/>
                  </a:lnTo>
                  <a:lnTo>
                    <a:pt x="1282314" y="2346194"/>
                  </a:lnTo>
                  <a:close/>
                  <a:moveTo>
                    <a:pt x="1621107" y="2012865"/>
                  </a:moveTo>
                  <a:lnTo>
                    <a:pt x="1624750" y="2012865"/>
                  </a:lnTo>
                  <a:lnTo>
                    <a:pt x="1624750" y="2021973"/>
                  </a:lnTo>
                  <a:lnTo>
                    <a:pt x="1613821" y="2029259"/>
                  </a:lnTo>
                  <a:lnTo>
                    <a:pt x="1610178" y="2029259"/>
                  </a:lnTo>
                  <a:lnTo>
                    <a:pt x="1610178" y="2018330"/>
                  </a:lnTo>
                  <a:close/>
                  <a:moveTo>
                    <a:pt x="466296" y="1983721"/>
                  </a:moveTo>
                  <a:lnTo>
                    <a:pt x="473582" y="1994650"/>
                  </a:lnTo>
                  <a:lnTo>
                    <a:pt x="471760" y="1994650"/>
                  </a:lnTo>
                  <a:lnTo>
                    <a:pt x="460831" y="1991007"/>
                  </a:lnTo>
                  <a:lnTo>
                    <a:pt x="460831" y="1989186"/>
                  </a:lnTo>
                  <a:close/>
                  <a:moveTo>
                    <a:pt x="1688501" y="1960043"/>
                  </a:moveTo>
                  <a:lnTo>
                    <a:pt x="1697608" y="1965508"/>
                  </a:lnTo>
                  <a:lnTo>
                    <a:pt x="1697608" y="1976437"/>
                  </a:lnTo>
                  <a:lnTo>
                    <a:pt x="1693965" y="1976437"/>
                  </a:lnTo>
                  <a:lnTo>
                    <a:pt x="1679393" y="1967329"/>
                  </a:lnTo>
                  <a:lnTo>
                    <a:pt x="1675750" y="1967329"/>
                  </a:lnTo>
                  <a:lnTo>
                    <a:pt x="1675750" y="1965508"/>
                  </a:lnTo>
                  <a:lnTo>
                    <a:pt x="1679393" y="1965508"/>
                  </a:lnTo>
                  <a:close/>
                  <a:moveTo>
                    <a:pt x="568299" y="1945470"/>
                  </a:moveTo>
                  <a:lnTo>
                    <a:pt x="566478" y="1956399"/>
                  </a:lnTo>
                  <a:lnTo>
                    <a:pt x="557370" y="1960042"/>
                  </a:lnTo>
                  <a:lnTo>
                    <a:pt x="546441" y="1954578"/>
                  </a:lnTo>
                  <a:lnTo>
                    <a:pt x="544619" y="1954578"/>
                  </a:lnTo>
                  <a:lnTo>
                    <a:pt x="544619" y="1950935"/>
                  </a:lnTo>
                  <a:lnTo>
                    <a:pt x="546441" y="1950935"/>
                  </a:lnTo>
                  <a:close/>
                  <a:moveTo>
                    <a:pt x="1329673" y="1923613"/>
                  </a:moveTo>
                  <a:lnTo>
                    <a:pt x="1349709" y="1929078"/>
                  </a:lnTo>
                  <a:lnTo>
                    <a:pt x="1335137" y="1967328"/>
                  </a:lnTo>
                  <a:lnTo>
                    <a:pt x="1324208" y="1956399"/>
                  </a:lnTo>
                  <a:lnTo>
                    <a:pt x="1324208" y="1932720"/>
                  </a:lnTo>
                  <a:close/>
                  <a:moveTo>
                    <a:pt x="590156" y="1910863"/>
                  </a:moveTo>
                  <a:lnTo>
                    <a:pt x="595620" y="1910863"/>
                  </a:lnTo>
                  <a:lnTo>
                    <a:pt x="599263" y="1912685"/>
                  </a:lnTo>
                  <a:lnTo>
                    <a:pt x="604728" y="1912685"/>
                  </a:lnTo>
                  <a:lnTo>
                    <a:pt x="604728" y="1916328"/>
                  </a:lnTo>
                  <a:lnTo>
                    <a:pt x="579227" y="1923614"/>
                  </a:lnTo>
                  <a:lnTo>
                    <a:pt x="577405" y="1921793"/>
                  </a:lnTo>
                  <a:lnTo>
                    <a:pt x="579227" y="1921793"/>
                  </a:lnTo>
                  <a:close/>
                  <a:moveTo>
                    <a:pt x="1271385" y="1898113"/>
                  </a:moveTo>
                  <a:lnTo>
                    <a:pt x="1287778" y="1898113"/>
                  </a:lnTo>
                  <a:lnTo>
                    <a:pt x="1287778" y="1899935"/>
                  </a:lnTo>
                  <a:lnTo>
                    <a:pt x="1282314" y="1910863"/>
                  </a:lnTo>
                  <a:lnTo>
                    <a:pt x="1256813" y="1934543"/>
                  </a:lnTo>
                  <a:lnTo>
                    <a:pt x="1240420" y="1940007"/>
                  </a:lnTo>
                  <a:lnTo>
                    <a:pt x="1240420" y="1938186"/>
                  </a:lnTo>
                  <a:lnTo>
                    <a:pt x="1254992" y="1907221"/>
                  </a:lnTo>
                  <a:close/>
                  <a:moveTo>
                    <a:pt x="1367923" y="1870790"/>
                  </a:moveTo>
                  <a:lnTo>
                    <a:pt x="1386139" y="1870790"/>
                  </a:lnTo>
                  <a:lnTo>
                    <a:pt x="1391603" y="1881719"/>
                  </a:lnTo>
                  <a:lnTo>
                    <a:pt x="1391603" y="1883541"/>
                  </a:lnTo>
                  <a:lnTo>
                    <a:pt x="1384317" y="1889005"/>
                  </a:lnTo>
                  <a:lnTo>
                    <a:pt x="1380674" y="1889005"/>
                  </a:lnTo>
                  <a:lnTo>
                    <a:pt x="1367923" y="1872612"/>
                  </a:lnTo>
                  <a:close/>
                  <a:moveTo>
                    <a:pt x="1205812" y="1736002"/>
                  </a:moveTo>
                  <a:lnTo>
                    <a:pt x="1209455" y="1736002"/>
                  </a:lnTo>
                  <a:lnTo>
                    <a:pt x="1209455" y="1737824"/>
                  </a:lnTo>
                  <a:lnTo>
                    <a:pt x="1214919" y="1748752"/>
                  </a:lnTo>
                  <a:lnTo>
                    <a:pt x="1214919" y="1765146"/>
                  </a:lnTo>
                  <a:lnTo>
                    <a:pt x="1225848" y="1756038"/>
                  </a:lnTo>
                  <a:lnTo>
                    <a:pt x="1227670" y="1756038"/>
                  </a:lnTo>
                  <a:lnTo>
                    <a:pt x="1234956" y="1765146"/>
                  </a:lnTo>
                  <a:lnTo>
                    <a:pt x="1234956" y="1772432"/>
                  </a:lnTo>
                  <a:lnTo>
                    <a:pt x="1284135" y="1803397"/>
                  </a:lnTo>
                  <a:lnTo>
                    <a:pt x="1287778" y="1803397"/>
                  </a:lnTo>
                  <a:lnTo>
                    <a:pt x="1293243" y="1832540"/>
                  </a:lnTo>
                  <a:lnTo>
                    <a:pt x="1311457" y="1832540"/>
                  </a:lnTo>
                  <a:lnTo>
                    <a:pt x="1329672" y="1850755"/>
                  </a:lnTo>
                  <a:lnTo>
                    <a:pt x="1329672" y="1854398"/>
                  </a:lnTo>
                  <a:lnTo>
                    <a:pt x="1305993" y="1870791"/>
                  </a:lnTo>
                  <a:lnTo>
                    <a:pt x="1273206" y="1859862"/>
                  </a:lnTo>
                  <a:lnTo>
                    <a:pt x="1273206" y="1843469"/>
                  </a:lnTo>
                  <a:lnTo>
                    <a:pt x="1256813" y="1839826"/>
                  </a:lnTo>
                  <a:lnTo>
                    <a:pt x="1260456" y="1832540"/>
                  </a:lnTo>
                  <a:lnTo>
                    <a:pt x="1245884" y="1834362"/>
                  </a:lnTo>
                  <a:lnTo>
                    <a:pt x="1245884" y="1854398"/>
                  </a:lnTo>
                  <a:lnTo>
                    <a:pt x="1209455" y="1887184"/>
                  </a:lnTo>
                  <a:lnTo>
                    <a:pt x="1205812" y="1887184"/>
                  </a:lnTo>
                  <a:lnTo>
                    <a:pt x="1198526" y="1878077"/>
                  </a:lnTo>
                  <a:lnTo>
                    <a:pt x="1194883" y="1854398"/>
                  </a:lnTo>
                  <a:lnTo>
                    <a:pt x="1194883" y="1856219"/>
                  </a:lnTo>
                  <a:lnTo>
                    <a:pt x="1165740" y="1865326"/>
                  </a:lnTo>
                  <a:lnTo>
                    <a:pt x="1162097" y="1865326"/>
                  </a:lnTo>
                  <a:lnTo>
                    <a:pt x="1160275" y="1856219"/>
                  </a:lnTo>
                  <a:lnTo>
                    <a:pt x="1165740" y="1843469"/>
                  </a:lnTo>
                  <a:lnTo>
                    <a:pt x="1182133" y="1828897"/>
                  </a:lnTo>
                  <a:lnTo>
                    <a:pt x="1178490" y="1808861"/>
                  </a:lnTo>
                  <a:lnTo>
                    <a:pt x="1183954" y="1759681"/>
                  </a:lnTo>
                  <a:lnTo>
                    <a:pt x="1193062" y="1741467"/>
                  </a:lnTo>
                  <a:lnTo>
                    <a:pt x="1194883" y="1741467"/>
                  </a:lnTo>
                  <a:close/>
                  <a:moveTo>
                    <a:pt x="1225849" y="1719609"/>
                  </a:moveTo>
                  <a:lnTo>
                    <a:pt x="1227671" y="1719609"/>
                  </a:lnTo>
                  <a:lnTo>
                    <a:pt x="1240421" y="1730538"/>
                  </a:lnTo>
                  <a:lnTo>
                    <a:pt x="1254992" y="1748754"/>
                  </a:lnTo>
                  <a:lnTo>
                    <a:pt x="1254992" y="1750575"/>
                  </a:lnTo>
                  <a:lnTo>
                    <a:pt x="1251349" y="1750575"/>
                  </a:lnTo>
                  <a:lnTo>
                    <a:pt x="1234956" y="1741467"/>
                  </a:lnTo>
                  <a:lnTo>
                    <a:pt x="1225849" y="1721431"/>
                  </a:lnTo>
                  <a:close/>
                  <a:moveTo>
                    <a:pt x="1464463" y="1597570"/>
                  </a:moveTo>
                  <a:lnTo>
                    <a:pt x="1468106" y="1597570"/>
                  </a:lnTo>
                  <a:lnTo>
                    <a:pt x="1486321" y="1615786"/>
                  </a:lnTo>
                  <a:lnTo>
                    <a:pt x="1486321" y="1619429"/>
                  </a:lnTo>
                  <a:lnTo>
                    <a:pt x="1475392" y="1619429"/>
                  </a:lnTo>
                  <a:lnTo>
                    <a:pt x="1469927" y="1621250"/>
                  </a:lnTo>
                  <a:lnTo>
                    <a:pt x="1462641" y="1621250"/>
                  </a:lnTo>
                  <a:lnTo>
                    <a:pt x="1455355" y="1604856"/>
                  </a:lnTo>
                  <a:close/>
                  <a:moveTo>
                    <a:pt x="1173026" y="1586641"/>
                  </a:moveTo>
                  <a:lnTo>
                    <a:pt x="1176669" y="1588463"/>
                  </a:lnTo>
                  <a:lnTo>
                    <a:pt x="1176669" y="1621249"/>
                  </a:lnTo>
                  <a:lnTo>
                    <a:pt x="1165740" y="1613963"/>
                  </a:lnTo>
                  <a:lnTo>
                    <a:pt x="1165740" y="1588463"/>
                  </a:lnTo>
                  <a:close/>
                  <a:moveTo>
                    <a:pt x="1418924" y="1584820"/>
                  </a:moveTo>
                  <a:lnTo>
                    <a:pt x="1418924" y="1586642"/>
                  </a:lnTo>
                  <a:lnTo>
                    <a:pt x="1444425" y="1592106"/>
                  </a:lnTo>
                  <a:lnTo>
                    <a:pt x="1446246" y="1592106"/>
                  </a:lnTo>
                  <a:lnTo>
                    <a:pt x="1449889" y="1604856"/>
                  </a:lnTo>
                  <a:lnTo>
                    <a:pt x="1449889" y="1635821"/>
                  </a:lnTo>
                  <a:lnTo>
                    <a:pt x="1435317" y="1652215"/>
                  </a:lnTo>
                  <a:lnTo>
                    <a:pt x="1435317" y="1654036"/>
                  </a:lnTo>
                  <a:lnTo>
                    <a:pt x="1402531" y="1654036"/>
                  </a:lnTo>
                  <a:lnTo>
                    <a:pt x="1402531" y="1652215"/>
                  </a:lnTo>
                  <a:lnTo>
                    <a:pt x="1395245" y="1635821"/>
                  </a:lnTo>
                  <a:lnTo>
                    <a:pt x="1397067" y="1615785"/>
                  </a:lnTo>
                  <a:lnTo>
                    <a:pt x="1417103" y="1586642"/>
                  </a:lnTo>
                  <a:close/>
                  <a:moveTo>
                    <a:pt x="1360639" y="1524710"/>
                  </a:moveTo>
                  <a:lnTo>
                    <a:pt x="1362461" y="1524710"/>
                  </a:lnTo>
                  <a:lnTo>
                    <a:pt x="1367925" y="1530175"/>
                  </a:lnTo>
                  <a:lnTo>
                    <a:pt x="1367925" y="1531996"/>
                  </a:lnTo>
                  <a:lnTo>
                    <a:pt x="1360639" y="1542925"/>
                  </a:lnTo>
                  <a:lnTo>
                    <a:pt x="1346067" y="1552033"/>
                  </a:lnTo>
                  <a:lnTo>
                    <a:pt x="1346067" y="1548390"/>
                  </a:lnTo>
                  <a:close/>
                  <a:moveTo>
                    <a:pt x="0" y="1521068"/>
                  </a:moveTo>
                  <a:lnTo>
                    <a:pt x="1821" y="1521068"/>
                  </a:lnTo>
                  <a:lnTo>
                    <a:pt x="25501" y="1542926"/>
                  </a:lnTo>
                  <a:lnTo>
                    <a:pt x="23679" y="1542926"/>
                  </a:lnTo>
                  <a:lnTo>
                    <a:pt x="7286" y="1541105"/>
                  </a:lnTo>
                  <a:lnTo>
                    <a:pt x="5464" y="1541105"/>
                  </a:lnTo>
                  <a:lnTo>
                    <a:pt x="5464" y="1537462"/>
                  </a:lnTo>
                  <a:lnTo>
                    <a:pt x="0" y="1524711"/>
                  </a:lnTo>
                  <a:close/>
                  <a:moveTo>
                    <a:pt x="1318743" y="1486461"/>
                  </a:moveTo>
                  <a:lnTo>
                    <a:pt x="1327851" y="1486461"/>
                  </a:lnTo>
                  <a:lnTo>
                    <a:pt x="1346066" y="1490104"/>
                  </a:lnTo>
                  <a:lnTo>
                    <a:pt x="1346066" y="1491926"/>
                  </a:lnTo>
                  <a:lnTo>
                    <a:pt x="1333315" y="1501033"/>
                  </a:lnTo>
                  <a:lnTo>
                    <a:pt x="1333315" y="1511962"/>
                  </a:lnTo>
                  <a:lnTo>
                    <a:pt x="1329672" y="1511962"/>
                  </a:lnTo>
                  <a:lnTo>
                    <a:pt x="1318743" y="1490104"/>
                  </a:lnTo>
                  <a:close/>
                  <a:moveTo>
                    <a:pt x="34609" y="1486461"/>
                  </a:moveTo>
                  <a:lnTo>
                    <a:pt x="36430" y="1486461"/>
                  </a:lnTo>
                  <a:lnTo>
                    <a:pt x="36430" y="1490104"/>
                  </a:lnTo>
                  <a:lnTo>
                    <a:pt x="41895" y="1501033"/>
                  </a:lnTo>
                  <a:lnTo>
                    <a:pt x="51002" y="1501033"/>
                  </a:lnTo>
                  <a:lnTo>
                    <a:pt x="51002" y="1502854"/>
                  </a:lnTo>
                  <a:lnTo>
                    <a:pt x="30966" y="1535641"/>
                  </a:lnTo>
                  <a:lnTo>
                    <a:pt x="30966" y="1537462"/>
                  </a:lnTo>
                  <a:lnTo>
                    <a:pt x="29144" y="1537462"/>
                  </a:lnTo>
                  <a:lnTo>
                    <a:pt x="23680" y="1535641"/>
                  </a:lnTo>
                  <a:lnTo>
                    <a:pt x="23680" y="1531998"/>
                  </a:lnTo>
                  <a:lnTo>
                    <a:pt x="29144" y="1526533"/>
                  </a:lnTo>
                  <a:lnTo>
                    <a:pt x="20037" y="1526533"/>
                  </a:lnTo>
                  <a:lnTo>
                    <a:pt x="12751" y="1511962"/>
                  </a:lnTo>
                  <a:lnTo>
                    <a:pt x="12751" y="1508319"/>
                  </a:lnTo>
                  <a:lnTo>
                    <a:pt x="14572" y="1508319"/>
                  </a:lnTo>
                  <a:lnTo>
                    <a:pt x="23680" y="1511962"/>
                  </a:lnTo>
                  <a:lnTo>
                    <a:pt x="34609" y="1508319"/>
                  </a:lnTo>
                  <a:lnTo>
                    <a:pt x="30966" y="1502854"/>
                  </a:lnTo>
                  <a:lnTo>
                    <a:pt x="34609" y="1490104"/>
                  </a:lnTo>
                  <a:close/>
                  <a:moveTo>
                    <a:pt x="903448" y="1479175"/>
                  </a:moveTo>
                  <a:lnTo>
                    <a:pt x="907091" y="1479175"/>
                  </a:lnTo>
                  <a:lnTo>
                    <a:pt x="930770" y="1502854"/>
                  </a:lnTo>
                  <a:lnTo>
                    <a:pt x="965378" y="1553855"/>
                  </a:lnTo>
                  <a:lnTo>
                    <a:pt x="970842" y="1552034"/>
                  </a:lnTo>
                  <a:lnTo>
                    <a:pt x="947163" y="1575713"/>
                  </a:lnTo>
                  <a:lnTo>
                    <a:pt x="943520" y="1575713"/>
                  </a:lnTo>
                  <a:lnTo>
                    <a:pt x="868840" y="1548391"/>
                  </a:lnTo>
                  <a:lnTo>
                    <a:pt x="868840" y="1535641"/>
                  </a:lnTo>
                  <a:lnTo>
                    <a:pt x="892519" y="1519248"/>
                  </a:lnTo>
                  <a:lnTo>
                    <a:pt x="890698" y="1508319"/>
                  </a:lnTo>
                  <a:lnTo>
                    <a:pt x="890698" y="1506497"/>
                  </a:lnTo>
                  <a:lnTo>
                    <a:pt x="897983" y="1506497"/>
                  </a:lnTo>
                  <a:lnTo>
                    <a:pt x="896162" y="1502854"/>
                  </a:lnTo>
                  <a:lnTo>
                    <a:pt x="896162" y="1501033"/>
                  </a:lnTo>
                  <a:close/>
                  <a:moveTo>
                    <a:pt x="932592" y="1235099"/>
                  </a:moveTo>
                  <a:lnTo>
                    <a:pt x="938057" y="1249671"/>
                  </a:lnTo>
                  <a:lnTo>
                    <a:pt x="938057" y="1251493"/>
                  </a:lnTo>
                  <a:lnTo>
                    <a:pt x="936236" y="1251493"/>
                  </a:lnTo>
                  <a:lnTo>
                    <a:pt x="927128" y="1260600"/>
                  </a:lnTo>
                  <a:lnTo>
                    <a:pt x="921663" y="1240564"/>
                  </a:lnTo>
                  <a:close/>
                  <a:moveTo>
                    <a:pt x="506367" y="1216884"/>
                  </a:moveTo>
                  <a:lnTo>
                    <a:pt x="517296" y="1224170"/>
                  </a:lnTo>
                  <a:lnTo>
                    <a:pt x="520939" y="1224170"/>
                  </a:lnTo>
                  <a:lnTo>
                    <a:pt x="522761" y="1249671"/>
                  </a:lnTo>
                  <a:lnTo>
                    <a:pt x="511832" y="1280636"/>
                  </a:lnTo>
                  <a:lnTo>
                    <a:pt x="531868" y="1273350"/>
                  </a:lnTo>
                  <a:lnTo>
                    <a:pt x="531868" y="1255135"/>
                  </a:lnTo>
                  <a:lnTo>
                    <a:pt x="533689" y="1255135"/>
                  </a:lnTo>
                  <a:lnTo>
                    <a:pt x="544618" y="1246028"/>
                  </a:lnTo>
                  <a:lnTo>
                    <a:pt x="546440" y="1246028"/>
                  </a:lnTo>
                  <a:lnTo>
                    <a:pt x="588333" y="1273350"/>
                  </a:lnTo>
                  <a:lnTo>
                    <a:pt x="590155" y="1273350"/>
                  </a:lnTo>
                  <a:lnTo>
                    <a:pt x="588333" y="1276993"/>
                  </a:lnTo>
                  <a:lnTo>
                    <a:pt x="573762" y="1300672"/>
                  </a:lnTo>
                  <a:lnTo>
                    <a:pt x="617477" y="1280636"/>
                  </a:lnTo>
                  <a:lnTo>
                    <a:pt x="612012" y="1273350"/>
                  </a:lnTo>
                  <a:lnTo>
                    <a:pt x="615655" y="1271528"/>
                  </a:lnTo>
                  <a:lnTo>
                    <a:pt x="619298" y="1271528"/>
                  </a:lnTo>
                  <a:lnTo>
                    <a:pt x="604727" y="1249671"/>
                  </a:lnTo>
                  <a:lnTo>
                    <a:pt x="604727" y="1246028"/>
                  </a:lnTo>
                  <a:lnTo>
                    <a:pt x="606548" y="1246028"/>
                  </a:lnTo>
                  <a:lnTo>
                    <a:pt x="628406" y="1255135"/>
                  </a:lnTo>
                  <a:lnTo>
                    <a:pt x="652085" y="1284279"/>
                  </a:lnTo>
                  <a:lnTo>
                    <a:pt x="655728" y="1324351"/>
                  </a:lnTo>
                  <a:lnTo>
                    <a:pt x="661192" y="1329815"/>
                  </a:lnTo>
                  <a:lnTo>
                    <a:pt x="657549" y="1346209"/>
                  </a:lnTo>
                  <a:lnTo>
                    <a:pt x="663014" y="1351673"/>
                  </a:lnTo>
                  <a:lnTo>
                    <a:pt x="677585" y="1333458"/>
                  </a:lnTo>
                  <a:lnTo>
                    <a:pt x="668478" y="1307958"/>
                  </a:lnTo>
                  <a:lnTo>
                    <a:pt x="657549" y="1235099"/>
                  </a:lnTo>
                  <a:lnTo>
                    <a:pt x="661192" y="1235099"/>
                  </a:lnTo>
                  <a:lnTo>
                    <a:pt x="666657" y="1229634"/>
                  </a:lnTo>
                  <a:lnTo>
                    <a:pt x="663014" y="1222348"/>
                  </a:lnTo>
                  <a:lnTo>
                    <a:pt x="690336" y="1233277"/>
                  </a:lnTo>
                  <a:lnTo>
                    <a:pt x="690336" y="1224170"/>
                  </a:lnTo>
                  <a:lnTo>
                    <a:pt x="697622" y="1224170"/>
                  </a:lnTo>
                  <a:lnTo>
                    <a:pt x="728586" y="1262421"/>
                  </a:lnTo>
                  <a:lnTo>
                    <a:pt x="728586" y="1271528"/>
                  </a:lnTo>
                  <a:lnTo>
                    <a:pt x="734051" y="1278814"/>
                  </a:lnTo>
                  <a:lnTo>
                    <a:pt x="739515" y="1324351"/>
                  </a:lnTo>
                  <a:lnTo>
                    <a:pt x="752266" y="1357137"/>
                  </a:lnTo>
                  <a:lnTo>
                    <a:pt x="750444" y="1395388"/>
                  </a:lnTo>
                  <a:lnTo>
                    <a:pt x="775945" y="1428175"/>
                  </a:lnTo>
                  <a:lnTo>
                    <a:pt x="792338" y="1428175"/>
                  </a:lnTo>
                  <a:lnTo>
                    <a:pt x="823303" y="1459140"/>
                  </a:lnTo>
                  <a:lnTo>
                    <a:pt x="836053" y="1459140"/>
                  </a:lnTo>
                  <a:lnTo>
                    <a:pt x="839696" y="1470069"/>
                  </a:lnTo>
                  <a:lnTo>
                    <a:pt x="836053" y="1495569"/>
                  </a:lnTo>
                  <a:lnTo>
                    <a:pt x="834232" y="1497391"/>
                  </a:lnTo>
                  <a:lnTo>
                    <a:pt x="828767" y="1497391"/>
                  </a:lnTo>
                  <a:lnTo>
                    <a:pt x="825124" y="1495569"/>
                  </a:lnTo>
                  <a:lnTo>
                    <a:pt x="823303" y="1484641"/>
                  </a:lnTo>
                  <a:lnTo>
                    <a:pt x="819660" y="1495569"/>
                  </a:lnTo>
                  <a:lnTo>
                    <a:pt x="819660" y="1497391"/>
                  </a:lnTo>
                  <a:lnTo>
                    <a:pt x="812374" y="1495569"/>
                  </a:lnTo>
                  <a:lnTo>
                    <a:pt x="812374" y="1491926"/>
                  </a:lnTo>
                  <a:lnTo>
                    <a:pt x="806910" y="1480998"/>
                  </a:lnTo>
                  <a:lnTo>
                    <a:pt x="795981" y="1490105"/>
                  </a:lnTo>
                  <a:lnTo>
                    <a:pt x="797802" y="1502855"/>
                  </a:lnTo>
                  <a:lnTo>
                    <a:pt x="797802" y="1506498"/>
                  </a:lnTo>
                  <a:lnTo>
                    <a:pt x="792338" y="1506498"/>
                  </a:lnTo>
                  <a:lnTo>
                    <a:pt x="790516" y="1502855"/>
                  </a:lnTo>
                  <a:lnTo>
                    <a:pt x="785052" y="1502855"/>
                  </a:lnTo>
                  <a:lnTo>
                    <a:pt x="785052" y="1521070"/>
                  </a:lnTo>
                  <a:lnTo>
                    <a:pt x="806910" y="1506498"/>
                  </a:lnTo>
                  <a:lnTo>
                    <a:pt x="808731" y="1506498"/>
                  </a:lnTo>
                  <a:lnTo>
                    <a:pt x="812374" y="1508320"/>
                  </a:lnTo>
                  <a:lnTo>
                    <a:pt x="812374" y="1511963"/>
                  </a:lnTo>
                  <a:lnTo>
                    <a:pt x="806910" y="1524713"/>
                  </a:lnTo>
                  <a:lnTo>
                    <a:pt x="819660" y="1530177"/>
                  </a:lnTo>
                  <a:lnTo>
                    <a:pt x="823303" y="1530177"/>
                  </a:lnTo>
                  <a:lnTo>
                    <a:pt x="823303" y="1531999"/>
                  </a:lnTo>
                  <a:lnTo>
                    <a:pt x="786873" y="1557499"/>
                  </a:lnTo>
                  <a:lnTo>
                    <a:pt x="781409" y="1557499"/>
                  </a:lnTo>
                  <a:lnTo>
                    <a:pt x="768659" y="1553856"/>
                  </a:lnTo>
                  <a:lnTo>
                    <a:pt x="752266" y="1548392"/>
                  </a:lnTo>
                  <a:lnTo>
                    <a:pt x="739515" y="1546571"/>
                  </a:lnTo>
                  <a:lnTo>
                    <a:pt x="730408" y="1546571"/>
                  </a:lnTo>
                  <a:lnTo>
                    <a:pt x="730408" y="1542928"/>
                  </a:lnTo>
                  <a:lnTo>
                    <a:pt x="735872" y="1535642"/>
                  </a:lnTo>
                  <a:lnTo>
                    <a:pt x="706729" y="1526534"/>
                  </a:lnTo>
                  <a:lnTo>
                    <a:pt x="703086" y="1526534"/>
                  </a:lnTo>
                  <a:lnTo>
                    <a:pt x="703086" y="1513784"/>
                  </a:lnTo>
                  <a:lnTo>
                    <a:pt x="701264" y="1508320"/>
                  </a:lnTo>
                  <a:lnTo>
                    <a:pt x="683050" y="1541106"/>
                  </a:lnTo>
                  <a:lnTo>
                    <a:pt x="652085" y="1542928"/>
                  </a:lnTo>
                  <a:lnTo>
                    <a:pt x="630227" y="1564785"/>
                  </a:lnTo>
                  <a:lnTo>
                    <a:pt x="624763" y="1564785"/>
                  </a:lnTo>
                  <a:lnTo>
                    <a:pt x="606548" y="1568428"/>
                  </a:lnTo>
                  <a:lnTo>
                    <a:pt x="584690" y="1570250"/>
                  </a:lnTo>
                  <a:lnTo>
                    <a:pt x="546440" y="1575714"/>
                  </a:lnTo>
                  <a:lnTo>
                    <a:pt x="540975" y="1575714"/>
                  </a:lnTo>
                  <a:lnTo>
                    <a:pt x="540975" y="1573893"/>
                  </a:lnTo>
                  <a:lnTo>
                    <a:pt x="544618" y="1568428"/>
                  </a:lnTo>
                  <a:lnTo>
                    <a:pt x="533689" y="1559321"/>
                  </a:lnTo>
                  <a:lnTo>
                    <a:pt x="531868" y="1548392"/>
                  </a:lnTo>
                  <a:lnTo>
                    <a:pt x="531868" y="1537463"/>
                  </a:lnTo>
                  <a:lnTo>
                    <a:pt x="504546" y="1521070"/>
                  </a:lnTo>
                  <a:lnTo>
                    <a:pt x="460831" y="1511963"/>
                  </a:lnTo>
                  <a:lnTo>
                    <a:pt x="442616" y="1470069"/>
                  </a:lnTo>
                  <a:lnTo>
                    <a:pt x="515475" y="1448211"/>
                  </a:lnTo>
                  <a:lnTo>
                    <a:pt x="557368" y="1453675"/>
                  </a:lnTo>
                  <a:lnTo>
                    <a:pt x="566476" y="1442747"/>
                  </a:lnTo>
                  <a:lnTo>
                    <a:pt x="526403" y="1424532"/>
                  </a:lnTo>
                  <a:lnTo>
                    <a:pt x="489974" y="1437282"/>
                  </a:lnTo>
                  <a:lnTo>
                    <a:pt x="438973" y="1429996"/>
                  </a:lnTo>
                  <a:lnTo>
                    <a:pt x="437151" y="1429996"/>
                  </a:lnTo>
                  <a:lnTo>
                    <a:pt x="420758" y="1400853"/>
                  </a:lnTo>
                  <a:lnTo>
                    <a:pt x="420758" y="1397210"/>
                  </a:lnTo>
                  <a:lnTo>
                    <a:pt x="422580" y="1397210"/>
                  </a:lnTo>
                  <a:lnTo>
                    <a:pt x="477224" y="1375352"/>
                  </a:lnTo>
                  <a:lnTo>
                    <a:pt x="473581" y="1369888"/>
                  </a:lnTo>
                  <a:lnTo>
                    <a:pt x="479045" y="1364423"/>
                  </a:lnTo>
                  <a:lnTo>
                    <a:pt x="473581" y="1364423"/>
                  </a:lnTo>
                  <a:lnTo>
                    <a:pt x="460831" y="1368066"/>
                  </a:lnTo>
                  <a:lnTo>
                    <a:pt x="444437" y="1373531"/>
                  </a:lnTo>
                  <a:lnTo>
                    <a:pt x="431687" y="1375352"/>
                  </a:lnTo>
                  <a:lnTo>
                    <a:pt x="422580" y="1375352"/>
                  </a:lnTo>
                  <a:lnTo>
                    <a:pt x="420758" y="1369888"/>
                  </a:lnTo>
                  <a:lnTo>
                    <a:pt x="420758" y="1368066"/>
                  </a:lnTo>
                  <a:lnTo>
                    <a:pt x="422580" y="1368066"/>
                  </a:lnTo>
                  <a:lnTo>
                    <a:pt x="431687" y="1362602"/>
                  </a:lnTo>
                  <a:lnTo>
                    <a:pt x="431687" y="1355316"/>
                  </a:lnTo>
                  <a:lnTo>
                    <a:pt x="417115" y="1355316"/>
                  </a:lnTo>
                  <a:lnTo>
                    <a:pt x="411651" y="1357137"/>
                  </a:lnTo>
                  <a:lnTo>
                    <a:pt x="406187" y="1357137"/>
                  </a:lnTo>
                  <a:lnTo>
                    <a:pt x="406187" y="1355316"/>
                  </a:lnTo>
                  <a:lnTo>
                    <a:pt x="404365" y="1338923"/>
                  </a:lnTo>
                  <a:lnTo>
                    <a:pt x="426223" y="1307958"/>
                  </a:lnTo>
                  <a:lnTo>
                    <a:pt x="417115" y="1300672"/>
                  </a:lnTo>
                  <a:lnTo>
                    <a:pt x="417115" y="1297029"/>
                  </a:lnTo>
                  <a:lnTo>
                    <a:pt x="422580" y="1276993"/>
                  </a:lnTo>
                  <a:close/>
                  <a:moveTo>
                    <a:pt x="1311456" y="1198669"/>
                  </a:moveTo>
                  <a:lnTo>
                    <a:pt x="1356993" y="1198669"/>
                  </a:lnTo>
                  <a:lnTo>
                    <a:pt x="1395244" y="1207777"/>
                  </a:lnTo>
                  <a:lnTo>
                    <a:pt x="1397065" y="1207777"/>
                  </a:lnTo>
                  <a:lnTo>
                    <a:pt x="1424387" y="1256957"/>
                  </a:lnTo>
                  <a:lnTo>
                    <a:pt x="1428030" y="1256957"/>
                  </a:lnTo>
                  <a:lnTo>
                    <a:pt x="1428030" y="1260600"/>
                  </a:lnTo>
                  <a:lnTo>
                    <a:pt x="1418923" y="1260600"/>
                  </a:lnTo>
                  <a:lnTo>
                    <a:pt x="1402530" y="1262421"/>
                  </a:lnTo>
                  <a:lnTo>
                    <a:pt x="1384315" y="1266064"/>
                  </a:lnTo>
                  <a:lnTo>
                    <a:pt x="1367922" y="1271529"/>
                  </a:lnTo>
                  <a:lnTo>
                    <a:pt x="1351528" y="1273350"/>
                  </a:lnTo>
                  <a:lnTo>
                    <a:pt x="1346064" y="1273350"/>
                  </a:lnTo>
                  <a:lnTo>
                    <a:pt x="1329671" y="1262421"/>
                  </a:lnTo>
                  <a:lnTo>
                    <a:pt x="1329671" y="1260600"/>
                  </a:lnTo>
                  <a:lnTo>
                    <a:pt x="1324206" y="1235099"/>
                  </a:lnTo>
                  <a:lnTo>
                    <a:pt x="1307813" y="1222348"/>
                  </a:lnTo>
                  <a:close/>
                  <a:moveTo>
                    <a:pt x="701265" y="1187742"/>
                  </a:moveTo>
                  <a:lnTo>
                    <a:pt x="719480" y="1187742"/>
                  </a:lnTo>
                  <a:lnTo>
                    <a:pt x="724944" y="1189564"/>
                  </a:lnTo>
                  <a:lnTo>
                    <a:pt x="744981" y="1189564"/>
                  </a:lnTo>
                  <a:lnTo>
                    <a:pt x="750445" y="1200492"/>
                  </a:lnTo>
                  <a:lnTo>
                    <a:pt x="750445" y="1202314"/>
                  </a:lnTo>
                  <a:lnTo>
                    <a:pt x="739516" y="1240565"/>
                  </a:lnTo>
                  <a:lnTo>
                    <a:pt x="730409" y="1256958"/>
                  </a:lnTo>
                  <a:lnTo>
                    <a:pt x="728587" y="1256958"/>
                  </a:lnTo>
                  <a:lnTo>
                    <a:pt x="688515" y="1211421"/>
                  </a:lnTo>
                  <a:lnTo>
                    <a:pt x="688515" y="1207778"/>
                  </a:lnTo>
                  <a:close/>
                  <a:moveTo>
                    <a:pt x="1151166" y="1187739"/>
                  </a:moveTo>
                  <a:lnTo>
                    <a:pt x="1214917" y="1187739"/>
                  </a:lnTo>
                  <a:lnTo>
                    <a:pt x="1183952" y="1235097"/>
                  </a:lnTo>
                  <a:lnTo>
                    <a:pt x="1173023" y="1278813"/>
                  </a:lnTo>
                  <a:lnTo>
                    <a:pt x="1182131" y="1297027"/>
                  </a:lnTo>
                  <a:lnTo>
                    <a:pt x="1176666" y="1324349"/>
                  </a:lnTo>
                  <a:lnTo>
                    <a:pt x="1182131" y="1335278"/>
                  </a:lnTo>
                  <a:lnTo>
                    <a:pt x="1214917" y="1380815"/>
                  </a:lnTo>
                  <a:lnTo>
                    <a:pt x="1183952" y="1395387"/>
                  </a:lnTo>
                  <a:lnTo>
                    <a:pt x="1209453" y="1389922"/>
                  </a:lnTo>
                  <a:lnTo>
                    <a:pt x="1211274" y="1389922"/>
                  </a:lnTo>
                  <a:lnTo>
                    <a:pt x="1211274" y="1391744"/>
                  </a:lnTo>
                  <a:lnTo>
                    <a:pt x="1214917" y="1400851"/>
                  </a:lnTo>
                  <a:lnTo>
                    <a:pt x="1214917" y="1397208"/>
                  </a:lnTo>
                  <a:lnTo>
                    <a:pt x="1216738" y="1357136"/>
                  </a:lnTo>
                  <a:lnTo>
                    <a:pt x="1203988" y="1351671"/>
                  </a:lnTo>
                  <a:lnTo>
                    <a:pt x="1200345" y="1351671"/>
                  </a:lnTo>
                  <a:lnTo>
                    <a:pt x="1187595" y="1329814"/>
                  </a:lnTo>
                  <a:lnTo>
                    <a:pt x="1187595" y="1327992"/>
                  </a:lnTo>
                  <a:lnTo>
                    <a:pt x="1211274" y="1300670"/>
                  </a:lnTo>
                  <a:lnTo>
                    <a:pt x="1198524" y="1295206"/>
                  </a:lnTo>
                  <a:lnTo>
                    <a:pt x="1193059" y="1260598"/>
                  </a:lnTo>
                  <a:lnTo>
                    <a:pt x="1193059" y="1256955"/>
                  </a:lnTo>
                  <a:lnTo>
                    <a:pt x="1194881" y="1256955"/>
                  </a:lnTo>
                  <a:lnTo>
                    <a:pt x="1227667" y="1266062"/>
                  </a:lnTo>
                  <a:lnTo>
                    <a:pt x="1198524" y="1244205"/>
                  </a:lnTo>
                  <a:lnTo>
                    <a:pt x="1198524" y="1240562"/>
                  </a:lnTo>
                  <a:lnTo>
                    <a:pt x="1211274" y="1240562"/>
                  </a:lnTo>
                  <a:lnTo>
                    <a:pt x="1216738" y="1244205"/>
                  </a:lnTo>
                  <a:lnTo>
                    <a:pt x="1229489" y="1244205"/>
                  </a:lnTo>
                  <a:lnTo>
                    <a:pt x="1214917" y="1235097"/>
                  </a:lnTo>
                  <a:lnTo>
                    <a:pt x="1209453" y="1229633"/>
                  </a:lnTo>
                  <a:lnTo>
                    <a:pt x="1209453" y="1222347"/>
                  </a:lnTo>
                  <a:lnTo>
                    <a:pt x="1211274" y="1222347"/>
                  </a:lnTo>
                  <a:lnTo>
                    <a:pt x="1225846" y="1227811"/>
                  </a:lnTo>
                  <a:lnTo>
                    <a:pt x="1222203" y="1213240"/>
                  </a:lnTo>
                  <a:lnTo>
                    <a:pt x="1225846" y="1213240"/>
                  </a:lnTo>
                  <a:lnTo>
                    <a:pt x="1244061" y="1222347"/>
                  </a:lnTo>
                  <a:lnTo>
                    <a:pt x="1244061" y="1216882"/>
                  </a:lnTo>
                  <a:lnTo>
                    <a:pt x="1234953" y="1211418"/>
                  </a:lnTo>
                  <a:lnTo>
                    <a:pt x="1234953" y="1207775"/>
                  </a:lnTo>
                  <a:lnTo>
                    <a:pt x="1244061" y="1200489"/>
                  </a:lnTo>
                  <a:lnTo>
                    <a:pt x="1295062" y="1187739"/>
                  </a:lnTo>
                  <a:lnTo>
                    <a:pt x="1302348" y="1222347"/>
                  </a:lnTo>
                  <a:lnTo>
                    <a:pt x="1298705" y="1229633"/>
                  </a:lnTo>
                  <a:lnTo>
                    <a:pt x="1316919" y="1240562"/>
                  </a:lnTo>
                  <a:lnTo>
                    <a:pt x="1316919" y="1244205"/>
                  </a:lnTo>
                  <a:lnTo>
                    <a:pt x="1313276" y="1256955"/>
                  </a:lnTo>
                  <a:lnTo>
                    <a:pt x="1322384" y="1271527"/>
                  </a:lnTo>
                  <a:lnTo>
                    <a:pt x="1324205" y="1271527"/>
                  </a:lnTo>
                  <a:lnTo>
                    <a:pt x="1324205" y="1273348"/>
                  </a:lnTo>
                  <a:lnTo>
                    <a:pt x="1311455" y="1313421"/>
                  </a:lnTo>
                  <a:lnTo>
                    <a:pt x="1316919" y="1318885"/>
                  </a:lnTo>
                  <a:lnTo>
                    <a:pt x="1316919" y="1322528"/>
                  </a:lnTo>
                  <a:lnTo>
                    <a:pt x="1307812" y="1324349"/>
                  </a:lnTo>
                  <a:lnTo>
                    <a:pt x="1307812" y="1333457"/>
                  </a:lnTo>
                  <a:lnTo>
                    <a:pt x="1327848" y="1311599"/>
                  </a:lnTo>
                  <a:lnTo>
                    <a:pt x="1333313" y="1286098"/>
                  </a:lnTo>
                  <a:lnTo>
                    <a:pt x="1335134" y="1286098"/>
                  </a:lnTo>
                  <a:lnTo>
                    <a:pt x="1335134" y="1300670"/>
                  </a:lnTo>
                  <a:lnTo>
                    <a:pt x="1355170" y="1307956"/>
                  </a:lnTo>
                  <a:lnTo>
                    <a:pt x="1367920" y="1297027"/>
                  </a:lnTo>
                  <a:lnTo>
                    <a:pt x="1362456" y="1286098"/>
                  </a:lnTo>
                  <a:lnTo>
                    <a:pt x="1362456" y="1284277"/>
                  </a:lnTo>
                  <a:lnTo>
                    <a:pt x="1386135" y="1271527"/>
                  </a:lnTo>
                  <a:lnTo>
                    <a:pt x="1386135" y="1267884"/>
                  </a:lnTo>
                  <a:lnTo>
                    <a:pt x="1389778" y="1267884"/>
                  </a:lnTo>
                  <a:lnTo>
                    <a:pt x="1435315" y="1280634"/>
                  </a:lnTo>
                  <a:lnTo>
                    <a:pt x="1451708" y="1302492"/>
                  </a:lnTo>
                  <a:lnTo>
                    <a:pt x="1451708" y="1306135"/>
                  </a:lnTo>
                  <a:lnTo>
                    <a:pt x="1449887" y="1318885"/>
                  </a:lnTo>
                  <a:lnTo>
                    <a:pt x="1468101" y="1322528"/>
                  </a:lnTo>
                  <a:lnTo>
                    <a:pt x="1468101" y="1340743"/>
                  </a:lnTo>
                  <a:lnTo>
                    <a:pt x="1455351" y="1349850"/>
                  </a:lnTo>
                  <a:lnTo>
                    <a:pt x="1484495" y="1344386"/>
                  </a:lnTo>
                  <a:lnTo>
                    <a:pt x="1486316" y="1344386"/>
                  </a:lnTo>
                  <a:lnTo>
                    <a:pt x="1475387" y="1364422"/>
                  </a:lnTo>
                  <a:lnTo>
                    <a:pt x="1484495" y="1358957"/>
                  </a:lnTo>
                  <a:lnTo>
                    <a:pt x="1484495" y="1369886"/>
                  </a:lnTo>
                  <a:lnTo>
                    <a:pt x="1489959" y="1375351"/>
                  </a:lnTo>
                  <a:lnTo>
                    <a:pt x="1489959" y="1362600"/>
                  </a:lnTo>
                  <a:lnTo>
                    <a:pt x="1500888" y="1362600"/>
                  </a:lnTo>
                  <a:lnTo>
                    <a:pt x="1508174" y="1349850"/>
                  </a:lnTo>
                  <a:lnTo>
                    <a:pt x="1511817" y="1349850"/>
                  </a:lnTo>
                  <a:lnTo>
                    <a:pt x="1537317" y="1364422"/>
                  </a:lnTo>
                  <a:lnTo>
                    <a:pt x="1546424" y="1386279"/>
                  </a:lnTo>
                  <a:lnTo>
                    <a:pt x="1542782" y="1391744"/>
                  </a:lnTo>
                  <a:lnTo>
                    <a:pt x="1542782" y="1395387"/>
                  </a:lnTo>
                  <a:lnTo>
                    <a:pt x="1530031" y="1397208"/>
                  </a:lnTo>
                  <a:lnTo>
                    <a:pt x="1557353" y="1397208"/>
                  </a:lnTo>
                  <a:lnTo>
                    <a:pt x="1557353" y="1400851"/>
                  </a:lnTo>
                  <a:lnTo>
                    <a:pt x="1559175" y="1408137"/>
                  </a:lnTo>
                  <a:lnTo>
                    <a:pt x="1551889" y="1424530"/>
                  </a:lnTo>
                  <a:lnTo>
                    <a:pt x="1573747" y="1413601"/>
                  </a:lnTo>
                  <a:lnTo>
                    <a:pt x="1573747" y="1417244"/>
                  </a:lnTo>
                  <a:lnTo>
                    <a:pt x="1564639" y="1433638"/>
                  </a:lnTo>
                  <a:lnTo>
                    <a:pt x="1581032" y="1419066"/>
                  </a:lnTo>
                  <a:lnTo>
                    <a:pt x="1608354" y="1429995"/>
                  </a:lnTo>
                  <a:lnTo>
                    <a:pt x="1608354" y="1448209"/>
                  </a:lnTo>
                  <a:lnTo>
                    <a:pt x="1606533" y="1448209"/>
                  </a:lnTo>
                  <a:lnTo>
                    <a:pt x="1584675" y="1462781"/>
                  </a:lnTo>
                  <a:lnTo>
                    <a:pt x="1590140" y="1462781"/>
                  </a:lnTo>
                  <a:lnTo>
                    <a:pt x="1597426" y="1459138"/>
                  </a:lnTo>
                  <a:lnTo>
                    <a:pt x="1606533" y="1459138"/>
                  </a:lnTo>
                  <a:lnTo>
                    <a:pt x="1606533" y="1462781"/>
                  </a:lnTo>
                  <a:lnTo>
                    <a:pt x="1597426" y="1473710"/>
                  </a:lnTo>
                  <a:lnTo>
                    <a:pt x="1610176" y="1464603"/>
                  </a:lnTo>
                  <a:lnTo>
                    <a:pt x="1613819" y="1453674"/>
                  </a:lnTo>
                  <a:lnTo>
                    <a:pt x="1613819" y="1451852"/>
                  </a:lnTo>
                  <a:lnTo>
                    <a:pt x="1615640" y="1451852"/>
                  </a:lnTo>
                  <a:lnTo>
                    <a:pt x="1615640" y="1453674"/>
                  </a:lnTo>
                  <a:lnTo>
                    <a:pt x="1637498" y="1479174"/>
                  </a:lnTo>
                  <a:lnTo>
                    <a:pt x="1641141" y="1484639"/>
                  </a:lnTo>
                  <a:lnTo>
                    <a:pt x="1641141" y="1486460"/>
                  </a:lnTo>
                  <a:lnTo>
                    <a:pt x="1637498" y="1491925"/>
                  </a:lnTo>
                  <a:lnTo>
                    <a:pt x="1602890" y="1506496"/>
                  </a:lnTo>
                  <a:lnTo>
                    <a:pt x="1653891" y="1521068"/>
                  </a:lnTo>
                  <a:lnTo>
                    <a:pt x="1653891" y="1524711"/>
                  </a:lnTo>
                  <a:lnTo>
                    <a:pt x="1608354" y="1530176"/>
                  </a:lnTo>
                  <a:lnTo>
                    <a:pt x="1624748" y="1541104"/>
                  </a:lnTo>
                  <a:lnTo>
                    <a:pt x="1615640" y="1548390"/>
                  </a:lnTo>
                  <a:lnTo>
                    <a:pt x="1626569" y="1562962"/>
                  </a:lnTo>
                  <a:lnTo>
                    <a:pt x="1624748" y="1562962"/>
                  </a:lnTo>
                  <a:lnTo>
                    <a:pt x="1624748" y="1564783"/>
                  </a:lnTo>
                  <a:lnTo>
                    <a:pt x="1613819" y="1568426"/>
                  </a:lnTo>
                  <a:lnTo>
                    <a:pt x="1648427" y="1581177"/>
                  </a:lnTo>
                  <a:lnTo>
                    <a:pt x="1652070" y="1581177"/>
                  </a:lnTo>
                  <a:lnTo>
                    <a:pt x="1646605" y="1592106"/>
                  </a:lnTo>
                  <a:lnTo>
                    <a:pt x="1662999" y="1592106"/>
                  </a:lnTo>
                  <a:lnTo>
                    <a:pt x="1664820" y="1597570"/>
                  </a:lnTo>
                  <a:lnTo>
                    <a:pt x="1664820" y="1599391"/>
                  </a:lnTo>
                  <a:lnTo>
                    <a:pt x="1662999" y="1604856"/>
                  </a:lnTo>
                  <a:lnTo>
                    <a:pt x="1668463" y="1610320"/>
                  </a:lnTo>
                  <a:lnTo>
                    <a:pt x="1688499" y="1603034"/>
                  </a:lnTo>
                  <a:lnTo>
                    <a:pt x="1692142" y="1603034"/>
                  </a:lnTo>
                  <a:lnTo>
                    <a:pt x="1688499" y="1615785"/>
                  </a:lnTo>
                  <a:lnTo>
                    <a:pt x="1703071" y="1619428"/>
                  </a:lnTo>
                  <a:lnTo>
                    <a:pt x="1715821" y="1643107"/>
                  </a:lnTo>
                  <a:lnTo>
                    <a:pt x="1715821" y="1646750"/>
                  </a:lnTo>
                  <a:lnTo>
                    <a:pt x="1710357" y="1654036"/>
                  </a:lnTo>
                  <a:lnTo>
                    <a:pt x="1719464" y="1654036"/>
                  </a:lnTo>
                  <a:lnTo>
                    <a:pt x="1724929" y="1652214"/>
                  </a:lnTo>
                  <a:lnTo>
                    <a:pt x="1737679" y="1652214"/>
                  </a:lnTo>
                  <a:lnTo>
                    <a:pt x="1732214" y="1672250"/>
                  </a:lnTo>
                  <a:lnTo>
                    <a:pt x="1757715" y="1666786"/>
                  </a:lnTo>
                  <a:lnTo>
                    <a:pt x="1775930" y="1692286"/>
                  </a:lnTo>
                  <a:lnTo>
                    <a:pt x="1777751" y="1692286"/>
                  </a:lnTo>
                  <a:lnTo>
                    <a:pt x="1775930" y="1694108"/>
                  </a:lnTo>
                  <a:lnTo>
                    <a:pt x="1770465" y="1705037"/>
                  </a:lnTo>
                  <a:lnTo>
                    <a:pt x="1772287" y="1708680"/>
                  </a:lnTo>
                  <a:lnTo>
                    <a:pt x="1772287" y="1710501"/>
                  </a:lnTo>
                  <a:lnTo>
                    <a:pt x="1770465" y="1714144"/>
                  </a:lnTo>
                  <a:lnTo>
                    <a:pt x="1754072" y="1714144"/>
                  </a:lnTo>
                  <a:lnTo>
                    <a:pt x="1748608" y="1725073"/>
                  </a:lnTo>
                  <a:lnTo>
                    <a:pt x="1759536" y="1725073"/>
                  </a:lnTo>
                  <a:lnTo>
                    <a:pt x="1761358" y="1726894"/>
                  </a:lnTo>
                  <a:lnTo>
                    <a:pt x="1759536" y="1726894"/>
                  </a:lnTo>
                  <a:lnTo>
                    <a:pt x="1752251" y="1732359"/>
                  </a:lnTo>
                  <a:lnTo>
                    <a:pt x="1746786" y="1754216"/>
                  </a:lnTo>
                  <a:lnTo>
                    <a:pt x="1743143" y="1754216"/>
                  </a:lnTo>
                  <a:lnTo>
                    <a:pt x="1730393" y="1745109"/>
                  </a:lnTo>
                  <a:lnTo>
                    <a:pt x="1732214" y="1766967"/>
                  </a:lnTo>
                  <a:lnTo>
                    <a:pt x="1724929" y="1792467"/>
                  </a:lnTo>
                  <a:lnTo>
                    <a:pt x="1721286" y="1792467"/>
                  </a:lnTo>
                  <a:lnTo>
                    <a:pt x="1708535" y="1772431"/>
                  </a:lnTo>
                  <a:lnTo>
                    <a:pt x="1699428" y="1776074"/>
                  </a:lnTo>
                  <a:lnTo>
                    <a:pt x="1693964" y="1770610"/>
                  </a:lnTo>
                  <a:lnTo>
                    <a:pt x="1693964" y="1759681"/>
                  </a:lnTo>
                  <a:lnTo>
                    <a:pt x="1692142" y="1761502"/>
                  </a:lnTo>
                  <a:lnTo>
                    <a:pt x="1688499" y="1761502"/>
                  </a:lnTo>
                  <a:lnTo>
                    <a:pt x="1681213" y="1745109"/>
                  </a:lnTo>
                  <a:lnTo>
                    <a:pt x="1681213" y="1730537"/>
                  </a:lnTo>
                  <a:lnTo>
                    <a:pt x="1675749" y="1730537"/>
                  </a:lnTo>
                  <a:lnTo>
                    <a:pt x="1673927" y="1732359"/>
                  </a:lnTo>
                  <a:lnTo>
                    <a:pt x="1668463" y="1732359"/>
                  </a:lnTo>
                  <a:lnTo>
                    <a:pt x="1668463" y="1730537"/>
                  </a:lnTo>
                  <a:lnTo>
                    <a:pt x="1664820" y="1721430"/>
                  </a:lnTo>
                  <a:lnTo>
                    <a:pt x="1642962" y="1710501"/>
                  </a:lnTo>
                  <a:lnTo>
                    <a:pt x="1641141" y="1708680"/>
                  </a:lnTo>
                  <a:lnTo>
                    <a:pt x="1642962" y="1697751"/>
                  </a:lnTo>
                  <a:lnTo>
                    <a:pt x="1632034" y="1697751"/>
                  </a:lnTo>
                  <a:lnTo>
                    <a:pt x="1637498" y="1708680"/>
                  </a:lnTo>
                  <a:lnTo>
                    <a:pt x="1637498" y="1710501"/>
                  </a:lnTo>
                  <a:lnTo>
                    <a:pt x="1635677" y="1710501"/>
                  </a:lnTo>
                  <a:lnTo>
                    <a:pt x="1624748" y="1703215"/>
                  </a:lnTo>
                  <a:lnTo>
                    <a:pt x="1615640" y="1705037"/>
                  </a:lnTo>
                  <a:lnTo>
                    <a:pt x="1641141" y="1730537"/>
                  </a:lnTo>
                  <a:lnTo>
                    <a:pt x="1641141" y="1732359"/>
                  </a:lnTo>
                  <a:lnTo>
                    <a:pt x="1621105" y="1736002"/>
                  </a:lnTo>
                  <a:lnTo>
                    <a:pt x="1621105" y="1748752"/>
                  </a:lnTo>
                  <a:lnTo>
                    <a:pt x="1637498" y="1748752"/>
                  </a:lnTo>
                  <a:lnTo>
                    <a:pt x="1637498" y="1770610"/>
                  </a:lnTo>
                  <a:lnTo>
                    <a:pt x="1642962" y="1772431"/>
                  </a:lnTo>
                  <a:lnTo>
                    <a:pt x="1648427" y="1792467"/>
                  </a:lnTo>
                  <a:lnTo>
                    <a:pt x="1652070" y="1788824"/>
                  </a:lnTo>
                  <a:lnTo>
                    <a:pt x="1664820" y="1788824"/>
                  </a:lnTo>
                  <a:lnTo>
                    <a:pt x="1662999" y="1794289"/>
                  </a:lnTo>
                  <a:lnTo>
                    <a:pt x="1673927" y="1792467"/>
                  </a:lnTo>
                  <a:lnTo>
                    <a:pt x="1675749" y="1792467"/>
                  </a:lnTo>
                  <a:lnTo>
                    <a:pt x="1675749" y="1803396"/>
                  </a:lnTo>
                  <a:lnTo>
                    <a:pt x="1681213" y="1799753"/>
                  </a:lnTo>
                  <a:lnTo>
                    <a:pt x="1692142" y="1808860"/>
                  </a:lnTo>
                  <a:lnTo>
                    <a:pt x="1686678" y="1832540"/>
                  </a:lnTo>
                  <a:lnTo>
                    <a:pt x="1699428" y="1838004"/>
                  </a:lnTo>
                  <a:lnTo>
                    <a:pt x="1704892" y="1854397"/>
                  </a:lnTo>
                  <a:lnTo>
                    <a:pt x="1703071" y="1878076"/>
                  </a:lnTo>
                  <a:lnTo>
                    <a:pt x="1699428" y="1878076"/>
                  </a:lnTo>
                  <a:lnTo>
                    <a:pt x="1692142" y="1872612"/>
                  </a:lnTo>
                  <a:lnTo>
                    <a:pt x="1692142" y="1878076"/>
                  </a:lnTo>
                  <a:lnTo>
                    <a:pt x="1699428" y="1889005"/>
                  </a:lnTo>
                  <a:lnTo>
                    <a:pt x="1703071" y="1899934"/>
                  </a:lnTo>
                  <a:lnTo>
                    <a:pt x="1703071" y="1901755"/>
                  </a:lnTo>
                  <a:lnTo>
                    <a:pt x="1699428" y="1901755"/>
                  </a:lnTo>
                  <a:lnTo>
                    <a:pt x="1697606" y="1899934"/>
                  </a:lnTo>
                  <a:lnTo>
                    <a:pt x="1692142" y="1899934"/>
                  </a:lnTo>
                  <a:lnTo>
                    <a:pt x="1697606" y="1912684"/>
                  </a:lnTo>
                  <a:lnTo>
                    <a:pt x="1697606" y="1916327"/>
                  </a:lnTo>
                  <a:lnTo>
                    <a:pt x="1693964" y="1918149"/>
                  </a:lnTo>
                  <a:lnTo>
                    <a:pt x="1692142" y="1918149"/>
                  </a:lnTo>
                  <a:lnTo>
                    <a:pt x="1679392" y="1894470"/>
                  </a:lnTo>
                  <a:lnTo>
                    <a:pt x="1648427" y="1892648"/>
                  </a:lnTo>
                  <a:lnTo>
                    <a:pt x="1626569" y="1865326"/>
                  </a:lnTo>
                  <a:lnTo>
                    <a:pt x="1619283" y="1870790"/>
                  </a:lnTo>
                  <a:lnTo>
                    <a:pt x="1615640" y="1870790"/>
                  </a:lnTo>
                  <a:lnTo>
                    <a:pt x="1602890" y="1854397"/>
                  </a:lnTo>
                  <a:lnTo>
                    <a:pt x="1601069" y="1854397"/>
                  </a:lnTo>
                  <a:lnTo>
                    <a:pt x="1606533" y="1861683"/>
                  </a:lnTo>
                  <a:lnTo>
                    <a:pt x="1626569" y="1892648"/>
                  </a:lnTo>
                  <a:lnTo>
                    <a:pt x="1664820" y="1927256"/>
                  </a:lnTo>
                  <a:lnTo>
                    <a:pt x="1668463" y="1949114"/>
                  </a:lnTo>
                  <a:lnTo>
                    <a:pt x="1668463" y="1950935"/>
                  </a:lnTo>
                  <a:lnTo>
                    <a:pt x="1657534" y="1950935"/>
                  </a:lnTo>
                  <a:lnTo>
                    <a:pt x="1646605" y="1940006"/>
                  </a:lnTo>
                  <a:lnTo>
                    <a:pt x="1635677" y="1943649"/>
                  </a:lnTo>
                  <a:lnTo>
                    <a:pt x="1606533" y="1932720"/>
                  </a:lnTo>
                  <a:lnTo>
                    <a:pt x="1601069" y="1921792"/>
                  </a:lnTo>
                  <a:lnTo>
                    <a:pt x="1595604" y="1923613"/>
                  </a:lnTo>
                  <a:lnTo>
                    <a:pt x="1591961" y="1923613"/>
                  </a:lnTo>
                  <a:lnTo>
                    <a:pt x="1584675" y="1905398"/>
                  </a:lnTo>
                  <a:lnTo>
                    <a:pt x="1575568" y="1907220"/>
                  </a:lnTo>
                  <a:lnTo>
                    <a:pt x="1573747" y="1907220"/>
                  </a:lnTo>
                  <a:lnTo>
                    <a:pt x="1573747" y="1899934"/>
                  </a:lnTo>
                  <a:lnTo>
                    <a:pt x="1564639" y="1905398"/>
                  </a:lnTo>
                  <a:lnTo>
                    <a:pt x="1562818" y="1905398"/>
                  </a:lnTo>
                  <a:lnTo>
                    <a:pt x="1540960" y="1894470"/>
                  </a:lnTo>
                  <a:lnTo>
                    <a:pt x="1519102" y="1865326"/>
                  </a:lnTo>
                  <a:lnTo>
                    <a:pt x="1519102" y="1861683"/>
                  </a:lnTo>
                  <a:lnTo>
                    <a:pt x="1522745" y="1861683"/>
                  </a:lnTo>
                  <a:lnTo>
                    <a:pt x="1528210" y="1867148"/>
                  </a:lnTo>
                  <a:lnTo>
                    <a:pt x="1535496" y="1861683"/>
                  </a:lnTo>
                  <a:lnTo>
                    <a:pt x="1500888" y="1843468"/>
                  </a:lnTo>
                  <a:lnTo>
                    <a:pt x="1484495" y="1808860"/>
                  </a:lnTo>
                  <a:lnTo>
                    <a:pt x="1458994" y="1803396"/>
                  </a:lnTo>
                  <a:lnTo>
                    <a:pt x="1458994" y="1794289"/>
                  </a:lnTo>
                  <a:lnTo>
                    <a:pt x="1455351" y="1797932"/>
                  </a:lnTo>
                  <a:lnTo>
                    <a:pt x="1462637" y="1814325"/>
                  </a:lnTo>
                  <a:lnTo>
                    <a:pt x="1458994" y="1819789"/>
                  </a:lnTo>
                  <a:lnTo>
                    <a:pt x="1435315" y="1808860"/>
                  </a:lnTo>
                  <a:lnTo>
                    <a:pt x="1429850" y="1810682"/>
                  </a:lnTo>
                  <a:lnTo>
                    <a:pt x="1433493" y="1819789"/>
                  </a:lnTo>
                  <a:lnTo>
                    <a:pt x="1429850" y="1819789"/>
                  </a:lnTo>
                  <a:lnTo>
                    <a:pt x="1411636" y="1828897"/>
                  </a:lnTo>
                  <a:lnTo>
                    <a:pt x="1407993" y="1828897"/>
                  </a:lnTo>
                  <a:lnTo>
                    <a:pt x="1386135" y="1819789"/>
                  </a:lnTo>
                  <a:lnTo>
                    <a:pt x="1377028" y="1805218"/>
                  </a:lnTo>
                  <a:lnTo>
                    <a:pt x="1377028" y="1803396"/>
                  </a:lnTo>
                  <a:lnTo>
                    <a:pt x="1378849" y="1783360"/>
                  </a:lnTo>
                  <a:lnTo>
                    <a:pt x="1391600" y="1772431"/>
                  </a:lnTo>
                  <a:lnTo>
                    <a:pt x="1391600" y="1765145"/>
                  </a:lnTo>
                  <a:lnTo>
                    <a:pt x="1395243" y="1765145"/>
                  </a:lnTo>
                  <a:lnTo>
                    <a:pt x="1391600" y="1761502"/>
                  </a:lnTo>
                  <a:lnTo>
                    <a:pt x="1391600" y="1759681"/>
                  </a:lnTo>
                  <a:lnTo>
                    <a:pt x="1402528" y="1759681"/>
                  </a:lnTo>
                  <a:lnTo>
                    <a:pt x="1418922" y="1761502"/>
                  </a:lnTo>
                  <a:lnTo>
                    <a:pt x="1435315" y="1766967"/>
                  </a:lnTo>
                  <a:lnTo>
                    <a:pt x="1444422" y="1766967"/>
                  </a:lnTo>
                  <a:lnTo>
                    <a:pt x="1469923" y="1754216"/>
                  </a:lnTo>
                  <a:lnTo>
                    <a:pt x="1484495" y="1759681"/>
                  </a:lnTo>
                  <a:lnTo>
                    <a:pt x="1484495" y="1748752"/>
                  </a:lnTo>
                  <a:lnTo>
                    <a:pt x="1462637" y="1719608"/>
                  </a:lnTo>
                  <a:lnTo>
                    <a:pt x="1462637" y="1715966"/>
                  </a:lnTo>
                  <a:lnTo>
                    <a:pt x="1497245" y="1683179"/>
                  </a:lnTo>
                  <a:lnTo>
                    <a:pt x="1500888" y="1670429"/>
                  </a:lnTo>
                  <a:lnTo>
                    <a:pt x="1513638" y="1652214"/>
                  </a:lnTo>
                  <a:lnTo>
                    <a:pt x="1497245" y="1597570"/>
                  </a:lnTo>
                  <a:lnTo>
                    <a:pt x="1479030" y="1586641"/>
                  </a:lnTo>
                  <a:lnTo>
                    <a:pt x="1475387" y="1562962"/>
                  </a:lnTo>
                  <a:lnTo>
                    <a:pt x="1469923" y="1562962"/>
                  </a:lnTo>
                  <a:lnTo>
                    <a:pt x="1469923" y="1573891"/>
                  </a:lnTo>
                  <a:lnTo>
                    <a:pt x="1468101" y="1573891"/>
                  </a:lnTo>
                  <a:lnTo>
                    <a:pt x="1451708" y="1553855"/>
                  </a:lnTo>
                  <a:lnTo>
                    <a:pt x="1451708" y="1546569"/>
                  </a:lnTo>
                  <a:lnTo>
                    <a:pt x="1438958" y="1546569"/>
                  </a:lnTo>
                  <a:lnTo>
                    <a:pt x="1413457" y="1564783"/>
                  </a:lnTo>
                  <a:lnTo>
                    <a:pt x="1411636" y="1564783"/>
                  </a:lnTo>
                  <a:lnTo>
                    <a:pt x="1411636" y="1537461"/>
                  </a:lnTo>
                  <a:lnTo>
                    <a:pt x="1424386" y="1537461"/>
                  </a:lnTo>
                  <a:lnTo>
                    <a:pt x="1433493" y="1531997"/>
                  </a:lnTo>
                  <a:lnTo>
                    <a:pt x="1429850" y="1524711"/>
                  </a:lnTo>
                  <a:lnTo>
                    <a:pt x="1400707" y="1501032"/>
                  </a:lnTo>
                  <a:lnTo>
                    <a:pt x="1400707" y="1497389"/>
                  </a:lnTo>
                  <a:lnTo>
                    <a:pt x="1406171" y="1495568"/>
                  </a:lnTo>
                  <a:lnTo>
                    <a:pt x="1402528" y="1486460"/>
                  </a:lnTo>
                  <a:lnTo>
                    <a:pt x="1386135" y="1486460"/>
                  </a:lnTo>
                  <a:lnTo>
                    <a:pt x="1386135" y="1459138"/>
                  </a:lnTo>
                  <a:lnTo>
                    <a:pt x="1380671" y="1459138"/>
                  </a:lnTo>
                  <a:lnTo>
                    <a:pt x="1378849" y="1462781"/>
                  </a:lnTo>
                  <a:lnTo>
                    <a:pt x="1373385" y="1462781"/>
                  </a:lnTo>
                  <a:lnTo>
                    <a:pt x="1360635" y="1448209"/>
                  </a:lnTo>
                  <a:lnTo>
                    <a:pt x="1351527" y="1448209"/>
                  </a:lnTo>
                  <a:lnTo>
                    <a:pt x="1355170" y="1451852"/>
                  </a:lnTo>
                  <a:lnTo>
                    <a:pt x="1362456" y="1475531"/>
                  </a:lnTo>
                  <a:lnTo>
                    <a:pt x="1362456" y="1479174"/>
                  </a:lnTo>
                  <a:lnTo>
                    <a:pt x="1360635" y="1480996"/>
                  </a:lnTo>
                  <a:lnTo>
                    <a:pt x="1338777" y="1486460"/>
                  </a:lnTo>
                  <a:lnTo>
                    <a:pt x="1335134" y="1486460"/>
                  </a:lnTo>
                  <a:lnTo>
                    <a:pt x="1333313" y="1475531"/>
                  </a:lnTo>
                  <a:lnTo>
                    <a:pt x="1295062" y="1468246"/>
                  </a:lnTo>
                  <a:lnTo>
                    <a:pt x="1307812" y="1484639"/>
                  </a:lnTo>
                  <a:lnTo>
                    <a:pt x="1311455" y="1490103"/>
                  </a:lnTo>
                  <a:lnTo>
                    <a:pt x="1311455" y="1491925"/>
                  </a:lnTo>
                  <a:lnTo>
                    <a:pt x="1302348" y="1491925"/>
                  </a:lnTo>
                  <a:lnTo>
                    <a:pt x="1293240" y="1479174"/>
                  </a:lnTo>
                  <a:lnTo>
                    <a:pt x="1287776" y="1490103"/>
                  </a:lnTo>
                  <a:lnTo>
                    <a:pt x="1284133" y="1490103"/>
                  </a:lnTo>
                  <a:lnTo>
                    <a:pt x="1256811" y="1473710"/>
                  </a:lnTo>
                  <a:lnTo>
                    <a:pt x="1189416" y="1473710"/>
                  </a:lnTo>
                  <a:lnTo>
                    <a:pt x="1176666" y="1457317"/>
                  </a:lnTo>
                  <a:lnTo>
                    <a:pt x="1173023" y="1442745"/>
                  </a:lnTo>
                  <a:lnTo>
                    <a:pt x="1162094" y="1453674"/>
                  </a:lnTo>
                  <a:lnTo>
                    <a:pt x="1154809" y="1453674"/>
                  </a:lnTo>
                  <a:lnTo>
                    <a:pt x="1149344" y="1451852"/>
                  </a:lnTo>
                  <a:lnTo>
                    <a:pt x="1136594" y="1451852"/>
                  </a:lnTo>
                  <a:lnTo>
                    <a:pt x="1105629" y="1411780"/>
                  </a:lnTo>
                  <a:lnTo>
                    <a:pt x="1109272" y="1402673"/>
                  </a:lnTo>
                  <a:lnTo>
                    <a:pt x="1105629" y="1400851"/>
                  </a:lnTo>
                  <a:lnTo>
                    <a:pt x="1105629" y="1397208"/>
                  </a:lnTo>
                  <a:lnTo>
                    <a:pt x="1127486" y="1397208"/>
                  </a:lnTo>
                  <a:lnTo>
                    <a:pt x="1143880" y="1400851"/>
                  </a:lnTo>
                  <a:lnTo>
                    <a:pt x="1151166" y="1400851"/>
                  </a:lnTo>
                  <a:lnTo>
                    <a:pt x="1092879" y="1369886"/>
                  </a:lnTo>
                  <a:lnTo>
                    <a:pt x="1089236" y="1369886"/>
                  </a:lnTo>
                  <a:lnTo>
                    <a:pt x="1094700" y="1346207"/>
                  </a:lnTo>
                  <a:lnTo>
                    <a:pt x="1087414" y="1329814"/>
                  </a:lnTo>
                  <a:lnTo>
                    <a:pt x="1087414" y="1327992"/>
                  </a:lnTo>
                  <a:lnTo>
                    <a:pt x="1098343" y="1317063"/>
                  </a:lnTo>
                  <a:lnTo>
                    <a:pt x="1094700" y="1317063"/>
                  </a:lnTo>
                  <a:lnTo>
                    <a:pt x="1094700" y="1313421"/>
                  </a:lnTo>
                  <a:lnTo>
                    <a:pt x="1092879" y="1297027"/>
                  </a:lnTo>
                  <a:lnTo>
                    <a:pt x="1103807" y="1267884"/>
                  </a:lnTo>
                  <a:lnTo>
                    <a:pt x="1105629" y="1267884"/>
                  </a:lnTo>
                  <a:lnTo>
                    <a:pt x="1105629" y="1266062"/>
                  </a:lnTo>
                  <a:lnTo>
                    <a:pt x="1111093" y="1238740"/>
                  </a:lnTo>
                  <a:close/>
                  <a:moveTo>
                    <a:pt x="848802" y="1173169"/>
                  </a:moveTo>
                  <a:lnTo>
                    <a:pt x="852445" y="1173169"/>
                  </a:lnTo>
                  <a:lnTo>
                    <a:pt x="881588" y="1187741"/>
                  </a:lnTo>
                  <a:lnTo>
                    <a:pt x="918018" y="1173169"/>
                  </a:lnTo>
                  <a:lnTo>
                    <a:pt x="919839" y="1173169"/>
                  </a:lnTo>
                  <a:lnTo>
                    <a:pt x="927125" y="1184098"/>
                  </a:lnTo>
                  <a:lnTo>
                    <a:pt x="930768" y="1187741"/>
                  </a:lnTo>
                  <a:lnTo>
                    <a:pt x="927125" y="1187741"/>
                  </a:lnTo>
                  <a:lnTo>
                    <a:pt x="914375" y="1207777"/>
                  </a:lnTo>
                  <a:lnTo>
                    <a:pt x="921661" y="1222349"/>
                  </a:lnTo>
                  <a:lnTo>
                    <a:pt x="921661" y="1224170"/>
                  </a:lnTo>
                  <a:lnTo>
                    <a:pt x="908910" y="1233277"/>
                  </a:lnTo>
                  <a:lnTo>
                    <a:pt x="897982" y="1255135"/>
                  </a:lnTo>
                  <a:lnTo>
                    <a:pt x="912553" y="1246028"/>
                  </a:lnTo>
                  <a:lnTo>
                    <a:pt x="914375" y="1246028"/>
                  </a:lnTo>
                  <a:lnTo>
                    <a:pt x="914375" y="1249671"/>
                  </a:lnTo>
                  <a:lnTo>
                    <a:pt x="927125" y="1271528"/>
                  </a:lnTo>
                  <a:lnTo>
                    <a:pt x="925303" y="1276993"/>
                  </a:lnTo>
                  <a:lnTo>
                    <a:pt x="936232" y="1271528"/>
                  </a:lnTo>
                  <a:lnTo>
                    <a:pt x="938054" y="1271528"/>
                  </a:lnTo>
                  <a:lnTo>
                    <a:pt x="943518" y="1291564"/>
                  </a:lnTo>
                  <a:lnTo>
                    <a:pt x="938054" y="1306136"/>
                  </a:lnTo>
                  <a:lnTo>
                    <a:pt x="941697" y="1340744"/>
                  </a:lnTo>
                  <a:lnTo>
                    <a:pt x="921661" y="1358959"/>
                  </a:lnTo>
                  <a:lnTo>
                    <a:pt x="907089" y="1358959"/>
                  </a:lnTo>
                  <a:lnTo>
                    <a:pt x="907089" y="1369887"/>
                  </a:lnTo>
                  <a:lnTo>
                    <a:pt x="896160" y="1384459"/>
                  </a:lnTo>
                  <a:lnTo>
                    <a:pt x="879767" y="1380816"/>
                  </a:lnTo>
                  <a:lnTo>
                    <a:pt x="879767" y="1378995"/>
                  </a:lnTo>
                  <a:lnTo>
                    <a:pt x="870660" y="1351673"/>
                  </a:lnTo>
                  <a:lnTo>
                    <a:pt x="857909" y="1335280"/>
                  </a:lnTo>
                  <a:lnTo>
                    <a:pt x="848802" y="1322529"/>
                  </a:lnTo>
                  <a:lnTo>
                    <a:pt x="823302" y="1317065"/>
                  </a:lnTo>
                  <a:lnTo>
                    <a:pt x="823302" y="1313422"/>
                  </a:lnTo>
                  <a:lnTo>
                    <a:pt x="797801" y="1273350"/>
                  </a:lnTo>
                  <a:lnTo>
                    <a:pt x="797801" y="1271528"/>
                  </a:lnTo>
                  <a:lnTo>
                    <a:pt x="801444" y="1255135"/>
                  </a:lnTo>
                  <a:lnTo>
                    <a:pt x="808730" y="1249671"/>
                  </a:lnTo>
                  <a:lnTo>
                    <a:pt x="812373" y="1249671"/>
                  </a:lnTo>
                  <a:lnTo>
                    <a:pt x="812373" y="1251492"/>
                  </a:lnTo>
                  <a:lnTo>
                    <a:pt x="830587" y="1276993"/>
                  </a:lnTo>
                  <a:lnTo>
                    <a:pt x="852445" y="1271528"/>
                  </a:lnTo>
                  <a:lnTo>
                    <a:pt x="848802" y="1260599"/>
                  </a:lnTo>
                  <a:lnTo>
                    <a:pt x="854266" y="1255135"/>
                  </a:lnTo>
                  <a:lnTo>
                    <a:pt x="846981" y="1235099"/>
                  </a:lnTo>
                  <a:lnTo>
                    <a:pt x="854266" y="1235099"/>
                  </a:lnTo>
                  <a:lnTo>
                    <a:pt x="823302" y="1213241"/>
                  </a:lnTo>
                  <a:lnTo>
                    <a:pt x="823302" y="1211420"/>
                  </a:lnTo>
                  <a:lnTo>
                    <a:pt x="830587" y="1211420"/>
                  </a:lnTo>
                  <a:lnTo>
                    <a:pt x="836052" y="1213241"/>
                  </a:lnTo>
                  <a:lnTo>
                    <a:pt x="841516" y="1213241"/>
                  </a:lnTo>
                  <a:lnTo>
                    <a:pt x="839695" y="1202313"/>
                  </a:lnTo>
                  <a:lnTo>
                    <a:pt x="828766" y="1195027"/>
                  </a:lnTo>
                  <a:lnTo>
                    <a:pt x="825123" y="1195027"/>
                  </a:lnTo>
                  <a:lnTo>
                    <a:pt x="825123" y="1193205"/>
                  </a:lnTo>
                  <a:lnTo>
                    <a:pt x="828766" y="1193205"/>
                  </a:lnTo>
                  <a:lnTo>
                    <a:pt x="848802" y="1189562"/>
                  </a:lnTo>
                  <a:lnTo>
                    <a:pt x="845159" y="1178633"/>
                  </a:lnTo>
                  <a:close/>
                  <a:moveTo>
                    <a:pt x="907092" y="1154954"/>
                  </a:moveTo>
                  <a:lnTo>
                    <a:pt x="908913" y="1154954"/>
                  </a:lnTo>
                  <a:lnTo>
                    <a:pt x="908913" y="1156776"/>
                  </a:lnTo>
                  <a:lnTo>
                    <a:pt x="890699" y="1182277"/>
                  </a:lnTo>
                  <a:lnTo>
                    <a:pt x="868841" y="1178634"/>
                  </a:lnTo>
                  <a:lnTo>
                    <a:pt x="868841" y="1176812"/>
                  </a:lnTo>
                  <a:lnTo>
                    <a:pt x="907092" y="1156776"/>
                  </a:lnTo>
                  <a:close/>
                  <a:moveTo>
                    <a:pt x="1010915" y="1149489"/>
                  </a:moveTo>
                  <a:lnTo>
                    <a:pt x="1087417" y="1171347"/>
                  </a:lnTo>
                  <a:lnTo>
                    <a:pt x="1087417" y="1173168"/>
                  </a:lnTo>
                  <a:lnTo>
                    <a:pt x="1076488" y="1200490"/>
                  </a:lnTo>
                  <a:lnTo>
                    <a:pt x="1071024" y="1200490"/>
                  </a:lnTo>
                  <a:lnTo>
                    <a:pt x="1065559" y="1224169"/>
                  </a:lnTo>
                  <a:lnTo>
                    <a:pt x="1060095" y="1229634"/>
                  </a:lnTo>
                  <a:lnTo>
                    <a:pt x="1063738" y="1229634"/>
                  </a:lnTo>
                  <a:lnTo>
                    <a:pt x="1060095" y="1240563"/>
                  </a:lnTo>
                  <a:lnTo>
                    <a:pt x="1043702" y="1273349"/>
                  </a:lnTo>
                  <a:lnTo>
                    <a:pt x="1036416" y="1273349"/>
                  </a:lnTo>
                  <a:lnTo>
                    <a:pt x="1016380" y="1271528"/>
                  </a:lnTo>
                  <a:lnTo>
                    <a:pt x="992701" y="1271528"/>
                  </a:lnTo>
                  <a:lnTo>
                    <a:pt x="1014558" y="1289742"/>
                  </a:lnTo>
                  <a:lnTo>
                    <a:pt x="1014558" y="1291564"/>
                  </a:lnTo>
                  <a:lnTo>
                    <a:pt x="998165" y="1322529"/>
                  </a:lnTo>
                  <a:lnTo>
                    <a:pt x="976307" y="1327993"/>
                  </a:lnTo>
                  <a:lnTo>
                    <a:pt x="970843" y="1324350"/>
                  </a:lnTo>
                  <a:lnTo>
                    <a:pt x="970843" y="1322529"/>
                  </a:lnTo>
                  <a:lnTo>
                    <a:pt x="976307" y="1317064"/>
                  </a:lnTo>
                  <a:lnTo>
                    <a:pt x="970843" y="1313421"/>
                  </a:lnTo>
                  <a:lnTo>
                    <a:pt x="970843" y="1295207"/>
                  </a:lnTo>
                  <a:lnTo>
                    <a:pt x="976307" y="1284278"/>
                  </a:lnTo>
                  <a:lnTo>
                    <a:pt x="959914" y="1273349"/>
                  </a:lnTo>
                  <a:lnTo>
                    <a:pt x="959914" y="1187740"/>
                  </a:lnTo>
                  <a:lnTo>
                    <a:pt x="981772" y="1193204"/>
                  </a:lnTo>
                  <a:lnTo>
                    <a:pt x="965378" y="1173168"/>
                  </a:lnTo>
                  <a:lnTo>
                    <a:pt x="965378" y="1171347"/>
                  </a:lnTo>
                  <a:lnTo>
                    <a:pt x="974486" y="1156775"/>
                  </a:lnTo>
                  <a:lnTo>
                    <a:pt x="974486" y="1154953"/>
                  </a:lnTo>
                  <a:close/>
                  <a:moveTo>
                    <a:pt x="338793" y="1109417"/>
                  </a:moveTo>
                  <a:lnTo>
                    <a:pt x="344258" y="1109417"/>
                  </a:lnTo>
                  <a:lnTo>
                    <a:pt x="344258" y="1111238"/>
                  </a:lnTo>
                  <a:lnTo>
                    <a:pt x="347901" y="1111238"/>
                  </a:lnTo>
                  <a:lnTo>
                    <a:pt x="389794" y="1144025"/>
                  </a:lnTo>
                  <a:lnTo>
                    <a:pt x="389794" y="1145846"/>
                  </a:lnTo>
                  <a:lnTo>
                    <a:pt x="387973" y="1154954"/>
                  </a:lnTo>
                  <a:lnTo>
                    <a:pt x="398902" y="1144025"/>
                  </a:lnTo>
                  <a:lnTo>
                    <a:pt x="400723" y="1144025"/>
                  </a:lnTo>
                  <a:lnTo>
                    <a:pt x="400723" y="1154954"/>
                  </a:lnTo>
                  <a:lnTo>
                    <a:pt x="406188" y="1140382"/>
                  </a:lnTo>
                  <a:lnTo>
                    <a:pt x="438974" y="1140382"/>
                  </a:lnTo>
                  <a:lnTo>
                    <a:pt x="493618" y="1205955"/>
                  </a:lnTo>
                  <a:lnTo>
                    <a:pt x="493618" y="1207777"/>
                  </a:lnTo>
                  <a:lnTo>
                    <a:pt x="404366" y="1273349"/>
                  </a:lnTo>
                  <a:lnTo>
                    <a:pt x="395259" y="1300672"/>
                  </a:lnTo>
                  <a:lnTo>
                    <a:pt x="377044" y="1307957"/>
                  </a:lnTo>
                  <a:lnTo>
                    <a:pt x="369758" y="1329815"/>
                  </a:lnTo>
                  <a:lnTo>
                    <a:pt x="371580" y="1346208"/>
                  </a:lnTo>
                  <a:lnTo>
                    <a:pt x="366115" y="1362602"/>
                  </a:lnTo>
                  <a:lnTo>
                    <a:pt x="347901" y="1373530"/>
                  </a:lnTo>
                  <a:lnTo>
                    <a:pt x="344258" y="1373530"/>
                  </a:lnTo>
                  <a:lnTo>
                    <a:pt x="338793" y="1364423"/>
                  </a:lnTo>
                  <a:lnTo>
                    <a:pt x="304186" y="1395388"/>
                  </a:lnTo>
                  <a:lnTo>
                    <a:pt x="280507" y="1346208"/>
                  </a:lnTo>
                  <a:lnTo>
                    <a:pt x="238613" y="1329815"/>
                  </a:lnTo>
                  <a:lnTo>
                    <a:pt x="238613" y="1327994"/>
                  </a:lnTo>
                  <a:lnTo>
                    <a:pt x="260471" y="1278814"/>
                  </a:lnTo>
                  <a:lnTo>
                    <a:pt x="255006" y="1255135"/>
                  </a:lnTo>
                  <a:lnTo>
                    <a:pt x="255006" y="1251492"/>
                  </a:lnTo>
                  <a:lnTo>
                    <a:pt x="265935" y="1249670"/>
                  </a:lnTo>
                  <a:lnTo>
                    <a:pt x="260471" y="1238742"/>
                  </a:lnTo>
                  <a:lnTo>
                    <a:pt x="260471" y="1235099"/>
                  </a:lnTo>
                  <a:lnTo>
                    <a:pt x="285971" y="1176812"/>
                  </a:lnTo>
                  <a:lnTo>
                    <a:pt x="276864" y="1162240"/>
                  </a:lnTo>
                  <a:lnTo>
                    <a:pt x="275042" y="1151311"/>
                  </a:lnTo>
                  <a:lnTo>
                    <a:pt x="276864" y="1144025"/>
                  </a:lnTo>
                  <a:lnTo>
                    <a:pt x="269578" y="1129453"/>
                  </a:lnTo>
                  <a:lnTo>
                    <a:pt x="269578" y="1127632"/>
                  </a:lnTo>
                  <a:lnTo>
                    <a:pt x="302364" y="1116703"/>
                  </a:lnTo>
                  <a:lnTo>
                    <a:pt x="304186" y="1116703"/>
                  </a:lnTo>
                  <a:lnTo>
                    <a:pt x="307829" y="1123989"/>
                  </a:lnTo>
                  <a:lnTo>
                    <a:pt x="307829" y="1116703"/>
                  </a:lnTo>
                  <a:lnTo>
                    <a:pt x="313293" y="1116703"/>
                  </a:lnTo>
                  <a:lnTo>
                    <a:pt x="316936" y="1114881"/>
                  </a:lnTo>
                  <a:lnTo>
                    <a:pt x="326043" y="1111238"/>
                  </a:lnTo>
                  <a:lnTo>
                    <a:pt x="333329" y="1111238"/>
                  </a:lnTo>
                  <a:close/>
                  <a:moveTo>
                    <a:pt x="746681" y="1035982"/>
                  </a:moveTo>
                  <a:cubicBezTo>
                    <a:pt x="757327" y="1032398"/>
                    <a:pt x="761619" y="1046132"/>
                    <a:pt x="764037" y="1053775"/>
                  </a:cubicBezTo>
                  <a:cubicBezTo>
                    <a:pt x="769843" y="1065482"/>
                    <a:pt x="754061" y="1077546"/>
                    <a:pt x="743298" y="1071631"/>
                  </a:cubicBezTo>
                  <a:cubicBezTo>
                    <a:pt x="739910" y="1069604"/>
                    <a:pt x="736826" y="1066977"/>
                    <a:pt x="734226" y="1063988"/>
                  </a:cubicBezTo>
                  <a:cubicBezTo>
                    <a:pt x="736221" y="1054137"/>
                    <a:pt x="738699" y="1042967"/>
                    <a:pt x="746681" y="1035982"/>
                  </a:cubicBezTo>
                  <a:close/>
                  <a:moveTo>
                    <a:pt x="948319" y="1035367"/>
                  </a:moveTo>
                  <a:cubicBezTo>
                    <a:pt x="949315" y="1036037"/>
                    <a:pt x="949827" y="1037305"/>
                    <a:pt x="948717" y="1038474"/>
                  </a:cubicBezTo>
                  <a:cubicBezTo>
                    <a:pt x="947066" y="1040925"/>
                    <a:pt x="942911" y="1038246"/>
                    <a:pt x="945017" y="1035852"/>
                  </a:cubicBezTo>
                  <a:cubicBezTo>
                    <a:pt x="945842" y="1034626"/>
                    <a:pt x="947322" y="1034697"/>
                    <a:pt x="948319" y="1035367"/>
                  </a:cubicBezTo>
                  <a:close/>
                  <a:moveTo>
                    <a:pt x="839340" y="1018550"/>
                  </a:moveTo>
                  <a:cubicBezTo>
                    <a:pt x="842979" y="1017445"/>
                    <a:pt x="846779" y="1017243"/>
                    <a:pt x="850608" y="1018643"/>
                  </a:cubicBezTo>
                  <a:cubicBezTo>
                    <a:pt x="843884" y="1022127"/>
                    <a:pt x="836404" y="1023123"/>
                    <a:pt x="829037" y="1023869"/>
                  </a:cubicBezTo>
                  <a:cubicBezTo>
                    <a:pt x="832223" y="1021660"/>
                    <a:pt x="835701" y="1019654"/>
                    <a:pt x="839340" y="1018550"/>
                  </a:cubicBezTo>
                  <a:close/>
                  <a:moveTo>
                    <a:pt x="981895" y="1016474"/>
                  </a:moveTo>
                  <a:cubicBezTo>
                    <a:pt x="990778" y="1023222"/>
                    <a:pt x="996626" y="1033069"/>
                    <a:pt x="1002887" y="1042199"/>
                  </a:cubicBezTo>
                  <a:cubicBezTo>
                    <a:pt x="1008430" y="1050021"/>
                    <a:pt x="1006699" y="1060284"/>
                    <a:pt x="1007835" y="1069240"/>
                  </a:cubicBezTo>
                  <a:cubicBezTo>
                    <a:pt x="1008247" y="1080945"/>
                    <a:pt x="1010634" y="1092757"/>
                    <a:pt x="1009147" y="1104462"/>
                  </a:cubicBezTo>
                  <a:cubicBezTo>
                    <a:pt x="1001926" y="1112159"/>
                    <a:pt x="989588" y="1108519"/>
                    <a:pt x="980408" y="1109051"/>
                  </a:cubicBezTo>
                  <a:cubicBezTo>
                    <a:pt x="972180" y="1108403"/>
                    <a:pt x="968665" y="1100222"/>
                    <a:pt x="964250" y="1094432"/>
                  </a:cubicBezTo>
                  <a:lnTo>
                    <a:pt x="959065" y="1100880"/>
                  </a:lnTo>
                  <a:lnTo>
                    <a:pt x="959957" y="1093357"/>
                  </a:lnTo>
                  <a:cubicBezTo>
                    <a:pt x="949168" y="1088816"/>
                    <a:pt x="935817" y="1082668"/>
                    <a:pt x="934383" y="1069482"/>
                  </a:cubicBezTo>
                  <a:cubicBezTo>
                    <a:pt x="935931" y="1053187"/>
                    <a:pt x="954536" y="1044174"/>
                    <a:pt x="954056" y="1027105"/>
                  </a:cubicBezTo>
                  <a:cubicBezTo>
                    <a:pt x="962642" y="1022031"/>
                    <a:pt x="971166" y="1015341"/>
                    <a:pt x="981895" y="1016474"/>
                  </a:cubicBezTo>
                  <a:close/>
                  <a:moveTo>
                    <a:pt x="940548" y="1015341"/>
                  </a:moveTo>
                  <a:cubicBezTo>
                    <a:pt x="944045" y="1016313"/>
                    <a:pt x="948929" y="1017403"/>
                    <a:pt x="950436" y="1021044"/>
                  </a:cubicBezTo>
                  <a:cubicBezTo>
                    <a:pt x="949471" y="1025656"/>
                    <a:pt x="946698" y="1029601"/>
                    <a:pt x="944528" y="1033724"/>
                  </a:cubicBezTo>
                  <a:lnTo>
                    <a:pt x="936933" y="1025170"/>
                  </a:lnTo>
                  <a:cubicBezTo>
                    <a:pt x="935063" y="1031904"/>
                    <a:pt x="931565" y="1038093"/>
                    <a:pt x="927164" y="1043433"/>
                  </a:cubicBezTo>
                  <a:cubicBezTo>
                    <a:pt x="925960" y="1039489"/>
                    <a:pt x="924272" y="1035666"/>
                    <a:pt x="923849" y="1031601"/>
                  </a:cubicBezTo>
                  <a:cubicBezTo>
                    <a:pt x="927468" y="1024564"/>
                    <a:pt x="934460" y="1020013"/>
                    <a:pt x="940548" y="1015341"/>
                  </a:cubicBezTo>
                  <a:close/>
                  <a:moveTo>
                    <a:pt x="350966" y="985240"/>
                  </a:moveTo>
                  <a:cubicBezTo>
                    <a:pt x="350019" y="992304"/>
                    <a:pt x="348894" y="999245"/>
                    <a:pt x="347828" y="1006309"/>
                  </a:cubicBezTo>
                  <a:lnTo>
                    <a:pt x="341435" y="1003996"/>
                  </a:lnTo>
                  <a:cubicBezTo>
                    <a:pt x="344750" y="997785"/>
                    <a:pt x="347651" y="991390"/>
                    <a:pt x="350966" y="985240"/>
                  </a:cubicBezTo>
                  <a:close/>
                  <a:moveTo>
                    <a:pt x="952788" y="983359"/>
                  </a:moveTo>
                  <a:cubicBezTo>
                    <a:pt x="956457" y="983236"/>
                    <a:pt x="956208" y="989256"/>
                    <a:pt x="952601" y="989133"/>
                  </a:cubicBezTo>
                  <a:cubicBezTo>
                    <a:pt x="948932" y="989133"/>
                    <a:pt x="949243" y="983236"/>
                    <a:pt x="952788" y="983359"/>
                  </a:cubicBezTo>
                  <a:close/>
                  <a:moveTo>
                    <a:pt x="984468" y="982232"/>
                  </a:moveTo>
                  <a:cubicBezTo>
                    <a:pt x="986059" y="989657"/>
                    <a:pt x="987709" y="997145"/>
                    <a:pt x="989064" y="1004691"/>
                  </a:cubicBezTo>
                  <a:cubicBezTo>
                    <a:pt x="973512" y="1009823"/>
                    <a:pt x="977694" y="993583"/>
                    <a:pt x="975456" y="985190"/>
                  </a:cubicBezTo>
                  <a:close/>
                  <a:moveTo>
                    <a:pt x="794632" y="982154"/>
                  </a:moveTo>
                  <a:cubicBezTo>
                    <a:pt x="798103" y="981311"/>
                    <a:pt x="801742" y="981394"/>
                    <a:pt x="805460" y="982787"/>
                  </a:cubicBezTo>
                  <a:cubicBezTo>
                    <a:pt x="800740" y="989376"/>
                    <a:pt x="794830" y="995008"/>
                    <a:pt x="789394" y="1001061"/>
                  </a:cubicBezTo>
                  <a:cubicBezTo>
                    <a:pt x="784678" y="1006813"/>
                    <a:pt x="776735" y="1004655"/>
                    <a:pt x="770344" y="1004356"/>
                  </a:cubicBezTo>
                  <a:cubicBezTo>
                    <a:pt x="775316" y="995547"/>
                    <a:pt x="784218" y="984684"/>
                    <a:pt x="794632" y="982154"/>
                  </a:cubicBezTo>
                  <a:close/>
                  <a:moveTo>
                    <a:pt x="974722" y="968186"/>
                  </a:moveTo>
                  <a:cubicBezTo>
                    <a:pt x="975784" y="969983"/>
                    <a:pt x="976906" y="971780"/>
                    <a:pt x="978027" y="973637"/>
                  </a:cubicBezTo>
                  <a:cubicBezTo>
                    <a:pt x="975844" y="974475"/>
                    <a:pt x="973659" y="975314"/>
                    <a:pt x="971476" y="976212"/>
                  </a:cubicBezTo>
                  <a:cubicBezTo>
                    <a:pt x="970650" y="973637"/>
                    <a:pt x="969823" y="971001"/>
                    <a:pt x="968997" y="968426"/>
                  </a:cubicBezTo>
                  <a:cubicBezTo>
                    <a:pt x="970886" y="968366"/>
                    <a:pt x="972833" y="968246"/>
                    <a:pt x="974722" y="968186"/>
                  </a:cubicBezTo>
                  <a:close/>
                  <a:moveTo>
                    <a:pt x="431732" y="967182"/>
                  </a:moveTo>
                  <a:cubicBezTo>
                    <a:pt x="428395" y="988374"/>
                    <a:pt x="423565" y="1011297"/>
                    <a:pt x="407597" y="1026639"/>
                  </a:cubicBezTo>
                  <a:cubicBezTo>
                    <a:pt x="399672" y="1026878"/>
                    <a:pt x="393176" y="1020908"/>
                    <a:pt x="386082" y="1018282"/>
                  </a:cubicBezTo>
                  <a:cubicBezTo>
                    <a:pt x="391802" y="1007895"/>
                    <a:pt x="396869" y="996791"/>
                    <a:pt x="405155" y="988195"/>
                  </a:cubicBezTo>
                  <a:cubicBezTo>
                    <a:pt x="413732" y="980852"/>
                    <a:pt x="422374" y="973510"/>
                    <a:pt x="431732" y="967182"/>
                  </a:cubicBezTo>
                  <a:close/>
                  <a:moveTo>
                    <a:pt x="1357850" y="966180"/>
                  </a:moveTo>
                  <a:cubicBezTo>
                    <a:pt x="1360785" y="973635"/>
                    <a:pt x="1355737" y="979649"/>
                    <a:pt x="1351453" y="984997"/>
                  </a:cubicBezTo>
                  <a:lnTo>
                    <a:pt x="1357791" y="994138"/>
                  </a:lnTo>
                  <a:cubicBezTo>
                    <a:pt x="1352098" y="993538"/>
                    <a:pt x="1343707" y="998286"/>
                    <a:pt x="1339716" y="992876"/>
                  </a:cubicBezTo>
                  <a:cubicBezTo>
                    <a:pt x="1343825" y="982833"/>
                    <a:pt x="1349810" y="973394"/>
                    <a:pt x="1357850" y="966180"/>
                  </a:cubicBezTo>
                  <a:close/>
                  <a:moveTo>
                    <a:pt x="787978" y="948622"/>
                  </a:moveTo>
                  <a:cubicBezTo>
                    <a:pt x="792164" y="956597"/>
                    <a:pt x="791570" y="965954"/>
                    <a:pt x="784627" y="972133"/>
                  </a:cubicBezTo>
                  <a:cubicBezTo>
                    <a:pt x="790071" y="971290"/>
                    <a:pt x="795636" y="971772"/>
                    <a:pt x="799942" y="975668"/>
                  </a:cubicBezTo>
                  <a:cubicBezTo>
                    <a:pt x="790369" y="984308"/>
                    <a:pt x="773144" y="982988"/>
                    <a:pt x="768060" y="996179"/>
                  </a:cubicBezTo>
                  <a:cubicBezTo>
                    <a:pt x="761477" y="996781"/>
                    <a:pt x="760162" y="990482"/>
                    <a:pt x="757829" y="986224"/>
                  </a:cubicBezTo>
                  <a:cubicBezTo>
                    <a:pt x="765543" y="982868"/>
                    <a:pt x="773024" y="979029"/>
                    <a:pt x="780144" y="974589"/>
                  </a:cubicBezTo>
                  <a:cubicBezTo>
                    <a:pt x="771828" y="975129"/>
                    <a:pt x="763393" y="976872"/>
                    <a:pt x="755078" y="975432"/>
                  </a:cubicBezTo>
                  <a:cubicBezTo>
                    <a:pt x="749634" y="973573"/>
                    <a:pt x="746345" y="968415"/>
                    <a:pt x="742754" y="964216"/>
                  </a:cubicBezTo>
                  <a:cubicBezTo>
                    <a:pt x="755135" y="953178"/>
                    <a:pt x="772126" y="950842"/>
                    <a:pt x="787978" y="948622"/>
                  </a:cubicBezTo>
                  <a:close/>
                  <a:moveTo>
                    <a:pt x="1233853" y="931004"/>
                  </a:moveTo>
                  <a:cubicBezTo>
                    <a:pt x="1236285" y="929058"/>
                    <a:pt x="1239386" y="933253"/>
                    <a:pt x="1236954" y="935139"/>
                  </a:cubicBezTo>
                  <a:cubicBezTo>
                    <a:pt x="1234522" y="937084"/>
                    <a:pt x="1231360" y="932889"/>
                    <a:pt x="1233853" y="931004"/>
                  </a:cubicBezTo>
                  <a:close/>
                  <a:moveTo>
                    <a:pt x="746579" y="913463"/>
                  </a:moveTo>
                  <a:cubicBezTo>
                    <a:pt x="757831" y="908992"/>
                    <a:pt x="761780" y="920625"/>
                    <a:pt x="768302" y="926229"/>
                  </a:cubicBezTo>
                  <a:cubicBezTo>
                    <a:pt x="771776" y="930289"/>
                    <a:pt x="777997" y="932854"/>
                    <a:pt x="779374" y="938221"/>
                  </a:cubicBezTo>
                  <a:cubicBezTo>
                    <a:pt x="774588" y="950628"/>
                    <a:pt x="759448" y="947647"/>
                    <a:pt x="748733" y="948659"/>
                  </a:cubicBezTo>
                  <a:cubicBezTo>
                    <a:pt x="745864" y="940132"/>
                    <a:pt x="741972" y="931958"/>
                    <a:pt x="740119" y="923190"/>
                  </a:cubicBezTo>
                  <a:cubicBezTo>
                    <a:pt x="738741" y="918714"/>
                    <a:pt x="743589" y="915791"/>
                    <a:pt x="746579" y="913463"/>
                  </a:cubicBezTo>
                  <a:close/>
                  <a:moveTo>
                    <a:pt x="879824" y="910692"/>
                  </a:moveTo>
                  <a:cubicBezTo>
                    <a:pt x="888845" y="909495"/>
                    <a:pt x="892786" y="917030"/>
                    <a:pt x="893504" y="924615"/>
                  </a:cubicBezTo>
                  <a:cubicBezTo>
                    <a:pt x="896782" y="923839"/>
                    <a:pt x="900073" y="923064"/>
                    <a:pt x="903365" y="922407"/>
                  </a:cubicBezTo>
                  <a:cubicBezTo>
                    <a:pt x="902525" y="924025"/>
                    <a:pt x="901631" y="925643"/>
                    <a:pt x="900791" y="927312"/>
                  </a:cubicBezTo>
                  <a:cubicBezTo>
                    <a:pt x="902823" y="928390"/>
                    <a:pt x="904855" y="929520"/>
                    <a:pt x="906886" y="930666"/>
                  </a:cubicBezTo>
                  <a:cubicBezTo>
                    <a:pt x="906642" y="955241"/>
                    <a:pt x="918833" y="984536"/>
                    <a:pt x="902457" y="1006128"/>
                  </a:cubicBezTo>
                  <a:lnTo>
                    <a:pt x="913808" y="1011151"/>
                  </a:lnTo>
                  <a:cubicBezTo>
                    <a:pt x="914227" y="1021011"/>
                    <a:pt x="914647" y="1030939"/>
                    <a:pt x="915487" y="1040867"/>
                  </a:cubicBezTo>
                  <a:cubicBezTo>
                    <a:pt x="912859" y="1034344"/>
                    <a:pt x="910286" y="1028006"/>
                    <a:pt x="906940" y="1021837"/>
                  </a:cubicBezTo>
                  <a:cubicBezTo>
                    <a:pt x="906548" y="1025933"/>
                    <a:pt x="906141" y="1030012"/>
                    <a:pt x="905749" y="1034108"/>
                  </a:cubicBezTo>
                  <a:cubicBezTo>
                    <a:pt x="904435" y="1031596"/>
                    <a:pt x="903175" y="1029085"/>
                    <a:pt x="901861" y="1026624"/>
                  </a:cubicBezTo>
                  <a:cubicBezTo>
                    <a:pt x="901685" y="1033198"/>
                    <a:pt x="901089" y="1039721"/>
                    <a:pt x="898638" y="1045940"/>
                  </a:cubicBezTo>
                  <a:cubicBezTo>
                    <a:pt x="903893" y="1050609"/>
                    <a:pt x="907238" y="1056880"/>
                    <a:pt x="910056" y="1063217"/>
                  </a:cubicBezTo>
                  <a:cubicBezTo>
                    <a:pt x="902281" y="1068611"/>
                    <a:pt x="894452" y="1075960"/>
                    <a:pt x="884416" y="1075960"/>
                  </a:cubicBezTo>
                  <a:cubicBezTo>
                    <a:pt x="871806" y="1076263"/>
                    <a:pt x="859264" y="1077039"/>
                    <a:pt x="846721" y="1078050"/>
                  </a:cubicBezTo>
                  <a:cubicBezTo>
                    <a:pt x="844026" y="1070870"/>
                    <a:pt x="841642" y="1063639"/>
                    <a:pt x="838893" y="1056526"/>
                  </a:cubicBezTo>
                  <a:lnTo>
                    <a:pt x="849471" y="1053407"/>
                  </a:lnTo>
                  <a:cubicBezTo>
                    <a:pt x="844324" y="1050121"/>
                    <a:pt x="838947" y="1047070"/>
                    <a:pt x="833637" y="1044036"/>
                  </a:cubicBezTo>
                  <a:cubicBezTo>
                    <a:pt x="835073" y="1043311"/>
                    <a:pt x="836495" y="1042536"/>
                    <a:pt x="837931" y="1041811"/>
                  </a:cubicBezTo>
                  <a:cubicBezTo>
                    <a:pt x="844270" y="1031478"/>
                    <a:pt x="859142" y="1025613"/>
                    <a:pt x="858370" y="1011741"/>
                  </a:cubicBezTo>
                  <a:cubicBezTo>
                    <a:pt x="834829" y="1017067"/>
                    <a:pt x="810991" y="1021180"/>
                    <a:pt x="787992" y="1028596"/>
                  </a:cubicBezTo>
                  <a:cubicBezTo>
                    <a:pt x="786435" y="1024719"/>
                    <a:pt x="784945" y="1020826"/>
                    <a:pt x="783387" y="1017000"/>
                  </a:cubicBezTo>
                  <a:cubicBezTo>
                    <a:pt x="788588" y="1012752"/>
                    <a:pt x="795929" y="1010544"/>
                    <a:pt x="799817" y="1004931"/>
                  </a:cubicBezTo>
                  <a:cubicBezTo>
                    <a:pt x="798381" y="1002285"/>
                    <a:pt x="796471" y="1000026"/>
                    <a:pt x="794737" y="997633"/>
                  </a:cubicBezTo>
                  <a:cubicBezTo>
                    <a:pt x="798449" y="994632"/>
                    <a:pt x="802092" y="991177"/>
                    <a:pt x="806806" y="990031"/>
                  </a:cubicBezTo>
                  <a:cubicBezTo>
                    <a:pt x="812359" y="994278"/>
                    <a:pt x="816720" y="999790"/>
                    <a:pt x="821623" y="1004678"/>
                  </a:cubicBezTo>
                  <a:cubicBezTo>
                    <a:pt x="819118" y="999419"/>
                    <a:pt x="816490" y="994228"/>
                    <a:pt x="813618" y="989205"/>
                  </a:cubicBezTo>
                  <a:cubicBezTo>
                    <a:pt x="814810" y="987047"/>
                    <a:pt x="815948" y="984890"/>
                    <a:pt x="817140" y="982800"/>
                  </a:cubicBezTo>
                  <a:cubicBezTo>
                    <a:pt x="813375" y="981367"/>
                    <a:pt x="808187" y="980895"/>
                    <a:pt x="806806" y="976344"/>
                  </a:cubicBezTo>
                  <a:cubicBezTo>
                    <a:pt x="803636" y="969939"/>
                    <a:pt x="810029" y="964444"/>
                    <a:pt x="812846" y="959185"/>
                  </a:cubicBezTo>
                  <a:cubicBezTo>
                    <a:pt x="808783" y="958949"/>
                    <a:pt x="804720" y="958764"/>
                    <a:pt x="800711" y="958646"/>
                  </a:cubicBezTo>
                  <a:cubicBezTo>
                    <a:pt x="802444" y="950640"/>
                    <a:pt x="800480" y="940172"/>
                    <a:pt x="807469" y="934543"/>
                  </a:cubicBezTo>
                  <a:cubicBezTo>
                    <a:pt x="814878" y="932520"/>
                    <a:pt x="821325" y="938082"/>
                    <a:pt x="823831" y="944588"/>
                  </a:cubicBezTo>
                  <a:cubicBezTo>
                    <a:pt x="829330" y="959354"/>
                    <a:pt x="841100" y="970124"/>
                    <a:pt x="848333" y="983811"/>
                  </a:cubicBezTo>
                  <a:cubicBezTo>
                    <a:pt x="850243" y="988598"/>
                    <a:pt x="855674" y="988901"/>
                    <a:pt x="859860" y="990267"/>
                  </a:cubicBezTo>
                  <a:cubicBezTo>
                    <a:pt x="853886" y="983036"/>
                    <a:pt x="849403" y="974844"/>
                    <a:pt x="846776" y="965826"/>
                  </a:cubicBezTo>
                  <a:lnTo>
                    <a:pt x="858546" y="964444"/>
                  </a:lnTo>
                  <a:cubicBezTo>
                    <a:pt x="852993" y="961579"/>
                    <a:pt x="846897" y="959893"/>
                    <a:pt x="840802" y="958696"/>
                  </a:cubicBezTo>
                  <a:lnTo>
                    <a:pt x="852518" y="948667"/>
                  </a:lnTo>
                  <a:cubicBezTo>
                    <a:pt x="844568" y="943510"/>
                    <a:pt x="832256" y="943459"/>
                    <a:pt x="828734" y="933413"/>
                  </a:cubicBezTo>
                  <a:cubicBezTo>
                    <a:pt x="825930" y="928087"/>
                    <a:pt x="833935" y="925289"/>
                    <a:pt x="836387" y="921631"/>
                  </a:cubicBezTo>
                  <a:cubicBezTo>
                    <a:pt x="842062" y="914451"/>
                    <a:pt x="852220" y="914586"/>
                    <a:pt x="860036" y="917451"/>
                  </a:cubicBezTo>
                  <a:cubicBezTo>
                    <a:pt x="867336" y="922525"/>
                    <a:pt x="869666" y="931745"/>
                    <a:pt x="872889" y="939565"/>
                  </a:cubicBezTo>
                  <a:cubicBezTo>
                    <a:pt x="879878" y="930902"/>
                    <a:pt x="869124" y="914990"/>
                    <a:pt x="886989" y="915108"/>
                  </a:cubicBezTo>
                  <a:close/>
                  <a:moveTo>
                    <a:pt x="838216" y="903076"/>
                  </a:moveTo>
                  <a:cubicBezTo>
                    <a:pt x="840857" y="903395"/>
                    <a:pt x="843596" y="904313"/>
                    <a:pt x="846093" y="904638"/>
                  </a:cubicBezTo>
                  <a:cubicBezTo>
                    <a:pt x="836041" y="912871"/>
                    <a:pt x="824845" y="926550"/>
                    <a:pt x="809975" y="921930"/>
                  </a:cubicBezTo>
                  <a:cubicBezTo>
                    <a:pt x="816899" y="916245"/>
                    <a:pt x="823880" y="910678"/>
                    <a:pt x="830924" y="905111"/>
                  </a:cubicBezTo>
                  <a:cubicBezTo>
                    <a:pt x="833031" y="903039"/>
                    <a:pt x="835575" y="902758"/>
                    <a:pt x="838216" y="903076"/>
                  </a:cubicBezTo>
                  <a:close/>
                  <a:moveTo>
                    <a:pt x="863283" y="902971"/>
                  </a:moveTo>
                  <a:cubicBezTo>
                    <a:pt x="863986" y="906630"/>
                    <a:pt x="864629" y="910289"/>
                    <a:pt x="865156" y="914008"/>
                  </a:cubicBezTo>
                  <a:cubicBezTo>
                    <a:pt x="861586" y="911142"/>
                    <a:pt x="858075" y="908215"/>
                    <a:pt x="854622" y="905227"/>
                  </a:cubicBezTo>
                  <a:cubicBezTo>
                    <a:pt x="857489" y="904435"/>
                    <a:pt x="860416" y="903703"/>
                    <a:pt x="863283" y="902971"/>
                  </a:cubicBezTo>
                  <a:close/>
                  <a:moveTo>
                    <a:pt x="630401" y="896864"/>
                  </a:moveTo>
                  <a:cubicBezTo>
                    <a:pt x="638478" y="893442"/>
                    <a:pt x="650922" y="901482"/>
                    <a:pt x="645606" y="910814"/>
                  </a:cubicBezTo>
                  <a:cubicBezTo>
                    <a:pt x="643675" y="917538"/>
                    <a:pt x="645843" y="924358"/>
                    <a:pt x="646972" y="931010"/>
                  </a:cubicBezTo>
                  <a:cubicBezTo>
                    <a:pt x="647803" y="938620"/>
                    <a:pt x="655584" y="942807"/>
                    <a:pt x="657485" y="949938"/>
                  </a:cubicBezTo>
                  <a:cubicBezTo>
                    <a:pt x="656713" y="958146"/>
                    <a:pt x="652050" y="965468"/>
                    <a:pt x="650209" y="973436"/>
                  </a:cubicBezTo>
                  <a:cubicBezTo>
                    <a:pt x="657069" y="972814"/>
                    <a:pt x="664256" y="973173"/>
                    <a:pt x="669750" y="977983"/>
                  </a:cubicBezTo>
                  <a:cubicBezTo>
                    <a:pt x="666780" y="984324"/>
                    <a:pt x="663899" y="990737"/>
                    <a:pt x="660900" y="997150"/>
                  </a:cubicBezTo>
                  <a:cubicBezTo>
                    <a:pt x="666899" y="992412"/>
                    <a:pt x="673700" y="989062"/>
                    <a:pt x="681362" y="988272"/>
                  </a:cubicBezTo>
                  <a:cubicBezTo>
                    <a:pt x="682490" y="993489"/>
                    <a:pt x="683619" y="998777"/>
                    <a:pt x="684836" y="1003970"/>
                  </a:cubicBezTo>
                  <a:cubicBezTo>
                    <a:pt x="687568" y="1002247"/>
                    <a:pt x="690330" y="1000572"/>
                    <a:pt x="693151" y="998825"/>
                  </a:cubicBezTo>
                  <a:lnTo>
                    <a:pt x="686380" y="995953"/>
                  </a:lnTo>
                  <a:cubicBezTo>
                    <a:pt x="685965" y="987674"/>
                    <a:pt x="686677" y="978150"/>
                    <a:pt x="693508" y="972455"/>
                  </a:cubicBezTo>
                  <a:cubicBezTo>
                    <a:pt x="708624" y="974441"/>
                    <a:pt x="724898" y="986956"/>
                    <a:pt x="722314" y="1003922"/>
                  </a:cubicBezTo>
                  <a:cubicBezTo>
                    <a:pt x="725195" y="1015719"/>
                    <a:pt x="717414" y="1025195"/>
                    <a:pt x="714979" y="1035963"/>
                  </a:cubicBezTo>
                  <a:cubicBezTo>
                    <a:pt x="714385" y="1047783"/>
                    <a:pt x="711386" y="1059868"/>
                    <a:pt x="705090" y="1070013"/>
                  </a:cubicBezTo>
                  <a:cubicBezTo>
                    <a:pt x="696181" y="1074440"/>
                    <a:pt x="687806" y="1080662"/>
                    <a:pt x="678125" y="1083414"/>
                  </a:cubicBezTo>
                  <a:cubicBezTo>
                    <a:pt x="671561" y="1083653"/>
                    <a:pt x="668324" y="1077144"/>
                    <a:pt x="665978" y="1072047"/>
                  </a:cubicBezTo>
                  <a:cubicBezTo>
                    <a:pt x="662236" y="1078221"/>
                    <a:pt x="657425" y="1083964"/>
                    <a:pt x="649912" y="1085041"/>
                  </a:cubicBezTo>
                  <a:cubicBezTo>
                    <a:pt x="647625" y="1079944"/>
                    <a:pt x="647744" y="1071497"/>
                    <a:pt x="641121" y="1070061"/>
                  </a:cubicBezTo>
                  <a:cubicBezTo>
                    <a:pt x="631975" y="1076714"/>
                    <a:pt x="625263" y="1087864"/>
                    <a:pt x="613354" y="1089898"/>
                  </a:cubicBezTo>
                  <a:cubicBezTo>
                    <a:pt x="607860" y="1090784"/>
                    <a:pt x="602841" y="1093201"/>
                    <a:pt x="598001" y="1095881"/>
                  </a:cubicBezTo>
                  <a:cubicBezTo>
                    <a:pt x="597585" y="1106481"/>
                    <a:pt x="586805" y="1110621"/>
                    <a:pt x="579291" y="1116196"/>
                  </a:cubicBezTo>
                  <a:cubicBezTo>
                    <a:pt x="565036" y="1125792"/>
                    <a:pt x="547396" y="1132731"/>
                    <a:pt x="530112" y="1129070"/>
                  </a:cubicBezTo>
                  <a:cubicBezTo>
                    <a:pt x="518827" y="1125552"/>
                    <a:pt x="509324" y="1116244"/>
                    <a:pt x="504899" y="1105476"/>
                  </a:cubicBezTo>
                  <a:cubicBezTo>
                    <a:pt x="510334" y="1095235"/>
                    <a:pt x="521737" y="1091262"/>
                    <a:pt x="532399" y="1089348"/>
                  </a:cubicBezTo>
                  <a:cubicBezTo>
                    <a:pt x="536111" y="1072406"/>
                    <a:pt x="556365" y="1077671"/>
                    <a:pt x="569164" y="1075804"/>
                  </a:cubicBezTo>
                  <a:cubicBezTo>
                    <a:pt x="578549" y="1070779"/>
                    <a:pt x="584310" y="1061088"/>
                    <a:pt x="590161" y="1052450"/>
                  </a:cubicBezTo>
                  <a:cubicBezTo>
                    <a:pt x="588260" y="1051851"/>
                    <a:pt x="586330" y="1051181"/>
                    <a:pt x="584429" y="1050583"/>
                  </a:cubicBezTo>
                  <a:cubicBezTo>
                    <a:pt x="578935" y="1062572"/>
                    <a:pt x="565155" y="1062883"/>
                    <a:pt x="553930" y="1064247"/>
                  </a:cubicBezTo>
                  <a:cubicBezTo>
                    <a:pt x="554702" y="1061447"/>
                    <a:pt x="555474" y="1058743"/>
                    <a:pt x="556246" y="1055991"/>
                  </a:cubicBezTo>
                  <a:cubicBezTo>
                    <a:pt x="553395" y="1056278"/>
                    <a:pt x="550455" y="1056589"/>
                    <a:pt x="547574" y="1056637"/>
                  </a:cubicBezTo>
                  <a:cubicBezTo>
                    <a:pt x="546802" y="1059461"/>
                    <a:pt x="545971" y="1062332"/>
                    <a:pt x="545139" y="1065204"/>
                  </a:cubicBezTo>
                  <a:cubicBezTo>
                    <a:pt x="536111" y="1067190"/>
                    <a:pt x="527202" y="1069535"/>
                    <a:pt x="518174" y="1071808"/>
                  </a:cubicBezTo>
                  <a:cubicBezTo>
                    <a:pt x="518530" y="1064199"/>
                    <a:pt x="518708" y="1056637"/>
                    <a:pt x="518827" y="1049100"/>
                  </a:cubicBezTo>
                  <a:cubicBezTo>
                    <a:pt x="522777" y="1044649"/>
                    <a:pt x="526667" y="1040294"/>
                    <a:pt x="530647" y="1035915"/>
                  </a:cubicBezTo>
                  <a:cubicBezTo>
                    <a:pt x="524737" y="1037901"/>
                    <a:pt x="518055" y="1039983"/>
                    <a:pt x="513363" y="1034359"/>
                  </a:cubicBezTo>
                  <a:cubicBezTo>
                    <a:pt x="511581" y="1045032"/>
                    <a:pt x="511462" y="1056637"/>
                    <a:pt x="506265" y="1066472"/>
                  </a:cubicBezTo>
                  <a:cubicBezTo>
                    <a:pt x="501662" y="1072047"/>
                    <a:pt x="495426" y="1076044"/>
                    <a:pt x="490050" y="1080781"/>
                  </a:cubicBezTo>
                  <a:cubicBezTo>
                    <a:pt x="488447" y="1074967"/>
                    <a:pt x="487051" y="1068937"/>
                    <a:pt x="485625" y="1063050"/>
                  </a:cubicBezTo>
                  <a:cubicBezTo>
                    <a:pt x="478201" y="1065036"/>
                    <a:pt x="477904" y="1072574"/>
                    <a:pt x="477488" y="1078987"/>
                  </a:cubicBezTo>
                  <a:cubicBezTo>
                    <a:pt x="472588" y="1076761"/>
                    <a:pt x="466619" y="1075517"/>
                    <a:pt x="463560" y="1070779"/>
                  </a:cubicBezTo>
                  <a:cubicBezTo>
                    <a:pt x="461244" y="1066113"/>
                    <a:pt x="461778" y="1060705"/>
                    <a:pt x="461481" y="1055680"/>
                  </a:cubicBezTo>
                  <a:cubicBezTo>
                    <a:pt x="456938" y="1058432"/>
                    <a:pt x="452750" y="1061806"/>
                    <a:pt x="447761" y="1063768"/>
                  </a:cubicBezTo>
                  <a:cubicBezTo>
                    <a:pt x="440545" y="1063002"/>
                    <a:pt x="433061" y="1059748"/>
                    <a:pt x="428220" y="1054244"/>
                  </a:cubicBezTo>
                  <a:cubicBezTo>
                    <a:pt x="428636" y="1046396"/>
                    <a:pt x="430626" y="1037781"/>
                    <a:pt x="436832" y="1032445"/>
                  </a:cubicBezTo>
                  <a:cubicBezTo>
                    <a:pt x="445148" y="1030220"/>
                    <a:pt x="453819" y="1029861"/>
                    <a:pt x="462253" y="1031727"/>
                  </a:cubicBezTo>
                  <a:cubicBezTo>
                    <a:pt x="470628" y="1025195"/>
                    <a:pt x="482893" y="1022012"/>
                    <a:pt x="486991" y="1011412"/>
                  </a:cubicBezTo>
                  <a:cubicBezTo>
                    <a:pt x="470569" y="1017226"/>
                    <a:pt x="454413" y="1026391"/>
                    <a:pt x="436417" y="1021366"/>
                  </a:cubicBezTo>
                  <a:cubicBezTo>
                    <a:pt x="438971" y="1014762"/>
                    <a:pt x="440545" y="1006985"/>
                    <a:pt x="446276" y="1002295"/>
                  </a:cubicBezTo>
                  <a:cubicBezTo>
                    <a:pt x="455067" y="1000093"/>
                    <a:pt x="464035" y="998657"/>
                    <a:pt x="472410" y="995116"/>
                  </a:cubicBezTo>
                  <a:lnTo>
                    <a:pt x="449038" y="990450"/>
                  </a:lnTo>
                  <a:cubicBezTo>
                    <a:pt x="451295" y="986549"/>
                    <a:pt x="453641" y="982649"/>
                    <a:pt x="456076" y="978868"/>
                  </a:cubicBezTo>
                  <a:cubicBezTo>
                    <a:pt x="447108" y="974800"/>
                    <a:pt x="454116" y="964128"/>
                    <a:pt x="461125" y="962453"/>
                  </a:cubicBezTo>
                  <a:cubicBezTo>
                    <a:pt x="473063" y="959581"/>
                    <a:pt x="485388" y="961926"/>
                    <a:pt x="497356" y="963410"/>
                  </a:cubicBezTo>
                  <a:cubicBezTo>
                    <a:pt x="488981" y="957906"/>
                    <a:pt x="478646" y="956830"/>
                    <a:pt x="469975" y="952403"/>
                  </a:cubicBezTo>
                  <a:cubicBezTo>
                    <a:pt x="467510" y="941060"/>
                    <a:pt x="479478" y="931967"/>
                    <a:pt x="489575" y="930699"/>
                  </a:cubicBezTo>
                  <a:cubicBezTo>
                    <a:pt x="496287" y="928857"/>
                    <a:pt x="505909" y="925626"/>
                    <a:pt x="510987" y="932326"/>
                  </a:cubicBezTo>
                  <a:cubicBezTo>
                    <a:pt x="513363" y="941372"/>
                    <a:pt x="514462" y="950847"/>
                    <a:pt x="517491" y="959773"/>
                  </a:cubicBezTo>
                  <a:cubicBezTo>
                    <a:pt x="524499" y="957906"/>
                    <a:pt x="531152" y="954078"/>
                    <a:pt x="538487" y="953719"/>
                  </a:cubicBezTo>
                  <a:cubicBezTo>
                    <a:pt x="548168" y="956399"/>
                    <a:pt x="554286" y="965157"/>
                    <a:pt x="555058" y="975159"/>
                  </a:cubicBezTo>
                  <a:cubicBezTo>
                    <a:pt x="561146" y="978222"/>
                    <a:pt x="566967" y="982122"/>
                    <a:pt x="571451" y="987387"/>
                  </a:cubicBezTo>
                  <a:cubicBezTo>
                    <a:pt x="566789" y="989852"/>
                    <a:pt x="562185" y="992364"/>
                    <a:pt x="557523" y="994924"/>
                  </a:cubicBezTo>
                  <a:cubicBezTo>
                    <a:pt x="560136" y="996360"/>
                    <a:pt x="562779" y="997940"/>
                    <a:pt x="565333" y="999423"/>
                  </a:cubicBezTo>
                  <a:cubicBezTo>
                    <a:pt x="567145" y="996241"/>
                    <a:pt x="568986" y="993130"/>
                    <a:pt x="570976" y="990019"/>
                  </a:cubicBezTo>
                  <a:cubicBezTo>
                    <a:pt x="571095" y="992292"/>
                    <a:pt x="571154" y="994566"/>
                    <a:pt x="571273" y="996911"/>
                  </a:cubicBezTo>
                  <a:cubicBezTo>
                    <a:pt x="572817" y="996719"/>
                    <a:pt x="574421" y="996552"/>
                    <a:pt x="576054" y="996432"/>
                  </a:cubicBezTo>
                  <a:cubicBezTo>
                    <a:pt x="577420" y="1006434"/>
                    <a:pt x="578935" y="1016437"/>
                    <a:pt x="580776" y="1026439"/>
                  </a:cubicBezTo>
                  <a:cubicBezTo>
                    <a:pt x="599248" y="1016389"/>
                    <a:pt x="619472" y="1027468"/>
                    <a:pt x="638538" y="1029262"/>
                  </a:cubicBezTo>
                  <a:cubicBezTo>
                    <a:pt x="638122" y="1022562"/>
                    <a:pt x="639369" y="1015838"/>
                    <a:pt x="638597" y="1009138"/>
                  </a:cubicBezTo>
                  <a:cubicBezTo>
                    <a:pt x="630757" y="1001457"/>
                    <a:pt x="620897" y="996312"/>
                    <a:pt x="611632" y="990617"/>
                  </a:cubicBezTo>
                  <a:cubicBezTo>
                    <a:pt x="612939" y="984922"/>
                    <a:pt x="614394" y="979347"/>
                    <a:pt x="615463" y="973676"/>
                  </a:cubicBezTo>
                  <a:lnTo>
                    <a:pt x="618522" y="985999"/>
                  </a:lnTo>
                  <a:cubicBezTo>
                    <a:pt x="623303" y="981094"/>
                    <a:pt x="630698" y="976786"/>
                    <a:pt x="627728" y="968220"/>
                  </a:cubicBezTo>
                  <a:cubicBezTo>
                    <a:pt x="621373" y="955322"/>
                    <a:pt x="599723" y="954915"/>
                    <a:pt x="601594" y="936873"/>
                  </a:cubicBezTo>
                  <a:cubicBezTo>
                    <a:pt x="606494" y="934073"/>
                    <a:pt x="612760" y="932614"/>
                    <a:pt x="616294" y="927947"/>
                  </a:cubicBezTo>
                  <a:cubicBezTo>
                    <a:pt x="620838" y="917538"/>
                    <a:pt x="624550" y="906627"/>
                    <a:pt x="630401" y="896864"/>
                  </a:cubicBezTo>
                  <a:close/>
                  <a:moveTo>
                    <a:pt x="919258" y="893258"/>
                  </a:moveTo>
                  <a:cubicBezTo>
                    <a:pt x="921691" y="891434"/>
                    <a:pt x="924852" y="895368"/>
                    <a:pt x="922420" y="897135"/>
                  </a:cubicBezTo>
                  <a:cubicBezTo>
                    <a:pt x="919987" y="898959"/>
                    <a:pt x="916826" y="895026"/>
                    <a:pt x="919258" y="893258"/>
                  </a:cubicBezTo>
                  <a:close/>
                  <a:moveTo>
                    <a:pt x="1091620" y="892939"/>
                  </a:moveTo>
                  <a:cubicBezTo>
                    <a:pt x="1102438" y="903535"/>
                    <a:pt x="1091801" y="918342"/>
                    <a:pt x="1099175" y="930260"/>
                  </a:cubicBezTo>
                  <a:lnTo>
                    <a:pt x="1089867" y="932068"/>
                  </a:lnTo>
                  <a:cubicBezTo>
                    <a:pt x="1085575" y="922497"/>
                    <a:pt x="1078928" y="913529"/>
                    <a:pt x="1077355" y="902933"/>
                  </a:cubicBezTo>
                  <a:cubicBezTo>
                    <a:pt x="1080014" y="897333"/>
                    <a:pt x="1086603" y="895709"/>
                    <a:pt x="1091620" y="892939"/>
                  </a:cubicBezTo>
                  <a:close/>
                  <a:moveTo>
                    <a:pt x="522180" y="886919"/>
                  </a:moveTo>
                  <a:cubicBezTo>
                    <a:pt x="525723" y="891837"/>
                    <a:pt x="534069" y="902464"/>
                    <a:pt x="525901" y="906530"/>
                  </a:cubicBezTo>
                  <a:cubicBezTo>
                    <a:pt x="515153" y="907988"/>
                    <a:pt x="504825" y="904588"/>
                    <a:pt x="494438" y="902342"/>
                  </a:cubicBezTo>
                  <a:cubicBezTo>
                    <a:pt x="497379" y="888984"/>
                    <a:pt x="510893" y="888133"/>
                    <a:pt x="522180" y="886919"/>
                  </a:cubicBezTo>
                  <a:close/>
                  <a:moveTo>
                    <a:pt x="916945" y="873542"/>
                  </a:moveTo>
                  <a:cubicBezTo>
                    <a:pt x="920518" y="872370"/>
                    <a:pt x="921843" y="878345"/>
                    <a:pt x="918271" y="879107"/>
                  </a:cubicBezTo>
                  <a:cubicBezTo>
                    <a:pt x="914640" y="880396"/>
                    <a:pt x="913315" y="874303"/>
                    <a:pt x="916945" y="873542"/>
                  </a:cubicBezTo>
                  <a:close/>
                  <a:moveTo>
                    <a:pt x="950483" y="870794"/>
                  </a:moveTo>
                  <a:cubicBezTo>
                    <a:pt x="954222" y="870351"/>
                    <a:pt x="958163" y="871096"/>
                    <a:pt x="961477" y="872830"/>
                  </a:cubicBezTo>
                  <a:cubicBezTo>
                    <a:pt x="970867" y="877607"/>
                    <a:pt x="981320" y="880381"/>
                    <a:pt x="989478" y="887316"/>
                  </a:cubicBezTo>
                  <a:cubicBezTo>
                    <a:pt x="993344" y="890655"/>
                    <a:pt x="998231" y="882410"/>
                    <a:pt x="1002140" y="886648"/>
                  </a:cubicBezTo>
                  <a:cubicBezTo>
                    <a:pt x="1008216" y="892864"/>
                    <a:pt x="1011997" y="901083"/>
                    <a:pt x="1015566" y="908916"/>
                  </a:cubicBezTo>
                  <a:cubicBezTo>
                    <a:pt x="1013442" y="917880"/>
                    <a:pt x="1010638" y="926742"/>
                    <a:pt x="1008131" y="935603"/>
                  </a:cubicBezTo>
                  <a:cubicBezTo>
                    <a:pt x="1011997" y="930081"/>
                    <a:pt x="1014972" y="923916"/>
                    <a:pt x="1019221" y="918651"/>
                  </a:cubicBezTo>
                  <a:cubicBezTo>
                    <a:pt x="1025679" y="917701"/>
                    <a:pt x="1032562" y="919678"/>
                    <a:pt x="1038723" y="916879"/>
                  </a:cubicBezTo>
                  <a:cubicBezTo>
                    <a:pt x="1046414" y="913642"/>
                    <a:pt x="1055167" y="909019"/>
                    <a:pt x="1063580" y="911844"/>
                  </a:cubicBezTo>
                  <a:cubicBezTo>
                    <a:pt x="1072885" y="916211"/>
                    <a:pt x="1078876" y="925355"/>
                    <a:pt x="1081765" y="934986"/>
                  </a:cubicBezTo>
                  <a:cubicBezTo>
                    <a:pt x="1072800" y="933368"/>
                    <a:pt x="1064047" y="930980"/>
                    <a:pt x="1055464" y="928180"/>
                  </a:cubicBezTo>
                  <a:cubicBezTo>
                    <a:pt x="1074457" y="937863"/>
                    <a:pt x="1091368" y="943437"/>
                    <a:pt x="1107514" y="950731"/>
                  </a:cubicBezTo>
                  <a:cubicBezTo>
                    <a:pt x="1112953" y="953428"/>
                    <a:pt x="1110276" y="961262"/>
                    <a:pt x="1105177" y="962392"/>
                  </a:cubicBezTo>
                  <a:cubicBezTo>
                    <a:pt x="1090136" y="966219"/>
                    <a:pt x="1074797" y="962803"/>
                    <a:pt x="1059713" y="961801"/>
                  </a:cubicBezTo>
                  <a:cubicBezTo>
                    <a:pt x="1064345" y="964138"/>
                    <a:pt x="1069146" y="966296"/>
                    <a:pt x="1073777" y="968556"/>
                  </a:cubicBezTo>
                  <a:cubicBezTo>
                    <a:pt x="1073565" y="970174"/>
                    <a:pt x="1073310" y="971792"/>
                    <a:pt x="1073098" y="973410"/>
                  </a:cubicBezTo>
                  <a:cubicBezTo>
                    <a:pt x="1078281" y="971202"/>
                    <a:pt x="1083720" y="971921"/>
                    <a:pt x="1088606" y="974592"/>
                  </a:cubicBezTo>
                  <a:cubicBezTo>
                    <a:pt x="1080618" y="976518"/>
                    <a:pt x="1072800" y="978856"/>
                    <a:pt x="1065067" y="981655"/>
                  </a:cubicBezTo>
                  <a:cubicBezTo>
                    <a:pt x="1074202" y="984583"/>
                    <a:pt x="1083975" y="983505"/>
                    <a:pt x="1093280" y="982092"/>
                  </a:cubicBezTo>
                  <a:cubicBezTo>
                    <a:pt x="1095362" y="986638"/>
                    <a:pt x="1096934" y="991415"/>
                    <a:pt x="1097997" y="996321"/>
                  </a:cubicBezTo>
                  <a:cubicBezTo>
                    <a:pt x="1103520" y="996373"/>
                    <a:pt x="1112868" y="998042"/>
                    <a:pt x="1112103" y="1005234"/>
                  </a:cubicBezTo>
                  <a:cubicBezTo>
                    <a:pt x="1115502" y="1015045"/>
                    <a:pt x="1105900" y="1016304"/>
                    <a:pt x="1100291" y="1019540"/>
                  </a:cubicBezTo>
                  <a:cubicBezTo>
                    <a:pt x="1110191" y="1019001"/>
                    <a:pt x="1112698" y="1028196"/>
                    <a:pt x="1116182" y="1034899"/>
                  </a:cubicBezTo>
                  <a:lnTo>
                    <a:pt x="1120176" y="1036107"/>
                  </a:lnTo>
                  <a:cubicBezTo>
                    <a:pt x="1119581" y="1027554"/>
                    <a:pt x="1119624" y="1018872"/>
                    <a:pt x="1121833" y="1010550"/>
                  </a:cubicBezTo>
                  <a:cubicBezTo>
                    <a:pt x="1126890" y="1016843"/>
                    <a:pt x="1130501" y="1024086"/>
                    <a:pt x="1133985" y="1031432"/>
                  </a:cubicBezTo>
                  <a:lnTo>
                    <a:pt x="1145118" y="1022288"/>
                  </a:lnTo>
                  <a:cubicBezTo>
                    <a:pt x="1147242" y="1024446"/>
                    <a:pt x="1149409" y="1026655"/>
                    <a:pt x="1151576" y="1028812"/>
                  </a:cubicBezTo>
                  <a:cubicBezTo>
                    <a:pt x="1152808" y="1024985"/>
                    <a:pt x="1154168" y="1021210"/>
                    <a:pt x="1155868" y="1017562"/>
                  </a:cubicBezTo>
                  <a:cubicBezTo>
                    <a:pt x="1162326" y="1024677"/>
                    <a:pt x="1169549" y="1031021"/>
                    <a:pt x="1177792" y="1035927"/>
                  </a:cubicBezTo>
                  <a:cubicBezTo>
                    <a:pt x="1176602" y="1037956"/>
                    <a:pt x="1175413" y="1039934"/>
                    <a:pt x="1174266" y="1041963"/>
                  </a:cubicBezTo>
                  <a:cubicBezTo>
                    <a:pt x="1179662" y="1039702"/>
                    <a:pt x="1185143" y="1037673"/>
                    <a:pt x="1190837" y="1036055"/>
                  </a:cubicBezTo>
                  <a:cubicBezTo>
                    <a:pt x="1188542" y="1033101"/>
                    <a:pt x="1186290" y="1030173"/>
                    <a:pt x="1184081" y="1027194"/>
                  </a:cubicBezTo>
                  <a:cubicBezTo>
                    <a:pt x="1203923" y="1020542"/>
                    <a:pt x="1224276" y="1013016"/>
                    <a:pt x="1239615" y="998170"/>
                  </a:cubicBezTo>
                  <a:cubicBezTo>
                    <a:pt x="1244331" y="1001047"/>
                    <a:pt x="1248877" y="1004463"/>
                    <a:pt x="1254231" y="1005953"/>
                  </a:cubicBezTo>
                  <a:cubicBezTo>
                    <a:pt x="1261752" y="1004515"/>
                    <a:pt x="1267573" y="998710"/>
                    <a:pt x="1274966" y="996912"/>
                  </a:cubicBezTo>
                  <a:cubicBezTo>
                    <a:pt x="1285121" y="996989"/>
                    <a:pt x="1294936" y="999737"/>
                    <a:pt x="1304369" y="1003384"/>
                  </a:cubicBezTo>
                  <a:cubicBezTo>
                    <a:pt x="1303052" y="1007160"/>
                    <a:pt x="1301862" y="1010987"/>
                    <a:pt x="1300630" y="1014814"/>
                  </a:cubicBezTo>
                  <a:cubicBezTo>
                    <a:pt x="1309510" y="1016432"/>
                    <a:pt x="1320090" y="1013119"/>
                    <a:pt x="1327696" y="1019103"/>
                  </a:cubicBezTo>
                  <a:cubicBezTo>
                    <a:pt x="1333135" y="1023187"/>
                    <a:pt x="1326124" y="1029095"/>
                    <a:pt x="1323914" y="1033101"/>
                  </a:cubicBezTo>
                  <a:cubicBezTo>
                    <a:pt x="1328588" y="1032768"/>
                    <a:pt x="1333390" y="1031869"/>
                    <a:pt x="1338021" y="1032768"/>
                  </a:cubicBezTo>
                  <a:cubicBezTo>
                    <a:pt x="1342057" y="1039035"/>
                    <a:pt x="1343884" y="1047228"/>
                    <a:pt x="1342397" y="1054651"/>
                  </a:cubicBezTo>
                  <a:cubicBezTo>
                    <a:pt x="1336534" y="1062844"/>
                    <a:pt x="1327738" y="1068521"/>
                    <a:pt x="1320813" y="1075892"/>
                  </a:cubicBezTo>
                  <a:cubicBezTo>
                    <a:pt x="1327356" y="1080669"/>
                    <a:pt x="1334197" y="1076483"/>
                    <a:pt x="1340443" y="1073606"/>
                  </a:cubicBezTo>
                  <a:cubicBezTo>
                    <a:pt x="1342695" y="1078461"/>
                    <a:pt x="1344989" y="1083264"/>
                    <a:pt x="1347241" y="1088092"/>
                  </a:cubicBezTo>
                  <a:cubicBezTo>
                    <a:pt x="1340825" y="1089762"/>
                    <a:pt x="1334409" y="1091277"/>
                    <a:pt x="1327823" y="1092048"/>
                  </a:cubicBezTo>
                  <a:cubicBezTo>
                    <a:pt x="1327059" y="1099214"/>
                    <a:pt x="1326931" y="1106457"/>
                    <a:pt x="1327356" y="1113648"/>
                  </a:cubicBezTo>
                  <a:cubicBezTo>
                    <a:pt x="1313292" y="1113597"/>
                    <a:pt x="1298633" y="1114059"/>
                    <a:pt x="1288180" y="1125078"/>
                  </a:cubicBezTo>
                  <a:cubicBezTo>
                    <a:pt x="1279767" y="1121302"/>
                    <a:pt x="1270717" y="1118965"/>
                    <a:pt x="1261454" y="1118734"/>
                  </a:cubicBezTo>
                  <a:cubicBezTo>
                    <a:pt x="1260520" y="1105275"/>
                    <a:pt x="1257036" y="1091868"/>
                    <a:pt x="1245691" y="1083726"/>
                  </a:cubicBezTo>
                  <a:cubicBezTo>
                    <a:pt x="1248665" y="1092176"/>
                    <a:pt x="1253041" y="1101191"/>
                    <a:pt x="1248793" y="1110053"/>
                  </a:cubicBezTo>
                  <a:cubicBezTo>
                    <a:pt x="1247475" y="1119196"/>
                    <a:pt x="1237108" y="1119505"/>
                    <a:pt x="1229715" y="1120583"/>
                  </a:cubicBezTo>
                  <a:cubicBezTo>
                    <a:pt x="1221302" y="1120994"/>
                    <a:pt x="1212889" y="1119864"/>
                    <a:pt x="1204518" y="1120943"/>
                  </a:cubicBezTo>
                  <a:cubicBezTo>
                    <a:pt x="1203244" y="1118554"/>
                    <a:pt x="1201926" y="1116217"/>
                    <a:pt x="1200609" y="1113880"/>
                  </a:cubicBezTo>
                  <a:cubicBezTo>
                    <a:pt x="1199250" y="1116448"/>
                    <a:pt x="1197932" y="1119094"/>
                    <a:pt x="1196615" y="1121662"/>
                  </a:cubicBezTo>
                  <a:lnTo>
                    <a:pt x="1185270" y="1124230"/>
                  </a:lnTo>
                  <a:cubicBezTo>
                    <a:pt x="1185143" y="1120943"/>
                    <a:pt x="1185015" y="1117707"/>
                    <a:pt x="1184973" y="1114419"/>
                  </a:cubicBezTo>
                  <a:cubicBezTo>
                    <a:pt x="1181744" y="1118143"/>
                    <a:pt x="1178217" y="1122201"/>
                    <a:pt x="1172948" y="1122561"/>
                  </a:cubicBezTo>
                  <a:cubicBezTo>
                    <a:pt x="1158119" y="1124359"/>
                    <a:pt x="1142611" y="1126208"/>
                    <a:pt x="1128207" y="1121354"/>
                  </a:cubicBezTo>
                  <a:cubicBezTo>
                    <a:pt x="1125445" y="1110720"/>
                    <a:pt x="1131436" y="1099650"/>
                    <a:pt x="1127060" y="1089043"/>
                  </a:cubicBezTo>
                  <a:cubicBezTo>
                    <a:pt x="1124128" y="1094077"/>
                    <a:pt x="1121918" y="1099291"/>
                    <a:pt x="1120346" y="1105018"/>
                  </a:cubicBezTo>
                  <a:cubicBezTo>
                    <a:pt x="1118986" y="1102167"/>
                    <a:pt x="1117627" y="1099342"/>
                    <a:pt x="1116182" y="1096542"/>
                  </a:cubicBezTo>
                  <a:cubicBezTo>
                    <a:pt x="1113718" y="1104248"/>
                    <a:pt x="1112486" y="1114188"/>
                    <a:pt x="1103605" y="1117244"/>
                  </a:cubicBezTo>
                  <a:cubicBezTo>
                    <a:pt x="1089796" y="1123280"/>
                    <a:pt x="1078579" y="1109333"/>
                    <a:pt x="1067659" y="1102810"/>
                  </a:cubicBezTo>
                  <a:cubicBezTo>
                    <a:pt x="1070038" y="1097364"/>
                    <a:pt x="1071993" y="1091739"/>
                    <a:pt x="1073735" y="1086012"/>
                  </a:cubicBezTo>
                  <a:cubicBezTo>
                    <a:pt x="1067701" y="1093255"/>
                    <a:pt x="1061243" y="1101371"/>
                    <a:pt x="1063452" y="1111491"/>
                  </a:cubicBezTo>
                  <a:cubicBezTo>
                    <a:pt x="1056272" y="1107715"/>
                    <a:pt x="1047434" y="1104479"/>
                    <a:pt x="1043610" y="1096902"/>
                  </a:cubicBezTo>
                  <a:cubicBezTo>
                    <a:pt x="1041698" y="1086731"/>
                    <a:pt x="1039913" y="1076123"/>
                    <a:pt x="1041400" y="1065721"/>
                  </a:cubicBezTo>
                  <a:cubicBezTo>
                    <a:pt x="1028271" y="1057528"/>
                    <a:pt x="1031798" y="1037905"/>
                    <a:pt x="1038553" y="1026475"/>
                  </a:cubicBezTo>
                  <a:cubicBezTo>
                    <a:pt x="1046287" y="1016663"/>
                    <a:pt x="1039871" y="1003795"/>
                    <a:pt x="1038723" y="993136"/>
                  </a:cubicBezTo>
                  <a:cubicBezTo>
                    <a:pt x="1027591" y="978856"/>
                    <a:pt x="1023597" y="960953"/>
                    <a:pt x="1017011" y="944387"/>
                  </a:cubicBezTo>
                  <a:cubicBezTo>
                    <a:pt x="1012125" y="946185"/>
                    <a:pt x="1007323" y="948214"/>
                    <a:pt x="1002437" y="950063"/>
                  </a:cubicBezTo>
                  <a:cubicBezTo>
                    <a:pt x="1002267" y="951990"/>
                    <a:pt x="1002055" y="953890"/>
                    <a:pt x="1001970" y="955868"/>
                  </a:cubicBezTo>
                  <a:cubicBezTo>
                    <a:pt x="994364" y="954430"/>
                    <a:pt x="986886" y="952118"/>
                    <a:pt x="979238" y="951681"/>
                  </a:cubicBezTo>
                  <a:cubicBezTo>
                    <a:pt x="973374" y="953608"/>
                    <a:pt x="968020" y="956844"/>
                    <a:pt x="962029" y="958385"/>
                  </a:cubicBezTo>
                  <a:cubicBezTo>
                    <a:pt x="964834" y="953839"/>
                    <a:pt x="968020" y="949601"/>
                    <a:pt x="971335" y="945414"/>
                  </a:cubicBezTo>
                  <a:cubicBezTo>
                    <a:pt x="960712" y="944027"/>
                    <a:pt x="949495" y="940791"/>
                    <a:pt x="943801" y="930877"/>
                  </a:cubicBezTo>
                  <a:lnTo>
                    <a:pt x="954381" y="925483"/>
                  </a:lnTo>
                  <a:cubicBezTo>
                    <a:pt x="943929" y="921117"/>
                    <a:pt x="936876" y="911613"/>
                    <a:pt x="926423" y="907221"/>
                  </a:cubicBezTo>
                  <a:cubicBezTo>
                    <a:pt x="926211" y="904293"/>
                    <a:pt x="925998" y="901365"/>
                    <a:pt x="925701" y="898437"/>
                  </a:cubicBezTo>
                  <a:cubicBezTo>
                    <a:pt x="929525" y="900004"/>
                    <a:pt x="933349" y="901442"/>
                    <a:pt x="937173" y="902855"/>
                  </a:cubicBezTo>
                  <a:cubicBezTo>
                    <a:pt x="937088" y="894019"/>
                    <a:pt x="923534" y="890732"/>
                    <a:pt x="930545" y="881511"/>
                  </a:cubicBezTo>
                  <a:cubicBezTo>
                    <a:pt x="927783" y="881922"/>
                    <a:pt x="925021" y="882410"/>
                    <a:pt x="922344" y="882949"/>
                  </a:cubicBezTo>
                  <a:cubicBezTo>
                    <a:pt x="928760" y="881280"/>
                    <a:pt x="936153" y="881331"/>
                    <a:pt x="940700" y="875886"/>
                  </a:cubicBezTo>
                  <a:cubicBezTo>
                    <a:pt x="943207" y="872868"/>
                    <a:pt x="946744" y="871237"/>
                    <a:pt x="950483" y="870794"/>
                  </a:cubicBezTo>
                  <a:close/>
                  <a:moveTo>
                    <a:pt x="520598" y="860251"/>
                  </a:moveTo>
                  <a:cubicBezTo>
                    <a:pt x="524000" y="858825"/>
                    <a:pt x="526041" y="864184"/>
                    <a:pt x="522392" y="865040"/>
                  </a:cubicBezTo>
                  <a:cubicBezTo>
                    <a:pt x="518928" y="866351"/>
                    <a:pt x="517011" y="861163"/>
                    <a:pt x="520598" y="860251"/>
                  </a:cubicBezTo>
                  <a:close/>
                  <a:moveTo>
                    <a:pt x="753457" y="856821"/>
                  </a:moveTo>
                  <a:lnTo>
                    <a:pt x="757804" y="863373"/>
                  </a:lnTo>
                  <a:cubicBezTo>
                    <a:pt x="753698" y="865981"/>
                    <a:pt x="749170" y="867862"/>
                    <a:pt x="744761" y="869864"/>
                  </a:cubicBezTo>
                  <a:cubicBezTo>
                    <a:pt x="747055" y="865072"/>
                    <a:pt x="750015" y="860764"/>
                    <a:pt x="753457" y="856821"/>
                  </a:cubicBezTo>
                  <a:close/>
                  <a:moveTo>
                    <a:pt x="1069801" y="850894"/>
                  </a:moveTo>
                  <a:cubicBezTo>
                    <a:pt x="1073296" y="851767"/>
                    <a:pt x="1075771" y="854647"/>
                    <a:pt x="1074691" y="859810"/>
                  </a:cubicBezTo>
                  <a:cubicBezTo>
                    <a:pt x="1069831" y="866853"/>
                    <a:pt x="1062690" y="857720"/>
                    <a:pt x="1058791" y="854021"/>
                  </a:cubicBezTo>
                  <a:cubicBezTo>
                    <a:pt x="1061791" y="851156"/>
                    <a:pt x="1066306" y="850021"/>
                    <a:pt x="1069801" y="850894"/>
                  </a:cubicBezTo>
                  <a:close/>
                  <a:moveTo>
                    <a:pt x="956456" y="848793"/>
                  </a:moveTo>
                  <a:cubicBezTo>
                    <a:pt x="960508" y="850805"/>
                    <a:pt x="964561" y="852934"/>
                    <a:pt x="968495" y="855242"/>
                  </a:cubicBezTo>
                  <a:lnTo>
                    <a:pt x="964384" y="861334"/>
                  </a:lnTo>
                  <a:cubicBezTo>
                    <a:pt x="961565" y="857252"/>
                    <a:pt x="958982" y="853052"/>
                    <a:pt x="956456" y="848793"/>
                  </a:cubicBezTo>
                  <a:close/>
                  <a:moveTo>
                    <a:pt x="448747" y="816184"/>
                  </a:moveTo>
                  <a:cubicBezTo>
                    <a:pt x="455680" y="816366"/>
                    <a:pt x="462362" y="818345"/>
                    <a:pt x="468287" y="822050"/>
                  </a:cubicBezTo>
                  <a:lnTo>
                    <a:pt x="458255" y="826717"/>
                  </a:lnTo>
                  <a:cubicBezTo>
                    <a:pt x="463676" y="827843"/>
                    <a:pt x="469187" y="828623"/>
                    <a:pt x="474626" y="829350"/>
                  </a:cubicBezTo>
                  <a:cubicBezTo>
                    <a:pt x="477075" y="834307"/>
                    <a:pt x="479939" y="839265"/>
                    <a:pt x="480893" y="844767"/>
                  </a:cubicBezTo>
                  <a:cubicBezTo>
                    <a:pt x="474806" y="851468"/>
                    <a:pt x="463622" y="853212"/>
                    <a:pt x="459984" y="862001"/>
                  </a:cubicBezTo>
                  <a:cubicBezTo>
                    <a:pt x="463856" y="870736"/>
                    <a:pt x="469907" y="878327"/>
                    <a:pt x="474554" y="886644"/>
                  </a:cubicBezTo>
                  <a:cubicBezTo>
                    <a:pt x="469187" y="885754"/>
                    <a:pt x="463802" y="884737"/>
                    <a:pt x="458490" y="883720"/>
                  </a:cubicBezTo>
                  <a:cubicBezTo>
                    <a:pt x="463334" y="891910"/>
                    <a:pt x="472051" y="899809"/>
                    <a:pt x="470862" y="910088"/>
                  </a:cubicBezTo>
                  <a:cubicBezTo>
                    <a:pt x="464937" y="919004"/>
                    <a:pt x="452745" y="919731"/>
                    <a:pt x="444623" y="925887"/>
                  </a:cubicBezTo>
                  <a:cubicBezTo>
                    <a:pt x="441165" y="934495"/>
                    <a:pt x="446477" y="947479"/>
                    <a:pt x="436915" y="952509"/>
                  </a:cubicBezTo>
                  <a:cubicBezTo>
                    <a:pt x="428198" y="955069"/>
                    <a:pt x="421553" y="945209"/>
                    <a:pt x="419644" y="937854"/>
                  </a:cubicBezTo>
                  <a:cubicBezTo>
                    <a:pt x="418563" y="923853"/>
                    <a:pt x="423048" y="910088"/>
                    <a:pt x="425569" y="896450"/>
                  </a:cubicBezTo>
                  <a:cubicBezTo>
                    <a:pt x="421733" y="898484"/>
                    <a:pt x="417681" y="900227"/>
                    <a:pt x="414097" y="902788"/>
                  </a:cubicBezTo>
                  <a:cubicBezTo>
                    <a:pt x="410801" y="910451"/>
                    <a:pt x="413142" y="919894"/>
                    <a:pt x="408478" y="927140"/>
                  </a:cubicBezTo>
                  <a:cubicBezTo>
                    <a:pt x="404894" y="927739"/>
                    <a:pt x="401184" y="927376"/>
                    <a:pt x="397546" y="927267"/>
                  </a:cubicBezTo>
                  <a:cubicBezTo>
                    <a:pt x="400230" y="931026"/>
                    <a:pt x="403273" y="934622"/>
                    <a:pt x="405074" y="938980"/>
                  </a:cubicBezTo>
                  <a:cubicBezTo>
                    <a:pt x="402805" y="950348"/>
                    <a:pt x="398501" y="961171"/>
                    <a:pt x="394485" y="971994"/>
                  </a:cubicBezTo>
                  <a:cubicBezTo>
                    <a:pt x="387029" y="964876"/>
                    <a:pt x="386363" y="954234"/>
                    <a:pt x="384040" y="944791"/>
                  </a:cubicBezTo>
                  <a:cubicBezTo>
                    <a:pt x="382725" y="945499"/>
                    <a:pt x="381338" y="946280"/>
                    <a:pt x="380024" y="947061"/>
                  </a:cubicBezTo>
                  <a:cubicBezTo>
                    <a:pt x="380690" y="958066"/>
                    <a:pt x="382239" y="969071"/>
                    <a:pt x="382725" y="980075"/>
                  </a:cubicBezTo>
                  <a:cubicBezTo>
                    <a:pt x="381284" y="990790"/>
                    <a:pt x="370659" y="995148"/>
                    <a:pt x="361564" y="997781"/>
                  </a:cubicBezTo>
                  <a:cubicBezTo>
                    <a:pt x="359007" y="983671"/>
                    <a:pt x="355585" y="969670"/>
                    <a:pt x="351713" y="955905"/>
                  </a:cubicBezTo>
                  <a:cubicBezTo>
                    <a:pt x="349624" y="964821"/>
                    <a:pt x="349084" y="973974"/>
                    <a:pt x="348417" y="983072"/>
                  </a:cubicBezTo>
                  <a:cubicBezTo>
                    <a:pt x="339161" y="986304"/>
                    <a:pt x="332173" y="979240"/>
                    <a:pt x="326374" y="973011"/>
                  </a:cubicBezTo>
                  <a:cubicBezTo>
                    <a:pt x="321296" y="979785"/>
                    <a:pt x="316163" y="986413"/>
                    <a:pt x="310472" y="992642"/>
                  </a:cubicBezTo>
                  <a:cubicBezTo>
                    <a:pt x="310130" y="987848"/>
                    <a:pt x="309824" y="983126"/>
                    <a:pt x="309698" y="978405"/>
                  </a:cubicBezTo>
                  <a:cubicBezTo>
                    <a:pt x="306708" y="978169"/>
                    <a:pt x="303737" y="977987"/>
                    <a:pt x="300801" y="977805"/>
                  </a:cubicBezTo>
                  <a:lnTo>
                    <a:pt x="300801" y="974391"/>
                  </a:lnTo>
                  <a:cubicBezTo>
                    <a:pt x="304745" y="974573"/>
                    <a:pt x="308689" y="974864"/>
                    <a:pt x="312633" y="975172"/>
                  </a:cubicBezTo>
                  <a:cubicBezTo>
                    <a:pt x="311318" y="970378"/>
                    <a:pt x="309770" y="965657"/>
                    <a:pt x="308275" y="960935"/>
                  </a:cubicBezTo>
                  <a:cubicBezTo>
                    <a:pt x="305754" y="963695"/>
                    <a:pt x="303250" y="966437"/>
                    <a:pt x="300801" y="969252"/>
                  </a:cubicBezTo>
                  <a:lnTo>
                    <a:pt x="300801" y="966982"/>
                  </a:lnTo>
                  <a:cubicBezTo>
                    <a:pt x="305393" y="954779"/>
                    <a:pt x="312093" y="942757"/>
                    <a:pt x="322376" y="934495"/>
                  </a:cubicBezTo>
                  <a:cubicBezTo>
                    <a:pt x="328823" y="935275"/>
                    <a:pt x="334316" y="938980"/>
                    <a:pt x="339827" y="942267"/>
                  </a:cubicBezTo>
                  <a:cubicBezTo>
                    <a:pt x="338332" y="935221"/>
                    <a:pt x="335937" y="927321"/>
                    <a:pt x="340115" y="920748"/>
                  </a:cubicBezTo>
                  <a:cubicBezTo>
                    <a:pt x="342799" y="914809"/>
                    <a:pt x="348958" y="909743"/>
                    <a:pt x="347535" y="902624"/>
                  </a:cubicBezTo>
                  <a:cubicBezTo>
                    <a:pt x="350867" y="903750"/>
                    <a:pt x="354216" y="904949"/>
                    <a:pt x="357620" y="906147"/>
                  </a:cubicBezTo>
                  <a:cubicBezTo>
                    <a:pt x="360249" y="899501"/>
                    <a:pt x="362338" y="892618"/>
                    <a:pt x="365634" y="886281"/>
                  </a:cubicBezTo>
                  <a:cubicBezTo>
                    <a:pt x="373216" y="870554"/>
                    <a:pt x="387984" y="858896"/>
                    <a:pt x="391675" y="841244"/>
                  </a:cubicBezTo>
                  <a:cubicBezTo>
                    <a:pt x="394017" y="843169"/>
                    <a:pt x="396412" y="845022"/>
                    <a:pt x="398861" y="846874"/>
                  </a:cubicBezTo>
                  <a:cubicBezTo>
                    <a:pt x="400104" y="843750"/>
                    <a:pt x="401364" y="840645"/>
                    <a:pt x="402625" y="837540"/>
                  </a:cubicBezTo>
                  <a:cubicBezTo>
                    <a:pt x="417014" y="835452"/>
                    <a:pt x="431530" y="837540"/>
                    <a:pt x="443614" y="846093"/>
                  </a:cubicBezTo>
                  <a:cubicBezTo>
                    <a:pt x="442227" y="843278"/>
                    <a:pt x="440913" y="840409"/>
                    <a:pt x="439598" y="837594"/>
                  </a:cubicBezTo>
                  <a:lnTo>
                    <a:pt x="450115" y="840645"/>
                  </a:lnTo>
                  <a:cubicBezTo>
                    <a:pt x="450421" y="839628"/>
                    <a:pt x="450710" y="838611"/>
                    <a:pt x="451016" y="837594"/>
                  </a:cubicBezTo>
                  <a:cubicBezTo>
                    <a:pt x="447018" y="833345"/>
                    <a:pt x="443362" y="828805"/>
                    <a:pt x="440210" y="823902"/>
                  </a:cubicBezTo>
                  <a:cubicBezTo>
                    <a:pt x="444677" y="825627"/>
                    <a:pt x="449161" y="827498"/>
                    <a:pt x="453591" y="829531"/>
                  </a:cubicBezTo>
                  <a:cubicBezTo>
                    <a:pt x="451916" y="825028"/>
                    <a:pt x="450295" y="820615"/>
                    <a:pt x="448747" y="816184"/>
                  </a:cubicBezTo>
                  <a:close/>
                  <a:moveTo>
                    <a:pt x="1211561" y="813676"/>
                  </a:moveTo>
                  <a:cubicBezTo>
                    <a:pt x="1213105" y="817237"/>
                    <a:pt x="1214648" y="820860"/>
                    <a:pt x="1216311" y="824421"/>
                  </a:cubicBezTo>
                  <a:lnTo>
                    <a:pt x="1209305" y="828224"/>
                  </a:lnTo>
                  <a:cubicBezTo>
                    <a:pt x="1206929" y="823756"/>
                    <a:pt x="1204376" y="819411"/>
                    <a:pt x="1201763" y="815125"/>
                  </a:cubicBezTo>
                  <a:cubicBezTo>
                    <a:pt x="1205029" y="814702"/>
                    <a:pt x="1208295" y="814219"/>
                    <a:pt x="1211561" y="813676"/>
                  </a:cubicBezTo>
                  <a:close/>
                  <a:moveTo>
                    <a:pt x="1073870" y="807288"/>
                  </a:moveTo>
                  <a:cubicBezTo>
                    <a:pt x="1077973" y="807146"/>
                    <a:pt x="1082023" y="807864"/>
                    <a:pt x="1085619" y="810078"/>
                  </a:cubicBezTo>
                  <a:cubicBezTo>
                    <a:pt x="1094990" y="818097"/>
                    <a:pt x="1100429" y="830781"/>
                    <a:pt x="1099463" y="843052"/>
                  </a:cubicBezTo>
                  <a:cubicBezTo>
                    <a:pt x="1097466" y="849456"/>
                    <a:pt x="1090695" y="859327"/>
                    <a:pt x="1082958" y="854781"/>
                  </a:cubicBezTo>
                  <a:cubicBezTo>
                    <a:pt x="1075522" y="849751"/>
                    <a:pt x="1067484" y="844067"/>
                    <a:pt x="1063556" y="835811"/>
                  </a:cubicBezTo>
                  <a:cubicBezTo>
                    <a:pt x="1061864" y="827255"/>
                    <a:pt x="1062347" y="818334"/>
                    <a:pt x="1061802" y="809659"/>
                  </a:cubicBezTo>
                  <a:cubicBezTo>
                    <a:pt x="1065611" y="808433"/>
                    <a:pt x="1069767" y="807430"/>
                    <a:pt x="1073870" y="807288"/>
                  </a:cubicBezTo>
                  <a:close/>
                  <a:moveTo>
                    <a:pt x="712017" y="793108"/>
                  </a:moveTo>
                  <a:cubicBezTo>
                    <a:pt x="723790" y="802208"/>
                    <a:pt x="734601" y="815253"/>
                    <a:pt x="732199" y="831056"/>
                  </a:cubicBezTo>
                  <a:cubicBezTo>
                    <a:pt x="743911" y="835067"/>
                    <a:pt x="750277" y="850929"/>
                    <a:pt x="745173" y="862005"/>
                  </a:cubicBezTo>
                  <a:cubicBezTo>
                    <a:pt x="736764" y="866850"/>
                    <a:pt x="725891" y="860265"/>
                    <a:pt x="722770" y="852065"/>
                  </a:cubicBezTo>
                  <a:cubicBezTo>
                    <a:pt x="715742" y="833570"/>
                    <a:pt x="711959" y="814176"/>
                    <a:pt x="706132" y="795320"/>
                  </a:cubicBezTo>
                  <a:close/>
                  <a:moveTo>
                    <a:pt x="1006431" y="791604"/>
                  </a:moveTo>
                  <a:cubicBezTo>
                    <a:pt x="1010561" y="795152"/>
                    <a:pt x="1014506" y="798881"/>
                    <a:pt x="1018159" y="802903"/>
                  </a:cubicBezTo>
                  <a:cubicBezTo>
                    <a:pt x="1010619" y="809705"/>
                    <a:pt x="1007444" y="819288"/>
                    <a:pt x="1007511" y="829228"/>
                  </a:cubicBezTo>
                  <a:cubicBezTo>
                    <a:pt x="992608" y="828340"/>
                    <a:pt x="978006" y="824081"/>
                    <a:pt x="962985" y="825680"/>
                  </a:cubicBezTo>
                  <a:cubicBezTo>
                    <a:pt x="954549" y="828754"/>
                    <a:pt x="946414" y="824672"/>
                    <a:pt x="942703" y="817395"/>
                  </a:cubicBezTo>
                  <a:cubicBezTo>
                    <a:pt x="934384" y="807399"/>
                    <a:pt x="946289" y="794031"/>
                    <a:pt x="956643" y="791841"/>
                  </a:cubicBezTo>
                  <a:cubicBezTo>
                    <a:pt x="964903" y="793022"/>
                    <a:pt x="973164" y="794087"/>
                    <a:pt x="981474" y="792609"/>
                  </a:cubicBezTo>
                  <a:cubicBezTo>
                    <a:pt x="989977" y="791604"/>
                    <a:pt x="998715" y="797579"/>
                    <a:pt x="1006431" y="791604"/>
                  </a:cubicBezTo>
                  <a:close/>
                  <a:moveTo>
                    <a:pt x="1390884" y="782073"/>
                  </a:moveTo>
                  <a:cubicBezTo>
                    <a:pt x="1389120" y="786699"/>
                    <a:pt x="1385776" y="790244"/>
                    <a:pt x="1381094" y="792106"/>
                  </a:cubicBezTo>
                  <a:lnTo>
                    <a:pt x="1380851" y="784356"/>
                  </a:lnTo>
                  <a:cubicBezTo>
                    <a:pt x="1384195" y="783515"/>
                    <a:pt x="1387479" y="782734"/>
                    <a:pt x="1390884" y="782073"/>
                  </a:cubicBezTo>
                  <a:close/>
                  <a:moveTo>
                    <a:pt x="803614" y="778388"/>
                  </a:moveTo>
                  <a:cubicBezTo>
                    <a:pt x="807692" y="777971"/>
                    <a:pt x="811709" y="778135"/>
                    <a:pt x="815458" y="780217"/>
                  </a:cubicBezTo>
                  <a:cubicBezTo>
                    <a:pt x="822711" y="783250"/>
                    <a:pt x="826908" y="790091"/>
                    <a:pt x="831045" y="796275"/>
                  </a:cubicBezTo>
                  <a:cubicBezTo>
                    <a:pt x="821573" y="797107"/>
                    <a:pt x="812759" y="801154"/>
                    <a:pt x="803525" y="802640"/>
                  </a:cubicBezTo>
                  <a:cubicBezTo>
                    <a:pt x="793994" y="799606"/>
                    <a:pt x="791775" y="788722"/>
                    <a:pt x="791414" y="780039"/>
                  </a:cubicBezTo>
                  <a:cubicBezTo>
                    <a:pt x="795401" y="779801"/>
                    <a:pt x="799537" y="778804"/>
                    <a:pt x="803614" y="778388"/>
                  </a:cubicBezTo>
                  <a:close/>
                  <a:moveTo>
                    <a:pt x="507330" y="758997"/>
                  </a:moveTo>
                  <a:cubicBezTo>
                    <a:pt x="514603" y="768348"/>
                    <a:pt x="521037" y="778232"/>
                    <a:pt x="527045" y="788414"/>
                  </a:cubicBezTo>
                  <a:cubicBezTo>
                    <a:pt x="522538" y="794073"/>
                    <a:pt x="516826" y="798661"/>
                    <a:pt x="510095" y="801637"/>
                  </a:cubicBezTo>
                  <a:cubicBezTo>
                    <a:pt x="502522" y="792167"/>
                    <a:pt x="494771" y="782760"/>
                    <a:pt x="489421" y="771802"/>
                  </a:cubicBezTo>
                  <a:cubicBezTo>
                    <a:pt x="495369" y="767512"/>
                    <a:pt x="501261" y="763167"/>
                    <a:pt x="507330" y="758997"/>
                  </a:cubicBezTo>
                  <a:close/>
                  <a:moveTo>
                    <a:pt x="613413" y="753132"/>
                  </a:moveTo>
                  <a:cubicBezTo>
                    <a:pt x="616710" y="753506"/>
                    <a:pt x="619888" y="754639"/>
                    <a:pt x="622878" y="757032"/>
                  </a:cubicBezTo>
                  <a:cubicBezTo>
                    <a:pt x="625870" y="775949"/>
                    <a:pt x="602362" y="779301"/>
                    <a:pt x="589256" y="782479"/>
                  </a:cubicBezTo>
                  <a:cubicBezTo>
                    <a:pt x="593206" y="791812"/>
                    <a:pt x="602296" y="791812"/>
                    <a:pt x="610729" y="793257"/>
                  </a:cubicBezTo>
                  <a:cubicBezTo>
                    <a:pt x="610073" y="803312"/>
                    <a:pt x="613609" y="816893"/>
                    <a:pt x="604754" y="824502"/>
                  </a:cubicBezTo>
                  <a:cubicBezTo>
                    <a:pt x="592727" y="831918"/>
                    <a:pt x="578187" y="833479"/>
                    <a:pt x="565748" y="840125"/>
                  </a:cubicBezTo>
                  <a:cubicBezTo>
                    <a:pt x="559462" y="843775"/>
                    <a:pt x="555213" y="837129"/>
                    <a:pt x="551620" y="833065"/>
                  </a:cubicBezTo>
                  <a:cubicBezTo>
                    <a:pt x="547314" y="827555"/>
                    <a:pt x="541273" y="823905"/>
                    <a:pt x="536610" y="818810"/>
                  </a:cubicBezTo>
                  <a:cubicBezTo>
                    <a:pt x="535888" y="814745"/>
                    <a:pt x="536488" y="810613"/>
                    <a:pt x="536667" y="806539"/>
                  </a:cubicBezTo>
                  <a:cubicBezTo>
                    <a:pt x="534697" y="797206"/>
                    <a:pt x="532061" y="787324"/>
                    <a:pt x="535410" y="778588"/>
                  </a:cubicBezTo>
                  <a:cubicBezTo>
                    <a:pt x="548871" y="767512"/>
                    <a:pt x="566039" y="762002"/>
                    <a:pt x="582380" y="756734"/>
                  </a:cubicBezTo>
                  <a:cubicBezTo>
                    <a:pt x="592561" y="757723"/>
                    <a:pt x="603523" y="752011"/>
                    <a:pt x="613413" y="753132"/>
                  </a:cubicBezTo>
                  <a:close/>
                  <a:moveTo>
                    <a:pt x="809642" y="741170"/>
                  </a:moveTo>
                  <a:cubicBezTo>
                    <a:pt x="813239" y="738930"/>
                    <a:pt x="815996" y="745287"/>
                    <a:pt x="812820" y="747346"/>
                  </a:cubicBezTo>
                  <a:cubicBezTo>
                    <a:pt x="809283" y="749465"/>
                    <a:pt x="806465" y="743228"/>
                    <a:pt x="809642" y="741170"/>
                  </a:cubicBezTo>
                  <a:close/>
                  <a:moveTo>
                    <a:pt x="779986" y="732912"/>
                  </a:moveTo>
                  <a:cubicBezTo>
                    <a:pt x="782270" y="735265"/>
                    <a:pt x="784554" y="737621"/>
                    <a:pt x="786899" y="739854"/>
                  </a:cubicBezTo>
                  <a:cubicBezTo>
                    <a:pt x="782991" y="744624"/>
                    <a:pt x="779024" y="749453"/>
                    <a:pt x="774815" y="753981"/>
                  </a:cubicBezTo>
                  <a:cubicBezTo>
                    <a:pt x="772351" y="746314"/>
                    <a:pt x="775777" y="739191"/>
                    <a:pt x="779986" y="732912"/>
                  </a:cubicBezTo>
                  <a:close/>
                  <a:moveTo>
                    <a:pt x="1138054" y="713348"/>
                  </a:moveTo>
                  <a:cubicBezTo>
                    <a:pt x="1137995" y="722322"/>
                    <a:pt x="1135858" y="731118"/>
                    <a:pt x="1132592" y="739434"/>
                  </a:cubicBezTo>
                  <a:cubicBezTo>
                    <a:pt x="1128021" y="730460"/>
                    <a:pt x="1133542" y="721127"/>
                    <a:pt x="1138054" y="713348"/>
                  </a:cubicBezTo>
                  <a:close/>
                  <a:moveTo>
                    <a:pt x="596367" y="676881"/>
                  </a:moveTo>
                  <a:cubicBezTo>
                    <a:pt x="608187" y="676224"/>
                    <a:pt x="613937" y="688653"/>
                    <a:pt x="621314" y="695763"/>
                  </a:cubicBezTo>
                  <a:cubicBezTo>
                    <a:pt x="630908" y="703535"/>
                    <a:pt x="631387" y="717993"/>
                    <a:pt x="627015" y="728750"/>
                  </a:cubicBezTo>
                  <a:cubicBezTo>
                    <a:pt x="618080" y="729884"/>
                    <a:pt x="609086" y="730362"/>
                    <a:pt x="600390" y="733054"/>
                  </a:cubicBezTo>
                  <a:cubicBezTo>
                    <a:pt x="593672" y="730720"/>
                    <a:pt x="589240" y="724267"/>
                    <a:pt x="583540" y="720082"/>
                  </a:cubicBezTo>
                  <a:cubicBezTo>
                    <a:pt x="582102" y="724506"/>
                    <a:pt x="580485" y="728870"/>
                    <a:pt x="578089" y="732869"/>
                  </a:cubicBezTo>
                  <a:cubicBezTo>
                    <a:pt x="569753" y="734427"/>
                    <a:pt x="566329" y="726177"/>
                    <a:pt x="559920" y="723252"/>
                  </a:cubicBezTo>
                  <a:cubicBezTo>
                    <a:pt x="549548" y="723909"/>
                    <a:pt x="542650" y="735920"/>
                    <a:pt x="531559" y="732451"/>
                  </a:cubicBezTo>
                  <a:cubicBezTo>
                    <a:pt x="533536" y="713868"/>
                    <a:pt x="552363" y="699768"/>
                    <a:pt x="570592" y="700544"/>
                  </a:cubicBezTo>
                  <a:cubicBezTo>
                    <a:pt x="578209" y="691823"/>
                    <a:pt x="585217" y="681245"/>
                    <a:pt x="596367" y="676881"/>
                  </a:cubicBezTo>
                  <a:close/>
                  <a:moveTo>
                    <a:pt x="896454" y="668811"/>
                  </a:moveTo>
                  <a:cubicBezTo>
                    <a:pt x="913458" y="667195"/>
                    <a:pt x="925210" y="682213"/>
                    <a:pt x="938926" y="690049"/>
                  </a:cubicBezTo>
                  <a:cubicBezTo>
                    <a:pt x="945664" y="692555"/>
                    <a:pt x="941432" y="699799"/>
                    <a:pt x="940718" y="704821"/>
                  </a:cubicBezTo>
                  <a:cubicBezTo>
                    <a:pt x="946560" y="707092"/>
                    <a:pt x="952698" y="706191"/>
                    <a:pt x="958789" y="706561"/>
                  </a:cubicBezTo>
                  <a:cubicBezTo>
                    <a:pt x="965585" y="710979"/>
                    <a:pt x="971018" y="717149"/>
                    <a:pt x="976498" y="723061"/>
                  </a:cubicBezTo>
                  <a:cubicBezTo>
                    <a:pt x="971847" y="728565"/>
                    <a:pt x="967014" y="733957"/>
                    <a:pt x="961944" y="739091"/>
                  </a:cubicBezTo>
                  <a:cubicBezTo>
                    <a:pt x="970531" y="745558"/>
                    <a:pt x="978528" y="759848"/>
                    <a:pt x="969102" y="768709"/>
                  </a:cubicBezTo>
                  <a:cubicBezTo>
                    <a:pt x="957769" y="774509"/>
                    <a:pt x="945721" y="781506"/>
                    <a:pt x="932664" y="779828"/>
                  </a:cubicBezTo>
                  <a:cubicBezTo>
                    <a:pt x="929861" y="782888"/>
                    <a:pt x="928546" y="786948"/>
                    <a:pt x="926697" y="790601"/>
                  </a:cubicBezTo>
                  <a:cubicBezTo>
                    <a:pt x="925324" y="789700"/>
                    <a:pt x="924009" y="788812"/>
                    <a:pt x="922703" y="787911"/>
                  </a:cubicBezTo>
                  <a:cubicBezTo>
                    <a:pt x="925506" y="775348"/>
                    <a:pt x="914230" y="769128"/>
                    <a:pt x="906062" y="763020"/>
                  </a:cubicBezTo>
                  <a:cubicBezTo>
                    <a:pt x="906958" y="761354"/>
                    <a:pt x="907844" y="759737"/>
                    <a:pt x="908807" y="758120"/>
                  </a:cubicBezTo>
                  <a:cubicBezTo>
                    <a:pt x="915364" y="756985"/>
                    <a:pt x="922227" y="756800"/>
                    <a:pt x="928727" y="755011"/>
                  </a:cubicBezTo>
                  <a:cubicBezTo>
                    <a:pt x="923533" y="746335"/>
                    <a:pt x="913753" y="742991"/>
                    <a:pt x="905042" y="739338"/>
                  </a:cubicBezTo>
                  <a:cubicBezTo>
                    <a:pt x="898189" y="729885"/>
                    <a:pt x="895082" y="718038"/>
                    <a:pt x="889601" y="707746"/>
                  </a:cubicBezTo>
                  <a:cubicBezTo>
                    <a:pt x="892041" y="705722"/>
                    <a:pt x="894672" y="703859"/>
                    <a:pt x="896873" y="701526"/>
                  </a:cubicBezTo>
                  <a:cubicBezTo>
                    <a:pt x="894843" y="690889"/>
                    <a:pt x="883215" y="676166"/>
                    <a:pt x="896454" y="668811"/>
                  </a:cubicBezTo>
                  <a:close/>
                  <a:moveTo>
                    <a:pt x="1196856" y="637796"/>
                  </a:moveTo>
                  <a:cubicBezTo>
                    <a:pt x="1201010" y="638428"/>
                    <a:pt x="1205387" y="640264"/>
                    <a:pt x="1209287" y="640927"/>
                  </a:cubicBezTo>
                  <a:cubicBezTo>
                    <a:pt x="1202440" y="653088"/>
                    <a:pt x="1188266" y="656339"/>
                    <a:pt x="1176178" y="660673"/>
                  </a:cubicBezTo>
                  <a:cubicBezTo>
                    <a:pt x="1178797" y="654171"/>
                    <a:pt x="1179989" y="646467"/>
                    <a:pt x="1185766" y="641891"/>
                  </a:cubicBezTo>
                  <a:cubicBezTo>
                    <a:pt x="1188773" y="637737"/>
                    <a:pt x="1192703" y="637165"/>
                    <a:pt x="1196856" y="637796"/>
                  </a:cubicBezTo>
                  <a:close/>
                  <a:moveTo>
                    <a:pt x="759819" y="598469"/>
                  </a:moveTo>
                  <a:cubicBezTo>
                    <a:pt x="766155" y="603000"/>
                    <a:pt x="773689" y="606292"/>
                    <a:pt x="779263" y="611888"/>
                  </a:cubicBezTo>
                  <a:cubicBezTo>
                    <a:pt x="790200" y="626818"/>
                    <a:pt x="785777" y="645969"/>
                    <a:pt x="790978" y="662680"/>
                  </a:cubicBezTo>
                  <a:cubicBezTo>
                    <a:pt x="793668" y="653017"/>
                    <a:pt x="793846" y="640953"/>
                    <a:pt x="804086" y="635938"/>
                  </a:cubicBezTo>
                  <a:cubicBezTo>
                    <a:pt x="807311" y="632724"/>
                    <a:pt x="810713" y="636713"/>
                    <a:pt x="813111" y="638920"/>
                  </a:cubicBezTo>
                  <a:cubicBezTo>
                    <a:pt x="817665" y="643935"/>
                    <a:pt x="821958" y="649241"/>
                    <a:pt x="827581" y="653075"/>
                  </a:cubicBezTo>
                  <a:cubicBezTo>
                    <a:pt x="825977" y="659930"/>
                    <a:pt x="824243" y="667094"/>
                    <a:pt x="826268" y="674065"/>
                  </a:cubicBezTo>
                  <a:cubicBezTo>
                    <a:pt x="831534" y="672226"/>
                    <a:pt x="836736" y="669651"/>
                    <a:pt x="842358" y="669070"/>
                  </a:cubicBezTo>
                  <a:cubicBezTo>
                    <a:pt x="850022" y="673949"/>
                    <a:pt x="855580" y="682314"/>
                    <a:pt x="853490" y="691609"/>
                  </a:cubicBezTo>
                  <a:cubicBezTo>
                    <a:pt x="857071" y="693294"/>
                    <a:pt x="860716" y="694843"/>
                    <a:pt x="864313" y="696450"/>
                  </a:cubicBezTo>
                  <a:cubicBezTo>
                    <a:pt x="860959" y="706229"/>
                    <a:pt x="852825" y="715853"/>
                    <a:pt x="858027" y="726774"/>
                  </a:cubicBezTo>
                  <a:cubicBezTo>
                    <a:pt x="863536" y="737753"/>
                    <a:pt x="872917" y="746932"/>
                    <a:pt x="875980" y="759169"/>
                  </a:cubicBezTo>
                  <a:cubicBezTo>
                    <a:pt x="876693" y="767709"/>
                    <a:pt x="874003" y="776113"/>
                    <a:pt x="872561" y="784478"/>
                  </a:cubicBezTo>
                  <a:cubicBezTo>
                    <a:pt x="863892" y="786085"/>
                    <a:pt x="854024" y="792107"/>
                    <a:pt x="845404" y="786802"/>
                  </a:cubicBezTo>
                  <a:cubicBezTo>
                    <a:pt x="830935" y="777004"/>
                    <a:pt x="833511" y="757911"/>
                    <a:pt x="827954" y="743175"/>
                  </a:cubicBezTo>
                  <a:lnTo>
                    <a:pt x="821310" y="745092"/>
                  </a:lnTo>
                  <a:cubicBezTo>
                    <a:pt x="816109" y="739651"/>
                    <a:pt x="810065" y="733396"/>
                    <a:pt x="802045" y="733203"/>
                  </a:cubicBezTo>
                  <a:cubicBezTo>
                    <a:pt x="795823" y="734345"/>
                    <a:pt x="789601" y="738218"/>
                    <a:pt x="783508" y="734461"/>
                  </a:cubicBezTo>
                  <a:cubicBezTo>
                    <a:pt x="784821" y="730279"/>
                    <a:pt x="786133" y="726057"/>
                    <a:pt x="787446" y="721817"/>
                  </a:cubicBezTo>
                  <a:cubicBezTo>
                    <a:pt x="776930" y="723075"/>
                    <a:pt x="767240" y="727665"/>
                    <a:pt x="759155" y="734345"/>
                  </a:cubicBezTo>
                  <a:cubicBezTo>
                    <a:pt x="752820" y="740425"/>
                    <a:pt x="742174" y="734229"/>
                    <a:pt x="739727" y="727122"/>
                  </a:cubicBezTo>
                  <a:cubicBezTo>
                    <a:pt x="734640" y="719241"/>
                    <a:pt x="726506" y="706171"/>
                    <a:pt x="736373" y="698425"/>
                  </a:cubicBezTo>
                  <a:cubicBezTo>
                    <a:pt x="748088" y="697457"/>
                    <a:pt x="757243" y="706771"/>
                    <a:pt x="769023" y="706422"/>
                  </a:cubicBezTo>
                  <a:cubicBezTo>
                    <a:pt x="769865" y="702066"/>
                    <a:pt x="770578" y="697709"/>
                    <a:pt x="771356" y="693352"/>
                  </a:cubicBezTo>
                  <a:cubicBezTo>
                    <a:pt x="766819" y="692984"/>
                    <a:pt x="762217" y="692635"/>
                    <a:pt x="757729" y="691551"/>
                  </a:cubicBezTo>
                  <a:cubicBezTo>
                    <a:pt x="764000" y="686245"/>
                    <a:pt x="773462" y="682373"/>
                    <a:pt x="772798" y="672652"/>
                  </a:cubicBezTo>
                  <a:lnTo>
                    <a:pt x="761132" y="676931"/>
                  </a:lnTo>
                  <a:cubicBezTo>
                    <a:pt x="761667" y="674782"/>
                    <a:pt x="762153" y="672652"/>
                    <a:pt x="762687" y="670503"/>
                  </a:cubicBezTo>
                  <a:lnTo>
                    <a:pt x="755688" y="676041"/>
                  </a:lnTo>
                  <a:lnTo>
                    <a:pt x="749174" y="674065"/>
                  </a:lnTo>
                  <a:cubicBezTo>
                    <a:pt x="752528" y="668876"/>
                    <a:pt x="756238" y="663880"/>
                    <a:pt x="760176" y="659097"/>
                  </a:cubicBezTo>
                  <a:lnTo>
                    <a:pt x="751621" y="648118"/>
                  </a:lnTo>
                  <a:cubicBezTo>
                    <a:pt x="742709" y="654624"/>
                    <a:pt x="743017" y="668760"/>
                    <a:pt x="731286" y="671935"/>
                  </a:cubicBezTo>
                  <a:cubicBezTo>
                    <a:pt x="733927" y="661421"/>
                    <a:pt x="737151" y="651042"/>
                    <a:pt x="739954" y="640605"/>
                  </a:cubicBezTo>
                  <a:cubicBezTo>
                    <a:pt x="733198" y="642096"/>
                    <a:pt x="726571" y="643819"/>
                    <a:pt x="719927" y="645620"/>
                  </a:cubicBezTo>
                  <a:cubicBezTo>
                    <a:pt x="714661" y="632356"/>
                    <a:pt x="716995" y="618104"/>
                    <a:pt x="720219" y="604743"/>
                  </a:cubicBezTo>
                  <a:cubicBezTo>
                    <a:pt x="733797" y="609332"/>
                    <a:pt x="746484" y="599670"/>
                    <a:pt x="759819" y="598469"/>
                  </a:cubicBezTo>
                  <a:close/>
                  <a:moveTo>
                    <a:pt x="856893" y="493124"/>
                  </a:moveTo>
                  <a:cubicBezTo>
                    <a:pt x="862068" y="497363"/>
                    <a:pt x="868374" y="498855"/>
                    <a:pt x="874742" y="496646"/>
                  </a:cubicBezTo>
                  <a:cubicBezTo>
                    <a:pt x="883548" y="515744"/>
                    <a:pt x="886227" y="538429"/>
                    <a:pt x="881111" y="558840"/>
                  </a:cubicBezTo>
                  <a:cubicBezTo>
                    <a:pt x="871469" y="552630"/>
                    <a:pt x="869269" y="541708"/>
                    <a:pt x="865758" y="531620"/>
                  </a:cubicBezTo>
                  <a:cubicBezTo>
                    <a:pt x="860043" y="529472"/>
                    <a:pt x="853797" y="529892"/>
                    <a:pt x="847904" y="528755"/>
                  </a:cubicBezTo>
                  <a:cubicBezTo>
                    <a:pt x="847845" y="516342"/>
                    <a:pt x="846597" y="502134"/>
                    <a:pt x="856893" y="493124"/>
                  </a:cubicBezTo>
                  <a:close/>
                  <a:moveTo>
                    <a:pt x="870400" y="488706"/>
                  </a:moveTo>
                  <a:cubicBezTo>
                    <a:pt x="871459" y="489428"/>
                    <a:pt x="872003" y="490796"/>
                    <a:pt x="870824" y="492073"/>
                  </a:cubicBezTo>
                  <a:cubicBezTo>
                    <a:pt x="869009" y="494627"/>
                    <a:pt x="864654" y="491769"/>
                    <a:pt x="866892" y="489215"/>
                  </a:cubicBezTo>
                  <a:cubicBezTo>
                    <a:pt x="867769" y="487908"/>
                    <a:pt x="869342" y="487984"/>
                    <a:pt x="870400" y="488706"/>
                  </a:cubicBezTo>
                  <a:close/>
                  <a:moveTo>
                    <a:pt x="961904" y="412895"/>
                  </a:moveTo>
                  <a:cubicBezTo>
                    <a:pt x="968331" y="413977"/>
                    <a:pt x="973409" y="418366"/>
                    <a:pt x="972805" y="426904"/>
                  </a:cubicBezTo>
                  <a:cubicBezTo>
                    <a:pt x="962498" y="425582"/>
                    <a:pt x="952614" y="422215"/>
                    <a:pt x="942910" y="418726"/>
                  </a:cubicBezTo>
                  <a:cubicBezTo>
                    <a:pt x="947701" y="414037"/>
                    <a:pt x="955477" y="411812"/>
                    <a:pt x="961904" y="412895"/>
                  </a:cubicBezTo>
                  <a:close/>
                  <a:moveTo>
                    <a:pt x="1005529" y="309016"/>
                  </a:moveTo>
                  <a:cubicBezTo>
                    <a:pt x="1022396" y="317379"/>
                    <a:pt x="1043017" y="327511"/>
                    <a:pt x="1047085" y="347775"/>
                  </a:cubicBezTo>
                  <a:cubicBezTo>
                    <a:pt x="1050071" y="364987"/>
                    <a:pt x="1057011" y="381181"/>
                    <a:pt x="1063127" y="397463"/>
                  </a:cubicBezTo>
                  <a:cubicBezTo>
                    <a:pt x="1064776" y="405958"/>
                    <a:pt x="1071973" y="411002"/>
                    <a:pt x="1076211" y="417949"/>
                  </a:cubicBezTo>
                  <a:cubicBezTo>
                    <a:pt x="1075557" y="422860"/>
                    <a:pt x="1074959" y="427949"/>
                    <a:pt x="1073992" y="432860"/>
                  </a:cubicBezTo>
                  <a:cubicBezTo>
                    <a:pt x="1081729" y="434143"/>
                    <a:pt x="1089323" y="437107"/>
                    <a:pt x="1094756" y="442992"/>
                  </a:cubicBezTo>
                  <a:cubicBezTo>
                    <a:pt x="1097202" y="440559"/>
                    <a:pt x="1099591" y="438037"/>
                    <a:pt x="1102521" y="436178"/>
                  </a:cubicBezTo>
                  <a:cubicBezTo>
                    <a:pt x="1107982" y="438125"/>
                    <a:pt x="1113842" y="442815"/>
                    <a:pt x="1114069" y="448788"/>
                  </a:cubicBezTo>
                  <a:cubicBezTo>
                    <a:pt x="1108636" y="464186"/>
                    <a:pt x="1109461" y="483388"/>
                    <a:pt x="1121379" y="495512"/>
                  </a:cubicBezTo>
                  <a:cubicBezTo>
                    <a:pt x="1124167" y="498565"/>
                    <a:pt x="1128490" y="498874"/>
                    <a:pt x="1131590" y="496175"/>
                  </a:cubicBezTo>
                  <a:cubicBezTo>
                    <a:pt x="1131761" y="485955"/>
                    <a:pt x="1122858" y="478300"/>
                    <a:pt x="1123569" y="467902"/>
                  </a:cubicBezTo>
                  <a:cubicBezTo>
                    <a:pt x="1121123" y="461487"/>
                    <a:pt x="1124821" y="454717"/>
                    <a:pt x="1130396" y="452107"/>
                  </a:cubicBezTo>
                  <a:cubicBezTo>
                    <a:pt x="1136369" y="452107"/>
                    <a:pt x="1142370" y="453876"/>
                    <a:pt x="1147547" y="456841"/>
                  </a:cubicBezTo>
                  <a:cubicBezTo>
                    <a:pt x="1150847" y="469982"/>
                    <a:pt x="1155085" y="490423"/>
                    <a:pt x="1138587" y="496529"/>
                  </a:cubicBezTo>
                  <a:cubicBezTo>
                    <a:pt x="1139071" y="499228"/>
                    <a:pt x="1139555" y="501883"/>
                    <a:pt x="1139953" y="504582"/>
                  </a:cubicBezTo>
                  <a:cubicBezTo>
                    <a:pt x="1144817" y="503387"/>
                    <a:pt x="1149823" y="502016"/>
                    <a:pt x="1154857" y="502679"/>
                  </a:cubicBezTo>
                  <a:cubicBezTo>
                    <a:pt x="1161257" y="509980"/>
                    <a:pt x="1165552" y="521218"/>
                    <a:pt x="1158100" y="529360"/>
                  </a:cubicBezTo>
                  <a:lnTo>
                    <a:pt x="1166092" y="527501"/>
                  </a:lnTo>
                  <a:cubicBezTo>
                    <a:pt x="1164613" y="543386"/>
                    <a:pt x="1164130" y="560995"/>
                    <a:pt x="1153350" y="573871"/>
                  </a:cubicBezTo>
                  <a:cubicBezTo>
                    <a:pt x="1153776" y="575818"/>
                    <a:pt x="1154260" y="577764"/>
                    <a:pt x="1154743" y="579711"/>
                  </a:cubicBezTo>
                  <a:cubicBezTo>
                    <a:pt x="1160773" y="572986"/>
                    <a:pt x="1166405" y="564845"/>
                    <a:pt x="1174540" y="560730"/>
                  </a:cubicBezTo>
                  <a:cubicBezTo>
                    <a:pt x="1185292" y="558872"/>
                    <a:pt x="1187141" y="572145"/>
                    <a:pt x="1186202" y="579977"/>
                  </a:cubicBezTo>
                  <a:lnTo>
                    <a:pt x="1189956" y="579048"/>
                  </a:lnTo>
                  <a:cubicBezTo>
                    <a:pt x="1191407" y="573871"/>
                    <a:pt x="1192886" y="568827"/>
                    <a:pt x="1194451" y="563739"/>
                  </a:cubicBezTo>
                  <a:cubicBezTo>
                    <a:pt x="1200623" y="579092"/>
                    <a:pt x="1207250" y="594224"/>
                    <a:pt x="1214304" y="609179"/>
                  </a:cubicBezTo>
                  <a:cubicBezTo>
                    <a:pt x="1206056" y="629576"/>
                    <a:pt x="1174113" y="627187"/>
                    <a:pt x="1171724" y="651212"/>
                  </a:cubicBezTo>
                  <a:cubicBezTo>
                    <a:pt x="1169392" y="649044"/>
                    <a:pt x="1167003" y="646876"/>
                    <a:pt x="1164613" y="644752"/>
                  </a:cubicBezTo>
                  <a:cubicBezTo>
                    <a:pt x="1165751" y="661477"/>
                    <a:pt x="1153776" y="674884"/>
                    <a:pt x="1149368" y="690370"/>
                  </a:cubicBezTo>
                  <a:cubicBezTo>
                    <a:pt x="1135544" y="679707"/>
                    <a:pt x="1141176" y="659929"/>
                    <a:pt x="1141887" y="644752"/>
                  </a:cubicBezTo>
                  <a:lnTo>
                    <a:pt x="1136084" y="645283"/>
                  </a:lnTo>
                  <a:cubicBezTo>
                    <a:pt x="1134179" y="658336"/>
                    <a:pt x="1133923" y="671831"/>
                    <a:pt x="1137165" y="684706"/>
                  </a:cubicBezTo>
                  <a:cubicBezTo>
                    <a:pt x="1136682" y="688865"/>
                    <a:pt x="1141773" y="692361"/>
                    <a:pt x="1142541" y="698024"/>
                  </a:cubicBezTo>
                  <a:cubicBezTo>
                    <a:pt x="1143309" y="704042"/>
                    <a:pt x="1138417" y="708599"/>
                    <a:pt x="1135487" y="713245"/>
                  </a:cubicBezTo>
                  <a:cubicBezTo>
                    <a:pt x="1131420" y="705856"/>
                    <a:pt x="1127893" y="698024"/>
                    <a:pt x="1122204" y="691741"/>
                  </a:cubicBezTo>
                  <a:cubicBezTo>
                    <a:pt x="1122375" y="701431"/>
                    <a:pt x="1125617" y="710679"/>
                    <a:pt x="1126328" y="720280"/>
                  </a:cubicBezTo>
                  <a:cubicBezTo>
                    <a:pt x="1125845" y="730368"/>
                    <a:pt x="1123029" y="740235"/>
                    <a:pt x="1120412" y="749969"/>
                  </a:cubicBezTo>
                  <a:cubicBezTo>
                    <a:pt x="1106588" y="733465"/>
                    <a:pt x="1100302" y="712183"/>
                    <a:pt x="1091656" y="692759"/>
                  </a:cubicBezTo>
                  <a:cubicBezTo>
                    <a:pt x="1090575" y="712891"/>
                    <a:pt x="1102948" y="729704"/>
                    <a:pt x="1104569" y="749394"/>
                  </a:cubicBezTo>
                  <a:cubicBezTo>
                    <a:pt x="1096918" y="742270"/>
                    <a:pt x="1092168" y="732801"/>
                    <a:pt x="1084516" y="725722"/>
                  </a:cubicBezTo>
                  <a:cubicBezTo>
                    <a:pt x="1084175" y="734261"/>
                    <a:pt x="1084459" y="742934"/>
                    <a:pt x="1084061" y="751473"/>
                  </a:cubicBezTo>
                  <a:cubicBezTo>
                    <a:pt x="1057011" y="750057"/>
                    <a:pt x="1028056" y="736607"/>
                    <a:pt x="1018982" y="709130"/>
                  </a:cubicBezTo>
                  <a:lnTo>
                    <a:pt x="1053001" y="701962"/>
                  </a:lnTo>
                  <a:cubicBezTo>
                    <a:pt x="1039974" y="698024"/>
                    <a:pt x="1026036" y="689573"/>
                    <a:pt x="1012639" y="697139"/>
                  </a:cubicBezTo>
                  <a:cubicBezTo>
                    <a:pt x="1008288" y="688910"/>
                    <a:pt x="1003537" y="680857"/>
                    <a:pt x="1000380" y="672052"/>
                  </a:cubicBezTo>
                  <a:cubicBezTo>
                    <a:pt x="1006723" y="674176"/>
                    <a:pt x="1012952" y="676654"/>
                    <a:pt x="1019352" y="678689"/>
                  </a:cubicBezTo>
                  <a:cubicBezTo>
                    <a:pt x="1015683" y="670238"/>
                    <a:pt x="1006894" y="668203"/>
                    <a:pt x="999072" y="665415"/>
                  </a:cubicBezTo>
                  <a:cubicBezTo>
                    <a:pt x="993980" y="660460"/>
                    <a:pt x="991961" y="652938"/>
                    <a:pt x="988292" y="646965"/>
                  </a:cubicBezTo>
                  <a:cubicBezTo>
                    <a:pt x="998588" y="642186"/>
                    <a:pt x="1008999" y="636567"/>
                    <a:pt x="1012156" y="624665"/>
                  </a:cubicBezTo>
                  <a:cubicBezTo>
                    <a:pt x="1032977" y="629930"/>
                    <a:pt x="1054622" y="623382"/>
                    <a:pt x="1074590" y="617763"/>
                  </a:cubicBezTo>
                  <a:cubicBezTo>
                    <a:pt x="1068787" y="613913"/>
                    <a:pt x="1062046" y="614488"/>
                    <a:pt x="1055817" y="616922"/>
                  </a:cubicBezTo>
                  <a:cubicBezTo>
                    <a:pt x="1046430" y="620240"/>
                    <a:pt x="1036134" y="618426"/>
                    <a:pt x="1027117" y="614975"/>
                  </a:cubicBezTo>
                  <a:cubicBezTo>
                    <a:pt x="1030815" y="608913"/>
                    <a:pt x="1037471" y="606790"/>
                    <a:pt x="1043671" y="604135"/>
                  </a:cubicBezTo>
                  <a:cubicBezTo>
                    <a:pt x="1038523" y="602277"/>
                    <a:pt x="1033460" y="600374"/>
                    <a:pt x="1028369" y="598339"/>
                  </a:cubicBezTo>
                  <a:cubicBezTo>
                    <a:pt x="1032209" y="594711"/>
                    <a:pt x="1036020" y="591127"/>
                    <a:pt x="1039718" y="587366"/>
                  </a:cubicBezTo>
                  <a:cubicBezTo>
                    <a:pt x="1028198" y="587764"/>
                    <a:pt x="1019949" y="595551"/>
                    <a:pt x="1012583" y="603294"/>
                  </a:cubicBezTo>
                  <a:cubicBezTo>
                    <a:pt x="1012156" y="600197"/>
                    <a:pt x="1011672" y="597144"/>
                    <a:pt x="1011217" y="594047"/>
                  </a:cubicBezTo>
                  <a:cubicBezTo>
                    <a:pt x="1006240" y="602232"/>
                    <a:pt x="1001945" y="611878"/>
                    <a:pt x="992018" y="614975"/>
                  </a:cubicBezTo>
                  <a:cubicBezTo>
                    <a:pt x="990624" y="608559"/>
                    <a:pt x="992957" y="602409"/>
                    <a:pt x="995886" y="596834"/>
                  </a:cubicBezTo>
                  <a:lnTo>
                    <a:pt x="985021" y="592056"/>
                  </a:lnTo>
                  <a:cubicBezTo>
                    <a:pt x="985248" y="594799"/>
                    <a:pt x="985476" y="597498"/>
                    <a:pt x="985675" y="600197"/>
                  </a:cubicBezTo>
                  <a:cubicBezTo>
                    <a:pt x="979872" y="604666"/>
                    <a:pt x="974127" y="609223"/>
                    <a:pt x="967613" y="612719"/>
                  </a:cubicBezTo>
                  <a:cubicBezTo>
                    <a:pt x="966902" y="607321"/>
                    <a:pt x="966163" y="602011"/>
                    <a:pt x="965622" y="596657"/>
                  </a:cubicBezTo>
                  <a:cubicBezTo>
                    <a:pt x="953619" y="599710"/>
                    <a:pt x="951287" y="584711"/>
                    <a:pt x="955354" y="576216"/>
                  </a:cubicBezTo>
                  <a:cubicBezTo>
                    <a:pt x="966902" y="570287"/>
                    <a:pt x="990880" y="567544"/>
                    <a:pt x="986983" y="549093"/>
                  </a:cubicBezTo>
                  <a:cubicBezTo>
                    <a:pt x="978792" y="558473"/>
                    <a:pt x="967187" y="567190"/>
                    <a:pt x="953960" y="563739"/>
                  </a:cubicBezTo>
                  <a:cubicBezTo>
                    <a:pt x="943692" y="553695"/>
                    <a:pt x="938544" y="539315"/>
                    <a:pt x="931120" y="527147"/>
                  </a:cubicBezTo>
                  <a:lnTo>
                    <a:pt x="942185" y="525997"/>
                  </a:lnTo>
                  <a:cubicBezTo>
                    <a:pt x="930779" y="518696"/>
                    <a:pt x="929869" y="504494"/>
                    <a:pt x="930694" y="492282"/>
                  </a:cubicBezTo>
                  <a:cubicBezTo>
                    <a:pt x="938544" y="496839"/>
                    <a:pt x="945826" y="502370"/>
                    <a:pt x="953847" y="506617"/>
                  </a:cubicBezTo>
                  <a:cubicBezTo>
                    <a:pt x="962949" y="510378"/>
                    <a:pt x="973103" y="508520"/>
                    <a:pt x="982489" y="511175"/>
                  </a:cubicBezTo>
                  <a:cubicBezTo>
                    <a:pt x="979929" y="507414"/>
                    <a:pt x="977426" y="503564"/>
                    <a:pt x="974952" y="499759"/>
                  </a:cubicBezTo>
                  <a:cubicBezTo>
                    <a:pt x="980811" y="496175"/>
                    <a:pt x="986670" y="492636"/>
                    <a:pt x="992672" y="489273"/>
                  </a:cubicBezTo>
                  <a:cubicBezTo>
                    <a:pt x="989003" y="488211"/>
                    <a:pt x="985305" y="487061"/>
                    <a:pt x="981721" y="485866"/>
                  </a:cubicBezTo>
                  <a:cubicBezTo>
                    <a:pt x="977057" y="491574"/>
                    <a:pt x="971567" y="497016"/>
                    <a:pt x="964086" y="498565"/>
                  </a:cubicBezTo>
                  <a:cubicBezTo>
                    <a:pt x="960417" y="496175"/>
                    <a:pt x="957146" y="493255"/>
                    <a:pt x="953960" y="490246"/>
                  </a:cubicBezTo>
                  <a:lnTo>
                    <a:pt x="963603" y="484495"/>
                  </a:lnTo>
                  <a:cubicBezTo>
                    <a:pt x="956549" y="484008"/>
                    <a:pt x="948585" y="487370"/>
                    <a:pt x="942498" y="482415"/>
                  </a:cubicBezTo>
                  <a:cubicBezTo>
                    <a:pt x="935956" y="478167"/>
                    <a:pt x="933936" y="470823"/>
                    <a:pt x="931604" y="463920"/>
                  </a:cubicBezTo>
                  <a:lnTo>
                    <a:pt x="939426" y="464938"/>
                  </a:lnTo>
                  <a:cubicBezTo>
                    <a:pt x="945712" y="455514"/>
                    <a:pt x="955354" y="463920"/>
                    <a:pt x="962749" y="467283"/>
                  </a:cubicBezTo>
                  <a:cubicBezTo>
                    <a:pt x="958824" y="459451"/>
                    <a:pt x="953079" y="452682"/>
                    <a:pt x="947930" y="445691"/>
                  </a:cubicBezTo>
                  <a:cubicBezTo>
                    <a:pt x="948755" y="441089"/>
                    <a:pt x="948755" y="436444"/>
                    <a:pt x="948158" y="431754"/>
                  </a:cubicBezTo>
                  <a:cubicBezTo>
                    <a:pt x="966362" y="425559"/>
                    <a:pt x="983286" y="434099"/>
                    <a:pt x="1000864" y="437461"/>
                  </a:cubicBezTo>
                  <a:cubicBezTo>
                    <a:pt x="994748" y="428302"/>
                    <a:pt x="977768" y="429718"/>
                    <a:pt x="979275" y="415825"/>
                  </a:cubicBezTo>
                  <a:lnTo>
                    <a:pt x="993013" y="413038"/>
                  </a:lnTo>
                  <a:cubicBezTo>
                    <a:pt x="991762" y="411489"/>
                    <a:pt x="990510" y="409985"/>
                    <a:pt x="989316" y="408436"/>
                  </a:cubicBezTo>
                  <a:cubicBezTo>
                    <a:pt x="985789" y="409056"/>
                    <a:pt x="982205" y="409896"/>
                    <a:pt x="978621" y="409941"/>
                  </a:cubicBezTo>
                  <a:cubicBezTo>
                    <a:pt x="974497" y="408082"/>
                    <a:pt x="973530" y="403171"/>
                    <a:pt x="971738" y="399499"/>
                  </a:cubicBezTo>
                  <a:cubicBezTo>
                    <a:pt x="967414" y="399499"/>
                    <a:pt x="962693" y="400383"/>
                    <a:pt x="958824" y="397994"/>
                  </a:cubicBezTo>
                  <a:cubicBezTo>
                    <a:pt x="957630" y="391933"/>
                    <a:pt x="963489" y="389676"/>
                    <a:pt x="967727" y="387242"/>
                  </a:cubicBezTo>
                  <a:cubicBezTo>
                    <a:pt x="964968" y="386402"/>
                    <a:pt x="962294" y="385605"/>
                    <a:pt x="959535" y="384897"/>
                  </a:cubicBezTo>
                  <a:cubicBezTo>
                    <a:pt x="963830" y="375916"/>
                    <a:pt x="965878" y="364854"/>
                    <a:pt x="974838" y="359191"/>
                  </a:cubicBezTo>
                  <a:cubicBezTo>
                    <a:pt x="981835" y="359545"/>
                    <a:pt x="983513" y="367509"/>
                    <a:pt x="986016" y="372641"/>
                  </a:cubicBezTo>
                  <a:cubicBezTo>
                    <a:pt x="988832" y="369367"/>
                    <a:pt x="991876" y="366358"/>
                    <a:pt x="994208" y="362730"/>
                  </a:cubicBezTo>
                  <a:cubicBezTo>
                    <a:pt x="991819" y="358881"/>
                    <a:pt x="988775" y="355607"/>
                    <a:pt x="986016" y="352111"/>
                  </a:cubicBezTo>
                  <a:cubicBezTo>
                    <a:pt x="995545" y="353218"/>
                    <a:pt x="1004988" y="354501"/>
                    <a:pt x="1014431" y="356270"/>
                  </a:cubicBezTo>
                  <a:cubicBezTo>
                    <a:pt x="1015455" y="349634"/>
                    <a:pt x="1020177" y="341227"/>
                    <a:pt x="1013407" y="336360"/>
                  </a:cubicBezTo>
                  <a:cubicBezTo>
                    <a:pt x="1005756" y="334767"/>
                    <a:pt x="997877" y="336714"/>
                    <a:pt x="990226" y="337112"/>
                  </a:cubicBezTo>
                  <a:cubicBezTo>
                    <a:pt x="985135" y="328750"/>
                    <a:pt x="988121" y="319370"/>
                    <a:pt x="990994" y="310874"/>
                  </a:cubicBezTo>
                  <a:cubicBezTo>
                    <a:pt x="996683" y="313573"/>
                    <a:pt x="1002229" y="316449"/>
                    <a:pt x="1007548" y="319724"/>
                  </a:cubicBezTo>
                  <a:cubicBezTo>
                    <a:pt x="1006837" y="316140"/>
                    <a:pt x="1006183" y="312556"/>
                    <a:pt x="1005529" y="309016"/>
                  </a:cubicBezTo>
                  <a:close/>
                  <a:moveTo>
                    <a:pt x="1648413" y="276576"/>
                  </a:moveTo>
                  <a:cubicBezTo>
                    <a:pt x="1650857" y="274704"/>
                    <a:pt x="1656233" y="274402"/>
                    <a:pt x="1657761" y="277482"/>
                  </a:cubicBezTo>
                  <a:cubicBezTo>
                    <a:pt x="1656356" y="280924"/>
                    <a:pt x="1648230" y="280381"/>
                    <a:pt x="1648413" y="276576"/>
                  </a:cubicBezTo>
                  <a:close/>
                  <a:moveTo>
                    <a:pt x="1692235" y="251326"/>
                  </a:moveTo>
                  <a:lnTo>
                    <a:pt x="1692877" y="259352"/>
                  </a:lnTo>
                  <a:lnTo>
                    <a:pt x="1685352" y="258667"/>
                  </a:lnTo>
                  <a:cubicBezTo>
                    <a:pt x="1687569" y="256117"/>
                    <a:pt x="1689844" y="253690"/>
                    <a:pt x="1692235" y="251326"/>
                  </a:cubicBezTo>
                  <a:close/>
                  <a:moveTo>
                    <a:pt x="1640423" y="65828"/>
                  </a:moveTo>
                  <a:cubicBezTo>
                    <a:pt x="1643717" y="65884"/>
                    <a:pt x="1643158" y="70731"/>
                    <a:pt x="1640050" y="70562"/>
                  </a:cubicBezTo>
                  <a:cubicBezTo>
                    <a:pt x="1636694" y="70562"/>
                    <a:pt x="1637316" y="65715"/>
                    <a:pt x="1640423" y="65828"/>
                  </a:cubicBezTo>
                  <a:close/>
                  <a:moveTo>
                    <a:pt x="1377339" y="28091"/>
                  </a:moveTo>
                  <a:cubicBezTo>
                    <a:pt x="1376353" y="34149"/>
                    <a:pt x="1374381" y="39972"/>
                    <a:pt x="1371132" y="45147"/>
                  </a:cubicBezTo>
                  <a:cubicBezTo>
                    <a:pt x="1370262" y="40736"/>
                    <a:pt x="1369043" y="36326"/>
                    <a:pt x="1368811" y="31796"/>
                  </a:cubicBezTo>
                  <a:cubicBezTo>
                    <a:pt x="1371538" y="30267"/>
                    <a:pt x="1374439" y="29268"/>
                    <a:pt x="1377339" y="28091"/>
                  </a:cubicBezTo>
                  <a:close/>
                  <a:moveTo>
                    <a:pt x="1476165" y="4014"/>
                  </a:moveTo>
                  <a:cubicBezTo>
                    <a:pt x="1475282" y="6226"/>
                    <a:pt x="1474340" y="8381"/>
                    <a:pt x="1473457" y="10536"/>
                  </a:cubicBezTo>
                  <a:cubicBezTo>
                    <a:pt x="1470514" y="8495"/>
                    <a:pt x="1467512" y="6396"/>
                    <a:pt x="1464627" y="4354"/>
                  </a:cubicBezTo>
                  <a:cubicBezTo>
                    <a:pt x="1468453" y="4184"/>
                    <a:pt x="1472339" y="4128"/>
                    <a:pt x="1476165" y="4014"/>
                  </a:cubicBezTo>
                  <a:close/>
                  <a:moveTo>
                    <a:pt x="1579062" y="0"/>
                  </a:moveTo>
                  <a:cubicBezTo>
                    <a:pt x="1578643" y="4485"/>
                    <a:pt x="1578165" y="9030"/>
                    <a:pt x="1577746" y="13515"/>
                  </a:cubicBezTo>
                  <a:lnTo>
                    <a:pt x="1583010" y="15667"/>
                  </a:lnTo>
                  <a:cubicBezTo>
                    <a:pt x="1581874" y="18239"/>
                    <a:pt x="1580737" y="20930"/>
                    <a:pt x="1579660" y="23561"/>
                  </a:cubicBezTo>
                  <a:lnTo>
                    <a:pt x="1593120" y="17162"/>
                  </a:lnTo>
                  <a:cubicBezTo>
                    <a:pt x="1594795" y="23561"/>
                    <a:pt x="1596649" y="29959"/>
                    <a:pt x="1598863" y="36238"/>
                  </a:cubicBezTo>
                  <a:cubicBezTo>
                    <a:pt x="1600538" y="31096"/>
                    <a:pt x="1601674" y="25534"/>
                    <a:pt x="1605263" y="21229"/>
                  </a:cubicBezTo>
                  <a:cubicBezTo>
                    <a:pt x="1611724" y="19255"/>
                    <a:pt x="1615672" y="26670"/>
                    <a:pt x="1616450" y="31993"/>
                  </a:cubicBezTo>
                  <a:cubicBezTo>
                    <a:pt x="1623748" y="29660"/>
                    <a:pt x="1631285" y="30498"/>
                    <a:pt x="1637866" y="34265"/>
                  </a:cubicBezTo>
                  <a:cubicBezTo>
                    <a:pt x="1639062" y="33189"/>
                    <a:pt x="1640199" y="32112"/>
                    <a:pt x="1641395" y="30976"/>
                  </a:cubicBezTo>
                  <a:cubicBezTo>
                    <a:pt x="1646540" y="32949"/>
                    <a:pt x="1651864" y="34265"/>
                    <a:pt x="1656709" y="36777"/>
                  </a:cubicBezTo>
                  <a:cubicBezTo>
                    <a:pt x="1658444" y="43235"/>
                    <a:pt x="1654077" y="49275"/>
                    <a:pt x="1650129" y="53879"/>
                  </a:cubicBezTo>
                  <a:cubicBezTo>
                    <a:pt x="1636669" y="70803"/>
                    <a:pt x="1613100" y="75527"/>
                    <a:pt x="1601435" y="94364"/>
                  </a:cubicBezTo>
                  <a:cubicBezTo>
                    <a:pt x="1612023" y="91673"/>
                    <a:pt x="1623090" y="89819"/>
                    <a:pt x="1632960" y="84915"/>
                  </a:cubicBezTo>
                  <a:cubicBezTo>
                    <a:pt x="1648813" y="74271"/>
                    <a:pt x="1660657" y="58304"/>
                    <a:pt x="1677586" y="49155"/>
                  </a:cubicBezTo>
                  <a:cubicBezTo>
                    <a:pt x="1679082" y="53281"/>
                    <a:pt x="1680577" y="57467"/>
                    <a:pt x="1682133" y="61593"/>
                  </a:cubicBezTo>
                  <a:cubicBezTo>
                    <a:pt x="1684645" y="55972"/>
                    <a:pt x="1687098" y="49992"/>
                    <a:pt x="1686081" y="43713"/>
                  </a:cubicBezTo>
                  <a:cubicBezTo>
                    <a:pt x="1688534" y="41860"/>
                    <a:pt x="1690926" y="39946"/>
                    <a:pt x="1693319" y="37973"/>
                  </a:cubicBezTo>
                  <a:cubicBezTo>
                    <a:pt x="1695054" y="38690"/>
                    <a:pt x="1696849" y="39348"/>
                    <a:pt x="1698643" y="40006"/>
                  </a:cubicBezTo>
                  <a:cubicBezTo>
                    <a:pt x="1696011" y="49095"/>
                    <a:pt x="1699241" y="58125"/>
                    <a:pt x="1703907" y="65899"/>
                  </a:cubicBezTo>
                  <a:cubicBezTo>
                    <a:pt x="1708155" y="61534"/>
                    <a:pt x="1711744" y="56451"/>
                    <a:pt x="1716948" y="53221"/>
                  </a:cubicBezTo>
                  <a:cubicBezTo>
                    <a:pt x="1721614" y="53461"/>
                    <a:pt x="1725921" y="55374"/>
                    <a:pt x="1730348" y="56690"/>
                  </a:cubicBezTo>
                  <a:cubicBezTo>
                    <a:pt x="1735792" y="67394"/>
                    <a:pt x="1716649" y="74689"/>
                    <a:pt x="1725383" y="83540"/>
                  </a:cubicBezTo>
                  <a:cubicBezTo>
                    <a:pt x="1729750" y="90357"/>
                    <a:pt x="1734655" y="96815"/>
                    <a:pt x="1738484" y="103991"/>
                  </a:cubicBezTo>
                  <a:cubicBezTo>
                    <a:pt x="1739620" y="111526"/>
                    <a:pt x="1736330" y="119240"/>
                    <a:pt x="1735313" y="126775"/>
                  </a:cubicBezTo>
                  <a:cubicBezTo>
                    <a:pt x="1739680" y="120556"/>
                    <a:pt x="1743868" y="112303"/>
                    <a:pt x="1752541" y="111885"/>
                  </a:cubicBezTo>
                  <a:cubicBezTo>
                    <a:pt x="1773299" y="118283"/>
                    <a:pt x="1792202" y="139452"/>
                    <a:pt x="1784067" y="162356"/>
                  </a:cubicBezTo>
                  <a:cubicBezTo>
                    <a:pt x="1782153" y="174435"/>
                    <a:pt x="1765941" y="177545"/>
                    <a:pt x="1763967" y="189564"/>
                  </a:cubicBezTo>
                  <a:cubicBezTo>
                    <a:pt x="1762053" y="199969"/>
                    <a:pt x="1752123" y="205650"/>
                    <a:pt x="1746440" y="213783"/>
                  </a:cubicBezTo>
                  <a:cubicBezTo>
                    <a:pt x="1738125" y="225085"/>
                    <a:pt x="1724605" y="231065"/>
                    <a:pt x="1717008" y="242965"/>
                  </a:cubicBezTo>
                  <a:cubicBezTo>
                    <a:pt x="1713897" y="240753"/>
                    <a:pt x="1710906" y="238480"/>
                    <a:pt x="1707915" y="236208"/>
                  </a:cubicBezTo>
                  <a:cubicBezTo>
                    <a:pt x="1709889" y="241949"/>
                    <a:pt x="1714137" y="249782"/>
                    <a:pt x="1706540" y="253370"/>
                  </a:cubicBezTo>
                  <a:cubicBezTo>
                    <a:pt x="1700079" y="254506"/>
                    <a:pt x="1693379" y="246852"/>
                    <a:pt x="1686440" y="249962"/>
                  </a:cubicBezTo>
                  <a:cubicBezTo>
                    <a:pt x="1679321" y="253191"/>
                    <a:pt x="1672203" y="256420"/>
                    <a:pt x="1664725" y="258812"/>
                  </a:cubicBezTo>
                  <a:cubicBezTo>
                    <a:pt x="1670887" y="259769"/>
                    <a:pt x="1677108" y="260427"/>
                    <a:pt x="1683329" y="260785"/>
                  </a:cubicBezTo>
                  <a:cubicBezTo>
                    <a:pt x="1676928" y="264852"/>
                    <a:pt x="1669870" y="267722"/>
                    <a:pt x="1662272" y="268380"/>
                  </a:cubicBezTo>
                  <a:cubicBezTo>
                    <a:pt x="1645224" y="269696"/>
                    <a:pt x="1629012" y="275974"/>
                    <a:pt x="1611963" y="277170"/>
                  </a:cubicBezTo>
                  <a:cubicBezTo>
                    <a:pt x="1603708" y="270234"/>
                    <a:pt x="1597427" y="261324"/>
                    <a:pt x="1589052" y="254566"/>
                  </a:cubicBezTo>
                  <a:cubicBezTo>
                    <a:pt x="1595273" y="264433"/>
                    <a:pt x="1602990" y="273224"/>
                    <a:pt x="1609271" y="283031"/>
                  </a:cubicBezTo>
                  <a:lnTo>
                    <a:pt x="1601614" y="287157"/>
                  </a:lnTo>
                  <a:cubicBezTo>
                    <a:pt x="1614835" y="289011"/>
                    <a:pt x="1626978" y="281177"/>
                    <a:pt x="1639840" y="279921"/>
                  </a:cubicBezTo>
                  <a:cubicBezTo>
                    <a:pt x="1644446" y="281057"/>
                    <a:pt x="1648394" y="283988"/>
                    <a:pt x="1652402" y="286439"/>
                  </a:cubicBezTo>
                  <a:cubicBezTo>
                    <a:pt x="1636729" y="301329"/>
                    <a:pt x="1618125" y="312572"/>
                    <a:pt x="1600418" y="324950"/>
                  </a:cubicBezTo>
                  <a:cubicBezTo>
                    <a:pt x="1595812" y="328419"/>
                    <a:pt x="1589890" y="328000"/>
                    <a:pt x="1584446" y="327940"/>
                  </a:cubicBezTo>
                  <a:cubicBezTo>
                    <a:pt x="1584446" y="329555"/>
                    <a:pt x="1584506" y="331169"/>
                    <a:pt x="1584566" y="332784"/>
                  </a:cubicBezTo>
                  <a:cubicBezTo>
                    <a:pt x="1579062" y="336432"/>
                    <a:pt x="1573678" y="340079"/>
                    <a:pt x="1568235" y="343787"/>
                  </a:cubicBezTo>
                  <a:lnTo>
                    <a:pt x="1576490" y="344564"/>
                  </a:lnTo>
                  <a:cubicBezTo>
                    <a:pt x="1576310" y="346478"/>
                    <a:pt x="1576131" y="348451"/>
                    <a:pt x="1575951" y="350425"/>
                  </a:cubicBezTo>
                  <a:cubicBezTo>
                    <a:pt x="1582472" y="344325"/>
                    <a:pt x="1588454" y="337269"/>
                    <a:pt x="1596829" y="333502"/>
                  </a:cubicBezTo>
                  <a:cubicBezTo>
                    <a:pt x="1625662" y="319389"/>
                    <a:pt x="1653000" y="302226"/>
                    <a:pt x="1681893" y="288114"/>
                  </a:cubicBezTo>
                  <a:cubicBezTo>
                    <a:pt x="1688892" y="285064"/>
                    <a:pt x="1696490" y="283748"/>
                    <a:pt x="1703848" y="281895"/>
                  </a:cubicBezTo>
                  <a:cubicBezTo>
                    <a:pt x="1709889" y="303482"/>
                    <a:pt x="1689790" y="321422"/>
                    <a:pt x="1673578" y="332066"/>
                  </a:cubicBezTo>
                  <a:cubicBezTo>
                    <a:pt x="1662033" y="336312"/>
                    <a:pt x="1657965" y="348990"/>
                    <a:pt x="1653359" y="359215"/>
                  </a:cubicBezTo>
                  <a:cubicBezTo>
                    <a:pt x="1648334" y="371115"/>
                    <a:pt x="1634635" y="375720"/>
                    <a:pt x="1628294" y="386723"/>
                  </a:cubicBezTo>
                  <a:cubicBezTo>
                    <a:pt x="1620039" y="399879"/>
                    <a:pt x="1609391" y="411301"/>
                    <a:pt x="1600119" y="423679"/>
                  </a:cubicBezTo>
                  <a:cubicBezTo>
                    <a:pt x="1592402" y="433845"/>
                    <a:pt x="1592940" y="447778"/>
                    <a:pt x="1586420" y="458542"/>
                  </a:cubicBezTo>
                  <a:cubicBezTo>
                    <a:pt x="1582053" y="465419"/>
                    <a:pt x="1572422" y="464941"/>
                    <a:pt x="1565662" y="466854"/>
                  </a:cubicBezTo>
                  <a:cubicBezTo>
                    <a:pt x="1567756" y="455791"/>
                    <a:pt x="1564047" y="445626"/>
                    <a:pt x="1556330" y="437852"/>
                  </a:cubicBezTo>
                  <a:cubicBezTo>
                    <a:pt x="1558663" y="445865"/>
                    <a:pt x="1561654" y="453938"/>
                    <a:pt x="1561355" y="462429"/>
                  </a:cubicBezTo>
                  <a:cubicBezTo>
                    <a:pt x="1560398" y="469904"/>
                    <a:pt x="1568773" y="473133"/>
                    <a:pt x="1573200" y="477618"/>
                  </a:cubicBezTo>
                  <a:cubicBezTo>
                    <a:pt x="1571226" y="482462"/>
                    <a:pt x="1569969" y="490057"/>
                    <a:pt x="1562970" y="488621"/>
                  </a:cubicBezTo>
                  <a:cubicBezTo>
                    <a:pt x="1551126" y="486110"/>
                    <a:pt x="1542691" y="494841"/>
                    <a:pt x="1532940" y="499266"/>
                  </a:cubicBezTo>
                  <a:cubicBezTo>
                    <a:pt x="1527377" y="495558"/>
                    <a:pt x="1522831" y="490535"/>
                    <a:pt x="1517567" y="486528"/>
                  </a:cubicBezTo>
                  <a:cubicBezTo>
                    <a:pt x="1520258" y="490774"/>
                    <a:pt x="1523070" y="494960"/>
                    <a:pt x="1526001" y="499086"/>
                  </a:cubicBezTo>
                  <a:cubicBezTo>
                    <a:pt x="1523190" y="501598"/>
                    <a:pt x="1520498" y="504229"/>
                    <a:pt x="1517806" y="506860"/>
                  </a:cubicBezTo>
                  <a:cubicBezTo>
                    <a:pt x="1532402" y="507040"/>
                    <a:pt x="1545503" y="500641"/>
                    <a:pt x="1558304" y="494542"/>
                  </a:cubicBezTo>
                  <a:cubicBezTo>
                    <a:pt x="1559919" y="501598"/>
                    <a:pt x="1560637" y="509910"/>
                    <a:pt x="1554835" y="515412"/>
                  </a:cubicBezTo>
                  <a:cubicBezTo>
                    <a:pt x="1548314" y="519478"/>
                    <a:pt x="1540956" y="522229"/>
                    <a:pt x="1535453" y="527790"/>
                  </a:cubicBezTo>
                  <a:cubicBezTo>
                    <a:pt x="1541136" y="528029"/>
                    <a:pt x="1546759" y="528209"/>
                    <a:pt x="1552442" y="528627"/>
                  </a:cubicBezTo>
                  <a:cubicBezTo>
                    <a:pt x="1546041" y="544295"/>
                    <a:pt x="1532462" y="558706"/>
                    <a:pt x="1514875" y="560142"/>
                  </a:cubicBezTo>
                  <a:cubicBezTo>
                    <a:pt x="1501116" y="562534"/>
                    <a:pt x="1501355" y="548301"/>
                    <a:pt x="1496091" y="540527"/>
                  </a:cubicBezTo>
                  <a:cubicBezTo>
                    <a:pt x="1491305" y="538733"/>
                    <a:pt x="1486161" y="538554"/>
                    <a:pt x="1481076" y="538255"/>
                  </a:cubicBezTo>
                  <a:cubicBezTo>
                    <a:pt x="1479640" y="535863"/>
                    <a:pt x="1478205" y="533531"/>
                    <a:pt x="1476769" y="531258"/>
                  </a:cubicBezTo>
                  <a:cubicBezTo>
                    <a:pt x="1468873" y="532634"/>
                    <a:pt x="1461096" y="534607"/>
                    <a:pt x="1453439" y="537059"/>
                  </a:cubicBezTo>
                  <a:cubicBezTo>
                    <a:pt x="1464984" y="542202"/>
                    <a:pt x="1477786" y="543338"/>
                    <a:pt x="1489511" y="548002"/>
                  </a:cubicBezTo>
                  <a:cubicBezTo>
                    <a:pt x="1495194" y="556434"/>
                    <a:pt x="1497228" y="567198"/>
                    <a:pt x="1496091" y="577244"/>
                  </a:cubicBezTo>
                  <a:cubicBezTo>
                    <a:pt x="1492382" y="580653"/>
                    <a:pt x="1487477" y="582088"/>
                    <a:pt x="1482990" y="584061"/>
                  </a:cubicBezTo>
                  <a:cubicBezTo>
                    <a:pt x="1481315" y="581968"/>
                    <a:pt x="1479760" y="579875"/>
                    <a:pt x="1478145" y="577842"/>
                  </a:cubicBezTo>
                  <a:lnTo>
                    <a:pt x="1475453" y="591656"/>
                  </a:lnTo>
                  <a:cubicBezTo>
                    <a:pt x="1467018" y="592134"/>
                    <a:pt x="1459421" y="588905"/>
                    <a:pt x="1452901" y="584002"/>
                  </a:cubicBezTo>
                  <a:cubicBezTo>
                    <a:pt x="1453260" y="589383"/>
                    <a:pt x="1453678" y="594706"/>
                    <a:pt x="1454097" y="600088"/>
                  </a:cubicBezTo>
                  <a:cubicBezTo>
                    <a:pt x="1433579" y="596858"/>
                    <a:pt x="1420717" y="575988"/>
                    <a:pt x="1398344" y="578799"/>
                  </a:cubicBezTo>
                  <a:cubicBezTo>
                    <a:pt x="1405942" y="581968"/>
                    <a:pt x="1414137" y="583942"/>
                    <a:pt x="1421555" y="587709"/>
                  </a:cubicBezTo>
                  <a:cubicBezTo>
                    <a:pt x="1425563" y="592194"/>
                    <a:pt x="1427058" y="598353"/>
                    <a:pt x="1429690" y="603735"/>
                  </a:cubicBezTo>
                  <a:cubicBezTo>
                    <a:pt x="1421256" y="603018"/>
                    <a:pt x="1413000" y="602181"/>
                    <a:pt x="1404685" y="601044"/>
                  </a:cubicBezTo>
                  <a:cubicBezTo>
                    <a:pt x="1403429" y="597038"/>
                    <a:pt x="1402053" y="593031"/>
                    <a:pt x="1400857" y="589025"/>
                  </a:cubicBezTo>
                  <a:lnTo>
                    <a:pt x="1395652" y="588128"/>
                  </a:lnTo>
                  <a:cubicBezTo>
                    <a:pt x="1397028" y="593749"/>
                    <a:pt x="1398344" y="599430"/>
                    <a:pt x="1399660" y="605051"/>
                  </a:cubicBezTo>
                  <a:cubicBezTo>
                    <a:pt x="1392362" y="603676"/>
                    <a:pt x="1385124" y="602300"/>
                    <a:pt x="1377826" y="601224"/>
                  </a:cubicBezTo>
                  <a:cubicBezTo>
                    <a:pt x="1382791" y="604274"/>
                    <a:pt x="1387876" y="607443"/>
                    <a:pt x="1393499" y="609177"/>
                  </a:cubicBezTo>
                  <a:cubicBezTo>
                    <a:pt x="1417666" y="612406"/>
                    <a:pt x="1441953" y="615576"/>
                    <a:pt x="1466420" y="616532"/>
                  </a:cubicBezTo>
                  <a:cubicBezTo>
                    <a:pt x="1463608" y="618984"/>
                    <a:pt x="1460737" y="621376"/>
                    <a:pt x="1457806" y="623649"/>
                  </a:cubicBezTo>
                  <a:cubicBezTo>
                    <a:pt x="1460976" y="629509"/>
                    <a:pt x="1463728" y="635608"/>
                    <a:pt x="1466181" y="641828"/>
                  </a:cubicBezTo>
                  <a:cubicBezTo>
                    <a:pt x="1455174" y="643861"/>
                    <a:pt x="1444645" y="641230"/>
                    <a:pt x="1434596" y="636804"/>
                  </a:cubicBezTo>
                  <a:cubicBezTo>
                    <a:pt x="1431784" y="630705"/>
                    <a:pt x="1431006" y="620120"/>
                    <a:pt x="1421914" y="621615"/>
                  </a:cubicBezTo>
                  <a:cubicBezTo>
                    <a:pt x="1409052" y="623230"/>
                    <a:pt x="1396310" y="621675"/>
                    <a:pt x="1383509" y="620898"/>
                  </a:cubicBezTo>
                  <a:cubicBezTo>
                    <a:pt x="1397626" y="627117"/>
                    <a:pt x="1413539" y="626639"/>
                    <a:pt x="1427597" y="633097"/>
                  </a:cubicBezTo>
                  <a:cubicBezTo>
                    <a:pt x="1407616" y="631901"/>
                    <a:pt x="1390089" y="639675"/>
                    <a:pt x="1380219" y="653608"/>
                  </a:cubicBezTo>
                  <a:cubicBezTo>
                    <a:pt x="1397985" y="644220"/>
                    <a:pt x="1420538" y="637821"/>
                    <a:pt x="1434476" y="652233"/>
                  </a:cubicBezTo>
                  <a:lnTo>
                    <a:pt x="1421973" y="660963"/>
                  </a:lnTo>
                  <a:cubicBezTo>
                    <a:pt x="1431904" y="662638"/>
                    <a:pt x="1445423" y="656777"/>
                    <a:pt x="1453020" y="665927"/>
                  </a:cubicBezTo>
                  <a:cubicBezTo>
                    <a:pt x="1458883" y="672923"/>
                    <a:pt x="1466779" y="677588"/>
                    <a:pt x="1473359" y="683867"/>
                  </a:cubicBezTo>
                  <a:cubicBezTo>
                    <a:pt x="1468095" y="684405"/>
                    <a:pt x="1462831" y="683687"/>
                    <a:pt x="1457686" y="682372"/>
                  </a:cubicBezTo>
                  <a:cubicBezTo>
                    <a:pt x="1458404" y="687215"/>
                    <a:pt x="1459301" y="692119"/>
                    <a:pt x="1460139" y="696963"/>
                  </a:cubicBezTo>
                  <a:cubicBezTo>
                    <a:pt x="1448893" y="703122"/>
                    <a:pt x="1436570" y="706411"/>
                    <a:pt x="1424247" y="709461"/>
                  </a:cubicBezTo>
                  <a:cubicBezTo>
                    <a:pt x="1433638" y="714125"/>
                    <a:pt x="1443449" y="718311"/>
                    <a:pt x="1450029" y="727042"/>
                  </a:cubicBezTo>
                  <a:cubicBezTo>
                    <a:pt x="1445303" y="731228"/>
                    <a:pt x="1441535" y="736311"/>
                    <a:pt x="1438364" y="741753"/>
                  </a:cubicBezTo>
                  <a:cubicBezTo>
                    <a:pt x="1427656" y="739600"/>
                    <a:pt x="1416590" y="737208"/>
                    <a:pt x="1405762" y="739839"/>
                  </a:cubicBezTo>
                  <a:lnTo>
                    <a:pt x="1407258" y="745699"/>
                  </a:lnTo>
                  <a:lnTo>
                    <a:pt x="1438065" y="752995"/>
                  </a:lnTo>
                  <a:cubicBezTo>
                    <a:pt x="1435971" y="758377"/>
                    <a:pt x="1433818" y="763759"/>
                    <a:pt x="1431545" y="769081"/>
                  </a:cubicBezTo>
                  <a:cubicBezTo>
                    <a:pt x="1427597" y="768004"/>
                    <a:pt x="1423648" y="766569"/>
                    <a:pt x="1419521" y="766510"/>
                  </a:cubicBezTo>
                  <a:cubicBezTo>
                    <a:pt x="1414735" y="769739"/>
                    <a:pt x="1411624" y="774822"/>
                    <a:pt x="1408454" y="779546"/>
                  </a:cubicBezTo>
                  <a:cubicBezTo>
                    <a:pt x="1396550" y="772310"/>
                    <a:pt x="1382552" y="771234"/>
                    <a:pt x="1369092" y="773805"/>
                  </a:cubicBezTo>
                  <a:cubicBezTo>
                    <a:pt x="1377527" y="785107"/>
                    <a:pt x="1381176" y="798622"/>
                    <a:pt x="1384466" y="812077"/>
                  </a:cubicBezTo>
                  <a:cubicBezTo>
                    <a:pt x="1380279" y="825233"/>
                    <a:pt x="1372921" y="837611"/>
                    <a:pt x="1360657" y="844667"/>
                  </a:cubicBezTo>
                  <a:cubicBezTo>
                    <a:pt x="1360897" y="842156"/>
                    <a:pt x="1361136" y="839644"/>
                    <a:pt x="1361435" y="837133"/>
                  </a:cubicBezTo>
                  <a:cubicBezTo>
                    <a:pt x="1352462" y="847478"/>
                    <a:pt x="1337985" y="847059"/>
                    <a:pt x="1325543" y="846162"/>
                  </a:cubicBezTo>
                  <a:cubicBezTo>
                    <a:pt x="1310468" y="843531"/>
                    <a:pt x="1302213" y="829897"/>
                    <a:pt x="1292402" y="819731"/>
                  </a:cubicBezTo>
                  <a:lnTo>
                    <a:pt x="1288095" y="830674"/>
                  </a:lnTo>
                  <a:cubicBezTo>
                    <a:pt x="1293658" y="834621"/>
                    <a:pt x="1299222" y="838628"/>
                    <a:pt x="1304127" y="843352"/>
                  </a:cubicBezTo>
                  <a:cubicBezTo>
                    <a:pt x="1295872" y="844010"/>
                    <a:pt x="1287617" y="844129"/>
                    <a:pt x="1279361" y="844249"/>
                  </a:cubicBezTo>
                  <a:cubicBezTo>
                    <a:pt x="1282532" y="849511"/>
                    <a:pt x="1285702" y="854833"/>
                    <a:pt x="1288514" y="860395"/>
                  </a:cubicBezTo>
                  <a:lnTo>
                    <a:pt x="1305264" y="847717"/>
                  </a:lnTo>
                  <a:cubicBezTo>
                    <a:pt x="1312980" y="850169"/>
                    <a:pt x="1320398" y="853757"/>
                    <a:pt x="1328414" y="855132"/>
                  </a:cubicBezTo>
                  <a:cubicBezTo>
                    <a:pt x="1335952" y="855073"/>
                    <a:pt x="1345044" y="849511"/>
                    <a:pt x="1351325" y="856269"/>
                  </a:cubicBezTo>
                  <a:cubicBezTo>
                    <a:pt x="1360119" y="864760"/>
                    <a:pt x="1349950" y="876301"/>
                    <a:pt x="1346001" y="884255"/>
                  </a:cubicBezTo>
                  <a:cubicBezTo>
                    <a:pt x="1354496" y="883537"/>
                    <a:pt x="1357666" y="890294"/>
                    <a:pt x="1360777" y="896155"/>
                  </a:cubicBezTo>
                  <a:cubicBezTo>
                    <a:pt x="1364486" y="887962"/>
                    <a:pt x="1369331" y="880248"/>
                    <a:pt x="1376091" y="874208"/>
                  </a:cubicBezTo>
                  <a:cubicBezTo>
                    <a:pt x="1383210" y="886886"/>
                    <a:pt x="1390627" y="905902"/>
                    <a:pt x="1379321" y="918101"/>
                  </a:cubicBezTo>
                  <a:cubicBezTo>
                    <a:pt x="1375134" y="923782"/>
                    <a:pt x="1371724" y="930061"/>
                    <a:pt x="1367477" y="935742"/>
                  </a:cubicBezTo>
                  <a:cubicBezTo>
                    <a:pt x="1366759" y="931735"/>
                    <a:pt x="1365981" y="927729"/>
                    <a:pt x="1365264" y="923722"/>
                  </a:cubicBezTo>
                  <a:cubicBezTo>
                    <a:pt x="1356949" y="932752"/>
                    <a:pt x="1353898" y="942081"/>
                    <a:pt x="1347676" y="948718"/>
                  </a:cubicBezTo>
                  <a:cubicBezTo>
                    <a:pt x="1333379" y="953562"/>
                    <a:pt x="1320279" y="961336"/>
                    <a:pt x="1305981" y="966180"/>
                  </a:cubicBezTo>
                  <a:cubicBezTo>
                    <a:pt x="1306998" y="956193"/>
                    <a:pt x="1311964" y="947104"/>
                    <a:pt x="1312681" y="937177"/>
                  </a:cubicBezTo>
                  <a:cubicBezTo>
                    <a:pt x="1307178" y="926652"/>
                    <a:pt x="1293359" y="931855"/>
                    <a:pt x="1284207" y="930779"/>
                  </a:cubicBezTo>
                  <a:cubicBezTo>
                    <a:pt x="1284147" y="919955"/>
                    <a:pt x="1276191" y="912540"/>
                    <a:pt x="1267876" y="906799"/>
                  </a:cubicBezTo>
                  <a:cubicBezTo>
                    <a:pt x="1270927" y="912659"/>
                    <a:pt x="1275054" y="917802"/>
                    <a:pt x="1279780" y="922347"/>
                  </a:cubicBezTo>
                  <a:cubicBezTo>
                    <a:pt x="1279002" y="928805"/>
                    <a:pt x="1278344" y="935084"/>
                    <a:pt x="1277985" y="941662"/>
                  </a:cubicBezTo>
                  <a:cubicBezTo>
                    <a:pt x="1273020" y="939270"/>
                    <a:pt x="1265423" y="942798"/>
                    <a:pt x="1261176" y="938254"/>
                  </a:cubicBezTo>
                  <a:cubicBezTo>
                    <a:pt x="1258783" y="929044"/>
                    <a:pt x="1257587" y="918998"/>
                    <a:pt x="1250229" y="912181"/>
                  </a:cubicBezTo>
                  <a:cubicBezTo>
                    <a:pt x="1251784" y="921510"/>
                    <a:pt x="1253938" y="930719"/>
                    <a:pt x="1255852" y="939988"/>
                  </a:cubicBezTo>
                  <a:cubicBezTo>
                    <a:pt x="1240897" y="941602"/>
                    <a:pt x="1236709" y="926712"/>
                    <a:pt x="1230967" y="916606"/>
                  </a:cubicBezTo>
                  <a:cubicBezTo>
                    <a:pt x="1230368" y="922526"/>
                    <a:pt x="1229950" y="928506"/>
                    <a:pt x="1230129" y="934426"/>
                  </a:cubicBezTo>
                  <a:cubicBezTo>
                    <a:pt x="1227078" y="935084"/>
                    <a:pt x="1224087" y="935862"/>
                    <a:pt x="1221096" y="936759"/>
                  </a:cubicBezTo>
                  <a:cubicBezTo>
                    <a:pt x="1217567" y="931197"/>
                    <a:pt x="1213918" y="925755"/>
                    <a:pt x="1209850" y="920613"/>
                  </a:cubicBezTo>
                  <a:cubicBezTo>
                    <a:pt x="1207457" y="933529"/>
                    <a:pt x="1216729" y="941782"/>
                    <a:pt x="1225164" y="949197"/>
                  </a:cubicBezTo>
                  <a:cubicBezTo>
                    <a:pt x="1209012" y="954160"/>
                    <a:pt x="1194536" y="946566"/>
                    <a:pt x="1179940" y="941124"/>
                  </a:cubicBezTo>
                  <a:cubicBezTo>
                    <a:pt x="1178923" y="938313"/>
                    <a:pt x="1178025" y="935563"/>
                    <a:pt x="1177068" y="932812"/>
                  </a:cubicBezTo>
                  <a:lnTo>
                    <a:pt x="1172821" y="932274"/>
                  </a:lnTo>
                  <a:lnTo>
                    <a:pt x="1169292" y="945788"/>
                  </a:lnTo>
                  <a:cubicBezTo>
                    <a:pt x="1162173" y="940167"/>
                    <a:pt x="1156131" y="933290"/>
                    <a:pt x="1151525" y="925456"/>
                  </a:cubicBezTo>
                  <a:cubicBezTo>
                    <a:pt x="1152662" y="932632"/>
                    <a:pt x="1152482" y="940107"/>
                    <a:pt x="1149790" y="946925"/>
                  </a:cubicBezTo>
                  <a:cubicBezTo>
                    <a:pt x="1143509" y="944652"/>
                    <a:pt x="1137108" y="942619"/>
                    <a:pt x="1130767" y="940466"/>
                  </a:cubicBezTo>
                  <a:cubicBezTo>
                    <a:pt x="1129092" y="928207"/>
                    <a:pt x="1131724" y="913915"/>
                    <a:pt x="1124187" y="903151"/>
                  </a:cubicBezTo>
                  <a:cubicBezTo>
                    <a:pt x="1124366" y="914095"/>
                    <a:pt x="1126221" y="924978"/>
                    <a:pt x="1125742" y="936041"/>
                  </a:cubicBezTo>
                  <a:cubicBezTo>
                    <a:pt x="1124965" y="931556"/>
                    <a:pt x="1124247" y="927071"/>
                    <a:pt x="1123589" y="922586"/>
                  </a:cubicBezTo>
                  <a:cubicBezTo>
                    <a:pt x="1121555" y="928147"/>
                    <a:pt x="1119641" y="933828"/>
                    <a:pt x="1117846" y="939450"/>
                  </a:cubicBezTo>
                  <a:cubicBezTo>
                    <a:pt x="1110548" y="935503"/>
                    <a:pt x="1105942" y="928626"/>
                    <a:pt x="1100977" y="922227"/>
                  </a:cubicBezTo>
                  <a:cubicBezTo>
                    <a:pt x="1106121" y="912719"/>
                    <a:pt x="1105284" y="901776"/>
                    <a:pt x="1105882" y="891490"/>
                  </a:cubicBezTo>
                  <a:cubicBezTo>
                    <a:pt x="1114795" y="883118"/>
                    <a:pt x="1125144" y="876002"/>
                    <a:pt x="1131545" y="865298"/>
                  </a:cubicBezTo>
                  <a:cubicBezTo>
                    <a:pt x="1138903" y="864222"/>
                    <a:pt x="1146560" y="864162"/>
                    <a:pt x="1153798" y="866255"/>
                  </a:cubicBezTo>
                  <a:cubicBezTo>
                    <a:pt x="1154337" y="863684"/>
                    <a:pt x="1154875" y="861172"/>
                    <a:pt x="1155473" y="858660"/>
                  </a:cubicBezTo>
                  <a:cubicBezTo>
                    <a:pt x="1161216" y="859617"/>
                    <a:pt x="1166959" y="860454"/>
                    <a:pt x="1172761" y="860634"/>
                  </a:cubicBezTo>
                  <a:cubicBezTo>
                    <a:pt x="1169052" y="858541"/>
                    <a:pt x="1165224" y="856687"/>
                    <a:pt x="1161336" y="854893"/>
                  </a:cubicBezTo>
                  <a:cubicBezTo>
                    <a:pt x="1162412" y="852621"/>
                    <a:pt x="1163489" y="850348"/>
                    <a:pt x="1164626" y="848076"/>
                  </a:cubicBezTo>
                  <a:lnTo>
                    <a:pt x="1158644" y="846760"/>
                  </a:lnTo>
                  <a:cubicBezTo>
                    <a:pt x="1162053" y="843711"/>
                    <a:pt x="1164925" y="840063"/>
                    <a:pt x="1168394" y="837073"/>
                  </a:cubicBezTo>
                  <a:cubicBezTo>
                    <a:pt x="1162711" y="838209"/>
                    <a:pt x="1157148" y="840541"/>
                    <a:pt x="1151345" y="840601"/>
                  </a:cubicBezTo>
                  <a:cubicBezTo>
                    <a:pt x="1144287" y="840182"/>
                    <a:pt x="1146620" y="831990"/>
                    <a:pt x="1146979" y="827326"/>
                  </a:cubicBezTo>
                  <a:cubicBezTo>
                    <a:pt x="1150747" y="813153"/>
                    <a:pt x="1125623" y="808728"/>
                    <a:pt x="1135493" y="792821"/>
                  </a:cubicBezTo>
                  <a:cubicBezTo>
                    <a:pt x="1135254" y="785645"/>
                    <a:pt x="1143569" y="784629"/>
                    <a:pt x="1148414" y="781938"/>
                  </a:cubicBezTo>
                  <a:cubicBezTo>
                    <a:pt x="1159062" y="775420"/>
                    <a:pt x="1172163" y="781041"/>
                    <a:pt x="1180418" y="788695"/>
                  </a:cubicBezTo>
                  <a:cubicBezTo>
                    <a:pt x="1191425" y="799100"/>
                    <a:pt x="1188913" y="815844"/>
                    <a:pt x="1194775" y="828821"/>
                  </a:cubicBezTo>
                  <a:cubicBezTo>
                    <a:pt x="1204287" y="835159"/>
                    <a:pt x="1215294" y="839345"/>
                    <a:pt x="1224446" y="846461"/>
                  </a:cubicBezTo>
                  <a:cubicBezTo>
                    <a:pt x="1223310" y="842335"/>
                    <a:pt x="1222113" y="838209"/>
                    <a:pt x="1220977" y="834083"/>
                  </a:cubicBezTo>
                  <a:cubicBezTo>
                    <a:pt x="1230189" y="835040"/>
                    <a:pt x="1239282" y="837073"/>
                    <a:pt x="1248195" y="839465"/>
                  </a:cubicBezTo>
                  <a:cubicBezTo>
                    <a:pt x="1245563" y="835877"/>
                    <a:pt x="1242871" y="832289"/>
                    <a:pt x="1240299" y="828701"/>
                  </a:cubicBezTo>
                  <a:cubicBezTo>
                    <a:pt x="1262552" y="811419"/>
                    <a:pt x="1268773" y="781758"/>
                    <a:pt x="1275054" y="755805"/>
                  </a:cubicBezTo>
                  <a:cubicBezTo>
                    <a:pt x="1272003" y="758496"/>
                    <a:pt x="1267577" y="760410"/>
                    <a:pt x="1266560" y="764716"/>
                  </a:cubicBezTo>
                  <a:cubicBezTo>
                    <a:pt x="1260937" y="785227"/>
                    <a:pt x="1253459" y="805439"/>
                    <a:pt x="1241435" y="823080"/>
                  </a:cubicBezTo>
                  <a:cubicBezTo>
                    <a:pt x="1231924" y="820209"/>
                    <a:pt x="1217447" y="824635"/>
                    <a:pt x="1212542" y="813332"/>
                  </a:cubicBezTo>
                  <a:cubicBezTo>
                    <a:pt x="1206679" y="807054"/>
                    <a:pt x="1208235" y="798084"/>
                    <a:pt x="1205483" y="790609"/>
                  </a:cubicBezTo>
                  <a:cubicBezTo>
                    <a:pt x="1202671" y="784689"/>
                    <a:pt x="1199082" y="779247"/>
                    <a:pt x="1195493" y="773865"/>
                  </a:cubicBezTo>
                  <a:cubicBezTo>
                    <a:pt x="1201236" y="767765"/>
                    <a:pt x="1210029" y="763101"/>
                    <a:pt x="1211704" y="754251"/>
                  </a:cubicBezTo>
                  <a:cubicBezTo>
                    <a:pt x="1213978" y="744443"/>
                    <a:pt x="1214576" y="734337"/>
                    <a:pt x="1215593" y="724351"/>
                  </a:cubicBezTo>
                  <a:cubicBezTo>
                    <a:pt x="1208354" y="735414"/>
                    <a:pt x="1206859" y="752696"/>
                    <a:pt x="1192801" y="757360"/>
                  </a:cubicBezTo>
                  <a:cubicBezTo>
                    <a:pt x="1188733" y="758915"/>
                    <a:pt x="1184247" y="758437"/>
                    <a:pt x="1180000" y="758377"/>
                  </a:cubicBezTo>
                  <a:cubicBezTo>
                    <a:pt x="1183708" y="749347"/>
                    <a:pt x="1187716" y="740437"/>
                    <a:pt x="1191306" y="731347"/>
                  </a:cubicBezTo>
                  <a:cubicBezTo>
                    <a:pt x="1183768" y="738165"/>
                    <a:pt x="1176769" y="745639"/>
                    <a:pt x="1168873" y="752098"/>
                  </a:cubicBezTo>
                  <a:cubicBezTo>
                    <a:pt x="1162951" y="756942"/>
                    <a:pt x="1155593" y="753294"/>
                    <a:pt x="1149611" y="750782"/>
                  </a:cubicBezTo>
                  <a:cubicBezTo>
                    <a:pt x="1153379" y="747852"/>
                    <a:pt x="1157208" y="745161"/>
                    <a:pt x="1161156" y="742530"/>
                  </a:cubicBezTo>
                  <a:cubicBezTo>
                    <a:pt x="1158285" y="741753"/>
                    <a:pt x="1155413" y="741095"/>
                    <a:pt x="1152542" y="740557"/>
                  </a:cubicBezTo>
                  <a:cubicBezTo>
                    <a:pt x="1152243" y="732842"/>
                    <a:pt x="1150927" y="725068"/>
                    <a:pt x="1151585" y="717414"/>
                  </a:cubicBezTo>
                  <a:cubicBezTo>
                    <a:pt x="1155054" y="707487"/>
                    <a:pt x="1161635" y="698936"/>
                    <a:pt x="1164446" y="688770"/>
                  </a:cubicBezTo>
                  <a:cubicBezTo>
                    <a:pt x="1166899" y="683747"/>
                    <a:pt x="1166959" y="674957"/>
                    <a:pt x="1173479" y="672684"/>
                  </a:cubicBezTo>
                  <a:cubicBezTo>
                    <a:pt x="1186101" y="668737"/>
                    <a:pt x="1198245" y="663415"/>
                    <a:pt x="1209611" y="656718"/>
                  </a:cubicBezTo>
                  <a:cubicBezTo>
                    <a:pt x="1217866" y="662638"/>
                    <a:pt x="1228155" y="663176"/>
                    <a:pt x="1237427" y="666585"/>
                  </a:cubicBezTo>
                  <a:cubicBezTo>
                    <a:pt x="1254057" y="674119"/>
                    <a:pt x="1264047" y="690086"/>
                    <a:pt x="1277746" y="701448"/>
                  </a:cubicBezTo>
                  <a:cubicBezTo>
                    <a:pt x="1275952" y="685182"/>
                    <a:pt x="1261236" y="677229"/>
                    <a:pt x="1252801" y="665030"/>
                  </a:cubicBezTo>
                  <a:cubicBezTo>
                    <a:pt x="1265662" y="665329"/>
                    <a:pt x="1278464" y="664492"/>
                    <a:pt x="1291266" y="663475"/>
                  </a:cubicBezTo>
                  <a:cubicBezTo>
                    <a:pt x="1291266" y="656179"/>
                    <a:pt x="1291864" y="648944"/>
                    <a:pt x="1292821" y="641768"/>
                  </a:cubicBezTo>
                  <a:cubicBezTo>
                    <a:pt x="1286779" y="647389"/>
                    <a:pt x="1282532" y="655402"/>
                    <a:pt x="1274935" y="658990"/>
                  </a:cubicBezTo>
                  <a:cubicBezTo>
                    <a:pt x="1259680" y="655641"/>
                    <a:pt x="1244007" y="653608"/>
                    <a:pt x="1228933" y="649482"/>
                  </a:cubicBezTo>
                  <a:cubicBezTo>
                    <a:pt x="1220378" y="647030"/>
                    <a:pt x="1213320" y="634054"/>
                    <a:pt x="1223190" y="628791"/>
                  </a:cubicBezTo>
                  <a:cubicBezTo>
                    <a:pt x="1233838" y="627595"/>
                    <a:pt x="1236530" y="642426"/>
                    <a:pt x="1246699" y="644279"/>
                  </a:cubicBezTo>
                  <a:cubicBezTo>
                    <a:pt x="1243828" y="634831"/>
                    <a:pt x="1236769" y="627835"/>
                    <a:pt x="1230787" y="620300"/>
                  </a:cubicBezTo>
                  <a:cubicBezTo>
                    <a:pt x="1224326" y="610493"/>
                    <a:pt x="1226360" y="597337"/>
                    <a:pt x="1218703" y="588068"/>
                  </a:cubicBezTo>
                  <a:cubicBezTo>
                    <a:pt x="1212602" y="580174"/>
                    <a:pt x="1212362" y="569769"/>
                    <a:pt x="1207278" y="561517"/>
                  </a:cubicBezTo>
                  <a:cubicBezTo>
                    <a:pt x="1198364" y="555716"/>
                    <a:pt x="1187716" y="553324"/>
                    <a:pt x="1178863" y="547464"/>
                  </a:cubicBezTo>
                  <a:cubicBezTo>
                    <a:pt x="1173479" y="536581"/>
                    <a:pt x="1181854" y="523604"/>
                    <a:pt x="1176111" y="512661"/>
                  </a:cubicBezTo>
                  <a:cubicBezTo>
                    <a:pt x="1170428" y="500282"/>
                    <a:pt x="1171625" y="485990"/>
                    <a:pt x="1174317" y="473014"/>
                  </a:cubicBezTo>
                  <a:cubicBezTo>
                    <a:pt x="1179581" y="466675"/>
                    <a:pt x="1189212" y="467692"/>
                    <a:pt x="1195672" y="471758"/>
                  </a:cubicBezTo>
                  <a:cubicBezTo>
                    <a:pt x="1208654" y="479771"/>
                    <a:pt x="1225463" y="472894"/>
                    <a:pt x="1238923" y="479233"/>
                  </a:cubicBezTo>
                  <a:cubicBezTo>
                    <a:pt x="1250468" y="491851"/>
                    <a:pt x="1257946" y="507578"/>
                    <a:pt x="1270029" y="519837"/>
                  </a:cubicBezTo>
                  <a:cubicBezTo>
                    <a:pt x="1283070" y="531199"/>
                    <a:pt x="1280259" y="551889"/>
                    <a:pt x="1293958" y="562653"/>
                  </a:cubicBezTo>
                  <a:cubicBezTo>
                    <a:pt x="1300059" y="566121"/>
                    <a:pt x="1306819" y="567975"/>
                    <a:pt x="1313220" y="570786"/>
                  </a:cubicBezTo>
                  <a:cubicBezTo>
                    <a:pt x="1320937" y="566420"/>
                    <a:pt x="1329371" y="562892"/>
                    <a:pt x="1335772" y="556494"/>
                  </a:cubicBezTo>
                  <a:cubicBezTo>
                    <a:pt x="1328055" y="557510"/>
                    <a:pt x="1320937" y="560799"/>
                    <a:pt x="1313399" y="562414"/>
                  </a:cubicBezTo>
                  <a:cubicBezTo>
                    <a:pt x="1307238" y="559843"/>
                    <a:pt x="1302033" y="555417"/>
                    <a:pt x="1296291" y="552128"/>
                  </a:cubicBezTo>
                  <a:cubicBezTo>
                    <a:pt x="1294616" y="542022"/>
                    <a:pt x="1293658" y="531737"/>
                    <a:pt x="1290967" y="521870"/>
                  </a:cubicBezTo>
                  <a:cubicBezTo>
                    <a:pt x="1285942" y="515113"/>
                    <a:pt x="1277866" y="511106"/>
                    <a:pt x="1273678" y="503571"/>
                  </a:cubicBezTo>
                  <a:cubicBezTo>
                    <a:pt x="1266201" y="491791"/>
                    <a:pt x="1259800" y="479293"/>
                    <a:pt x="1253579" y="466795"/>
                  </a:cubicBezTo>
                  <a:cubicBezTo>
                    <a:pt x="1274935" y="459080"/>
                    <a:pt x="1297846" y="456748"/>
                    <a:pt x="1318843" y="448077"/>
                  </a:cubicBezTo>
                  <a:cubicBezTo>
                    <a:pt x="1334277" y="431034"/>
                    <a:pt x="1360298" y="437852"/>
                    <a:pt x="1380338" y="430975"/>
                  </a:cubicBezTo>
                  <a:cubicBezTo>
                    <a:pt x="1364665" y="424815"/>
                    <a:pt x="1347916" y="426789"/>
                    <a:pt x="1331644" y="427925"/>
                  </a:cubicBezTo>
                  <a:cubicBezTo>
                    <a:pt x="1343190" y="416264"/>
                    <a:pt x="1356769" y="406277"/>
                    <a:pt x="1372083" y="400118"/>
                  </a:cubicBezTo>
                  <a:cubicBezTo>
                    <a:pt x="1385244" y="393540"/>
                    <a:pt x="1400318" y="394916"/>
                    <a:pt x="1414496" y="392464"/>
                  </a:cubicBezTo>
                  <a:lnTo>
                    <a:pt x="1414615" y="386783"/>
                  </a:lnTo>
                  <a:cubicBezTo>
                    <a:pt x="1395114" y="382477"/>
                    <a:pt x="1374715" y="382118"/>
                    <a:pt x="1356590" y="392045"/>
                  </a:cubicBezTo>
                  <a:cubicBezTo>
                    <a:pt x="1356649" y="385288"/>
                    <a:pt x="1355274" y="378232"/>
                    <a:pt x="1357128" y="371713"/>
                  </a:cubicBezTo>
                  <a:cubicBezTo>
                    <a:pt x="1361854" y="363581"/>
                    <a:pt x="1368374" y="356285"/>
                    <a:pt x="1370049" y="346717"/>
                  </a:cubicBezTo>
                  <a:cubicBezTo>
                    <a:pt x="1376510" y="324591"/>
                    <a:pt x="1402292" y="316698"/>
                    <a:pt x="1411086" y="296426"/>
                  </a:cubicBezTo>
                  <a:cubicBezTo>
                    <a:pt x="1398943" y="303422"/>
                    <a:pt x="1387457" y="311675"/>
                    <a:pt x="1376390" y="320286"/>
                  </a:cubicBezTo>
                  <a:cubicBezTo>
                    <a:pt x="1368075" y="329136"/>
                    <a:pt x="1364007" y="341096"/>
                    <a:pt x="1360179" y="352338"/>
                  </a:cubicBezTo>
                  <a:cubicBezTo>
                    <a:pt x="1356590" y="350963"/>
                    <a:pt x="1353060" y="349588"/>
                    <a:pt x="1349531" y="348093"/>
                  </a:cubicBezTo>
                  <a:cubicBezTo>
                    <a:pt x="1351266" y="351860"/>
                    <a:pt x="1352761" y="355926"/>
                    <a:pt x="1350488" y="359813"/>
                  </a:cubicBezTo>
                  <a:cubicBezTo>
                    <a:pt x="1346959" y="366750"/>
                    <a:pt x="1350727" y="374703"/>
                    <a:pt x="1347617" y="381700"/>
                  </a:cubicBezTo>
                  <a:cubicBezTo>
                    <a:pt x="1342233" y="400896"/>
                    <a:pt x="1322432" y="409626"/>
                    <a:pt x="1307776" y="420510"/>
                  </a:cubicBezTo>
                  <a:cubicBezTo>
                    <a:pt x="1290907" y="428941"/>
                    <a:pt x="1272721" y="438988"/>
                    <a:pt x="1253280" y="437433"/>
                  </a:cubicBezTo>
                  <a:cubicBezTo>
                    <a:pt x="1255852" y="428044"/>
                    <a:pt x="1258604" y="416922"/>
                    <a:pt x="1269072" y="413693"/>
                  </a:cubicBezTo>
                  <a:cubicBezTo>
                    <a:pt x="1278344" y="410703"/>
                    <a:pt x="1290129" y="404842"/>
                    <a:pt x="1286719" y="393002"/>
                  </a:cubicBezTo>
                  <a:cubicBezTo>
                    <a:pt x="1272901" y="400776"/>
                    <a:pt x="1261894" y="419194"/>
                    <a:pt x="1244247" y="415786"/>
                  </a:cubicBezTo>
                  <a:cubicBezTo>
                    <a:pt x="1247956" y="408012"/>
                    <a:pt x="1253280" y="401195"/>
                    <a:pt x="1256869" y="393361"/>
                  </a:cubicBezTo>
                  <a:cubicBezTo>
                    <a:pt x="1251006" y="398324"/>
                    <a:pt x="1244665" y="403347"/>
                    <a:pt x="1240837" y="410164"/>
                  </a:cubicBezTo>
                  <a:cubicBezTo>
                    <a:pt x="1240179" y="417998"/>
                    <a:pt x="1243529" y="425952"/>
                    <a:pt x="1240957" y="433606"/>
                  </a:cubicBezTo>
                  <a:cubicBezTo>
                    <a:pt x="1238564" y="439406"/>
                    <a:pt x="1231445" y="440363"/>
                    <a:pt x="1226001" y="441260"/>
                  </a:cubicBezTo>
                  <a:cubicBezTo>
                    <a:pt x="1214516" y="441559"/>
                    <a:pt x="1202911" y="441260"/>
                    <a:pt x="1191605" y="438808"/>
                  </a:cubicBezTo>
                  <a:cubicBezTo>
                    <a:pt x="1192083" y="436775"/>
                    <a:pt x="1192562" y="434742"/>
                    <a:pt x="1193040" y="432769"/>
                  </a:cubicBezTo>
                  <a:cubicBezTo>
                    <a:pt x="1186400" y="441499"/>
                    <a:pt x="1175573" y="437313"/>
                    <a:pt x="1169770" y="429838"/>
                  </a:cubicBezTo>
                  <a:cubicBezTo>
                    <a:pt x="1171924" y="412616"/>
                    <a:pt x="1183349" y="398264"/>
                    <a:pt x="1189511" y="382358"/>
                  </a:cubicBezTo>
                  <a:cubicBezTo>
                    <a:pt x="1195194" y="367647"/>
                    <a:pt x="1213320" y="365793"/>
                    <a:pt x="1226121" y="361428"/>
                  </a:cubicBezTo>
                  <a:cubicBezTo>
                    <a:pt x="1242632" y="354431"/>
                    <a:pt x="1260937" y="351441"/>
                    <a:pt x="1276370" y="341993"/>
                  </a:cubicBezTo>
                  <a:cubicBezTo>
                    <a:pt x="1261296" y="341395"/>
                    <a:pt x="1248494" y="350544"/>
                    <a:pt x="1234077" y="353355"/>
                  </a:cubicBezTo>
                  <a:cubicBezTo>
                    <a:pt x="1217507" y="358139"/>
                    <a:pt x="1196510" y="356225"/>
                    <a:pt x="1185324" y="371713"/>
                  </a:cubicBezTo>
                  <a:cubicBezTo>
                    <a:pt x="1174257" y="388936"/>
                    <a:pt x="1165762" y="407713"/>
                    <a:pt x="1156370" y="425892"/>
                  </a:cubicBezTo>
                  <a:cubicBezTo>
                    <a:pt x="1149192" y="426490"/>
                    <a:pt x="1143150" y="421945"/>
                    <a:pt x="1137587" y="418058"/>
                  </a:cubicBezTo>
                  <a:cubicBezTo>
                    <a:pt x="1125024" y="407234"/>
                    <a:pt x="1111385" y="396590"/>
                    <a:pt x="1102951" y="381999"/>
                  </a:cubicBezTo>
                  <a:cubicBezTo>
                    <a:pt x="1113419" y="376677"/>
                    <a:pt x="1123589" y="368544"/>
                    <a:pt x="1136091" y="369561"/>
                  </a:cubicBezTo>
                  <a:cubicBezTo>
                    <a:pt x="1147696" y="368903"/>
                    <a:pt x="1159601" y="373089"/>
                    <a:pt x="1170727" y="367767"/>
                  </a:cubicBezTo>
                  <a:cubicBezTo>
                    <a:pt x="1181316" y="362743"/>
                    <a:pt x="1190408" y="354671"/>
                    <a:pt x="1195972" y="344325"/>
                  </a:cubicBezTo>
                  <a:cubicBezTo>
                    <a:pt x="1200638" y="334817"/>
                    <a:pt x="1210568" y="330452"/>
                    <a:pt x="1219182" y="325429"/>
                  </a:cubicBezTo>
                  <a:cubicBezTo>
                    <a:pt x="1216011" y="323934"/>
                    <a:pt x="1212961" y="319807"/>
                    <a:pt x="1209192" y="321781"/>
                  </a:cubicBezTo>
                  <a:cubicBezTo>
                    <a:pt x="1199980" y="325847"/>
                    <a:pt x="1190947" y="331528"/>
                    <a:pt x="1184905" y="339780"/>
                  </a:cubicBezTo>
                  <a:cubicBezTo>
                    <a:pt x="1176769" y="353714"/>
                    <a:pt x="1159182" y="357063"/>
                    <a:pt x="1144466" y="359275"/>
                  </a:cubicBezTo>
                  <a:cubicBezTo>
                    <a:pt x="1126640" y="359454"/>
                    <a:pt x="1109411" y="364179"/>
                    <a:pt x="1092063" y="367527"/>
                  </a:cubicBezTo>
                  <a:cubicBezTo>
                    <a:pt x="1086201" y="358079"/>
                    <a:pt x="1076749" y="340558"/>
                    <a:pt x="1089970" y="333442"/>
                  </a:cubicBezTo>
                  <a:cubicBezTo>
                    <a:pt x="1096789" y="331229"/>
                    <a:pt x="1104147" y="333681"/>
                    <a:pt x="1111206" y="333621"/>
                  </a:cubicBezTo>
                  <a:lnTo>
                    <a:pt x="1091645" y="317356"/>
                  </a:lnTo>
                  <a:cubicBezTo>
                    <a:pt x="1104685" y="311675"/>
                    <a:pt x="1112582" y="299356"/>
                    <a:pt x="1121615" y="288951"/>
                  </a:cubicBezTo>
                  <a:cubicBezTo>
                    <a:pt x="1129212" y="284107"/>
                    <a:pt x="1139022" y="286499"/>
                    <a:pt x="1147577" y="286499"/>
                  </a:cubicBezTo>
                  <a:cubicBezTo>
                    <a:pt x="1141236" y="281715"/>
                    <a:pt x="1132681" y="277529"/>
                    <a:pt x="1124845" y="281476"/>
                  </a:cubicBezTo>
                  <a:cubicBezTo>
                    <a:pt x="1108813" y="288532"/>
                    <a:pt x="1096370" y="301688"/>
                    <a:pt x="1081894" y="311376"/>
                  </a:cubicBezTo>
                  <a:cubicBezTo>
                    <a:pt x="1078006" y="307130"/>
                    <a:pt x="1073998" y="303064"/>
                    <a:pt x="1069930" y="298997"/>
                  </a:cubicBezTo>
                  <a:cubicBezTo>
                    <a:pt x="1079860" y="288174"/>
                    <a:pt x="1091346" y="279084"/>
                    <a:pt x="1102771" y="269935"/>
                  </a:cubicBezTo>
                  <a:lnTo>
                    <a:pt x="1091286" y="271250"/>
                  </a:lnTo>
                  <a:cubicBezTo>
                    <a:pt x="1089551" y="267423"/>
                    <a:pt x="1087756" y="263596"/>
                    <a:pt x="1085902" y="259769"/>
                  </a:cubicBezTo>
                  <a:cubicBezTo>
                    <a:pt x="1080159" y="263656"/>
                    <a:pt x="1072622" y="266227"/>
                    <a:pt x="1070109" y="273284"/>
                  </a:cubicBezTo>
                  <a:cubicBezTo>
                    <a:pt x="1069032" y="280758"/>
                    <a:pt x="1063589" y="284885"/>
                    <a:pt x="1057367" y="287576"/>
                  </a:cubicBezTo>
                  <a:cubicBezTo>
                    <a:pt x="1056650" y="283748"/>
                    <a:pt x="1055872" y="279921"/>
                    <a:pt x="1055094" y="276094"/>
                  </a:cubicBezTo>
                  <a:cubicBezTo>
                    <a:pt x="1053778" y="278964"/>
                    <a:pt x="1052522" y="281835"/>
                    <a:pt x="1051206" y="284705"/>
                  </a:cubicBezTo>
                  <a:cubicBezTo>
                    <a:pt x="1049411" y="283808"/>
                    <a:pt x="1047617" y="282851"/>
                    <a:pt x="1045822" y="282014"/>
                  </a:cubicBezTo>
                  <a:cubicBezTo>
                    <a:pt x="1046839" y="271071"/>
                    <a:pt x="1044745" y="257496"/>
                    <a:pt x="1054556" y="249902"/>
                  </a:cubicBezTo>
                  <a:cubicBezTo>
                    <a:pt x="1062692" y="243982"/>
                    <a:pt x="1069391" y="236447"/>
                    <a:pt x="1076630" y="229451"/>
                  </a:cubicBezTo>
                  <a:cubicBezTo>
                    <a:pt x="1082313" y="223650"/>
                    <a:pt x="1090987" y="223949"/>
                    <a:pt x="1098404" y="222155"/>
                  </a:cubicBezTo>
                  <a:cubicBezTo>
                    <a:pt x="1099900" y="228075"/>
                    <a:pt x="1103609" y="232919"/>
                    <a:pt x="1107677" y="237284"/>
                  </a:cubicBezTo>
                  <a:cubicBezTo>
                    <a:pt x="1106002" y="230288"/>
                    <a:pt x="1104985" y="223052"/>
                    <a:pt x="1106002" y="215876"/>
                  </a:cubicBezTo>
                  <a:cubicBezTo>
                    <a:pt x="1109052" y="218148"/>
                    <a:pt x="1112043" y="220540"/>
                    <a:pt x="1114915" y="222992"/>
                  </a:cubicBezTo>
                  <a:cubicBezTo>
                    <a:pt x="1106959" y="202122"/>
                    <a:pt x="1134117" y="183345"/>
                    <a:pt x="1152243" y="192853"/>
                  </a:cubicBezTo>
                  <a:cubicBezTo>
                    <a:pt x="1159003" y="198534"/>
                    <a:pt x="1158105" y="207803"/>
                    <a:pt x="1158045" y="215637"/>
                  </a:cubicBezTo>
                  <a:cubicBezTo>
                    <a:pt x="1162532" y="209836"/>
                    <a:pt x="1165164" y="203019"/>
                    <a:pt x="1166241" y="195843"/>
                  </a:cubicBezTo>
                  <a:cubicBezTo>
                    <a:pt x="1179521" y="195245"/>
                    <a:pt x="1188853" y="202900"/>
                    <a:pt x="1193698" y="214800"/>
                  </a:cubicBezTo>
                  <a:cubicBezTo>
                    <a:pt x="1194237" y="211929"/>
                    <a:pt x="1194835" y="209119"/>
                    <a:pt x="1195792" y="206368"/>
                  </a:cubicBezTo>
                  <a:cubicBezTo>
                    <a:pt x="1201774" y="203797"/>
                    <a:pt x="1206021" y="207863"/>
                    <a:pt x="1209312" y="211511"/>
                  </a:cubicBezTo>
                  <a:cubicBezTo>
                    <a:pt x="1210867" y="209717"/>
                    <a:pt x="1212482" y="207983"/>
                    <a:pt x="1214037" y="206189"/>
                  </a:cubicBezTo>
                  <a:cubicBezTo>
                    <a:pt x="1216131" y="212886"/>
                    <a:pt x="1218045" y="219703"/>
                    <a:pt x="1220259" y="226401"/>
                  </a:cubicBezTo>
                  <a:cubicBezTo>
                    <a:pt x="1218045" y="219404"/>
                    <a:pt x="1221694" y="205710"/>
                    <a:pt x="1211884" y="202840"/>
                  </a:cubicBezTo>
                  <a:cubicBezTo>
                    <a:pt x="1198484" y="198654"/>
                    <a:pt x="1185682" y="192793"/>
                    <a:pt x="1173659" y="185558"/>
                  </a:cubicBezTo>
                  <a:cubicBezTo>
                    <a:pt x="1167676" y="182149"/>
                    <a:pt x="1167078" y="174614"/>
                    <a:pt x="1164925" y="168754"/>
                  </a:cubicBezTo>
                  <a:cubicBezTo>
                    <a:pt x="1177846" y="166960"/>
                    <a:pt x="1191425" y="165046"/>
                    <a:pt x="1202612" y="157751"/>
                  </a:cubicBezTo>
                  <a:cubicBezTo>
                    <a:pt x="1199322" y="147166"/>
                    <a:pt x="1199322" y="134369"/>
                    <a:pt x="1188793" y="127851"/>
                  </a:cubicBezTo>
                  <a:cubicBezTo>
                    <a:pt x="1199082" y="121273"/>
                    <a:pt x="1211465" y="118941"/>
                    <a:pt x="1222652" y="124562"/>
                  </a:cubicBezTo>
                  <a:cubicBezTo>
                    <a:pt x="1220378" y="126894"/>
                    <a:pt x="1218045" y="129107"/>
                    <a:pt x="1215772" y="131379"/>
                  </a:cubicBezTo>
                  <a:cubicBezTo>
                    <a:pt x="1220498" y="135565"/>
                    <a:pt x="1225104" y="140887"/>
                    <a:pt x="1231744" y="141784"/>
                  </a:cubicBezTo>
                  <a:cubicBezTo>
                    <a:pt x="1238085" y="142861"/>
                    <a:pt x="1245563" y="144655"/>
                    <a:pt x="1247178" y="152010"/>
                  </a:cubicBezTo>
                  <a:cubicBezTo>
                    <a:pt x="1251724" y="166302"/>
                    <a:pt x="1265662" y="182149"/>
                    <a:pt x="1256390" y="197219"/>
                  </a:cubicBezTo>
                  <a:cubicBezTo>
                    <a:pt x="1264945" y="195604"/>
                    <a:pt x="1273499" y="194348"/>
                    <a:pt x="1282113" y="193092"/>
                  </a:cubicBezTo>
                  <a:lnTo>
                    <a:pt x="1268534" y="190401"/>
                  </a:lnTo>
                  <a:cubicBezTo>
                    <a:pt x="1264646" y="179339"/>
                    <a:pt x="1259920" y="168575"/>
                    <a:pt x="1257288" y="157153"/>
                  </a:cubicBezTo>
                  <a:cubicBezTo>
                    <a:pt x="1267457" y="153206"/>
                    <a:pt x="1272123" y="163910"/>
                    <a:pt x="1277926" y="170249"/>
                  </a:cubicBezTo>
                  <a:cubicBezTo>
                    <a:pt x="1292342" y="187112"/>
                    <a:pt x="1310229" y="201106"/>
                    <a:pt x="1329730" y="211750"/>
                  </a:cubicBezTo>
                  <a:cubicBezTo>
                    <a:pt x="1334994" y="221079"/>
                    <a:pt x="1339122" y="232082"/>
                    <a:pt x="1348992" y="237763"/>
                  </a:cubicBezTo>
                  <a:cubicBezTo>
                    <a:pt x="1344745" y="225982"/>
                    <a:pt x="1339002" y="214740"/>
                    <a:pt x="1332302" y="204275"/>
                  </a:cubicBezTo>
                  <a:cubicBezTo>
                    <a:pt x="1323210" y="197876"/>
                    <a:pt x="1306101" y="194288"/>
                    <a:pt x="1308853" y="179757"/>
                  </a:cubicBezTo>
                  <a:cubicBezTo>
                    <a:pt x="1288454" y="174674"/>
                    <a:pt x="1279481" y="154582"/>
                    <a:pt x="1266141" y="140588"/>
                  </a:cubicBezTo>
                  <a:cubicBezTo>
                    <a:pt x="1266560" y="132097"/>
                    <a:pt x="1268594" y="123785"/>
                    <a:pt x="1272482" y="116250"/>
                  </a:cubicBezTo>
                  <a:lnTo>
                    <a:pt x="1294436" y="118223"/>
                  </a:lnTo>
                  <a:cubicBezTo>
                    <a:pt x="1287796" y="112842"/>
                    <a:pt x="1280139" y="108177"/>
                    <a:pt x="1275114" y="101181"/>
                  </a:cubicBezTo>
                  <a:cubicBezTo>
                    <a:pt x="1270747" y="95141"/>
                    <a:pt x="1276011" y="88623"/>
                    <a:pt x="1279122" y="83420"/>
                  </a:cubicBezTo>
                  <a:cubicBezTo>
                    <a:pt x="1288275" y="88384"/>
                    <a:pt x="1296949" y="94124"/>
                    <a:pt x="1304366" y="101480"/>
                  </a:cubicBezTo>
                  <a:cubicBezTo>
                    <a:pt x="1303290" y="103214"/>
                    <a:pt x="1302213" y="105008"/>
                    <a:pt x="1301136" y="106742"/>
                  </a:cubicBezTo>
                  <a:cubicBezTo>
                    <a:pt x="1306639" y="108416"/>
                    <a:pt x="1312143" y="109911"/>
                    <a:pt x="1317886" y="110390"/>
                  </a:cubicBezTo>
                  <a:cubicBezTo>
                    <a:pt x="1312442" y="91493"/>
                    <a:pt x="1299461" y="76244"/>
                    <a:pt x="1291385" y="58544"/>
                  </a:cubicBezTo>
                  <a:cubicBezTo>
                    <a:pt x="1301196" y="57826"/>
                    <a:pt x="1312083" y="55972"/>
                    <a:pt x="1320578" y="62251"/>
                  </a:cubicBezTo>
                  <a:cubicBezTo>
                    <a:pt x="1327995" y="68231"/>
                    <a:pt x="1327278" y="78816"/>
                    <a:pt x="1329311" y="87367"/>
                  </a:cubicBezTo>
                  <a:cubicBezTo>
                    <a:pt x="1330927" y="84198"/>
                    <a:pt x="1332482" y="80968"/>
                    <a:pt x="1333918" y="77739"/>
                  </a:cubicBezTo>
                  <a:cubicBezTo>
                    <a:pt x="1342592" y="82882"/>
                    <a:pt x="1352103" y="86530"/>
                    <a:pt x="1362452" y="86410"/>
                  </a:cubicBezTo>
                  <a:cubicBezTo>
                    <a:pt x="1350787" y="80191"/>
                    <a:pt x="1331465" y="77141"/>
                    <a:pt x="1331704" y="60457"/>
                  </a:cubicBezTo>
                  <a:lnTo>
                    <a:pt x="1338823" y="57706"/>
                  </a:lnTo>
                  <a:cubicBezTo>
                    <a:pt x="1331286" y="55195"/>
                    <a:pt x="1320039" y="52683"/>
                    <a:pt x="1321774" y="42458"/>
                  </a:cubicBezTo>
                  <a:cubicBezTo>
                    <a:pt x="1327816" y="35102"/>
                    <a:pt x="1336968" y="29361"/>
                    <a:pt x="1346420" y="27807"/>
                  </a:cubicBezTo>
                  <a:cubicBezTo>
                    <a:pt x="1351684" y="30976"/>
                    <a:pt x="1353299" y="37375"/>
                    <a:pt x="1356231" y="42398"/>
                  </a:cubicBezTo>
                  <a:lnTo>
                    <a:pt x="1363409" y="32890"/>
                  </a:lnTo>
                  <a:cubicBezTo>
                    <a:pt x="1366101" y="38750"/>
                    <a:pt x="1368314" y="44730"/>
                    <a:pt x="1370827" y="50650"/>
                  </a:cubicBezTo>
                  <a:cubicBezTo>
                    <a:pt x="1374835" y="45687"/>
                    <a:pt x="1378843" y="40723"/>
                    <a:pt x="1382791" y="35640"/>
                  </a:cubicBezTo>
                  <a:cubicBezTo>
                    <a:pt x="1388534" y="41142"/>
                    <a:pt x="1395234" y="45687"/>
                    <a:pt x="1400378" y="51786"/>
                  </a:cubicBezTo>
                  <a:cubicBezTo>
                    <a:pt x="1406300" y="62311"/>
                    <a:pt x="1408215" y="74630"/>
                    <a:pt x="1413658" y="85394"/>
                  </a:cubicBezTo>
                  <a:cubicBezTo>
                    <a:pt x="1417846" y="90895"/>
                    <a:pt x="1424247" y="94244"/>
                    <a:pt x="1428494" y="99686"/>
                  </a:cubicBezTo>
                  <a:cubicBezTo>
                    <a:pt x="1427716" y="109852"/>
                    <a:pt x="1423050" y="119240"/>
                    <a:pt x="1420777" y="129047"/>
                  </a:cubicBezTo>
                  <a:cubicBezTo>
                    <a:pt x="1427896" y="117984"/>
                    <a:pt x="1434237" y="106443"/>
                    <a:pt x="1440996" y="95201"/>
                  </a:cubicBezTo>
                  <a:cubicBezTo>
                    <a:pt x="1433100" y="89340"/>
                    <a:pt x="1423888" y="83241"/>
                    <a:pt x="1420777" y="73493"/>
                  </a:cubicBezTo>
                  <a:cubicBezTo>
                    <a:pt x="1419521" y="67693"/>
                    <a:pt x="1426221" y="65361"/>
                    <a:pt x="1429750" y="62251"/>
                  </a:cubicBezTo>
                  <a:cubicBezTo>
                    <a:pt x="1426280" y="62431"/>
                    <a:pt x="1422751" y="62670"/>
                    <a:pt x="1419281" y="62311"/>
                  </a:cubicBezTo>
                  <a:cubicBezTo>
                    <a:pt x="1412641" y="55195"/>
                    <a:pt x="1412163" y="43952"/>
                    <a:pt x="1404147" y="37674"/>
                  </a:cubicBezTo>
                  <a:cubicBezTo>
                    <a:pt x="1399720" y="32770"/>
                    <a:pt x="1389431" y="25714"/>
                    <a:pt x="1397088" y="19016"/>
                  </a:cubicBezTo>
                  <a:cubicBezTo>
                    <a:pt x="1404984" y="19196"/>
                    <a:pt x="1413359" y="21229"/>
                    <a:pt x="1420418" y="16265"/>
                  </a:cubicBezTo>
                  <a:cubicBezTo>
                    <a:pt x="1429989" y="9747"/>
                    <a:pt x="1440697" y="19495"/>
                    <a:pt x="1450388" y="14830"/>
                  </a:cubicBezTo>
                  <a:cubicBezTo>
                    <a:pt x="1457686" y="11721"/>
                    <a:pt x="1465164" y="17222"/>
                    <a:pt x="1470308" y="21886"/>
                  </a:cubicBezTo>
                  <a:cubicBezTo>
                    <a:pt x="1475752" y="31096"/>
                    <a:pt x="1477128" y="41919"/>
                    <a:pt x="1481196" y="51667"/>
                  </a:cubicBezTo>
                  <a:cubicBezTo>
                    <a:pt x="1488195" y="63208"/>
                    <a:pt x="1498364" y="72417"/>
                    <a:pt x="1508833" y="80789"/>
                  </a:cubicBezTo>
                  <a:lnTo>
                    <a:pt x="1511943" y="75766"/>
                  </a:lnTo>
                  <a:cubicBezTo>
                    <a:pt x="1502671" y="66856"/>
                    <a:pt x="1494117" y="56989"/>
                    <a:pt x="1489511" y="44849"/>
                  </a:cubicBezTo>
                  <a:cubicBezTo>
                    <a:pt x="1481674" y="29959"/>
                    <a:pt x="1497646" y="17581"/>
                    <a:pt x="1505363" y="6339"/>
                  </a:cubicBezTo>
                  <a:cubicBezTo>
                    <a:pt x="1514635" y="5322"/>
                    <a:pt x="1523728" y="3169"/>
                    <a:pt x="1532940" y="1674"/>
                  </a:cubicBezTo>
                  <a:cubicBezTo>
                    <a:pt x="1531624" y="8611"/>
                    <a:pt x="1530129" y="15548"/>
                    <a:pt x="1528753" y="22484"/>
                  </a:cubicBezTo>
                  <a:cubicBezTo>
                    <a:pt x="1534376" y="32112"/>
                    <a:pt x="1542033" y="40544"/>
                    <a:pt x="1552801" y="44371"/>
                  </a:cubicBezTo>
                  <a:cubicBezTo>
                    <a:pt x="1548075" y="35102"/>
                    <a:pt x="1542452" y="26371"/>
                    <a:pt x="1537068" y="17521"/>
                  </a:cubicBezTo>
                  <a:cubicBezTo>
                    <a:pt x="1540956" y="13275"/>
                    <a:pt x="1544007" y="8013"/>
                    <a:pt x="1548853" y="4784"/>
                  </a:cubicBezTo>
                  <a:cubicBezTo>
                    <a:pt x="1558304" y="717"/>
                    <a:pt x="1568952" y="1136"/>
                    <a:pt x="1579062" y="0"/>
                  </a:cubicBez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 name="Canada - Mainland">
              <a:extLst>
                <a:ext uri="{FF2B5EF4-FFF2-40B4-BE49-F238E27FC236}">
                  <a16:creationId xmlns:a16="http://schemas.microsoft.com/office/drawing/2014/main" id="{4B343064-EAEF-E637-3B32-68C4365969B7}"/>
                </a:ext>
              </a:extLst>
            </p:cNvPr>
            <p:cNvSpPr>
              <a:spLocks noEditPoints="1"/>
            </p:cNvSpPr>
            <p:nvPr/>
          </p:nvSpPr>
          <p:spPr bwMode="auto">
            <a:xfrm>
              <a:off x="2497236" y="2108118"/>
              <a:ext cx="2016681" cy="1393245"/>
            </a:xfrm>
            <a:custGeom>
              <a:avLst/>
              <a:gdLst>
                <a:gd name="T0" fmla="*/ 581 w 1116"/>
                <a:gd name="T1" fmla="*/ 586 h 771"/>
                <a:gd name="T2" fmla="*/ 568 w 1116"/>
                <a:gd name="T3" fmla="*/ 575 h 771"/>
                <a:gd name="T4" fmla="*/ 564 w 1116"/>
                <a:gd name="T5" fmla="*/ 531 h 771"/>
                <a:gd name="T6" fmla="*/ 426 w 1116"/>
                <a:gd name="T7" fmla="*/ 408 h 771"/>
                <a:gd name="T8" fmla="*/ 344 w 1116"/>
                <a:gd name="T9" fmla="*/ 340 h 771"/>
                <a:gd name="T10" fmla="*/ 381 w 1116"/>
                <a:gd name="T11" fmla="*/ 340 h 771"/>
                <a:gd name="T12" fmla="*/ 374 w 1116"/>
                <a:gd name="T13" fmla="*/ 335 h 771"/>
                <a:gd name="T14" fmla="*/ 684 w 1116"/>
                <a:gd name="T15" fmla="*/ 228 h 771"/>
                <a:gd name="T16" fmla="*/ 257 w 1116"/>
                <a:gd name="T17" fmla="*/ 223 h 771"/>
                <a:gd name="T18" fmla="*/ 269 w 1116"/>
                <a:gd name="T19" fmla="*/ 243 h 771"/>
                <a:gd name="T20" fmla="*/ 272 w 1116"/>
                <a:gd name="T21" fmla="*/ 209 h 771"/>
                <a:gd name="T22" fmla="*/ 610 w 1116"/>
                <a:gd name="T23" fmla="*/ 2 h 771"/>
                <a:gd name="T24" fmla="*/ 656 w 1116"/>
                <a:gd name="T25" fmla="*/ 97 h 771"/>
                <a:gd name="T26" fmla="*/ 676 w 1116"/>
                <a:gd name="T27" fmla="*/ 105 h 771"/>
                <a:gd name="T28" fmla="*/ 736 w 1116"/>
                <a:gd name="T29" fmla="*/ 114 h 771"/>
                <a:gd name="T30" fmla="*/ 780 w 1116"/>
                <a:gd name="T31" fmla="*/ 131 h 771"/>
                <a:gd name="T32" fmla="*/ 749 w 1116"/>
                <a:gd name="T33" fmla="*/ 212 h 771"/>
                <a:gd name="T34" fmla="*/ 693 w 1116"/>
                <a:gd name="T35" fmla="*/ 240 h 771"/>
                <a:gd name="T36" fmla="*/ 639 w 1116"/>
                <a:gd name="T37" fmla="*/ 288 h 771"/>
                <a:gd name="T38" fmla="*/ 638 w 1116"/>
                <a:gd name="T39" fmla="*/ 319 h 771"/>
                <a:gd name="T40" fmla="*/ 611 w 1116"/>
                <a:gd name="T41" fmla="*/ 427 h 771"/>
                <a:gd name="T42" fmla="*/ 728 w 1116"/>
                <a:gd name="T43" fmla="*/ 504 h 771"/>
                <a:gd name="T44" fmla="*/ 786 w 1116"/>
                <a:gd name="T45" fmla="*/ 596 h 771"/>
                <a:gd name="T46" fmla="*/ 839 w 1116"/>
                <a:gd name="T47" fmla="*/ 485 h 771"/>
                <a:gd name="T48" fmla="*/ 827 w 1116"/>
                <a:gd name="T49" fmla="*/ 393 h 771"/>
                <a:gd name="T50" fmla="*/ 862 w 1116"/>
                <a:gd name="T51" fmla="*/ 332 h 771"/>
                <a:gd name="T52" fmla="*/ 934 w 1116"/>
                <a:gd name="T53" fmla="*/ 362 h 771"/>
                <a:gd name="T54" fmla="*/ 930 w 1116"/>
                <a:gd name="T55" fmla="*/ 420 h 771"/>
                <a:gd name="T56" fmla="*/ 980 w 1116"/>
                <a:gd name="T57" fmla="*/ 429 h 771"/>
                <a:gd name="T58" fmla="*/ 1007 w 1116"/>
                <a:gd name="T59" fmla="*/ 402 h 771"/>
                <a:gd name="T60" fmla="*/ 1023 w 1116"/>
                <a:gd name="T61" fmla="*/ 427 h 771"/>
                <a:gd name="T62" fmla="*/ 1041 w 1116"/>
                <a:gd name="T63" fmla="*/ 466 h 771"/>
                <a:gd name="T64" fmla="*/ 1042 w 1116"/>
                <a:gd name="T65" fmla="*/ 485 h 771"/>
                <a:gd name="T66" fmla="*/ 1094 w 1116"/>
                <a:gd name="T67" fmla="*/ 522 h 771"/>
                <a:gd name="T68" fmla="*/ 1085 w 1116"/>
                <a:gd name="T69" fmla="*/ 532 h 771"/>
                <a:gd name="T70" fmla="*/ 1114 w 1116"/>
                <a:gd name="T71" fmla="*/ 567 h 771"/>
                <a:gd name="T72" fmla="*/ 971 w 1116"/>
                <a:gd name="T73" fmla="*/ 621 h 771"/>
                <a:gd name="T74" fmla="*/ 992 w 1116"/>
                <a:gd name="T75" fmla="*/ 658 h 771"/>
                <a:gd name="T76" fmla="*/ 1025 w 1116"/>
                <a:gd name="T77" fmla="*/ 703 h 771"/>
                <a:gd name="T78" fmla="*/ 1007 w 1116"/>
                <a:gd name="T79" fmla="*/ 725 h 771"/>
                <a:gd name="T80" fmla="*/ 986 w 1116"/>
                <a:gd name="T81" fmla="*/ 712 h 771"/>
                <a:gd name="T82" fmla="*/ 909 w 1116"/>
                <a:gd name="T83" fmla="*/ 718 h 771"/>
                <a:gd name="T84" fmla="*/ 756 w 1116"/>
                <a:gd name="T85" fmla="*/ 771 h 771"/>
                <a:gd name="T86" fmla="*/ 781 w 1116"/>
                <a:gd name="T87" fmla="*/ 712 h 771"/>
                <a:gd name="T88" fmla="*/ 736 w 1116"/>
                <a:gd name="T89" fmla="*/ 681 h 771"/>
                <a:gd name="T90" fmla="*/ 682 w 1116"/>
                <a:gd name="T91" fmla="*/ 650 h 771"/>
                <a:gd name="T92" fmla="*/ 227 w 1116"/>
                <a:gd name="T93" fmla="*/ 632 h 771"/>
                <a:gd name="T94" fmla="*/ 186 w 1116"/>
                <a:gd name="T95" fmla="*/ 602 h 771"/>
                <a:gd name="T96" fmla="*/ 166 w 1116"/>
                <a:gd name="T97" fmla="*/ 567 h 771"/>
                <a:gd name="T98" fmla="*/ 86 w 1116"/>
                <a:gd name="T99" fmla="*/ 421 h 771"/>
                <a:gd name="T100" fmla="*/ 76 w 1116"/>
                <a:gd name="T101" fmla="*/ 128 h 771"/>
                <a:gd name="T102" fmla="*/ 132 w 1116"/>
                <a:gd name="T103" fmla="*/ 97 h 771"/>
                <a:gd name="T104" fmla="*/ 196 w 1116"/>
                <a:gd name="T105" fmla="*/ 101 h 771"/>
                <a:gd name="T106" fmla="*/ 275 w 1116"/>
                <a:gd name="T107" fmla="*/ 101 h 771"/>
                <a:gd name="T108" fmla="*/ 409 w 1116"/>
                <a:gd name="T109" fmla="*/ 159 h 771"/>
                <a:gd name="T110" fmla="*/ 438 w 1116"/>
                <a:gd name="T111" fmla="*/ 181 h 771"/>
                <a:gd name="T112" fmla="*/ 448 w 1116"/>
                <a:gd name="T113" fmla="*/ 141 h 771"/>
                <a:gd name="T114" fmla="*/ 466 w 1116"/>
                <a:gd name="T115" fmla="*/ 132 h 771"/>
                <a:gd name="T116" fmla="*/ 572 w 1116"/>
                <a:gd name="T117" fmla="*/ 162 h 771"/>
                <a:gd name="T118" fmla="*/ 589 w 1116"/>
                <a:gd name="T119" fmla="*/ 142 h 771"/>
                <a:gd name="T120" fmla="*/ 605 w 1116"/>
                <a:gd name="T121" fmla="*/ 148 h 771"/>
                <a:gd name="T122" fmla="*/ 583 w 1116"/>
                <a:gd name="T123" fmla="*/ 48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6" h="771">
                  <a:moveTo>
                    <a:pt x="1004" y="710"/>
                  </a:moveTo>
                  <a:lnTo>
                    <a:pt x="1005" y="713"/>
                  </a:lnTo>
                  <a:lnTo>
                    <a:pt x="1013" y="710"/>
                  </a:lnTo>
                  <a:lnTo>
                    <a:pt x="1004" y="710"/>
                  </a:lnTo>
                  <a:close/>
                  <a:moveTo>
                    <a:pt x="581" y="586"/>
                  </a:moveTo>
                  <a:lnTo>
                    <a:pt x="578" y="595"/>
                  </a:lnTo>
                  <a:lnTo>
                    <a:pt x="581" y="593"/>
                  </a:lnTo>
                  <a:lnTo>
                    <a:pt x="583" y="593"/>
                  </a:lnTo>
                  <a:lnTo>
                    <a:pt x="583" y="595"/>
                  </a:lnTo>
                  <a:lnTo>
                    <a:pt x="577" y="607"/>
                  </a:lnTo>
                  <a:lnTo>
                    <a:pt x="578" y="611"/>
                  </a:lnTo>
                  <a:lnTo>
                    <a:pt x="580" y="611"/>
                  </a:lnTo>
                  <a:lnTo>
                    <a:pt x="581" y="607"/>
                  </a:lnTo>
                  <a:lnTo>
                    <a:pt x="583" y="607"/>
                  </a:lnTo>
                  <a:lnTo>
                    <a:pt x="586" y="595"/>
                  </a:lnTo>
                  <a:lnTo>
                    <a:pt x="581" y="586"/>
                  </a:lnTo>
                  <a:close/>
                  <a:moveTo>
                    <a:pt x="559" y="529"/>
                  </a:moveTo>
                  <a:lnTo>
                    <a:pt x="562" y="531"/>
                  </a:lnTo>
                  <a:lnTo>
                    <a:pt x="561" y="535"/>
                  </a:lnTo>
                  <a:lnTo>
                    <a:pt x="564" y="541"/>
                  </a:lnTo>
                  <a:lnTo>
                    <a:pt x="564" y="543"/>
                  </a:lnTo>
                  <a:lnTo>
                    <a:pt x="552" y="540"/>
                  </a:lnTo>
                  <a:lnTo>
                    <a:pt x="547" y="549"/>
                  </a:lnTo>
                  <a:lnTo>
                    <a:pt x="549" y="552"/>
                  </a:lnTo>
                  <a:lnTo>
                    <a:pt x="558" y="555"/>
                  </a:lnTo>
                  <a:lnTo>
                    <a:pt x="558" y="556"/>
                  </a:lnTo>
                  <a:lnTo>
                    <a:pt x="552" y="559"/>
                  </a:lnTo>
                  <a:lnTo>
                    <a:pt x="555" y="565"/>
                  </a:lnTo>
                  <a:lnTo>
                    <a:pt x="561" y="571"/>
                  </a:lnTo>
                  <a:lnTo>
                    <a:pt x="562" y="580"/>
                  </a:lnTo>
                  <a:lnTo>
                    <a:pt x="565" y="580"/>
                  </a:lnTo>
                  <a:lnTo>
                    <a:pt x="568" y="575"/>
                  </a:lnTo>
                  <a:lnTo>
                    <a:pt x="570" y="575"/>
                  </a:lnTo>
                  <a:lnTo>
                    <a:pt x="574" y="589"/>
                  </a:lnTo>
                  <a:lnTo>
                    <a:pt x="575" y="584"/>
                  </a:lnTo>
                  <a:lnTo>
                    <a:pt x="577" y="584"/>
                  </a:lnTo>
                  <a:lnTo>
                    <a:pt x="580" y="586"/>
                  </a:lnTo>
                  <a:lnTo>
                    <a:pt x="581" y="586"/>
                  </a:lnTo>
                  <a:lnTo>
                    <a:pt x="575" y="575"/>
                  </a:lnTo>
                  <a:lnTo>
                    <a:pt x="572" y="558"/>
                  </a:lnTo>
                  <a:lnTo>
                    <a:pt x="568" y="553"/>
                  </a:lnTo>
                  <a:lnTo>
                    <a:pt x="565" y="541"/>
                  </a:lnTo>
                  <a:lnTo>
                    <a:pt x="565" y="537"/>
                  </a:lnTo>
                  <a:lnTo>
                    <a:pt x="568" y="535"/>
                  </a:lnTo>
                  <a:lnTo>
                    <a:pt x="567" y="534"/>
                  </a:lnTo>
                  <a:lnTo>
                    <a:pt x="562" y="537"/>
                  </a:lnTo>
                  <a:lnTo>
                    <a:pt x="562" y="535"/>
                  </a:lnTo>
                  <a:lnTo>
                    <a:pt x="564" y="531"/>
                  </a:lnTo>
                  <a:lnTo>
                    <a:pt x="562" y="529"/>
                  </a:lnTo>
                  <a:lnTo>
                    <a:pt x="559" y="529"/>
                  </a:lnTo>
                  <a:close/>
                  <a:moveTo>
                    <a:pt x="415" y="395"/>
                  </a:moveTo>
                  <a:lnTo>
                    <a:pt x="414" y="396"/>
                  </a:lnTo>
                  <a:lnTo>
                    <a:pt x="417" y="398"/>
                  </a:lnTo>
                  <a:lnTo>
                    <a:pt x="417" y="399"/>
                  </a:lnTo>
                  <a:lnTo>
                    <a:pt x="411" y="400"/>
                  </a:lnTo>
                  <a:lnTo>
                    <a:pt x="395" y="420"/>
                  </a:lnTo>
                  <a:lnTo>
                    <a:pt x="402" y="420"/>
                  </a:lnTo>
                  <a:lnTo>
                    <a:pt x="402" y="418"/>
                  </a:lnTo>
                  <a:lnTo>
                    <a:pt x="404" y="418"/>
                  </a:lnTo>
                  <a:lnTo>
                    <a:pt x="417" y="412"/>
                  </a:lnTo>
                  <a:lnTo>
                    <a:pt x="449" y="409"/>
                  </a:lnTo>
                  <a:lnTo>
                    <a:pt x="436" y="406"/>
                  </a:lnTo>
                  <a:lnTo>
                    <a:pt x="429" y="406"/>
                  </a:lnTo>
                  <a:lnTo>
                    <a:pt x="426" y="408"/>
                  </a:lnTo>
                  <a:lnTo>
                    <a:pt x="420" y="408"/>
                  </a:lnTo>
                  <a:lnTo>
                    <a:pt x="420" y="406"/>
                  </a:lnTo>
                  <a:lnTo>
                    <a:pt x="421" y="406"/>
                  </a:lnTo>
                  <a:lnTo>
                    <a:pt x="423" y="405"/>
                  </a:lnTo>
                  <a:lnTo>
                    <a:pt x="417" y="405"/>
                  </a:lnTo>
                  <a:lnTo>
                    <a:pt x="417" y="399"/>
                  </a:lnTo>
                  <a:lnTo>
                    <a:pt x="423" y="395"/>
                  </a:lnTo>
                  <a:lnTo>
                    <a:pt x="415" y="395"/>
                  </a:lnTo>
                  <a:close/>
                  <a:moveTo>
                    <a:pt x="323" y="310"/>
                  </a:moveTo>
                  <a:lnTo>
                    <a:pt x="332" y="323"/>
                  </a:lnTo>
                  <a:lnTo>
                    <a:pt x="343" y="329"/>
                  </a:lnTo>
                  <a:lnTo>
                    <a:pt x="343" y="331"/>
                  </a:lnTo>
                  <a:lnTo>
                    <a:pt x="341" y="334"/>
                  </a:lnTo>
                  <a:lnTo>
                    <a:pt x="347" y="335"/>
                  </a:lnTo>
                  <a:lnTo>
                    <a:pt x="347" y="337"/>
                  </a:lnTo>
                  <a:lnTo>
                    <a:pt x="344" y="340"/>
                  </a:lnTo>
                  <a:lnTo>
                    <a:pt x="346" y="341"/>
                  </a:lnTo>
                  <a:lnTo>
                    <a:pt x="346" y="343"/>
                  </a:lnTo>
                  <a:lnTo>
                    <a:pt x="338" y="343"/>
                  </a:lnTo>
                  <a:lnTo>
                    <a:pt x="337" y="353"/>
                  </a:lnTo>
                  <a:lnTo>
                    <a:pt x="331" y="353"/>
                  </a:lnTo>
                  <a:lnTo>
                    <a:pt x="331" y="360"/>
                  </a:lnTo>
                  <a:lnTo>
                    <a:pt x="329" y="360"/>
                  </a:lnTo>
                  <a:lnTo>
                    <a:pt x="300" y="350"/>
                  </a:lnTo>
                  <a:lnTo>
                    <a:pt x="295" y="355"/>
                  </a:lnTo>
                  <a:lnTo>
                    <a:pt x="304" y="353"/>
                  </a:lnTo>
                  <a:lnTo>
                    <a:pt x="306" y="353"/>
                  </a:lnTo>
                  <a:lnTo>
                    <a:pt x="325" y="369"/>
                  </a:lnTo>
                  <a:lnTo>
                    <a:pt x="355" y="365"/>
                  </a:lnTo>
                  <a:lnTo>
                    <a:pt x="358" y="356"/>
                  </a:lnTo>
                  <a:lnTo>
                    <a:pt x="374" y="349"/>
                  </a:lnTo>
                  <a:lnTo>
                    <a:pt x="381" y="340"/>
                  </a:lnTo>
                  <a:lnTo>
                    <a:pt x="383" y="334"/>
                  </a:lnTo>
                  <a:lnTo>
                    <a:pt x="392" y="329"/>
                  </a:lnTo>
                  <a:lnTo>
                    <a:pt x="392" y="323"/>
                  </a:lnTo>
                  <a:lnTo>
                    <a:pt x="398" y="323"/>
                  </a:lnTo>
                  <a:lnTo>
                    <a:pt x="402" y="325"/>
                  </a:lnTo>
                  <a:lnTo>
                    <a:pt x="405" y="325"/>
                  </a:lnTo>
                  <a:lnTo>
                    <a:pt x="401" y="320"/>
                  </a:lnTo>
                  <a:lnTo>
                    <a:pt x="404" y="319"/>
                  </a:lnTo>
                  <a:lnTo>
                    <a:pt x="405" y="319"/>
                  </a:lnTo>
                  <a:lnTo>
                    <a:pt x="412" y="322"/>
                  </a:lnTo>
                  <a:lnTo>
                    <a:pt x="417" y="319"/>
                  </a:lnTo>
                  <a:lnTo>
                    <a:pt x="405" y="313"/>
                  </a:lnTo>
                  <a:lnTo>
                    <a:pt x="395" y="314"/>
                  </a:lnTo>
                  <a:lnTo>
                    <a:pt x="384" y="320"/>
                  </a:lnTo>
                  <a:lnTo>
                    <a:pt x="375" y="335"/>
                  </a:lnTo>
                  <a:lnTo>
                    <a:pt x="374" y="335"/>
                  </a:lnTo>
                  <a:lnTo>
                    <a:pt x="365" y="337"/>
                  </a:lnTo>
                  <a:lnTo>
                    <a:pt x="361" y="337"/>
                  </a:lnTo>
                  <a:lnTo>
                    <a:pt x="361" y="329"/>
                  </a:lnTo>
                  <a:lnTo>
                    <a:pt x="355" y="332"/>
                  </a:lnTo>
                  <a:lnTo>
                    <a:pt x="352" y="323"/>
                  </a:lnTo>
                  <a:lnTo>
                    <a:pt x="350" y="323"/>
                  </a:lnTo>
                  <a:lnTo>
                    <a:pt x="346" y="326"/>
                  </a:lnTo>
                  <a:lnTo>
                    <a:pt x="332" y="317"/>
                  </a:lnTo>
                  <a:lnTo>
                    <a:pt x="329" y="310"/>
                  </a:lnTo>
                  <a:lnTo>
                    <a:pt x="323" y="310"/>
                  </a:lnTo>
                  <a:close/>
                  <a:moveTo>
                    <a:pt x="666" y="223"/>
                  </a:moveTo>
                  <a:lnTo>
                    <a:pt x="664" y="224"/>
                  </a:lnTo>
                  <a:lnTo>
                    <a:pt x="679" y="239"/>
                  </a:lnTo>
                  <a:lnTo>
                    <a:pt x="693" y="240"/>
                  </a:lnTo>
                  <a:lnTo>
                    <a:pt x="693" y="239"/>
                  </a:lnTo>
                  <a:lnTo>
                    <a:pt x="684" y="228"/>
                  </a:lnTo>
                  <a:lnTo>
                    <a:pt x="666" y="223"/>
                  </a:lnTo>
                  <a:close/>
                  <a:moveTo>
                    <a:pt x="276" y="187"/>
                  </a:moveTo>
                  <a:lnTo>
                    <a:pt x="251" y="202"/>
                  </a:lnTo>
                  <a:lnTo>
                    <a:pt x="211" y="211"/>
                  </a:lnTo>
                  <a:lnTo>
                    <a:pt x="209" y="215"/>
                  </a:lnTo>
                  <a:lnTo>
                    <a:pt x="212" y="220"/>
                  </a:lnTo>
                  <a:lnTo>
                    <a:pt x="215" y="214"/>
                  </a:lnTo>
                  <a:lnTo>
                    <a:pt x="218" y="214"/>
                  </a:lnTo>
                  <a:lnTo>
                    <a:pt x="223" y="215"/>
                  </a:lnTo>
                  <a:lnTo>
                    <a:pt x="226" y="215"/>
                  </a:lnTo>
                  <a:lnTo>
                    <a:pt x="230" y="217"/>
                  </a:lnTo>
                  <a:lnTo>
                    <a:pt x="233" y="217"/>
                  </a:lnTo>
                  <a:lnTo>
                    <a:pt x="235" y="212"/>
                  </a:lnTo>
                  <a:lnTo>
                    <a:pt x="258" y="217"/>
                  </a:lnTo>
                  <a:lnTo>
                    <a:pt x="258" y="218"/>
                  </a:lnTo>
                  <a:lnTo>
                    <a:pt x="257" y="223"/>
                  </a:lnTo>
                  <a:lnTo>
                    <a:pt x="254" y="223"/>
                  </a:lnTo>
                  <a:lnTo>
                    <a:pt x="249" y="221"/>
                  </a:lnTo>
                  <a:lnTo>
                    <a:pt x="243" y="221"/>
                  </a:lnTo>
                  <a:lnTo>
                    <a:pt x="246" y="226"/>
                  </a:lnTo>
                  <a:lnTo>
                    <a:pt x="246" y="231"/>
                  </a:lnTo>
                  <a:lnTo>
                    <a:pt x="239" y="237"/>
                  </a:lnTo>
                  <a:lnTo>
                    <a:pt x="238" y="243"/>
                  </a:lnTo>
                  <a:lnTo>
                    <a:pt x="238" y="245"/>
                  </a:lnTo>
                  <a:lnTo>
                    <a:pt x="232" y="246"/>
                  </a:lnTo>
                  <a:lnTo>
                    <a:pt x="249" y="252"/>
                  </a:lnTo>
                  <a:lnTo>
                    <a:pt x="254" y="248"/>
                  </a:lnTo>
                  <a:lnTo>
                    <a:pt x="255" y="239"/>
                  </a:lnTo>
                  <a:lnTo>
                    <a:pt x="269" y="233"/>
                  </a:lnTo>
                  <a:lnTo>
                    <a:pt x="270" y="233"/>
                  </a:lnTo>
                  <a:lnTo>
                    <a:pt x="270" y="239"/>
                  </a:lnTo>
                  <a:lnTo>
                    <a:pt x="269" y="243"/>
                  </a:lnTo>
                  <a:lnTo>
                    <a:pt x="257" y="254"/>
                  </a:lnTo>
                  <a:lnTo>
                    <a:pt x="258" y="258"/>
                  </a:lnTo>
                  <a:lnTo>
                    <a:pt x="276" y="240"/>
                  </a:lnTo>
                  <a:lnTo>
                    <a:pt x="280" y="240"/>
                  </a:lnTo>
                  <a:lnTo>
                    <a:pt x="276" y="234"/>
                  </a:lnTo>
                  <a:lnTo>
                    <a:pt x="280" y="227"/>
                  </a:lnTo>
                  <a:lnTo>
                    <a:pt x="288" y="227"/>
                  </a:lnTo>
                  <a:lnTo>
                    <a:pt x="292" y="228"/>
                  </a:lnTo>
                  <a:lnTo>
                    <a:pt x="295" y="228"/>
                  </a:lnTo>
                  <a:lnTo>
                    <a:pt x="306" y="214"/>
                  </a:lnTo>
                  <a:lnTo>
                    <a:pt x="304" y="211"/>
                  </a:lnTo>
                  <a:lnTo>
                    <a:pt x="306" y="206"/>
                  </a:lnTo>
                  <a:lnTo>
                    <a:pt x="304" y="206"/>
                  </a:lnTo>
                  <a:lnTo>
                    <a:pt x="306" y="200"/>
                  </a:lnTo>
                  <a:lnTo>
                    <a:pt x="295" y="209"/>
                  </a:lnTo>
                  <a:lnTo>
                    <a:pt x="272" y="209"/>
                  </a:lnTo>
                  <a:lnTo>
                    <a:pt x="269" y="206"/>
                  </a:lnTo>
                  <a:lnTo>
                    <a:pt x="272" y="200"/>
                  </a:lnTo>
                  <a:lnTo>
                    <a:pt x="286" y="191"/>
                  </a:lnTo>
                  <a:lnTo>
                    <a:pt x="276" y="187"/>
                  </a:lnTo>
                  <a:close/>
                  <a:moveTo>
                    <a:pt x="596" y="172"/>
                  </a:moveTo>
                  <a:lnTo>
                    <a:pt x="595" y="175"/>
                  </a:lnTo>
                  <a:lnTo>
                    <a:pt x="596" y="177"/>
                  </a:lnTo>
                  <a:lnTo>
                    <a:pt x="596" y="172"/>
                  </a:lnTo>
                  <a:close/>
                  <a:moveTo>
                    <a:pt x="618" y="101"/>
                  </a:moveTo>
                  <a:lnTo>
                    <a:pt x="617" y="107"/>
                  </a:lnTo>
                  <a:lnTo>
                    <a:pt x="618" y="105"/>
                  </a:lnTo>
                  <a:lnTo>
                    <a:pt x="618" y="101"/>
                  </a:lnTo>
                  <a:close/>
                  <a:moveTo>
                    <a:pt x="601" y="0"/>
                  </a:moveTo>
                  <a:lnTo>
                    <a:pt x="602" y="0"/>
                  </a:lnTo>
                  <a:lnTo>
                    <a:pt x="608" y="2"/>
                  </a:lnTo>
                  <a:lnTo>
                    <a:pt x="610" y="2"/>
                  </a:lnTo>
                  <a:lnTo>
                    <a:pt x="610" y="3"/>
                  </a:lnTo>
                  <a:lnTo>
                    <a:pt x="608" y="8"/>
                  </a:lnTo>
                  <a:lnTo>
                    <a:pt x="610" y="11"/>
                  </a:lnTo>
                  <a:lnTo>
                    <a:pt x="617" y="8"/>
                  </a:lnTo>
                  <a:lnTo>
                    <a:pt x="618" y="8"/>
                  </a:lnTo>
                  <a:lnTo>
                    <a:pt x="618" y="9"/>
                  </a:lnTo>
                  <a:lnTo>
                    <a:pt x="620" y="18"/>
                  </a:lnTo>
                  <a:lnTo>
                    <a:pt x="627" y="27"/>
                  </a:lnTo>
                  <a:lnTo>
                    <a:pt x="629" y="48"/>
                  </a:lnTo>
                  <a:lnTo>
                    <a:pt x="648" y="74"/>
                  </a:lnTo>
                  <a:lnTo>
                    <a:pt x="644" y="74"/>
                  </a:lnTo>
                  <a:lnTo>
                    <a:pt x="641" y="73"/>
                  </a:lnTo>
                  <a:lnTo>
                    <a:pt x="638" y="73"/>
                  </a:lnTo>
                  <a:lnTo>
                    <a:pt x="642" y="80"/>
                  </a:lnTo>
                  <a:lnTo>
                    <a:pt x="632" y="91"/>
                  </a:lnTo>
                  <a:lnTo>
                    <a:pt x="656" y="97"/>
                  </a:lnTo>
                  <a:lnTo>
                    <a:pt x="657" y="97"/>
                  </a:lnTo>
                  <a:lnTo>
                    <a:pt x="657" y="98"/>
                  </a:lnTo>
                  <a:lnTo>
                    <a:pt x="656" y="104"/>
                  </a:lnTo>
                  <a:lnTo>
                    <a:pt x="656" y="105"/>
                  </a:lnTo>
                  <a:lnTo>
                    <a:pt x="654" y="105"/>
                  </a:lnTo>
                  <a:lnTo>
                    <a:pt x="651" y="104"/>
                  </a:lnTo>
                  <a:lnTo>
                    <a:pt x="661" y="122"/>
                  </a:lnTo>
                  <a:lnTo>
                    <a:pt x="663" y="122"/>
                  </a:lnTo>
                  <a:lnTo>
                    <a:pt x="663" y="123"/>
                  </a:lnTo>
                  <a:lnTo>
                    <a:pt x="660" y="134"/>
                  </a:lnTo>
                  <a:lnTo>
                    <a:pt x="663" y="140"/>
                  </a:lnTo>
                  <a:lnTo>
                    <a:pt x="669" y="126"/>
                  </a:lnTo>
                  <a:lnTo>
                    <a:pt x="669" y="114"/>
                  </a:lnTo>
                  <a:lnTo>
                    <a:pt x="673" y="107"/>
                  </a:lnTo>
                  <a:lnTo>
                    <a:pt x="675" y="107"/>
                  </a:lnTo>
                  <a:lnTo>
                    <a:pt x="676" y="105"/>
                  </a:lnTo>
                  <a:lnTo>
                    <a:pt x="681" y="105"/>
                  </a:lnTo>
                  <a:lnTo>
                    <a:pt x="691" y="120"/>
                  </a:lnTo>
                  <a:lnTo>
                    <a:pt x="696" y="141"/>
                  </a:lnTo>
                  <a:lnTo>
                    <a:pt x="693" y="141"/>
                  </a:lnTo>
                  <a:lnTo>
                    <a:pt x="691" y="142"/>
                  </a:lnTo>
                  <a:lnTo>
                    <a:pt x="690" y="142"/>
                  </a:lnTo>
                  <a:lnTo>
                    <a:pt x="688" y="154"/>
                  </a:lnTo>
                  <a:lnTo>
                    <a:pt x="701" y="177"/>
                  </a:lnTo>
                  <a:lnTo>
                    <a:pt x="712" y="171"/>
                  </a:lnTo>
                  <a:lnTo>
                    <a:pt x="712" y="160"/>
                  </a:lnTo>
                  <a:lnTo>
                    <a:pt x="721" y="140"/>
                  </a:lnTo>
                  <a:lnTo>
                    <a:pt x="722" y="128"/>
                  </a:lnTo>
                  <a:lnTo>
                    <a:pt x="734" y="125"/>
                  </a:lnTo>
                  <a:lnTo>
                    <a:pt x="730" y="122"/>
                  </a:lnTo>
                  <a:lnTo>
                    <a:pt x="730" y="120"/>
                  </a:lnTo>
                  <a:lnTo>
                    <a:pt x="736" y="114"/>
                  </a:lnTo>
                  <a:lnTo>
                    <a:pt x="725" y="105"/>
                  </a:lnTo>
                  <a:lnTo>
                    <a:pt x="725" y="86"/>
                  </a:lnTo>
                  <a:lnTo>
                    <a:pt x="730" y="86"/>
                  </a:lnTo>
                  <a:lnTo>
                    <a:pt x="739" y="88"/>
                  </a:lnTo>
                  <a:lnTo>
                    <a:pt x="750" y="89"/>
                  </a:lnTo>
                  <a:lnTo>
                    <a:pt x="759" y="91"/>
                  </a:lnTo>
                  <a:lnTo>
                    <a:pt x="764" y="91"/>
                  </a:lnTo>
                  <a:lnTo>
                    <a:pt x="765" y="98"/>
                  </a:lnTo>
                  <a:lnTo>
                    <a:pt x="764" y="100"/>
                  </a:lnTo>
                  <a:lnTo>
                    <a:pt x="768" y="107"/>
                  </a:lnTo>
                  <a:lnTo>
                    <a:pt x="781" y="111"/>
                  </a:lnTo>
                  <a:lnTo>
                    <a:pt x="781" y="113"/>
                  </a:lnTo>
                  <a:lnTo>
                    <a:pt x="774" y="120"/>
                  </a:lnTo>
                  <a:lnTo>
                    <a:pt x="781" y="122"/>
                  </a:lnTo>
                  <a:lnTo>
                    <a:pt x="781" y="123"/>
                  </a:lnTo>
                  <a:lnTo>
                    <a:pt x="780" y="131"/>
                  </a:lnTo>
                  <a:lnTo>
                    <a:pt x="773" y="138"/>
                  </a:lnTo>
                  <a:lnTo>
                    <a:pt x="770" y="134"/>
                  </a:lnTo>
                  <a:lnTo>
                    <a:pt x="765" y="135"/>
                  </a:lnTo>
                  <a:lnTo>
                    <a:pt x="768" y="140"/>
                  </a:lnTo>
                  <a:lnTo>
                    <a:pt x="768" y="145"/>
                  </a:lnTo>
                  <a:lnTo>
                    <a:pt x="771" y="144"/>
                  </a:lnTo>
                  <a:lnTo>
                    <a:pt x="773" y="144"/>
                  </a:lnTo>
                  <a:lnTo>
                    <a:pt x="771" y="154"/>
                  </a:lnTo>
                  <a:lnTo>
                    <a:pt x="781" y="168"/>
                  </a:lnTo>
                  <a:lnTo>
                    <a:pt x="781" y="178"/>
                  </a:lnTo>
                  <a:lnTo>
                    <a:pt x="764" y="200"/>
                  </a:lnTo>
                  <a:lnTo>
                    <a:pt x="755" y="206"/>
                  </a:lnTo>
                  <a:lnTo>
                    <a:pt x="753" y="206"/>
                  </a:lnTo>
                  <a:lnTo>
                    <a:pt x="746" y="197"/>
                  </a:lnTo>
                  <a:lnTo>
                    <a:pt x="744" y="200"/>
                  </a:lnTo>
                  <a:lnTo>
                    <a:pt x="749" y="212"/>
                  </a:lnTo>
                  <a:lnTo>
                    <a:pt x="749" y="214"/>
                  </a:lnTo>
                  <a:lnTo>
                    <a:pt x="740" y="208"/>
                  </a:lnTo>
                  <a:lnTo>
                    <a:pt x="740" y="212"/>
                  </a:lnTo>
                  <a:lnTo>
                    <a:pt x="736" y="212"/>
                  </a:lnTo>
                  <a:lnTo>
                    <a:pt x="733" y="211"/>
                  </a:lnTo>
                  <a:lnTo>
                    <a:pt x="730" y="211"/>
                  </a:lnTo>
                  <a:lnTo>
                    <a:pt x="728" y="200"/>
                  </a:lnTo>
                  <a:lnTo>
                    <a:pt x="713" y="200"/>
                  </a:lnTo>
                  <a:lnTo>
                    <a:pt x="712" y="206"/>
                  </a:lnTo>
                  <a:lnTo>
                    <a:pt x="719" y="208"/>
                  </a:lnTo>
                  <a:lnTo>
                    <a:pt x="719" y="215"/>
                  </a:lnTo>
                  <a:lnTo>
                    <a:pt x="703" y="237"/>
                  </a:lnTo>
                  <a:lnTo>
                    <a:pt x="703" y="239"/>
                  </a:lnTo>
                  <a:lnTo>
                    <a:pt x="700" y="239"/>
                  </a:lnTo>
                  <a:lnTo>
                    <a:pt x="697" y="240"/>
                  </a:lnTo>
                  <a:lnTo>
                    <a:pt x="693" y="240"/>
                  </a:lnTo>
                  <a:lnTo>
                    <a:pt x="707" y="242"/>
                  </a:lnTo>
                  <a:lnTo>
                    <a:pt x="709" y="242"/>
                  </a:lnTo>
                  <a:lnTo>
                    <a:pt x="709" y="243"/>
                  </a:lnTo>
                  <a:lnTo>
                    <a:pt x="693" y="274"/>
                  </a:lnTo>
                  <a:lnTo>
                    <a:pt x="693" y="276"/>
                  </a:lnTo>
                  <a:lnTo>
                    <a:pt x="679" y="280"/>
                  </a:lnTo>
                  <a:lnTo>
                    <a:pt x="678" y="280"/>
                  </a:lnTo>
                  <a:lnTo>
                    <a:pt x="670" y="277"/>
                  </a:lnTo>
                  <a:lnTo>
                    <a:pt x="670" y="282"/>
                  </a:lnTo>
                  <a:lnTo>
                    <a:pt x="667" y="282"/>
                  </a:lnTo>
                  <a:lnTo>
                    <a:pt x="667" y="289"/>
                  </a:lnTo>
                  <a:lnTo>
                    <a:pt x="666" y="289"/>
                  </a:lnTo>
                  <a:lnTo>
                    <a:pt x="660" y="295"/>
                  </a:lnTo>
                  <a:lnTo>
                    <a:pt x="658" y="295"/>
                  </a:lnTo>
                  <a:lnTo>
                    <a:pt x="647" y="286"/>
                  </a:lnTo>
                  <a:lnTo>
                    <a:pt x="639" y="288"/>
                  </a:lnTo>
                  <a:lnTo>
                    <a:pt x="623" y="279"/>
                  </a:lnTo>
                  <a:lnTo>
                    <a:pt x="621" y="282"/>
                  </a:lnTo>
                  <a:lnTo>
                    <a:pt x="623" y="283"/>
                  </a:lnTo>
                  <a:lnTo>
                    <a:pt x="623" y="280"/>
                  </a:lnTo>
                  <a:lnTo>
                    <a:pt x="624" y="280"/>
                  </a:lnTo>
                  <a:lnTo>
                    <a:pt x="639" y="289"/>
                  </a:lnTo>
                  <a:lnTo>
                    <a:pt x="639" y="291"/>
                  </a:lnTo>
                  <a:lnTo>
                    <a:pt x="644" y="288"/>
                  </a:lnTo>
                  <a:lnTo>
                    <a:pt x="656" y="294"/>
                  </a:lnTo>
                  <a:lnTo>
                    <a:pt x="657" y="295"/>
                  </a:lnTo>
                  <a:lnTo>
                    <a:pt x="660" y="309"/>
                  </a:lnTo>
                  <a:lnTo>
                    <a:pt x="660" y="310"/>
                  </a:lnTo>
                  <a:lnTo>
                    <a:pt x="658" y="310"/>
                  </a:lnTo>
                  <a:lnTo>
                    <a:pt x="648" y="314"/>
                  </a:lnTo>
                  <a:lnTo>
                    <a:pt x="636" y="314"/>
                  </a:lnTo>
                  <a:lnTo>
                    <a:pt x="638" y="319"/>
                  </a:lnTo>
                  <a:lnTo>
                    <a:pt x="642" y="320"/>
                  </a:lnTo>
                  <a:lnTo>
                    <a:pt x="642" y="322"/>
                  </a:lnTo>
                  <a:lnTo>
                    <a:pt x="633" y="322"/>
                  </a:lnTo>
                  <a:lnTo>
                    <a:pt x="633" y="337"/>
                  </a:lnTo>
                  <a:lnTo>
                    <a:pt x="629" y="334"/>
                  </a:lnTo>
                  <a:lnTo>
                    <a:pt x="624" y="340"/>
                  </a:lnTo>
                  <a:lnTo>
                    <a:pt x="623" y="340"/>
                  </a:lnTo>
                  <a:lnTo>
                    <a:pt x="624" y="343"/>
                  </a:lnTo>
                  <a:lnTo>
                    <a:pt x="621" y="349"/>
                  </a:lnTo>
                  <a:lnTo>
                    <a:pt x="608" y="355"/>
                  </a:lnTo>
                  <a:lnTo>
                    <a:pt x="613" y="360"/>
                  </a:lnTo>
                  <a:lnTo>
                    <a:pt x="605" y="380"/>
                  </a:lnTo>
                  <a:lnTo>
                    <a:pt x="605" y="412"/>
                  </a:lnTo>
                  <a:lnTo>
                    <a:pt x="604" y="415"/>
                  </a:lnTo>
                  <a:lnTo>
                    <a:pt x="610" y="421"/>
                  </a:lnTo>
                  <a:lnTo>
                    <a:pt x="611" y="427"/>
                  </a:lnTo>
                  <a:lnTo>
                    <a:pt x="613" y="423"/>
                  </a:lnTo>
                  <a:lnTo>
                    <a:pt x="613" y="421"/>
                  </a:lnTo>
                  <a:lnTo>
                    <a:pt x="614" y="421"/>
                  </a:lnTo>
                  <a:lnTo>
                    <a:pt x="615" y="423"/>
                  </a:lnTo>
                  <a:lnTo>
                    <a:pt x="621" y="423"/>
                  </a:lnTo>
                  <a:lnTo>
                    <a:pt x="623" y="424"/>
                  </a:lnTo>
                  <a:lnTo>
                    <a:pt x="626" y="424"/>
                  </a:lnTo>
                  <a:lnTo>
                    <a:pt x="636" y="455"/>
                  </a:lnTo>
                  <a:lnTo>
                    <a:pt x="636" y="463"/>
                  </a:lnTo>
                  <a:lnTo>
                    <a:pt x="633" y="466"/>
                  </a:lnTo>
                  <a:lnTo>
                    <a:pt x="653" y="458"/>
                  </a:lnTo>
                  <a:lnTo>
                    <a:pt x="678" y="470"/>
                  </a:lnTo>
                  <a:lnTo>
                    <a:pt x="691" y="479"/>
                  </a:lnTo>
                  <a:lnTo>
                    <a:pt x="698" y="491"/>
                  </a:lnTo>
                  <a:lnTo>
                    <a:pt x="721" y="497"/>
                  </a:lnTo>
                  <a:lnTo>
                    <a:pt x="728" y="504"/>
                  </a:lnTo>
                  <a:lnTo>
                    <a:pt x="728" y="506"/>
                  </a:lnTo>
                  <a:lnTo>
                    <a:pt x="733" y="506"/>
                  </a:lnTo>
                  <a:lnTo>
                    <a:pt x="764" y="510"/>
                  </a:lnTo>
                  <a:lnTo>
                    <a:pt x="768" y="510"/>
                  </a:lnTo>
                  <a:lnTo>
                    <a:pt x="767" y="532"/>
                  </a:lnTo>
                  <a:lnTo>
                    <a:pt x="770" y="552"/>
                  </a:lnTo>
                  <a:lnTo>
                    <a:pt x="768" y="558"/>
                  </a:lnTo>
                  <a:lnTo>
                    <a:pt x="780" y="571"/>
                  </a:lnTo>
                  <a:lnTo>
                    <a:pt x="780" y="572"/>
                  </a:lnTo>
                  <a:lnTo>
                    <a:pt x="779" y="572"/>
                  </a:lnTo>
                  <a:lnTo>
                    <a:pt x="773" y="577"/>
                  </a:lnTo>
                  <a:lnTo>
                    <a:pt x="783" y="577"/>
                  </a:lnTo>
                  <a:lnTo>
                    <a:pt x="789" y="583"/>
                  </a:lnTo>
                  <a:lnTo>
                    <a:pt x="790" y="590"/>
                  </a:lnTo>
                  <a:lnTo>
                    <a:pt x="790" y="592"/>
                  </a:lnTo>
                  <a:lnTo>
                    <a:pt x="786" y="596"/>
                  </a:lnTo>
                  <a:lnTo>
                    <a:pt x="792" y="592"/>
                  </a:lnTo>
                  <a:lnTo>
                    <a:pt x="793" y="592"/>
                  </a:lnTo>
                  <a:lnTo>
                    <a:pt x="801" y="596"/>
                  </a:lnTo>
                  <a:lnTo>
                    <a:pt x="801" y="590"/>
                  </a:lnTo>
                  <a:lnTo>
                    <a:pt x="802" y="590"/>
                  </a:lnTo>
                  <a:lnTo>
                    <a:pt x="805" y="589"/>
                  </a:lnTo>
                  <a:lnTo>
                    <a:pt x="813" y="593"/>
                  </a:lnTo>
                  <a:lnTo>
                    <a:pt x="814" y="589"/>
                  </a:lnTo>
                  <a:lnTo>
                    <a:pt x="810" y="583"/>
                  </a:lnTo>
                  <a:lnTo>
                    <a:pt x="810" y="581"/>
                  </a:lnTo>
                  <a:lnTo>
                    <a:pt x="819" y="574"/>
                  </a:lnTo>
                  <a:lnTo>
                    <a:pt x="814" y="568"/>
                  </a:lnTo>
                  <a:lnTo>
                    <a:pt x="811" y="537"/>
                  </a:lnTo>
                  <a:lnTo>
                    <a:pt x="802" y="524"/>
                  </a:lnTo>
                  <a:lnTo>
                    <a:pt x="827" y="504"/>
                  </a:lnTo>
                  <a:lnTo>
                    <a:pt x="839" y="485"/>
                  </a:lnTo>
                  <a:lnTo>
                    <a:pt x="841" y="485"/>
                  </a:lnTo>
                  <a:lnTo>
                    <a:pt x="847" y="483"/>
                  </a:lnTo>
                  <a:lnTo>
                    <a:pt x="844" y="478"/>
                  </a:lnTo>
                  <a:lnTo>
                    <a:pt x="841" y="483"/>
                  </a:lnTo>
                  <a:lnTo>
                    <a:pt x="839" y="483"/>
                  </a:lnTo>
                  <a:lnTo>
                    <a:pt x="838" y="467"/>
                  </a:lnTo>
                  <a:lnTo>
                    <a:pt x="829" y="435"/>
                  </a:lnTo>
                  <a:lnTo>
                    <a:pt x="813" y="423"/>
                  </a:lnTo>
                  <a:lnTo>
                    <a:pt x="813" y="415"/>
                  </a:lnTo>
                  <a:lnTo>
                    <a:pt x="814" y="414"/>
                  </a:lnTo>
                  <a:lnTo>
                    <a:pt x="827" y="409"/>
                  </a:lnTo>
                  <a:lnTo>
                    <a:pt x="827" y="400"/>
                  </a:lnTo>
                  <a:lnTo>
                    <a:pt x="830" y="400"/>
                  </a:lnTo>
                  <a:lnTo>
                    <a:pt x="830" y="399"/>
                  </a:lnTo>
                  <a:lnTo>
                    <a:pt x="833" y="393"/>
                  </a:lnTo>
                  <a:lnTo>
                    <a:pt x="827" y="393"/>
                  </a:lnTo>
                  <a:lnTo>
                    <a:pt x="827" y="392"/>
                  </a:lnTo>
                  <a:lnTo>
                    <a:pt x="829" y="387"/>
                  </a:lnTo>
                  <a:lnTo>
                    <a:pt x="826" y="380"/>
                  </a:lnTo>
                  <a:lnTo>
                    <a:pt x="824" y="374"/>
                  </a:lnTo>
                  <a:lnTo>
                    <a:pt x="824" y="372"/>
                  </a:lnTo>
                  <a:lnTo>
                    <a:pt x="827" y="372"/>
                  </a:lnTo>
                  <a:lnTo>
                    <a:pt x="822" y="371"/>
                  </a:lnTo>
                  <a:lnTo>
                    <a:pt x="822" y="369"/>
                  </a:lnTo>
                  <a:lnTo>
                    <a:pt x="830" y="346"/>
                  </a:lnTo>
                  <a:lnTo>
                    <a:pt x="822" y="344"/>
                  </a:lnTo>
                  <a:lnTo>
                    <a:pt x="822" y="343"/>
                  </a:lnTo>
                  <a:lnTo>
                    <a:pt x="820" y="331"/>
                  </a:lnTo>
                  <a:lnTo>
                    <a:pt x="820" y="329"/>
                  </a:lnTo>
                  <a:lnTo>
                    <a:pt x="829" y="320"/>
                  </a:lnTo>
                  <a:lnTo>
                    <a:pt x="830" y="320"/>
                  </a:lnTo>
                  <a:lnTo>
                    <a:pt x="862" y="332"/>
                  </a:lnTo>
                  <a:lnTo>
                    <a:pt x="878" y="323"/>
                  </a:lnTo>
                  <a:lnTo>
                    <a:pt x="894" y="332"/>
                  </a:lnTo>
                  <a:lnTo>
                    <a:pt x="894" y="334"/>
                  </a:lnTo>
                  <a:lnTo>
                    <a:pt x="893" y="341"/>
                  </a:lnTo>
                  <a:lnTo>
                    <a:pt x="899" y="340"/>
                  </a:lnTo>
                  <a:lnTo>
                    <a:pt x="902" y="347"/>
                  </a:lnTo>
                  <a:lnTo>
                    <a:pt x="900" y="349"/>
                  </a:lnTo>
                  <a:lnTo>
                    <a:pt x="909" y="349"/>
                  </a:lnTo>
                  <a:lnTo>
                    <a:pt x="909" y="350"/>
                  </a:lnTo>
                  <a:lnTo>
                    <a:pt x="905" y="353"/>
                  </a:lnTo>
                  <a:lnTo>
                    <a:pt x="907" y="360"/>
                  </a:lnTo>
                  <a:lnTo>
                    <a:pt x="924" y="362"/>
                  </a:lnTo>
                  <a:lnTo>
                    <a:pt x="925" y="362"/>
                  </a:lnTo>
                  <a:lnTo>
                    <a:pt x="927" y="368"/>
                  </a:lnTo>
                  <a:lnTo>
                    <a:pt x="933" y="362"/>
                  </a:lnTo>
                  <a:lnTo>
                    <a:pt x="934" y="362"/>
                  </a:lnTo>
                  <a:lnTo>
                    <a:pt x="937" y="366"/>
                  </a:lnTo>
                  <a:lnTo>
                    <a:pt x="933" y="378"/>
                  </a:lnTo>
                  <a:lnTo>
                    <a:pt x="937" y="389"/>
                  </a:lnTo>
                  <a:lnTo>
                    <a:pt x="937" y="390"/>
                  </a:lnTo>
                  <a:lnTo>
                    <a:pt x="919" y="390"/>
                  </a:lnTo>
                  <a:lnTo>
                    <a:pt x="933" y="393"/>
                  </a:lnTo>
                  <a:lnTo>
                    <a:pt x="934" y="393"/>
                  </a:lnTo>
                  <a:lnTo>
                    <a:pt x="937" y="400"/>
                  </a:lnTo>
                  <a:lnTo>
                    <a:pt x="934" y="408"/>
                  </a:lnTo>
                  <a:lnTo>
                    <a:pt x="939" y="408"/>
                  </a:lnTo>
                  <a:lnTo>
                    <a:pt x="939" y="409"/>
                  </a:lnTo>
                  <a:lnTo>
                    <a:pt x="936" y="412"/>
                  </a:lnTo>
                  <a:lnTo>
                    <a:pt x="939" y="417"/>
                  </a:lnTo>
                  <a:lnTo>
                    <a:pt x="939" y="418"/>
                  </a:lnTo>
                  <a:lnTo>
                    <a:pt x="933" y="421"/>
                  </a:lnTo>
                  <a:lnTo>
                    <a:pt x="930" y="420"/>
                  </a:lnTo>
                  <a:lnTo>
                    <a:pt x="930" y="423"/>
                  </a:lnTo>
                  <a:lnTo>
                    <a:pt x="948" y="420"/>
                  </a:lnTo>
                  <a:lnTo>
                    <a:pt x="949" y="420"/>
                  </a:lnTo>
                  <a:lnTo>
                    <a:pt x="952" y="430"/>
                  </a:lnTo>
                  <a:lnTo>
                    <a:pt x="952" y="435"/>
                  </a:lnTo>
                  <a:lnTo>
                    <a:pt x="955" y="426"/>
                  </a:lnTo>
                  <a:lnTo>
                    <a:pt x="956" y="426"/>
                  </a:lnTo>
                  <a:lnTo>
                    <a:pt x="956" y="430"/>
                  </a:lnTo>
                  <a:lnTo>
                    <a:pt x="958" y="430"/>
                  </a:lnTo>
                  <a:lnTo>
                    <a:pt x="958" y="432"/>
                  </a:lnTo>
                  <a:lnTo>
                    <a:pt x="959" y="438"/>
                  </a:lnTo>
                  <a:lnTo>
                    <a:pt x="971" y="429"/>
                  </a:lnTo>
                  <a:lnTo>
                    <a:pt x="974" y="420"/>
                  </a:lnTo>
                  <a:lnTo>
                    <a:pt x="976" y="420"/>
                  </a:lnTo>
                  <a:lnTo>
                    <a:pt x="980" y="424"/>
                  </a:lnTo>
                  <a:lnTo>
                    <a:pt x="980" y="429"/>
                  </a:lnTo>
                  <a:lnTo>
                    <a:pt x="983" y="426"/>
                  </a:lnTo>
                  <a:lnTo>
                    <a:pt x="979" y="420"/>
                  </a:lnTo>
                  <a:lnTo>
                    <a:pt x="979" y="418"/>
                  </a:lnTo>
                  <a:lnTo>
                    <a:pt x="983" y="418"/>
                  </a:lnTo>
                  <a:lnTo>
                    <a:pt x="985" y="412"/>
                  </a:lnTo>
                  <a:lnTo>
                    <a:pt x="985" y="408"/>
                  </a:lnTo>
                  <a:lnTo>
                    <a:pt x="989" y="405"/>
                  </a:lnTo>
                  <a:lnTo>
                    <a:pt x="986" y="399"/>
                  </a:lnTo>
                  <a:lnTo>
                    <a:pt x="986" y="398"/>
                  </a:lnTo>
                  <a:lnTo>
                    <a:pt x="995" y="383"/>
                  </a:lnTo>
                  <a:lnTo>
                    <a:pt x="1001" y="383"/>
                  </a:lnTo>
                  <a:lnTo>
                    <a:pt x="1004" y="390"/>
                  </a:lnTo>
                  <a:lnTo>
                    <a:pt x="1002" y="393"/>
                  </a:lnTo>
                  <a:lnTo>
                    <a:pt x="1004" y="393"/>
                  </a:lnTo>
                  <a:lnTo>
                    <a:pt x="1004" y="395"/>
                  </a:lnTo>
                  <a:lnTo>
                    <a:pt x="1007" y="402"/>
                  </a:lnTo>
                  <a:lnTo>
                    <a:pt x="1011" y="402"/>
                  </a:lnTo>
                  <a:lnTo>
                    <a:pt x="1011" y="403"/>
                  </a:lnTo>
                  <a:lnTo>
                    <a:pt x="1008" y="406"/>
                  </a:lnTo>
                  <a:lnTo>
                    <a:pt x="1016" y="411"/>
                  </a:lnTo>
                  <a:lnTo>
                    <a:pt x="1017" y="411"/>
                  </a:lnTo>
                  <a:lnTo>
                    <a:pt x="1016" y="412"/>
                  </a:lnTo>
                  <a:lnTo>
                    <a:pt x="1008" y="417"/>
                  </a:lnTo>
                  <a:lnTo>
                    <a:pt x="1010" y="417"/>
                  </a:lnTo>
                  <a:lnTo>
                    <a:pt x="1011" y="415"/>
                  </a:lnTo>
                  <a:lnTo>
                    <a:pt x="1014" y="415"/>
                  </a:lnTo>
                  <a:lnTo>
                    <a:pt x="1016" y="414"/>
                  </a:lnTo>
                  <a:lnTo>
                    <a:pt x="1019" y="414"/>
                  </a:lnTo>
                  <a:lnTo>
                    <a:pt x="1019" y="415"/>
                  </a:lnTo>
                  <a:lnTo>
                    <a:pt x="1017" y="421"/>
                  </a:lnTo>
                  <a:lnTo>
                    <a:pt x="1023" y="426"/>
                  </a:lnTo>
                  <a:lnTo>
                    <a:pt x="1023" y="427"/>
                  </a:lnTo>
                  <a:lnTo>
                    <a:pt x="1016" y="430"/>
                  </a:lnTo>
                  <a:lnTo>
                    <a:pt x="1026" y="432"/>
                  </a:lnTo>
                  <a:lnTo>
                    <a:pt x="1028" y="432"/>
                  </a:lnTo>
                  <a:lnTo>
                    <a:pt x="1028" y="433"/>
                  </a:lnTo>
                  <a:lnTo>
                    <a:pt x="1020" y="439"/>
                  </a:lnTo>
                  <a:lnTo>
                    <a:pt x="1026" y="438"/>
                  </a:lnTo>
                  <a:lnTo>
                    <a:pt x="1028" y="438"/>
                  </a:lnTo>
                  <a:lnTo>
                    <a:pt x="1029" y="440"/>
                  </a:lnTo>
                  <a:lnTo>
                    <a:pt x="1029" y="442"/>
                  </a:lnTo>
                  <a:lnTo>
                    <a:pt x="1028" y="443"/>
                  </a:lnTo>
                  <a:lnTo>
                    <a:pt x="1031" y="443"/>
                  </a:lnTo>
                  <a:lnTo>
                    <a:pt x="1036" y="451"/>
                  </a:lnTo>
                  <a:lnTo>
                    <a:pt x="1036" y="452"/>
                  </a:lnTo>
                  <a:lnTo>
                    <a:pt x="1031" y="455"/>
                  </a:lnTo>
                  <a:lnTo>
                    <a:pt x="1035" y="455"/>
                  </a:lnTo>
                  <a:lnTo>
                    <a:pt x="1041" y="466"/>
                  </a:lnTo>
                  <a:lnTo>
                    <a:pt x="1036" y="472"/>
                  </a:lnTo>
                  <a:lnTo>
                    <a:pt x="1038" y="473"/>
                  </a:lnTo>
                  <a:lnTo>
                    <a:pt x="1038" y="475"/>
                  </a:lnTo>
                  <a:lnTo>
                    <a:pt x="1036" y="475"/>
                  </a:lnTo>
                  <a:lnTo>
                    <a:pt x="1032" y="473"/>
                  </a:lnTo>
                  <a:lnTo>
                    <a:pt x="1031" y="473"/>
                  </a:lnTo>
                  <a:lnTo>
                    <a:pt x="1026" y="475"/>
                  </a:lnTo>
                  <a:lnTo>
                    <a:pt x="1036" y="476"/>
                  </a:lnTo>
                  <a:lnTo>
                    <a:pt x="1035" y="479"/>
                  </a:lnTo>
                  <a:lnTo>
                    <a:pt x="1038" y="482"/>
                  </a:lnTo>
                  <a:lnTo>
                    <a:pt x="1038" y="483"/>
                  </a:lnTo>
                  <a:lnTo>
                    <a:pt x="1036" y="485"/>
                  </a:lnTo>
                  <a:lnTo>
                    <a:pt x="1038" y="485"/>
                  </a:lnTo>
                  <a:lnTo>
                    <a:pt x="1039" y="483"/>
                  </a:lnTo>
                  <a:lnTo>
                    <a:pt x="1042" y="483"/>
                  </a:lnTo>
                  <a:lnTo>
                    <a:pt x="1042" y="485"/>
                  </a:lnTo>
                  <a:lnTo>
                    <a:pt x="1044" y="491"/>
                  </a:lnTo>
                  <a:lnTo>
                    <a:pt x="1056" y="494"/>
                  </a:lnTo>
                  <a:lnTo>
                    <a:pt x="1056" y="495"/>
                  </a:lnTo>
                  <a:lnTo>
                    <a:pt x="1057" y="503"/>
                  </a:lnTo>
                  <a:lnTo>
                    <a:pt x="1054" y="506"/>
                  </a:lnTo>
                  <a:lnTo>
                    <a:pt x="1057" y="506"/>
                  </a:lnTo>
                  <a:lnTo>
                    <a:pt x="1060" y="504"/>
                  </a:lnTo>
                  <a:lnTo>
                    <a:pt x="1065" y="504"/>
                  </a:lnTo>
                  <a:lnTo>
                    <a:pt x="1066" y="507"/>
                  </a:lnTo>
                  <a:lnTo>
                    <a:pt x="1066" y="512"/>
                  </a:lnTo>
                  <a:lnTo>
                    <a:pt x="1069" y="507"/>
                  </a:lnTo>
                  <a:lnTo>
                    <a:pt x="1071" y="507"/>
                  </a:lnTo>
                  <a:lnTo>
                    <a:pt x="1076" y="516"/>
                  </a:lnTo>
                  <a:lnTo>
                    <a:pt x="1081" y="518"/>
                  </a:lnTo>
                  <a:lnTo>
                    <a:pt x="1085" y="513"/>
                  </a:lnTo>
                  <a:lnTo>
                    <a:pt x="1094" y="522"/>
                  </a:lnTo>
                  <a:lnTo>
                    <a:pt x="1094" y="524"/>
                  </a:lnTo>
                  <a:lnTo>
                    <a:pt x="1093" y="524"/>
                  </a:lnTo>
                  <a:lnTo>
                    <a:pt x="1075" y="531"/>
                  </a:lnTo>
                  <a:lnTo>
                    <a:pt x="1076" y="531"/>
                  </a:lnTo>
                  <a:lnTo>
                    <a:pt x="1078" y="532"/>
                  </a:lnTo>
                  <a:lnTo>
                    <a:pt x="1076" y="532"/>
                  </a:lnTo>
                  <a:lnTo>
                    <a:pt x="1062" y="538"/>
                  </a:lnTo>
                  <a:lnTo>
                    <a:pt x="1059" y="544"/>
                  </a:lnTo>
                  <a:lnTo>
                    <a:pt x="1057" y="544"/>
                  </a:lnTo>
                  <a:lnTo>
                    <a:pt x="1048" y="540"/>
                  </a:lnTo>
                  <a:lnTo>
                    <a:pt x="1047" y="541"/>
                  </a:lnTo>
                  <a:lnTo>
                    <a:pt x="1056" y="544"/>
                  </a:lnTo>
                  <a:lnTo>
                    <a:pt x="1057" y="546"/>
                  </a:lnTo>
                  <a:lnTo>
                    <a:pt x="1056" y="550"/>
                  </a:lnTo>
                  <a:lnTo>
                    <a:pt x="1076" y="534"/>
                  </a:lnTo>
                  <a:lnTo>
                    <a:pt x="1085" y="532"/>
                  </a:lnTo>
                  <a:lnTo>
                    <a:pt x="1084" y="532"/>
                  </a:lnTo>
                  <a:lnTo>
                    <a:pt x="1084" y="531"/>
                  </a:lnTo>
                  <a:lnTo>
                    <a:pt x="1096" y="531"/>
                  </a:lnTo>
                  <a:lnTo>
                    <a:pt x="1096" y="546"/>
                  </a:lnTo>
                  <a:lnTo>
                    <a:pt x="1099" y="540"/>
                  </a:lnTo>
                  <a:lnTo>
                    <a:pt x="1099" y="538"/>
                  </a:lnTo>
                  <a:lnTo>
                    <a:pt x="1100" y="538"/>
                  </a:lnTo>
                  <a:lnTo>
                    <a:pt x="1114" y="544"/>
                  </a:lnTo>
                  <a:lnTo>
                    <a:pt x="1114" y="546"/>
                  </a:lnTo>
                  <a:lnTo>
                    <a:pt x="1112" y="546"/>
                  </a:lnTo>
                  <a:lnTo>
                    <a:pt x="1116" y="553"/>
                  </a:lnTo>
                  <a:lnTo>
                    <a:pt x="1109" y="553"/>
                  </a:lnTo>
                  <a:lnTo>
                    <a:pt x="1114" y="556"/>
                  </a:lnTo>
                  <a:lnTo>
                    <a:pt x="1116" y="565"/>
                  </a:lnTo>
                  <a:lnTo>
                    <a:pt x="1115" y="565"/>
                  </a:lnTo>
                  <a:lnTo>
                    <a:pt x="1114" y="567"/>
                  </a:lnTo>
                  <a:lnTo>
                    <a:pt x="1116" y="571"/>
                  </a:lnTo>
                  <a:lnTo>
                    <a:pt x="1114" y="571"/>
                  </a:lnTo>
                  <a:lnTo>
                    <a:pt x="1116" y="574"/>
                  </a:lnTo>
                  <a:lnTo>
                    <a:pt x="1116" y="575"/>
                  </a:lnTo>
                  <a:lnTo>
                    <a:pt x="1105" y="589"/>
                  </a:lnTo>
                  <a:lnTo>
                    <a:pt x="1081" y="593"/>
                  </a:lnTo>
                  <a:lnTo>
                    <a:pt x="1060" y="615"/>
                  </a:lnTo>
                  <a:lnTo>
                    <a:pt x="1059" y="615"/>
                  </a:lnTo>
                  <a:lnTo>
                    <a:pt x="1057" y="614"/>
                  </a:lnTo>
                  <a:lnTo>
                    <a:pt x="1056" y="614"/>
                  </a:lnTo>
                  <a:lnTo>
                    <a:pt x="1056" y="612"/>
                  </a:lnTo>
                  <a:lnTo>
                    <a:pt x="1039" y="618"/>
                  </a:lnTo>
                  <a:lnTo>
                    <a:pt x="1038" y="618"/>
                  </a:lnTo>
                  <a:lnTo>
                    <a:pt x="1031" y="615"/>
                  </a:lnTo>
                  <a:lnTo>
                    <a:pt x="977" y="615"/>
                  </a:lnTo>
                  <a:lnTo>
                    <a:pt x="971" y="621"/>
                  </a:lnTo>
                  <a:lnTo>
                    <a:pt x="965" y="633"/>
                  </a:lnTo>
                  <a:lnTo>
                    <a:pt x="964" y="633"/>
                  </a:lnTo>
                  <a:lnTo>
                    <a:pt x="955" y="635"/>
                  </a:lnTo>
                  <a:lnTo>
                    <a:pt x="945" y="644"/>
                  </a:lnTo>
                  <a:lnTo>
                    <a:pt x="937" y="654"/>
                  </a:lnTo>
                  <a:lnTo>
                    <a:pt x="933" y="657"/>
                  </a:lnTo>
                  <a:lnTo>
                    <a:pt x="925" y="670"/>
                  </a:lnTo>
                  <a:lnTo>
                    <a:pt x="918" y="679"/>
                  </a:lnTo>
                  <a:lnTo>
                    <a:pt x="919" y="678"/>
                  </a:lnTo>
                  <a:lnTo>
                    <a:pt x="934" y="660"/>
                  </a:lnTo>
                  <a:lnTo>
                    <a:pt x="949" y="647"/>
                  </a:lnTo>
                  <a:lnTo>
                    <a:pt x="973" y="636"/>
                  </a:lnTo>
                  <a:lnTo>
                    <a:pt x="993" y="635"/>
                  </a:lnTo>
                  <a:lnTo>
                    <a:pt x="1004" y="639"/>
                  </a:lnTo>
                  <a:lnTo>
                    <a:pt x="1004" y="650"/>
                  </a:lnTo>
                  <a:lnTo>
                    <a:pt x="992" y="658"/>
                  </a:lnTo>
                  <a:lnTo>
                    <a:pt x="990" y="658"/>
                  </a:lnTo>
                  <a:lnTo>
                    <a:pt x="983" y="657"/>
                  </a:lnTo>
                  <a:lnTo>
                    <a:pt x="977" y="658"/>
                  </a:lnTo>
                  <a:lnTo>
                    <a:pt x="985" y="660"/>
                  </a:lnTo>
                  <a:lnTo>
                    <a:pt x="986" y="664"/>
                  </a:lnTo>
                  <a:lnTo>
                    <a:pt x="993" y="661"/>
                  </a:lnTo>
                  <a:lnTo>
                    <a:pt x="998" y="663"/>
                  </a:lnTo>
                  <a:lnTo>
                    <a:pt x="998" y="664"/>
                  </a:lnTo>
                  <a:lnTo>
                    <a:pt x="992" y="676"/>
                  </a:lnTo>
                  <a:lnTo>
                    <a:pt x="998" y="676"/>
                  </a:lnTo>
                  <a:lnTo>
                    <a:pt x="998" y="688"/>
                  </a:lnTo>
                  <a:lnTo>
                    <a:pt x="1001" y="691"/>
                  </a:lnTo>
                  <a:lnTo>
                    <a:pt x="1011" y="696"/>
                  </a:lnTo>
                  <a:lnTo>
                    <a:pt x="1011" y="697"/>
                  </a:lnTo>
                  <a:lnTo>
                    <a:pt x="1010" y="697"/>
                  </a:lnTo>
                  <a:lnTo>
                    <a:pt x="1025" y="703"/>
                  </a:lnTo>
                  <a:lnTo>
                    <a:pt x="1033" y="700"/>
                  </a:lnTo>
                  <a:lnTo>
                    <a:pt x="1033" y="698"/>
                  </a:lnTo>
                  <a:lnTo>
                    <a:pt x="1035" y="698"/>
                  </a:lnTo>
                  <a:lnTo>
                    <a:pt x="1035" y="700"/>
                  </a:lnTo>
                  <a:lnTo>
                    <a:pt x="1036" y="703"/>
                  </a:lnTo>
                  <a:lnTo>
                    <a:pt x="1042" y="704"/>
                  </a:lnTo>
                  <a:lnTo>
                    <a:pt x="1044" y="704"/>
                  </a:lnTo>
                  <a:lnTo>
                    <a:pt x="1044" y="706"/>
                  </a:lnTo>
                  <a:lnTo>
                    <a:pt x="1042" y="709"/>
                  </a:lnTo>
                  <a:lnTo>
                    <a:pt x="1047" y="710"/>
                  </a:lnTo>
                  <a:lnTo>
                    <a:pt x="1048" y="710"/>
                  </a:lnTo>
                  <a:lnTo>
                    <a:pt x="1047" y="712"/>
                  </a:lnTo>
                  <a:lnTo>
                    <a:pt x="1023" y="721"/>
                  </a:lnTo>
                  <a:lnTo>
                    <a:pt x="1014" y="722"/>
                  </a:lnTo>
                  <a:lnTo>
                    <a:pt x="1014" y="725"/>
                  </a:lnTo>
                  <a:lnTo>
                    <a:pt x="1007" y="725"/>
                  </a:lnTo>
                  <a:lnTo>
                    <a:pt x="1004" y="730"/>
                  </a:lnTo>
                  <a:lnTo>
                    <a:pt x="990" y="744"/>
                  </a:lnTo>
                  <a:lnTo>
                    <a:pt x="989" y="744"/>
                  </a:lnTo>
                  <a:lnTo>
                    <a:pt x="980" y="738"/>
                  </a:lnTo>
                  <a:lnTo>
                    <a:pt x="980" y="737"/>
                  </a:lnTo>
                  <a:lnTo>
                    <a:pt x="979" y="731"/>
                  </a:lnTo>
                  <a:lnTo>
                    <a:pt x="982" y="725"/>
                  </a:lnTo>
                  <a:lnTo>
                    <a:pt x="979" y="725"/>
                  </a:lnTo>
                  <a:lnTo>
                    <a:pt x="979" y="724"/>
                  </a:lnTo>
                  <a:lnTo>
                    <a:pt x="980" y="724"/>
                  </a:lnTo>
                  <a:lnTo>
                    <a:pt x="1001" y="710"/>
                  </a:lnTo>
                  <a:lnTo>
                    <a:pt x="996" y="710"/>
                  </a:lnTo>
                  <a:lnTo>
                    <a:pt x="996" y="707"/>
                  </a:lnTo>
                  <a:lnTo>
                    <a:pt x="1002" y="700"/>
                  </a:lnTo>
                  <a:lnTo>
                    <a:pt x="1001" y="700"/>
                  </a:lnTo>
                  <a:lnTo>
                    <a:pt x="986" y="712"/>
                  </a:lnTo>
                  <a:lnTo>
                    <a:pt x="967" y="713"/>
                  </a:lnTo>
                  <a:lnTo>
                    <a:pt x="961" y="713"/>
                  </a:lnTo>
                  <a:lnTo>
                    <a:pt x="961" y="712"/>
                  </a:lnTo>
                  <a:lnTo>
                    <a:pt x="959" y="706"/>
                  </a:lnTo>
                  <a:lnTo>
                    <a:pt x="958" y="704"/>
                  </a:lnTo>
                  <a:lnTo>
                    <a:pt x="956" y="704"/>
                  </a:lnTo>
                  <a:lnTo>
                    <a:pt x="956" y="679"/>
                  </a:lnTo>
                  <a:lnTo>
                    <a:pt x="950" y="673"/>
                  </a:lnTo>
                  <a:lnTo>
                    <a:pt x="945" y="676"/>
                  </a:lnTo>
                  <a:lnTo>
                    <a:pt x="943" y="676"/>
                  </a:lnTo>
                  <a:lnTo>
                    <a:pt x="937" y="672"/>
                  </a:lnTo>
                  <a:lnTo>
                    <a:pt x="928" y="684"/>
                  </a:lnTo>
                  <a:lnTo>
                    <a:pt x="921" y="710"/>
                  </a:lnTo>
                  <a:lnTo>
                    <a:pt x="921" y="712"/>
                  </a:lnTo>
                  <a:lnTo>
                    <a:pt x="910" y="712"/>
                  </a:lnTo>
                  <a:lnTo>
                    <a:pt x="909" y="718"/>
                  </a:lnTo>
                  <a:lnTo>
                    <a:pt x="863" y="718"/>
                  </a:lnTo>
                  <a:lnTo>
                    <a:pt x="854" y="725"/>
                  </a:lnTo>
                  <a:lnTo>
                    <a:pt x="838" y="734"/>
                  </a:lnTo>
                  <a:lnTo>
                    <a:pt x="836" y="733"/>
                  </a:lnTo>
                  <a:lnTo>
                    <a:pt x="836" y="737"/>
                  </a:lnTo>
                  <a:lnTo>
                    <a:pt x="823" y="737"/>
                  </a:lnTo>
                  <a:lnTo>
                    <a:pt x="808" y="740"/>
                  </a:lnTo>
                  <a:lnTo>
                    <a:pt x="802" y="747"/>
                  </a:lnTo>
                  <a:lnTo>
                    <a:pt x="810" y="749"/>
                  </a:lnTo>
                  <a:lnTo>
                    <a:pt x="811" y="749"/>
                  </a:lnTo>
                  <a:lnTo>
                    <a:pt x="813" y="756"/>
                  </a:lnTo>
                  <a:lnTo>
                    <a:pt x="796" y="756"/>
                  </a:lnTo>
                  <a:lnTo>
                    <a:pt x="790" y="761"/>
                  </a:lnTo>
                  <a:lnTo>
                    <a:pt x="783" y="759"/>
                  </a:lnTo>
                  <a:lnTo>
                    <a:pt x="765" y="771"/>
                  </a:lnTo>
                  <a:lnTo>
                    <a:pt x="756" y="771"/>
                  </a:lnTo>
                  <a:lnTo>
                    <a:pt x="756" y="770"/>
                  </a:lnTo>
                  <a:lnTo>
                    <a:pt x="759" y="764"/>
                  </a:lnTo>
                  <a:lnTo>
                    <a:pt x="759" y="762"/>
                  </a:lnTo>
                  <a:lnTo>
                    <a:pt x="761" y="762"/>
                  </a:lnTo>
                  <a:lnTo>
                    <a:pt x="764" y="764"/>
                  </a:lnTo>
                  <a:lnTo>
                    <a:pt x="762" y="759"/>
                  </a:lnTo>
                  <a:lnTo>
                    <a:pt x="765" y="752"/>
                  </a:lnTo>
                  <a:lnTo>
                    <a:pt x="765" y="750"/>
                  </a:lnTo>
                  <a:lnTo>
                    <a:pt x="774" y="746"/>
                  </a:lnTo>
                  <a:lnTo>
                    <a:pt x="774" y="731"/>
                  </a:lnTo>
                  <a:lnTo>
                    <a:pt x="779" y="721"/>
                  </a:lnTo>
                  <a:lnTo>
                    <a:pt x="776" y="712"/>
                  </a:lnTo>
                  <a:lnTo>
                    <a:pt x="776" y="710"/>
                  </a:lnTo>
                  <a:lnTo>
                    <a:pt x="779" y="710"/>
                  </a:lnTo>
                  <a:lnTo>
                    <a:pt x="780" y="712"/>
                  </a:lnTo>
                  <a:lnTo>
                    <a:pt x="781" y="712"/>
                  </a:lnTo>
                  <a:lnTo>
                    <a:pt x="783" y="716"/>
                  </a:lnTo>
                  <a:lnTo>
                    <a:pt x="786" y="716"/>
                  </a:lnTo>
                  <a:lnTo>
                    <a:pt x="786" y="722"/>
                  </a:lnTo>
                  <a:lnTo>
                    <a:pt x="787" y="721"/>
                  </a:lnTo>
                  <a:lnTo>
                    <a:pt x="789" y="721"/>
                  </a:lnTo>
                  <a:lnTo>
                    <a:pt x="796" y="724"/>
                  </a:lnTo>
                  <a:lnTo>
                    <a:pt x="796" y="718"/>
                  </a:lnTo>
                  <a:lnTo>
                    <a:pt x="799" y="719"/>
                  </a:lnTo>
                  <a:lnTo>
                    <a:pt x="796" y="715"/>
                  </a:lnTo>
                  <a:lnTo>
                    <a:pt x="796" y="710"/>
                  </a:lnTo>
                  <a:lnTo>
                    <a:pt x="787" y="700"/>
                  </a:lnTo>
                  <a:lnTo>
                    <a:pt x="743" y="693"/>
                  </a:lnTo>
                  <a:lnTo>
                    <a:pt x="741" y="690"/>
                  </a:lnTo>
                  <a:lnTo>
                    <a:pt x="739" y="690"/>
                  </a:lnTo>
                  <a:lnTo>
                    <a:pt x="739" y="682"/>
                  </a:lnTo>
                  <a:lnTo>
                    <a:pt x="736" y="681"/>
                  </a:lnTo>
                  <a:lnTo>
                    <a:pt x="736" y="672"/>
                  </a:lnTo>
                  <a:lnTo>
                    <a:pt x="731" y="667"/>
                  </a:lnTo>
                  <a:lnTo>
                    <a:pt x="733" y="661"/>
                  </a:lnTo>
                  <a:lnTo>
                    <a:pt x="722" y="661"/>
                  </a:lnTo>
                  <a:lnTo>
                    <a:pt x="713" y="645"/>
                  </a:lnTo>
                  <a:lnTo>
                    <a:pt x="706" y="645"/>
                  </a:lnTo>
                  <a:lnTo>
                    <a:pt x="706" y="654"/>
                  </a:lnTo>
                  <a:lnTo>
                    <a:pt x="704" y="654"/>
                  </a:lnTo>
                  <a:lnTo>
                    <a:pt x="700" y="644"/>
                  </a:lnTo>
                  <a:lnTo>
                    <a:pt x="693" y="641"/>
                  </a:lnTo>
                  <a:lnTo>
                    <a:pt x="688" y="651"/>
                  </a:lnTo>
                  <a:lnTo>
                    <a:pt x="687" y="651"/>
                  </a:lnTo>
                  <a:lnTo>
                    <a:pt x="687" y="647"/>
                  </a:lnTo>
                  <a:lnTo>
                    <a:pt x="684" y="653"/>
                  </a:lnTo>
                  <a:lnTo>
                    <a:pt x="682" y="653"/>
                  </a:lnTo>
                  <a:lnTo>
                    <a:pt x="682" y="650"/>
                  </a:lnTo>
                  <a:lnTo>
                    <a:pt x="676" y="658"/>
                  </a:lnTo>
                  <a:lnTo>
                    <a:pt x="670" y="661"/>
                  </a:lnTo>
                  <a:lnTo>
                    <a:pt x="656" y="657"/>
                  </a:lnTo>
                  <a:lnTo>
                    <a:pt x="650" y="658"/>
                  </a:lnTo>
                  <a:lnTo>
                    <a:pt x="630" y="648"/>
                  </a:lnTo>
                  <a:lnTo>
                    <a:pt x="607" y="647"/>
                  </a:lnTo>
                  <a:lnTo>
                    <a:pt x="601" y="635"/>
                  </a:lnTo>
                  <a:lnTo>
                    <a:pt x="601" y="642"/>
                  </a:lnTo>
                  <a:lnTo>
                    <a:pt x="239" y="641"/>
                  </a:lnTo>
                  <a:lnTo>
                    <a:pt x="236" y="638"/>
                  </a:lnTo>
                  <a:lnTo>
                    <a:pt x="236" y="636"/>
                  </a:lnTo>
                  <a:lnTo>
                    <a:pt x="239" y="636"/>
                  </a:lnTo>
                  <a:lnTo>
                    <a:pt x="233" y="635"/>
                  </a:lnTo>
                  <a:lnTo>
                    <a:pt x="233" y="627"/>
                  </a:lnTo>
                  <a:lnTo>
                    <a:pt x="229" y="632"/>
                  </a:lnTo>
                  <a:lnTo>
                    <a:pt x="227" y="632"/>
                  </a:lnTo>
                  <a:lnTo>
                    <a:pt x="227" y="626"/>
                  </a:lnTo>
                  <a:lnTo>
                    <a:pt x="224" y="621"/>
                  </a:lnTo>
                  <a:lnTo>
                    <a:pt x="224" y="624"/>
                  </a:lnTo>
                  <a:lnTo>
                    <a:pt x="221" y="624"/>
                  </a:lnTo>
                  <a:lnTo>
                    <a:pt x="215" y="621"/>
                  </a:lnTo>
                  <a:lnTo>
                    <a:pt x="212" y="618"/>
                  </a:lnTo>
                  <a:lnTo>
                    <a:pt x="212" y="617"/>
                  </a:lnTo>
                  <a:lnTo>
                    <a:pt x="214" y="612"/>
                  </a:lnTo>
                  <a:lnTo>
                    <a:pt x="196" y="610"/>
                  </a:lnTo>
                  <a:lnTo>
                    <a:pt x="195" y="610"/>
                  </a:lnTo>
                  <a:lnTo>
                    <a:pt x="195" y="608"/>
                  </a:lnTo>
                  <a:lnTo>
                    <a:pt x="197" y="605"/>
                  </a:lnTo>
                  <a:lnTo>
                    <a:pt x="192" y="602"/>
                  </a:lnTo>
                  <a:lnTo>
                    <a:pt x="192" y="601"/>
                  </a:lnTo>
                  <a:lnTo>
                    <a:pt x="189" y="601"/>
                  </a:lnTo>
                  <a:lnTo>
                    <a:pt x="186" y="602"/>
                  </a:lnTo>
                  <a:lnTo>
                    <a:pt x="181" y="602"/>
                  </a:lnTo>
                  <a:lnTo>
                    <a:pt x="175" y="598"/>
                  </a:lnTo>
                  <a:lnTo>
                    <a:pt x="174" y="595"/>
                  </a:lnTo>
                  <a:lnTo>
                    <a:pt x="174" y="593"/>
                  </a:lnTo>
                  <a:lnTo>
                    <a:pt x="177" y="593"/>
                  </a:lnTo>
                  <a:lnTo>
                    <a:pt x="174" y="592"/>
                  </a:lnTo>
                  <a:lnTo>
                    <a:pt x="174" y="590"/>
                  </a:lnTo>
                  <a:lnTo>
                    <a:pt x="178" y="589"/>
                  </a:lnTo>
                  <a:lnTo>
                    <a:pt x="177" y="589"/>
                  </a:lnTo>
                  <a:lnTo>
                    <a:pt x="177" y="584"/>
                  </a:lnTo>
                  <a:lnTo>
                    <a:pt x="174" y="587"/>
                  </a:lnTo>
                  <a:lnTo>
                    <a:pt x="172" y="587"/>
                  </a:lnTo>
                  <a:lnTo>
                    <a:pt x="172" y="569"/>
                  </a:lnTo>
                  <a:lnTo>
                    <a:pt x="168" y="571"/>
                  </a:lnTo>
                  <a:lnTo>
                    <a:pt x="166" y="571"/>
                  </a:lnTo>
                  <a:lnTo>
                    <a:pt x="166" y="567"/>
                  </a:lnTo>
                  <a:lnTo>
                    <a:pt x="160" y="568"/>
                  </a:lnTo>
                  <a:lnTo>
                    <a:pt x="156" y="558"/>
                  </a:lnTo>
                  <a:lnTo>
                    <a:pt x="156" y="547"/>
                  </a:lnTo>
                  <a:lnTo>
                    <a:pt x="154" y="549"/>
                  </a:lnTo>
                  <a:lnTo>
                    <a:pt x="153" y="549"/>
                  </a:lnTo>
                  <a:lnTo>
                    <a:pt x="143" y="537"/>
                  </a:lnTo>
                  <a:lnTo>
                    <a:pt x="143" y="535"/>
                  </a:lnTo>
                  <a:lnTo>
                    <a:pt x="144" y="531"/>
                  </a:lnTo>
                  <a:lnTo>
                    <a:pt x="138" y="526"/>
                  </a:lnTo>
                  <a:lnTo>
                    <a:pt x="138" y="525"/>
                  </a:lnTo>
                  <a:lnTo>
                    <a:pt x="140" y="519"/>
                  </a:lnTo>
                  <a:lnTo>
                    <a:pt x="143" y="519"/>
                  </a:lnTo>
                  <a:lnTo>
                    <a:pt x="143" y="489"/>
                  </a:lnTo>
                  <a:lnTo>
                    <a:pt x="119" y="476"/>
                  </a:lnTo>
                  <a:lnTo>
                    <a:pt x="94" y="426"/>
                  </a:lnTo>
                  <a:lnTo>
                    <a:pt x="86" y="421"/>
                  </a:lnTo>
                  <a:lnTo>
                    <a:pt x="73" y="398"/>
                  </a:lnTo>
                  <a:lnTo>
                    <a:pt x="63" y="403"/>
                  </a:lnTo>
                  <a:lnTo>
                    <a:pt x="58" y="414"/>
                  </a:lnTo>
                  <a:lnTo>
                    <a:pt x="46" y="420"/>
                  </a:lnTo>
                  <a:lnTo>
                    <a:pt x="42" y="411"/>
                  </a:lnTo>
                  <a:lnTo>
                    <a:pt x="24" y="390"/>
                  </a:lnTo>
                  <a:lnTo>
                    <a:pt x="23" y="390"/>
                  </a:lnTo>
                  <a:lnTo>
                    <a:pt x="24" y="384"/>
                  </a:lnTo>
                  <a:lnTo>
                    <a:pt x="14" y="387"/>
                  </a:lnTo>
                  <a:lnTo>
                    <a:pt x="0" y="384"/>
                  </a:lnTo>
                  <a:lnTo>
                    <a:pt x="0" y="88"/>
                  </a:lnTo>
                  <a:lnTo>
                    <a:pt x="24" y="94"/>
                  </a:lnTo>
                  <a:lnTo>
                    <a:pt x="46" y="117"/>
                  </a:lnTo>
                  <a:lnTo>
                    <a:pt x="60" y="117"/>
                  </a:lnTo>
                  <a:lnTo>
                    <a:pt x="74" y="128"/>
                  </a:lnTo>
                  <a:lnTo>
                    <a:pt x="76" y="128"/>
                  </a:lnTo>
                  <a:lnTo>
                    <a:pt x="73" y="120"/>
                  </a:lnTo>
                  <a:lnTo>
                    <a:pt x="71" y="120"/>
                  </a:lnTo>
                  <a:lnTo>
                    <a:pt x="73" y="119"/>
                  </a:lnTo>
                  <a:lnTo>
                    <a:pt x="76" y="119"/>
                  </a:lnTo>
                  <a:lnTo>
                    <a:pt x="79" y="120"/>
                  </a:lnTo>
                  <a:lnTo>
                    <a:pt x="83" y="120"/>
                  </a:lnTo>
                  <a:lnTo>
                    <a:pt x="89" y="129"/>
                  </a:lnTo>
                  <a:lnTo>
                    <a:pt x="89" y="126"/>
                  </a:lnTo>
                  <a:lnTo>
                    <a:pt x="83" y="114"/>
                  </a:lnTo>
                  <a:lnTo>
                    <a:pt x="83" y="113"/>
                  </a:lnTo>
                  <a:lnTo>
                    <a:pt x="92" y="104"/>
                  </a:lnTo>
                  <a:lnTo>
                    <a:pt x="149" y="68"/>
                  </a:lnTo>
                  <a:lnTo>
                    <a:pt x="150" y="68"/>
                  </a:lnTo>
                  <a:lnTo>
                    <a:pt x="153" y="76"/>
                  </a:lnTo>
                  <a:lnTo>
                    <a:pt x="150" y="80"/>
                  </a:lnTo>
                  <a:lnTo>
                    <a:pt x="132" y="97"/>
                  </a:lnTo>
                  <a:lnTo>
                    <a:pt x="120" y="97"/>
                  </a:lnTo>
                  <a:lnTo>
                    <a:pt x="110" y="108"/>
                  </a:lnTo>
                  <a:lnTo>
                    <a:pt x="131" y="98"/>
                  </a:lnTo>
                  <a:lnTo>
                    <a:pt x="131" y="105"/>
                  </a:lnTo>
                  <a:lnTo>
                    <a:pt x="140" y="91"/>
                  </a:lnTo>
                  <a:lnTo>
                    <a:pt x="159" y="79"/>
                  </a:lnTo>
                  <a:lnTo>
                    <a:pt x="159" y="80"/>
                  </a:lnTo>
                  <a:lnTo>
                    <a:pt x="157" y="86"/>
                  </a:lnTo>
                  <a:lnTo>
                    <a:pt x="174" y="70"/>
                  </a:lnTo>
                  <a:lnTo>
                    <a:pt x="166" y="64"/>
                  </a:lnTo>
                  <a:lnTo>
                    <a:pt x="166" y="62"/>
                  </a:lnTo>
                  <a:lnTo>
                    <a:pt x="169" y="57"/>
                  </a:lnTo>
                  <a:lnTo>
                    <a:pt x="171" y="57"/>
                  </a:lnTo>
                  <a:lnTo>
                    <a:pt x="180" y="67"/>
                  </a:lnTo>
                  <a:lnTo>
                    <a:pt x="187" y="89"/>
                  </a:lnTo>
                  <a:lnTo>
                    <a:pt x="196" y="101"/>
                  </a:lnTo>
                  <a:lnTo>
                    <a:pt x="200" y="100"/>
                  </a:lnTo>
                  <a:lnTo>
                    <a:pt x="206" y="97"/>
                  </a:lnTo>
                  <a:lnTo>
                    <a:pt x="203" y="94"/>
                  </a:lnTo>
                  <a:lnTo>
                    <a:pt x="211" y="79"/>
                  </a:lnTo>
                  <a:lnTo>
                    <a:pt x="214" y="79"/>
                  </a:lnTo>
                  <a:lnTo>
                    <a:pt x="214" y="77"/>
                  </a:lnTo>
                  <a:lnTo>
                    <a:pt x="212" y="74"/>
                  </a:lnTo>
                  <a:lnTo>
                    <a:pt x="212" y="73"/>
                  </a:lnTo>
                  <a:lnTo>
                    <a:pt x="217" y="73"/>
                  </a:lnTo>
                  <a:lnTo>
                    <a:pt x="217" y="88"/>
                  </a:lnTo>
                  <a:lnTo>
                    <a:pt x="223" y="89"/>
                  </a:lnTo>
                  <a:lnTo>
                    <a:pt x="217" y="101"/>
                  </a:lnTo>
                  <a:lnTo>
                    <a:pt x="229" y="101"/>
                  </a:lnTo>
                  <a:lnTo>
                    <a:pt x="235" y="86"/>
                  </a:lnTo>
                  <a:lnTo>
                    <a:pt x="252" y="86"/>
                  </a:lnTo>
                  <a:lnTo>
                    <a:pt x="275" y="101"/>
                  </a:lnTo>
                  <a:lnTo>
                    <a:pt x="315" y="117"/>
                  </a:lnTo>
                  <a:lnTo>
                    <a:pt x="326" y="122"/>
                  </a:lnTo>
                  <a:lnTo>
                    <a:pt x="323" y="116"/>
                  </a:lnTo>
                  <a:lnTo>
                    <a:pt x="338" y="116"/>
                  </a:lnTo>
                  <a:lnTo>
                    <a:pt x="338" y="117"/>
                  </a:lnTo>
                  <a:lnTo>
                    <a:pt x="352" y="131"/>
                  </a:lnTo>
                  <a:lnTo>
                    <a:pt x="353" y="141"/>
                  </a:lnTo>
                  <a:lnTo>
                    <a:pt x="344" y="141"/>
                  </a:lnTo>
                  <a:lnTo>
                    <a:pt x="344" y="142"/>
                  </a:lnTo>
                  <a:lnTo>
                    <a:pt x="337" y="145"/>
                  </a:lnTo>
                  <a:lnTo>
                    <a:pt x="337" y="151"/>
                  </a:lnTo>
                  <a:lnTo>
                    <a:pt x="334" y="153"/>
                  </a:lnTo>
                  <a:lnTo>
                    <a:pt x="344" y="159"/>
                  </a:lnTo>
                  <a:lnTo>
                    <a:pt x="381" y="160"/>
                  </a:lnTo>
                  <a:lnTo>
                    <a:pt x="405" y="148"/>
                  </a:lnTo>
                  <a:lnTo>
                    <a:pt x="409" y="159"/>
                  </a:lnTo>
                  <a:lnTo>
                    <a:pt x="420" y="159"/>
                  </a:lnTo>
                  <a:lnTo>
                    <a:pt x="421" y="168"/>
                  </a:lnTo>
                  <a:lnTo>
                    <a:pt x="423" y="162"/>
                  </a:lnTo>
                  <a:lnTo>
                    <a:pt x="424" y="162"/>
                  </a:lnTo>
                  <a:lnTo>
                    <a:pt x="424" y="171"/>
                  </a:lnTo>
                  <a:lnTo>
                    <a:pt x="432" y="172"/>
                  </a:lnTo>
                  <a:lnTo>
                    <a:pt x="432" y="174"/>
                  </a:lnTo>
                  <a:lnTo>
                    <a:pt x="435" y="180"/>
                  </a:lnTo>
                  <a:lnTo>
                    <a:pt x="435" y="181"/>
                  </a:lnTo>
                  <a:lnTo>
                    <a:pt x="427" y="183"/>
                  </a:lnTo>
                  <a:lnTo>
                    <a:pt x="433" y="191"/>
                  </a:lnTo>
                  <a:lnTo>
                    <a:pt x="433" y="187"/>
                  </a:lnTo>
                  <a:lnTo>
                    <a:pt x="441" y="187"/>
                  </a:lnTo>
                  <a:lnTo>
                    <a:pt x="439" y="183"/>
                  </a:lnTo>
                  <a:lnTo>
                    <a:pt x="438" y="183"/>
                  </a:lnTo>
                  <a:lnTo>
                    <a:pt x="438" y="181"/>
                  </a:lnTo>
                  <a:lnTo>
                    <a:pt x="441" y="181"/>
                  </a:lnTo>
                  <a:lnTo>
                    <a:pt x="430" y="160"/>
                  </a:lnTo>
                  <a:lnTo>
                    <a:pt x="430" y="159"/>
                  </a:lnTo>
                  <a:lnTo>
                    <a:pt x="435" y="153"/>
                  </a:lnTo>
                  <a:lnTo>
                    <a:pt x="433" y="151"/>
                  </a:lnTo>
                  <a:lnTo>
                    <a:pt x="436" y="148"/>
                  </a:lnTo>
                  <a:lnTo>
                    <a:pt x="451" y="141"/>
                  </a:lnTo>
                  <a:lnTo>
                    <a:pt x="457" y="128"/>
                  </a:lnTo>
                  <a:lnTo>
                    <a:pt x="451" y="131"/>
                  </a:lnTo>
                  <a:lnTo>
                    <a:pt x="451" y="132"/>
                  </a:lnTo>
                  <a:lnTo>
                    <a:pt x="452" y="134"/>
                  </a:lnTo>
                  <a:lnTo>
                    <a:pt x="449" y="134"/>
                  </a:lnTo>
                  <a:lnTo>
                    <a:pt x="449" y="135"/>
                  </a:lnTo>
                  <a:lnTo>
                    <a:pt x="451" y="135"/>
                  </a:lnTo>
                  <a:lnTo>
                    <a:pt x="449" y="141"/>
                  </a:lnTo>
                  <a:lnTo>
                    <a:pt x="448" y="141"/>
                  </a:lnTo>
                  <a:lnTo>
                    <a:pt x="438" y="138"/>
                  </a:lnTo>
                  <a:lnTo>
                    <a:pt x="433" y="141"/>
                  </a:lnTo>
                  <a:lnTo>
                    <a:pt x="438" y="144"/>
                  </a:lnTo>
                  <a:lnTo>
                    <a:pt x="438" y="145"/>
                  </a:lnTo>
                  <a:lnTo>
                    <a:pt x="436" y="145"/>
                  </a:lnTo>
                  <a:lnTo>
                    <a:pt x="432" y="147"/>
                  </a:lnTo>
                  <a:lnTo>
                    <a:pt x="421" y="138"/>
                  </a:lnTo>
                  <a:lnTo>
                    <a:pt x="420" y="138"/>
                  </a:lnTo>
                  <a:lnTo>
                    <a:pt x="420" y="137"/>
                  </a:lnTo>
                  <a:lnTo>
                    <a:pt x="427" y="128"/>
                  </a:lnTo>
                  <a:lnTo>
                    <a:pt x="454" y="116"/>
                  </a:lnTo>
                  <a:lnTo>
                    <a:pt x="455" y="116"/>
                  </a:lnTo>
                  <a:lnTo>
                    <a:pt x="464" y="123"/>
                  </a:lnTo>
                  <a:lnTo>
                    <a:pt x="464" y="125"/>
                  </a:lnTo>
                  <a:lnTo>
                    <a:pt x="463" y="126"/>
                  </a:lnTo>
                  <a:lnTo>
                    <a:pt x="466" y="132"/>
                  </a:lnTo>
                  <a:lnTo>
                    <a:pt x="466" y="134"/>
                  </a:lnTo>
                  <a:lnTo>
                    <a:pt x="464" y="135"/>
                  </a:lnTo>
                  <a:lnTo>
                    <a:pt x="475" y="141"/>
                  </a:lnTo>
                  <a:lnTo>
                    <a:pt x="476" y="142"/>
                  </a:lnTo>
                  <a:lnTo>
                    <a:pt x="476" y="145"/>
                  </a:lnTo>
                  <a:lnTo>
                    <a:pt x="494" y="145"/>
                  </a:lnTo>
                  <a:lnTo>
                    <a:pt x="507" y="160"/>
                  </a:lnTo>
                  <a:lnTo>
                    <a:pt x="531" y="154"/>
                  </a:lnTo>
                  <a:lnTo>
                    <a:pt x="556" y="159"/>
                  </a:lnTo>
                  <a:lnTo>
                    <a:pt x="552" y="150"/>
                  </a:lnTo>
                  <a:lnTo>
                    <a:pt x="555" y="147"/>
                  </a:lnTo>
                  <a:lnTo>
                    <a:pt x="556" y="147"/>
                  </a:lnTo>
                  <a:lnTo>
                    <a:pt x="556" y="148"/>
                  </a:lnTo>
                  <a:lnTo>
                    <a:pt x="561" y="159"/>
                  </a:lnTo>
                  <a:lnTo>
                    <a:pt x="571" y="163"/>
                  </a:lnTo>
                  <a:lnTo>
                    <a:pt x="572" y="162"/>
                  </a:lnTo>
                  <a:lnTo>
                    <a:pt x="572" y="154"/>
                  </a:lnTo>
                  <a:lnTo>
                    <a:pt x="570" y="154"/>
                  </a:lnTo>
                  <a:lnTo>
                    <a:pt x="565" y="156"/>
                  </a:lnTo>
                  <a:lnTo>
                    <a:pt x="562" y="156"/>
                  </a:lnTo>
                  <a:lnTo>
                    <a:pt x="553" y="138"/>
                  </a:lnTo>
                  <a:lnTo>
                    <a:pt x="553" y="137"/>
                  </a:lnTo>
                  <a:lnTo>
                    <a:pt x="556" y="137"/>
                  </a:lnTo>
                  <a:lnTo>
                    <a:pt x="561" y="135"/>
                  </a:lnTo>
                  <a:lnTo>
                    <a:pt x="564" y="135"/>
                  </a:lnTo>
                  <a:lnTo>
                    <a:pt x="568" y="134"/>
                  </a:lnTo>
                  <a:lnTo>
                    <a:pt x="572" y="134"/>
                  </a:lnTo>
                  <a:lnTo>
                    <a:pt x="577" y="140"/>
                  </a:lnTo>
                  <a:lnTo>
                    <a:pt x="583" y="140"/>
                  </a:lnTo>
                  <a:lnTo>
                    <a:pt x="583" y="141"/>
                  </a:lnTo>
                  <a:lnTo>
                    <a:pt x="581" y="148"/>
                  </a:lnTo>
                  <a:lnTo>
                    <a:pt x="589" y="142"/>
                  </a:lnTo>
                  <a:lnTo>
                    <a:pt x="587" y="159"/>
                  </a:lnTo>
                  <a:lnTo>
                    <a:pt x="589" y="162"/>
                  </a:lnTo>
                  <a:lnTo>
                    <a:pt x="589" y="163"/>
                  </a:lnTo>
                  <a:lnTo>
                    <a:pt x="584" y="166"/>
                  </a:lnTo>
                  <a:lnTo>
                    <a:pt x="589" y="168"/>
                  </a:lnTo>
                  <a:lnTo>
                    <a:pt x="589" y="174"/>
                  </a:lnTo>
                  <a:lnTo>
                    <a:pt x="595" y="171"/>
                  </a:lnTo>
                  <a:lnTo>
                    <a:pt x="596" y="171"/>
                  </a:lnTo>
                  <a:lnTo>
                    <a:pt x="596" y="166"/>
                  </a:lnTo>
                  <a:lnTo>
                    <a:pt x="593" y="160"/>
                  </a:lnTo>
                  <a:lnTo>
                    <a:pt x="595" y="151"/>
                  </a:lnTo>
                  <a:lnTo>
                    <a:pt x="593" y="148"/>
                  </a:lnTo>
                  <a:lnTo>
                    <a:pt x="593" y="147"/>
                  </a:lnTo>
                  <a:lnTo>
                    <a:pt x="599" y="147"/>
                  </a:lnTo>
                  <a:lnTo>
                    <a:pt x="602" y="148"/>
                  </a:lnTo>
                  <a:lnTo>
                    <a:pt x="605" y="148"/>
                  </a:lnTo>
                  <a:lnTo>
                    <a:pt x="620" y="131"/>
                  </a:lnTo>
                  <a:lnTo>
                    <a:pt x="617" y="120"/>
                  </a:lnTo>
                  <a:lnTo>
                    <a:pt x="614" y="125"/>
                  </a:lnTo>
                  <a:lnTo>
                    <a:pt x="610" y="125"/>
                  </a:lnTo>
                  <a:lnTo>
                    <a:pt x="608" y="126"/>
                  </a:lnTo>
                  <a:lnTo>
                    <a:pt x="605" y="126"/>
                  </a:lnTo>
                  <a:lnTo>
                    <a:pt x="605" y="125"/>
                  </a:lnTo>
                  <a:lnTo>
                    <a:pt x="613" y="102"/>
                  </a:lnTo>
                  <a:lnTo>
                    <a:pt x="617" y="100"/>
                  </a:lnTo>
                  <a:lnTo>
                    <a:pt x="617" y="98"/>
                  </a:lnTo>
                  <a:lnTo>
                    <a:pt x="610" y="101"/>
                  </a:lnTo>
                  <a:lnTo>
                    <a:pt x="608" y="101"/>
                  </a:lnTo>
                  <a:lnTo>
                    <a:pt x="580" y="76"/>
                  </a:lnTo>
                  <a:lnTo>
                    <a:pt x="580" y="64"/>
                  </a:lnTo>
                  <a:lnTo>
                    <a:pt x="587" y="54"/>
                  </a:lnTo>
                  <a:lnTo>
                    <a:pt x="583" y="48"/>
                  </a:lnTo>
                  <a:lnTo>
                    <a:pt x="581" y="48"/>
                  </a:lnTo>
                  <a:lnTo>
                    <a:pt x="583" y="28"/>
                  </a:lnTo>
                  <a:lnTo>
                    <a:pt x="589" y="24"/>
                  </a:lnTo>
                  <a:lnTo>
                    <a:pt x="590" y="24"/>
                  </a:lnTo>
                  <a:lnTo>
                    <a:pt x="593" y="27"/>
                  </a:lnTo>
                  <a:lnTo>
                    <a:pt x="595" y="21"/>
                  </a:lnTo>
                  <a:lnTo>
                    <a:pt x="590" y="16"/>
                  </a:lnTo>
                  <a:lnTo>
                    <a:pt x="590" y="15"/>
                  </a:lnTo>
                  <a:lnTo>
                    <a:pt x="60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 name="Alaska - Mainland">
              <a:extLst>
                <a:ext uri="{FF2B5EF4-FFF2-40B4-BE49-F238E27FC236}">
                  <a16:creationId xmlns:a16="http://schemas.microsoft.com/office/drawing/2014/main" id="{C5D82F98-810A-257C-CB72-659257347E3F}"/>
                </a:ext>
              </a:extLst>
            </p:cNvPr>
            <p:cNvSpPr>
              <a:spLocks noEditPoints="1"/>
            </p:cNvSpPr>
            <p:nvPr/>
          </p:nvSpPr>
          <p:spPr bwMode="auto">
            <a:xfrm>
              <a:off x="1857537" y="2153295"/>
              <a:ext cx="899916" cy="892689"/>
            </a:xfrm>
            <a:custGeom>
              <a:avLst/>
              <a:gdLst>
                <a:gd name="T0" fmla="*/ 234 w 498"/>
                <a:gd name="T1" fmla="*/ 318 h 494"/>
                <a:gd name="T2" fmla="*/ 166 w 498"/>
                <a:gd name="T3" fmla="*/ 8 h 494"/>
                <a:gd name="T4" fmla="*/ 196 w 498"/>
                <a:gd name="T5" fmla="*/ 17 h 494"/>
                <a:gd name="T6" fmla="*/ 212 w 498"/>
                <a:gd name="T7" fmla="*/ 30 h 494"/>
                <a:gd name="T8" fmla="*/ 308 w 498"/>
                <a:gd name="T9" fmla="*/ 52 h 494"/>
                <a:gd name="T10" fmla="*/ 356 w 498"/>
                <a:gd name="T11" fmla="*/ 358 h 494"/>
                <a:gd name="T12" fmla="*/ 393 w 498"/>
                <a:gd name="T13" fmla="*/ 375 h 494"/>
                <a:gd name="T14" fmla="*/ 415 w 498"/>
                <a:gd name="T15" fmla="*/ 377 h 494"/>
                <a:gd name="T16" fmla="*/ 498 w 498"/>
                <a:gd name="T17" fmla="*/ 488 h 494"/>
                <a:gd name="T18" fmla="*/ 483 w 498"/>
                <a:gd name="T19" fmla="*/ 463 h 494"/>
                <a:gd name="T20" fmla="*/ 476 w 498"/>
                <a:gd name="T21" fmla="*/ 460 h 494"/>
                <a:gd name="T22" fmla="*/ 461 w 498"/>
                <a:gd name="T23" fmla="*/ 441 h 494"/>
                <a:gd name="T24" fmla="*/ 454 w 498"/>
                <a:gd name="T25" fmla="*/ 427 h 494"/>
                <a:gd name="T26" fmla="*/ 448 w 498"/>
                <a:gd name="T27" fmla="*/ 417 h 494"/>
                <a:gd name="T28" fmla="*/ 433 w 498"/>
                <a:gd name="T29" fmla="*/ 405 h 494"/>
                <a:gd name="T30" fmla="*/ 420 w 498"/>
                <a:gd name="T31" fmla="*/ 407 h 494"/>
                <a:gd name="T32" fmla="*/ 411 w 498"/>
                <a:gd name="T33" fmla="*/ 411 h 494"/>
                <a:gd name="T34" fmla="*/ 369 w 498"/>
                <a:gd name="T35" fmla="*/ 378 h 494"/>
                <a:gd name="T36" fmla="*/ 359 w 498"/>
                <a:gd name="T37" fmla="*/ 374 h 494"/>
                <a:gd name="T38" fmla="*/ 302 w 498"/>
                <a:gd name="T39" fmla="*/ 355 h 494"/>
                <a:gd name="T40" fmla="*/ 279 w 498"/>
                <a:gd name="T41" fmla="*/ 346 h 494"/>
                <a:gd name="T42" fmla="*/ 267 w 498"/>
                <a:gd name="T43" fmla="*/ 341 h 494"/>
                <a:gd name="T44" fmla="*/ 257 w 498"/>
                <a:gd name="T45" fmla="*/ 353 h 494"/>
                <a:gd name="T46" fmla="*/ 240 w 498"/>
                <a:gd name="T47" fmla="*/ 375 h 494"/>
                <a:gd name="T48" fmla="*/ 214 w 498"/>
                <a:gd name="T49" fmla="*/ 389 h 494"/>
                <a:gd name="T50" fmla="*/ 216 w 498"/>
                <a:gd name="T51" fmla="*/ 377 h 494"/>
                <a:gd name="T52" fmla="*/ 243 w 498"/>
                <a:gd name="T53" fmla="*/ 341 h 494"/>
                <a:gd name="T54" fmla="*/ 214 w 498"/>
                <a:gd name="T55" fmla="*/ 343 h 494"/>
                <a:gd name="T56" fmla="*/ 188 w 498"/>
                <a:gd name="T57" fmla="*/ 390 h 494"/>
                <a:gd name="T58" fmla="*/ 182 w 498"/>
                <a:gd name="T59" fmla="*/ 413 h 494"/>
                <a:gd name="T60" fmla="*/ 153 w 498"/>
                <a:gd name="T61" fmla="*/ 439 h 494"/>
                <a:gd name="T62" fmla="*/ 133 w 498"/>
                <a:gd name="T63" fmla="*/ 454 h 494"/>
                <a:gd name="T64" fmla="*/ 110 w 498"/>
                <a:gd name="T65" fmla="*/ 475 h 494"/>
                <a:gd name="T66" fmla="*/ 73 w 498"/>
                <a:gd name="T67" fmla="*/ 485 h 494"/>
                <a:gd name="T68" fmla="*/ 59 w 498"/>
                <a:gd name="T69" fmla="*/ 484 h 494"/>
                <a:gd name="T70" fmla="*/ 99 w 498"/>
                <a:gd name="T71" fmla="*/ 460 h 494"/>
                <a:gd name="T72" fmla="*/ 138 w 498"/>
                <a:gd name="T73" fmla="*/ 410 h 494"/>
                <a:gd name="T74" fmla="*/ 125 w 498"/>
                <a:gd name="T75" fmla="*/ 396 h 494"/>
                <a:gd name="T76" fmla="*/ 119 w 498"/>
                <a:gd name="T77" fmla="*/ 407 h 494"/>
                <a:gd name="T78" fmla="*/ 77 w 498"/>
                <a:gd name="T79" fmla="*/ 401 h 494"/>
                <a:gd name="T80" fmla="*/ 79 w 498"/>
                <a:gd name="T81" fmla="*/ 386 h 494"/>
                <a:gd name="T82" fmla="*/ 67 w 498"/>
                <a:gd name="T83" fmla="*/ 375 h 494"/>
                <a:gd name="T84" fmla="*/ 49 w 498"/>
                <a:gd name="T85" fmla="*/ 367 h 494"/>
                <a:gd name="T86" fmla="*/ 43 w 498"/>
                <a:gd name="T87" fmla="*/ 338 h 494"/>
                <a:gd name="T88" fmla="*/ 28 w 498"/>
                <a:gd name="T89" fmla="*/ 328 h 494"/>
                <a:gd name="T90" fmla="*/ 30 w 498"/>
                <a:gd name="T91" fmla="*/ 315 h 494"/>
                <a:gd name="T92" fmla="*/ 77 w 498"/>
                <a:gd name="T93" fmla="*/ 269 h 494"/>
                <a:gd name="T94" fmla="*/ 71 w 498"/>
                <a:gd name="T95" fmla="*/ 248 h 494"/>
                <a:gd name="T96" fmla="*/ 27 w 498"/>
                <a:gd name="T97" fmla="*/ 238 h 494"/>
                <a:gd name="T98" fmla="*/ 33 w 498"/>
                <a:gd name="T99" fmla="*/ 189 h 494"/>
                <a:gd name="T100" fmla="*/ 58 w 498"/>
                <a:gd name="T101" fmla="*/ 184 h 494"/>
                <a:gd name="T102" fmla="*/ 82 w 498"/>
                <a:gd name="T103" fmla="*/ 178 h 494"/>
                <a:gd name="T104" fmla="*/ 90 w 498"/>
                <a:gd name="T105" fmla="*/ 171 h 494"/>
                <a:gd name="T106" fmla="*/ 80 w 498"/>
                <a:gd name="T107" fmla="*/ 160 h 494"/>
                <a:gd name="T108" fmla="*/ 55 w 498"/>
                <a:gd name="T109" fmla="*/ 143 h 494"/>
                <a:gd name="T110" fmla="*/ 55 w 498"/>
                <a:gd name="T111" fmla="*/ 91 h 494"/>
                <a:gd name="T112" fmla="*/ 68 w 498"/>
                <a:gd name="T113" fmla="*/ 63 h 494"/>
                <a:gd name="T114" fmla="*/ 80 w 498"/>
                <a:gd name="T115" fmla="*/ 42 h 494"/>
                <a:gd name="T116" fmla="*/ 105 w 498"/>
                <a:gd name="T117" fmla="*/ 40 h 494"/>
                <a:gd name="T118" fmla="*/ 120 w 498"/>
                <a:gd name="T119" fmla="*/ 1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8" h="494">
                  <a:moveTo>
                    <a:pt x="375" y="368"/>
                  </a:moveTo>
                  <a:lnTo>
                    <a:pt x="377" y="371"/>
                  </a:lnTo>
                  <a:lnTo>
                    <a:pt x="378" y="370"/>
                  </a:lnTo>
                  <a:lnTo>
                    <a:pt x="375" y="368"/>
                  </a:lnTo>
                  <a:close/>
                  <a:moveTo>
                    <a:pt x="233" y="310"/>
                  </a:moveTo>
                  <a:lnTo>
                    <a:pt x="228" y="330"/>
                  </a:lnTo>
                  <a:lnTo>
                    <a:pt x="234" y="318"/>
                  </a:lnTo>
                  <a:lnTo>
                    <a:pt x="233" y="310"/>
                  </a:lnTo>
                  <a:close/>
                  <a:moveTo>
                    <a:pt x="89" y="184"/>
                  </a:moveTo>
                  <a:lnTo>
                    <a:pt x="92" y="187"/>
                  </a:lnTo>
                  <a:lnTo>
                    <a:pt x="93" y="186"/>
                  </a:lnTo>
                  <a:lnTo>
                    <a:pt x="89" y="184"/>
                  </a:lnTo>
                  <a:close/>
                  <a:moveTo>
                    <a:pt x="150" y="0"/>
                  </a:moveTo>
                  <a:lnTo>
                    <a:pt x="166" y="8"/>
                  </a:lnTo>
                  <a:lnTo>
                    <a:pt x="166" y="9"/>
                  </a:lnTo>
                  <a:lnTo>
                    <a:pt x="157" y="20"/>
                  </a:lnTo>
                  <a:lnTo>
                    <a:pt x="168" y="24"/>
                  </a:lnTo>
                  <a:lnTo>
                    <a:pt x="166" y="14"/>
                  </a:lnTo>
                  <a:lnTo>
                    <a:pt x="172" y="9"/>
                  </a:lnTo>
                  <a:lnTo>
                    <a:pt x="182" y="21"/>
                  </a:lnTo>
                  <a:lnTo>
                    <a:pt x="196" y="17"/>
                  </a:lnTo>
                  <a:lnTo>
                    <a:pt x="200" y="23"/>
                  </a:lnTo>
                  <a:lnTo>
                    <a:pt x="203" y="23"/>
                  </a:lnTo>
                  <a:lnTo>
                    <a:pt x="206" y="21"/>
                  </a:lnTo>
                  <a:lnTo>
                    <a:pt x="211" y="21"/>
                  </a:lnTo>
                  <a:lnTo>
                    <a:pt x="211" y="23"/>
                  </a:lnTo>
                  <a:lnTo>
                    <a:pt x="209" y="29"/>
                  </a:lnTo>
                  <a:lnTo>
                    <a:pt x="212" y="30"/>
                  </a:lnTo>
                  <a:lnTo>
                    <a:pt x="218" y="32"/>
                  </a:lnTo>
                  <a:lnTo>
                    <a:pt x="218" y="33"/>
                  </a:lnTo>
                  <a:lnTo>
                    <a:pt x="216" y="34"/>
                  </a:lnTo>
                  <a:lnTo>
                    <a:pt x="246" y="34"/>
                  </a:lnTo>
                  <a:lnTo>
                    <a:pt x="299" y="54"/>
                  </a:lnTo>
                  <a:lnTo>
                    <a:pt x="302" y="54"/>
                  </a:lnTo>
                  <a:lnTo>
                    <a:pt x="308" y="52"/>
                  </a:lnTo>
                  <a:lnTo>
                    <a:pt x="317" y="49"/>
                  </a:lnTo>
                  <a:lnTo>
                    <a:pt x="323" y="48"/>
                  </a:lnTo>
                  <a:lnTo>
                    <a:pt x="326" y="48"/>
                  </a:lnTo>
                  <a:lnTo>
                    <a:pt x="351" y="66"/>
                  </a:lnTo>
                  <a:lnTo>
                    <a:pt x="354" y="63"/>
                  </a:lnTo>
                  <a:lnTo>
                    <a:pt x="356" y="63"/>
                  </a:lnTo>
                  <a:lnTo>
                    <a:pt x="356" y="358"/>
                  </a:lnTo>
                  <a:lnTo>
                    <a:pt x="368" y="361"/>
                  </a:lnTo>
                  <a:lnTo>
                    <a:pt x="378" y="358"/>
                  </a:lnTo>
                  <a:lnTo>
                    <a:pt x="380" y="358"/>
                  </a:lnTo>
                  <a:lnTo>
                    <a:pt x="378" y="365"/>
                  </a:lnTo>
                  <a:lnTo>
                    <a:pt x="393" y="380"/>
                  </a:lnTo>
                  <a:lnTo>
                    <a:pt x="394" y="378"/>
                  </a:lnTo>
                  <a:lnTo>
                    <a:pt x="393" y="375"/>
                  </a:lnTo>
                  <a:lnTo>
                    <a:pt x="394" y="375"/>
                  </a:lnTo>
                  <a:lnTo>
                    <a:pt x="396" y="378"/>
                  </a:lnTo>
                  <a:lnTo>
                    <a:pt x="394" y="381"/>
                  </a:lnTo>
                  <a:lnTo>
                    <a:pt x="397" y="386"/>
                  </a:lnTo>
                  <a:lnTo>
                    <a:pt x="400" y="393"/>
                  </a:lnTo>
                  <a:lnTo>
                    <a:pt x="411" y="387"/>
                  </a:lnTo>
                  <a:lnTo>
                    <a:pt x="415" y="377"/>
                  </a:lnTo>
                  <a:lnTo>
                    <a:pt x="427" y="371"/>
                  </a:lnTo>
                  <a:lnTo>
                    <a:pt x="428" y="371"/>
                  </a:lnTo>
                  <a:lnTo>
                    <a:pt x="442" y="395"/>
                  </a:lnTo>
                  <a:lnTo>
                    <a:pt x="449" y="401"/>
                  </a:lnTo>
                  <a:lnTo>
                    <a:pt x="474" y="450"/>
                  </a:lnTo>
                  <a:lnTo>
                    <a:pt x="498" y="464"/>
                  </a:lnTo>
                  <a:lnTo>
                    <a:pt x="498" y="488"/>
                  </a:lnTo>
                  <a:lnTo>
                    <a:pt x="488" y="494"/>
                  </a:lnTo>
                  <a:lnTo>
                    <a:pt x="486" y="494"/>
                  </a:lnTo>
                  <a:lnTo>
                    <a:pt x="486" y="487"/>
                  </a:lnTo>
                  <a:lnTo>
                    <a:pt x="491" y="484"/>
                  </a:lnTo>
                  <a:lnTo>
                    <a:pt x="489" y="481"/>
                  </a:lnTo>
                  <a:lnTo>
                    <a:pt x="486" y="481"/>
                  </a:lnTo>
                  <a:lnTo>
                    <a:pt x="483" y="463"/>
                  </a:lnTo>
                  <a:lnTo>
                    <a:pt x="476" y="467"/>
                  </a:lnTo>
                  <a:lnTo>
                    <a:pt x="471" y="475"/>
                  </a:lnTo>
                  <a:lnTo>
                    <a:pt x="470" y="475"/>
                  </a:lnTo>
                  <a:lnTo>
                    <a:pt x="468" y="472"/>
                  </a:lnTo>
                  <a:lnTo>
                    <a:pt x="468" y="470"/>
                  </a:lnTo>
                  <a:lnTo>
                    <a:pt x="473" y="460"/>
                  </a:lnTo>
                  <a:lnTo>
                    <a:pt x="476" y="460"/>
                  </a:lnTo>
                  <a:lnTo>
                    <a:pt x="470" y="456"/>
                  </a:lnTo>
                  <a:lnTo>
                    <a:pt x="467" y="448"/>
                  </a:lnTo>
                  <a:lnTo>
                    <a:pt x="461" y="444"/>
                  </a:lnTo>
                  <a:lnTo>
                    <a:pt x="458" y="441"/>
                  </a:lnTo>
                  <a:lnTo>
                    <a:pt x="458" y="439"/>
                  </a:lnTo>
                  <a:lnTo>
                    <a:pt x="460" y="439"/>
                  </a:lnTo>
                  <a:lnTo>
                    <a:pt x="461" y="441"/>
                  </a:lnTo>
                  <a:lnTo>
                    <a:pt x="461" y="439"/>
                  </a:lnTo>
                  <a:lnTo>
                    <a:pt x="454" y="438"/>
                  </a:lnTo>
                  <a:lnTo>
                    <a:pt x="452" y="436"/>
                  </a:lnTo>
                  <a:lnTo>
                    <a:pt x="454" y="436"/>
                  </a:lnTo>
                  <a:lnTo>
                    <a:pt x="455" y="433"/>
                  </a:lnTo>
                  <a:lnTo>
                    <a:pt x="454" y="433"/>
                  </a:lnTo>
                  <a:lnTo>
                    <a:pt x="454" y="427"/>
                  </a:lnTo>
                  <a:lnTo>
                    <a:pt x="451" y="427"/>
                  </a:lnTo>
                  <a:lnTo>
                    <a:pt x="451" y="423"/>
                  </a:lnTo>
                  <a:lnTo>
                    <a:pt x="452" y="423"/>
                  </a:lnTo>
                  <a:lnTo>
                    <a:pt x="457" y="426"/>
                  </a:lnTo>
                  <a:lnTo>
                    <a:pt x="452" y="421"/>
                  </a:lnTo>
                  <a:lnTo>
                    <a:pt x="449" y="421"/>
                  </a:lnTo>
                  <a:lnTo>
                    <a:pt x="448" y="417"/>
                  </a:lnTo>
                  <a:lnTo>
                    <a:pt x="446" y="417"/>
                  </a:lnTo>
                  <a:lnTo>
                    <a:pt x="443" y="411"/>
                  </a:lnTo>
                  <a:lnTo>
                    <a:pt x="436" y="408"/>
                  </a:lnTo>
                  <a:lnTo>
                    <a:pt x="436" y="407"/>
                  </a:lnTo>
                  <a:lnTo>
                    <a:pt x="427" y="384"/>
                  </a:lnTo>
                  <a:lnTo>
                    <a:pt x="427" y="387"/>
                  </a:lnTo>
                  <a:lnTo>
                    <a:pt x="433" y="405"/>
                  </a:lnTo>
                  <a:lnTo>
                    <a:pt x="431" y="410"/>
                  </a:lnTo>
                  <a:lnTo>
                    <a:pt x="431" y="411"/>
                  </a:lnTo>
                  <a:lnTo>
                    <a:pt x="427" y="411"/>
                  </a:lnTo>
                  <a:lnTo>
                    <a:pt x="425" y="405"/>
                  </a:lnTo>
                  <a:lnTo>
                    <a:pt x="421" y="408"/>
                  </a:lnTo>
                  <a:lnTo>
                    <a:pt x="421" y="407"/>
                  </a:lnTo>
                  <a:lnTo>
                    <a:pt x="420" y="407"/>
                  </a:lnTo>
                  <a:lnTo>
                    <a:pt x="421" y="402"/>
                  </a:lnTo>
                  <a:lnTo>
                    <a:pt x="418" y="395"/>
                  </a:lnTo>
                  <a:lnTo>
                    <a:pt x="417" y="398"/>
                  </a:lnTo>
                  <a:lnTo>
                    <a:pt x="408" y="393"/>
                  </a:lnTo>
                  <a:lnTo>
                    <a:pt x="418" y="404"/>
                  </a:lnTo>
                  <a:lnTo>
                    <a:pt x="418" y="408"/>
                  </a:lnTo>
                  <a:lnTo>
                    <a:pt x="411" y="411"/>
                  </a:lnTo>
                  <a:lnTo>
                    <a:pt x="397" y="402"/>
                  </a:lnTo>
                  <a:lnTo>
                    <a:pt x="399" y="399"/>
                  </a:lnTo>
                  <a:lnTo>
                    <a:pt x="391" y="392"/>
                  </a:lnTo>
                  <a:lnTo>
                    <a:pt x="390" y="392"/>
                  </a:lnTo>
                  <a:lnTo>
                    <a:pt x="390" y="384"/>
                  </a:lnTo>
                  <a:lnTo>
                    <a:pt x="385" y="389"/>
                  </a:lnTo>
                  <a:lnTo>
                    <a:pt x="369" y="378"/>
                  </a:lnTo>
                  <a:lnTo>
                    <a:pt x="369" y="377"/>
                  </a:lnTo>
                  <a:lnTo>
                    <a:pt x="372" y="375"/>
                  </a:lnTo>
                  <a:lnTo>
                    <a:pt x="374" y="367"/>
                  </a:lnTo>
                  <a:lnTo>
                    <a:pt x="372" y="365"/>
                  </a:lnTo>
                  <a:lnTo>
                    <a:pt x="369" y="371"/>
                  </a:lnTo>
                  <a:lnTo>
                    <a:pt x="368" y="371"/>
                  </a:lnTo>
                  <a:lnTo>
                    <a:pt x="359" y="374"/>
                  </a:lnTo>
                  <a:lnTo>
                    <a:pt x="350" y="370"/>
                  </a:lnTo>
                  <a:lnTo>
                    <a:pt x="348" y="370"/>
                  </a:lnTo>
                  <a:lnTo>
                    <a:pt x="348" y="365"/>
                  </a:lnTo>
                  <a:lnTo>
                    <a:pt x="337" y="365"/>
                  </a:lnTo>
                  <a:lnTo>
                    <a:pt x="326" y="367"/>
                  </a:lnTo>
                  <a:lnTo>
                    <a:pt x="314" y="367"/>
                  </a:lnTo>
                  <a:lnTo>
                    <a:pt x="302" y="355"/>
                  </a:lnTo>
                  <a:lnTo>
                    <a:pt x="298" y="358"/>
                  </a:lnTo>
                  <a:lnTo>
                    <a:pt x="291" y="352"/>
                  </a:lnTo>
                  <a:lnTo>
                    <a:pt x="291" y="349"/>
                  </a:lnTo>
                  <a:lnTo>
                    <a:pt x="283" y="349"/>
                  </a:lnTo>
                  <a:lnTo>
                    <a:pt x="286" y="346"/>
                  </a:lnTo>
                  <a:lnTo>
                    <a:pt x="279" y="347"/>
                  </a:lnTo>
                  <a:lnTo>
                    <a:pt x="279" y="346"/>
                  </a:lnTo>
                  <a:lnTo>
                    <a:pt x="282" y="344"/>
                  </a:lnTo>
                  <a:lnTo>
                    <a:pt x="279" y="344"/>
                  </a:lnTo>
                  <a:lnTo>
                    <a:pt x="280" y="338"/>
                  </a:lnTo>
                  <a:lnTo>
                    <a:pt x="270" y="341"/>
                  </a:lnTo>
                  <a:lnTo>
                    <a:pt x="268" y="341"/>
                  </a:lnTo>
                  <a:lnTo>
                    <a:pt x="267" y="338"/>
                  </a:lnTo>
                  <a:lnTo>
                    <a:pt x="267" y="341"/>
                  </a:lnTo>
                  <a:lnTo>
                    <a:pt x="264" y="343"/>
                  </a:lnTo>
                  <a:lnTo>
                    <a:pt x="262" y="343"/>
                  </a:lnTo>
                  <a:lnTo>
                    <a:pt x="264" y="335"/>
                  </a:lnTo>
                  <a:lnTo>
                    <a:pt x="255" y="344"/>
                  </a:lnTo>
                  <a:lnTo>
                    <a:pt x="259" y="346"/>
                  </a:lnTo>
                  <a:lnTo>
                    <a:pt x="259" y="347"/>
                  </a:lnTo>
                  <a:lnTo>
                    <a:pt x="257" y="353"/>
                  </a:lnTo>
                  <a:lnTo>
                    <a:pt x="262" y="352"/>
                  </a:lnTo>
                  <a:lnTo>
                    <a:pt x="257" y="367"/>
                  </a:lnTo>
                  <a:lnTo>
                    <a:pt x="255" y="367"/>
                  </a:lnTo>
                  <a:lnTo>
                    <a:pt x="245" y="365"/>
                  </a:lnTo>
                  <a:lnTo>
                    <a:pt x="242" y="374"/>
                  </a:lnTo>
                  <a:lnTo>
                    <a:pt x="240" y="374"/>
                  </a:lnTo>
                  <a:lnTo>
                    <a:pt x="240" y="375"/>
                  </a:lnTo>
                  <a:lnTo>
                    <a:pt x="236" y="375"/>
                  </a:lnTo>
                  <a:lnTo>
                    <a:pt x="233" y="383"/>
                  </a:lnTo>
                  <a:lnTo>
                    <a:pt x="231" y="383"/>
                  </a:lnTo>
                  <a:lnTo>
                    <a:pt x="231" y="378"/>
                  </a:lnTo>
                  <a:lnTo>
                    <a:pt x="224" y="386"/>
                  </a:lnTo>
                  <a:lnTo>
                    <a:pt x="215" y="389"/>
                  </a:lnTo>
                  <a:lnTo>
                    <a:pt x="214" y="389"/>
                  </a:lnTo>
                  <a:lnTo>
                    <a:pt x="214" y="387"/>
                  </a:lnTo>
                  <a:lnTo>
                    <a:pt x="211" y="386"/>
                  </a:lnTo>
                  <a:lnTo>
                    <a:pt x="211" y="384"/>
                  </a:lnTo>
                  <a:lnTo>
                    <a:pt x="212" y="380"/>
                  </a:lnTo>
                  <a:lnTo>
                    <a:pt x="218" y="380"/>
                  </a:lnTo>
                  <a:lnTo>
                    <a:pt x="222" y="374"/>
                  </a:lnTo>
                  <a:lnTo>
                    <a:pt x="216" y="377"/>
                  </a:lnTo>
                  <a:lnTo>
                    <a:pt x="216" y="375"/>
                  </a:lnTo>
                  <a:lnTo>
                    <a:pt x="212" y="374"/>
                  </a:lnTo>
                  <a:lnTo>
                    <a:pt x="212" y="373"/>
                  </a:lnTo>
                  <a:lnTo>
                    <a:pt x="218" y="358"/>
                  </a:lnTo>
                  <a:lnTo>
                    <a:pt x="219" y="346"/>
                  </a:lnTo>
                  <a:lnTo>
                    <a:pt x="231" y="340"/>
                  </a:lnTo>
                  <a:lnTo>
                    <a:pt x="243" y="341"/>
                  </a:lnTo>
                  <a:lnTo>
                    <a:pt x="236" y="338"/>
                  </a:lnTo>
                  <a:lnTo>
                    <a:pt x="236" y="337"/>
                  </a:lnTo>
                  <a:lnTo>
                    <a:pt x="242" y="330"/>
                  </a:lnTo>
                  <a:lnTo>
                    <a:pt x="236" y="334"/>
                  </a:lnTo>
                  <a:lnTo>
                    <a:pt x="234" y="334"/>
                  </a:lnTo>
                  <a:lnTo>
                    <a:pt x="228" y="332"/>
                  </a:lnTo>
                  <a:lnTo>
                    <a:pt x="214" y="343"/>
                  </a:lnTo>
                  <a:lnTo>
                    <a:pt x="203" y="361"/>
                  </a:lnTo>
                  <a:lnTo>
                    <a:pt x="202" y="361"/>
                  </a:lnTo>
                  <a:lnTo>
                    <a:pt x="197" y="359"/>
                  </a:lnTo>
                  <a:lnTo>
                    <a:pt x="202" y="367"/>
                  </a:lnTo>
                  <a:lnTo>
                    <a:pt x="184" y="381"/>
                  </a:lnTo>
                  <a:lnTo>
                    <a:pt x="182" y="389"/>
                  </a:lnTo>
                  <a:lnTo>
                    <a:pt x="188" y="390"/>
                  </a:lnTo>
                  <a:lnTo>
                    <a:pt x="193" y="395"/>
                  </a:lnTo>
                  <a:lnTo>
                    <a:pt x="193" y="396"/>
                  </a:lnTo>
                  <a:lnTo>
                    <a:pt x="184" y="405"/>
                  </a:lnTo>
                  <a:lnTo>
                    <a:pt x="182" y="408"/>
                  </a:lnTo>
                  <a:lnTo>
                    <a:pt x="184" y="411"/>
                  </a:lnTo>
                  <a:lnTo>
                    <a:pt x="184" y="413"/>
                  </a:lnTo>
                  <a:lnTo>
                    <a:pt x="182" y="413"/>
                  </a:lnTo>
                  <a:lnTo>
                    <a:pt x="171" y="417"/>
                  </a:lnTo>
                  <a:lnTo>
                    <a:pt x="166" y="424"/>
                  </a:lnTo>
                  <a:lnTo>
                    <a:pt x="163" y="423"/>
                  </a:lnTo>
                  <a:lnTo>
                    <a:pt x="162" y="427"/>
                  </a:lnTo>
                  <a:lnTo>
                    <a:pt x="153" y="433"/>
                  </a:lnTo>
                  <a:lnTo>
                    <a:pt x="154" y="433"/>
                  </a:lnTo>
                  <a:lnTo>
                    <a:pt x="153" y="439"/>
                  </a:lnTo>
                  <a:lnTo>
                    <a:pt x="139" y="445"/>
                  </a:lnTo>
                  <a:lnTo>
                    <a:pt x="139" y="451"/>
                  </a:lnTo>
                  <a:lnTo>
                    <a:pt x="133" y="451"/>
                  </a:lnTo>
                  <a:lnTo>
                    <a:pt x="133" y="453"/>
                  </a:lnTo>
                  <a:lnTo>
                    <a:pt x="135" y="453"/>
                  </a:lnTo>
                  <a:lnTo>
                    <a:pt x="135" y="454"/>
                  </a:lnTo>
                  <a:lnTo>
                    <a:pt x="133" y="454"/>
                  </a:lnTo>
                  <a:lnTo>
                    <a:pt x="123" y="457"/>
                  </a:lnTo>
                  <a:lnTo>
                    <a:pt x="120" y="456"/>
                  </a:lnTo>
                  <a:lnTo>
                    <a:pt x="125" y="463"/>
                  </a:lnTo>
                  <a:lnTo>
                    <a:pt x="125" y="464"/>
                  </a:lnTo>
                  <a:lnTo>
                    <a:pt x="114" y="467"/>
                  </a:lnTo>
                  <a:lnTo>
                    <a:pt x="111" y="475"/>
                  </a:lnTo>
                  <a:lnTo>
                    <a:pt x="110" y="475"/>
                  </a:lnTo>
                  <a:lnTo>
                    <a:pt x="107" y="469"/>
                  </a:lnTo>
                  <a:lnTo>
                    <a:pt x="88" y="479"/>
                  </a:lnTo>
                  <a:lnTo>
                    <a:pt x="86" y="479"/>
                  </a:lnTo>
                  <a:lnTo>
                    <a:pt x="86" y="473"/>
                  </a:lnTo>
                  <a:lnTo>
                    <a:pt x="80" y="485"/>
                  </a:lnTo>
                  <a:lnTo>
                    <a:pt x="74" y="487"/>
                  </a:lnTo>
                  <a:lnTo>
                    <a:pt x="73" y="485"/>
                  </a:lnTo>
                  <a:lnTo>
                    <a:pt x="73" y="487"/>
                  </a:lnTo>
                  <a:lnTo>
                    <a:pt x="65" y="485"/>
                  </a:lnTo>
                  <a:lnTo>
                    <a:pt x="64" y="490"/>
                  </a:lnTo>
                  <a:lnTo>
                    <a:pt x="64" y="491"/>
                  </a:lnTo>
                  <a:lnTo>
                    <a:pt x="62" y="491"/>
                  </a:lnTo>
                  <a:lnTo>
                    <a:pt x="59" y="485"/>
                  </a:lnTo>
                  <a:lnTo>
                    <a:pt x="59" y="484"/>
                  </a:lnTo>
                  <a:lnTo>
                    <a:pt x="61" y="484"/>
                  </a:lnTo>
                  <a:lnTo>
                    <a:pt x="62" y="482"/>
                  </a:lnTo>
                  <a:lnTo>
                    <a:pt x="89" y="463"/>
                  </a:lnTo>
                  <a:lnTo>
                    <a:pt x="98" y="466"/>
                  </a:lnTo>
                  <a:lnTo>
                    <a:pt x="98" y="464"/>
                  </a:lnTo>
                  <a:lnTo>
                    <a:pt x="99" y="463"/>
                  </a:lnTo>
                  <a:lnTo>
                    <a:pt x="99" y="460"/>
                  </a:lnTo>
                  <a:lnTo>
                    <a:pt x="102" y="457"/>
                  </a:lnTo>
                  <a:lnTo>
                    <a:pt x="102" y="454"/>
                  </a:lnTo>
                  <a:lnTo>
                    <a:pt x="123" y="444"/>
                  </a:lnTo>
                  <a:lnTo>
                    <a:pt x="125" y="438"/>
                  </a:lnTo>
                  <a:lnTo>
                    <a:pt x="132" y="433"/>
                  </a:lnTo>
                  <a:lnTo>
                    <a:pt x="141" y="410"/>
                  </a:lnTo>
                  <a:lnTo>
                    <a:pt x="138" y="410"/>
                  </a:lnTo>
                  <a:lnTo>
                    <a:pt x="138" y="408"/>
                  </a:lnTo>
                  <a:lnTo>
                    <a:pt x="139" y="402"/>
                  </a:lnTo>
                  <a:lnTo>
                    <a:pt x="147" y="392"/>
                  </a:lnTo>
                  <a:lnTo>
                    <a:pt x="132" y="401"/>
                  </a:lnTo>
                  <a:lnTo>
                    <a:pt x="131" y="402"/>
                  </a:lnTo>
                  <a:lnTo>
                    <a:pt x="131" y="401"/>
                  </a:lnTo>
                  <a:lnTo>
                    <a:pt x="125" y="396"/>
                  </a:lnTo>
                  <a:lnTo>
                    <a:pt x="125" y="393"/>
                  </a:lnTo>
                  <a:lnTo>
                    <a:pt x="122" y="398"/>
                  </a:lnTo>
                  <a:lnTo>
                    <a:pt x="123" y="404"/>
                  </a:lnTo>
                  <a:lnTo>
                    <a:pt x="123" y="405"/>
                  </a:lnTo>
                  <a:lnTo>
                    <a:pt x="120" y="407"/>
                  </a:lnTo>
                  <a:lnTo>
                    <a:pt x="120" y="408"/>
                  </a:lnTo>
                  <a:lnTo>
                    <a:pt x="119" y="407"/>
                  </a:lnTo>
                  <a:lnTo>
                    <a:pt x="111" y="395"/>
                  </a:lnTo>
                  <a:lnTo>
                    <a:pt x="102" y="395"/>
                  </a:lnTo>
                  <a:lnTo>
                    <a:pt x="102" y="387"/>
                  </a:lnTo>
                  <a:lnTo>
                    <a:pt x="96" y="393"/>
                  </a:lnTo>
                  <a:lnTo>
                    <a:pt x="79" y="402"/>
                  </a:lnTo>
                  <a:lnTo>
                    <a:pt x="77" y="402"/>
                  </a:lnTo>
                  <a:lnTo>
                    <a:pt x="77" y="401"/>
                  </a:lnTo>
                  <a:lnTo>
                    <a:pt x="85" y="396"/>
                  </a:lnTo>
                  <a:lnTo>
                    <a:pt x="83" y="392"/>
                  </a:lnTo>
                  <a:lnTo>
                    <a:pt x="83" y="390"/>
                  </a:lnTo>
                  <a:lnTo>
                    <a:pt x="85" y="389"/>
                  </a:lnTo>
                  <a:lnTo>
                    <a:pt x="80" y="387"/>
                  </a:lnTo>
                  <a:lnTo>
                    <a:pt x="79" y="387"/>
                  </a:lnTo>
                  <a:lnTo>
                    <a:pt x="79" y="386"/>
                  </a:lnTo>
                  <a:lnTo>
                    <a:pt x="83" y="377"/>
                  </a:lnTo>
                  <a:lnTo>
                    <a:pt x="74" y="358"/>
                  </a:lnTo>
                  <a:lnTo>
                    <a:pt x="83" y="347"/>
                  </a:lnTo>
                  <a:lnTo>
                    <a:pt x="77" y="352"/>
                  </a:lnTo>
                  <a:lnTo>
                    <a:pt x="74" y="358"/>
                  </a:lnTo>
                  <a:lnTo>
                    <a:pt x="76" y="362"/>
                  </a:lnTo>
                  <a:lnTo>
                    <a:pt x="67" y="375"/>
                  </a:lnTo>
                  <a:lnTo>
                    <a:pt x="64" y="375"/>
                  </a:lnTo>
                  <a:lnTo>
                    <a:pt x="59" y="374"/>
                  </a:lnTo>
                  <a:lnTo>
                    <a:pt x="55" y="374"/>
                  </a:lnTo>
                  <a:lnTo>
                    <a:pt x="50" y="368"/>
                  </a:lnTo>
                  <a:lnTo>
                    <a:pt x="52" y="368"/>
                  </a:lnTo>
                  <a:lnTo>
                    <a:pt x="52" y="367"/>
                  </a:lnTo>
                  <a:lnTo>
                    <a:pt x="49" y="367"/>
                  </a:lnTo>
                  <a:lnTo>
                    <a:pt x="48" y="361"/>
                  </a:lnTo>
                  <a:lnTo>
                    <a:pt x="48" y="359"/>
                  </a:lnTo>
                  <a:lnTo>
                    <a:pt x="56" y="344"/>
                  </a:lnTo>
                  <a:lnTo>
                    <a:pt x="48" y="344"/>
                  </a:lnTo>
                  <a:lnTo>
                    <a:pt x="45" y="343"/>
                  </a:lnTo>
                  <a:lnTo>
                    <a:pt x="46" y="338"/>
                  </a:lnTo>
                  <a:lnTo>
                    <a:pt x="43" y="338"/>
                  </a:lnTo>
                  <a:lnTo>
                    <a:pt x="39" y="340"/>
                  </a:lnTo>
                  <a:lnTo>
                    <a:pt x="37" y="340"/>
                  </a:lnTo>
                  <a:lnTo>
                    <a:pt x="34" y="334"/>
                  </a:lnTo>
                  <a:lnTo>
                    <a:pt x="34" y="332"/>
                  </a:lnTo>
                  <a:lnTo>
                    <a:pt x="36" y="330"/>
                  </a:lnTo>
                  <a:lnTo>
                    <a:pt x="28" y="330"/>
                  </a:lnTo>
                  <a:lnTo>
                    <a:pt x="28" y="328"/>
                  </a:lnTo>
                  <a:lnTo>
                    <a:pt x="30" y="328"/>
                  </a:lnTo>
                  <a:lnTo>
                    <a:pt x="34" y="324"/>
                  </a:lnTo>
                  <a:lnTo>
                    <a:pt x="25" y="327"/>
                  </a:lnTo>
                  <a:lnTo>
                    <a:pt x="24" y="327"/>
                  </a:lnTo>
                  <a:lnTo>
                    <a:pt x="27" y="321"/>
                  </a:lnTo>
                  <a:lnTo>
                    <a:pt x="25" y="318"/>
                  </a:lnTo>
                  <a:lnTo>
                    <a:pt x="30" y="315"/>
                  </a:lnTo>
                  <a:lnTo>
                    <a:pt x="34" y="301"/>
                  </a:lnTo>
                  <a:lnTo>
                    <a:pt x="46" y="291"/>
                  </a:lnTo>
                  <a:lnTo>
                    <a:pt x="53" y="291"/>
                  </a:lnTo>
                  <a:lnTo>
                    <a:pt x="53" y="287"/>
                  </a:lnTo>
                  <a:lnTo>
                    <a:pt x="58" y="284"/>
                  </a:lnTo>
                  <a:lnTo>
                    <a:pt x="67" y="282"/>
                  </a:lnTo>
                  <a:lnTo>
                    <a:pt x="77" y="269"/>
                  </a:lnTo>
                  <a:lnTo>
                    <a:pt x="92" y="267"/>
                  </a:lnTo>
                  <a:lnTo>
                    <a:pt x="96" y="258"/>
                  </a:lnTo>
                  <a:lnTo>
                    <a:pt x="88" y="239"/>
                  </a:lnTo>
                  <a:lnTo>
                    <a:pt x="93" y="239"/>
                  </a:lnTo>
                  <a:lnTo>
                    <a:pt x="96" y="233"/>
                  </a:lnTo>
                  <a:lnTo>
                    <a:pt x="85" y="230"/>
                  </a:lnTo>
                  <a:lnTo>
                    <a:pt x="71" y="248"/>
                  </a:lnTo>
                  <a:lnTo>
                    <a:pt x="68" y="241"/>
                  </a:lnTo>
                  <a:lnTo>
                    <a:pt x="67" y="242"/>
                  </a:lnTo>
                  <a:lnTo>
                    <a:pt x="67" y="244"/>
                  </a:lnTo>
                  <a:lnTo>
                    <a:pt x="59" y="239"/>
                  </a:lnTo>
                  <a:lnTo>
                    <a:pt x="43" y="242"/>
                  </a:lnTo>
                  <a:lnTo>
                    <a:pt x="27" y="239"/>
                  </a:lnTo>
                  <a:lnTo>
                    <a:pt x="27" y="238"/>
                  </a:lnTo>
                  <a:lnTo>
                    <a:pt x="16" y="218"/>
                  </a:lnTo>
                  <a:lnTo>
                    <a:pt x="24" y="215"/>
                  </a:lnTo>
                  <a:lnTo>
                    <a:pt x="10" y="214"/>
                  </a:lnTo>
                  <a:lnTo>
                    <a:pt x="0" y="203"/>
                  </a:lnTo>
                  <a:lnTo>
                    <a:pt x="0" y="202"/>
                  </a:lnTo>
                  <a:lnTo>
                    <a:pt x="24" y="187"/>
                  </a:lnTo>
                  <a:lnTo>
                    <a:pt x="33" y="189"/>
                  </a:lnTo>
                  <a:lnTo>
                    <a:pt x="30" y="186"/>
                  </a:lnTo>
                  <a:lnTo>
                    <a:pt x="30" y="184"/>
                  </a:lnTo>
                  <a:lnTo>
                    <a:pt x="31" y="184"/>
                  </a:lnTo>
                  <a:lnTo>
                    <a:pt x="46" y="174"/>
                  </a:lnTo>
                  <a:lnTo>
                    <a:pt x="55" y="174"/>
                  </a:lnTo>
                  <a:lnTo>
                    <a:pt x="58" y="175"/>
                  </a:lnTo>
                  <a:lnTo>
                    <a:pt x="58" y="184"/>
                  </a:lnTo>
                  <a:lnTo>
                    <a:pt x="55" y="186"/>
                  </a:lnTo>
                  <a:lnTo>
                    <a:pt x="59" y="192"/>
                  </a:lnTo>
                  <a:lnTo>
                    <a:pt x="83" y="195"/>
                  </a:lnTo>
                  <a:lnTo>
                    <a:pt x="86" y="184"/>
                  </a:lnTo>
                  <a:lnTo>
                    <a:pt x="82" y="184"/>
                  </a:lnTo>
                  <a:lnTo>
                    <a:pt x="80" y="183"/>
                  </a:lnTo>
                  <a:lnTo>
                    <a:pt x="82" y="178"/>
                  </a:lnTo>
                  <a:lnTo>
                    <a:pt x="79" y="172"/>
                  </a:lnTo>
                  <a:lnTo>
                    <a:pt x="79" y="171"/>
                  </a:lnTo>
                  <a:lnTo>
                    <a:pt x="80" y="171"/>
                  </a:lnTo>
                  <a:lnTo>
                    <a:pt x="85" y="178"/>
                  </a:lnTo>
                  <a:lnTo>
                    <a:pt x="98" y="181"/>
                  </a:lnTo>
                  <a:lnTo>
                    <a:pt x="111" y="175"/>
                  </a:lnTo>
                  <a:lnTo>
                    <a:pt x="90" y="171"/>
                  </a:lnTo>
                  <a:lnTo>
                    <a:pt x="90" y="177"/>
                  </a:lnTo>
                  <a:lnTo>
                    <a:pt x="89" y="177"/>
                  </a:lnTo>
                  <a:lnTo>
                    <a:pt x="82" y="169"/>
                  </a:lnTo>
                  <a:lnTo>
                    <a:pt x="82" y="168"/>
                  </a:lnTo>
                  <a:lnTo>
                    <a:pt x="86" y="162"/>
                  </a:lnTo>
                  <a:lnTo>
                    <a:pt x="86" y="160"/>
                  </a:lnTo>
                  <a:lnTo>
                    <a:pt x="80" y="160"/>
                  </a:lnTo>
                  <a:lnTo>
                    <a:pt x="77" y="162"/>
                  </a:lnTo>
                  <a:lnTo>
                    <a:pt x="74" y="162"/>
                  </a:lnTo>
                  <a:lnTo>
                    <a:pt x="74" y="158"/>
                  </a:lnTo>
                  <a:lnTo>
                    <a:pt x="71" y="162"/>
                  </a:lnTo>
                  <a:lnTo>
                    <a:pt x="70" y="162"/>
                  </a:lnTo>
                  <a:lnTo>
                    <a:pt x="59" y="158"/>
                  </a:lnTo>
                  <a:lnTo>
                    <a:pt x="55" y="143"/>
                  </a:lnTo>
                  <a:lnTo>
                    <a:pt x="49" y="137"/>
                  </a:lnTo>
                  <a:lnTo>
                    <a:pt x="16" y="115"/>
                  </a:lnTo>
                  <a:lnTo>
                    <a:pt x="16" y="113"/>
                  </a:lnTo>
                  <a:lnTo>
                    <a:pt x="24" y="109"/>
                  </a:lnTo>
                  <a:lnTo>
                    <a:pt x="24" y="95"/>
                  </a:lnTo>
                  <a:lnTo>
                    <a:pt x="25" y="95"/>
                  </a:lnTo>
                  <a:lnTo>
                    <a:pt x="55" y="91"/>
                  </a:lnTo>
                  <a:lnTo>
                    <a:pt x="65" y="76"/>
                  </a:lnTo>
                  <a:lnTo>
                    <a:pt x="67" y="67"/>
                  </a:lnTo>
                  <a:lnTo>
                    <a:pt x="67" y="66"/>
                  </a:lnTo>
                  <a:lnTo>
                    <a:pt x="68" y="66"/>
                  </a:lnTo>
                  <a:lnTo>
                    <a:pt x="67" y="64"/>
                  </a:lnTo>
                  <a:lnTo>
                    <a:pt x="67" y="63"/>
                  </a:lnTo>
                  <a:lnTo>
                    <a:pt x="68" y="63"/>
                  </a:lnTo>
                  <a:lnTo>
                    <a:pt x="68" y="61"/>
                  </a:lnTo>
                  <a:lnTo>
                    <a:pt x="74" y="52"/>
                  </a:lnTo>
                  <a:lnTo>
                    <a:pt x="76" y="52"/>
                  </a:lnTo>
                  <a:lnTo>
                    <a:pt x="80" y="55"/>
                  </a:lnTo>
                  <a:lnTo>
                    <a:pt x="77" y="52"/>
                  </a:lnTo>
                  <a:lnTo>
                    <a:pt x="77" y="51"/>
                  </a:lnTo>
                  <a:lnTo>
                    <a:pt x="80" y="42"/>
                  </a:lnTo>
                  <a:lnTo>
                    <a:pt x="83" y="42"/>
                  </a:lnTo>
                  <a:lnTo>
                    <a:pt x="85" y="43"/>
                  </a:lnTo>
                  <a:lnTo>
                    <a:pt x="83" y="46"/>
                  </a:lnTo>
                  <a:lnTo>
                    <a:pt x="104" y="30"/>
                  </a:lnTo>
                  <a:lnTo>
                    <a:pt x="107" y="33"/>
                  </a:lnTo>
                  <a:lnTo>
                    <a:pt x="107" y="34"/>
                  </a:lnTo>
                  <a:lnTo>
                    <a:pt x="105" y="40"/>
                  </a:lnTo>
                  <a:lnTo>
                    <a:pt x="107" y="42"/>
                  </a:lnTo>
                  <a:lnTo>
                    <a:pt x="108" y="34"/>
                  </a:lnTo>
                  <a:lnTo>
                    <a:pt x="113" y="33"/>
                  </a:lnTo>
                  <a:lnTo>
                    <a:pt x="105" y="29"/>
                  </a:lnTo>
                  <a:lnTo>
                    <a:pt x="108" y="24"/>
                  </a:lnTo>
                  <a:lnTo>
                    <a:pt x="119" y="17"/>
                  </a:lnTo>
                  <a:lnTo>
                    <a:pt x="120" y="17"/>
                  </a:lnTo>
                  <a:lnTo>
                    <a:pt x="120" y="18"/>
                  </a:lnTo>
                  <a:lnTo>
                    <a:pt x="114" y="24"/>
                  </a:lnTo>
                  <a:lnTo>
                    <a:pt x="117" y="26"/>
                  </a:lnTo>
                  <a:lnTo>
                    <a:pt x="117" y="23"/>
                  </a:lnTo>
                  <a:lnTo>
                    <a:pt x="133" y="20"/>
                  </a:lnTo>
                  <a:lnTo>
                    <a:pt x="15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 name="Alaska - Offshore">
              <a:extLst>
                <a:ext uri="{FF2B5EF4-FFF2-40B4-BE49-F238E27FC236}">
                  <a16:creationId xmlns:a16="http://schemas.microsoft.com/office/drawing/2014/main" id="{78FCB6CB-E32B-475E-B02E-92690EB08C14}"/>
                </a:ext>
              </a:extLst>
            </p:cNvPr>
            <p:cNvSpPr>
              <a:spLocks/>
            </p:cNvSpPr>
            <p:nvPr/>
          </p:nvSpPr>
          <p:spPr bwMode="auto">
            <a:xfrm>
              <a:off x="1866572" y="2446039"/>
              <a:ext cx="907145" cy="701140"/>
            </a:xfrm>
            <a:custGeom>
              <a:avLst/>
              <a:gdLst/>
              <a:ahLst/>
              <a:cxnLst/>
              <a:rect l="l" t="t" r="r" b="b"/>
              <a:pathLst>
                <a:path w="914377" h="706729">
                  <a:moveTo>
                    <a:pt x="892519" y="639334"/>
                  </a:moveTo>
                  <a:lnTo>
                    <a:pt x="903448" y="644799"/>
                  </a:lnTo>
                  <a:lnTo>
                    <a:pt x="912556" y="655728"/>
                  </a:lnTo>
                  <a:lnTo>
                    <a:pt x="914377" y="655728"/>
                  </a:lnTo>
                  <a:lnTo>
                    <a:pt x="912556" y="666657"/>
                  </a:lnTo>
                  <a:lnTo>
                    <a:pt x="908913" y="666657"/>
                  </a:lnTo>
                  <a:lnTo>
                    <a:pt x="901741" y="654704"/>
                  </a:lnTo>
                  <a:lnTo>
                    <a:pt x="903448" y="666656"/>
                  </a:lnTo>
                  <a:lnTo>
                    <a:pt x="887054" y="648441"/>
                  </a:lnTo>
                  <a:lnTo>
                    <a:pt x="887054" y="644798"/>
                  </a:lnTo>
                  <a:lnTo>
                    <a:pt x="898336" y="649029"/>
                  </a:lnTo>
                  <a:close/>
                  <a:moveTo>
                    <a:pt x="25501" y="633870"/>
                  </a:moveTo>
                  <a:lnTo>
                    <a:pt x="34608" y="633870"/>
                  </a:lnTo>
                  <a:lnTo>
                    <a:pt x="29144" y="644799"/>
                  </a:lnTo>
                  <a:lnTo>
                    <a:pt x="30965" y="644799"/>
                  </a:lnTo>
                  <a:lnTo>
                    <a:pt x="30965" y="648442"/>
                  </a:lnTo>
                  <a:lnTo>
                    <a:pt x="29144" y="648442"/>
                  </a:lnTo>
                  <a:lnTo>
                    <a:pt x="20036" y="655728"/>
                  </a:lnTo>
                  <a:lnTo>
                    <a:pt x="0" y="664836"/>
                  </a:lnTo>
                  <a:lnTo>
                    <a:pt x="0" y="661193"/>
                  </a:lnTo>
                  <a:lnTo>
                    <a:pt x="14572" y="644799"/>
                  </a:lnTo>
                  <a:lnTo>
                    <a:pt x="12750" y="637513"/>
                  </a:lnTo>
                  <a:lnTo>
                    <a:pt x="18215" y="637513"/>
                  </a:lnTo>
                  <a:close/>
                  <a:moveTo>
                    <a:pt x="887056" y="628405"/>
                  </a:moveTo>
                  <a:lnTo>
                    <a:pt x="890699" y="628405"/>
                  </a:lnTo>
                  <a:lnTo>
                    <a:pt x="892520" y="637513"/>
                  </a:lnTo>
                  <a:lnTo>
                    <a:pt x="892520" y="639334"/>
                  </a:lnTo>
                  <a:lnTo>
                    <a:pt x="885234" y="637513"/>
                  </a:lnTo>
                  <a:lnTo>
                    <a:pt x="881591" y="633870"/>
                  </a:lnTo>
                  <a:close/>
                  <a:moveTo>
                    <a:pt x="823304" y="626583"/>
                  </a:moveTo>
                  <a:lnTo>
                    <a:pt x="839697" y="626583"/>
                  </a:lnTo>
                  <a:lnTo>
                    <a:pt x="839697" y="632048"/>
                  </a:lnTo>
                  <a:lnTo>
                    <a:pt x="843340" y="626583"/>
                  </a:lnTo>
                  <a:lnTo>
                    <a:pt x="843340" y="628405"/>
                  </a:lnTo>
                  <a:lnTo>
                    <a:pt x="846983" y="637512"/>
                  </a:lnTo>
                  <a:lnTo>
                    <a:pt x="848804" y="632048"/>
                  </a:lnTo>
                  <a:lnTo>
                    <a:pt x="854269" y="626583"/>
                  </a:lnTo>
                  <a:lnTo>
                    <a:pt x="857912" y="626583"/>
                  </a:lnTo>
                  <a:lnTo>
                    <a:pt x="859733" y="633869"/>
                  </a:lnTo>
                  <a:lnTo>
                    <a:pt x="854269" y="659369"/>
                  </a:lnTo>
                  <a:lnTo>
                    <a:pt x="854269" y="661191"/>
                  </a:lnTo>
                  <a:lnTo>
                    <a:pt x="854257" y="661200"/>
                  </a:lnTo>
                  <a:lnTo>
                    <a:pt x="854269" y="661192"/>
                  </a:lnTo>
                  <a:lnTo>
                    <a:pt x="854269" y="664835"/>
                  </a:lnTo>
                  <a:lnTo>
                    <a:pt x="857912" y="664835"/>
                  </a:lnTo>
                  <a:lnTo>
                    <a:pt x="859733" y="670300"/>
                  </a:lnTo>
                  <a:lnTo>
                    <a:pt x="859733" y="672121"/>
                  </a:lnTo>
                  <a:lnTo>
                    <a:pt x="857912" y="672121"/>
                  </a:lnTo>
                  <a:lnTo>
                    <a:pt x="859733" y="675764"/>
                  </a:lnTo>
                  <a:lnTo>
                    <a:pt x="859733" y="677585"/>
                  </a:lnTo>
                  <a:lnTo>
                    <a:pt x="854269" y="677585"/>
                  </a:lnTo>
                  <a:lnTo>
                    <a:pt x="854269" y="686693"/>
                  </a:lnTo>
                  <a:lnTo>
                    <a:pt x="868841" y="706729"/>
                  </a:lnTo>
                  <a:lnTo>
                    <a:pt x="846983" y="686693"/>
                  </a:lnTo>
                  <a:lnTo>
                    <a:pt x="846983" y="681228"/>
                  </a:lnTo>
                  <a:lnTo>
                    <a:pt x="843340" y="681228"/>
                  </a:lnTo>
                  <a:lnTo>
                    <a:pt x="843340" y="672121"/>
                  </a:lnTo>
                  <a:lnTo>
                    <a:pt x="841518" y="672121"/>
                  </a:lnTo>
                  <a:lnTo>
                    <a:pt x="841518" y="670300"/>
                  </a:lnTo>
                  <a:lnTo>
                    <a:pt x="841520" y="670298"/>
                  </a:lnTo>
                  <a:lnTo>
                    <a:pt x="841519" y="670298"/>
                  </a:lnTo>
                  <a:lnTo>
                    <a:pt x="839697" y="659369"/>
                  </a:lnTo>
                  <a:lnTo>
                    <a:pt x="841519" y="655726"/>
                  </a:lnTo>
                  <a:lnTo>
                    <a:pt x="830590" y="650262"/>
                  </a:lnTo>
                  <a:lnTo>
                    <a:pt x="823304" y="633869"/>
                  </a:lnTo>
                  <a:close/>
                  <a:moveTo>
                    <a:pt x="40072" y="621119"/>
                  </a:moveTo>
                  <a:lnTo>
                    <a:pt x="41893" y="621119"/>
                  </a:lnTo>
                  <a:lnTo>
                    <a:pt x="47358" y="628405"/>
                  </a:lnTo>
                  <a:lnTo>
                    <a:pt x="41893" y="628405"/>
                  </a:lnTo>
                  <a:lnTo>
                    <a:pt x="40072" y="632048"/>
                  </a:lnTo>
                  <a:lnTo>
                    <a:pt x="36429" y="632048"/>
                  </a:lnTo>
                  <a:lnTo>
                    <a:pt x="36429" y="628405"/>
                  </a:lnTo>
                  <a:lnTo>
                    <a:pt x="40072" y="622941"/>
                  </a:lnTo>
                  <a:close/>
                  <a:moveTo>
                    <a:pt x="96539" y="588333"/>
                  </a:moveTo>
                  <a:lnTo>
                    <a:pt x="109289" y="602905"/>
                  </a:lnTo>
                  <a:lnTo>
                    <a:pt x="109289" y="604726"/>
                  </a:lnTo>
                  <a:lnTo>
                    <a:pt x="107468" y="604726"/>
                  </a:lnTo>
                  <a:lnTo>
                    <a:pt x="85610" y="608369"/>
                  </a:lnTo>
                  <a:lnTo>
                    <a:pt x="78324" y="617476"/>
                  </a:lnTo>
                  <a:lnTo>
                    <a:pt x="74681" y="617476"/>
                  </a:lnTo>
                  <a:lnTo>
                    <a:pt x="63752" y="610190"/>
                  </a:lnTo>
                  <a:lnTo>
                    <a:pt x="63752" y="608369"/>
                  </a:lnTo>
                  <a:lnTo>
                    <a:pt x="74681" y="593797"/>
                  </a:lnTo>
                  <a:close/>
                  <a:moveTo>
                    <a:pt x="163932" y="575583"/>
                  </a:moveTo>
                  <a:lnTo>
                    <a:pt x="165753" y="575583"/>
                  </a:lnTo>
                  <a:lnTo>
                    <a:pt x="169396" y="577405"/>
                  </a:lnTo>
                  <a:lnTo>
                    <a:pt x="171218" y="586512"/>
                  </a:lnTo>
                  <a:lnTo>
                    <a:pt x="163932" y="586512"/>
                  </a:lnTo>
                  <a:close/>
                  <a:moveTo>
                    <a:pt x="870662" y="553725"/>
                  </a:moveTo>
                  <a:lnTo>
                    <a:pt x="879769" y="586511"/>
                  </a:lnTo>
                  <a:lnTo>
                    <a:pt x="876126" y="586511"/>
                  </a:lnTo>
                  <a:lnTo>
                    <a:pt x="865197" y="582868"/>
                  </a:lnTo>
                  <a:lnTo>
                    <a:pt x="865197" y="575582"/>
                  </a:lnTo>
                  <a:lnTo>
                    <a:pt x="863376" y="581047"/>
                  </a:lnTo>
                  <a:lnTo>
                    <a:pt x="859733" y="581047"/>
                  </a:lnTo>
                  <a:lnTo>
                    <a:pt x="854268" y="575582"/>
                  </a:lnTo>
                  <a:lnTo>
                    <a:pt x="857911" y="559189"/>
                  </a:lnTo>
                  <a:lnTo>
                    <a:pt x="857911" y="555546"/>
                  </a:lnTo>
                  <a:lnTo>
                    <a:pt x="859733" y="555546"/>
                  </a:lnTo>
                  <a:close/>
                  <a:moveTo>
                    <a:pt x="218576" y="537332"/>
                  </a:moveTo>
                  <a:lnTo>
                    <a:pt x="220397" y="537332"/>
                  </a:lnTo>
                  <a:lnTo>
                    <a:pt x="225862" y="542797"/>
                  </a:lnTo>
                  <a:lnTo>
                    <a:pt x="224040" y="553726"/>
                  </a:lnTo>
                  <a:lnTo>
                    <a:pt x="220397" y="553726"/>
                  </a:lnTo>
                  <a:lnTo>
                    <a:pt x="218576" y="539154"/>
                  </a:lnTo>
                  <a:close/>
                  <a:moveTo>
                    <a:pt x="812374" y="535510"/>
                  </a:moveTo>
                  <a:lnTo>
                    <a:pt x="817838" y="535510"/>
                  </a:lnTo>
                  <a:lnTo>
                    <a:pt x="823303" y="537331"/>
                  </a:lnTo>
                  <a:lnTo>
                    <a:pt x="825124" y="537331"/>
                  </a:lnTo>
                  <a:lnTo>
                    <a:pt x="825124" y="548260"/>
                  </a:lnTo>
                  <a:lnTo>
                    <a:pt x="834231" y="548260"/>
                  </a:lnTo>
                  <a:lnTo>
                    <a:pt x="846982" y="571939"/>
                  </a:lnTo>
                  <a:lnTo>
                    <a:pt x="846982" y="575582"/>
                  </a:lnTo>
                  <a:lnTo>
                    <a:pt x="841517" y="571939"/>
                  </a:lnTo>
                  <a:lnTo>
                    <a:pt x="843339" y="577404"/>
                  </a:lnTo>
                  <a:lnTo>
                    <a:pt x="852446" y="582868"/>
                  </a:lnTo>
                  <a:lnTo>
                    <a:pt x="852446" y="586511"/>
                  </a:lnTo>
                  <a:lnTo>
                    <a:pt x="848803" y="591976"/>
                  </a:lnTo>
                  <a:lnTo>
                    <a:pt x="852446" y="591976"/>
                  </a:lnTo>
                  <a:lnTo>
                    <a:pt x="852446" y="604726"/>
                  </a:lnTo>
                  <a:lnTo>
                    <a:pt x="843339" y="604726"/>
                  </a:lnTo>
                  <a:lnTo>
                    <a:pt x="836053" y="586511"/>
                  </a:lnTo>
                  <a:lnTo>
                    <a:pt x="823304" y="581047"/>
                  </a:lnTo>
                  <a:lnTo>
                    <a:pt x="834232" y="602904"/>
                  </a:lnTo>
                  <a:lnTo>
                    <a:pt x="834232" y="604726"/>
                  </a:lnTo>
                  <a:lnTo>
                    <a:pt x="830589" y="604726"/>
                  </a:lnTo>
                  <a:lnTo>
                    <a:pt x="823303" y="593797"/>
                  </a:lnTo>
                  <a:lnTo>
                    <a:pt x="823303" y="581047"/>
                  </a:lnTo>
                  <a:lnTo>
                    <a:pt x="823303" y="577404"/>
                  </a:lnTo>
                  <a:lnTo>
                    <a:pt x="828767" y="575582"/>
                  </a:lnTo>
                  <a:lnTo>
                    <a:pt x="828767" y="570118"/>
                  </a:lnTo>
                  <a:lnTo>
                    <a:pt x="817838" y="566475"/>
                  </a:lnTo>
                  <a:lnTo>
                    <a:pt x="819660" y="548260"/>
                  </a:lnTo>
                  <a:lnTo>
                    <a:pt x="812374" y="555546"/>
                  </a:lnTo>
                  <a:lnTo>
                    <a:pt x="808731" y="555546"/>
                  </a:lnTo>
                  <a:lnTo>
                    <a:pt x="808731" y="553725"/>
                  </a:lnTo>
                  <a:lnTo>
                    <a:pt x="814195" y="542796"/>
                  </a:lnTo>
                  <a:lnTo>
                    <a:pt x="812374" y="537331"/>
                  </a:lnTo>
                  <a:close/>
                  <a:moveTo>
                    <a:pt x="841517" y="531867"/>
                  </a:moveTo>
                  <a:lnTo>
                    <a:pt x="843339" y="531867"/>
                  </a:lnTo>
                  <a:lnTo>
                    <a:pt x="848803" y="537332"/>
                  </a:lnTo>
                  <a:lnTo>
                    <a:pt x="848803" y="544618"/>
                  </a:lnTo>
                  <a:lnTo>
                    <a:pt x="846982" y="542796"/>
                  </a:lnTo>
                  <a:close/>
                  <a:moveTo>
                    <a:pt x="825125" y="531867"/>
                  </a:moveTo>
                  <a:lnTo>
                    <a:pt x="836054" y="531867"/>
                  </a:lnTo>
                  <a:lnTo>
                    <a:pt x="834233" y="539153"/>
                  </a:lnTo>
                  <a:lnTo>
                    <a:pt x="830590" y="539153"/>
                  </a:lnTo>
                  <a:lnTo>
                    <a:pt x="825125" y="535510"/>
                  </a:lnTo>
                  <a:close/>
                  <a:moveTo>
                    <a:pt x="309649" y="526403"/>
                  </a:moveTo>
                  <a:lnTo>
                    <a:pt x="315114" y="530046"/>
                  </a:lnTo>
                  <a:lnTo>
                    <a:pt x="315114" y="531868"/>
                  </a:lnTo>
                  <a:lnTo>
                    <a:pt x="311471" y="535511"/>
                  </a:lnTo>
                  <a:lnTo>
                    <a:pt x="309649" y="535511"/>
                  </a:lnTo>
                  <a:close/>
                  <a:moveTo>
                    <a:pt x="806910" y="502724"/>
                  </a:moveTo>
                  <a:lnTo>
                    <a:pt x="808731" y="502724"/>
                  </a:lnTo>
                  <a:lnTo>
                    <a:pt x="812374" y="504545"/>
                  </a:lnTo>
                  <a:lnTo>
                    <a:pt x="819660" y="504545"/>
                  </a:lnTo>
                  <a:lnTo>
                    <a:pt x="823303" y="508188"/>
                  </a:lnTo>
                  <a:lnTo>
                    <a:pt x="825125" y="508188"/>
                  </a:lnTo>
                  <a:lnTo>
                    <a:pt x="828768" y="520938"/>
                  </a:lnTo>
                  <a:lnTo>
                    <a:pt x="828768" y="524580"/>
                  </a:lnTo>
                  <a:lnTo>
                    <a:pt x="830590" y="519116"/>
                  </a:lnTo>
                  <a:lnTo>
                    <a:pt x="830590" y="515473"/>
                  </a:lnTo>
                  <a:lnTo>
                    <a:pt x="834233" y="515473"/>
                  </a:lnTo>
                  <a:lnTo>
                    <a:pt x="834233" y="519116"/>
                  </a:lnTo>
                  <a:lnTo>
                    <a:pt x="836054" y="526402"/>
                  </a:lnTo>
                  <a:lnTo>
                    <a:pt x="828768" y="526402"/>
                  </a:lnTo>
                  <a:lnTo>
                    <a:pt x="828768" y="524581"/>
                  </a:lnTo>
                  <a:lnTo>
                    <a:pt x="823303" y="519117"/>
                  </a:lnTo>
                  <a:lnTo>
                    <a:pt x="825125" y="530045"/>
                  </a:lnTo>
                  <a:lnTo>
                    <a:pt x="825125" y="531867"/>
                  </a:lnTo>
                  <a:lnTo>
                    <a:pt x="812374" y="531867"/>
                  </a:lnTo>
                  <a:lnTo>
                    <a:pt x="808732" y="519726"/>
                  </a:lnTo>
                  <a:lnTo>
                    <a:pt x="808732" y="526402"/>
                  </a:lnTo>
                  <a:lnTo>
                    <a:pt x="806910" y="526402"/>
                  </a:lnTo>
                  <a:lnTo>
                    <a:pt x="806910" y="548260"/>
                  </a:lnTo>
                  <a:lnTo>
                    <a:pt x="803267" y="548260"/>
                  </a:lnTo>
                  <a:lnTo>
                    <a:pt x="803267" y="544617"/>
                  </a:lnTo>
                  <a:lnTo>
                    <a:pt x="797803" y="539153"/>
                  </a:lnTo>
                  <a:lnTo>
                    <a:pt x="797803" y="530045"/>
                  </a:lnTo>
                  <a:lnTo>
                    <a:pt x="801446" y="530045"/>
                  </a:lnTo>
                  <a:lnTo>
                    <a:pt x="792338" y="513652"/>
                  </a:lnTo>
                  <a:lnTo>
                    <a:pt x="806910" y="515473"/>
                  </a:lnTo>
                  <a:lnTo>
                    <a:pt x="807456" y="515473"/>
                  </a:lnTo>
                  <a:lnTo>
                    <a:pt x="806910" y="513652"/>
                  </a:lnTo>
                  <a:lnTo>
                    <a:pt x="803267" y="504545"/>
                  </a:lnTo>
                  <a:lnTo>
                    <a:pt x="806910" y="504545"/>
                  </a:lnTo>
                  <a:close/>
                  <a:moveTo>
                    <a:pt x="344258" y="464473"/>
                  </a:moveTo>
                  <a:lnTo>
                    <a:pt x="347901" y="464473"/>
                  </a:lnTo>
                  <a:lnTo>
                    <a:pt x="355187" y="471759"/>
                  </a:lnTo>
                  <a:lnTo>
                    <a:pt x="360651" y="466295"/>
                  </a:lnTo>
                  <a:lnTo>
                    <a:pt x="364294" y="466295"/>
                  </a:lnTo>
                  <a:lnTo>
                    <a:pt x="364294" y="480866"/>
                  </a:lnTo>
                  <a:lnTo>
                    <a:pt x="371580" y="480866"/>
                  </a:lnTo>
                  <a:lnTo>
                    <a:pt x="371580" y="482688"/>
                  </a:lnTo>
                  <a:lnTo>
                    <a:pt x="369759" y="488152"/>
                  </a:lnTo>
                  <a:lnTo>
                    <a:pt x="366116" y="488152"/>
                  </a:lnTo>
                  <a:lnTo>
                    <a:pt x="355187" y="486331"/>
                  </a:lnTo>
                  <a:lnTo>
                    <a:pt x="360651" y="493617"/>
                  </a:lnTo>
                  <a:lnTo>
                    <a:pt x="360651" y="497260"/>
                  </a:lnTo>
                  <a:lnTo>
                    <a:pt x="355187" y="497260"/>
                  </a:lnTo>
                  <a:lnTo>
                    <a:pt x="353365" y="493617"/>
                  </a:lnTo>
                  <a:lnTo>
                    <a:pt x="347901" y="493617"/>
                  </a:lnTo>
                  <a:lnTo>
                    <a:pt x="331507" y="519117"/>
                  </a:lnTo>
                  <a:lnTo>
                    <a:pt x="327864" y="519117"/>
                  </a:lnTo>
                  <a:lnTo>
                    <a:pt x="327864" y="510010"/>
                  </a:lnTo>
                  <a:lnTo>
                    <a:pt x="326043" y="504545"/>
                  </a:lnTo>
                  <a:lnTo>
                    <a:pt x="326043" y="502724"/>
                  </a:lnTo>
                  <a:lnTo>
                    <a:pt x="322400" y="513653"/>
                  </a:lnTo>
                  <a:lnTo>
                    <a:pt x="322400" y="515474"/>
                  </a:lnTo>
                  <a:lnTo>
                    <a:pt x="320578" y="515474"/>
                  </a:lnTo>
                  <a:lnTo>
                    <a:pt x="320578" y="513653"/>
                  </a:lnTo>
                  <a:lnTo>
                    <a:pt x="307828" y="493617"/>
                  </a:lnTo>
                  <a:lnTo>
                    <a:pt x="307828" y="491795"/>
                  </a:lnTo>
                  <a:lnTo>
                    <a:pt x="322400" y="477223"/>
                  </a:lnTo>
                  <a:lnTo>
                    <a:pt x="326043" y="477223"/>
                  </a:lnTo>
                  <a:lnTo>
                    <a:pt x="331507" y="486331"/>
                  </a:lnTo>
                  <a:lnTo>
                    <a:pt x="333329" y="480866"/>
                  </a:lnTo>
                  <a:lnTo>
                    <a:pt x="327864" y="469938"/>
                  </a:lnTo>
                  <a:lnTo>
                    <a:pt x="331507" y="469938"/>
                  </a:lnTo>
                  <a:lnTo>
                    <a:pt x="338793" y="475402"/>
                  </a:lnTo>
                  <a:lnTo>
                    <a:pt x="347901" y="469938"/>
                  </a:lnTo>
                  <a:lnTo>
                    <a:pt x="344258" y="466295"/>
                  </a:lnTo>
                  <a:close/>
                  <a:moveTo>
                    <a:pt x="792338" y="457186"/>
                  </a:moveTo>
                  <a:lnTo>
                    <a:pt x="795981" y="457186"/>
                  </a:lnTo>
                  <a:lnTo>
                    <a:pt x="797802" y="460829"/>
                  </a:lnTo>
                  <a:lnTo>
                    <a:pt x="806910" y="491794"/>
                  </a:lnTo>
                  <a:lnTo>
                    <a:pt x="806910" y="493615"/>
                  </a:lnTo>
                  <a:lnTo>
                    <a:pt x="801445" y="491794"/>
                  </a:lnTo>
                  <a:lnTo>
                    <a:pt x="801445" y="499080"/>
                  </a:lnTo>
                  <a:lnTo>
                    <a:pt x="792338" y="508187"/>
                  </a:lnTo>
                  <a:lnTo>
                    <a:pt x="790516" y="508187"/>
                  </a:lnTo>
                  <a:lnTo>
                    <a:pt x="790516" y="491794"/>
                  </a:lnTo>
                  <a:lnTo>
                    <a:pt x="792338" y="488151"/>
                  </a:lnTo>
                  <a:lnTo>
                    <a:pt x="790516" y="486329"/>
                  </a:lnTo>
                  <a:lnTo>
                    <a:pt x="790516" y="482686"/>
                  </a:lnTo>
                  <a:lnTo>
                    <a:pt x="786873" y="482686"/>
                  </a:lnTo>
                  <a:lnTo>
                    <a:pt x="785052" y="460829"/>
                  </a:lnTo>
                  <a:lnTo>
                    <a:pt x="785052" y="459007"/>
                  </a:lnTo>
                  <a:close/>
                  <a:moveTo>
                    <a:pt x="757730" y="448080"/>
                  </a:moveTo>
                  <a:lnTo>
                    <a:pt x="775945" y="459009"/>
                  </a:lnTo>
                  <a:lnTo>
                    <a:pt x="781409" y="464473"/>
                  </a:lnTo>
                  <a:lnTo>
                    <a:pt x="781409" y="466294"/>
                  </a:lnTo>
                  <a:lnTo>
                    <a:pt x="775945" y="466294"/>
                  </a:lnTo>
                  <a:lnTo>
                    <a:pt x="779587" y="471759"/>
                  </a:lnTo>
                  <a:lnTo>
                    <a:pt x="775945" y="471759"/>
                  </a:lnTo>
                  <a:lnTo>
                    <a:pt x="781409" y="475402"/>
                  </a:lnTo>
                  <a:lnTo>
                    <a:pt x="781409" y="488152"/>
                  </a:lnTo>
                  <a:lnTo>
                    <a:pt x="779587" y="488152"/>
                  </a:lnTo>
                  <a:lnTo>
                    <a:pt x="763194" y="475402"/>
                  </a:lnTo>
                  <a:lnTo>
                    <a:pt x="764713" y="484510"/>
                  </a:lnTo>
                  <a:lnTo>
                    <a:pt x="765016" y="482687"/>
                  </a:lnTo>
                  <a:lnTo>
                    <a:pt x="768660" y="482687"/>
                  </a:lnTo>
                  <a:lnTo>
                    <a:pt x="781410" y="493616"/>
                  </a:lnTo>
                  <a:lnTo>
                    <a:pt x="790518" y="524581"/>
                  </a:lnTo>
                  <a:lnTo>
                    <a:pt x="786875" y="542796"/>
                  </a:lnTo>
                  <a:lnTo>
                    <a:pt x="785053" y="542796"/>
                  </a:lnTo>
                  <a:lnTo>
                    <a:pt x="779589" y="526403"/>
                  </a:lnTo>
                  <a:lnTo>
                    <a:pt x="779589" y="520938"/>
                  </a:lnTo>
                  <a:lnTo>
                    <a:pt x="770481" y="513652"/>
                  </a:lnTo>
                  <a:lnTo>
                    <a:pt x="768660" y="513652"/>
                  </a:lnTo>
                  <a:lnTo>
                    <a:pt x="774124" y="504545"/>
                  </a:lnTo>
                  <a:lnTo>
                    <a:pt x="763195" y="493616"/>
                  </a:lnTo>
                  <a:lnTo>
                    <a:pt x="763802" y="489971"/>
                  </a:lnTo>
                  <a:lnTo>
                    <a:pt x="763194" y="491795"/>
                  </a:lnTo>
                  <a:lnTo>
                    <a:pt x="761373" y="491795"/>
                  </a:lnTo>
                  <a:lnTo>
                    <a:pt x="746801" y="471759"/>
                  </a:lnTo>
                  <a:lnTo>
                    <a:pt x="750444" y="466294"/>
                  </a:lnTo>
                  <a:lnTo>
                    <a:pt x="744980" y="459009"/>
                  </a:lnTo>
                  <a:lnTo>
                    <a:pt x="744980" y="457187"/>
                  </a:lnTo>
                  <a:lnTo>
                    <a:pt x="746801" y="457187"/>
                  </a:lnTo>
                  <a:close/>
                  <a:moveTo>
                    <a:pt x="355186" y="442616"/>
                  </a:moveTo>
                  <a:lnTo>
                    <a:pt x="369758" y="442616"/>
                  </a:lnTo>
                  <a:lnTo>
                    <a:pt x="369758" y="446259"/>
                  </a:lnTo>
                  <a:lnTo>
                    <a:pt x="371580" y="446259"/>
                  </a:lnTo>
                  <a:lnTo>
                    <a:pt x="375223" y="453545"/>
                  </a:lnTo>
                  <a:lnTo>
                    <a:pt x="375223" y="457188"/>
                  </a:lnTo>
                  <a:lnTo>
                    <a:pt x="353365" y="460831"/>
                  </a:lnTo>
                  <a:lnTo>
                    <a:pt x="347900" y="457188"/>
                  </a:lnTo>
                  <a:lnTo>
                    <a:pt x="347900" y="453545"/>
                  </a:lnTo>
                  <a:lnTo>
                    <a:pt x="355186" y="451723"/>
                  </a:lnTo>
                  <a:lnTo>
                    <a:pt x="353365" y="448080"/>
                  </a:lnTo>
                  <a:close/>
                  <a:moveTo>
                    <a:pt x="488154" y="351542"/>
                  </a:moveTo>
                  <a:lnTo>
                    <a:pt x="489975" y="351542"/>
                  </a:lnTo>
                  <a:lnTo>
                    <a:pt x="495440" y="357006"/>
                  </a:lnTo>
                  <a:lnTo>
                    <a:pt x="495440" y="358828"/>
                  </a:lnTo>
                  <a:lnTo>
                    <a:pt x="482689" y="378863"/>
                  </a:lnTo>
                  <a:lnTo>
                    <a:pt x="471760" y="380685"/>
                  </a:lnTo>
                  <a:lnTo>
                    <a:pt x="468117" y="380685"/>
                  </a:lnTo>
                  <a:lnTo>
                    <a:pt x="473582" y="373399"/>
                  </a:lnTo>
                  <a:close/>
                  <a:moveTo>
                    <a:pt x="36430" y="351542"/>
                  </a:moveTo>
                  <a:lnTo>
                    <a:pt x="51001" y="357006"/>
                  </a:lnTo>
                  <a:lnTo>
                    <a:pt x="52823" y="357006"/>
                  </a:lnTo>
                  <a:lnTo>
                    <a:pt x="52823" y="369756"/>
                  </a:lnTo>
                  <a:lnTo>
                    <a:pt x="40073" y="384328"/>
                  </a:lnTo>
                  <a:lnTo>
                    <a:pt x="14572" y="373399"/>
                  </a:lnTo>
                  <a:lnTo>
                    <a:pt x="3643" y="362471"/>
                  </a:lnTo>
                  <a:lnTo>
                    <a:pt x="3643" y="358828"/>
                  </a:lnTo>
                  <a:close/>
                  <a:moveTo>
                    <a:pt x="500904" y="346077"/>
                  </a:moveTo>
                  <a:lnTo>
                    <a:pt x="504547" y="346077"/>
                  </a:lnTo>
                  <a:lnTo>
                    <a:pt x="515476" y="351541"/>
                  </a:lnTo>
                  <a:lnTo>
                    <a:pt x="515476" y="353363"/>
                  </a:lnTo>
                  <a:lnTo>
                    <a:pt x="499082" y="353363"/>
                  </a:lnTo>
                  <a:lnTo>
                    <a:pt x="499082" y="351541"/>
                  </a:lnTo>
                  <a:lnTo>
                    <a:pt x="500904" y="347898"/>
                  </a:lnTo>
                  <a:close/>
                  <a:moveTo>
                    <a:pt x="67395" y="329685"/>
                  </a:moveTo>
                  <a:lnTo>
                    <a:pt x="85609" y="342436"/>
                  </a:lnTo>
                  <a:lnTo>
                    <a:pt x="74680" y="353365"/>
                  </a:lnTo>
                  <a:lnTo>
                    <a:pt x="72859" y="353365"/>
                  </a:lnTo>
                  <a:lnTo>
                    <a:pt x="58287" y="340614"/>
                  </a:lnTo>
                  <a:lnTo>
                    <a:pt x="56466" y="340614"/>
                  </a:lnTo>
                  <a:close/>
                  <a:moveTo>
                    <a:pt x="74681" y="216754"/>
                  </a:moveTo>
                  <a:lnTo>
                    <a:pt x="78324" y="216754"/>
                  </a:lnTo>
                  <a:lnTo>
                    <a:pt x="81967" y="218575"/>
                  </a:lnTo>
                  <a:lnTo>
                    <a:pt x="81967" y="231326"/>
                  </a:lnTo>
                  <a:lnTo>
                    <a:pt x="80145" y="231326"/>
                  </a:lnTo>
                  <a:lnTo>
                    <a:pt x="69216" y="236791"/>
                  </a:lnTo>
                  <a:lnTo>
                    <a:pt x="67395" y="236791"/>
                  </a:lnTo>
                  <a:lnTo>
                    <a:pt x="67395" y="227683"/>
                  </a:lnTo>
                  <a:close/>
                  <a:moveTo>
                    <a:pt x="125682" y="0"/>
                  </a:moveTo>
                  <a:lnTo>
                    <a:pt x="129325" y="0"/>
                  </a:lnTo>
                  <a:lnTo>
                    <a:pt x="140254" y="10930"/>
                  </a:lnTo>
                  <a:lnTo>
                    <a:pt x="140254" y="12751"/>
                  </a:lnTo>
                  <a:lnTo>
                    <a:pt x="129325" y="12751"/>
                  </a:lnTo>
                  <a:lnTo>
                    <a:pt x="125682" y="1822"/>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8" name="USA - Mainland">
              <a:extLst>
                <a:ext uri="{FF2B5EF4-FFF2-40B4-BE49-F238E27FC236}">
                  <a16:creationId xmlns:a16="http://schemas.microsoft.com/office/drawing/2014/main" id="{E85ECBF9-570C-0FEF-89B5-071383E77012}"/>
                </a:ext>
              </a:extLst>
            </p:cNvPr>
            <p:cNvSpPr>
              <a:spLocks noEditPoints="1"/>
            </p:cNvSpPr>
            <p:nvPr/>
          </p:nvSpPr>
          <p:spPr bwMode="auto">
            <a:xfrm>
              <a:off x="2885754" y="3250181"/>
              <a:ext cx="1360718" cy="728247"/>
            </a:xfrm>
            <a:custGeom>
              <a:avLst/>
              <a:gdLst>
                <a:gd name="T0" fmla="*/ 162 w 753"/>
                <a:gd name="T1" fmla="*/ 160 h 403"/>
                <a:gd name="T2" fmla="*/ 151 w 753"/>
                <a:gd name="T3" fmla="*/ 144 h 403"/>
                <a:gd name="T4" fmla="*/ 393 w 753"/>
                <a:gd name="T5" fmla="*/ 13 h 403"/>
                <a:gd name="T6" fmla="*/ 436 w 753"/>
                <a:gd name="T7" fmla="*/ 43 h 403"/>
                <a:gd name="T8" fmla="*/ 481 w 753"/>
                <a:gd name="T9" fmla="*/ 37 h 403"/>
                <a:gd name="T10" fmla="*/ 488 w 753"/>
                <a:gd name="T11" fmla="*/ 56 h 403"/>
                <a:gd name="T12" fmla="*/ 526 w 753"/>
                <a:gd name="T13" fmla="*/ 56 h 403"/>
                <a:gd name="T14" fmla="*/ 519 w 753"/>
                <a:gd name="T15" fmla="*/ 69 h 403"/>
                <a:gd name="T16" fmla="*/ 481 w 753"/>
                <a:gd name="T17" fmla="*/ 90 h 403"/>
                <a:gd name="T18" fmla="*/ 485 w 753"/>
                <a:gd name="T19" fmla="*/ 93 h 403"/>
                <a:gd name="T20" fmla="*/ 500 w 753"/>
                <a:gd name="T21" fmla="*/ 127 h 403"/>
                <a:gd name="T22" fmla="*/ 509 w 753"/>
                <a:gd name="T23" fmla="*/ 86 h 403"/>
                <a:gd name="T24" fmla="*/ 525 w 753"/>
                <a:gd name="T25" fmla="*/ 71 h 403"/>
                <a:gd name="T26" fmla="*/ 534 w 753"/>
                <a:gd name="T27" fmla="*/ 108 h 403"/>
                <a:gd name="T28" fmla="*/ 549 w 753"/>
                <a:gd name="T29" fmla="*/ 127 h 403"/>
                <a:gd name="T30" fmla="*/ 543 w 753"/>
                <a:gd name="T31" fmla="*/ 145 h 403"/>
                <a:gd name="T32" fmla="*/ 623 w 753"/>
                <a:gd name="T33" fmla="*/ 114 h 403"/>
                <a:gd name="T34" fmla="*/ 638 w 753"/>
                <a:gd name="T35" fmla="*/ 92 h 403"/>
                <a:gd name="T36" fmla="*/ 721 w 753"/>
                <a:gd name="T37" fmla="*/ 38 h 403"/>
                <a:gd name="T38" fmla="*/ 743 w 753"/>
                <a:gd name="T39" fmla="*/ 71 h 403"/>
                <a:gd name="T40" fmla="*/ 752 w 753"/>
                <a:gd name="T41" fmla="*/ 86 h 403"/>
                <a:gd name="T42" fmla="*/ 727 w 753"/>
                <a:gd name="T43" fmla="*/ 104 h 403"/>
                <a:gd name="T44" fmla="*/ 713 w 753"/>
                <a:gd name="T45" fmla="*/ 139 h 403"/>
                <a:gd name="T46" fmla="*/ 706 w 753"/>
                <a:gd name="T47" fmla="*/ 145 h 403"/>
                <a:gd name="T48" fmla="*/ 660 w 753"/>
                <a:gd name="T49" fmla="*/ 161 h 403"/>
                <a:gd name="T50" fmla="*/ 650 w 753"/>
                <a:gd name="T51" fmla="*/ 187 h 403"/>
                <a:gd name="T52" fmla="*/ 639 w 753"/>
                <a:gd name="T53" fmla="*/ 207 h 403"/>
                <a:gd name="T54" fmla="*/ 635 w 753"/>
                <a:gd name="T55" fmla="*/ 182 h 403"/>
                <a:gd name="T56" fmla="*/ 632 w 753"/>
                <a:gd name="T57" fmla="*/ 209 h 403"/>
                <a:gd name="T58" fmla="*/ 632 w 753"/>
                <a:gd name="T59" fmla="*/ 224 h 403"/>
                <a:gd name="T60" fmla="*/ 630 w 753"/>
                <a:gd name="T61" fmla="*/ 238 h 403"/>
                <a:gd name="T62" fmla="*/ 636 w 753"/>
                <a:gd name="T63" fmla="*/ 240 h 403"/>
                <a:gd name="T64" fmla="*/ 629 w 753"/>
                <a:gd name="T65" fmla="*/ 247 h 403"/>
                <a:gd name="T66" fmla="*/ 630 w 753"/>
                <a:gd name="T67" fmla="*/ 259 h 403"/>
                <a:gd name="T68" fmla="*/ 574 w 753"/>
                <a:gd name="T69" fmla="*/ 293 h 403"/>
                <a:gd name="T70" fmla="*/ 581 w 753"/>
                <a:gd name="T71" fmla="*/ 390 h 403"/>
                <a:gd name="T72" fmla="*/ 555 w 753"/>
                <a:gd name="T73" fmla="*/ 378 h 403"/>
                <a:gd name="T74" fmla="*/ 529 w 753"/>
                <a:gd name="T75" fmla="*/ 330 h 403"/>
                <a:gd name="T76" fmla="*/ 489 w 753"/>
                <a:gd name="T77" fmla="*/ 324 h 403"/>
                <a:gd name="T78" fmla="*/ 448 w 753"/>
                <a:gd name="T79" fmla="*/ 327 h 403"/>
                <a:gd name="T80" fmla="*/ 457 w 753"/>
                <a:gd name="T81" fmla="*/ 338 h 403"/>
                <a:gd name="T82" fmla="*/ 441 w 753"/>
                <a:gd name="T83" fmla="*/ 345 h 403"/>
                <a:gd name="T84" fmla="*/ 389 w 753"/>
                <a:gd name="T85" fmla="*/ 339 h 403"/>
                <a:gd name="T86" fmla="*/ 368 w 753"/>
                <a:gd name="T87" fmla="*/ 353 h 403"/>
                <a:gd name="T88" fmla="*/ 356 w 753"/>
                <a:gd name="T89" fmla="*/ 373 h 403"/>
                <a:gd name="T90" fmla="*/ 325 w 753"/>
                <a:gd name="T91" fmla="*/ 367 h 403"/>
                <a:gd name="T92" fmla="*/ 277 w 753"/>
                <a:gd name="T93" fmla="*/ 348 h 403"/>
                <a:gd name="T94" fmla="*/ 214 w 753"/>
                <a:gd name="T95" fmla="*/ 313 h 403"/>
                <a:gd name="T96" fmla="*/ 101 w 753"/>
                <a:gd name="T97" fmla="*/ 295 h 403"/>
                <a:gd name="T98" fmla="*/ 80 w 753"/>
                <a:gd name="T99" fmla="*/ 271 h 403"/>
                <a:gd name="T100" fmla="*/ 28 w 753"/>
                <a:gd name="T101" fmla="*/ 212 h 403"/>
                <a:gd name="T102" fmla="*/ 28 w 753"/>
                <a:gd name="T103" fmla="*/ 207 h 403"/>
                <a:gd name="T104" fmla="*/ 5 w 753"/>
                <a:gd name="T105" fmla="*/ 167 h 403"/>
                <a:gd name="T106" fmla="*/ 9 w 753"/>
                <a:gd name="T107" fmla="*/ 64 h 403"/>
                <a:gd name="T108" fmla="*/ 9 w 753"/>
                <a:gd name="T109" fmla="*/ 53 h 403"/>
                <a:gd name="T110" fmla="*/ 6 w 753"/>
                <a:gd name="T111" fmla="*/ 46 h 403"/>
                <a:gd name="T112" fmla="*/ 23 w 753"/>
                <a:gd name="T113" fmla="*/ 35 h 403"/>
                <a:gd name="T114" fmla="*/ 30 w 753"/>
                <a:gd name="T115" fmla="*/ 1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3" h="403">
                  <a:moveTo>
                    <a:pt x="160" y="147"/>
                  </a:moveTo>
                  <a:lnTo>
                    <a:pt x="160" y="151"/>
                  </a:lnTo>
                  <a:lnTo>
                    <a:pt x="159" y="151"/>
                  </a:lnTo>
                  <a:lnTo>
                    <a:pt x="156" y="149"/>
                  </a:lnTo>
                  <a:lnTo>
                    <a:pt x="160" y="157"/>
                  </a:lnTo>
                  <a:lnTo>
                    <a:pt x="162" y="160"/>
                  </a:lnTo>
                  <a:lnTo>
                    <a:pt x="165" y="158"/>
                  </a:lnTo>
                  <a:lnTo>
                    <a:pt x="166" y="157"/>
                  </a:lnTo>
                  <a:lnTo>
                    <a:pt x="162" y="152"/>
                  </a:lnTo>
                  <a:lnTo>
                    <a:pt x="163" y="148"/>
                  </a:lnTo>
                  <a:lnTo>
                    <a:pt x="160" y="147"/>
                  </a:lnTo>
                  <a:close/>
                  <a:moveTo>
                    <a:pt x="151" y="144"/>
                  </a:moveTo>
                  <a:lnTo>
                    <a:pt x="154" y="148"/>
                  </a:lnTo>
                  <a:lnTo>
                    <a:pt x="156" y="145"/>
                  </a:lnTo>
                  <a:lnTo>
                    <a:pt x="151" y="144"/>
                  </a:lnTo>
                  <a:close/>
                  <a:moveTo>
                    <a:pt x="384" y="0"/>
                  </a:moveTo>
                  <a:lnTo>
                    <a:pt x="386" y="0"/>
                  </a:lnTo>
                  <a:lnTo>
                    <a:pt x="393" y="13"/>
                  </a:lnTo>
                  <a:lnTo>
                    <a:pt x="415" y="15"/>
                  </a:lnTo>
                  <a:lnTo>
                    <a:pt x="435" y="25"/>
                  </a:lnTo>
                  <a:lnTo>
                    <a:pt x="441" y="23"/>
                  </a:lnTo>
                  <a:lnTo>
                    <a:pt x="455" y="28"/>
                  </a:lnTo>
                  <a:lnTo>
                    <a:pt x="455" y="29"/>
                  </a:lnTo>
                  <a:lnTo>
                    <a:pt x="436" y="43"/>
                  </a:lnTo>
                  <a:lnTo>
                    <a:pt x="427" y="53"/>
                  </a:lnTo>
                  <a:lnTo>
                    <a:pt x="439" y="49"/>
                  </a:lnTo>
                  <a:lnTo>
                    <a:pt x="441" y="49"/>
                  </a:lnTo>
                  <a:lnTo>
                    <a:pt x="441" y="55"/>
                  </a:lnTo>
                  <a:lnTo>
                    <a:pt x="449" y="55"/>
                  </a:lnTo>
                  <a:lnTo>
                    <a:pt x="481" y="37"/>
                  </a:lnTo>
                  <a:lnTo>
                    <a:pt x="481" y="38"/>
                  </a:lnTo>
                  <a:lnTo>
                    <a:pt x="473" y="49"/>
                  </a:lnTo>
                  <a:lnTo>
                    <a:pt x="473" y="52"/>
                  </a:lnTo>
                  <a:lnTo>
                    <a:pt x="478" y="49"/>
                  </a:lnTo>
                  <a:lnTo>
                    <a:pt x="479" y="49"/>
                  </a:lnTo>
                  <a:lnTo>
                    <a:pt x="488" y="56"/>
                  </a:lnTo>
                  <a:lnTo>
                    <a:pt x="495" y="58"/>
                  </a:lnTo>
                  <a:lnTo>
                    <a:pt x="501" y="52"/>
                  </a:lnTo>
                  <a:lnTo>
                    <a:pt x="516" y="52"/>
                  </a:lnTo>
                  <a:lnTo>
                    <a:pt x="518" y="55"/>
                  </a:lnTo>
                  <a:lnTo>
                    <a:pt x="524" y="56"/>
                  </a:lnTo>
                  <a:lnTo>
                    <a:pt x="526" y="56"/>
                  </a:lnTo>
                  <a:lnTo>
                    <a:pt x="526" y="58"/>
                  </a:lnTo>
                  <a:lnTo>
                    <a:pt x="531" y="65"/>
                  </a:lnTo>
                  <a:lnTo>
                    <a:pt x="531" y="66"/>
                  </a:lnTo>
                  <a:lnTo>
                    <a:pt x="522" y="66"/>
                  </a:lnTo>
                  <a:lnTo>
                    <a:pt x="521" y="69"/>
                  </a:lnTo>
                  <a:lnTo>
                    <a:pt x="519" y="69"/>
                  </a:lnTo>
                  <a:lnTo>
                    <a:pt x="513" y="65"/>
                  </a:lnTo>
                  <a:lnTo>
                    <a:pt x="495" y="74"/>
                  </a:lnTo>
                  <a:lnTo>
                    <a:pt x="495" y="69"/>
                  </a:lnTo>
                  <a:lnTo>
                    <a:pt x="489" y="74"/>
                  </a:lnTo>
                  <a:lnTo>
                    <a:pt x="481" y="89"/>
                  </a:lnTo>
                  <a:lnTo>
                    <a:pt x="481" y="90"/>
                  </a:lnTo>
                  <a:lnTo>
                    <a:pt x="485" y="87"/>
                  </a:lnTo>
                  <a:lnTo>
                    <a:pt x="488" y="78"/>
                  </a:lnTo>
                  <a:lnTo>
                    <a:pt x="489" y="78"/>
                  </a:lnTo>
                  <a:lnTo>
                    <a:pt x="491" y="81"/>
                  </a:lnTo>
                  <a:lnTo>
                    <a:pt x="491" y="83"/>
                  </a:lnTo>
                  <a:lnTo>
                    <a:pt x="485" y="93"/>
                  </a:lnTo>
                  <a:lnTo>
                    <a:pt x="481" y="117"/>
                  </a:lnTo>
                  <a:lnTo>
                    <a:pt x="481" y="133"/>
                  </a:lnTo>
                  <a:lnTo>
                    <a:pt x="485" y="141"/>
                  </a:lnTo>
                  <a:lnTo>
                    <a:pt x="489" y="144"/>
                  </a:lnTo>
                  <a:lnTo>
                    <a:pt x="494" y="139"/>
                  </a:lnTo>
                  <a:lnTo>
                    <a:pt x="500" y="127"/>
                  </a:lnTo>
                  <a:lnTo>
                    <a:pt x="500" y="118"/>
                  </a:lnTo>
                  <a:lnTo>
                    <a:pt x="497" y="109"/>
                  </a:lnTo>
                  <a:lnTo>
                    <a:pt x="500" y="90"/>
                  </a:lnTo>
                  <a:lnTo>
                    <a:pt x="507" y="81"/>
                  </a:lnTo>
                  <a:lnTo>
                    <a:pt x="509" y="81"/>
                  </a:lnTo>
                  <a:lnTo>
                    <a:pt x="509" y="86"/>
                  </a:lnTo>
                  <a:lnTo>
                    <a:pt x="510" y="86"/>
                  </a:lnTo>
                  <a:lnTo>
                    <a:pt x="510" y="78"/>
                  </a:lnTo>
                  <a:lnTo>
                    <a:pt x="512" y="78"/>
                  </a:lnTo>
                  <a:lnTo>
                    <a:pt x="516" y="77"/>
                  </a:lnTo>
                  <a:lnTo>
                    <a:pt x="516" y="71"/>
                  </a:lnTo>
                  <a:lnTo>
                    <a:pt x="525" y="71"/>
                  </a:lnTo>
                  <a:lnTo>
                    <a:pt x="537" y="78"/>
                  </a:lnTo>
                  <a:lnTo>
                    <a:pt x="538" y="78"/>
                  </a:lnTo>
                  <a:lnTo>
                    <a:pt x="538" y="80"/>
                  </a:lnTo>
                  <a:lnTo>
                    <a:pt x="540" y="95"/>
                  </a:lnTo>
                  <a:lnTo>
                    <a:pt x="532" y="106"/>
                  </a:lnTo>
                  <a:lnTo>
                    <a:pt x="534" y="108"/>
                  </a:lnTo>
                  <a:lnTo>
                    <a:pt x="538" y="104"/>
                  </a:lnTo>
                  <a:lnTo>
                    <a:pt x="544" y="101"/>
                  </a:lnTo>
                  <a:lnTo>
                    <a:pt x="546" y="101"/>
                  </a:lnTo>
                  <a:lnTo>
                    <a:pt x="546" y="102"/>
                  </a:lnTo>
                  <a:lnTo>
                    <a:pt x="552" y="120"/>
                  </a:lnTo>
                  <a:lnTo>
                    <a:pt x="549" y="127"/>
                  </a:lnTo>
                  <a:lnTo>
                    <a:pt x="549" y="129"/>
                  </a:lnTo>
                  <a:lnTo>
                    <a:pt x="547" y="129"/>
                  </a:lnTo>
                  <a:lnTo>
                    <a:pt x="546" y="132"/>
                  </a:lnTo>
                  <a:lnTo>
                    <a:pt x="543" y="139"/>
                  </a:lnTo>
                  <a:lnTo>
                    <a:pt x="538" y="144"/>
                  </a:lnTo>
                  <a:lnTo>
                    <a:pt x="543" y="145"/>
                  </a:lnTo>
                  <a:lnTo>
                    <a:pt x="559" y="145"/>
                  </a:lnTo>
                  <a:lnTo>
                    <a:pt x="583" y="135"/>
                  </a:lnTo>
                  <a:lnTo>
                    <a:pt x="596" y="124"/>
                  </a:lnTo>
                  <a:lnTo>
                    <a:pt x="595" y="117"/>
                  </a:lnTo>
                  <a:lnTo>
                    <a:pt x="607" y="112"/>
                  </a:lnTo>
                  <a:lnTo>
                    <a:pt x="623" y="114"/>
                  </a:lnTo>
                  <a:lnTo>
                    <a:pt x="632" y="111"/>
                  </a:lnTo>
                  <a:lnTo>
                    <a:pt x="632" y="105"/>
                  </a:lnTo>
                  <a:lnTo>
                    <a:pt x="633" y="102"/>
                  </a:lnTo>
                  <a:lnTo>
                    <a:pt x="630" y="102"/>
                  </a:lnTo>
                  <a:lnTo>
                    <a:pt x="630" y="101"/>
                  </a:lnTo>
                  <a:lnTo>
                    <a:pt x="638" y="92"/>
                  </a:lnTo>
                  <a:lnTo>
                    <a:pt x="648" y="84"/>
                  </a:lnTo>
                  <a:lnTo>
                    <a:pt x="692" y="84"/>
                  </a:lnTo>
                  <a:lnTo>
                    <a:pt x="695" y="80"/>
                  </a:lnTo>
                  <a:lnTo>
                    <a:pt x="704" y="78"/>
                  </a:lnTo>
                  <a:lnTo>
                    <a:pt x="713" y="50"/>
                  </a:lnTo>
                  <a:lnTo>
                    <a:pt x="721" y="38"/>
                  </a:lnTo>
                  <a:lnTo>
                    <a:pt x="722" y="38"/>
                  </a:lnTo>
                  <a:lnTo>
                    <a:pt x="728" y="43"/>
                  </a:lnTo>
                  <a:lnTo>
                    <a:pt x="735" y="40"/>
                  </a:lnTo>
                  <a:lnTo>
                    <a:pt x="737" y="40"/>
                  </a:lnTo>
                  <a:lnTo>
                    <a:pt x="743" y="46"/>
                  </a:lnTo>
                  <a:lnTo>
                    <a:pt x="743" y="71"/>
                  </a:lnTo>
                  <a:lnTo>
                    <a:pt x="746" y="72"/>
                  </a:lnTo>
                  <a:lnTo>
                    <a:pt x="746" y="74"/>
                  </a:lnTo>
                  <a:lnTo>
                    <a:pt x="747" y="80"/>
                  </a:lnTo>
                  <a:lnTo>
                    <a:pt x="753" y="80"/>
                  </a:lnTo>
                  <a:lnTo>
                    <a:pt x="753" y="81"/>
                  </a:lnTo>
                  <a:lnTo>
                    <a:pt x="752" y="86"/>
                  </a:lnTo>
                  <a:lnTo>
                    <a:pt x="753" y="89"/>
                  </a:lnTo>
                  <a:lnTo>
                    <a:pt x="752" y="90"/>
                  </a:lnTo>
                  <a:lnTo>
                    <a:pt x="735" y="99"/>
                  </a:lnTo>
                  <a:lnTo>
                    <a:pt x="730" y="95"/>
                  </a:lnTo>
                  <a:lnTo>
                    <a:pt x="727" y="102"/>
                  </a:lnTo>
                  <a:lnTo>
                    <a:pt x="727" y="104"/>
                  </a:lnTo>
                  <a:lnTo>
                    <a:pt x="725" y="104"/>
                  </a:lnTo>
                  <a:lnTo>
                    <a:pt x="712" y="109"/>
                  </a:lnTo>
                  <a:lnTo>
                    <a:pt x="703" y="133"/>
                  </a:lnTo>
                  <a:lnTo>
                    <a:pt x="710" y="142"/>
                  </a:lnTo>
                  <a:lnTo>
                    <a:pt x="713" y="142"/>
                  </a:lnTo>
                  <a:lnTo>
                    <a:pt x="713" y="139"/>
                  </a:lnTo>
                  <a:lnTo>
                    <a:pt x="715" y="138"/>
                  </a:lnTo>
                  <a:lnTo>
                    <a:pt x="715" y="139"/>
                  </a:lnTo>
                  <a:lnTo>
                    <a:pt x="716" y="144"/>
                  </a:lnTo>
                  <a:lnTo>
                    <a:pt x="712" y="144"/>
                  </a:lnTo>
                  <a:lnTo>
                    <a:pt x="709" y="145"/>
                  </a:lnTo>
                  <a:lnTo>
                    <a:pt x="706" y="145"/>
                  </a:lnTo>
                  <a:lnTo>
                    <a:pt x="703" y="147"/>
                  </a:lnTo>
                  <a:lnTo>
                    <a:pt x="700" y="147"/>
                  </a:lnTo>
                  <a:lnTo>
                    <a:pt x="698" y="145"/>
                  </a:lnTo>
                  <a:lnTo>
                    <a:pt x="694" y="149"/>
                  </a:lnTo>
                  <a:lnTo>
                    <a:pt x="675" y="152"/>
                  </a:lnTo>
                  <a:lnTo>
                    <a:pt x="660" y="161"/>
                  </a:lnTo>
                  <a:lnTo>
                    <a:pt x="660" y="164"/>
                  </a:lnTo>
                  <a:lnTo>
                    <a:pt x="663" y="170"/>
                  </a:lnTo>
                  <a:lnTo>
                    <a:pt x="660" y="179"/>
                  </a:lnTo>
                  <a:lnTo>
                    <a:pt x="651" y="191"/>
                  </a:lnTo>
                  <a:lnTo>
                    <a:pt x="650" y="191"/>
                  </a:lnTo>
                  <a:lnTo>
                    <a:pt x="650" y="187"/>
                  </a:lnTo>
                  <a:lnTo>
                    <a:pt x="644" y="182"/>
                  </a:lnTo>
                  <a:lnTo>
                    <a:pt x="650" y="197"/>
                  </a:lnTo>
                  <a:lnTo>
                    <a:pt x="638" y="221"/>
                  </a:lnTo>
                  <a:lnTo>
                    <a:pt x="636" y="221"/>
                  </a:lnTo>
                  <a:lnTo>
                    <a:pt x="635" y="215"/>
                  </a:lnTo>
                  <a:lnTo>
                    <a:pt x="639" y="207"/>
                  </a:lnTo>
                  <a:lnTo>
                    <a:pt x="632" y="200"/>
                  </a:lnTo>
                  <a:lnTo>
                    <a:pt x="632" y="198"/>
                  </a:lnTo>
                  <a:lnTo>
                    <a:pt x="633" y="192"/>
                  </a:lnTo>
                  <a:lnTo>
                    <a:pt x="632" y="192"/>
                  </a:lnTo>
                  <a:lnTo>
                    <a:pt x="632" y="191"/>
                  </a:lnTo>
                  <a:lnTo>
                    <a:pt x="635" y="182"/>
                  </a:lnTo>
                  <a:lnTo>
                    <a:pt x="629" y="187"/>
                  </a:lnTo>
                  <a:lnTo>
                    <a:pt x="629" y="198"/>
                  </a:lnTo>
                  <a:lnTo>
                    <a:pt x="632" y="204"/>
                  </a:lnTo>
                  <a:lnTo>
                    <a:pt x="630" y="204"/>
                  </a:lnTo>
                  <a:lnTo>
                    <a:pt x="620" y="198"/>
                  </a:lnTo>
                  <a:lnTo>
                    <a:pt x="632" y="209"/>
                  </a:lnTo>
                  <a:lnTo>
                    <a:pt x="633" y="209"/>
                  </a:lnTo>
                  <a:lnTo>
                    <a:pt x="633" y="210"/>
                  </a:lnTo>
                  <a:lnTo>
                    <a:pt x="630" y="212"/>
                  </a:lnTo>
                  <a:lnTo>
                    <a:pt x="633" y="221"/>
                  </a:lnTo>
                  <a:lnTo>
                    <a:pt x="633" y="222"/>
                  </a:lnTo>
                  <a:lnTo>
                    <a:pt x="632" y="224"/>
                  </a:lnTo>
                  <a:lnTo>
                    <a:pt x="636" y="224"/>
                  </a:lnTo>
                  <a:lnTo>
                    <a:pt x="639" y="237"/>
                  </a:lnTo>
                  <a:lnTo>
                    <a:pt x="639" y="238"/>
                  </a:lnTo>
                  <a:lnTo>
                    <a:pt x="638" y="238"/>
                  </a:lnTo>
                  <a:lnTo>
                    <a:pt x="633" y="237"/>
                  </a:lnTo>
                  <a:lnTo>
                    <a:pt x="630" y="238"/>
                  </a:lnTo>
                  <a:lnTo>
                    <a:pt x="629" y="238"/>
                  </a:lnTo>
                  <a:lnTo>
                    <a:pt x="627" y="237"/>
                  </a:lnTo>
                  <a:lnTo>
                    <a:pt x="627" y="240"/>
                  </a:lnTo>
                  <a:lnTo>
                    <a:pt x="635" y="240"/>
                  </a:lnTo>
                  <a:lnTo>
                    <a:pt x="636" y="241"/>
                  </a:lnTo>
                  <a:lnTo>
                    <a:pt x="636" y="240"/>
                  </a:lnTo>
                  <a:lnTo>
                    <a:pt x="638" y="240"/>
                  </a:lnTo>
                  <a:lnTo>
                    <a:pt x="639" y="244"/>
                  </a:lnTo>
                  <a:lnTo>
                    <a:pt x="641" y="244"/>
                  </a:lnTo>
                  <a:lnTo>
                    <a:pt x="635" y="250"/>
                  </a:lnTo>
                  <a:lnTo>
                    <a:pt x="633" y="250"/>
                  </a:lnTo>
                  <a:lnTo>
                    <a:pt x="629" y="247"/>
                  </a:lnTo>
                  <a:lnTo>
                    <a:pt x="627" y="249"/>
                  </a:lnTo>
                  <a:lnTo>
                    <a:pt x="630" y="250"/>
                  </a:lnTo>
                  <a:lnTo>
                    <a:pt x="630" y="252"/>
                  </a:lnTo>
                  <a:lnTo>
                    <a:pt x="629" y="253"/>
                  </a:lnTo>
                  <a:lnTo>
                    <a:pt x="630" y="253"/>
                  </a:lnTo>
                  <a:lnTo>
                    <a:pt x="630" y="259"/>
                  </a:lnTo>
                  <a:lnTo>
                    <a:pt x="617" y="264"/>
                  </a:lnTo>
                  <a:lnTo>
                    <a:pt x="612" y="270"/>
                  </a:lnTo>
                  <a:lnTo>
                    <a:pt x="598" y="277"/>
                  </a:lnTo>
                  <a:lnTo>
                    <a:pt x="593" y="284"/>
                  </a:lnTo>
                  <a:lnTo>
                    <a:pt x="581" y="293"/>
                  </a:lnTo>
                  <a:lnTo>
                    <a:pt x="574" y="293"/>
                  </a:lnTo>
                  <a:lnTo>
                    <a:pt x="575" y="296"/>
                  </a:lnTo>
                  <a:lnTo>
                    <a:pt x="575" y="298"/>
                  </a:lnTo>
                  <a:lnTo>
                    <a:pt x="571" y="301"/>
                  </a:lnTo>
                  <a:lnTo>
                    <a:pt x="562" y="323"/>
                  </a:lnTo>
                  <a:lnTo>
                    <a:pt x="581" y="376"/>
                  </a:lnTo>
                  <a:lnTo>
                    <a:pt x="581" y="390"/>
                  </a:lnTo>
                  <a:lnTo>
                    <a:pt x="578" y="400"/>
                  </a:lnTo>
                  <a:lnTo>
                    <a:pt x="568" y="403"/>
                  </a:lnTo>
                  <a:lnTo>
                    <a:pt x="566" y="403"/>
                  </a:lnTo>
                  <a:lnTo>
                    <a:pt x="564" y="394"/>
                  </a:lnTo>
                  <a:lnTo>
                    <a:pt x="559" y="391"/>
                  </a:lnTo>
                  <a:lnTo>
                    <a:pt x="555" y="378"/>
                  </a:lnTo>
                  <a:lnTo>
                    <a:pt x="553" y="378"/>
                  </a:lnTo>
                  <a:lnTo>
                    <a:pt x="547" y="370"/>
                  </a:lnTo>
                  <a:lnTo>
                    <a:pt x="549" y="364"/>
                  </a:lnTo>
                  <a:lnTo>
                    <a:pt x="546" y="364"/>
                  </a:lnTo>
                  <a:lnTo>
                    <a:pt x="546" y="344"/>
                  </a:lnTo>
                  <a:lnTo>
                    <a:pt x="529" y="330"/>
                  </a:lnTo>
                  <a:lnTo>
                    <a:pt x="513" y="336"/>
                  </a:lnTo>
                  <a:lnTo>
                    <a:pt x="500" y="324"/>
                  </a:lnTo>
                  <a:lnTo>
                    <a:pt x="497" y="324"/>
                  </a:lnTo>
                  <a:lnTo>
                    <a:pt x="494" y="326"/>
                  </a:lnTo>
                  <a:lnTo>
                    <a:pt x="489" y="326"/>
                  </a:lnTo>
                  <a:lnTo>
                    <a:pt x="489" y="324"/>
                  </a:lnTo>
                  <a:lnTo>
                    <a:pt x="479" y="329"/>
                  </a:lnTo>
                  <a:lnTo>
                    <a:pt x="478" y="329"/>
                  </a:lnTo>
                  <a:lnTo>
                    <a:pt x="478" y="321"/>
                  </a:lnTo>
                  <a:lnTo>
                    <a:pt x="475" y="326"/>
                  </a:lnTo>
                  <a:lnTo>
                    <a:pt x="475" y="327"/>
                  </a:lnTo>
                  <a:lnTo>
                    <a:pt x="448" y="327"/>
                  </a:lnTo>
                  <a:lnTo>
                    <a:pt x="448" y="330"/>
                  </a:lnTo>
                  <a:lnTo>
                    <a:pt x="451" y="330"/>
                  </a:lnTo>
                  <a:lnTo>
                    <a:pt x="454" y="329"/>
                  </a:lnTo>
                  <a:lnTo>
                    <a:pt x="461" y="329"/>
                  </a:lnTo>
                  <a:lnTo>
                    <a:pt x="461" y="330"/>
                  </a:lnTo>
                  <a:lnTo>
                    <a:pt x="457" y="338"/>
                  </a:lnTo>
                  <a:lnTo>
                    <a:pt x="463" y="344"/>
                  </a:lnTo>
                  <a:lnTo>
                    <a:pt x="463" y="345"/>
                  </a:lnTo>
                  <a:lnTo>
                    <a:pt x="460" y="347"/>
                  </a:lnTo>
                  <a:lnTo>
                    <a:pt x="452" y="341"/>
                  </a:lnTo>
                  <a:lnTo>
                    <a:pt x="449" y="345"/>
                  </a:lnTo>
                  <a:lnTo>
                    <a:pt x="441" y="345"/>
                  </a:lnTo>
                  <a:lnTo>
                    <a:pt x="427" y="336"/>
                  </a:lnTo>
                  <a:lnTo>
                    <a:pt x="423" y="339"/>
                  </a:lnTo>
                  <a:lnTo>
                    <a:pt x="400" y="336"/>
                  </a:lnTo>
                  <a:lnTo>
                    <a:pt x="390" y="341"/>
                  </a:lnTo>
                  <a:lnTo>
                    <a:pt x="389" y="341"/>
                  </a:lnTo>
                  <a:lnTo>
                    <a:pt x="389" y="339"/>
                  </a:lnTo>
                  <a:lnTo>
                    <a:pt x="390" y="338"/>
                  </a:lnTo>
                  <a:lnTo>
                    <a:pt x="389" y="336"/>
                  </a:lnTo>
                  <a:lnTo>
                    <a:pt x="386" y="348"/>
                  </a:lnTo>
                  <a:lnTo>
                    <a:pt x="386" y="350"/>
                  </a:lnTo>
                  <a:lnTo>
                    <a:pt x="378" y="353"/>
                  </a:lnTo>
                  <a:lnTo>
                    <a:pt x="368" y="353"/>
                  </a:lnTo>
                  <a:lnTo>
                    <a:pt x="369" y="356"/>
                  </a:lnTo>
                  <a:lnTo>
                    <a:pt x="369" y="357"/>
                  </a:lnTo>
                  <a:lnTo>
                    <a:pt x="357" y="364"/>
                  </a:lnTo>
                  <a:lnTo>
                    <a:pt x="359" y="372"/>
                  </a:lnTo>
                  <a:lnTo>
                    <a:pt x="359" y="373"/>
                  </a:lnTo>
                  <a:lnTo>
                    <a:pt x="356" y="373"/>
                  </a:lnTo>
                  <a:lnTo>
                    <a:pt x="357" y="375"/>
                  </a:lnTo>
                  <a:lnTo>
                    <a:pt x="356" y="381"/>
                  </a:lnTo>
                  <a:lnTo>
                    <a:pt x="360" y="393"/>
                  </a:lnTo>
                  <a:lnTo>
                    <a:pt x="360" y="394"/>
                  </a:lnTo>
                  <a:lnTo>
                    <a:pt x="334" y="385"/>
                  </a:lnTo>
                  <a:lnTo>
                    <a:pt x="325" y="367"/>
                  </a:lnTo>
                  <a:lnTo>
                    <a:pt x="316" y="357"/>
                  </a:lnTo>
                  <a:lnTo>
                    <a:pt x="312" y="345"/>
                  </a:lnTo>
                  <a:lnTo>
                    <a:pt x="301" y="335"/>
                  </a:lnTo>
                  <a:lnTo>
                    <a:pt x="286" y="336"/>
                  </a:lnTo>
                  <a:lnTo>
                    <a:pt x="279" y="348"/>
                  </a:lnTo>
                  <a:lnTo>
                    <a:pt x="277" y="348"/>
                  </a:lnTo>
                  <a:lnTo>
                    <a:pt x="264" y="339"/>
                  </a:lnTo>
                  <a:lnTo>
                    <a:pt x="258" y="332"/>
                  </a:lnTo>
                  <a:lnTo>
                    <a:pt x="255" y="323"/>
                  </a:lnTo>
                  <a:lnTo>
                    <a:pt x="237" y="305"/>
                  </a:lnTo>
                  <a:lnTo>
                    <a:pt x="214" y="305"/>
                  </a:lnTo>
                  <a:lnTo>
                    <a:pt x="214" y="313"/>
                  </a:lnTo>
                  <a:lnTo>
                    <a:pt x="178" y="314"/>
                  </a:lnTo>
                  <a:lnTo>
                    <a:pt x="128" y="292"/>
                  </a:lnTo>
                  <a:lnTo>
                    <a:pt x="125" y="292"/>
                  </a:lnTo>
                  <a:lnTo>
                    <a:pt x="117" y="293"/>
                  </a:lnTo>
                  <a:lnTo>
                    <a:pt x="108" y="293"/>
                  </a:lnTo>
                  <a:lnTo>
                    <a:pt x="101" y="295"/>
                  </a:lnTo>
                  <a:lnTo>
                    <a:pt x="98" y="295"/>
                  </a:lnTo>
                  <a:lnTo>
                    <a:pt x="98" y="293"/>
                  </a:lnTo>
                  <a:lnTo>
                    <a:pt x="95" y="284"/>
                  </a:lnTo>
                  <a:lnTo>
                    <a:pt x="88" y="277"/>
                  </a:lnTo>
                  <a:lnTo>
                    <a:pt x="83" y="276"/>
                  </a:lnTo>
                  <a:lnTo>
                    <a:pt x="80" y="271"/>
                  </a:lnTo>
                  <a:lnTo>
                    <a:pt x="54" y="262"/>
                  </a:lnTo>
                  <a:lnTo>
                    <a:pt x="54" y="253"/>
                  </a:lnTo>
                  <a:lnTo>
                    <a:pt x="37" y="234"/>
                  </a:lnTo>
                  <a:lnTo>
                    <a:pt x="37" y="225"/>
                  </a:lnTo>
                  <a:lnTo>
                    <a:pt x="31" y="221"/>
                  </a:lnTo>
                  <a:lnTo>
                    <a:pt x="28" y="212"/>
                  </a:lnTo>
                  <a:lnTo>
                    <a:pt x="30" y="210"/>
                  </a:lnTo>
                  <a:lnTo>
                    <a:pt x="31" y="210"/>
                  </a:lnTo>
                  <a:lnTo>
                    <a:pt x="30" y="207"/>
                  </a:lnTo>
                  <a:lnTo>
                    <a:pt x="33" y="204"/>
                  </a:lnTo>
                  <a:lnTo>
                    <a:pt x="30" y="204"/>
                  </a:lnTo>
                  <a:lnTo>
                    <a:pt x="28" y="207"/>
                  </a:lnTo>
                  <a:lnTo>
                    <a:pt x="28" y="209"/>
                  </a:lnTo>
                  <a:lnTo>
                    <a:pt x="27" y="209"/>
                  </a:lnTo>
                  <a:lnTo>
                    <a:pt x="23" y="206"/>
                  </a:lnTo>
                  <a:lnTo>
                    <a:pt x="14" y="192"/>
                  </a:lnTo>
                  <a:lnTo>
                    <a:pt x="12" y="178"/>
                  </a:lnTo>
                  <a:lnTo>
                    <a:pt x="5" y="167"/>
                  </a:lnTo>
                  <a:lnTo>
                    <a:pt x="8" y="148"/>
                  </a:lnTo>
                  <a:lnTo>
                    <a:pt x="6" y="141"/>
                  </a:lnTo>
                  <a:lnTo>
                    <a:pt x="3" y="123"/>
                  </a:lnTo>
                  <a:lnTo>
                    <a:pt x="6" y="112"/>
                  </a:lnTo>
                  <a:lnTo>
                    <a:pt x="9" y="65"/>
                  </a:lnTo>
                  <a:lnTo>
                    <a:pt x="9" y="64"/>
                  </a:lnTo>
                  <a:lnTo>
                    <a:pt x="11" y="64"/>
                  </a:lnTo>
                  <a:lnTo>
                    <a:pt x="17" y="62"/>
                  </a:lnTo>
                  <a:lnTo>
                    <a:pt x="9" y="59"/>
                  </a:lnTo>
                  <a:lnTo>
                    <a:pt x="8" y="59"/>
                  </a:lnTo>
                  <a:lnTo>
                    <a:pt x="8" y="53"/>
                  </a:lnTo>
                  <a:lnTo>
                    <a:pt x="9" y="53"/>
                  </a:lnTo>
                  <a:lnTo>
                    <a:pt x="11" y="55"/>
                  </a:lnTo>
                  <a:lnTo>
                    <a:pt x="11" y="53"/>
                  </a:lnTo>
                  <a:lnTo>
                    <a:pt x="8" y="52"/>
                  </a:lnTo>
                  <a:lnTo>
                    <a:pt x="8" y="47"/>
                  </a:lnTo>
                  <a:lnTo>
                    <a:pt x="6" y="47"/>
                  </a:lnTo>
                  <a:lnTo>
                    <a:pt x="6" y="46"/>
                  </a:lnTo>
                  <a:lnTo>
                    <a:pt x="0" y="23"/>
                  </a:lnTo>
                  <a:lnTo>
                    <a:pt x="0" y="19"/>
                  </a:lnTo>
                  <a:lnTo>
                    <a:pt x="2" y="19"/>
                  </a:lnTo>
                  <a:lnTo>
                    <a:pt x="25" y="23"/>
                  </a:lnTo>
                  <a:lnTo>
                    <a:pt x="25" y="29"/>
                  </a:lnTo>
                  <a:lnTo>
                    <a:pt x="23" y="35"/>
                  </a:lnTo>
                  <a:lnTo>
                    <a:pt x="24" y="38"/>
                  </a:lnTo>
                  <a:lnTo>
                    <a:pt x="30" y="28"/>
                  </a:lnTo>
                  <a:lnTo>
                    <a:pt x="30" y="21"/>
                  </a:lnTo>
                  <a:lnTo>
                    <a:pt x="27" y="19"/>
                  </a:lnTo>
                  <a:lnTo>
                    <a:pt x="27" y="18"/>
                  </a:lnTo>
                  <a:lnTo>
                    <a:pt x="30" y="13"/>
                  </a:lnTo>
                  <a:lnTo>
                    <a:pt x="24" y="9"/>
                  </a:lnTo>
                  <a:lnTo>
                    <a:pt x="24" y="7"/>
                  </a:lnTo>
                  <a:lnTo>
                    <a:pt x="384" y="9"/>
                  </a:lnTo>
                  <a:lnTo>
                    <a:pt x="38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9" name="USA - Offshore">
              <a:extLst>
                <a:ext uri="{FF2B5EF4-FFF2-40B4-BE49-F238E27FC236}">
                  <a16:creationId xmlns:a16="http://schemas.microsoft.com/office/drawing/2014/main" id="{E2AEE95D-EC9A-4626-BF6C-3D30445CDC86}"/>
                </a:ext>
              </a:extLst>
            </p:cNvPr>
            <p:cNvSpPr>
              <a:spLocks/>
            </p:cNvSpPr>
            <p:nvPr/>
          </p:nvSpPr>
          <p:spPr bwMode="auto">
            <a:xfrm>
              <a:off x="3536295" y="3524854"/>
              <a:ext cx="590909" cy="388519"/>
            </a:xfrm>
            <a:custGeom>
              <a:avLst/>
              <a:gdLst/>
              <a:ahLst/>
              <a:cxnLst/>
              <a:rect l="l" t="t" r="r" b="b"/>
              <a:pathLst>
                <a:path w="595620" h="391616">
                  <a:moveTo>
                    <a:pt x="14572" y="373401"/>
                  </a:moveTo>
                  <a:lnTo>
                    <a:pt x="16394" y="373401"/>
                  </a:lnTo>
                  <a:lnTo>
                    <a:pt x="16394" y="377044"/>
                  </a:lnTo>
                  <a:lnTo>
                    <a:pt x="3643" y="391616"/>
                  </a:lnTo>
                  <a:lnTo>
                    <a:pt x="0" y="391616"/>
                  </a:lnTo>
                  <a:lnTo>
                    <a:pt x="0" y="389795"/>
                  </a:lnTo>
                  <a:lnTo>
                    <a:pt x="3643" y="384330"/>
                  </a:lnTo>
                  <a:lnTo>
                    <a:pt x="3643" y="382509"/>
                  </a:lnTo>
                  <a:close/>
                  <a:moveTo>
                    <a:pt x="591977" y="0"/>
                  </a:moveTo>
                  <a:lnTo>
                    <a:pt x="595620" y="0"/>
                  </a:lnTo>
                  <a:lnTo>
                    <a:pt x="586513" y="10929"/>
                  </a:lnTo>
                  <a:lnTo>
                    <a:pt x="551905" y="21858"/>
                  </a:lnTo>
                  <a:lnTo>
                    <a:pt x="551905" y="20037"/>
                  </a:lnTo>
                  <a:lnTo>
                    <a:pt x="557370" y="10929"/>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0" name="Hawaii">
              <a:extLst>
                <a:ext uri="{FF2B5EF4-FFF2-40B4-BE49-F238E27FC236}">
                  <a16:creationId xmlns:a16="http://schemas.microsoft.com/office/drawing/2014/main" id="{5EB703E9-CF6A-F631-9400-1F81233FA921}"/>
                </a:ext>
              </a:extLst>
            </p:cNvPr>
            <p:cNvSpPr>
              <a:spLocks/>
            </p:cNvSpPr>
            <p:nvPr/>
          </p:nvSpPr>
          <p:spPr bwMode="auto">
            <a:xfrm>
              <a:off x="2056313" y="4056129"/>
              <a:ext cx="119266" cy="84933"/>
            </a:xfrm>
            <a:custGeom>
              <a:avLst/>
              <a:gdLst/>
              <a:ahLst/>
              <a:cxnLst/>
              <a:rect l="l" t="t" r="r" b="b"/>
              <a:pathLst>
                <a:path w="120217" h="85610">
                  <a:moveTo>
                    <a:pt x="91073" y="51001"/>
                  </a:moveTo>
                  <a:lnTo>
                    <a:pt x="94716" y="51001"/>
                  </a:lnTo>
                  <a:lnTo>
                    <a:pt x="111109" y="56466"/>
                  </a:lnTo>
                  <a:lnTo>
                    <a:pt x="120217" y="67395"/>
                  </a:lnTo>
                  <a:lnTo>
                    <a:pt x="118396" y="76502"/>
                  </a:lnTo>
                  <a:lnTo>
                    <a:pt x="118396" y="78324"/>
                  </a:lnTo>
                  <a:lnTo>
                    <a:pt x="107466" y="78324"/>
                  </a:lnTo>
                  <a:lnTo>
                    <a:pt x="100180" y="85610"/>
                  </a:lnTo>
                  <a:lnTo>
                    <a:pt x="96537" y="85610"/>
                  </a:lnTo>
                  <a:lnTo>
                    <a:pt x="96537" y="83789"/>
                  </a:lnTo>
                  <a:lnTo>
                    <a:pt x="94716" y="83789"/>
                  </a:lnTo>
                  <a:lnTo>
                    <a:pt x="89251" y="67395"/>
                  </a:lnTo>
                  <a:lnTo>
                    <a:pt x="91073" y="54644"/>
                  </a:lnTo>
                  <a:close/>
                  <a:moveTo>
                    <a:pt x="58287" y="23680"/>
                  </a:moveTo>
                  <a:lnTo>
                    <a:pt x="61930" y="23680"/>
                  </a:lnTo>
                  <a:lnTo>
                    <a:pt x="72859" y="29145"/>
                  </a:lnTo>
                  <a:lnTo>
                    <a:pt x="74681" y="29145"/>
                  </a:lnTo>
                  <a:lnTo>
                    <a:pt x="74681" y="32787"/>
                  </a:lnTo>
                  <a:lnTo>
                    <a:pt x="83788" y="32787"/>
                  </a:lnTo>
                  <a:lnTo>
                    <a:pt x="91074" y="38251"/>
                  </a:lnTo>
                  <a:lnTo>
                    <a:pt x="91074" y="40073"/>
                  </a:lnTo>
                  <a:lnTo>
                    <a:pt x="83788" y="43716"/>
                  </a:lnTo>
                  <a:lnTo>
                    <a:pt x="80145" y="43716"/>
                  </a:lnTo>
                  <a:lnTo>
                    <a:pt x="72860" y="32788"/>
                  </a:lnTo>
                  <a:lnTo>
                    <a:pt x="58287" y="32788"/>
                  </a:lnTo>
                  <a:close/>
                  <a:moveTo>
                    <a:pt x="40072" y="12751"/>
                  </a:moveTo>
                  <a:lnTo>
                    <a:pt x="41893" y="12751"/>
                  </a:lnTo>
                  <a:lnTo>
                    <a:pt x="51001" y="21858"/>
                  </a:lnTo>
                  <a:lnTo>
                    <a:pt x="51001" y="23680"/>
                  </a:lnTo>
                  <a:lnTo>
                    <a:pt x="41893" y="23680"/>
                  </a:lnTo>
                  <a:lnTo>
                    <a:pt x="40072" y="18215"/>
                  </a:lnTo>
                  <a:close/>
                  <a:moveTo>
                    <a:pt x="1822" y="0"/>
                  </a:moveTo>
                  <a:lnTo>
                    <a:pt x="5465" y="0"/>
                  </a:lnTo>
                  <a:lnTo>
                    <a:pt x="12751" y="1821"/>
                  </a:lnTo>
                  <a:lnTo>
                    <a:pt x="12751" y="5465"/>
                  </a:lnTo>
                  <a:lnTo>
                    <a:pt x="7286" y="10929"/>
                  </a:lnTo>
                  <a:lnTo>
                    <a:pt x="7286" y="12751"/>
                  </a:lnTo>
                  <a:lnTo>
                    <a:pt x="5465" y="12751"/>
                  </a:lnTo>
                  <a:lnTo>
                    <a:pt x="5465" y="10929"/>
                  </a:lnTo>
                  <a:lnTo>
                    <a:pt x="0" y="7286"/>
                  </a:lnTo>
                  <a:lnTo>
                    <a:pt x="0" y="5465"/>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1" name="Puerto Rico">
              <a:extLst>
                <a:ext uri="{FF2B5EF4-FFF2-40B4-BE49-F238E27FC236}">
                  <a16:creationId xmlns:a16="http://schemas.microsoft.com/office/drawing/2014/main" id="{39AB3953-4F68-8849-E62B-78F673A84761}"/>
                </a:ext>
              </a:extLst>
            </p:cNvPr>
            <p:cNvSpPr>
              <a:spLocks/>
            </p:cNvSpPr>
            <p:nvPr/>
          </p:nvSpPr>
          <p:spPr bwMode="auto">
            <a:xfrm>
              <a:off x="4239243" y="4144677"/>
              <a:ext cx="37948" cy="16264"/>
            </a:xfrm>
            <a:custGeom>
              <a:avLst/>
              <a:gdLst>
                <a:gd name="T0" fmla="*/ 1 w 21"/>
                <a:gd name="T1" fmla="*/ 0 h 9"/>
                <a:gd name="T2" fmla="*/ 19 w 21"/>
                <a:gd name="T3" fmla="*/ 0 h 9"/>
                <a:gd name="T4" fmla="*/ 19 w 21"/>
                <a:gd name="T5" fmla="*/ 1 h 9"/>
                <a:gd name="T6" fmla="*/ 21 w 21"/>
                <a:gd name="T7" fmla="*/ 4 h 9"/>
                <a:gd name="T8" fmla="*/ 21 w 21"/>
                <a:gd name="T9" fmla="*/ 6 h 9"/>
                <a:gd name="T10" fmla="*/ 13 w 21"/>
                <a:gd name="T11" fmla="*/ 9 h 9"/>
                <a:gd name="T12" fmla="*/ 3 w 21"/>
                <a:gd name="T13" fmla="*/ 9 h 9"/>
                <a:gd name="T14" fmla="*/ 0 w 21"/>
                <a:gd name="T15" fmla="*/ 4 h 9"/>
                <a:gd name="T16" fmla="*/ 1 w 21"/>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1" y="0"/>
                  </a:moveTo>
                  <a:lnTo>
                    <a:pt x="19" y="0"/>
                  </a:lnTo>
                  <a:lnTo>
                    <a:pt x="19" y="1"/>
                  </a:lnTo>
                  <a:lnTo>
                    <a:pt x="21" y="4"/>
                  </a:lnTo>
                  <a:lnTo>
                    <a:pt x="21" y="6"/>
                  </a:lnTo>
                  <a:lnTo>
                    <a:pt x="13" y="9"/>
                  </a:lnTo>
                  <a:lnTo>
                    <a:pt x="3" y="9"/>
                  </a:lnTo>
                  <a:lnTo>
                    <a:pt x="0" y="4"/>
                  </a:lnTo>
                  <a:lnTo>
                    <a:pt x="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2" name="Panama">
              <a:extLst>
                <a:ext uri="{FF2B5EF4-FFF2-40B4-BE49-F238E27FC236}">
                  <a16:creationId xmlns:a16="http://schemas.microsoft.com/office/drawing/2014/main" id="{AEAA783F-870E-57C3-0AC3-9CBD6D7C7E1A}"/>
                </a:ext>
              </a:extLst>
            </p:cNvPr>
            <p:cNvSpPr>
              <a:spLocks/>
            </p:cNvSpPr>
            <p:nvPr/>
          </p:nvSpPr>
          <p:spPr bwMode="auto">
            <a:xfrm>
              <a:off x="3866989" y="4361524"/>
              <a:ext cx="139145" cy="59634"/>
            </a:xfrm>
            <a:custGeom>
              <a:avLst/>
              <a:gdLst>
                <a:gd name="T0" fmla="*/ 6 w 77"/>
                <a:gd name="T1" fmla="*/ 0 h 33"/>
                <a:gd name="T2" fmla="*/ 10 w 77"/>
                <a:gd name="T3" fmla="*/ 2 h 33"/>
                <a:gd name="T4" fmla="*/ 12 w 77"/>
                <a:gd name="T5" fmla="*/ 7 h 33"/>
                <a:gd name="T6" fmla="*/ 23 w 77"/>
                <a:gd name="T7" fmla="*/ 10 h 33"/>
                <a:gd name="T8" fmla="*/ 37 w 77"/>
                <a:gd name="T9" fmla="*/ 4 h 33"/>
                <a:gd name="T10" fmla="*/ 38 w 77"/>
                <a:gd name="T11" fmla="*/ 4 h 33"/>
                <a:gd name="T12" fmla="*/ 40 w 77"/>
                <a:gd name="T13" fmla="*/ 6 h 33"/>
                <a:gd name="T14" fmla="*/ 43 w 77"/>
                <a:gd name="T15" fmla="*/ 0 h 33"/>
                <a:gd name="T16" fmla="*/ 50 w 77"/>
                <a:gd name="T17" fmla="*/ 0 h 33"/>
                <a:gd name="T18" fmla="*/ 64 w 77"/>
                <a:gd name="T19" fmla="*/ 3 h 33"/>
                <a:gd name="T20" fmla="*/ 74 w 77"/>
                <a:gd name="T21" fmla="*/ 13 h 33"/>
                <a:gd name="T22" fmla="*/ 74 w 77"/>
                <a:gd name="T23" fmla="*/ 16 h 33"/>
                <a:gd name="T24" fmla="*/ 77 w 77"/>
                <a:gd name="T25" fmla="*/ 21 h 33"/>
                <a:gd name="T26" fmla="*/ 77 w 77"/>
                <a:gd name="T27" fmla="*/ 22 h 33"/>
                <a:gd name="T28" fmla="*/ 72 w 77"/>
                <a:gd name="T29" fmla="*/ 27 h 33"/>
                <a:gd name="T30" fmla="*/ 69 w 77"/>
                <a:gd name="T31" fmla="*/ 27 h 33"/>
                <a:gd name="T32" fmla="*/ 68 w 77"/>
                <a:gd name="T33" fmla="*/ 31 h 33"/>
                <a:gd name="T34" fmla="*/ 66 w 77"/>
                <a:gd name="T35" fmla="*/ 31 h 33"/>
                <a:gd name="T36" fmla="*/ 61 w 77"/>
                <a:gd name="T37" fmla="*/ 22 h 33"/>
                <a:gd name="T38" fmla="*/ 64 w 77"/>
                <a:gd name="T39" fmla="*/ 16 h 33"/>
                <a:gd name="T40" fmla="*/ 61 w 77"/>
                <a:gd name="T41" fmla="*/ 16 h 33"/>
                <a:gd name="T42" fmla="*/ 50 w 77"/>
                <a:gd name="T43" fmla="*/ 9 h 33"/>
                <a:gd name="T44" fmla="*/ 34 w 77"/>
                <a:gd name="T45" fmla="*/ 19 h 33"/>
                <a:gd name="T46" fmla="*/ 34 w 77"/>
                <a:gd name="T47" fmla="*/ 22 h 33"/>
                <a:gd name="T48" fmla="*/ 38 w 77"/>
                <a:gd name="T49" fmla="*/ 28 h 33"/>
                <a:gd name="T50" fmla="*/ 38 w 77"/>
                <a:gd name="T51" fmla="*/ 30 h 33"/>
                <a:gd name="T52" fmla="*/ 32 w 77"/>
                <a:gd name="T53" fmla="*/ 33 h 33"/>
                <a:gd name="T54" fmla="*/ 28 w 77"/>
                <a:gd name="T55" fmla="*/ 33 h 33"/>
                <a:gd name="T56" fmla="*/ 26 w 77"/>
                <a:gd name="T57" fmla="*/ 27 h 33"/>
                <a:gd name="T58" fmla="*/ 22 w 77"/>
                <a:gd name="T59" fmla="*/ 27 h 33"/>
                <a:gd name="T60" fmla="*/ 16 w 77"/>
                <a:gd name="T61" fmla="*/ 19 h 33"/>
                <a:gd name="T62" fmla="*/ 4 w 77"/>
                <a:gd name="T63" fmla="*/ 18 h 33"/>
                <a:gd name="T64" fmla="*/ 3 w 77"/>
                <a:gd name="T65" fmla="*/ 21 h 33"/>
                <a:gd name="T66" fmla="*/ 1 w 77"/>
                <a:gd name="T67" fmla="*/ 21 h 33"/>
                <a:gd name="T68" fmla="*/ 0 w 77"/>
                <a:gd name="T69" fmla="*/ 16 h 33"/>
                <a:gd name="T70" fmla="*/ 3 w 77"/>
                <a:gd name="T71" fmla="*/ 7 h 33"/>
                <a:gd name="T72" fmla="*/ 1 w 77"/>
                <a:gd name="T73" fmla="*/ 6 h 33"/>
                <a:gd name="T74" fmla="*/ 1 w 77"/>
                <a:gd name="T75" fmla="*/ 2 h 33"/>
                <a:gd name="T76" fmla="*/ 6 w 77"/>
                <a:gd name="T7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 h="33">
                  <a:moveTo>
                    <a:pt x="6" y="0"/>
                  </a:moveTo>
                  <a:lnTo>
                    <a:pt x="10" y="2"/>
                  </a:lnTo>
                  <a:lnTo>
                    <a:pt x="12" y="7"/>
                  </a:lnTo>
                  <a:lnTo>
                    <a:pt x="23" y="10"/>
                  </a:lnTo>
                  <a:lnTo>
                    <a:pt x="37" y="4"/>
                  </a:lnTo>
                  <a:lnTo>
                    <a:pt x="38" y="4"/>
                  </a:lnTo>
                  <a:lnTo>
                    <a:pt x="40" y="6"/>
                  </a:lnTo>
                  <a:lnTo>
                    <a:pt x="43" y="0"/>
                  </a:lnTo>
                  <a:lnTo>
                    <a:pt x="50" y="0"/>
                  </a:lnTo>
                  <a:lnTo>
                    <a:pt x="64" y="3"/>
                  </a:lnTo>
                  <a:lnTo>
                    <a:pt x="74" y="13"/>
                  </a:lnTo>
                  <a:lnTo>
                    <a:pt x="74" y="16"/>
                  </a:lnTo>
                  <a:lnTo>
                    <a:pt x="77" y="21"/>
                  </a:lnTo>
                  <a:lnTo>
                    <a:pt x="77" y="22"/>
                  </a:lnTo>
                  <a:lnTo>
                    <a:pt x="72" y="27"/>
                  </a:lnTo>
                  <a:lnTo>
                    <a:pt x="69" y="27"/>
                  </a:lnTo>
                  <a:lnTo>
                    <a:pt x="68" y="31"/>
                  </a:lnTo>
                  <a:lnTo>
                    <a:pt x="66" y="31"/>
                  </a:lnTo>
                  <a:lnTo>
                    <a:pt x="61" y="22"/>
                  </a:lnTo>
                  <a:lnTo>
                    <a:pt x="64" y="16"/>
                  </a:lnTo>
                  <a:lnTo>
                    <a:pt x="61" y="16"/>
                  </a:lnTo>
                  <a:lnTo>
                    <a:pt x="50" y="9"/>
                  </a:lnTo>
                  <a:lnTo>
                    <a:pt x="34" y="19"/>
                  </a:lnTo>
                  <a:lnTo>
                    <a:pt x="34" y="22"/>
                  </a:lnTo>
                  <a:lnTo>
                    <a:pt x="38" y="28"/>
                  </a:lnTo>
                  <a:lnTo>
                    <a:pt x="38" y="30"/>
                  </a:lnTo>
                  <a:lnTo>
                    <a:pt x="32" y="33"/>
                  </a:lnTo>
                  <a:lnTo>
                    <a:pt x="28" y="33"/>
                  </a:lnTo>
                  <a:lnTo>
                    <a:pt x="26" y="27"/>
                  </a:lnTo>
                  <a:lnTo>
                    <a:pt x="22" y="27"/>
                  </a:lnTo>
                  <a:lnTo>
                    <a:pt x="16" y="19"/>
                  </a:lnTo>
                  <a:lnTo>
                    <a:pt x="4" y="18"/>
                  </a:lnTo>
                  <a:lnTo>
                    <a:pt x="3" y="21"/>
                  </a:lnTo>
                  <a:lnTo>
                    <a:pt x="1" y="21"/>
                  </a:lnTo>
                  <a:lnTo>
                    <a:pt x="0" y="16"/>
                  </a:lnTo>
                  <a:lnTo>
                    <a:pt x="3" y="7"/>
                  </a:lnTo>
                  <a:lnTo>
                    <a:pt x="1" y="6"/>
                  </a:lnTo>
                  <a:lnTo>
                    <a:pt x="1" y="2"/>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3" name="Nicaragua">
              <a:extLst>
                <a:ext uri="{FF2B5EF4-FFF2-40B4-BE49-F238E27FC236}">
                  <a16:creationId xmlns:a16="http://schemas.microsoft.com/office/drawing/2014/main" id="{56A3B291-8225-E416-DB61-213D0B8F9A33}"/>
                </a:ext>
              </a:extLst>
            </p:cNvPr>
            <p:cNvSpPr>
              <a:spLocks/>
            </p:cNvSpPr>
            <p:nvPr/>
          </p:nvSpPr>
          <p:spPr bwMode="auto">
            <a:xfrm>
              <a:off x="3758565" y="4233222"/>
              <a:ext cx="104809" cy="104809"/>
            </a:xfrm>
            <a:custGeom>
              <a:avLst/>
              <a:gdLst>
                <a:gd name="T0" fmla="*/ 57 w 58"/>
                <a:gd name="T1" fmla="*/ 0 h 58"/>
                <a:gd name="T2" fmla="*/ 58 w 58"/>
                <a:gd name="T3" fmla="*/ 0 h 58"/>
                <a:gd name="T4" fmla="*/ 51 w 58"/>
                <a:gd name="T5" fmla="*/ 47 h 58"/>
                <a:gd name="T6" fmla="*/ 52 w 58"/>
                <a:gd name="T7" fmla="*/ 53 h 58"/>
                <a:gd name="T8" fmla="*/ 52 w 58"/>
                <a:gd name="T9" fmla="*/ 55 h 58"/>
                <a:gd name="T10" fmla="*/ 46 w 58"/>
                <a:gd name="T11" fmla="*/ 58 h 58"/>
                <a:gd name="T12" fmla="*/ 45 w 58"/>
                <a:gd name="T13" fmla="*/ 58 h 58"/>
                <a:gd name="T14" fmla="*/ 41 w 58"/>
                <a:gd name="T15" fmla="*/ 53 h 58"/>
                <a:gd name="T16" fmla="*/ 24 w 58"/>
                <a:gd name="T17" fmla="*/ 52 h 58"/>
                <a:gd name="T18" fmla="*/ 0 w 58"/>
                <a:gd name="T19" fmla="*/ 28 h 58"/>
                <a:gd name="T20" fmla="*/ 0 w 58"/>
                <a:gd name="T21" fmla="*/ 27 h 58"/>
                <a:gd name="T22" fmla="*/ 3 w 58"/>
                <a:gd name="T23" fmla="*/ 27 h 58"/>
                <a:gd name="T24" fmla="*/ 8 w 58"/>
                <a:gd name="T25" fmla="*/ 25 h 58"/>
                <a:gd name="T26" fmla="*/ 11 w 58"/>
                <a:gd name="T27" fmla="*/ 22 h 58"/>
                <a:gd name="T28" fmla="*/ 11 w 58"/>
                <a:gd name="T29" fmla="*/ 16 h 58"/>
                <a:gd name="T30" fmla="*/ 17 w 58"/>
                <a:gd name="T31" fmla="*/ 16 h 58"/>
                <a:gd name="T32" fmla="*/ 18 w 58"/>
                <a:gd name="T33" fmla="*/ 12 h 58"/>
                <a:gd name="T34" fmla="*/ 20 w 58"/>
                <a:gd name="T35" fmla="*/ 12 h 58"/>
                <a:gd name="T36" fmla="*/ 24 w 58"/>
                <a:gd name="T37" fmla="*/ 13 h 58"/>
                <a:gd name="T38" fmla="*/ 32 w 58"/>
                <a:gd name="T39" fmla="*/ 9 h 58"/>
                <a:gd name="T40" fmla="*/ 36 w 58"/>
                <a:gd name="T41" fmla="*/ 1 h 58"/>
                <a:gd name="T42" fmla="*/ 38 w 58"/>
                <a:gd name="T43" fmla="*/ 1 h 58"/>
                <a:gd name="T44" fmla="*/ 43 w 58"/>
                <a:gd name="T45" fmla="*/ 4 h 58"/>
                <a:gd name="T46" fmla="*/ 57 w 58"/>
                <a:gd name="T4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58">
                  <a:moveTo>
                    <a:pt x="57" y="0"/>
                  </a:moveTo>
                  <a:lnTo>
                    <a:pt x="58" y="0"/>
                  </a:lnTo>
                  <a:lnTo>
                    <a:pt x="51" y="47"/>
                  </a:lnTo>
                  <a:lnTo>
                    <a:pt x="52" y="53"/>
                  </a:lnTo>
                  <a:lnTo>
                    <a:pt x="52" y="55"/>
                  </a:lnTo>
                  <a:lnTo>
                    <a:pt x="46" y="58"/>
                  </a:lnTo>
                  <a:lnTo>
                    <a:pt x="45" y="58"/>
                  </a:lnTo>
                  <a:lnTo>
                    <a:pt x="41" y="53"/>
                  </a:lnTo>
                  <a:lnTo>
                    <a:pt x="24" y="52"/>
                  </a:lnTo>
                  <a:lnTo>
                    <a:pt x="0" y="28"/>
                  </a:lnTo>
                  <a:lnTo>
                    <a:pt x="0" y="27"/>
                  </a:lnTo>
                  <a:lnTo>
                    <a:pt x="3" y="27"/>
                  </a:lnTo>
                  <a:lnTo>
                    <a:pt x="8" y="25"/>
                  </a:lnTo>
                  <a:lnTo>
                    <a:pt x="11" y="22"/>
                  </a:lnTo>
                  <a:lnTo>
                    <a:pt x="11" y="16"/>
                  </a:lnTo>
                  <a:lnTo>
                    <a:pt x="17" y="16"/>
                  </a:lnTo>
                  <a:lnTo>
                    <a:pt x="18" y="12"/>
                  </a:lnTo>
                  <a:lnTo>
                    <a:pt x="20" y="12"/>
                  </a:lnTo>
                  <a:lnTo>
                    <a:pt x="24" y="13"/>
                  </a:lnTo>
                  <a:lnTo>
                    <a:pt x="32" y="9"/>
                  </a:lnTo>
                  <a:lnTo>
                    <a:pt x="36" y="1"/>
                  </a:lnTo>
                  <a:lnTo>
                    <a:pt x="38" y="1"/>
                  </a:lnTo>
                  <a:lnTo>
                    <a:pt x="43" y="4"/>
                  </a:lnTo>
                  <a:lnTo>
                    <a:pt x="5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4" name="Mexico">
              <a:extLst>
                <a:ext uri="{FF2B5EF4-FFF2-40B4-BE49-F238E27FC236}">
                  <a16:creationId xmlns:a16="http://schemas.microsoft.com/office/drawing/2014/main" id="{DFF97F61-FB7B-3CFC-D0FD-6546C2EB4145}"/>
                </a:ext>
              </a:extLst>
            </p:cNvPr>
            <p:cNvSpPr>
              <a:spLocks/>
            </p:cNvSpPr>
            <p:nvPr/>
          </p:nvSpPr>
          <p:spPr bwMode="auto">
            <a:xfrm>
              <a:off x="3062846" y="3774229"/>
              <a:ext cx="715596" cy="469837"/>
            </a:xfrm>
            <a:custGeom>
              <a:avLst/>
              <a:gdLst>
                <a:gd name="T0" fmla="*/ 114 w 396"/>
                <a:gd name="T1" fmla="*/ 21 h 260"/>
                <a:gd name="T2" fmla="*/ 139 w 396"/>
                <a:gd name="T3" fmla="*/ 14 h 260"/>
                <a:gd name="T4" fmla="*/ 162 w 396"/>
                <a:gd name="T5" fmla="*/ 40 h 260"/>
                <a:gd name="T6" fmla="*/ 187 w 396"/>
                <a:gd name="T7" fmla="*/ 45 h 260"/>
                <a:gd name="T8" fmla="*/ 205 w 396"/>
                <a:gd name="T9" fmla="*/ 43 h 260"/>
                <a:gd name="T10" fmla="*/ 228 w 396"/>
                <a:gd name="T11" fmla="*/ 77 h 260"/>
                <a:gd name="T12" fmla="*/ 262 w 396"/>
                <a:gd name="T13" fmla="*/ 109 h 260"/>
                <a:gd name="T14" fmla="*/ 255 w 396"/>
                <a:gd name="T15" fmla="*/ 138 h 260"/>
                <a:gd name="T16" fmla="*/ 261 w 396"/>
                <a:gd name="T17" fmla="*/ 172 h 260"/>
                <a:gd name="T18" fmla="*/ 280 w 396"/>
                <a:gd name="T19" fmla="*/ 200 h 260"/>
                <a:gd name="T20" fmla="*/ 322 w 396"/>
                <a:gd name="T21" fmla="*/ 202 h 260"/>
                <a:gd name="T22" fmla="*/ 337 w 396"/>
                <a:gd name="T23" fmla="*/ 199 h 260"/>
                <a:gd name="T24" fmla="*/ 378 w 396"/>
                <a:gd name="T25" fmla="*/ 162 h 260"/>
                <a:gd name="T26" fmla="*/ 385 w 396"/>
                <a:gd name="T27" fmla="*/ 163 h 260"/>
                <a:gd name="T28" fmla="*/ 390 w 396"/>
                <a:gd name="T29" fmla="*/ 163 h 260"/>
                <a:gd name="T30" fmla="*/ 396 w 396"/>
                <a:gd name="T31" fmla="*/ 168 h 260"/>
                <a:gd name="T32" fmla="*/ 387 w 396"/>
                <a:gd name="T33" fmla="*/ 190 h 260"/>
                <a:gd name="T34" fmla="*/ 387 w 396"/>
                <a:gd name="T35" fmla="*/ 195 h 260"/>
                <a:gd name="T36" fmla="*/ 378 w 396"/>
                <a:gd name="T37" fmla="*/ 206 h 260"/>
                <a:gd name="T38" fmla="*/ 374 w 396"/>
                <a:gd name="T39" fmla="*/ 208 h 260"/>
                <a:gd name="T40" fmla="*/ 343 w 396"/>
                <a:gd name="T41" fmla="*/ 215 h 260"/>
                <a:gd name="T42" fmla="*/ 338 w 396"/>
                <a:gd name="T43" fmla="*/ 221 h 260"/>
                <a:gd name="T44" fmla="*/ 348 w 396"/>
                <a:gd name="T45" fmla="*/ 238 h 260"/>
                <a:gd name="T46" fmla="*/ 328 w 396"/>
                <a:gd name="T47" fmla="*/ 252 h 260"/>
                <a:gd name="T48" fmla="*/ 308 w 396"/>
                <a:gd name="T49" fmla="*/ 243 h 260"/>
                <a:gd name="T50" fmla="*/ 274 w 396"/>
                <a:gd name="T51" fmla="*/ 246 h 260"/>
                <a:gd name="T52" fmla="*/ 240 w 396"/>
                <a:gd name="T53" fmla="*/ 233 h 260"/>
                <a:gd name="T54" fmla="*/ 181 w 396"/>
                <a:gd name="T55" fmla="*/ 209 h 260"/>
                <a:gd name="T56" fmla="*/ 154 w 396"/>
                <a:gd name="T57" fmla="*/ 190 h 260"/>
                <a:gd name="T58" fmla="*/ 156 w 396"/>
                <a:gd name="T59" fmla="*/ 178 h 260"/>
                <a:gd name="T60" fmla="*/ 150 w 396"/>
                <a:gd name="T61" fmla="*/ 150 h 260"/>
                <a:gd name="T62" fmla="*/ 122 w 396"/>
                <a:gd name="T63" fmla="*/ 123 h 260"/>
                <a:gd name="T64" fmla="*/ 116 w 396"/>
                <a:gd name="T65" fmla="*/ 113 h 260"/>
                <a:gd name="T66" fmla="*/ 107 w 396"/>
                <a:gd name="T67" fmla="*/ 107 h 260"/>
                <a:gd name="T68" fmla="*/ 101 w 396"/>
                <a:gd name="T69" fmla="*/ 103 h 260"/>
                <a:gd name="T70" fmla="*/ 86 w 396"/>
                <a:gd name="T71" fmla="*/ 74 h 260"/>
                <a:gd name="T72" fmla="*/ 58 w 396"/>
                <a:gd name="T73" fmla="*/ 43 h 260"/>
                <a:gd name="T74" fmla="*/ 39 w 396"/>
                <a:gd name="T75" fmla="*/ 21 h 260"/>
                <a:gd name="T76" fmla="*/ 39 w 396"/>
                <a:gd name="T77" fmla="*/ 46 h 260"/>
                <a:gd name="T78" fmla="*/ 52 w 396"/>
                <a:gd name="T79" fmla="*/ 60 h 260"/>
                <a:gd name="T80" fmla="*/ 71 w 396"/>
                <a:gd name="T81" fmla="*/ 89 h 260"/>
                <a:gd name="T82" fmla="*/ 89 w 396"/>
                <a:gd name="T83" fmla="*/ 126 h 260"/>
                <a:gd name="T84" fmla="*/ 102 w 396"/>
                <a:gd name="T85" fmla="*/ 137 h 260"/>
                <a:gd name="T86" fmla="*/ 88 w 396"/>
                <a:gd name="T87" fmla="*/ 135 h 260"/>
                <a:gd name="T88" fmla="*/ 64 w 396"/>
                <a:gd name="T89" fmla="*/ 119 h 260"/>
                <a:gd name="T90" fmla="*/ 55 w 396"/>
                <a:gd name="T91" fmla="*/ 94 h 260"/>
                <a:gd name="T92" fmla="*/ 48 w 396"/>
                <a:gd name="T93" fmla="*/ 91 h 260"/>
                <a:gd name="T94" fmla="*/ 39 w 396"/>
                <a:gd name="T95" fmla="*/ 74 h 260"/>
                <a:gd name="T96" fmla="*/ 19 w 396"/>
                <a:gd name="T97" fmla="*/ 46 h 260"/>
                <a:gd name="T98" fmla="*/ 8 w 396"/>
                <a:gd name="T99" fmla="*/ 15 h 260"/>
                <a:gd name="T100" fmla="*/ 31 w 396"/>
                <a:gd name="T10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6" h="260">
                  <a:moveTo>
                    <a:pt x="31" y="0"/>
                  </a:moveTo>
                  <a:lnTo>
                    <a:pt x="80" y="23"/>
                  </a:lnTo>
                  <a:lnTo>
                    <a:pt x="114" y="21"/>
                  </a:lnTo>
                  <a:lnTo>
                    <a:pt x="114" y="15"/>
                  </a:lnTo>
                  <a:lnTo>
                    <a:pt x="116" y="14"/>
                  </a:lnTo>
                  <a:lnTo>
                    <a:pt x="139" y="14"/>
                  </a:lnTo>
                  <a:lnTo>
                    <a:pt x="139" y="15"/>
                  </a:lnTo>
                  <a:lnTo>
                    <a:pt x="159" y="31"/>
                  </a:lnTo>
                  <a:lnTo>
                    <a:pt x="162" y="40"/>
                  </a:lnTo>
                  <a:lnTo>
                    <a:pt x="166" y="48"/>
                  </a:lnTo>
                  <a:lnTo>
                    <a:pt x="179" y="57"/>
                  </a:lnTo>
                  <a:lnTo>
                    <a:pt x="187" y="45"/>
                  </a:lnTo>
                  <a:lnTo>
                    <a:pt x="193" y="45"/>
                  </a:lnTo>
                  <a:lnTo>
                    <a:pt x="197" y="43"/>
                  </a:lnTo>
                  <a:lnTo>
                    <a:pt x="205" y="43"/>
                  </a:lnTo>
                  <a:lnTo>
                    <a:pt x="215" y="54"/>
                  </a:lnTo>
                  <a:lnTo>
                    <a:pt x="219" y="66"/>
                  </a:lnTo>
                  <a:lnTo>
                    <a:pt x="228" y="77"/>
                  </a:lnTo>
                  <a:lnTo>
                    <a:pt x="236" y="94"/>
                  </a:lnTo>
                  <a:lnTo>
                    <a:pt x="262" y="103"/>
                  </a:lnTo>
                  <a:lnTo>
                    <a:pt x="262" y="109"/>
                  </a:lnTo>
                  <a:lnTo>
                    <a:pt x="257" y="112"/>
                  </a:lnTo>
                  <a:lnTo>
                    <a:pt x="252" y="120"/>
                  </a:lnTo>
                  <a:lnTo>
                    <a:pt x="255" y="138"/>
                  </a:lnTo>
                  <a:lnTo>
                    <a:pt x="255" y="156"/>
                  </a:lnTo>
                  <a:lnTo>
                    <a:pt x="261" y="165"/>
                  </a:lnTo>
                  <a:lnTo>
                    <a:pt x="261" y="172"/>
                  </a:lnTo>
                  <a:lnTo>
                    <a:pt x="270" y="186"/>
                  </a:lnTo>
                  <a:lnTo>
                    <a:pt x="274" y="196"/>
                  </a:lnTo>
                  <a:lnTo>
                    <a:pt x="280" y="200"/>
                  </a:lnTo>
                  <a:lnTo>
                    <a:pt x="289" y="203"/>
                  </a:lnTo>
                  <a:lnTo>
                    <a:pt x="297" y="209"/>
                  </a:lnTo>
                  <a:lnTo>
                    <a:pt x="322" y="202"/>
                  </a:lnTo>
                  <a:lnTo>
                    <a:pt x="334" y="205"/>
                  </a:lnTo>
                  <a:lnTo>
                    <a:pt x="337" y="203"/>
                  </a:lnTo>
                  <a:lnTo>
                    <a:pt x="337" y="199"/>
                  </a:lnTo>
                  <a:lnTo>
                    <a:pt x="343" y="195"/>
                  </a:lnTo>
                  <a:lnTo>
                    <a:pt x="348" y="169"/>
                  </a:lnTo>
                  <a:lnTo>
                    <a:pt x="378" y="162"/>
                  </a:lnTo>
                  <a:lnTo>
                    <a:pt x="384" y="162"/>
                  </a:lnTo>
                  <a:lnTo>
                    <a:pt x="384" y="165"/>
                  </a:lnTo>
                  <a:lnTo>
                    <a:pt x="385" y="163"/>
                  </a:lnTo>
                  <a:lnTo>
                    <a:pt x="385" y="162"/>
                  </a:lnTo>
                  <a:lnTo>
                    <a:pt x="388" y="162"/>
                  </a:lnTo>
                  <a:lnTo>
                    <a:pt x="390" y="163"/>
                  </a:lnTo>
                  <a:lnTo>
                    <a:pt x="393" y="163"/>
                  </a:lnTo>
                  <a:lnTo>
                    <a:pt x="393" y="165"/>
                  </a:lnTo>
                  <a:lnTo>
                    <a:pt x="396" y="168"/>
                  </a:lnTo>
                  <a:lnTo>
                    <a:pt x="396" y="169"/>
                  </a:lnTo>
                  <a:lnTo>
                    <a:pt x="385" y="190"/>
                  </a:lnTo>
                  <a:lnTo>
                    <a:pt x="387" y="190"/>
                  </a:lnTo>
                  <a:lnTo>
                    <a:pt x="387" y="192"/>
                  </a:lnTo>
                  <a:lnTo>
                    <a:pt x="385" y="193"/>
                  </a:lnTo>
                  <a:lnTo>
                    <a:pt x="387" y="195"/>
                  </a:lnTo>
                  <a:lnTo>
                    <a:pt x="383" y="212"/>
                  </a:lnTo>
                  <a:lnTo>
                    <a:pt x="381" y="212"/>
                  </a:lnTo>
                  <a:lnTo>
                    <a:pt x="378" y="206"/>
                  </a:lnTo>
                  <a:lnTo>
                    <a:pt x="378" y="202"/>
                  </a:lnTo>
                  <a:lnTo>
                    <a:pt x="375" y="206"/>
                  </a:lnTo>
                  <a:lnTo>
                    <a:pt x="374" y="208"/>
                  </a:lnTo>
                  <a:lnTo>
                    <a:pt x="369" y="214"/>
                  </a:lnTo>
                  <a:lnTo>
                    <a:pt x="365" y="215"/>
                  </a:lnTo>
                  <a:lnTo>
                    <a:pt x="343" y="215"/>
                  </a:lnTo>
                  <a:lnTo>
                    <a:pt x="343" y="223"/>
                  </a:lnTo>
                  <a:lnTo>
                    <a:pt x="340" y="223"/>
                  </a:lnTo>
                  <a:lnTo>
                    <a:pt x="338" y="221"/>
                  </a:lnTo>
                  <a:lnTo>
                    <a:pt x="337" y="221"/>
                  </a:lnTo>
                  <a:lnTo>
                    <a:pt x="344" y="229"/>
                  </a:lnTo>
                  <a:lnTo>
                    <a:pt x="348" y="238"/>
                  </a:lnTo>
                  <a:lnTo>
                    <a:pt x="348" y="239"/>
                  </a:lnTo>
                  <a:lnTo>
                    <a:pt x="335" y="239"/>
                  </a:lnTo>
                  <a:lnTo>
                    <a:pt x="328" y="252"/>
                  </a:lnTo>
                  <a:lnTo>
                    <a:pt x="325" y="258"/>
                  </a:lnTo>
                  <a:lnTo>
                    <a:pt x="325" y="260"/>
                  </a:lnTo>
                  <a:lnTo>
                    <a:pt x="308" y="243"/>
                  </a:lnTo>
                  <a:lnTo>
                    <a:pt x="294" y="238"/>
                  </a:lnTo>
                  <a:lnTo>
                    <a:pt x="289" y="239"/>
                  </a:lnTo>
                  <a:lnTo>
                    <a:pt x="274" y="246"/>
                  </a:lnTo>
                  <a:lnTo>
                    <a:pt x="273" y="246"/>
                  </a:lnTo>
                  <a:lnTo>
                    <a:pt x="254" y="241"/>
                  </a:lnTo>
                  <a:lnTo>
                    <a:pt x="240" y="233"/>
                  </a:lnTo>
                  <a:lnTo>
                    <a:pt x="212" y="226"/>
                  </a:lnTo>
                  <a:lnTo>
                    <a:pt x="200" y="214"/>
                  </a:lnTo>
                  <a:lnTo>
                    <a:pt x="181" y="209"/>
                  </a:lnTo>
                  <a:lnTo>
                    <a:pt x="174" y="203"/>
                  </a:lnTo>
                  <a:lnTo>
                    <a:pt x="162" y="196"/>
                  </a:lnTo>
                  <a:lnTo>
                    <a:pt x="154" y="190"/>
                  </a:lnTo>
                  <a:lnTo>
                    <a:pt x="151" y="181"/>
                  </a:lnTo>
                  <a:lnTo>
                    <a:pt x="151" y="180"/>
                  </a:lnTo>
                  <a:lnTo>
                    <a:pt x="156" y="178"/>
                  </a:lnTo>
                  <a:lnTo>
                    <a:pt x="154" y="175"/>
                  </a:lnTo>
                  <a:lnTo>
                    <a:pt x="157" y="168"/>
                  </a:lnTo>
                  <a:lnTo>
                    <a:pt x="150" y="150"/>
                  </a:lnTo>
                  <a:lnTo>
                    <a:pt x="141" y="143"/>
                  </a:lnTo>
                  <a:lnTo>
                    <a:pt x="134" y="132"/>
                  </a:lnTo>
                  <a:lnTo>
                    <a:pt x="122" y="123"/>
                  </a:lnTo>
                  <a:lnTo>
                    <a:pt x="122" y="122"/>
                  </a:lnTo>
                  <a:lnTo>
                    <a:pt x="120" y="116"/>
                  </a:lnTo>
                  <a:lnTo>
                    <a:pt x="116" y="113"/>
                  </a:lnTo>
                  <a:lnTo>
                    <a:pt x="108" y="110"/>
                  </a:lnTo>
                  <a:lnTo>
                    <a:pt x="107" y="110"/>
                  </a:lnTo>
                  <a:lnTo>
                    <a:pt x="107" y="107"/>
                  </a:lnTo>
                  <a:lnTo>
                    <a:pt x="104" y="107"/>
                  </a:lnTo>
                  <a:lnTo>
                    <a:pt x="101" y="104"/>
                  </a:lnTo>
                  <a:lnTo>
                    <a:pt x="101" y="103"/>
                  </a:lnTo>
                  <a:lnTo>
                    <a:pt x="105" y="97"/>
                  </a:lnTo>
                  <a:lnTo>
                    <a:pt x="88" y="83"/>
                  </a:lnTo>
                  <a:lnTo>
                    <a:pt x="86" y="74"/>
                  </a:lnTo>
                  <a:lnTo>
                    <a:pt x="80" y="73"/>
                  </a:lnTo>
                  <a:lnTo>
                    <a:pt x="70" y="63"/>
                  </a:lnTo>
                  <a:lnTo>
                    <a:pt x="58" y="43"/>
                  </a:lnTo>
                  <a:lnTo>
                    <a:pt x="52" y="26"/>
                  </a:lnTo>
                  <a:lnTo>
                    <a:pt x="45" y="20"/>
                  </a:lnTo>
                  <a:lnTo>
                    <a:pt x="39" y="21"/>
                  </a:lnTo>
                  <a:lnTo>
                    <a:pt x="31" y="14"/>
                  </a:lnTo>
                  <a:lnTo>
                    <a:pt x="36" y="40"/>
                  </a:lnTo>
                  <a:lnTo>
                    <a:pt x="39" y="46"/>
                  </a:lnTo>
                  <a:lnTo>
                    <a:pt x="48" y="52"/>
                  </a:lnTo>
                  <a:lnTo>
                    <a:pt x="50" y="58"/>
                  </a:lnTo>
                  <a:lnTo>
                    <a:pt x="52" y="60"/>
                  </a:lnTo>
                  <a:lnTo>
                    <a:pt x="53" y="60"/>
                  </a:lnTo>
                  <a:lnTo>
                    <a:pt x="70" y="89"/>
                  </a:lnTo>
                  <a:lnTo>
                    <a:pt x="71" y="89"/>
                  </a:lnTo>
                  <a:lnTo>
                    <a:pt x="74" y="91"/>
                  </a:lnTo>
                  <a:lnTo>
                    <a:pt x="88" y="126"/>
                  </a:lnTo>
                  <a:lnTo>
                    <a:pt x="89" y="126"/>
                  </a:lnTo>
                  <a:lnTo>
                    <a:pt x="92" y="125"/>
                  </a:lnTo>
                  <a:lnTo>
                    <a:pt x="92" y="126"/>
                  </a:lnTo>
                  <a:lnTo>
                    <a:pt x="102" y="137"/>
                  </a:lnTo>
                  <a:lnTo>
                    <a:pt x="101" y="143"/>
                  </a:lnTo>
                  <a:lnTo>
                    <a:pt x="95" y="147"/>
                  </a:lnTo>
                  <a:lnTo>
                    <a:pt x="88" y="135"/>
                  </a:lnTo>
                  <a:lnTo>
                    <a:pt x="70" y="120"/>
                  </a:lnTo>
                  <a:lnTo>
                    <a:pt x="64" y="120"/>
                  </a:lnTo>
                  <a:lnTo>
                    <a:pt x="64" y="119"/>
                  </a:lnTo>
                  <a:lnTo>
                    <a:pt x="65" y="106"/>
                  </a:lnTo>
                  <a:lnTo>
                    <a:pt x="64" y="98"/>
                  </a:lnTo>
                  <a:lnTo>
                    <a:pt x="55" y="94"/>
                  </a:lnTo>
                  <a:lnTo>
                    <a:pt x="53" y="89"/>
                  </a:lnTo>
                  <a:lnTo>
                    <a:pt x="52" y="91"/>
                  </a:lnTo>
                  <a:lnTo>
                    <a:pt x="48" y="91"/>
                  </a:lnTo>
                  <a:lnTo>
                    <a:pt x="28" y="77"/>
                  </a:lnTo>
                  <a:lnTo>
                    <a:pt x="28" y="74"/>
                  </a:lnTo>
                  <a:lnTo>
                    <a:pt x="39" y="74"/>
                  </a:lnTo>
                  <a:lnTo>
                    <a:pt x="40" y="66"/>
                  </a:lnTo>
                  <a:lnTo>
                    <a:pt x="28" y="51"/>
                  </a:lnTo>
                  <a:lnTo>
                    <a:pt x="19" y="46"/>
                  </a:lnTo>
                  <a:lnTo>
                    <a:pt x="18" y="37"/>
                  </a:lnTo>
                  <a:lnTo>
                    <a:pt x="15" y="37"/>
                  </a:lnTo>
                  <a:lnTo>
                    <a:pt x="8" y="15"/>
                  </a:lnTo>
                  <a:lnTo>
                    <a:pt x="0" y="5"/>
                  </a:lnTo>
                  <a:lnTo>
                    <a:pt x="0" y="3"/>
                  </a:lnTo>
                  <a:lnTo>
                    <a:pt x="3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5" name="Martinique">
              <a:extLst>
                <a:ext uri="{FF2B5EF4-FFF2-40B4-BE49-F238E27FC236}">
                  <a16:creationId xmlns:a16="http://schemas.microsoft.com/office/drawing/2014/main" id="{353D6EF3-8152-B3CB-EF62-86F303ACB58A}"/>
                </a:ext>
              </a:extLst>
            </p:cNvPr>
            <p:cNvSpPr>
              <a:spLocks/>
            </p:cNvSpPr>
            <p:nvPr/>
          </p:nvSpPr>
          <p:spPr bwMode="auto">
            <a:xfrm>
              <a:off x="4380195" y="4235030"/>
              <a:ext cx="10843" cy="14457"/>
            </a:xfrm>
            <a:custGeom>
              <a:avLst/>
              <a:gdLst>
                <a:gd name="T0" fmla="*/ 0 w 6"/>
                <a:gd name="T1" fmla="*/ 0 h 8"/>
                <a:gd name="T2" fmla="*/ 2 w 6"/>
                <a:gd name="T3" fmla="*/ 0 h 8"/>
                <a:gd name="T4" fmla="*/ 6 w 6"/>
                <a:gd name="T5" fmla="*/ 6 h 8"/>
                <a:gd name="T6" fmla="*/ 6 w 6"/>
                <a:gd name="T7" fmla="*/ 8 h 8"/>
                <a:gd name="T8" fmla="*/ 3 w 6"/>
                <a:gd name="T9" fmla="*/ 8 h 8"/>
                <a:gd name="T10" fmla="*/ 3 w 6"/>
                <a:gd name="T11" fmla="*/ 6 h 8"/>
                <a:gd name="T12" fmla="*/ 0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0"/>
                  </a:moveTo>
                  <a:lnTo>
                    <a:pt x="2" y="0"/>
                  </a:lnTo>
                  <a:lnTo>
                    <a:pt x="6" y="6"/>
                  </a:lnTo>
                  <a:lnTo>
                    <a:pt x="6" y="8"/>
                  </a:lnTo>
                  <a:lnTo>
                    <a:pt x="3" y="8"/>
                  </a:lnTo>
                  <a:lnTo>
                    <a:pt x="3" y="6"/>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6" name="Lago de Nicaragua">
              <a:extLst>
                <a:ext uri="{FF2B5EF4-FFF2-40B4-BE49-F238E27FC236}">
                  <a16:creationId xmlns:a16="http://schemas.microsoft.com/office/drawing/2014/main" id="{A3BA6BBB-A190-7F4A-A581-587AFABE51DF}"/>
                </a:ext>
              </a:extLst>
            </p:cNvPr>
            <p:cNvSpPr>
              <a:spLocks/>
            </p:cNvSpPr>
            <p:nvPr/>
          </p:nvSpPr>
          <p:spPr bwMode="auto">
            <a:xfrm>
              <a:off x="3800127" y="4301891"/>
              <a:ext cx="23493" cy="25299"/>
            </a:xfrm>
            <a:custGeom>
              <a:avLst/>
              <a:gdLst>
                <a:gd name="T0" fmla="*/ 0 w 13"/>
                <a:gd name="T1" fmla="*/ 0 h 14"/>
                <a:gd name="T2" fmla="*/ 3 w 13"/>
                <a:gd name="T3" fmla="*/ 0 h 14"/>
                <a:gd name="T4" fmla="*/ 10 w 13"/>
                <a:gd name="T5" fmla="*/ 6 h 14"/>
                <a:gd name="T6" fmla="*/ 13 w 13"/>
                <a:gd name="T7" fmla="*/ 14 h 14"/>
                <a:gd name="T8" fmla="*/ 3 w 13"/>
                <a:gd name="T9" fmla="*/ 11 h 14"/>
                <a:gd name="T10" fmla="*/ 0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0" y="0"/>
                  </a:moveTo>
                  <a:lnTo>
                    <a:pt x="3" y="0"/>
                  </a:lnTo>
                  <a:lnTo>
                    <a:pt x="10" y="6"/>
                  </a:lnTo>
                  <a:lnTo>
                    <a:pt x="13" y="14"/>
                  </a:lnTo>
                  <a:lnTo>
                    <a:pt x="3" y="11"/>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7" name="Honduras">
              <a:extLst>
                <a:ext uri="{FF2B5EF4-FFF2-40B4-BE49-F238E27FC236}">
                  <a16:creationId xmlns:a16="http://schemas.microsoft.com/office/drawing/2014/main" id="{5DF21C59-2487-5ECE-3613-9BE3F02DEE16}"/>
                </a:ext>
              </a:extLst>
            </p:cNvPr>
            <p:cNvSpPr>
              <a:spLocks/>
            </p:cNvSpPr>
            <p:nvPr/>
          </p:nvSpPr>
          <p:spPr bwMode="auto">
            <a:xfrm>
              <a:off x="3717003" y="4206117"/>
              <a:ext cx="144565" cy="75897"/>
            </a:xfrm>
            <a:custGeom>
              <a:avLst/>
              <a:gdLst>
                <a:gd name="T0" fmla="*/ 56 w 80"/>
                <a:gd name="T1" fmla="*/ 0 h 42"/>
                <a:gd name="T2" fmla="*/ 69 w 80"/>
                <a:gd name="T3" fmla="*/ 4 h 42"/>
                <a:gd name="T4" fmla="*/ 80 w 80"/>
                <a:gd name="T5" fmla="*/ 15 h 42"/>
                <a:gd name="T6" fmla="*/ 80 w 80"/>
                <a:gd name="T7" fmla="*/ 16 h 42"/>
                <a:gd name="T8" fmla="*/ 66 w 80"/>
                <a:gd name="T9" fmla="*/ 21 h 42"/>
                <a:gd name="T10" fmla="*/ 61 w 80"/>
                <a:gd name="T11" fmla="*/ 18 h 42"/>
                <a:gd name="T12" fmla="*/ 56 w 80"/>
                <a:gd name="T13" fmla="*/ 24 h 42"/>
                <a:gd name="T14" fmla="*/ 47 w 80"/>
                <a:gd name="T15" fmla="*/ 30 h 42"/>
                <a:gd name="T16" fmla="*/ 43 w 80"/>
                <a:gd name="T17" fmla="*/ 28 h 42"/>
                <a:gd name="T18" fmla="*/ 41 w 80"/>
                <a:gd name="T19" fmla="*/ 33 h 42"/>
                <a:gd name="T20" fmla="*/ 35 w 80"/>
                <a:gd name="T21" fmla="*/ 33 h 42"/>
                <a:gd name="T22" fmla="*/ 35 w 80"/>
                <a:gd name="T23" fmla="*/ 37 h 42"/>
                <a:gd name="T24" fmla="*/ 31 w 80"/>
                <a:gd name="T25" fmla="*/ 40 h 42"/>
                <a:gd name="T26" fmla="*/ 26 w 80"/>
                <a:gd name="T27" fmla="*/ 42 h 42"/>
                <a:gd name="T28" fmla="*/ 23 w 80"/>
                <a:gd name="T29" fmla="*/ 37 h 42"/>
                <a:gd name="T30" fmla="*/ 21 w 80"/>
                <a:gd name="T31" fmla="*/ 37 h 42"/>
                <a:gd name="T32" fmla="*/ 19 w 80"/>
                <a:gd name="T33" fmla="*/ 30 h 42"/>
                <a:gd name="T34" fmla="*/ 12 w 80"/>
                <a:gd name="T35" fmla="*/ 30 h 42"/>
                <a:gd name="T36" fmla="*/ 0 w 80"/>
                <a:gd name="T37" fmla="*/ 22 h 42"/>
                <a:gd name="T38" fmla="*/ 1 w 80"/>
                <a:gd name="T39" fmla="*/ 19 h 42"/>
                <a:gd name="T40" fmla="*/ 1 w 80"/>
                <a:gd name="T41" fmla="*/ 15 h 42"/>
                <a:gd name="T42" fmla="*/ 12 w 80"/>
                <a:gd name="T43" fmla="*/ 6 h 42"/>
                <a:gd name="T44" fmla="*/ 13 w 80"/>
                <a:gd name="T45" fmla="*/ 3 h 42"/>
                <a:gd name="T46" fmla="*/ 56 w 80"/>
                <a:gd name="T4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42">
                  <a:moveTo>
                    <a:pt x="56" y="0"/>
                  </a:moveTo>
                  <a:lnTo>
                    <a:pt x="69" y="4"/>
                  </a:lnTo>
                  <a:lnTo>
                    <a:pt x="80" y="15"/>
                  </a:lnTo>
                  <a:lnTo>
                    <a:pt x="80" y="16"/>
                  </a:lnTo>
                  <a:lnTo>
                    <a:pt x="66" y="21"/>
                  </a:lnTo>
                  <a:lnTo>
                    <a:pt x="61" y="18"/>
                  </a:lnTo>
                  <a:lnTo>
                    <a:pt x="56" y="24"/>
                  </a:lnTo>
                  <a:lnTo>
                    <a:pt x="47" y="30"/>
                  </a:lnTo>
                  <a:lnTo>
                    <a:pt x="43" y="28"/>
                  </a:lnTo>
                  <a:lnTo>
                    <a:pt x="41" y="33"/>
                  </a:lnTo>
                  <a:lnTo>
                    <a:pt x="35" y="33"/>
                  </a:lnTo>
                  <a:lnTo>
                    <a:pt x="35" y="37"/>
                  </a:lnTo>
                  <a:lnTo>
                    <a:pt x="31" y="40"/>
                  </a:lnTo>
                  <a:lnTo>
                    <a:pt x="26" y="42"/>
                  </a:lnTo>
                  <a:lnTo>
                    <a:pt x="23" y="37"/>
                  </a:lnTo>
                  <a:lnTo>
                    <a:pt x="21" y="37"/>
                  </a:lnTo>
                  <a:lnTo>
                    <a:pt x="19" y="30"/>
                  </a:lnTo>
                  <a:lnTo>
                    <a:pt x="12" y="30"/>
                  </a:lnTo>
                  <a:lnTo>
                    <a:pt x="0" y="22"/>
                  </a:lnTo>
                  <a:lnTo>
                    <a:pt x="1" y="19"/>
                  </a:lnTo>
                  <a:lnTo>
                    <a:pt x="1" y="15"/>
                  </a:lnTo>
                  <a:lnTo>
                    <a:pt x="12" y="6"/>
                  </a:lnTo>
                  <a:lnTo>
                    <a:pt x="13" y="3"/>
                  </a:lnTo>
                  <a:lnTo>
                    <a:pt x="5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8" name="Haiti">
              <a:extLst>
                <a:ext uri="{FF2B5EF4-FFF2-40B4-BE49-F238E27FC236}">
                  <a16:creationId xmlns:a16="http://schemas.microsoft.com/office/drawing/2014/main" id="{4FCE2D92-F7D4-0A27-BF48-1B10B38B5119}"/>
                </a:ext>
              </a:extLst>
            </p:cNvPr>
            <p:cNvSpPr>
              <a:spLocks/>
            </p:cNvSpPr>
            <p:nvPr/>
          </p:nvSpPr>
          <p:spPr bwMode="auto">
            <a:xfrm>
              <a:off x="4069380" y="4106729"/>
              <a:ext cx="66862" cy="50597"/>
            </a:xfrm>
            <a:custGeom>
              <a:avLst/>
              <a:gdLst/>
              <a:ahLst/>
              <a:cxnLst/>
              <a:rect l="l" t="t" r="r" b="b"/>
              <a:pathLst>
                <a:path w="67395" h="51000">
                  <a:moveTo>
                    <a:pt x="27322" y="27322"/>
                  </a:moveTo>
                  <a:lnTo>
                    <a:pt x="36430" y="27322"/>
                  </a:lnTo>
                  <a:lnTo>
                    <a:pt x="38251" y="32787"/>
                  </a:lnTo>
                  <a:lnTo>
                    <a:pt x="41894" y="34608"/>
                  </a:lnTo>
                  <a:lnTo>
                    <a:pt x="38251" y="34608"/>
                  </a:lnTo>
                  <a:lnTo>
                    <a:pt x="30965" y="32787"/>
                  </a:lnTo>
                  <a:lnTo>
                    <a:pt x="27322" y="29144"/>
                  </a:lnTo>
                  <a:close/>
                  <a:moveTo>
                    <a:pt x="36430" y="0"/>
                  </a:moveTo>
                  <a:lnTo>
                    <a:pt x="38252" y="0"/>
                  </a:lnTo>
                  <a:lnTo>
                    <a:pt x="43716" y="3643"/>
                  </a:lnTo>
                  <a:lnTo>
                    <a:pt x="43716" y="5465"/>
                  </a:lnTo>
                  <a:lnTo>
                    <a:pt x="41899" y="5465"/>
                  </a:lnTo>
                  <a:lnTo>
                    <a:pt x="52823" y="9107"/>
                  </a:lnTo>
                  <a:lnTo>
                    <a:pt x="63752" y="5464"/>
                  </a:lnTo>
                  <a:lnTo>
                    <a:pt x="67395" y="21857"/>
                  </a:lnTo>
                  <a:lnTo>
                    <a:pt x="63752" y="38250"/>
                  </a:lnTo>
                  <a:lnTo>
                    <a:pt x="65574" y="51000"/>
                  </a:lnTo>
                  <a:lnTo>
                    <a:pt x="63752" y="51000"/>
                  </a:lnTo>
                  <a:lnTo>
                    <a:pt x="54645" y="49179"/>
                  </a:lnTo>
                  <a:lnTo>
                    <a:pt x="41894" y="51000"/>
                  </a:lnTo>
                  <a:lnTo>
                    <a:pt x="21858" y="45536"/>
                  </a:lnTo>
                  <a:lnTo>
                    <a:pt x="14572" y="51000"/>
                  </a:lnTo>
                  <a:lnTo>
                    <a:pt x="0" y="40071"/>
                  </a:lnTo>
                  <a:lnTo>
                    <a:pt x="0" y="38250"/>
                  </a:lnTo>
                  <a:lnTo>
                    <a:pt x="47359" y="38250"/>
                  </a:lnTo>
                  <a:lnTo>
                    <a:pt x="47359" y="34607"/>
                  </a:lnTo>
                  <a:lnTo>
                    <a:pt x="38251" y="29143"/>
                  </a:lnTo>
                  <a:lnTo>
                    <a:pt x="38251" y="16392"/>
                  </a:lnTo>
                  <a:lnTo>
                    <a:pt x="25501" y="10928"/>
                  </a:lnTo>
                  <a:lnTo>
                    <a:pt x="21858" y="10928"/>
                  </a:lnTo>
                  <a:lnTo>
                    <a:pt x="21858" y="9107"/>
                  </a:lnTo>
                  <a:lnTo>
                    <a:pt x="36430" y="3642"/>
                  </a:lnTo>
                  <a:lnTo>
                    <a:pt x="36430" y="3642"/>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9" name="Jamaica">
              <a:extLst>
                <a:ext uri="{FF2B5EF4-FFF2-40B4-BE49-F238E27FC236}">
                  <a16:creationId xmlns:a16="http://schemas.microsoft.com/office/drawing/2014/main" id="{5ED20AF1-B290-9321-7BD7-BD2D9C099B6C}"/>
                </a:ext>
              </a:extLst>
            </p:cNvPr>
            <p:cNvSpPr>
              <a:spLocks/>
            </p:cNvSpPr>
            <p:nvPr/>
          </p:nvSpPr>
          <p:spPr bwMode="auto">
            <a:xfrm>
              <a:off x="3977219" y="4144677"/>
              <a:ext cx="52405" cy="21685"/>
            </a:xfrm>
            <a:custGeom>
              <a:avLst/>
              <a:gdLst>
                <a:gd name="T0" fmla="*/ 5 w 29"/>
                <a:gd name="T1" fmla="*/ 0 h 12"/>
                <a:gd name="T2" fmla="*/ 16 w 29"/>
                <a:gd name="T3" fmla="*/ 0 h 12"/>
                <a:gd name="T4" fmla="*/ 26 w 29"/>
                <a:gd name="T5" fmla="*/ 4 h 12"/>
                <a:gd name="T6" fmla="*/ 29 w 29"/>
                <a:gd name="T7" fmla="*/ 9 h 12"/>
                <a:gd name="T8" fmla="*/ 22 w 29"/>
                <a:gd name="T9" fmla="*/ 9 h 12"/>
                <a:gd name="T10" fmla="*/ 16 w 29"/>
                <a:gd name="T11" fmla="*/ 12 h 12"/>
                <a:gd name="T12" fmla="*/ 8 w 29"/>
                <a:gd name="T13" fmla="*/ 10 h 12"/>
                <a:gd name="T14" fmla="*/ 0 w 29"/>
                <a:gd name="T15" fmla="*/ 4 h 12"/>
                <a:gd name="T16" fmla="*/ 0 w 29"/>
                <a:gd name="T17" fmla="*/ 3 h 12"/>
                <a:gd name="T18" fmla="*/ 5 w 29"/>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2">
                  <a:moveTo>
                    <a:pt x="5" y="0"/>
                  </a:moveTo>
                  <a:lnTo>
                    <a:pt x="16" y="0"/>
                  </a:lnTo>
                  <a:lnTo>
                    <a:pt x="26" y="4"/>
                  </a:lnTo>
                  <a:lnTo>
                    <a:pt x="29" y="9"/>
                  </a:lnTo>
                  <a:lnTo>
                    <a:pt x="22" y="9"/>
                  </a:lnTo>
                  <a:lnTo>
                    <a:pt x="16" y="12"/>
                  </a:lnTo>
                  <a:lnTo>
                    <a:pt x="8" y="10"/>
                  </a:lnTo>
                  <a:lnTo>
                    <a:pt x="0" y="4"/>
                  </a:lnTo>
                  <a:lnTo>
                    <a:pt x="0" y="3"/>
                  </a:lnTo>
                  <a:lnTo>
                    <a:pt x="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0" name="Guadeloupe">
              <a:extLst>
                <a:ext uri="{FF2B5EF4-FFF2-40B4-BE49-F238E27FC236}">
                  <a16:creationId xmlns:a16="http://schemas.microsoft.com/office/drawing/2014/main" id="{72B7C430-F220-2DBA-4013-3DD7C5CA95E3}"/>
                </a:ext>
              </a:extLst>
            </p:cNvPr>
            <p:cNvSpPr>
              <a:spLocks/>
            </p:cNvSpPr>
            <p:nvPr/>
          </p:nvSpPr>
          <p:spPr bwMode="auto">
            <a:xfrm>
              <a:off x="4367546" y="4195275"/>
              <a:ext cx="16264" cy="14457"/>
            </a:xfrm>
            <a:custGeom>
              <a:avLst/>
              <a:gdLst>
                <a:gd name="T0" fmla="*/ 4 w 9"/>
                <a:gd name="T1" fmla="*/ 0 h 8"/>
                <a:gd name="T2" fmla="*/ 6 w 9"/>
                <a:gd name="T3" fmla="*/ 0 h 8"/>
                <a:gd name="T4" fmla="*/ 9 w 9"/>
                <a:gd name="T5" fmla="*/ 3 h 8"/>
                <a:gd name="T6" fmla="*/ 9 w 9"/>
                <a:gd name="T7" fmla="*/ 5 h 8"/>
                <a:gd name="T8" fmla="*/ 1 w 9"/>
                <a:gd name="T9" fmla="*/ 8 h 8"/>
                <a:gd name="T10" fmla="*/ 0 w 9"/>
                <a:gd name="T11" fmla="*/ 8 h 8"/>
                <a:gd name="T12" fmla="*/ 0 w 9"/>
                <a:gd name="T13" fmla="*/ 2 h 8"/>
                <a:gd name="T14" fmla="*/ 1 w 9"/>
                <a:gd name="T15" fmla="*/ 2 h 8"/>
                <a:gd name="T16" fmla="*/ 4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0"/>
                  </a:moveTo>
                  <a:lnTo>
                    <a:pt x="6" y="0"/>
                  </a:lnTo>
                  <a:lnTo>
                    <a:pt x="9" y="3"/>
                  </a:lnTo>
                  <a:lnTo>
                    <a:pt x="9" y="5"/>
                  </a:lnTo>
                  <a:lnTo>
                    <a:pt x="1" y="8"/>
                  </a:lnTo>
                  <a:lnTo>
                    <a:pt x="0" y="8"/>
                  </a:lnTo>
                  <a:lnTo>
                    <a:pt x="0" y="2"/>
                  </a:lnTo>
                  <a:lnTo>
                    <a:pt x="1" y="2"/>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1" name="Guatemala">
              <a:extLst>
                <a:ext uri="{FF2B5EF4-FFF2-40B4-BE49-F238E27FC236}">
                  <a16:creationId xmlns:a16="http://schemas.microsoft.com/office/drawing/2014/main" id="{90C36E9C-20F8-41ED-DEC3-D307CD05D1D6}"/>
                </a:ext>
              </a:extLst>
            </p:cNvPr>
            <p:cNvSpPr>
              <a:spLocks/>
            </p:cNvSpPr>
            <p:nvPr/>
          </p:nvSpPr>
          <p:spPr bwMode="auto">
            <a:xfrm>
              <a:off x="3646527" y="4160940"/>
              <a:ext cx="97581" cy="104809"/>
            </a:xfrm>
            <a:custGeom>
              <a:avLst/>
              <a:gdLst>
                <a:gd name="T0" fmla="*/ 20 w 54"/>
                <a:gd name="T1" fmla="*/ 0 h 58"/>
                <a:gd name="T2" fmla="*/ 42 w 54"/>
                <a:gd name="T3" fmla="*/ 0 h 58"/>
                <a:gd name="T4" fmla="*/ 42 w 54"/>
                <a:gd name="T5" fmla="*/ 25 h 58"/>
                <a:gd name="T6" fmla="*/ 46 w 54"/>
                <a:gd name="T7" fmla="*/ 25 h 58"/>
                <a:gd name="T8" fmla="*/ 54 w 54"/>
                <a:gd name="T9" fmla="*/ 28 h 58"/>
                <a:gd name="T10" fmla="*/ 54 w 54"/>
                <a:gd name="T11" fmla="*/ 29 h 58"/>
                <a:gd name="T12" fmla="*/ 52 w 54"/>
                <a:gd name="T13" fmla="*/ 32 h 58"/>
                <a:gd name="T14" fmla="*/ 42 w 54"/>
                <a:gd name="T15" fmla="*/ 40 h 58"/>
                <a:gd name="T16" fmla="*/ 42 w 54"/>
                <a:gd name="T17" fmla="*/ 44 h 58"/>
                <a:gd name="T18" fmla="*/ 39 w 54"/>
                <a:gd name="T19" fmla="*/ 47 h 58"/>
                <a:gd name="T20" fmla="*/ 31 w 54"/>
                <a:gd name="T21" fmla="*/ 58 h 58"/>
                <a:gd name="T22" fmla="*/ 30 w 54"/>
                <a:gd name="T23" fmla="*/ 58 h 58"/>
                <a:gd name="T24" fmla="*/ 14 w 54"/>
                <a:gd name="T25" fmla="*/ 55 h 58"/>
                <a:gd name="T26" fmla="*/ 2 w 54"/>
                <a:gd name="T27" fmla="*/ 46 h 58"/>
                <a:gd name="T28" fmla="*/ 0 w 54"/>
                <a:gd name="T29" fmla="*/ 44 h 58"/>
                <a:gd name="T30" fmla="*/ 3 w 54"/>
                <a:gd name="T31" fmla="*/ 38 h 58"/>
                <a:gd name="T32" fmla="*/ 12 w 54"/>
                <a:gd name="T33" fmla="*/ 25 h 58"/>
                <a:gd name="T34" fmla="*/ 12 w 54"/>
                <a:gd name="T35" fmla="*/ 24 h 58"/>
                <a:gd name="T36" fmla="*/ 22 w 54"/>
                <a:gd name="T37" fmla="*/ 24 h 58"/>
                <a:gd name="T38" fmla="*/ 20 w 54"/>
                <a:gd name="T39" fmla="*/ 16 h 58"/>
                <a:gd name="T40" fmla="*/ 11 w 54"/>
                <a:gd name="T41" fmla="*/ 7 h 58"/>
                <a:gd name="T42" fmla="*/ 11 w 54"/>
                <a:gd name="T43" fmla="*/ 6 h 58"/>
                <a:gd name="T44" fmla="*/ 14 w 54"/>
                <a:gd name="T45" fmla="*/ 6 h 58"/>
                <a:gd name="T46" fmla="*/ 15 w 54"/>
                <a:gd name="T47" fmla="*/ 7 h 58"/>
                <a:gd name="T48" fmla="*/ 18 w 54"/>
                <a:gd name="T49" fmla="*/ 7 h 58"/>
                <a:gd name="T50" fmla="*/ 20 w 54"/>
                <a:gd name="T51" fmla="*/ 1 h 58"/>
                <a:gd name="T52" fmla="*/ 20 w 54"/>
                <a:gd name="T5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8">
                  <a:moveTo>
                    <a:pt x="20" y="0"/>
                  </a:moveTo>
                  <a:lnTo>
                    <a:pt x="42" y="0"/>
                  </a:lnTo>
                  <a:lnTo>
                    <a:pt x="42" y="25"/>
                  </a:lnTo>
                  <a:lnTo>
                    <a:pt x="46" y="25"/>
                  </a:lnTo>
                  <a:lnTo>
                    <a:pt x="54" y="28"/>
                  </a:lnTo>
                  <a:lnTo>
                    <a:pt x="54" y="29"/>
                  </a:lnTo>
                  <a:lnTo>
                    <a:pt x="52" y="32"/>
                  </a:lnTo>
                  <a:lnTo>
                    <a:pt x="42" y="40"/>
                  </a:lnTo>
                  <a:lnTo>
                    <a:pt x="42" y="44"/>
                  </a:lnTo>
                  <a:lnTo>
                    <a:pt x="39" y="47"/>
                  </a:lnTo>
                  <a:lnTo>
                    <a:pt x="31" y="58"/>
                  </a:lnTo>
                  <a:lnTo>
                    <a:pt x="30" y="58"/>
                  </a:lnTo>
                  <a:lnTo>
                    <a:pt x="14" y="55"/>
                  </a:lnTo>
                  <a:lnTo>
                    <a:pt x="2" y="46"/>
                  </a:lnTo>
                  <a:lnTo>
                    <a:pt x="0" y="44"/>
                  </a:lnTo>
                  <a:lnTo>
                    <a:pt x="3" y="38"/>
                  </a:lnTo>
                  <a:lnTo>
                    <a:pt x="12" y="25"/>
                  </a:lnTo>
                  <a:lnTo>
                    <a:pt x="12" y="24"/>
                  </a:lnTo>
                  <a:lnTo>
                    <a:pt x="22" y="24"/>
                  </a:lnTo>
                  <a:lnTo>
                    <a:pt x="20" y="16"/>
                  </a:lnTo>
                  <a:lnTo>
                    <a:pt x="11" y="7"/>
                  </a:lnTo>
                  <a:lnTo>
                    <a:pt x="11" y="6"/>
                  </a:lnTo>
                  <a:lnTo>
                    <a:pt x="14" y="6"/>
                  </a:lnTo>
                  <a:lnTo>
                    <a:pt x="15" y="7"/>
                  </a:lnTo>
                  <a:lnTo>
                    <a:pt x="18" y="7"/>
                  </a:lnTo>
                  <a:lnTo>
                    <a:pt x="20" y="1"/>
                  </a:lnTo>
                  <a:lnTo>
                    <a:pt x="2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2" name="El Salvador">
              <a:extLst>
                <a:ext uri="{FF2B5EF4-FFF2-40B4-BE49-F238E27FC236}">
                  <a16:creationId xmlns:a16="http://schemas.microsoft.com/office/drawing/2014/main" id="{14FB5577-CD01-56C3-A99E-9168ED5D61C2}"/>
                </a:ext>
              </a:extLst>
            </p:cNvPr>
            <p:cNvSpPr>
              <a:spLocks/>
            </p:cNvSpPr>
            <p:nvPr/>
          </p:nvSpPr>
          <p:spPr bwMode="auto">
            <a:xfrm>
              <a:off x="3700739" y="4245872"/>
              <a:ext cx="56019" cy="32527"/>
            </a:xfrm>
            <a:custGeom>
              <a:avLst/>
              <a:gdLst>
                <a:gd name="T0" fmla="*/ 9 w 31"/>
                <a:gd name="T1" fmla="*/ 0 h 18"/>
                <a:gd name="T2" fmla="*/ 21 w 31"/>
                <a:gd name="T3" fmla="*/ 8 h 18"/>
                <a:gd name="T4" fmla="*/ 28 w 31"/>
                <a:gd name="T5" fmla="*/ 6 h 18"/>
                <a:gd name="T6" fmla="*/ 30 w 31"/>
                <a:gd name="T7" fmla="*/ 6 h 18"/>
                <a:gd name="T8" fmla="*/ 30 w 31"/>
                <a:gd name="T9" fmla="*/ 8 h 18"/>
                <a:gd name="T10" fmla="*/ 31 w 31"/>
                <a:gd name="T11" fmla="*/ 14 h 18"/>
                <a:gd name="T12" fmla="*/ 31 w 31"/>
                <a:gd name="T13" fmla="*/ 15 h 18"/>
                <a:gd name="T14" fmla="*/ 25 w 31"/>
                <a:gd name="T15" fmla="*/ 18 h 18"/>
                <a:gd name="T16" fmla="*/ 18 w 31"/>
                <a:gd name="T17" fmla="*/ 18 h 18"/>
                <a:gd name="T18" fmla="*/ 0 w 31"/>
                <a:gd name="T19" fmla="*/ 11 h 18"/>
                <a:gd name="T20" fmla="*/ 0 w 31"/>
                <a:gd name="T21" fmla="*/ 9 h 18"/>
                <a:gd name="T22" fmla="*/ 9 w 31"/>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8">
                  <a:moveTo>
                    <a:pt x="9" y="0"/>
                  </a:moveTo>
                  <a:lnTo>
                    <a:pt x="21" y="8"/>
                  </a:lnTo>
                  <a:lnTo>
                    <a:pt x="28" y="6"/>
                  </a:lnTo>
                  <a:lnTo>
                    <a:pt x="30" y="6"/>
                  </a:lnTo>
                  <a:lnTo>
                    <a:pt x="30" y="8"/>
                  </a:lnTo>
                  <a:lnTo>
                    <a:pt x="31" y="14"/>
                  </a:lnTo>
                  <a:lnTo>
                    <a:pt x="31" y="15"/>
                  </a:lnTo>
                  <a:lnTo>
                    <a:pt x="25" y="18"/>
                  </a:lnTo>
                  <a:lnTo>
                    <a:pt x="18" y="18"/>
                  </a:lnTo>
                  <a:lnTo>
                    <a:pt x="0" y="11"/>
                  </a:lnTo>
                  <a:lnTo>
                    <a:pt x="0" y="9"/>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3" name="Dominican Republic">
              <a:extLst>
                <a:ext uri="{FF2B5EF4-FFF2-40B4-BE49-F238E27FC236}">
                  <a16:creationId xmlns:a16="http://schemas.microsoft.com/office/drawing/2014/main" id="{9A4239C8-2AFA-3113-E3D8-F3ABE7AC9156}"/>
                </a:ext>
              </a:extLst>
            </p:cNvPr>
            <p:cNvSpPr>
              <a:spLocks/>
            </p:cNvSpPr>
            <p:nvPr/>
          </p:nvSpPr>
          <p:spPr bwMode="auto">
            <a:xfrm>
              <a:off x="4129012" y="4110342"/>
              <a:ext cx="84933" cy="57826"/>
            </a:xfrm>
            <a:custGeom>
              <a:avLst/>
              <a:gdLst>
                <a:gd name="T0" fmla="*/ 15 w 47"/>
                <a:gd name="T1" fmla="*/ 0 h 32"/>
                <a:gd name="T2" fmla="*/ 25 w 47"/>
                <a:gd name="T3" fmla="*/ 3 h 32"/>
                <a:gd name="T4" fmla="*/ 28 w 47"/>
                <a:gd name="T5" fmla="*/ 7 h 32"/>
                <a:gd name="T6" fmla="*/ 36 w 47"/>
                <a:gd name="T7" fmla="*/ 9 h 32"/>
                <a:gd name="T8" fmla="*/ 36 w 47"/>
                <a:gd name="T9" fmla="*/ 10 h 32"/>
                <a:gd name="T10" fmla="*/ 33 w 47"/>
                <a:gd name="T11" fmla="*/ 12 h 32"/>
                <a:gd name="T12" fmla="*/ 40 w 47"/>
                <a:gd name="T13" fmla="*/ 13 h 32"/>
                <a:gd name="T14" fmla="*/ 47 w 47"/>
                <a:gd name="T15" fmla="*/ 17 h 32"/>
                <a:gd name="T16" fmla="*/ 47 w 47"/>
                <a:gd name="T17" fmla="*/ 19 h 32"/>
                <a:gd name="T18" fmla="*/ 45 w 47"/>
                <a:gd name="T19" fmla="*/ 23 h 32"/>
                <a:gd name="T20" fmla="*/ 43 w 47"/>
                <a:gd name="T21" fmla="*/ 23 h 32"/>
                <a:gd name="T22" fmla="*/ 42 w 47"/>
                <a:gd name="T23" fmla="*/ 22 h 32"/>
                <a:gd name="T24" fmla="*/ 34 w 47"/>
                <a:gd name="T25" fmla="*/ 22 h 32"/>
                <a:gd name="T26" fmla="*/ 33 w 47"/>
                <a:gd name="T27" fmla="*/ 20 h 32"/>
                <a:gd name="T28" fmla="*/ 31 w 47"/>
                <a:gd name="T29" fmla="*/ 20 h 32"/>
                <a:gd name="T30" fmla="*/ 18 w 47"/>
                <a:gd name="T31" fmla="*/ 26 h 32"/>
                <a:gd name="T32" fmla="*/ 18 w 47"/>
                <a:gd name="T33" fmla="*/ 25 h 32"/>
                <a:gd name="T34" fmla="*/ 15 w 47"/>
                <a:gd name="T35" fmla="*/ 22 h 32"/>
                <a:gd name="T36" fmla="*/ 6 w 47"/>
                <a:gd name="T37" fmla="*/ 32 h 32"/>
                <a:gd name="T38" fmla="*/ 4 w 47"/>
                <a:gd name="T39" fmla="*/ 32 h 32"/>
                <a:gd name="T40" fmla="*/ 2 w 47"/>
                <a:gd name="T41" fmla="*/ 26 h 32"/>
                <a:gd name="T42" fmla="*/ 0 w 47"/>
                <a:gd name="T43" fmla="*/ 19 h 32"/>
                <a:gd name="T44" fmla="*/ 3 w 47"/>
                <a:gd name="T45" fmla="*/ 10 h 32"/>
                <a:gd name="T46" fmla="*/ 2 w 47"/>
                <a:gd name="T47" fmla="*/ 1 h 32"/>
                <a:gd name="T48" fmla="*/ 15 w 47"/>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32">
                  <a:moveTo>
                    <a:pt x="15" y="0"/>
                  </a:moveTo>
                  <a:lnTo>
                    <a:pt x="25" y="3"/>
                  </a:lnTo>
                  <a:lnTo>
                    <a:pt x="28" y="7"/>
                  </a:lnTo>
                  <a:lnTo>
                    <a:pt x="36" y="9"/>
                  </a:lnTo>
                  <a:lnTo>
                    <a:pt x="36" y="10"/>
                  </a:lnTo>
                  <a:lnTo>
                    <a:pt x="33" y="12"/>
                  </a:lnTo>
                  <a:lnTo>
                    <a:pt x="40" y="13"/>
                  </a:lnTo>
                  <a:lnTo>
                    <a:pt x="47" y="17"/>
                  </a:lnTo>
                  <a:lnTo>
                    <a:pt x="47" y="19"/>
                  </a:lnTo>
                  <a:lnTo>
                    <a:pt x="45" y="23"/>
                  </a:lnTo>
                  <a:lnTo>
                    <a:pt x="43" y="23"/>
                  </a:lnTo>
                  <a:lnTo>
                    <a:pt x="42" y="22"/>
                  </a:lnTo>
                  <a:lnTo>
                    <a:pt x="34" y="22"/>
                  </a:lnTo>
                  <a:lnTo>
                    <a:pt x="33" y="20"/>
                  </a:lnTo>
                  <a:lnTo>
                    <a:pt x="31" y="20"/>
                  </a:lnTo>
                  <a:lnTo>
                    <a:pt x="18" y="26"/>
                  </a:lnTo>
                  <a:lnTo>
                    <a:pt x="18" y="25"/>
                  </a:lnTo>
                  <a:lnTo>
                    <a:pt x="15" y="22"/>
                  </a:lnTo>
                  <a:lnTo>
                    <a:pt x="6" y="32"/>
                  </a:lnTo>
                  <a:lnTo>
                    <a:pt x="4" y="32"/>
                  </a:lnTo>
                  <a:lnTo>
                    <a:pt x="2" y="26"/>
                  </a:lnTo>
                  <a:lnTo>
                    <a:pt x="0" y="19"/>
                  </a:lnTo>
                  <a:lnTo>
                    <a:pt x="3" y="10"/>
                  </a:lnTo>
                  <a:lnTo>
                    <a:pt x="2" y="1"/>
                  </a:lnTo>
                  <a:lnTo>
                    <a:pt x="1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4" name="Costa Rica">
              <a:extLst>
                <a:ext uri="{FF2B5EF4-FFF2-40B4-BE49-F238E27FC236}">
                  <a16:creationId xmlns:a16="http://schemas.microsoft.com/office/drawing/2014/main" id="{655FD806-3F99-9512-A4CF-AF9947828A88}"/>
                </a:ext>
              </a:extLst>
            </p:cNvPr>
            <p:cNvSpPr>
              <a:spLocks/>
            </p:cNvSpPr>
            <p:nvPr/>
          </p:nvSpPr>
          <p:spPr bwMode="auto">
            <a:xfrm>
              <a:off x="3800127" y="4323576"/>
              <a:ext cx="77705" cy="70476"/>
            </a:xfrm>
            <a:custGeom>
              <a:avLst/>
              <a:gdLst>
                <a:gd name="T0" fmla="*/ 1 w 43"/>
                <a:gd name="T1" fmla="*/ 0 h 39"/>
                <a:gd name="T2" fmla="*/ 7 w 43"/>
                <a:gd name="T3" fmla="*/ 0 h 39"/>
                <a:gd name="T4" fmla="*/ 12 w 43"/>
                <a:gd name="T5" fmla="*/ 2 h 39"/>
                <a:gd name="T6" fmla="*/ 18 w 43"/>
                <a:gd name="T7" fmla="*/ 2 h 39"/>
                <a:gd name="T8" fmla="*/ 22 w 43"/>
                <a:gd name="T9" fmla="*/ 6 h 39"/>
                <a:gd name="T10" fmla="*/ 28 w 43"/>
                <a:gd name="T11" fmla="*/ 3 h 39"/>
                <a:gd name="T12" fmla="*/ 29 w 43"/>
                <a:gd name="T13" fmla="*/ 3 h 39"/>
                <a:gd name="T14" fmla="*/ 34 w 43"/>
                <a:gd name="T15" fmla="*/ 14 h 39"/>
                <a:gd name="T16" fmla="*/ 43 w 43"/>
                <a:gd name="T17" fmla="*/ 21 h 39"/>
                <a:gd name="T18" fmla="*/ 40 w 43"/>
                <a:gd name="T19" fmla="*/ 24 h 39"/>
                <a:gd name="T20" fmla="*/ 40 w 43"/>
                <a:gd name="T21" fmla="*/ 27 h 39"/>
                <a:gd name="T22" fmla="*/ 41 w 43"/>
                <a:gd name="T23" fmla="*/ 27 h 39"/>
                <a:gd name="T24" fmla="*/ 41 w 43"/>
                <a:gd name="T25" fmla="*/ 28 h 39"/>
                <a:gd name="T26" fmla="*/ 38 w 43"/>
                <a:gd name="T27" fmla="*/ 37 h 39"/>
                <a:gd name="T28" fmla="*/ 38 w 43"/>
                <a:gd name="T29" fmla="*/ 39 h 39"/>
                <a:gd name="T30" fmla="*/ 37 w 43"/>
                <a:gd name="T31" fmla="*/ 39 h 39"/>
                <a:gd name="T32" fmla="*/ 37 w 43"/>
                <a:gd name="T33" fmla="*/ 37 h 39"/>
                <a:gd name="T34" fmla="*/ 34 w 43"/>
                <a:gd name="T35" fmla="*/ 36 h 39"/>
                <a:gd name="T36" fmla="*/ 34 w 43"/>
                <a:gd name="T37" fmla="*/ 37 h 39"/>
                <a:gd name="T38" fmla="*/ 32 w 43"/>
                <a:gd name="T39" fmla="*/ 37 h 39"/>
                <a:gd name="T40" fmla="*/ 28 w 43"/>
                <a:gd name="T41" fmla="*/ 36 h 39"/>
                <a:gd name="T42" fmla="*/ 28 w 43"/>
                <a:gd name="T43" fmla="*/ 28 h 39"/>
                <a:gd name="T44" fmla="*/ 18 w 43"/>
                <a:gd name="T45" fmla="*/ 24 h 39"/>
                <a:gd name="T46" fmla="*/ 12 w 43"/>
                <a:gd name="T47" fmla="*/ 15 h 39"/>
                <a:gd name="T48" fmla="*/ 12 w 43"/>
                <a:gd name="T49" fmla="*/ 21 h 39"/>
                <a:gd name="T50" fmla="*/ 10 w 43"/>
                <a:gd name="T51" fmla="*/ 21 h 39"/>
                <a:gd name="T52" fmla="*/ 3 w 43"/>
                <a:gd name="T53" fmla="*/ 17 h 39"/>
                <a:gd name="T54" fmla="*/ 0 w 43"/>
                <a:gd name="T55" fmla="*/ 11 h 39"/>
                <a:gd name="T56" fmla="*/ 1 w 43"/>
                <a:gd name="T57" fmla="*/ 2 h 39"/>
                <a:gd name="T58" fmla="*/ 1 w 43"/>
                <a:gd name="T5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39">
                  <a:moveTo>
                    <a:pt x="1" y="0"/>
                  </a:moveTo>
                  <a:lnTo>
                    <a:pt x="7" y="0"/>
                  </a:lnTo>
                  <a:lnTo>
                    <a:pt x="12" y="2"/>
                  </a:lnTo>
                  <a:lnTo>
                    <a:pt x="18" y="2"/>
                  </a:lnTo>
                  <a:lnTo>
                    <a:pt x="22" y="6"/>
                  </a:lnTo>
                  <a:lnTo>
                    <a:pt x="28" y="3"/>
                  </a:lnTo>
                  <a:lnTo>
                    <a:pt x="29" y="3"/>
                  </a:lnTo>
                  <a:lnTo>
                    <a:pt x="34" y="14"/>
                  </a:lnTo>
                  <a:lnTo>
                    <a:pt x="43" y="21"/>
                  </a:lnTo>
                  <a:lnTo>
                    <a:pt x="40" y="24"/>
                  </a:lnTo>
                  <a:lnTo>
                    <a:pt x="40" y="27"/>
                  </a:lnTo>
                  <a:lnTo>
                    <a:pt x="41" y="27"/>
                  </a:lnTo>
                  <a:lnTo>
                    <a:pt x="41" y="28"/>
                  </a:lnTo>
                  <a:lnTo>
                    <a:pt x="38" y="37"/>
                  </a:lnTo>
                  <a:lnTo>
                    <a:pt x="38" y="39"/>
                  </a:lnTo>
                  <a:lnTo>
                    <a:pt x="37" y="39"/>
                  </a:lnTo>
                  <a:lnTo>
                    <a:pt x="37" y="37"/>
                  </a:lnTo>
                  <a:lnTo>
                    <a:pt x="34" y="36"/>
                  </a:lnTo>
                  <a:lnTo>
                    <a:pt x="34" y="37"/>
                  </a:lnTo>
                  <a:lnTo>
                    <a:pt x="32" y="37"/>
                  </a:lnTo>
                  <a:lnTo>
                    <a:pt x="28" y="36"/>
                  </a:lnTo>
                  <a:lnTo>
                    <a:pt x="28" y="28"/>
                  </a:lnTo>
                  <a:lnTo>
                    <a:pt x="18" y="24"/>
                  </a:lnTo>
                  <a:lnTo>
                    <a:pt x="12" y="15"/>
                  </a:lnTo>
                  <a:lnTo>
                    <a:pt x="12" y="21"/>
                  </a:lnTo>
                  <a:lnTo>
                    <a:pt x="10" y="21"/>
                  </a:lnTo>
                  <a:lnTo>
                    <a:pt x="3" y="17"/>
                  </a:lnTo>
                  <a:lnTo>
                    <a:pt x="0" y="11"/>
                  </a:lnTo>
                  <a:lnTo>
                    <a:pt x="1" y="2"/>
                  </a:lnTo>
                  <a:lnTo>
                    <a:pt x="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5" name="Cuba">
              <a:extLst>
                <a:ext uri="{FF2B5EF4-FFF2-40B4-BE49-F238E27FC236}">
                  <a16:creationId xmlns:a16="http://schemas.microsoft.com/office/drawing/2014/main" id="{AFB18276-135B-A22C-F9FA-4371FD719E31}"/>
                </a:ext>
              </a:extLst>
            </p:cNvPr>
            <p:cNvSpPr>
              <a:spLocks/>
            </p:cNvSpPr>
            <p:nvPr/>
          </p:nvSpPr>
          <p:spPr bwMode="auto">
            <a:xfrm>
              <a:off x="3823620" y="4027217"/>
              <a:ext cx="251182" cy="88546"/>
            </a:xfrm>
            <a:custGeom>
              <a:avLst/>
              <a:gdLst/>
              <a:ahLst/>
              <a:cxnLst/>
              <a:rect l="l" t="t" r="r" b="b"/>
              <a:pathLst>
                <a:path w="253184" h="89252">
                  <a:moveTo>
                    <a:pt x="43715" y="34608"/>
                  </a:moveTo>
                  <a:lnTo>
                    <a:pt x="51001" y="34608"/>
                  </a:lnTo>
                  <a:lnTo>
                    <a:pt x="51001" y="45538"/>
                  </a:lnTo>
                  <a:lnTo>
                    <a:pt x="49180" y="45538"/>
                  </a:lnTo>
                  <a:lnTo>
                    <a:pt x="45536" y="47359"/>
                  </a:lnTo>
                  <a:lnTo>
                    <a:pt x="40072" y="47359"/>
                  </a:lnTo>
                  <a:lnTo>
                    <a:pt x="38250" y="45538"/>
                  </a:lnTo>
                  <a:close/>
                  <a:moveTo>
                    <a:pt x="56466" y="0"/>
                  </a:moveTo>
                  <a:lnTo>
                    <a:pt x="76502" y="0"/>
                  </a:lnTo>
                  <a:lnTo>
                    <a:pt x="111110" y="5465"/>
                  </a:lnTo>
                  <a:lnTo>
                    <a:pt x="129324" y="21858"/>
                  </a:lnTo>
                  <a:lnTo>
                    <a:pt x="149360" y="21858"/>
                  </a:lnTo>
                  <a:lnTo>
                    <a:pt x="162111" y="30965"/>
                  </a:lnTo>
                  <a:lnTo>
                    <a:pt x="163930" y="31875"/>
                  </a:lnTo>
                  <a:lnTo>
                    <a:pt x="145717" y="18215"/>
                  </a:lnTo>
                  <a:lnTo>
                    <a:pt x="162111" y="23680"/>
                  </a:lnTo>
                  <a:lnTo>
                    <a:pt x="169397" y="29144"/>
                  </a:lnTo>
                  <a:lnTo>
                    <a:pt x="173040" y="29144"/>
                  </a:lnTo>
                  <a:lnTo>
                    <a:pt x="173040" y="34609"/>
                  </a:lnTo>
                  <a:lnTo>
                    <a:pt x="169399" y="34609"/>
                  </a:lnTo>
                  <a:lnTo>
                    <a:pt x="180325" y="40072"/>
                  </a:lnTo>
                  <a:lnTo>
                    <a:pt x="194897" y="47358"/>
                  </a:lnTo>
                  <a:lnTo>
                    <a:pt x="218576" y="52823"/>
                  </a:lnTo>
                  <a:lnTo>
                    <a:pt x="218576" y="63752"/>
                  </a:lnTo>
                  <a:lnTo>
                    <a:pt x="238612" y="63752"/>
                  </a:lnTo>
                  <a:lnTo>
                    <a:pt x="253184" y="74680"/>
                  </a:lnTo>
                  <a:lnTo>
                    <a:pt x="253184" y="78323"/>
                  </a:lnTo>
                  <a:lnTo>
                    <a:pt x="227684" y="85609"/>
                  </a:lnTo>
                  <a:lnTo>
                    <a:pt x="227684" y="89252"/>
                  </a:lnTo>
                  <a:lnTo>
                    <a:pt x="173040" y="89252"/>
                  </a:lnTo>
                  <a:lnTo>
                    <a:pt x="167575" y="85609"/>
                  </a:lnTo>
                  <a:lnTo>
                    <a:pt x="167575" y="83788"/>
                  </a:lnTo>
                  <a:lnTo>
                    <a:pt x="180325" y="72859"/>
                  </a:lnTo>
                  <a:lnTo>
                    <a:pt x="160289" y="67394"/>
                  </a:lnTo>
                  <a:lnTo>
                    <a:pt x="145718" y="45537"/>
                  </a:lnTo>
                  <a:lnTo>
                    <a:pt x="116574" y="41894"/>
                  </a:lnTo>
                  <a:lnTo>
                    <a:pt x="100181" y="30965"/>
                  </a:lnTo>
                  <a:lnTo>
                    <a:pt x="67394" y="29144"/>
                  </a:lnTo>
                  <a:lnTo>
                    <a:pt x="61930" y="23679"/>
                  </a:lnTo>
                  <a:lnTo>
                    <a:pt x="65573" y="21858"/>
                  </a:lnTo>
                  <a:lnTo>
                    <a:pt x="71037" y="18215"/>
                  </a:lnTo>
                  <a:lnTo>
                    <a:pt x="51001" y="18215"/>
                  </a:lnTo>
                  <a:lnTo>
                    <a:pt x="40072" y="27322"/>
                  </a:lnTo>
                  <a:lnTo>
                    <a:pt x="23679" y="29144"/>
                  </a:lnTo>
                  <a:lnTo>
                    <a:pt x="10929" y="40072"/>
                  </a:lnTo>
                  <a:lnTo>
                    <a:pt x="9107" y="40072"/>
                  </a:lnTo>
                  <a:lnTo>
                    <a:pt x="0" y="36430"/>
                  </a:lnTo>
                  <a:lnTo>
                    <a:pt x="0" y="34608"/>
                  </a:lnTo>
                  <a:lnTo>
                    <a:pt x="9107" y="30965"/>
                  </a:lnTo>
                  <a:lnTo>
                    <a:pt x="10929" y="18215"/>
                  </a:lnTo>
                  <a:lnTo>
                    <a:pt x="23679" y="10929"/>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6" name="Belize">
              <a:extLst>
                <a:ext uri="{FF2B5EF4-FFF2-40B4-BE49-F238E27FC236}">
                  <a16:creationId xmlns:a16="http://schemas.microsoft.com/office/drawing/2014/main" id="{65E815C0-51B9-C8F2-27CF-7D754073DA65}"/>
                </a:ext>
              </a:extLst>
            </p:cNvPr>
            <p:cNvSpPr>
              <a:spLocks/>
            </p:cNvSpPr>
            <p:nvPr/>
          </p:nvSpPr>
          <p:spPr bwMode="auto">
            <a:xfrm>
              <a:off x="3718810" y="4146484"/>
              <a:ext cx="30721" cy="63248"/>
            </a:xfrm>
            <a:custGeom>
              <a:avLst/>
              <a:gdLst>
                <a:gd name="T0" fmla="*/ 9 w 17"/>
                <a:gd name="T1" fmla="*/ 0 h 35"/>
                <a:gd name="T2" fmla="*/ 12 w 17"/>
                <a:gd name="T3" fmla="*/ 0 h 35"/>
                <a:gd name="T4" fmla="*/ 17 w 17"/>
                <a:gd name="T5" fmla="*/ 3 h 35"/>
                <a:gd name="T6" fmla="*/ 14 w 17"/>
                <a:gd name="T7" fmla="*/ 21 h 35"/>
                <a:gd name="T8" fmla="*/ 6 w 17"/>
                <a:gd name="T9" fmla="*/ 35 h 35"/>
                <a:gd name="T10" fmla="*/ 0 w 17"/>
                <a:gd name="T11" fmla="*/ 35 h 35"/>
                <a:gd name="T12" fmla="*/ 0 w 17"/>
                <a:gd name="T13" fmla="*/ 8 h 35"/>
                <a:gd name="T14" fmla="*/ 2 w 17"/>
                <a:gd name="T15" fmla="*/ 8 h 35"/>
                <a:gd name="T16" fmla="*/ 6 w 17"/>
                <a:gd name="T17" fmla="*/ 6 h 35"/>
                <a:gd name="T18" fmla="*/ 9 w 17"/>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35">
                  <a:moveTo>
                    <a:pt x="9" y="0"/>
                  </a:moveTo>
                  <a:lnTo>
                    <a:pt x="12" y="0"/>
                  </a:lnTo>
                  <a:lnTo>
                    <a:pt x="17" y="3"/>
                  </a:lnTo>
                  <a:lnTo>
                    <a:pt x="14" y="21"/>
                  </a:lnTo>
                  <a:lnTo>
                    <a:pt x="6" y="35"/>
                  </a:lnTo>
                  <a:lnTo>
                    <a:pt x="0" y="35"/>
                  </a:lnTo>
                  <a:lnTo>
                    <a:pt x="0" y="8"/>
                  </a:lnTo>
                  <a:lnTo>
                    <a:pt x="2" y="8"/>
                  </a:lnTo>
                  <a:lnTo>
                    <a:pt x="6" y="6"/>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7" name="Greenland - Offshore">
              <a:extLst>
                <a:ext uri="{FF2B5EF4-FFF2-40B4-BE49-F238E27FC236}">
                  <a16:creationId xmlns:a16="http://schemas.microsoft.com/office/drawing/2014/main" id="{7265F9D1-4023-5D02-34DB-1A8BFC079876}"/>
                </a:ext>
              </a:extLst>
            </p:cNvPr>
            <p:cNvSpPr/>
            <p:nvPr/>
          </p:nvSpPr>
          <p:spPr>
            <a:xfrm>
              <a:off x="4114830" y="727607"/>
              <a:ext cx="1315871" cy="1577254"/>
            </a:xfrm>
            <a:custGeom>
              <a:avLst/>
              <a:gdLst/>
              <a:ahLst/>
              <a:cxnLst/>
              <a:rect l="l" t="t" r="r" b="b"/>
              <a:pathLst>
                <a:path w="1326361" h="1589827">
                  <a:moveTo>
                    <a:pt x="507533" y="1543579"/>
                  </a:moveTo>
                  <a:cubicBezTo>
                    <a:pt x="512900" y="1544838"/>
                    <a:pt x="518803" y="1546575"/>
                    <a:pt x="524230" y="1548071"/>
                  </a:cubicBezTo>
                  <a:cubicBezTo>
                    <a:pt x="520712" y="1557115"/>
                    <a:pt x="518208" y="1566522"/>
                    <a:pt x="514986" y="1575685"/>
                  </a:cubicBezTo>
                  <a:cubicBezTo>
                    <a:pt x="511052" y="1570295"/>
                    <a:pt x="507175" y="1563764"/>
                    <a:pt x="509738" y="1556935"/>
                  </a:cubicBezTo>
                  <a:cubicBezTo>
                    <a:pt x="511886" y="1552264"/>
                    <a:pt x="509561" y="1547772"/>
                    <a:pt x="507533" y="1543579"/>
                  </a:cubicBezTo>
                  <a:close/>
                  <a:moveTo>
                    <a:pt x="435827" y="1516730"/>
                  </a:moveTo>
                  <a:cubicBezTo>
                    <a:pt x="440086" y="1516856"/>
                    <a:pt x="444712" y="1518259"/>
                    <a:pt x="448332" y="1519095"/>
                  </a:cubicBezTo>
                  <a:cubicBezTo>
                    <a:pt x="466780" y="1522381"/>
                    <a:pt x="471689" y="1544779"/>
                    <a:pt x="488641" y="1550805"/>
                  </a:cubicBezTo>
                  <a:cubicBezTo>
                    <a:pt x="501156" y="1555291"/>
                    <a:pt x="497141" y="1573798"/>
                    <a:pt x="486065" y="1577738"/>
                  </a:cubicBezTo>
                  <a:cubicBezTo>
                    <a:pt x="472948" y="1583590"/>
                    <a:pt x="456484" y="1596254"/>
                    <a:pt x="442644" y="1585866"/>
                  </a:cubicBezTo>
                  <a:cubicBezTo>
                    <a:pt x="437613" y="1583474"/>
                    <a:pt x="439832" y="1578160"/>
                    <a:pt x="440726" y="1574096"/>
                  </a:cubicBezTo>
                  <a:cubicBezTo>
                    <a:pt x="432469" y="1570877"/>
                    <a:pt x="424383" y="1566631"/>
                    <a:pt x="419889" y="1558693"/>
                  </a:cubicBezTo>
                  <a:cubicBezTo>
                    <a:pt x="424619" y="1558329"/>
                    <a:pt x="429349" y="1558213"/>
                    <a:pt x="434143" y="1558213"/>
                  </a:cubicBezTo>
                  <a:lnTo>
                    <a:pt x="422221" y="1551939"/>
                  </a:lnTo>
                  <a:cubicBezTo>
                    <a:pt x="424440" y="1548239"/>
                    <a:pt x="426837" y="1544597"/>
                    <a:pt x="429292" y="1541071"/>
                  </a:cubicBezTo>
                  <a:cubicBezTo>
                    <a:pt x="427731" y="1534863"/>
                    <a:pt x="423961" y="1528473"/>
                    <a:pt x="425521" y="1522025"/>
                  </a:cubicBezTo>
                  <a:cubicBezTo>
                    <a:pt x="427675" y="1517755"/>
                    <a:pt x="431567" y="1516604"/>
                    <a:pt x="435827" y="1516730"/>
                  </a:cubicBezTo>
                  <a:close/>
                  <a:moveTo>
                    <a:pt x="491142" y="1467836"/>
                  </a:moveTo>
                  <a:cubicBezTo>
                    <a:pt x="495965" y="1471117"/>
                    <a:pt x="500551" y="1474697"/>
                    <a:pt x="504667" y="1478873"/>
                  </a:cubicBezTo>
                  <a:cubicBezTo>
                    <a:pt x="499257" y="1478337"/>
                    <a:pt x="493907" y="1477680"/>
                    <a:pt x="488614" y="1476845"/>
                  </a:cubicBezTo>
                  <a:cubicBezTo>
                    <a:pt x="489495" y="1473861"/>
                    <a:pt x="490319" y="1470819"/>
                    <a:pt x="491142" y="1467836"/>
                  </a:cubicBezTo>
                  <a:close/>
                  <a:moveTo>
                    <a:pt x="1130402" y="1459810"/>
                  </a:moveTo>
                  <a:cubicBezTo>
                    <a:pt x="1128682" y="1462037"/>
                    <a:pt x="1127016" y="1464323"/>
                    <a:pt x="1125289" y="1466550"/>
                  </a:cubicBezTo>
                  <a:cubicBezTo>
                    <a:pt x="1130700" y="1474013"/>
                    <a:pt x="1131655" y="1483521"/>
                    <a:pt x="1133734" y="1492306"/>
                  </a:cubicBezTo>
                  <a:cubicBezTo>
                    <a:pt x="1125648" y="1496578"/>
                    <a:pt x="1117975" y="1501568"/>
                    <a:pt x="1109835" y="1505664"/>
                  </a:cubicBezTo>
                  <a:cubicBezTo>
                    <a:pt x="1108467" y="1504036"/>
                    <a:pt x="1107336" y="1502355"/>
                    <a:pt x="1106205" y="1500669"/>
                  </a:cubicBezTo>
                  <a:cubicBezTo>
                    <a:pt x="1092945" y="1504159"/>
                    <a:pt x="1079508" y="1506927"/>
                    <a:pt x="1066011" y="1508972"/>
                  </a:cubicBezTo>
                  <a:cubicBezTo>
                    <a:pt x="1067440" y="1499764"/>
                    <a:pt x="1073501" y="1493024"/>
                    <a:pt x="1080700" y="1487729"/>
                  </a:cubicBezTo>
                  <a:cubicBezTo>
                    <a:pt x="1077964" y="1484843"/>
                    <a:pt x="1073860" y="1481953"/>
                    <a:pt x="1075343" y="1477381"/>
                  </a:cubicBezTo>
                  <a:cubicBezTo>
                    <a:pt x="1078262" y="1471845"/>
                    <a:pt x="1084025" y="1476176"/>
                    <a:pt x="1087296" y="1478944"/>
                  </a:cubicBezTo>
                  <a:cubicBezTo>
                    <a:pt x="1102995" y="1475758"/>
                    <a:pt x="1116194" y="1466732"/>
                    <a:pt x="1130402" y="1459810"/>
                  </a:cubicBezTo>
                  <a:close/>
                  <a:moveTo>
                    <a:pt x="456196" y="1443761"/>
                  </a:moveTo>
                  <a:cubicBezTo>
                    <a:pt x="458846" y="1451381"/>
                    <a:pt x="461027" y="1459659"/>
                    <a:pt x="457432" y="1467338"/>
                  </a:cubicBezTo>
                  <a:cubicBezTo>
                    <a:pt x="453426" y="1463679"/>
                    <a:pt x="444471" y="1461279"/>
                    <a:pt x="447122" y="1454260"/>
                  </a:cubicBezTo>
                  <a:cubicBezTo>
                    <a:pt x="448595" y="1449641"/>
                    <a:pt x="452719" y="1446760"/>
                    <a:pt x="456196" y="1443761"/>
                  </a:cubicBezTo>
                  <a:close/>
                  <a:moveTo>
                    <a:pt x="462472" y="1416624"/>
                  </a:moveTo>
                  <a:cubicBezTo>
                    <a:pt x="465245" y="1414724"/>
                    <a:pt x="469375" y="1414812"/>
                    <a:pt x="475069" y="1417969"/>
                  </a:cubicBezTo>
                  <a:cubicBezTo>
                    <a:pt x="470538" y="1422821"/>
                    <a:pt x="464812" y="1426388"/>
                    <a:pt x="458014" y="1427206"/>
                  </a:cubicBezTo>
                  <a:cubicBezTo>
                    <a:pt x="458283" y="1422412"/>
                    <a:pt x="459699" y="1418525"/>
                    <a:pt x="462472" y="1416624"/>
                  </a:cubicBezTo>
                  <a:close/>
                  <a:moveTo>
                    <a:pt x="394347" y="1327877"/>
                  </a:moveTo>
                  <a:lnTo>
                    <a:pt x="403415" y="1328229"/>
                  </a:lnTo>
                  <a:cubicBezTo>
                    <a:pt x="403534" y="1330981"/>
                    <a:pt x="403653" y="1333792"/>
                    <a:pt x="403832" y="1336661"/>
                  </a:cubicBezTo>
                  <a:cubicBezTo>
                    <a:pt x="400134" y="1337540"/>
                    <a:pt x="396435" y="1338477"/>
                    <a:pt x="392796" y="1339414"/>
                  </a:cubicBezTo>
                  <a:cubicBezTo>
                    <a:pt x="393393" y="1335549"/>
                    <a:pt x="393930" y="1331683"/>
                    <a:pt x="394347" y="1327877"/>
                  </a:cubicBezTo>
                  <a:close/>
                  <a:moveTo>
                    <a:pt x="1152289" y="1322477"/>
                  </a:moveTo>
                  <a:cubicBezTo>
                    <a:pt x="1163487" y="1320854"/>
                    <a:pt x="1175042" y="1322117"/>
                    <a:pt x="1185637" y="1326203"/>
                  </a:cubicBezTo>
                  <a:cubicBezTo>
                    <a:pt x="1192047" y="1331790"/>
                    <a:pt x="1194980" y="1340810"/>
                    <a:pt x="1202820" y="1344834"/>
                  </a:cubicBezTo>
                  <a:cubicBezTo>
                    <a:pt x="1208687" y="1348803"/>
                    <a:pt x="1218508" y="1351926"/>
                    <a:pt x="1215515" y="1361002"/>
                  </a:cubicBezTo>
                  <a:cubicBezTo>
                    <a:pt x="1208449" y="1359378"/>
                    <a:pt x="1201383" y="1357817"/>
                    <a:pt x="1194258" y="1356672"/>
                  </a:cubicBezTo>
                  <a:cubicBezTo>
                    <a:pt x="1198748" y="1362924"/>
                    <a:pt x="1205337" y="1366955"/>
                    <a:pt x="1211084" y="1371819"/>
                  </a:cubicBezTo>
                  <a:cubicBezTo>
                    <a:pt x="1211025" y="1375608"/>
                    <a:pt x="1210303" y="1379334"/>
                    <a:pt x="1209946" y="1383060"/>
                  </a:cubicBezTo>
                  <a:cubicBezTo>
                    <a:pt x="1201086" y="1381797"/>
                    <a:pt x="1194258" y="1376087"/>
                    <a:pt x="1188391" y="1369897"/>
                  </a:cubicBezTo>
                  <a:cubicBezTo>
                    <a:pt x="1180492" y="1360342"/>
                    <a:pt x="1167440" y="1357518"/>
                    <a:pt x="1159831" y="1347658"/>
                  </a:cubicBezTo>
                  <a:cubicBezTo>
                    <a:pt x="1153488" y="1341046"/>
                    <a:pt x="1154925" y="1330589"/>
                    <a:pt x="1152289" y="1322477"/>
                  </a:cubicBezTo>
                  <a:close/>
                  <a:moveTo>
                    <a:pt x="1146272" y="1317342"/>
                  </a:moveTo>
                  <a:cubicBezTo>
                    <a:pt x="1145610" y="1321335"/>
                    <a:pt x="1144947" y="1325330"/>
                    <a:pt x="1144285" y="1329381"/>
                  </a:cubicBezTo>
                  <a:cubicBezTo>
                    <a:pt x="1140372" y="1328340"/>
                    <a:pt x="1136520" y="1327239"/>
                    <a:pt x="1132727" y="1326198"/>
                  </a:cubicBezTo>
                  <a:cubicBezTo>
                    <a:pt x="1136820" y="1322725"/>
                    <a:pt x="1141456" y="1319831"/>
                    <a:pt x="1146272" y="1317342"/>
                  </a:cubicBezTo>
                  <a:close/>
                  <a:moveTo>
                    <a:pt x="396431" y="1278717"/>
                  </a:moveTo>
                  <a:lnTo>
                    <a:pt x="406842" y="1281285"/>
                  </a:lnTo>
                  <a:cubicBezTo>
                    <a:pt x="405088" y="1289341"/>
                    <a:pt x="401227" y="1296803"/>
                    <a:pt x="395028" y="1302294"/>
                  </a:cubicBezTo>
                  <a:cubicBezTo>
                    <a:pt x="397074" y="1295728"/>
                    <a:pt x="400057" y="1289520"/>
                    <a:pt x="402981" y="1283312"/>
                  </a:cubicBezTo>
                  <a:lnTo>
                    <a:pt x="393799" y="1287252"/>
                  </a:lnTo>
                  <a:cubicBezTo>
                    <a:pt x="394677" y="1284387"/>
                    <a:pt x="395553" y="1281582"/>
                    <a:pt x="396431" y="1278717"/>
                  </a:cubicBezTo>
                  <a:close/>
                  <a:moveTo>
                    <a:pt x="390786" y="1253633"/>
                  </a:moveTo>
                  <a:cubicBezTo>
                    <a:pt x="385695" y="1258037"/>
                    <a:pt x="379211" y="1260656"/>
                    <a:pt x="372725" y="1257263"/>
                  </a:cubicBezTo>
                  <a:cubicBezTo>
                    <a:pt x="378241" y="1254288"/>
                    <a:pt x="384544" y="1253693"/>
                    <a:pt x="390786" y="1253633"/>
                  </a:cubicBezTo>
                  <a:close/>
                  <a:moveTo>
                    <a:pt x="370893" y="1171591"/>
                  </a:moveTo>
                  <a:cubicBezTo>
                    <a:pt x="373537" y="1170361"/>
                    <a:pt x="377744" y="1173559"/>
                    <a:pt x="375820" y="1176450"/>
                  </a:cubicBezTo>
                  <a:cubicBezTo>
                    <a:pt x="372936" y="1179894"/>
                    <a:pt x="366205" y="1173989"/>
                    <a:pt x="370893" y="1171591"/>
                  </a:cubicBezTo>
                  <a:close/>
                  <a:moveTo>
                    <a:pt x="1289843" y="1166349"/>
                  </a:moveTo>
                  <a:cubicBezTo>
                    <a:pt x="1290793" y="1170845"/>
                    <a:pt x="1291800" y="1175339"/>
                    <a:pt x="1292748" y="1179894"/>
                  </a:cubicBezTo>
                  <a:lnTo>
                    <a:pt x="1278702" y="1177497"/>
                  </a:lnTo>
                  <a:cubicBezTo>
                    <a:pt x="1282259" y="1173661"/>
                    <a:pt x="1285992" y="1169945"/>
                    <a:pt x="1289843" y="1166349"/>
                  </a:cubicBezTo>
                  <a:close/>
                  <a:moveTo>
                    <a:pt x="1257462" y="1134418"/>
                  </a:moveTo>
                  <a:cubicBezTo>
                    <a:pt x="1260468" y="1140962"/>
                    <a:pt x="1264914" y="1146910"/>
                    <a:pt x="1266657" y="1153928"/>
                  </a:cubicBezTo>
                  <a:cubicBezTo>
                    <a:pt x="1264973" y="1159104"/>
                    <a:pt x="1259986" y="1167849"/>
                    <a:pt x="1253495" y="1163446"/>
                  </a:cubicBezTo>
                  <a:cubicBezTo>
                    <a:pt x="1242077" y="1157974"/>
                    <a:pt x="1242738" y="1134240"/>
                    <a:pt x="1257462" y="1134418"/>
                  </a:cubicBezTo>
                  <a:close/>
                  <a:moveTo>
                    <a:pt x="1307932" y="1096613"/>
                  </a:moveTo>
                  <a:cubicBezTo>
                    <a:pt x="1310296" y="1101310"/>
                    <a:pt x="1312543" y="1106129"/>
                    <a:pt x="1314319" y="1111123"/>
                  </a:cubicBezTo>
                  <a:cubicBezTo>
                    <a:pt x="1311243" y="1112490"/>
                    <a:pt x="1308224" y="1113919"/>
                    <a:pt x="1305266" y="1115343"/>
                  </a:cubicBezTo>
                  <a:cubicBezTo>
                    <a:pt x="1308106" y="1120577"/>
                    <a:pt x="1310829" y="1125868"/>
                    <a:pt x="1313608" y="1131164"/>
                  </a:cubicBezTo>
                  <a:cubicBezTo>
                    <a:pt x="1317630" y="1128664"/>
                    <a:pt x="1321653" y="1126165"/>
                    <a:pt x="1325850" y="1123850"/>
                  </a:cubicBezTo>
                  <a:cubicBezTo>
                    <a:pt x="1325139" y="1130744"/>
                    <a:pt x="1323368" y="1137463"/>
                    <a:pt x="1320410" y="1143768"/>
                  </a:cubicBezTo>
                  <a:cubicBezTo>
                    <a:pt x="1318163" y="1140854"/>
                    <a:pt x="1316326" y="1137166"/>
                    <a:pt x="1312779" y="1135681"/>
                  </a:cubicBezTo>
                  <a:cubicBezTo>
                    <a:pt x="1304559" y="1136987"/>
                    <a:pt x="1296514" y="1142042"/>
                    <a:pt x="1288351" y="1137407"/>
                  </a:cubicBezTo>
                  <a:cubicBezTo>
                    <a:pt x="1290720" y="1126585"/>
                    <a:pt x="1285218" y="1112966"/>
                    <a:pt x="1292788" y="1103630"/>
                  </a:cubicBezTo>
                  <a:cubicBezTo>
                    <a:pt x="1297107" y="1105115"/>
                    <a:pt x="1300951" y="1107732"/>
                    <a:pt x="1304913" y="1110114"/>
                  </a:cubicBezTo>
                  <a:cubicBezTo>
                    <a:pt x="1305859" y="1105591"/>
                    <a:pt x="1306806" y="1101074"/>
                    <a:pt x="1307932" y="1096613"/>
                  </a:cubicBezTo>
                  <a:close/>
                  <a:moveTo>
                    <a:pt x="58997" y="996528"/>
                  </a:moveTo>
                  <a:cubicBezTo>
                    <a:pt x="61628" y="993775"/>
                    <a:pt x="66215" y="998302"/>
                    <a:pt x="63401" y="1000993"/>
                  </a:cubicBezTo>
                  <a:cubicBezTo>
                    <a:pt x="60771" y="1003807"/>
                    <a:pt x="56183" y="999220"/>
                    <a:pt x="58997" y="996528"/>
                  </a:cubicBezTo>
                  <a:close/>
                  <a:moveTo>
                    <a:pt x="1245884" y="988757"/>
                  </a:moveTo>
                  <a:cubicBezTo>
                    <a:pt x="1244377" y="992790"/>
                    <a:pt x="1242806" y="996703"/>
                    <a:pt x="1241237" y="1000676"/>
                  </a:cubicBezTo>
                  <a:cubicBezTo>
                    <a:pt x="1246851" y="1001098"/>
                    <a:pt x="1252523" y="1001338"/>
                    <a:pt x="1258133" y="1001879"/>
                  </a:cubicBezTo>
                  <a:cubicBezTo>
                    <a:pt x="1249504" y="1004708"/>
                    <a:pt x="1240513" y="1005311"/>
                    <a:pt x="1232549" y="1000735"/>
                  </a:cubicBezTo>
                  <a:cubicBezTo>
                    <a:pt x="1235445" y="995138"/>
                    <a:pt x="1238945" y="989360"/>
                    <a:pt x="1245884" y="988757"/>
                  </a:cubicBezTo>
                  <a:close/>
                  <a:moveTo>
                    <a:pt x="72320" y="981535"/>
                  </a:moveTo>
                  <a:cubicBezTo>
                    <a:pt x="75409" y="983167"/>
                    <a:pt x="76964" y="985720"/>
                    <a:pt x="72162" y="986928"/>
                  </a:cubicBezTo>
                  <a:cubicBezTo>
                    <a:pt x="69260" y="991764"/>
                    <a:pt x="53674" y="984149"/>
                    <a:pt x="63279" y="981670"/>
                  </a:cubicBezTo>
                  <a:cubicBezTo>
                    <a:pt x="64609" y="979193"/>
                    <a:pt x="69231" y="979903"/>
                    <a:pt x="72320" y="981535"/>
                  </a:cubicBezTo>
                  <a:close/>
                  <a:moveTo>
                    <a:pt x="1226952" y="977216"/>
                  </a:moveTo>
                  <a:cubicBezTo>
                    <a:pt x="1229781" y="978287"/>
                    <a:pt x="1232611" y="979358"/>
                    <a:pt x="1235561" y="980251"/>
                  </a:cubicBezTo>
                  <a:cubicBezTo>
                    <a:pt x="1234537" y="982750"/>
                    <a:pt x="1233514" y="985250"/>
                    <a:pt x="1232551" y="987749"/>
                  </a:cubicBezTo>
                  <a:lnTo>
                    <a:pt x="1222016" y="983286"/>
                  </a:lnTo>
                  <a:cubicBezTo>
                    <a:pt x="1223642" y="981203"/>
                    <a:pt x="1225267" y="979179"/>
                    <a:pt x="1226952" y="977216"/>
                  </a:cubicBezTo>
                  <a:close/>
                  <a:moveTo>
                    <a:pt x="1280804" y="968186"/>
                  </a:moveTo>
                  <a:cubicBezTo>
                    <a:pt x="1284085" y="969320"/>
                    <a:pt x="1288800" y="968543"/>
                    <a:pt x="1291187" y="971586"/>
                  </a:cubicBezTo>
                  <a:cubicBezTo>
                    <a:pt x="1295006" y="979695"/>
                    <a:pt x="1290114" y="988461"/>
                    <a:pt x="1291485" y="996934"/>
                  </a:cubicBezTo>
                  <a:cubicBezTo>
                    <a:pt x="1294231" y="1013690"/>
                    <a:pt x="1298767" y="1030271"/>
                    <a:pt x="1298409" y="1047447"/>
                  </a:cubicBezTo>
                  <a:cubicBezTo>
                    <a:pt x="1291665" y="1027346"/>
                    <a:pt x="1286353" y="1006770"/>
                    <a:pt x="1281340" y="986194"/>
                  </a:cubicBezTo>
                  <a:lnTo>
                    <a:pt x="1289635" y="985782"/>
                  </a:lnTo>
                  <a:cubicBezTo>
                    <a:pt x="1284562" y="981367"/>
                    <a:pt x="1280206" y="975645"/>
                    <a:pt x="1280804" y="968186"/>
                  </a:cubicBezTo>
                  <a:close/>
                  <a:moveTo>
                    <a:pt x="0" y="892298"/>
                  </a:moveTo>
                  <a:cubicBezTo>
                    <a:pt x="11154" y="890430"/>
                    <a:pt x="22427" y="892478"/>
                    <a:pt x="30601" y="900735"/>
                  </a:cubicBezTo>
                  <a:cubicBezTo>
                    <a:pt x="19805" y="907485"/>
                    <a:pt x="6203" y="903147"/>
                    <a:pt x="0" y="892298"/>
                  </a:cubicBezTo>
                  <a:close/>
                  <a:moveTo>
                    <a:pt x="32607" y="887776"/>
                  </a:moveTo>
                  <a:cubicBezTo>
                    <a:pt x="42291" y="887419"/>
                    <a:pt x="51380" y="890683"/>
                    <a:pt x="59696" y="895312"/>
                  </a:cubicBezTo>
                  <a:cubicBezTo>
                    <a:pt x="51499" y="896261"/>
                    <a:pt x="43418" y="897388"/>
                    <a:pt x="35281" y="898456"/>
                  </a:cubicBezTo>
                  <a:close/>
                  <a:moveTo>
                    <a:pt x="149779" y="881835"/>
                  </a:moveTo>
                  <a:cubicBezTo>
                    <a:pt x="150889" y="882506"/>
                    <a:pt x="151558" y="883803"/>
                    <a:pt x="150616" y="885087"/>
                  </a:cubicBezTo>
                  <a:cubicBezTo>
                    <a:pt x="148974" y="887420"/>
                    <a:pt x="144474" y="884795"/>
                    <a:pt x="146298" y="882345"/>
                  </a:cubicBezTo>
                  <a:cubicBezTo>
                    <a:pt x="147119" y="881121"/>
                    <a:pt x="148670" y="881164"/>
                    <a:pt x="149779" y="881835"/>
                  </a:cubicBezTo>
                  <a:close/>
                  <a:moveTo>
                    <a:pt x="1257634" y="869360"/>
                  </a:moveTo>
                  <a:cubicBezTo>
                    <a:pt x="1260585" y="876111"/>
                    <a:pt x="1263772" y="882677"/>
                    <a:pt x="1266664" y="889427"/>
                  </a:cubicBezTo>
                  <a:cubicBezTo>
                    <a:pt x="1261648" y="884440"/>
                    <a:pt x="1257103" y="879089"/>
                    <a:pt x="1252618" y="873678"/>
                  </a:cubicBezTo>
                  <a:cubicBezTo>
                    <a:pt x="1254211" y="872218"/>
                    <a:pt x="1255923" y="870819"/>
                    <a:pt x="1257634" y="869360"/>
                  </a:cubicBezTo>
                  <a:close/>
                  <a:moveTo>
                    <a:pt x="138730" y="868974"/>
                  </a:moveTo>
                  <a:cubicBezTo>
                    <a:pt x="145978" y="867853"/>
                    <a:pt x="138791" y="878385"/>
                    <a:pt x="136948" y="871467"/>
                  </a:cubicBezTo>
                  <a:close/>
                  <a:moveTo>
                    <a:pt x="1317271" y="840264"/>
                  </a:moveTo>
                  <a:cubicBezTo>
                    <a:pt x="1320341" y="850829"/>
                    <a:pt x="1316327" y="861277"/>
                    <a:pt x="1313494" y="871366"/>
                  </a:cubicBezTo>
                  <a:lnTo>
                    <a:pt x="1304287" y="871366"/>
                  </a:lnTo>
                  <a:cubicBezTo>
                    <a:pt x="1307357" y="860801"/>
                    <a:pt x="1307297" y="847010"/>
                    <a:pt x="1317271" y="840264"/>
                  </a:cubicBezTo>
                  <a:close/>
                  <a:moveTo>
                    <a:pt x="1250612" y="835247"/>
                  </a:moveTo>
                  <a:cubicBezTo>
                    <a:pt x="1263442" y="835666"/>
                    <a:pt x="1272236" y="846093"/>
                    <a:pt x="1282718" y="851904"/>
                  </a:cubicBezTo>
                  <a:lnTo>
                    <a:pt x="1279585" y="856818"/>
                  </a:lnTo>
                  <a:cubicBezTo>
                    <a:pt x="1268502" y="852025"/>
                    <a:pt x="1255011" y="847829"/>
                    <a:pt x="1250612" y="835247"/>
                  </a:cubicBezTo>
                  <a:close/>
                  <a:moveTo>
                    <a:pt x="1253043" y="825974"/>
                  </a:moveTo>
                  <a:cubicBezTo>
                    <a:pt x="1254125" y="829978"/>
                    <a:pt x="1245595" y="830733"/>
                    <a:pt x="1246196" y="826496"/>
                  </a:cubicBezTo>
                  <a:cubicBezTo>
                    <a:pt x="1247277" y="824117"/>
                    <a:pt x="1251542" y="823710"/>
                    <a:pt x="1253043" y="825974"/>
                  </a:cubicBezTo>
                  <a:close/>
                  <a:moveTo>
                    <a:pt x="1255629" y="807408"/>
                  </a:moveTo>
                  <a:cubicBezTo>
                    <a:pt x="1252870" y="810167"/>
                    <a:pt x="1250110" y="812986"/>
                    <a:pt x="1247291" y="815686"/>
                  </a:cubicBezTo>
                  <a:cubicBezTo>
                    <a:pt x="1244592" y="808908"/>
                    <a:pt x="1248851" y="804649"/>
                    <a:pt x="1255629" y="807408"/>
                  </a:cubicBezTo>
                  <a:close/>
                  <a:moveTo>
                    <a:pt x="1272566" y="785584"/>
                  </a:moveTo>
                  <a:cubicBezTo>
                    <a:pt x="1274147" y="790333"/>
                    <a:pt x="1274966" y="795263"/>
                    <a:pt x="1276195" y="800132"/>
                  </a:cubicBezTo>
                  <a:lnTo>
                    <a:pt x="1269172" y="797697"/>
                  </a:lnTo>
                  <a:cubicBezTo>
                    <a:pt x="1270343" y="793680"/>
                    <a:pt x="1271396" y="789602"/>
                    <a:pt x="1272566" y="785584"/>
                  </a:cubicBezTo>
                  <a:close/>
                  <a:moveTo>
                    <a:pt x="1279575" y="782575"/>
                  </a:moveTo>
                  <a:cubicBezTo>
                    <a:pt x="1282841" y="789207"/>
                    <a:pt x="1286109" y="795781"/>
                    <a:pt x="1289739" y="802234"/>
                  </a:cubicBezTo>
                  <a:lnTo>
                    <a:pt x="1281209" y="806655"/>
                  </a:lnTo>
                  <a:cubicBezTo>
                    <a:pt x="1279515" y="798709"/>
                    <a:pt x="1277699" y="790642"/>
                    <a:pt x="1279575" y="782575"/>
                  </a:cubicBezTo>
                  <a:close/>
                  <a:moveTo>
                    <a:pt x="1284312" y="717865"/>
                  </a:moveTo>
                  <a:cubicBezTo>
                    <a:pt x="1284131" y="725319"/>
                    <a:pt x="1283773" y="733254"/>
                    <a:pt x="1279516" y="739690"/>
                  </a:cubicBezTo>
                  <a:cubicBezTo>
                    <a:pt x="1286230" y="744197"/>
                    <a:pt x="1280835" y="747083"/>
                    <a:pt x="1275200" y="748466"/>
                  </a:cubicBezTo>
                  <a:cubicBezTo>
                    <a:pt x="1267167" y="737284"/>
                    <a:pt x="1275560" y="725319"/>
                    <a:pt x="1284312" y="717865"/>
                  </a:cubicBezTo>
                  <a:close/>
                  <a:moveTo>
                    <a:pt x="1321370" y="684253"/>
                  </a:moveTo>
                  <a:cubicBezTo>
                    <a:pt x="1322244" y="690052"/>
                    <a:pt x="1323352" y="695851"/>
                    <a:pt x="1323235" y="701831"/>
                  </a:cubicBezTo>
                  <a:cubicBezTo>
                    <a:pt x="1319972" y="706919"/>
                    <a:pt x="1315601" y="711182"/>
                    <a:pt x="1311813" y="715856"/>
                  </a:cubicBezTo>
                  <a:cubicBezTo>
                    <a:pt x="1312571" y="704729"/>
                    <a:pt x="1313561" y="692833"/>
                    <a:pt x="1321370" y="684253"/>
                  </a:cubicBezTo>
                  <a:close/>
                  <a:moveTo>
                    <a:pt x="1277316" y="543791"/>
                  </a:moveTo>
                  <a:cubicBezTo>
                    <a:pt x="1282332" y="547591"/>
                    <a:pt x="1287231" y="551452"/>
                    <a:pt x="1292248" y="555310"/>
                  </a:cubicBezTo>
                  <a:lnTo>
                    <a:pt x="1291775" y="560774"/>
                  </a:lnTo>
                  <a:cubicBezTo>
                    <a:pt x="1284222" y="564870"/>
                    <a:pt x="1276963" y="569325"/>
                    <a:pt x="1269172" y="572886"/>
                  </a:cubicBezTo>
                  <a:cubicBezTo>
                    <a:pt x="1270884" y="562909"/>
                    <a:pt x="1272714" y="552875"/>
                    <a:pt x="1277316" y="543791"/>
                  </a:cubicBezTo>
                  <a:close/>
                  <a:moveTo>
                    <a:pt x="139955" y="475563"/>
                  </a:moveTo>
                  <a:cubicBezTo>
                    <a:pt x="143661" y="480109"/>
                    <a:pt x="146308" y="485313"/>
                    <a:pt x="147485" y="491115"/>
                  </a:cubicBezTo>
                  <a:cubicBezTo>
                    <a:pt x="141073" y="488423"/>
                    <a:pt x="137954" y="482383"/>
                    <a:pt x="139955" y="475563"/>
                  </a:cubicBezTo>
                  <a:close/>
                  <a:moveTo>
                    <a:pt x="1313282" y="312026"/>
                  </a:moveTo>
                  <a:cubicBezTo>
                    <a:pt x="1318623" y="321604"/>
                    <a:pt x="1323541" y="331476"/>
                    <a:pt x="1326361" y="342125"/>
                  </a:cubicBezTo>
                  <a:lnTo>
                    <a:pt x="1318022" y="341710"/>
                  </a:lnTo>
                  <a:cubicBezTo>
                    <a:pt x="1312863" y="333559"/>
                    <a:pt x="1307643" y="325468"/>
                    <a:pt x="1302783" y="317200"/>
                  </a:cubicBezTo>
                  <a:close/>
                  <a:moveTo>
                    <a:pt x="1275647" y="247312"/>
                  </a:moveTo>
                  <a:lnTo>
                    <a:pt x="1281244" y="247312"/>
                  </a:lnTo>
                  <a:cubicBezTo>
                    <a:pt x="1285946" y="265816"/>
                    <a:pt x="1294043" y="283657"/>
                    <a:pt x="1294758" y="302996"/>
                  </a:cubicBezTo>
                  <a:cubicBezTo>
                    <a:pt x="1288089" y="301743"/>
                    <a:pt x="1280707" y="299293"/>
                    <a:pt x="1280528" y="290701"/>
                  </a:cubicBezTo>
                  <a:cubicBezTo>
                    <a:pt x="1275945" y="277036"/>
                    <a:pt x="1267669" y="261339"/>
                    <a:pt x="1275647" y="247312"/>
                  </a:cubicBezTo>
                  <a:close/>
                  <a:moveTo>
                    <a:pt x="1307848" y="241293"/>
                  </a:moveTo>
                  <a:cubicBezTo>
                    <a:pt x="1311854" y="256183"/>
                    <a:pt x="1316230" y="271073"/>
                    <a:pt x="1317833" y="286441"/>
                  </a:cubicBezTo>
                  <a:cubicBezTo>
                    <a:pt x="1314629" y="283931"/>
                    <a:pt x="1310806" y="281299"/>
                    <a:pt x="1311299" y="276815"/>
                  </a:cubicBezTo>
                  <a:cubicBezTo>
                    <a:pt x="1311299" y="264856"/>
                    <a:pt x="1303287" y="253013"/>
                    <a:pt x="1307848" y="241293"/>
                  </a:cubicBezTo>
                  <a:close/>
                  <a:moveTo>
                    <a:pt x="434381" y="226833"/>
                  </a:moveTo>
                  <a:lnTo>
                    <a:pt x="440614" y="227771"/>
                  </a:lnTo>
                  <a:cubicBezTo>
                    <a:pt x="444343" y="242152"/>
                    <a:pt x="468530" y="252469"/>
                    <a:pt x="478653" y="265756"/>
                  </a:cubicBezTo>
                  <a:cubicBezTo>
                    <a:pt x="482435" y="271592"/>
                    <a:pt x="485898" y="276802"/>
                    <a:pt x="487603" y="283263"/>
                  </a:cubicBezTo>
                  <a:cubicBezTo>
                    <a:pt x="475083" y="289099"/>
                    <a:pt x="464322" y="271175"/>
                    <a:pt x="450044" y="271696"/>
                  </a:cubicBezTo>
                  <a:cubicBezTo>
                    <a:pt x="435020" y="272425"/>
                    <a:pt x="425750" y="263151"/>
                    <a:pt x="426549" y="253719"/>
                  </a:cubicBezTo>
                  <a:cubicBezTo>
                    <a:pt x="425537" y="241891"/>
                    <a:pt x="429959" y="235691"/>
                    <a:pt x="434381" y="226833"/>
                  </a:cubicBezTo>
                  <a:close/>
                  <a:moveTo>
                    <a:pt x="459009" y="226746"/>
                  </a:moveTo>
                  <a:cubicBezTo>
                    <a:pt x="465492" y="228440"/>
                    <a:pt x="469893" y="233109"/>
                    <a:pt x="470547" y="239763"/>
                  </a:cubicBezTo>
                  <a:lnTo>
                    <a:pt x="462399" y="242799"/>
                  </a:lnTo>
                  <a:cubicBezTo>
                    <a:pt x="460793" y="237545"/>
                    <a:pt x="459782" y="232116"/>
                    <a:pt x="459009" y="226746"/>
                  </a:cubicBezTo>
                  <a:close/>
                  <a:moveTo>
                    <a:pt x="509920" y="129928"/>
                  </a:moveTo>
                  <a:cubicBezTo>
                    <a:pt x="513077" y="132244"/>
                    <a:pt x="516173" y="134618"/>
                    <a:pt x="519208" y="136992"/>
                  </a:cubicBezTo>
                  <a:lnTo>
                    <a:pt x="509677" y="139961"/>
                  </a:lnTo>
                  <a:cubicBezTo>
                    <a:pt x="509738" y="136636"/>
                    <a:pt x="509859" y="133253"/>
                    <a:pt x="509920" y="129928"/>
                  </a:cubicBezTo>
                  <a:close/>
                  <a:moveTo>
                    <a:pt x="537330" y="122402"/>
                  </a:moveTo>
                  <a:lnTo>
                    <a:pt x="542936" y="122868"/>
                  </a:lnTo>
                  <a:cubicBezTo>
                    <a:pt x="543890" y="124906"/>
                    <a:pt x="544845" y="126944"/>
                    <a:pt x="545799" y="128924"/>
                  </a:cubicBezTo>
                  <a:cubicBezTo>
                    <a:pt x="542936" y="128866"/>
                    <a:pt x="540133" y="128749"/>
                    <a:pt x="537270" y="128633"/>
                  </a:cubicBezTo>
                  <a:close/>
                  <a:moveTo>
                    <a:pt x="551334" y="112870"/>
                  </a:moveTo>
                  <a:cubicBezTo>
                    <a:pt x="561164" y="118391"/>
                    <a:pt x="574390" y="124150"/>
                    <a:pt x="574031" y="137450"/>
                  </a:cubicBezTo>
                  <a:lnTo>
                    <a:pt x="552049" y="137035"/>
                  </a:lnTo>
                  <a:cubicBezTo>
                    <a:pt x="549307" y="129257"/>
                    <a:pt x="549486" y="120827"/>
                    <a:pt x="551334" y="112870"/>
                  </a:cubicBezTo>
                  <a:close/>
                  <a:moveTo>
                    <a:pt x="578780" y="102835"/>
                  </a:moveTo>
                  <a:cubicBezTo>
                    <a:pt x="589201" y="107743"/>
                    <a:pt x="601020" y="113600"/>
                    <a:pt x="603989" y="125485"/>
                  </a:cubicBezTo>
                  <a:cubicBezTo>
                    <a:pt x="596112" y="127437"/>
                    <a:pt x="585869" y="130926"/>
                    <a:pt x="579628" y="123771"/>
                  </a:cubicBezTo>
                  <a:cubicBezTo>
                    <a:pt x="576900" y="116970"/>
                    <a:pt x="577626" y="109813"/>
                    <a:pt x="578780" y="102835"/>
                  </a:cubicBezTo>
                  <a:close/>
                  <a:moveTo>
                    <a:pt x="604489" y="94807"/>
                  </a:moveTo>
                  <a:cubicBezTo>
                    <a:pt x="614398" y="98470"/>
                    <a:pt x="620006" y="107779"/>
                    <a:pt x="625558" y="116125"/>
                  </a:cubicBezTo>
                  <a:lnTo>
                    <a:pt x="620723" y="118887"/>
                  </a:lnTo>
                  <a:cubicBezTo>
                    <a:pt x="614815" y="111261"/>
                    <a:pt x="608368" y="103815"/>
                    <a:pt x="604489" y="94807"/>
                  </a:cubicBezTo>
                  <a:close/>
                  <a:moveTo>
                    <a:pt x="612515" y="84275"/>
                  </a:moveTo>
                  <a:cubicBezTo>
                    <a:pt x="623146" y="95008"/>
                    <a:pt x="638287" y="100858"/>
                    <a:pt x="646124" y="114305"/>
                  </a:cubicBezTo>
                  <a:cubicBezTo>
                    <a:pt x="626231" y="118888"/>
                    <a:pt x="619223" y="98324"/>
                    <a:pt x="612515" y="84275"/>
                  </a:cubicBezTo>
                  <a:close/>
                  <a:moveTo>
                    <a:pt x="803143" y="67218"/>
                  </a:moveTo>
                  <a:cubicBezTo>
                    <a:pt x="799033" y="72401"/>
                    <a:pt x="795110" y="77762"/>
                    <a:pt x="790517" y="82409"/>
                  </a:cubicBezTo>
                  <a:cubicBezTo>
                    <a:pt x="781695" y="84851"/>
                    <a:pt x="772576" y="85507"/>
                    <a:pt x="763512" y="86281"/>
                  </a:cubicBezTo>
                  <a:cubicBezTo>
                    <a:pt x="769374" y="70196"/>
                    <a:pt x="789007" y="71269"/>
                    <a:pt x="803143" y="67218"/>
                  </a:cubicBezTo>
                  <a:close/>
                  <a:moveTo>
                    <a:pt x="705321" y="58188"/>
                  </a:moveTo>
                  <a:cubicBezTo>
                    <a:pt x="710889" y="58546"/>
                    <a:pt x="716165" y="58968"/>
                    <a:pt x="721795" y="59923"/>
                  </a:cubicBezTo>
                  <a:cubicBezTo>
                    <a:pt x="725986" y="65974"/>
                    <a:pt x="729638" y="72383"/>
                    <a:pt x="733475" y="78727"/>
                  </a:cubicBezTo>
                  <a:cubicBezTo>
                    <a:pt x="731975" y="72204"/>
                    <a:pt x="730419" y="65675"/>
                    <a:pt x="728863" y="59207"/>
                  </a:cubicBezTo>
                  <a:cubicBezTo>
                    <a:pt x="742038" y="59923"/>
                    <a:pt x="753359" y="67292"/>
                    <a:pt x="761506" y="77171"/>
                  </a:cubicBezTo>
                  <a:cubicBezTo>
                    <a:pt x="761265" y="90824"/>
                    <a:pt x="747432" y="100828"/>
                    <a:pt x="734015" y="96875"/>
                  </a:cubicBezTo>
                  <a:cubicBezTo>
                    <a:pt x="722812" y="85315"/>
                    <a:pt x="713828" y="71781"/>
                    <a:pt x="705321" y="58188"/>
                  </a:cubicBezTo>
                  <a:close/>
                  <a:moveTo>
                    <a:pt x="745452" y="46649"/>
                  </a:moveTo>
                  <a:cubicBezTo>
                    <a:pt x="760352" y="53824"/>
                    <a:pt x="780415" y="51232"/>
                    <a:pt x="791102" y="65464"/>
                  </a:cubicBezTo>
                  <a:cubicBezTo>
                    <a:pt x="780119" y="67753"/>
                    <a:pt x="768368" y="70226"/>
                    <a:pt x="757563" y="65824"/>
                  </a:cubicBezTo>
                  <a:cubicBezTo>
                    <a:pt x="751861" y="60819"/>
                    <a:pt x="749606" y="52800"/>
                    <a:pt x="745452" y="46649"/>
                  </a:cubicBezTo>
                  <a:close/>
                  <a:moveTo>
                    <a:pt x="812674" y="45646"/>
                  </a:moveTo>
                  <a:cubicBezTo>
                    <a:pt x="818722" y="45946"/>
                    <a:pt x="824710" y="48761"/>
                    <a:pt x="829729" y="52115"/>
                  </a:cubicBezTo>
                  <a:cubicBezTo>
                    <a:pt x="824952" y="54091"/>
                    <a:pt x="820114" y="55948"/>
                    <a:pt x="815214" y="57685"/>
                  </a:cubicBezTo>
                  <a:cubicBezTo>
                    <a:pt x="814306" y="53672"/>
                    <a:pt x="813460" y="49659"/>
                    <a:pt x="812674" y="45646"/>
                  </a:cubicBezTo>
                  <a:close/>
                  <a:moveTo>
                    <a:pt x="703818" y="41135"/>
                  </a:moveTo>
                  <a:cubicBezTo>
                    <a:pt x="710412" y="42803"/>
                    <a:pt x="716473" y="46020"/>
                    <a:pt x="721879" y="50071"/>
                  </a:cubicBezTo>
                  <a:lnTo>
                    <a:pt x="706314" y="50667"/>
                  </a:lnTo>
                  <a:cubicBezTo>
                    <a:pt x="705422" y="47509"/>
                    <a:pt x="704591" y="44352"/>
                    <a:pt x="703818" y="41135"/>
                  </a:cubicBezTo>
                  <a:close/>
                  <a:moveTo>
                    <a:pt x="691332" y="37620"/>
                  </a:moveTo>
                  <a:cubicBezTo>
                    <a:pt x="691942" y="39667"/>
                    <a:pt x="692612" y="41713"/>
                    <a:pt x="693282" y="43821"/>
                  </a:cubicBezTo>
                  <a:cubicBezTo>
                    <a:pt x="691150" y="44724"/>
                    <a:pt x="689018" y="45687"/>
                    <a:pt x="686946" y="46650"/>
                  </a:cubicBezTo>
                  <a:cubicBezTo>
                    <a:pt x="687068" y="41293"/>
                    <a:pt x="689262" y="39546"/>
                    <a:pt x="691332" y="37620"/>
                  </a:cubicBezTo>
                  <a:close/>
                  <a:moveTo>
                    <a:pt x="741918" y="30597"/>
                  </a:moveTo>
                  <a:cubicBezTo>
                    <a:pt x="745684" y="33598"/>
                    <a:pt x="749390" y="36657"/>
                    <a:pt x="752977" y="39834"/>
                  </a:cubicBezTo>
                  <a:cubicBezTo>
                    <a:pt x="749091" y="39894"/>
                    <a:pt x="745265" y="40012"/>
                    <a:pt x="741439" y="40129"/>
                  </a:cubicBezTo>
                  <a:cubicBezTo>
                    <a:pt x="741618" y="36952"/>
                    <a:pt x="741738" y="33774"/>
                    <a:pt x="741918" y="30597"/>
                  </a:cubicBezTo>
                  <a:close/>
                  <a:moveTo>
                    <a:pt x="699802" y="27922"/>
                  </a:moveTo>
                  <a:cubicBezTo>
                    <a:pt x="710570" y="21567"/>
                    <a:pt x="712424" y="31311"/>
                    <a:pt x="715356" y="37120"/>
                  </a:cubicBezTo>
                  <a:cubicBezTo>
                    <a:pt x="709254" y="35789"/>
                    <a:pt x="703750" y="32883"/>
                    <a:pt x="699802" y="27922"/>
                  </a:cubicBezTo>
                  <a:close/>
                  <a:moveTo>
                    <a:pt x="767316" y="9530"/>
                  </a:moveTo>
                  <a:cubicBezTo>
                    <a:pt x="775352" y="16578"/>
                    <a:pt x="783750" y="23331"/>
                    <a:pt x="790241" y="31991"/>
                  </a:cubicBezTo>
                  <a:cubicBezTo>
                    <a:pt x="797269" y="41788"/>
                    <a:pt x="808820" y="47699"/>
                    <a:pt x="814179" y="58870"/>
                  </a:cubicBezTo>
                  <a:lnTo>
                    <a:pt x="809357" y="61200"/>
                  </a:lnTo>
                  <a:cubicBezTo>
                    <a:pt x="796971" y="55046"/>
                    <a:pt x="785300" y="47104"/>
                    <a:pt x="780353" y="33365"/>
                  </a:cubicBezTo>
                  <a:cubicBezTo>
                    <a:pt x="774815" y="31991"/>
                    <a:pt x="769874" y="30554"/>
                    <a:pt x="764515" y="29180"/>
                  </a:cubicBezTo>
                  <a:cubicBezTo>
                    <a:pt x="765111" y="22551"/>
                    <a:pt x="766184" y="16040"/>
                    <a:pt x="767316" y="9530"/>
                  </a:cubicBezTo>
                  <a:close/>
                  <a:moveTo>
                    <a:pt x="792477" y="0"/>
                  </a:moveTo>
                  <a:lnTo>
                    <a:pt x="798624" y="61"/>
                  </a:lnTo>
                  <a:cubicBezTo>
                    <a:pt x="801309" y="8962"/>
                    <a:pt x="804293" y="17744"/>
                    <a:pt x="807157" y="26587"/>
                  </a:cubicBezTo>
                  <a:cubicBezTo>
                    <a:pt x="801608" y="24782"/>
                    <a:pt x="795461" y="23218"/>
                    <a:pt x="791761" y="18345"/>
                  </a:cubicBezTo>
                  <a:cubicBezTo>
                    <a:pt x="791104" y="12211"/>
                    <a:pt x="792297" y="6136"/>
                    <a:pt x="79247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8" name="Greenland - Mainland">
              <a:extLst>
                <a:ext uri="{FF2B5EF4-FFF2-40B4-BE49-F238E27FC236}">
                  <a16:creationId xmlns:a16="http://schemas.microsoft.com/office/drawing/2014/main" id="{5EAE879B-EF9C-E42F-8507-5EE4EEE7F9D5}"/>
                </a:ext>
              </a:extLst>
            </p:cNvPr>
            <p:cNvSpPr>
              <a:spLocks/>
            </p:cNvSpPr>
            <p:nvPr/>
          </p:nvSpPr>
          <p:spPr bwMode="auto">
            <a:xfrm flipV="1">
              <a:off x="4109360" y="685800"/>
              <a:ext cx="1463183" cy="2149496"/>
            </a:xfrm>
            <a:custGeom>
              <a:avLst/>
              <a:gdLst>
                <a:gd name="T0" fmla="*/ 18345 w 24669"/>
                <a:gd name="T1" fmla="*/ 35148 h 36230"/>
                <a:gd name="T2" fmla="*/ 15080 w 24669"/>
                <a:gd name="T3" fmla="*/ 33857 h 36230"/>
                <a:gd name="T4" fmla="*/ 19709 w 24669"/>
                <a:gd name="T5" fmla="*/ 33256 h 36230"/>
                <a:gd name="T6" fmla="*/ 15797 w 24669"/>
                <a:gd name="T7" fmla="*/ 30351 h 36230"/>
                <a:gd name="T8" fmla="*/ 19397 w 24669"/>
                <a:gd name="T9" fmla="*/ 29995 h 36230"/>
                <a:gd name="T10" fmla="*/ 19907 w 24669"/>
                <a:gd name="T11" fmla="*/ 27549 h 36230"/>
                <a:gd name="T12" fmla="*/ 21622 w 24669"/>
                <a:gd name="T13" fmla="*/ 29929 h 36230"/>
                <a:gd name="T14" fmla="*/ 23865 w 24669"/>
                <a:gd name="T15" fmla="*/ 30346 h 36230"/>
                <a:gd name="T16" fmla="*/ 22894 w 24669"/>
                <a:gd name="T17" fmla="*/ 27360 h 36230"/>
                <a:gd name="T18" fmla="*/ 21041 w 24669"/>
                <a:gd name="T19" fmla="*/ 25509 h 36230"/>
                <a:gd name="T20" fmla="*/ 21285 w 24669"/>
                <a:gd name="T21" fmla="*/ 23338 h 36230"/>
                <a:gd name="T22" fmla="*/ 20669 w 24669"/>
                <a:gd name="T23" fmla="*/ 21592 h 36230"/>
                <a:gd name="T24" fmla="*/ 20911 w 24669"/>
                <a:gd name="T25" fmla="*/ 20497 h 36230"/>
                <a:gd name="T26" fmla="*/ 20304 w 24669"/>
                <a:gd name="T27" fmla="*/ 19557 h 36230"/>
                <a:gd name="T28" fmla="*/ 21043 w 24669"/>
                <a:gd name="T29" fmla="*/ 18015 h 36230"/>
                <a:gd name="T30" fmla="*/ 20890 w 24669"/>
                <a:gd name="T31" fmla="*/ 15999 h 36230"/>
                <a:gd name="T32" fmla="*/ 21110 w 24669"/>
                <a:gd name="T33" fmla="*/ 14792 h 36230"/>
                <a:gd name="T34" fmla="*/ 18206 w 24669"/>
                <a:gd name="T35" fmla="*/ 14284 h 36230"/>
                <a:gd name="T36" fmla="*/ 19966 w 24669"/>
                <a:gd name="T37" fmla="*/ 13664 h 36230"/>
                <a:gd name="T38" fmla="*/ 18495 w 24669"/>
                <a:gd name="T39" fmla="*/ 13202 h 36230"/>
                <a:gd name="T40" fmla="*/ 20301 w 24669"/>
                <a:gd name="T41" fmla="*/ 11905 h 36230"/>
                <a:gd name="T42" fmla="*/ 19316 w 24669"/>
                <a:gd name="T43" fmla="*/ 11352 h 36230"/>
                <a:gd name="T44" fmla="*/ 18015 w 24669"/>
                <a:gd name="T45" fmla="*/ 11186 h 36230"/>
                <a:gd name="T46" fmla="*/ 18374 w 24669"/>
                <a:gd name="T47" fmla="*/ 10035 h 36230"/>
                <a:gd name="T48" fmla="*/ 19061 w 24669"/>
                <a:gd name="T49" fmla="*/ 8937 h 36230"/>
                <a:gd name="T50" fmla="*/ 17118 w 24669"/>
                <a:gd name="T51" fmla="*/ 7798 h 36230"/>
                <a:gd name="T52" fmla="*/ 15407 w 24669"/>
                <a:gd name="T53" fmla="*/ 6156 h 36230"/>
                <a:gd name="T54" fmla="*/ 14329 w 24669"/>
                <a:gd name="T55" fmla="*/ 5512 h 36230"/>
                <a:gd name="T56" fmla="*/ 13285 w 24669"/>
                <a:gd name="T57" fmla="*/ 5127 h 36230"/>
                <a:gd name="T58" fmla="*/ 12902 w 24669"/>
                <a:gd name="T59" fmla="*/ 3708 h 36230"/>
                <a:gd name="T60" fmla="*/ 12100 w 24669"/>
                <a:gd name="T61" fmla="*/ 1144 h 36230"/>
                <a:gd name="T62" fmla="*/ 10832 w 24669"/>
                <a:gd name="T63" fmla="*/ 695 h 36230"/>
                <a:gd name="T64" fmla="*/ 9659 w 24669"/>
                <a:gd name="T65" fmla="*/ 1342 h 36230"/>
                <a:gd name="T66" fmla="*/ 8686 w 24669"/>
                <a:gd name="T67" fmla="*/ 3867 h 36230"/>
                <a:gd name="T68" fmla="*/ 8149 w 24669"/>
                <a:gd name="T69" fmla="*/ 4683 h 36230"/>
                <a:gd name="T70" fmla="*/ 7881 w 24669"/>
                <a:gd name="T71" fmla="*/ 7541 h 36230"/>
                <a:gd name="T72" fmla="*/ 7962 w 24669"/>
                <a:gd name="T73" fmla="*/ 8337 h 36230"/>
                <a:gd name="T74" fmla="*/ 9032 w 24669"/>
                <a:gd name="T75" fmla="*/ 9566 h 36230"/>
                <a:gd name="T76" fmla="*/ 8849 w 24669"/>
                <a:gd name="T77" fmla="*/ 10594 h 36230"/>
                <a:gd name="T78" fmla="*/ 7961 w 24669"/>
                <a:gd name="T79" fmla="*/ 11520 h 36230"/>
                <a:gd name="T80" fmla="*/ 6796 w 24669"/>
                <a:gd name="T81" fmla="*/ 11878 h 36230"/>
                <a:gd name="T82" fmla="*/ 7074 w 24669"/>
                <a:gd name="T83" fmla="*/ 13078 h 36230"/>
                <a:gd name="T84" fmla="*/ 6736 w 24669"/>
                <a:gd name="T85" fmla="*/ 14384 h 36230"/>
                <a:gd name="T86" fmla="*/ 6207 w 24669"/>
                <a:gd name="T87" fmla="*/ 15159 h 36230"/>
                <a:gd name="T88" fmla="*/ 5948 w 24669"/>
                <a:gd name="T89" fmla="*/ 16747 h 36230"/>
                <a:gd name="T90" fmla="*/ 3967 w 24669"/>
                <a:gd name="T91" fmla="*/ 18639 h 36230"/>
                <a:gd name="T92" fmla="*/ 2665 w 24669"/>
                <a:gd name="T93" fmla="*/ 18583 h 36230"/>
                <a:gd name="T94" fmla="*/ 870 w 24669"/>
                <a:gd name="T95" fmla="*/ 19481 h 36230"/>
                <a:gd name="T96" fmla="*/ 2344 w 24669"/>
                <a:gd name="T97" fmla="*/ 21109 h 36230"/>
                <a:gd name="T98" fmla="*/ 632 w 24669"/>
                <a:gd name="T99" fmla="*/ 21445 h 36230"/>
                <a:gd name="T100" fmla="*/ 2687 w 24669"/>
                <a:gd name="T101" fmla="*/ 23945 h 36230"/>
                <a:gd name="T102" fmla="*/ 2136 w 24669"/>
                <a:gd name="T103" fmla="*/ 26602 h 36230"/>
                <a:gd name="T104" fmla="*/ 4360 w 24669"/>
                <a:gd name="T105" fmla="*/ 30394 h 36230"/>
                <a:gd name="T106" fmla="*/ 6925 w 24669"/>
                <a:gd name="T107" fmla="*/ 31919 h 36230"/>
                <a:gd name="T108" fmla="*/ 8230 w 24669"/>
                <a:gd name="T109" fmla="*/ 32413 h 36230"/>
                <a:gd name="T110" fmla="*/ 9987 w 24669"/>
                <a:gd name="T111" fmla="*/ 32781 h 36230"/>
                <a:gd name="T112" fmla="*/ 11683 w 24669"/>
                <a:gd name="T113" fmla="*/ 33247 h 36230"/>
                <a:gd name="T114" fmla="*/ 11370 w 24669"/>
                <a:gd name="T115" fmla="*/ 34300 h 36230"/>
                <a:gd name="T116" fmla="*/ 14236 w 24669"/>
                <a:gd name="T117" fmla="*/ 34628 h 36230"/>
                <a:gd name="connsiteX0" fmla="*/ 15246 w 24669"/>
                <a:gd name="connsiteY0" fmla="*/ 36230 h 36230"/>
                <a:gd name="connsiteX1" fmla="*/ 15279 w 24669"/>
                <a:gd name="connsiteY1" fmla="*/ 36230 h 36230"/>
                <a:gd name="connsiteX2" fmla="*/ 15328 w 24669"/>
                <a:gd name="connsiteY2" fmla="*/ 36015 h 36230"/>
                <a:gd name="connsiteX3" fmla="*/ 15392 w 24669"/>
                <a:gd name="connsiteY3" fmla="*/ 36205 h 36230"/>
                <a:gd name="connsiteX4" fmla="*/ 15614 w 24669"/>
                <a:gd name="connsiteY4" fmla="*/ 35682 h 36230"/>
                <a:gd name="connsiteX5" fmla="*/ 15527 w 24669"/>
                <a:gd name="connsiteY5" fmla="*/ 36069 h 36230"/>
                <a:gd name="connsiteX6" fmla="*/ 16398 w 24669"/>
                <a:gd name="connsiteY6" fmla="*/ 35986 h 36230"/>
                <a:gd name="connsiteX7" fmla="*/ 17007 w 24669"/>
                <a:gd name="connsiteY7" fmla="*/ 35695 h 36230"/>
                <a:gd name="connsiteX8" fmla="*/ 16987 w 24669"/>
                <a:gd name="connsiteY8" fmla="*/ 35423 h 36230"/>
                <a:gd name="connsiteX9" fmla="*/ 17558 w 24669"/>
                <a:gd name="connsiteY9" fmla="*/ 35572 h 36230"/>
                <a:gd name="connsiteX10" fmla="*/ 18345 w 24669"/>
                <a:gd name="connsiteY10" fmla="*/ 35148 h 36230"/>
                <a:gd name="connsiteX11" fmla="*/ 17896 w 24669"/>
                <a:gd name="connsiteY11" fmla="*/ 34540 h 36230"/>
                <a:gd name="connsiteX12" fmla="*/ 18156 w 24669"/>
                <a:gd name="connsiteY12" fmla="*/ 34565 h 36230"/>
                <a:gd name="connsiteX13" fmla="*/ 16485 w 24669"/>
                <a:gd name="connsiteY13" fmla="*/ 34572 h 36230"/>
                <a:gd name="connsiteX14" fmla="*/ 15461 w 24669"/>
                <a:gd name="connsiteY14" fmla="*/ 34324 h 36230"/>
                <a:gd name="connsiteX15" fmla="*/ 14623 w 24669"/>
                <a:gd name="connsiteY15" fmla="*/ 34462 h 36230"/>
                <a:gd name="connsiteX16" fmla="*/ 15454 w 24669"/>
                <a:gd name="connsiteY16" fmla="*/ 34149 h 36230"/>
                <a:gd name="connsiteX17" fmla="*/ 14302 w 24669"/>
                <a:gd name="connsiteY17" fmla="*/ 33720 h 36230"/>
                <a:gd name="connsiteX18" fmla="*/ 14241 w 24669"/>
                <a:gd name="connsiteY18" fmla="*/ 33038 h 36230"/>
                <a:gd name="connsiteX19" fmla="*/ 14431 w 24669"/>
                <a:gd name="connsiteY19" fmla="*/ 33601 h 36230"/>
                <a:gd name="connsiteX20" fmla="*/ 14878 w 24669"/>
                <a:gd name="connsiteY20" fmla="*/ 33641 h 36230"/>
                <a:gd name="connsiteX21" fmla="*/ 15080 w 24669"/>
                <a:gd name="connsiteY21" fmla="*/ 33857 h 36230"/>
                <a:gd name="connsiteX22" fmla="*/ 15899 w 24669"/>
                <a:gd name="connsiteY22" fmla="*/ 34061 h 36230"/>
                <a:gd name="connsiteX23" fmla="*/ 16779 w 24669"/>
                <a:gd name="connsiteY23" fmla="*/ 34401 h 36230"/>
                <a:gd name="connsiteX24" fmla="*/ 17953 w 24669"/>
                <a:gd name="connsiteY24" fmla="*/ 34269 h 36230"/>
                <a:gd name="connsiteX25" fmla="*/ 18632 w 24669"/>
                <a:gd name="connsiteY25" fmla="*/ 34414 h 36230"/>
                <a:gd name="connsiteX26" fmla="*/ 18651 w 24669"/>
                <a:gd name="connsiteY26" fmla="*/ 33753 h 36230"/>
                <a:gd name="connsiteX27" fmla="*/ 18360 w 24669"/>
                <a:gd name="connsiteY27" fmla="*/ 33275 h 36230"/>
                <a:gd name="connsiteX28" fmla="*/ 18735 w 24669"/>
                <a:gd name="connsiteY28" fmla="*/ 33596 h 36230"/>
                <a:gd name="connsiteX29" fmla="*/ 19072 w 24669"/>
                <a:gd name="connsiteY29" fmla="*/ 33696 h 36230"/>
                <a:gd name="connsiteX30" fmla="*/ 19107 w 24669"/>
                <a:gd name="connsiteY30" fmla="*/ 33396 h 36230"/>
                <a:gd name="connsiteX31" fmla="*/ 19303 w 24669"/>
                <a:gd name="connsiteY31" fmla="*/ 33465 h 36230"/>
                <a:gd name="connsiteX32" fmla="*/ 19709 w 24669"/>
                <a:gd name="connsiteY32" fmla="*/ 33256 h 36230"/>
                <a:gd name="connsiteX33" fmla="*/ 20191 w 24669"/>
                <a:gd name="connsiteY33" fmla="*/ 32769 h 36230"/>
                <a:gd name="connsiteX34" fmla="*/ 20032 w 24669"/>
                <a:gd name="connsiteY34" fmla="*/ 32330 h 36230"/>
                <a:gd name="connsiteX35" fmla="*/ 19688 w 24669"/>
                <a:gd name="connsiteY35" fmla="*/ 31859 h 36230"/>
                <a:gd name="connsiteX36" fmla="*/ 19033 w 24669"/>
                <a:gd name="connsiteY36" fmla="*/ 31628 h 36230"/>
                <a:gd name="connsiteX37" fmla="*/ 18422 w 24669"/>
                <a:gd name="connsiteY37" fmla="*/ 31361 h 36230"/>
                <a:gd name="connsiteX38" fmla="*/ 17630 w 24669"/>
                <a:gd name="connsiteY38" fmla="*/ 31404 h 36230"/>
                <a:gd name="connsiteX39" fmla="*/ 16589 w 24669"/>
                <a:gd name="connsiteY39" fmla="*/ 31250 h 36230"/>
                <a:gd name="connsiteX40" fmla="*/ 16276 w 24669"/>
                <a:gd name="connsiteY40" fmla="*/ 31043 h 36230"/>
                <a:gd name="connsiteX41" fmla="*/ 15428 w 24669"/>
                <a:gd name="connsiteY41" fmla="*/ 30480 h 36230"/>
                <a:gd name="connsiteX42" fmla="*/ 15368 w 24669"/>
                <a:gd name="connsiteY42" fmla="*/ 29931 h 36230"/>
                <a:gd name="connsiteX43" fmla="*/ 15797 w 24669"/>
                <a:gd name="connsiteY43" fmla="*/ 30351 h 36230"/>
                <a:gd name="connsiteX44" fmla="*/ 16915 w 24669"/>
                <a:gd name="connsiteY44" fmla="*/ 30822 h 36230"/>
                <a:gd name="connsiteX45" fmla="*/ 18388 w 24669"/>
                <a:gd name="connsiteY45" fmla="*/ 30898 h 36230"/>
                <a:gd name="connsiteX46" fmla="*/ 18573 w 24669"/>
                <a:gd name="connsiteY46" fmla="*/ 30470 h 36230"/>
                <a:gd name="connsiteX47" fmla="*/ 19067 w 24669"/>
                <a:gd name="connsiteY47" fmla="*/ 30522 h 36230"/>
                <a:gd name="connsiteX48" fmla="*/ 19106 w 24669"/>
                <a:gd name="connsiteY48" fmla="*/ 30891 h 36230"/>
                <a:gd name="connsiteX49" fmla="*/ 19345 w 24669"/>
                <a:gd name="connsiteY49" fmla="*/ 31034 h 36230"/>
                <a:gd name="connsiteX50" fmla="*/ 19316 w 24669"/>
                <a:gd name="connsiteY50" fmla="*/ 30400 h 36230"/>
                <a:gd name="connsiteX51" fmla="*/ 18676 w 24669"/>
                <a:gd name="connsiteY51" fmla="*/ 29879 h 36230"/>
                <a:gd name="connsiteX52" fmla="*/ 18512 w 24669"/>
                <a:gd name="connsiteY52" fmla="*/ 29676 h 36230"/>
                <a:gd name="connsiteX53" fmla="*/ 18609 w 24669"/>
                <a:gd name="connsiteY53" fmla="*/ 29437 h 36230"/>
                <a:gd name="connsiteX54" fmla="*/ 19397 w 24669"/>
                <a:gd name="connsiteY54" fmla="*/ 29995 h 36230"/>
                <a:gd name="connsiteX55" fmla="*/ 19625 w 24669"/>
                <a:gd name="connsiteY55" fmla="*/ 30196 h 36230"/>
                <a:gd name="connsiteX56" fmla="*/ 19894 w 24669"/>
                <a:gd name="connsiteY56" fmla="*/ 30186 h 36230"/>
                <a:gd name="connsiteX57" fmla="*/ 19912 w 24669"/>
                <a:gd name="connsiteY57" fmla="*/ 30979 h 36230"/>
                <a:gd name="connsiteX58" fmla="*/ 20716 w 24669"/>
                <a:gd name="connsiteY58" fmla="*/ 31262 h 36230"/>
                <a:gd name="connsiteX59" fmla="*/ 20663 w 24669"/>
                <a:gd name="connsiteY59" fmla="*/ 29512 h 36230"/>
                <a:gd name="connsiteX60" fmla="*/ 20335 w 24669"/>
                <a:gd name="connsiteY60" fmla="*/ 28883 h 36230"/>
                <a:gd name="connsiteX61" fmla="*/ 19869 w 24669"/>
                <a:gd name="connsiteY61" fmla="*/ 27843 h 36230"/>
                <a:gd name="connsiteX62" fmla="*/ 19699 w 24669"/>
                <a:gd name="connsiteY62" fmla="*/ 27586 h 36230"/>
                <a:gd name="connsiteX63" fmla="*/ 19808 w 24669"/>
                <a:gd name="connsiteY63" fmla="*/ 27612 h 36230"/>
                <a:gd name="connsiteX64" fmla="*/ 19606 w 24669"/>
                <a:gd name="connsiteY64" fmla="*/ 27298 h 36230"/>
                <a:gd name="connsiteX65" fmla="*/ 19907 w 24669"/>
                <a:gd name="connsiteY65" fmla="*/ 27549 h 36230"/>
                <a:gd name="connsiteX66" fmla="*/ 20065 w 24669"/>
                <a:gd name="connsiteY66" fmla="*/ 28041 h 36230"/>
                <a:gd name="connsiteX67" fmla="*/ 20379 w 24669"/>
                <a:gd name="connsiteY67" fmla="*/ 28296 h 36230"/>
                <a:gd name="connsiteX68" fmla="*/ 20293 w 24669"/>
                <a:gd name="connsiteY68" fmla="*/ 28310 h 36230"/>
                <a:gd name="connsiteX69" fmla="*/ 20714 w 24669"/>
                <a:gd name="connsiteY69" fmla="*/ 28827 h 36230"/>
                <a:gd name="connsiteX70" fmla="*/ 21067 w 24669"/>
                <a:gd name="connsiteY70" fmla="*/ 29461 h 36230"/>
                <a:gd name="connsiteX71" fmla="*/ 21386 w 24669"/>
                <a:gd name="connsiteY71" fmla="*/ 29815 h 36230"/>
                <a:gd name="connsiteX72" fmla="*/ 21176 w 24669"/>
                <a:gd name="connsiteY72" fmla="*/ 29783 h 36230"/>
                <a:gd name="connsiteX73" fmla="*/ 21280 w 24669"/>
                <a:gd name="connsiteY73" fmla="*/ 30202 h 36230"/>
                <a:gd name="connsiteX74" fmla="*/ 21488 w 24669"/>
                <a:gd name="connsiteY74" fmla="*/ 29915 h 36230"/>
                <a:gd name="connsiteX75" fmla="*/ 21479 w 24669"/>
                <a:gd name="connsiteY75" fmla="*/ 29835 h 36230"/>
                <a:gd name="connsiteX76" fmla="*/ 21622 w 24669"/>
                <a:gd name="connsiteY76" fmla="*/ 29929 h 36230"/>
                <a:gd name="connsiteX77" fmla="*/ 21434 w 24669"/>
                <a:gd name="connsiteY77" fmla="*/ 29311 h 36230"/>
                <a:gd name="connsiteX78" fmla="*/ 21809 w 24669"/>
                <a:gd name="connsiteY78" fmla="*/ 29621 h 36230"/>
                <a:gd name="connsiteX79" fmla="*/ 22045 w 24669"/>
                <a:gd name="connsiteY79" fmla="*/ 29417 h 36230"/>
                <a:gd name="connsiteX80" fmla="*/ 22114 w 24669"/>
                <a:gd name="connsiteY80" fmla="*/ 29490 h 36230"/>
                <a:gd name="connsiteX81" fmla="*/ 22241 w 24669"/>
                <a:gd name="connsiteY81" fmla="*/ 29254 h 36230"/>
                <a:gd name="connsiteX82" fmla="*/ 22436 w 24669"/>
                <a:gd name="connsiteY82" fmla="*/ 29648 h 36230"/>
                <a:gd name="connsiteX83" fmla="*/ 22504 w 24669"/>
                <a:gd name="connsiteY83" fmla="*/ 30027 h 36230"/>
                <a:gd name="connsiteX84" fmla="*/ 22665 w 24669"/>
                <a:gd name="connsiteY84" fmla="*/ 30359 h 36230"/>
                <a:gd name="connsiteX85" fmla="*/ 22827 w 24669"/>
                <a:gd name="connsiteY85" fmla="*/ 30387 h 36230"/>
                <a:gd name="connsiteX86" fmla="*/ 23051 w 24669"/>
                <a:gd name="connsiteY86" fmla="*/ 30532 h 36230"/>
                <a:gd name="connsiteX87" fmla="*/ 23865 w 24669"/>
                <a:gd name="connsiteY87" fmla="*/ 30346 h 36230"/>
                <a:gd name="connsiteX88" fmla="*/ 24396 w 24669"/>
                <a:gd name="connsiteY88" fmla="*/ 29962 h 36230"/>
                <a:gd name="connsiteX89" fmla="*/ 24669 w 24669"/>
                <a:gd name="connsiteY89" fmla="*/ 29523 h 36230"/>
                <a:gd name="connsiteX90" fmla="*/ 24669 w 24669"/>
                <a:gd name="connsiteY90" fmla="*/ 29458 h 36230"/>
                <a:gd name="connsiteX91" fmla="*/ 24139 w 24669"/>
                <a:gd name="connsiteY91" fmla="*/ 28815 h 36230"/>
                <a:gd name="connsiteX92" fmla="*/ 23847 w 24669"/>
                <a:gd name="connsiteY92" fmla="*/ 28371 h 36230"/>
                <a:gd name="connsiteX93" fmla="*/ 23481 w 24669"/>
                <a:gd name="connsiteY93" fmla="*/ 28340 h 36230"/>
                <a:gd name="connsiteX94" fmla="*/ 23393 w 24669"/>
                <a:gd name="connsiteY94" fmla="*/ 28212 h 36230"/>
                <a:gd name="connsiteX95" fmla="*/ 23843 w 24669"/>
                <a:gd name="connsiteY95" fmla="*/ 28271 h 36230"/>
                <a:gd name="connsiteX96" fmla="*/ 23503 w 24669"/>
                <a:gd name="connsiteY96" fmla="*/ 27799 h 36230"/>
                <a:gd name="connsiteX97" fmla="*/ 23075 w 24669"/>
                <a:gd name="connsiteY97" fmla="*/ 27532 h 36230"/>
                <a:gd name="connsiteX98" fmla="*/ 22894 w 24669"/>
                <a:gd name="connsiteY98" fmla="*/ 27360 h 36230"/>
                <a:gd name="connsiteX99" fmla="*/ 22248 w 24669"/>
                <a:gd name="connsiteY99" fmla="*/ 27599 h 36230"/>
                <a:gd name="connsiteX100" fmla="*/ 21746 w 24669"/>
                <a:gd name="connsiteY100" fmla="*/ 27248 h 36230"/>
                <a:gd name="connsiteX101" fmla="*/ 21713 w 24669"/>
                <a:gd name="connsiteY101" fmla="*/ 27172 h 36230"/>
                <a:gd name="connsiteX102" fmla="*/ 22029 w 24669"/>
                <a:gd name="connsiteY102" fmla="*/ 27034 h 36230"/>
                <a:gd name="connsiteX103" fmla="*/ 22435 w 24669"/>
                <a:gd name="connsiteY103" fmla="*/ 27174 h 36230"/>
                <a:gd name="connsiteX104" fmla="*/ 22898 w 24669"/>
                <a:gd name="connsiteY104" fmla="*/ 26899 h 36230"/>
                <a:gd name="connsiteX105" fmla="*/ 22540 w 24669"/>
                <a:gd name="connsiteY105" fmla="*/ 26330 h 36230"/>
                <a:gd name="connsiteX106" fmla="*/ 21434 w 24669"/>
                <a:gd name="connsiteY106" fmla="*/ 26496 h 36230"/>
                <a:gd name="connsiteX107" fmla="*/ 21078 w 24669"/>
                <a:gd name="connsiteY107" fmla="*/ 26073 h 36230"/>
                <a:gd name="connsiteX108" fmla="*/ 21190 w 24669"/>
                <a:gd name="connsiteY108" fmla="*/ 26069 h 36230"/>
                <a:gd name="connsiteX109" fmla="*/ 21041 w 24669"/>
                <a:gd name="connsiteY109" fmla="*/ 25509 h 36230"/>
                <a:gd name="connsiteX110" fmla="*/ 21192 w 24669"/>
                <a:gd name="connsiteY110" fmla="*/ 25477 h 36230"/>
                <a:gd name="connsiteX111" fmla="*/ 21584 w 24669"/>
                <a:gd name="connsiteY111" fmla="*/ 25990 h 36230"/>
                <a:gd name="connsiteX112" fmla="*/ 22190 w 24669"/>
                <a:gd name="connsiteY112" fmla="*/ 26112 h 36230"/>
                <a:gd name="connsiteX113" fmla="*/ 22342 w 24669"/>
                <a:gd name="connsiteY113" fmla="*/ 25930 h 36230"/>
                <a:gd name="connsiteX114" fmla="*/ 22058 w 24669"/>
                <a:gd name="connsiteY114" fmla="*/ 25259 h 36230"/>
                <a:gd name="connsiteX115" fmla="*/ 21597 w 24669"/>
                <a:gd name="connsiteY115" fmla="*/ 25302 h 36230"/>
                <a:gd name="connsiteX116" fmla="*/ 21391 w 24669"/>
                <a:gd name="connsiteY116" fmla="*/ 24516 h 36230"/>
                <a:gd name="connsiteX117" fmla="*/ 21662 w 24669"/>
                <a:gd name="connsiteY117" fmla="*/ 24201 h 36230"/>
                <a:gd name="connsiteX118" fmla="*/ 21573 w 24669"/>
                <a:gd name="connsiteY118" fmla="*/ 23974 h 36230"/>
                <a:gd name="connsiteX119" fmla="*/ 21250 w 24669"/>
                <a:gd name="connsiteY119" fmla="*/ 23780 h 36230"/>
                <a:gd name="connsiteX120" fmla="*/ 21285 w 24669"/>
                <a:gd name="connsiteY120" fmla="*/ 23338 h 36230"/>
                <a:gd name="connsiteX121" fmla="*/ 20946 w 24669"/>
                <a:gd name="connsiteY121" fmla="*/ 23363 h 36230"/>
                <a:gd name="connsiteX122" fmla="*/ 20960 w 24669"/>
                <a:gd name="connsiteY122" fmla="*/ 23143 h 36230"/>
                <a:gd name="connsiteX123" fmla="*/ 20809 w 24669"/>
                <a:gd name="connsiteY123" fmla="*/ 23294 h 36230"/>
                <a:gd name="connsiteX124" fmla="*/ 20830 w 24669"/>
                <a:gd name="connsiteY124" fmla="*/ 22947 h 36230"/>
                <a:gd name="connsiteX125" fmla="*/ 20702 w 24669"/>
                <a:gd name="connsiteY125" fmla="*/ 22882 h 36230"/>
                <a:gd name="connsiteX126" fmla="*/ 20888 w 24669"/>
                <a:gd name="connsiteY126" fmla="*/ 22879 h 36230"/>
                <a:gd name="connsiteX127" fmla="*/ 20699 w 24669"/>
                <a:gd name="connsiteY127" fmla="*/ 22125 h 36230"/>
                <a:gd name="connsiteX128" fmla="*/ 20548 w 24669"/>
                <a:gd name="connsiteY128" fmla="*/ 21550 h 36230"/>
                <a:gd name="connsiteX129" fmla="*/ 20394 w 24669"/>
                <a:gd name="connsiteY129" fmla="*/ 20980 h 36230"/>
                <a:gd name="connsiteX130" fmla="*/ 20627 w 24669"/>
                <a:gd name="connsiteY130" fmla="*/ 21030 h 36230"/>
                <a:gd name="connsiteX131" fmla="*/ 20669 w 24669"/>
                <a:gd name="connsiteY131" fmla="*/ 21592 h 36230"/>
                <a:gd name="connsiteX132" fmla="*/ 20894 w 24669"/>
                <a:gd name="connsiteY132" fmla="*/ 21591 h 36230"/>
                <a:gd name="connsiteX133" fmla="*/ 21403 w 24669"/>
                <a:gd name="connsiteY133" fmla="*/ 21181 h 36230"/>
                <a:gd name="connsiteX134" fmla="*/ 21621 w 24669"/>
                <a:gd name="connsiteY134" fmla="*/ 20832 h 36230"/>
                <a:gd name="connsiteX135" fmla="*/ 21143 w 24669"/>
                <a:gd name="connsiteY135" fmla="*/ 21076 h 36230"/>
                <a:gd name="connsiteX136" fmla="*/ 20946 w 24669"/>
                <a:gd name="connsiteY136" fmla="*/ 20919 h 36230"/>
                <a:gd name="connsiteX137" fmla="*/ 20989 w 24669"/>
                <a:gd name="connsiteY137" fmla="*/ 21081 h 36230"/>
                <a:gd name="connsiteX138" fmla="*/ 20858 w 24669"/>
                <a:gd name="connsiteY138" fmla="*/ 20970 h 36230"/>
                <a:gd name="connsiteX139" fmla="*/ 21127 w 24669"/>
                <a:gd name="connsiteY139" fmla="*/ 20753 h 36230"/>
                <a:gd name="connsiteX140" fmla="*/ 20856 w 24669"/>
                <a:gd name="connsiteY140" fmla="*/ 20675 h 36230"/>
                <a:gd name="connsiteX141" fmla="*/ 21189 w 24669"/>
                <a:gd name="connsiteY141" fmla="*/ 20535 h 36230"/>
                <a:gd name="connsiteX142" fmla="*/ 20911 w 24669"/>
                <a:gd name="connsiteY142" fmla="*/ 20497 h 36230"/>
                <a:gd name="connsiteX143" fmla="*/ 21300 w 24669"/>
                <a:gd name="connsiteY143" fmla="*/ 20462 h 36230"/>
                <a:gd name="connsiteX144" fmla="*/ 21517 w 24669"/>
                <a:gd name="connsiteY144" fmla="*/ 20165 h 36230"/>
                <a:gd name="connsiteX145" fmla="*/ 21846 w 24669"/>
                <a:gd name="connsiteY145" fmla="*/ 20242 h 36230"/>
                <a:gd name="connsiteX146" fmla="*/ 21891 w 24669"/>
                <a:gd name="connsiteY146" fmla="*/ 19600 h 36230"/>
                <a:gd name="connsiteX147" fmla="*/ 21677 w 24669"/>
                <a:gd name="connsiteY147" fmla="*/ 19409 h 36230"/>
                <a:gd name="connsiteX148" fmla="*/ 20780 w 24669"/>
                <a:gd name="connsiteY148" fmla="*/ 19727 h 36230"/>
                <a:gd name="connsiteX149" fmla="*/ 20961 w 24669"/>
                <a:gd name="connsiteY149" fmla="*/ 19649 h 36230"/>
                <a:gd name="connsiteX150" fmla="*/ 20627 w 24669"/>
                <a:gd name="connsiteY150" fmla="*/ 19304 h 36230"/>
                <a:gd name="connsiteX151" fmla="*/ 20736 w 24669"/>
                <a:gd name="connsiteY151" fmla="*/ 19246 h 36230"/>
                <a:gd name="connsiteX152" fmla="*/ 20498 w 24669"/>
                <a:gd name="connsiteY152" fmla="*/ 19225 h 36230"/>
                <a:gd name="connsiteX153" fmla="*/ 20304 w 24669"/>
                <a:gd name="connsiteY153" fmla="*/ 19557 h 36230"/>
                <a:gd name="connsiteX154" fmla="*/ 20161 w 24669"/>
                <a:gd name="connsiteY154" fmla="*/ 19256 h 36230"/>
                <a:gd name="connsiteX155" fmla="*/ 20221 w 24669"/>
                <a:gd name="connsiteY155" fmla="*/ 19016 h 36230"/>
                <a:gd name="connsiteX156" fmla="*/ 20350 w 24669"/>
                <a:gd name="connsiteY156" fmla="*/ 19201 h 36230"/>
                <a:gd name="connsiteX157" fmla="*/ 20529 w 24669"/>
                <a:gd name="connsiteY157" fmla="*/ 18483 h 36230"/>
                <a:gd name="connsiteX158" fmla="*/ 21064 w 24669"/>
                <a:gd name="connsiteY158" fmla="*/ 18717 h 36230"/>
                <a:gd name="connsiteX159" fmla="*/ 21054 w 24669"/>
                <a:gd name="connsiteY159" fmla="*/ 18547 h 36230"/>
                <a:gd name="connsiteX160" fmla="*/ 20878 w 24669"/>
                <a:gd name="connsiteY160" fmla="*/ 18513 h 36230"/>
                <a:gd name="connsiteX161" fmla="*/ 21247 w 24669"/>
                <a:gd name="connsiteY161" fmla="*/ 18475 h 36230"/>
                <a:gd name="connsiteX162" fmla="*/ 21116 w 24669"/>
                <a:gd name="connsiteY162" fmla="*/ 18113 h 36230"/>
                <a:gd name="connsiteX163" fmla="*/ 21213 w 24669"/>
                <a:gd name="connsiteY163" fmla="*/ 18068 h 36230"/>
                <a:gd name="connsiteX164" fmla="*/ 21043 w 24669"/>
                <a:gd name="connsiteY164" fmla="*/ 18015 h 36230"/>
                <a:gd name="connsiteX165" fmla="*/ 21398 w 24669"/>
                <a:gd name="connsiteY165" fmla="*/ 17562 h 36230"/>
                <a:gd name="connsiteX166" fmla="*/ 21363 w 24669"/>
                <a:gd name="connsiteY166" fmla="*/ 16710 h 36230"/>
                <a:gd name="connsiteX167" fmla="*/ 21205 w 24669"/>
                <a:gd name="connsiteY167" fmla="*/ 16736 h 36230"/>
                <a:gd name="connsiteX168" fmla="*/ 21150 w 24669"/>
                <a:gd name="connsiteY168" fmla="*/ 17021 h 36230"/>
                <a:gd name="connsiteX169" fmla="*/ 20898 w 24669"/>
                <a:gd name="connsiteY169" fmla="*/ 16973 h 36230"/>
                <a:gd name="connsiteX170" fmla="*/ 20305 w 24669"/>
                <a:gd name="connsiteY170" fmla="*/ 17565 h 36230"/>
                <a:gd name="connsiteX171" fmla="*/ 20984 w 24669"/>
                <a:gd name="connsiteY171" fmla="*/ 16718 h 36230"/>
                <a:gd name="connsiteX172" fmla="*/ 20425 w 24669"/>
                <a:gd name="connsiteY172" fmla="*/ 16439 h 36230"/>
                <a:gd name="connsiteX173" fmla="*/ 20784 w 24669"/>
                <a:gd name="connsiteY173" fmla="*/ 16601 h 36230"/>
                <a:gd name="connsiteX174" fmla="*/ 20923 w 24669"/>
                <a:gd name="connsiteY174" fmla="*/ 16572 h 36230"/>
                <a:gd name="connsiteX175" fmla="*/ 20890 w 24669"/>
                <a:gd name="connsiteY175" fmla="*/ 15999 h 36230"/>
                <a:gd name="connsiteX176" fmla="*/ 21293 w 24669"/>
                <a:gd name="connsiteY176" fmla="*/ 15901 h 36230"/>
                <a:gd name="connsiteX177" fmla="*/ 21416 w 24669"/>
                <a:gd name="connsiteY177" fmla="*/ 16010 h 36230"/>
                <a:gd name="connsiteX178" fmla="*/ 21544 w 24669"/>
                <a:gd name="connsiteY178" fmla="*/ 15550 h 36230"/>
                <a:gd name="connsiteX179" fmla="*/ 21295 w 24669"/>
                <a:gd name="connsiteY179" fmla="*/ 15353 h 36230"/>
                <a:gd name="connsiteX180" fmla="*/ 21029 w 24669"/>
                <a:gd name="connsiteY180" fmla="*/ 15634 h 36230"/>
                <a:gd name="connsiteX181" fmla="*/ 20827 w 24669"/>
                <a:gd name="connsiteY181" fmla="*/ 15680 h 36230"/>
                <a:gd name="connsiteX182" fmla="*/ 21156 w 24669"/>
                <a:gd name="connsiteY182" fmla="*/ 15245 h 36230"/>
                <a:gd name="connsiteX183" fmla="*/ 20516 w 24669"/>
                <a:gd name="connsiteY183" fmla="*/ 15213 h 36230"/>
                <a:gd name="connsiteX184" fmla="*/ 20394 w 24669"/>
                <a:gd name="connsiteY184" fmla="*/ 15498 h 36230"/>
                <a:gd name="connsiteX185" fmla="*/ 20235 w 24669"/>
                <a:gd name="connsiteY185" fmla="*/ 15033 h 36230"/>
                <a:gd name="connsiteX186" fmla="*/ 21110 w 24669"/>
                <a:gd name="connsiteY186" fmla="*/ 14792 h 36230"/>
                <a:gd name="connsiteX187" fmla="*/ 21021 w 24669"/>
                <a:gd name="connsiteY187" fmla="*/ 14237 h 36230"/>
                <a:gd name="connsiteX188" fmla="*/ 20612 w 24669"/>
                <a:gd name="connsiteY188" fmla="*/ 14225 h 36230"/>
                <a:gd name="connsiteX189" fmla="*/ 20261 w 24669"/>
                <a:gd name="connsiteY189" fmla="*/ 13946 h 36230"/>
                <a:gd name="connsiteX190" fmla="*/ 19600 w 24669"/>
                <a:gd name="connsiteY190" fmla="*/ 14405 h 36230"/>
                <a:gd name="connsiteX191" fmla="*/ 19624 w 24669"/>
                <a:gd name="connsiteY191" fmla="*/ 14657 h 36230"/>
                <a:gd name="connsiteX192" fmla="*/ 19497 w 24669"/>
                <a:gd name="connsiteY192" fmla="*/ 14765 h 36230"/>
                <a:gd name="connsiteX193" fmla="*/ 19385 w 24669"/>
                <a:gd name="connsiteY193" fmla="*/ 14370 h 36230"/>
                <a:gd name="connsiteX194" fmla="*/ 19257 w 24669"/>
                <a:gd name="connsiteY194" fmla="*/ 14392 h 36230"/>
                <a:gd name="connsiteX195" fmla="*/ 19272 w 24669"/>
                <a:gd name="connsiteY195" fmla="*/ 14312 h 36230"/>
                <a:gd name="connsiteX196" fmla="*/ 18785 w 24669"/>
                <a:gd name="connsiteY196" fmla="*/ 13904 h 36230"/>
                <a:gd name="connsiteX197" fmla="*/ 18206 w 24669"/>
                <a:gd name="connsiteY197" fmla="*/ 14284 h 36230"/>
                <a:gd name="connsiteX198" fmla="*/ 18652 w 24669"/>
                <a:gd name="connsiteY198" fmla="*/ 13940 h 36230"/>
                <a:gd name="connsiteX199" fmla="*/ 18119 w 24669"/>
                <a:gd name="connsiteY199" fmla="*/ 13799 h 36230"/>
                <a:gd name="connsiteX200" fmla="*/ 18230 w 24669"/>
                <a:gd name="connsiteY200" fmla="*/ 13626 h 36230"/>
                <a:gd name="connsiteX201" fmla="*/ 18291 w 24669"/>
                <a:gd name="connsiteY201" fmla="*/ 13760 h 36230"/>
                <a:gd name="connsiteX202" fmla="*/ 18630 w 24669"/>
                <a:gd name="connsiteY202" fmla="*/ 13824 h 36230"/>
                <a:gd name="connsiteX203" fmla="*/ 18913 w 24669"/>
                <a:gd name="connsiteY203" fmla="*/ 13772 h 36230"/>
                <a:gd name="connsiteX204" fmla="*/ 19143 w 24669"/>
                <a:gd name="connsiteY204" fmla="*/ 14200 h 36230"/>
                <a:gd name="connsiteX205" fmla="*/ 19900 w 24669"/>
                <a:gd name="connsiteY205" fmla="*/ 13918 h 36230"/>
                <a:gd name="connsiteX206" fmla="*/ 19537 w 24669"/>
                <a:gd name="connsiteY206" fmla="*/ 13914 h 36230"/>
                <a:gd name="connsiteX207" fmla="*/ 19992 w 24669"/>
                <a:gd name="connsiteY207" fmla="*/ 13814 h 36230"/>
                <a:gd name="connsiteX208" fmla="*/ 19966 w 24669"/>
                <a:gd name="connsiteY208" fmla="*/ 13664 h 36230"/>
                <a:gd name="connsiteX209" fmla="*/ 20400 w 24669"/>
                <a:gd name="connsiteY209" fmla="*/ 13488 h 36230"/>
                <a:gd name="connsiteX210" fmla="*/ 20415 w 24669"/>
                <a:gd name="connsiteY210" fmla="*/ 13143 h 36230"/>
                <a:gd name="connsiteX211" fmla="*/ 19995 w 24669"/>
                <a:gd name="connsiteY211" fmla="*/ 13352 h 36230"/>
                <a:gd name="connsiteX212" fmla="*/ 19306 w 24669"/>
                <a:gd name="connsiteY212" fmla="*/ 13465 h 36230"/>
                <a:gd name="connsiteX213" fmla="*/ 19513 w 24669"/>
                <a:gd name="connsiteY213" fmla="*/ 13611 h 36230"/>
                <a:gd name="connsiteX214" fmla="*/ 18992 w 24669"/>
                <a:gd name="connsiteY214" fmla="*/ 13743 h 36230"/>
                <a:gd name="connsiteX215" fmla="*/ 19156 w 24669"/>
                <a:gd name="connsiteY215" fmla="*/ 13559 h 36230"/>
                <a:gd name="connsiteX216" fmla="*/ 18783 w 24669"/>
                <a:gd name="connsiteY216" fmla="*/ 13325 h 36230"/>
                <a:gd name="connsiteX217" fmla="*/ 18425 w 24669"/>
                <a:gd name="connsiteY217" fmla="*/ 13414 h 36230"/>
                <a:gd name="connsiteX218" fmla="*/ 18586 w 24669"/>
                <a:gd name="connsiteY218" fmla="*/ 13279 h 36230"/>
                <a:gd name="connsiteX219" fmla="*/ 18495 w 24669"/>
                <a:gd name="connsiteY219" fmla="*/ 13202 h 36230"/>
                <a:gd name="connsiteX220" fmla="*/ 18621 w 24669"/>
                <a:gd name="connsiteY220" fmla="*/ 13210 h 36230"/>
                <a:gd name="connsiteX221" fmla="*/ 18638 w 24669"/>
                <a:gd name="connsiteY221" fmla="*/ 13109 h 36230"/>
                <a:gd name="connsiteX222" fmla="*/ 18978 w 24669"/>
                <a:gd name="connsiteY222" fmla="*/ 13333 h 36230"/>
                <a:gd name="connsiteX223" fmla="*/ 19337 w 24669"/>
                <a:gd name="connsiteY223" fmla="*/ 12951 h 36230"/>
                <a:gd name="connsiteX224" fmla="*/ 18835 w 24669"/>
                <a:gd name="connsiteY224" fmla="*/ 12789 h 36230"/>
                <a:gd name="connsiteX225" fmla="*/ 19372 w 24669"/>
                <a:gd name="connsiteY225" fmla="*/ 12751 h 36230"/>
                <a:gd name="connsiteX226" fmla="*/ 20172 w 24669"/>
                <a:gd name="connsiteY226" fmla="*/ 12126 h 36230"/>
                <a:gd name="connsiteX227" fmla="*/ 19927 w 24669"/>
                <a:gd name="connsiteY227" fmla="*/ 11774 h 36230"/>
                <a:gd name="connsiteX228" fmla="*/ 20225 w 24669"/>
                <a:gd name="connsiteY228" fmla="*/ 11961 h 36230"/>
                <a:gd name="connsiteX229" fmla="*/ 20119 w 24669"/>
                <a:gd name="connsiteY229" fmla="*/ 11726 h 36230"/>
                <a:gd name="connsiteX230" fmla="*/ 20301 w 24669"/>
                <a:gd name="connsiteY230" fmla="*/ 11905 h 36230"/>
                <a:gd name="connsiteX231" fmla="*/ 20413 w 24669"/>
                <a:gd name="connsiteY231" fmla="*/ 11881 h 36230"/>
                <a:gd name="connsiteX232" fmla="*/ 20166 w 24669"/>
                <a:gd name="connsiteY232" fmla="*/ 11425 h 36230"/>
                <a:gd name="connsiteX233" fmla="*/ 20417 w 24669"/>
                <a:gd name="connsiteY233" fmla="*/ 11611 h 36230"/>
                <a:gd name="connsiteX234" fmla="*/ 20495 w 24669"/>
                <a:gd name="connsiteY234" fmla="*/ 11115 h 36230"/>
                <a:gd name="connsiteX235" fmla="*/ 20565 w 24669"/>
                <a:gd name="connsiteY235" fmla="*/ 10341 h 36230"/>
                <a:gd name="connsiteX236" fmla="*/ 20226 w 24669"/>
                <a:gd name="connsiteY236" fmla="*/ 10333 h 36230"/>
                <a:gd name="connsiteX237" fmla="*/ 20185 w 24669"/>
                <a:gd name="connsiteY237" fmla="*/ 10823 h 36230"/>
                <a:gd name="connsiteX238" fmla="*/ 20116 w 24669"/>
                <a:gd name="connsiteY238" fmla="*/ 10327 h 36230"/>
                <a:gd name="connsiteX239" fmla="*/ 19902 w 24669"/>
                <a:gd name="connsiteY239" fmla="*/ 10294 h 36230"/>
                <a:gd name="connsiteX240" fmla="*/ 19566 w 24669"/>
                <a:gd name="connsiteY240" fmla="*/ 10622 h 36230"/>
                <a:gd name="connsiteX241" fmla="*/ 19316 w 24669"/>
                <a:gd name="connsiteY241" fmla="*/ 11352 h 36230"/>
                <a:gd name="connsiteX242" fmla="*/ 18859 w 24669"/>
                <a:gd name="connsiteY242" fmla="*/ 11649 h 36230"/>
                <a:gd name="connsiteX243" fmla="*/ 18399 w 24669"/>
                <a:gd name="connsiteY243" fmla="*/ 11729 h 36230"/>
                <a:gd name="connsiteX244" fmla="*/ 18072 w 24669"/>
                <a:gd name="connsiteY244" fmla="*/ 12169 h 36230"/>
                <a:gd name="connsiteX245" fmla="*/ 17730 w 24669"/>
                <a:gd name="connsiteY245" fmla="*/ 12307 h 36230"/>
                <a:gd name="connsiteX246" fmla="*/ 18272 w 24669"/>
                <a:gd name="connsiteY246" fmla="*/ 11848 h 36230"/>
                <a:gd name="connsiteX247" fmla="*/ 18074 w 24669"/>
                <a:gd name="connsiteY247" fmla="*/ 11757 h 36230"/>
                <a:gd name="connsiteX248" fmla="*/ 18711 w 24669"/>
                <a:gd name="connsiteY248" fmla="*/ 11595 h 36230"/>
                <a:gd name="connsiteX249" fmla="*/ 19014 w 24669"/>
                <a:gd name="connsiteY249" fmla="*/ 11362 h 36230"/>
                <a:gd name="connsiteX250" fmla="*/ 18671 w 24669"/>
                <a:gd name="connsiteY250" fmla="*/ 11005 h 36230"/>
                <a:gd name="connsiteX251" fmla="*/ 18203 w 24669"/>
                <a:gd name="connsiteY251" fmla="*/ 10906 h 36230"/>
                <a:gd name="connsiteX252" fmla="*/ 18015 w 24669"/>
                <a:gd name="connsiteY252" fmla="*/ 11186 h 36230"/>
                <a:gd name="connsiteX253" fmla="*/ 18113 w 24669"/>
                <a:gd name="connsiteY253" fmla="*/ 10912 h 36230"/>
                <a:gd name="connsiteX254" fmla="*/ 17919 w 24669"/>
                <a:gd name="connsiteY254" fmla="*/ 10968 h 36230"/>
                <a:gd name="connsiteX255" fmla="*/ 17947 w 24669"/>
                <a:gd name="connsiteY255" fmla="*/ 10606 h 36230"/>
                <a:gd name="connsiteX256" fmla="*/ 17488 w 24669"/>
                <a:gd name="connsiteY256" fmla="*/ 10320 h 36230"/>
                <a:gd name="connsiteX257" fmla="*/ 17496 w 24669"/>
                <a:gd name="connsiteY257" fmla="*/ 10249 h 36230"/>
                <a:gd name="connsiteX258" fmla="*/ 17885 w 24669"/>
                <a:gd name="connsiteY258" fmla="*/ 10302 h 36230"/>
                <a:gd name="connsiteX259" fmla="*/ 18670 w 24669"/>
                <a:gd name="connsiteY259" fmla="*/ 10206 h 36230"/>
                <a:gd name="connsiteX260" fmla="*/ 18235 w 24669"/>
                <a:gd name="connsiteY260" fmla="*/ 10034 h 36230"/>
                <a:gd name="connsiteX261" fmla="*/ 17733 w 24669"/>
                <a:gd name="connsiteY261" fmla="*/ 9877 h 36230"/>
                <a:gd name="connsiteX262" fmla="*/ 18240 w 24669"/>
                <a:gd name="connsiteY262" fmla="*/ 9763 h 36230"/>
                <a:gd name="connsiteX263" fmla="*/ 18374 w 24669"/>
                <a:gd name="connsiteY263" fmla="*/ 10035 h 36230"/>
                <a:gd name="connsiteX264" fmla="*/ 18675 w 24669"/>
                <a:gd name="connsiteY264" fmla="*/ 10065 h 36230"/>
                <a:gd name="connsiteX265" fmla="*/ 19078 w 24669"/>
                <a:gd name="connsiteY265" fmla="*/ 10274 h 36230"/>
                <a:gd name="connsiteX266" fmla="*/ 19063 w 24669"/>
                <a:gd name="connsiteY266" fmla="*/ 10168 h 36230"/>
                <a:gd name="connsiteX267" fmla="*/ 19747 w 24669"/>
                <a:gd name="connsiteY267" fmla="*/ 9928 h 36230"/>
                <a:gd name="connsiteX268" fmla="*/ 20381 w 24669"/>
                <a:gd name="connsiteY268" fmla="*/ 9940 h 36230"/>
                <a:gd name="connsiteX269" fmla="*/ 19944 w 24669"/>
                <a:gd name="connsiteY269" fmla="*/ 9671 h 36230"/>
                <a:gd name="connsiteX270" fmla="*/ 19724 w 24669"/>
                <a:gd name="connsiteY270" fmla="*/ 9403 h 36230"/>
                <a:gd name="connsiteX271" fmla="*/ 19715 w 24669"/>
                <a:gd name="connsiteY271" fmla="*/ 9227 h 36230"/>
                <a:gd name="connsiteX272" fmla="*/ 19562 w 24669"/>
                <a:gd name="connsiteY272" fmla="*/ 9258 h 36230"/>
                <a:gd name="connsiteX273" fmla="*/ 19299 w 24669"/>
                <a:gd name="connsiteY273" fmla="*/ 8924 h 36230"/>
                <a:gd name="connsiteX274" fmla="*/ 19061 w 24669"/>
                <a:gd name="connsiteY274" fmla="*/ 8937 h 36230"/>
                <a:gd name="connsiteX275" fmla="*/ 19192 w 24669"/>
                <a:gd name="connsiteY275" fmla="*/ 8831 h 36230"/>
                <a:gd name="connsiteX276" fmla="*/ 19041 w 24669"/>
                <a:gd name="connsiteY276" fmla="*/ 8667 h 36230"/>
                <a:gd name="connsiteX277" fmla="*/ 18952 w 24669"/>
                <a:gd name="connsiteY277" fmla="*/ 8688 h 36230"/>
                <a:gd name="connsiteX278" fmla="*/ 18511 w 24669"/>
                <a:gd name="connsiteY278" fmla="*/ 8262 h 36230"/>
                <a:gd name="connsiteX279" fmla="*/ 18043 w 24669"/>
                <a:gd name="connsiteY279" fmla="*/ 8058 h 36230"/>
                <a:gd name="connsiteX280" fmla="*/ 17997 w 24669"/>
                <a:gd name="connsiteY280" fmla="*/ 8149 h 36230"/>
                <a:gd name="connsiteX281" fmla="*/ 17375 w 24669"/>
                <a:gd name="connsiteY281" fmla="*/ 7778 h 36230"/>
                <a:gd name="connsiteX282" fmla="*/ 17195 w 24669"/>
                <a:gd name="connsiteY282" fmla="*/ 7981 h 36230"/>
                <a:gd name="connsiteX283" fmla="*/ 17165 w 24669"/>
                <a:gd name="connsiteY283" fmla="*/ 7874 h 36230"/>
                <a:gd name="connsiteX284" fmla="*/ 17306 w 24669"/>
                <a:gd name="connsiteY284" fmla="*/ 7719 h 36230"/>
                <a:gd name="connsiteX285" fmla="*/ 17118 w 24669"/>
                <a:gd name="connsiteY285" fmla="*/ 7798 h 36230"/>
                <a:gd name="connsiteX286" fmla="*/ 17186 w 24669"/>
                <a:gd name="connsiteY286" fmla="*/ 7664 h 36230"/>
                <a:gd name="connsiteX287" fmla="*/ 16917 w 24669"/>
                <a:gd name="connsiteY287" fmla="*/ 7645 h 36230"/>
                <a:gd name="connsiteX288" fmla="*/ 16392 w 24669"/>
                <a:gd name="connsiteY288" fmla="*/ 7760 h 36230"/>
                <a:gd name="connsiteX289" fmla="*/ 16485 w 24669"/>
                <a:gd name="connsiteY289" fmla="*/ 7774 h 36230"/>
                <a:gd name="connsiteX290" fmla="*/ 16159 w 24669"/>
                <a:gd name="connsiteY290" fmla="*/ 8231 h 36230"/>
                <a:gd name="connsiteX291" fmla="*/ 16348 w 24669"/>
                <a:gd name="connsiteY291" fmla="*/ 7547 h 36230"/>
                <a:gd name="connsiteX292" fmla="*/ 16080 w 24669"/>
                <a:gd name="connsiteY292" fmla="*/ 7287 h 36230"/>
                <a:gd name="connsiteX293" fmla="*/ 15790 w 24669"/>
                <a:gd name="connsiteY293" fmla="*/ 6727 h 36230"/>
                <a:gd name="connsiteX294" fmla="*/ 15599 w 24669"/>
                <a:gd name="connsiteY294" fmla="*/ 6376 h 36230"/>
                <a:gd name="connsiteX295" fmla="*/ 15485 w 24669"/>
                <a:gd name="connsiteY295" fmla="*/ 6060 h 36230"/>
                <a:gd name="connsiteX296" fmla="*/ 15407 w 24669"/>
                <a:gd name="connsiteY296" fmla="*/ 6156 h 36230"/>
                <a:gd name="connsiteX297" fmla="*/ 15199 w 24669"/>
                <a:gd name="connsiteY297" fmla="*/ 5758 h 36230"/>
                <a:gd name="connsiteX298" fmla="*/ 15085 w 24669"/>
                <a:gd name="connsiteY298" fmla="*/ 5886 h 36230"/>
                <a:gd name="connsiteX299" fmla="*/ 15127 w 24669"/>
                <a:gd name="connsiteY299" fmla="*/ 5710 h 36230"/>
                <a:gd name="connsiteX300" fmla="*/ 14956 w 24669"/>
                <a:gd name="connsiteY300" fmla="*/ 5782 h 36230"/>
                <a:gd name="connsiteX301" fmla="*/ 14973 w 24669"/>
                <a:gd name="connsiteY301" fmla="*/ 5689 h 36230"/>
                <a:gd name="connsiteX302" fmla="*/ 14672 w 24669"/>
                <a:gd name="connsiteY302" fmla="*/ 5375 h 36230"/>
                <a:gd name="connsiteX303" fmla="*/ 14589 w 24669"/>
                <a:gd name="connsiteY303" fmla="*/ 5531 h 36230"/>
                <a:gd name="connsiteX304" fmla="*/ 14506 w 24669"/>
                <a:gd name="connsiteY304" fmla="*/ 5302 h 36230"/>
                <a:gd name="connsiteX305" fmla="*/ 14438 w 24669"/>
                <a:gd name="connsiteY305" fmla="*/ 5387 h 36230"/>
                <a:gd name="connsiteX306" fmla="*/ 14384 w 24669"/>
                <a:gd name="connsiteY306" fmla="*/ 5172 h 36230"/>
                <a:gd name="connsiteX307" fmla="*/ 14329 w 24669"/>
                <a:gd name="connsiteY307" fmla="*/ 5512 h 36230"/>
                <a:gd name="connsiteX308" fmla="*/ 13983 w 24669"/>
                <a:gd name="connsiteY308" fmla="*/ 5036 h 36230"/>
                <a:gd name="connsiteX309" fmla="*/ 14292 w 24669"/>
                <a:gd name="connsiteY309" fmla="*/ 5803 h 36230"/>
                <a:gd name="connsiteX310" fmla="*/ 13900 w 24669"/>
                <a:gd name="connsiteY310" fmla="*/ 5856 h 36230"/>
                <a:gd name="connsiteX311" fmla="*/ 14051 w 24669"/>
                <a:gd name="connsiteY311" fmla="*/ 5757 h 36230"/>
                <a:gd name="connsiteX312" fmla="*/ 13925 w 24669"/>
                <a:gd name="connsiteY312" fmla="*/ 5330 h 36230"/>
                <a:gd name="connsiteX313" fmla="*/ 13759 w 24669"/>
                <a:gd name="connsiteY313" fmla="*/ 5506 h 36230"/>
                <a:gd name="connsiteX314" fmla="*/ 13903 w 24669"/>
                <a:gd name="connsiteY314" fmla="*/ 5196 h 36230"/>
                <a:gd name="connsiteX315" fmla="*/ 13603 w 24669"/>
                <a:gd name="connsiteY315" fmla="*/ 5015 h 36230"/>
                <a:gd name="connsiteX316" fmla="*/ 13462 w 24669"/>
                <a:gd name="connsiteY316" fmla="*/ 5188 h 36230"/>
                <a:gd name="connsiteX317" fmla="*/ 13461 w 24669"/>
                <a:gd name="connsiteY317" fmla="*/ 5048 h 36230"/>
                <a:gd name="connsiteX318" fmla="*/ 13285 w 24669"/>
                <a:gd name="connsiteY318" fmla="*/ 5127 h 36230"/>
                <a:gd name="connsiteX319" fmla="*/ 13231 w 24669"/>
                <a:gd name="connsiteY319" fmla="*/ 4996 h 36230"/>
                <a:gd name="connsiteX320" fmla="*/ 13113 w 24669"/>
                <a:gd name="connsiteY320" fmla="*/ 5028 h 36230"/>
                <a:gd name="connsiteX321" fmla="*/ 13137 w 24669"/>
                <a:gd name="connsiteY321" fmla="*/ 4620 h 36230"/>
                <a:gd name="connsiteX322" fmla="*/ 12763 w 24669"/>
                <a:gd name="connsiteY322" fmla="*/ 4559 h 36230"/>
                <a:gd name="connsiteX323" fmla="*/ 12758 w 24669"/>
                <a:gd name="connsiteY323" fmla="*/ 4337 h 36230"/>
                <a:gd name="connsiteX324" fmla="*/ 12881 w 24669"/>
                <a:gd name="connsiteY324" fmla="*/ 4455 h 36230"/>
                <a:gd name="connsiteX325" fmla="*/ 13027 w 24669"/>
                <a:gd name="connsiteY325" fmla="*/ 3988 h 36230"/>
                <a:gd name="connsiteX326" fmla="*/ 12728 w 24669"/>
                <a:gd name="connsiteY326" fmla="*/ 3894 h 36230"/>
                <a:gd name="connsiteX327" fmla="*/ 12690 w 24669"/>
                <a:gd name="connsiteY327" fmla="*/ 3780 h 36230"/>
                <a:gd name="connsiteX328" fmla="*/ 12530 w 24669"/>
                <a:gd name="connsiteY328" fmla="*/ 3925 h 36230"/>
                <a:gd name="connsiteX329" fmla="*/ 12902 w 24669"/>
                <a:gd name="connsiteY329" fmla="*/ 3708 h 36230"/>
                <a:gd name="connsiteX330" fmla="*/ 12927 w 24669"/>
                <a:gd name="connsiteY330" fmla="*/ 3328 h 36230"/>
                <a:gd name="connsiteX331" fmla="*/ 12821 w 24669"/>
                <a:gd name="connsiteY331" fmla="*/ 3136 h 36230"/>
                <a:gd name="connsiteX332" fmla="*/ 12629 w 24669"/>
                <a:gd name="connsiteY332" fmla="*/ 3062 h 36230"/>
                <a:gd name="connsiteX333" fmla="*/ 12424 w 24669"/>
                <a:gd name="connsiteY333" fmla="*/ 2508 h 36230"/>
                <a:gd name="connsiteX334" fmla="*/ 11988 w 24669"/>
                <a:gd name="connsiteY334" fmla="*/ 2407 h 36230"/>
                <a:gd name="connsiteX335" fmla="*/ 12301 w 24669"/>
                <a:gd name="connsiteY335" fmla="*/ 2253 h 36230"/>
                <a:gd name="connsiteX336" fmla="*/ 12219 w 24669"/>
                <a:gd name="connsiteY336" fmla="*/ 2244 h 36230"/>
                <a:gd name="connsiteX337" fmla="*/ 12273 w 24669"/>
                <a:gd name="connsiteY337" fmla="*/ 1737 h 36230"/>
                <a:gd name="connsiteX338" fmla="*/ 12165 w 24669"/>
                <a:gd name="connsiteY338" fmla="*/ 1570 h 36230"/>
                <a:gd name="connsiteX339" fmla="*/ 12037 w 24669"/>
                <a:gd name="connsiteY339" fmla="*/ 1202 h 36230"/>
                <a:gd name="connsiteX340" fmla="*/ 12100 w 24669"/>
                <a:gd name="connsiteY340" fmla="*/ 1144 h 36230"/>
                <a:gd name="connsiteX341" fmla="*/ 12029 w 24669"/>
                <a:gd name="connsiteY341" fmla="*/ 1122 h 36230"/>
                <a:gd name="connsiteX342" fmla="*/ 12052 w 24669"/>
                <a:gd name="connsiteY342" fmla="*/ 1057 h 36230"/>
                <a:gd name="connsiteX343" fmla="*/ 12008 w 24669"/>
                <a:gd name="connsiteY343" fmla="*/ 1067 h 36230"/>
                <a:gd name="connsiteX344" fmla="*/ 12040 w 24669"/>
                <a:gd name="connsiteY344" fmla="*/ 777 h 36230"/>
                <a:gd name="connsiteX345" fmla="*/ 11865 w 24669"/>
                <a:gd name="connsiteY345" fmla="*/ 494 h 36230"/>
                <a:gd name="connsiteX346" fmla="*/ 11899 w 24669"/>
                <a:gd name="connsiteY346" fmla="*/ 185 h 36230"/>
                <a:gd name="connsiteX347" fmla="*/ 11584 w 24669"/>
                <a:gd name="connsiteY347" fmla="*/ 0 h 36230"/>
                <a:gd name="connsiteX348" fmla="*/ 11544 w 24669"/>
                <a:gd name="connsiteY348" fmla="*/ 0 h 36230"/>
                <a:gd name="connsiteX349" fmla="*/ 11118 w 24669"/>
                <a:gd name="connsiteY349" fmla="*/ 233 h 36230"/>
                <a:gd name="connsiteX350" fmla="*/ 11048 w 24669"/>
                <a:gd name="connsiteY350" fmla="*/ 543 h 36230"/>
                <a:gd name="connsiteX351" fmla="*/ 10832 w 24669"/>
                <a:gd name="connsiteY351" fmla="*/ 695 h 36230"/>
                <a:gd name="connsiteX352" fmla="*/ 10865 w 24669"/>
                <a:gd name="connsiteY352" fmla="*/ 782 h 36230"/>
                <a:gd name="connsiteX353" fmla="*/ 10535 w 24669"/>
                <a:gd name="connsiteY353" fmla="*/ 717 h 36230"/>
                <a:gd name="connsiteX354" fmla="*/ 10839 w 24669"/>
                <a:gd name="connsiteY354" fmla="*/ 845 h 36230"/>
                <a:gd name="connsiteX355" fmla="*/ 10549 w 24669"/>
                <a:gd name="connsiteY355" fmla="*/ 1019 h 36230"/>
                <a:gd name="connsiteX356" fmla="*/ 10557 w 24669"/>
                <a:gd name="connsiteY356" fmla="*/ 944 h 36230"/>
                <a:gd name="connsiteX357" fmla="*/ 10414 w 24669"/>
                <a:gd name="connsiteY357" fmla="*/ 800 h 36230"/>
                <a:gd name="connsiteX358" fmla="*/ 10328 w 24669"/>
                <a:gd name="connsiteY358" fmla="*/ 951 h 36230"/>
                <a:gd name="connsiteX359" fmla="*/ 9830 w 24669"/>
                <a:gd name="connsiteY359" fmla="*/ 788 h 36230"/>
                <a:gd name="connsiteX360" fmla="*/ 10061 w 24669"/>
                <a:gd name="connsiteY360" fmla="*/ 983 h 36230"/>
                <a:gd name="connsiteX361" fmla="*/ 9574 w 24669"/>
                <a:gd name="connsiteY361" fmla="*/ 1331 h 36230"/>
                <a:gd name="connsiteX362" fmla="*/ 9659 w 24669"/>
                <a:gd name="connsiteY362" fmla="*/ 1342 h 36230"/>
                <a:gd name="connsiteX363" fmla="*/ 9397 w 24669"/>
                <a:gd name="connsiteY363" fmla="*/ 1805 h 36230"/>
                <a:gd name="connsiteX364" fmla="*/ 9288 w 24669"/>
                <a:gd name="connsiteY364" fmla="*/ 1815 h 36230"/>
                <a:gd name="connsiteX365" fmla="*/ 9425 w 24669"/>
                <a:gd name="connsiteY365" fmla="*/ 1937 h 36230"/>
                <a:gd name="connsiteX366" fmla="*/ 8991 w 24669"/>
                <a:gd name="connsiteY366" fmla="*/ 2640 h 36230"/>
                <a:gd name="connsiteX367" fmla="*/ 8769 w 24669"/>
                <a:gd name="connsiteY367" fmla="*/ 2852 h 36230"/>
                <a:gd name="connsiteX368" fmla="*/ 8508 w 24669"/>
                <a:gd name="connsiteY368" fmla="*/ 3358 h 36230"/>
                <a:gd name="connsiteX369" fmla="*/ 8662 w 24669"/>
                <a:gd name="connsiteY369" fmla="*/ 3376 h 36230"/>
                <a:gd name="connsiteX370" fmla="*/ 8490 w 24669"/>
                <a:gd name="connsiteY370" fmla="*/ 3597 h 36230"/>
                <a:gd name="connsiteX371" fmla="*/ 8644 w 24669"/>
                <a:gd name="connsiteY371" fmla="*/ 3641 h 36230"/>
                <a:gd name="connsiteX372" fmla="*/ 8478 w 24669"/>
                <a:gd name="connsiteY372" fmla="*/ 3741 h 36230"/>
                <a:gd name="connsiteX373" fmla="*/ 8686 w 24669"/>
                <a:gd name="connsiteY373" fmla="*/ 3867 h 36230"/>
                <a:gd name="connsiteX374" fmla="*/ 8692 w 24669"/>
                <a:gd name="connsiteY374" fmla="*/ 3775 h 36230"/>
                <a:gd name="connsiteX375" fmla="*/ 8831 w 24669"/>
                <a:gd name="connsiteY375" fmla="*/ 4173 h 36230"/>
                <a:gd name="connsiteX376" fmla="*/ 8952 w 24669"/>
                <a:gd name="connsiteY376" fmla="*/ 4230 h 36230"/>
                <a:gd name="connsiteX377" fmla="*/ 9300 w 24669"/>
                <a:gd name="connsiteY377" fmla="*/ 3872 h 36230"/>
                <a:gd name="connsiteX378" fmla="*/ 9087 w 24669"/>
                <a:gd name="connsiteY378" fmla="*/ 4329 h 36230"/>
                <a:gd name="connsiteX379" fmla="*/ 8701 w 24669"/>
                <a:gd name="connsiteY379" fmla="*/ 4156 h 36230"/>
                <a:gd name="connsiteX380" fmla="*/ 8689 w 24669"/>
                <a:gd name="connsiteY380" fmla="*/ 4329 h 36230"/>
                <a:gd name="connsiteX381" fmla="*/ 8326 w 24669"/>
                <a:gd name="connsiteY381" fmla="*/ 3682 h 36230"/>
                <a:gd name="connsiteX382" fmla="*/ 8360 w 24669"/>
                <a:gd name="connsiteY382" fmla="*/ 4310 h 36230"/>
                <a:gd name="connsiteX383" fmla="*/ 8265 w 24669"/>
                <a:gd name="connsiteY383" fmla="*/ 4839 h 36230"/>
                <a:gd name="connsiteX384" fmla="*/ 8149 w 24669"/>
                <a:gd name="connsiteY384" fmla="*/ 4683 h 36230"/>
                <a:gd name="connsiteX385" fmla="*/ 8023 w 24669"/>
                <a:gd name="connsiteY385" fmla="*/ 5179 h 36230"/>
                <a:gd name="connsiteX386" fmla="*/ 7873 w 24669"/>
                <a:gd name="connsiteY386" fmla="*/ 5017 h 36230"/>
                <a:gd name="connsiteX387" fmla="*/ 7879 w 24669"/>
                <a:gd name="connsiteY387" fmla="*/ 5342 h 36230"/>
                <a:gd name="connsiteX388" fmla="*/ 7718 w 24669"/>
                <a:gd name="connsiteY388" fmla="*/ 5514 h 36230"/>
                <a:gd name="connsiteX389" fmla="*/ 7689 w 24669"/>
                <a:gd name="connsiteY389" fmla="*/ 5851 h 36230"/>
                <a:gd name="connsiteX390" fmla="*/ 7894 w 24669"/>
                <a:gd name="connsiteY390" fmla="*/ 6220 h 36230"/>
                <a:gd name="connsiteX391" fmla="*/ 7815 w 24669"/>
                <a:gd name="connsiteY391" fmla="*/ 6229 h 36230"/>
                <a:gd name="connsiteX392" fmla="*/ 7611 w 24669"/>
                <a:gd name="connsiteY392" fmla="*/ 6502 h 36230"/>
                <a:gd name="connsiteX393" fmla="*/ 7649 w 24669"/>
                <a:gd name="connsiteY393" fmla="*/ 6932 h 36230"/>
                <a:gd name="connsiteX394" fmla="*/ 7674 w 24669"/>
                <a:gd name="connsiteY394" fmla="*/ 7308 h 36230"/>
                <a:gd name="connsiteX395" fmla="*/ 7881 w 24669"/>
                <a:gd name="connsiteY395" fmla="*/ 7541 h 36230"/>
                <a:gd name="connsiteX396" fmla="*/ 7795 w 24669"/>
                <a:gd name="connsiteY396" fmla="*/ 7749 h 36230"/>
                <a:gd name="connsiteX397" fmla="*/ 8059 w 24669"/>
                <a:gd name="connsiteY397" fmla="*/ 7694 h 36230"/>
                <a:gd name="connsiteX398" fmla="*/ 7970 w 24669"/>
                <a:gd name="connsiteY398" fmla="*/ 7850 h 36230"/>
                <a:gd name="connsiteX399" fmla="*/ 7721 w 24669"/>
                <a:gd name="connsiteY399" fmla="*/ 7851 h 36230"/>
                <a:gd name="connsiteX400" fmla="*/ 7931 w 24669"/>
                <a:gd name="connsiteY400" fmla="*/ 7920 h 36230"/>
                <a:gd name="connsiteX401" fmla="*/ 7853 w 24669"/>
                <a:gd name="connsiteY401" fmla="*/ 8000 h 36230"/>
                <a:gd name="connsiteX402" fmla="*/ 7950 w 24669"/>
                <a:gd name="connsiteY402" fmla="*/ 8163 h 36230"/>
                <a:gd name="connsiteX403" fmla="*/ 8002 w 24669"/>
                <a:gd name="connsiteY403" fmla="*/ 7981 h 36230"/>
                <a:gd name="connsiteX404" fmla="*/ 8152 w 24669"/>
                <a:gd name="connsiteY404" fmla="*/ 8229 h 36230"/>
                <a:gd name="connsiteX405" fmla="*/ 7903 w 24669"/>
                <a:gd name="connsiteY405" fmla="*/ 8189 h 36230"/>
                <a:gd name="connsiteX406" fmla="*/ 7962 w 24669"/>
                <a:gd name="connsiteY406" fmla="*/ 8337 h 36230"/>
                <a:gd name="connsiteX407" fmla="*/ 8440 w 24669"/>
                <a:gd name="connsiteY407" fmla="*/ 8114 h 36230"/>
                <a:gd name="connsiteX408" fmla="*/ 8717 w 24669"/>
                <a:gd name="connsiteY408" fmla="*/ 8275 h 36230"/>
                <a:gd name="connsiteX409" fmla="*/ 8763 w 24669"/>
                <a:gd name="connsiteY409" fmla="*/ 8346 h 36230"/>
                <a:gd name="connsiteX410" fmla="*/ 8628 w 24669"/>
                <a:gd name="connsiteY410" fmla="*/ 8342 h 36230"/>
                <a:gd name="connsiteX411" fmla="*/ 8699 w 24669"/>
                <a:gd name="connsiteY411" fmla="*/ 8778 h 36230"/>
                <a:gd name="connsiteX412" fmla="*/ 9126 w 24669"/>
                <a:gd name="connsiteY412" fmla="*/ 8863 h 36230"/>
                <a:gd name="connsiteX413" fmla="*/ 8987 w 24669"/>
                <a:gd name="connsiteY413" fmla="*/ 8881 h 36230"/>
                <a:gd name="connsiteX414" fmla="*/ 8969 w 24669"/>
                <a:gd name="connsiteY414" fmla="*/ 8979 h 36230"/>
                <a:gd name="connsiteX415" fmla="*/ 8685 w 24669"/>
                <a:gd name="connsiteY415" fmla="*/ 8844 h 36230"/>
                <a:gd name="connsiteX416" fmla="*/ 8828 w 24669"/>
                <a:gd name="connsiteY416" fmla="*/ 9345 h 36230"/>
                <a:gd name="connsiteX417" fmla="*/ 9032 w 24669"/>
                <a:gd name="connsiteY417" fmla="*/ 9566 h 36230"/>
                <a:gd name="connsiteX418" fmla="*/ 8900 w 24669"/>
                <a:gd name="connsiteY418" fmla="*/ 9742 h 36230"/>
                <a:gd name="connsiteX419" fmla="*/ 8339 w 24669"/>
                <a:gd name="connsiteY419" fmla="*/ 9809 h 36230"/>
                <a:gd name="connsiteX420" fmla="*/ 7904 w 24669"/>
                <a:gd name="connsiteY420" fmla="*/ 10146 h 36230"/>
                <a:gd name="connsiteX421" fmla="*/ 7523 w 24669"/>
                <a:gd name="connsiteY421" fmla="*/ 10300 h 36230"/>
                <a:gd name="connsiteX422" fmla="*/ 7290 w 24669"/>
                <a:gd name="connsiteY422" fmla="*/ 10629 h 36230"/>
                <a:gd name="connsiteX423" fmla="*/ 7938 w 24669"/>
                <a:gd name="connsiteY423" fmla="*/ 10703 h 36230"/>
                <a:gd name="connsiteX424" fmla="*/ 8280 w 24669"/>
                <a:gd name="connsiteY424" fmla="*/ 10492 h 36230"/>
                <a:gd name="connsiteX425" fmla="*/ 8951 w 24669"/>
                <a:gd name="connsiteY425" fmla="*/ 10174 h 36230"/>
                <a:gd name="connsiteX426" fmla="*/ 8596 w 24669"/>
                <a:gd name="connsiteY426" fmla="*/ 10467 h 36230"/>
                <a:gd name="connsiteX427" fmla="*/ 8764 w 24669"/>
                <a:gd name="connsiteY427" fmla="*/ 10421 h 36230"/>
                <a:gd name="connsiteX428" fmla="*/ 8849 w 24669"/>
                <a:gd name="connsiteY428" fmla="*/ 10594 h 36230"/>
                <a:gd name="connsiteX429" fmla="*/ 8527 w 24669"/>
                <a:gd name="connsiteY429" fmla="*/ 10626 h 36230"/>
                <a:gd name="connsiteX430" fmla="*/ 8617 w 24669"/>
                <a:gd name="connsiteY430" fmla="*/ 10746 h 36230"/>
                <a:gd name="connsiteX431" fmla="*/ 8884 w 24669"/>
                <a:gd name="connsiteY431" fmla="*/ 10660 h 36230"/>
                <a:gd name="connsiteX432" fmla="*/ 8341 w 24669"/>
                <a:gd name="connsiteY432" fmla="*/ 11051 h 36230"/>
                <a:gd name="connsiteX433" fmla="*/ 8772 w 24669"/>
                <a:gd name="connsiteY433" fmla="*/ 10953 h 36230"/>
                <a:gd name="connsiteX434" fmla="*/ 8239 w 24669"/>
                <a:gd name="connsiteY434" fmla="*/ 11126 h 36230"/>
                <a:gd name="connsiteX435" fmla="*/ 8309 w 24669"/>
                <a:gd name="connsiteY435" fmla="*/ 11243 h 36230"/>
                <a:gd name="connsiteX436" fmla="*/ 8133 w 24669"/>
                <a:gd name="connsiteY436" fmla="*/ 11178 h 36230"/>
                <a:gd name="connsiteX437" fmla="*/ 8156 w 24669"/>
                <a:gd name="connsiteY437" fmla="*/ 11284 h 36230"/>
                <a:gd name="connsiteX438" fmla="*/ 7895 w 24669"/>
                <a:gd name="connsiteY438" fmla="*/ 11170 h 36230"/>
                <a:gd name="connsiteX439" fmla="*/ 7961 w 24669"/>
                <a:gd name="connsiteY439" fmla="*/ 11520 h 36230"/>
                <a:gd name="connsiteX440" fmla="*/ 8514 w 24669"/>
                <a:gd name="connsiteY440" fmla="*/ 11910 h 36230"/>
                <a:gd name="connsiteX441" fmla="*/ 8267 w 24669"/>
                <a:gd name="connsiteY441" fmla="*/ 11775 h 36230"/>
                <a:gd name="connsiteX442" fmla="*/ 7855 w 24669"/>
                <a:gd name="connsiteY442" fmla="*/ 11878 h 36230"/>
                <a:gd name="connsiteX443" fmla="*/ 8008 w 24669"/>
                <a:gd name="connsiteY443" fmla="*/ 12162 h 36230"/>
                <a:gd name="connsiteX444" fmla="*/ 7821 w 24669"/>
                <a:gd name="connsiteY444" fmla="*/ 11988 h 36230"/>
                <a:gd name="connsiteX445" fmla="*/ 7799 w 24669"/>
                <a:gd name="connsiteY445" fmla="*/ 12138 h 36230"/>
                <a:gd name="connsiteX446" fmla="*/ 7630 w 24669"/>
                <a:gd name="connsiteY446" fmla="*/ 11823 h 36230"/>
                <a:gd name="connsiteX447" fmla="*/ 7501 w 24669"/>
                <a:gd name="connsiteY447" fmla="*/ 11853 h 36230"/>
                <a:gd name="connsiteX448" fmla="*/ 7597 w 24669"/>
                <a:gd name="connsiteY448" fmla="*/ 11535 h 36230"/>
                <a:gd name="connsiteX449" fmla="*/ 6978 w 24669"/>
                <a:gd name="connsiteY449" fmla="*/ 11496 h 36230"/>
                <a:gd name="connsiteX450" fmla="*/ 6796 w 24669"/>
                <a:gd name="connsiteY450" fmla="*/ 11878 h 36230"/>
                <a:gd name="connsiteX451" fmla="*/ 7003 w 24669"/>
                <a:gd name="connsiteY451" fmla="*/ 12039 h 36230"/>
                <a:gd name="connsiteX452" fmla="*/ 6844 w 24669"/>
                <a:gd name="connsiteY452" fmla="*/ 12056 h 36230"/>
                <a:gd name="connsiteX453" fmla="*/ 6827 w 24669"/>
                <a:gd name="connsiteY453" fmla="*/ 12153 h 36230"/>
                <a:gd name="connsiteX454" fmla="*/ 7216 w 24669"/>
                <a:gd name="connsiteY454" fmla="*/ 12130 h 36230"/>
                <a:gd name="connsiteX455" fmla="*/ 6875 w 24669"/>
                <a:gd name="connsiteY455" fmla="*/ 12243 h 36230"/>
                <a:gd name="connsiteX456" fmla="*/ 7202 w 24669"/>
                <a:gd name="connsiteY456" fmla="*/ 12768 h 36230"/>
                <a:gd name="connsiteX457" fmla="*/ 6844 w 24669"/>
                <a:gd name="connsiteY457" fmla="*/ 12463 h 36230"/>
                <a:gd name="connsiteX458" fmla="*/ 7059 w 24669"/>
                <a:gd name="connsiteY458" fmla="*/ 12713 h 36230"/>
                <a:gd name="connsiteX459" fmla="*/ 6872 w 24669"/>
                <a:gd name="connsiteY459" fmla="*/ 12838 h 36230"/>
                <a:gd name="connsiteX460" fmla="*/ 7266 w 24669"/>
                <a:gd name="connsiteY460" fmla="*/ 13231 h 36230"/>
                <a:gd name="connsiteX461" fmla="*/ 7074 w 24669"/>
                <a:gd name="connsiteY461" fmla="*/ 13078 h 36230"/>
                <a:gd name="connsiteX462" fmla="*/ 7096 w 24669"/>
                <a:gd name="connsiteY462" fmla="*/ 13195 h 36230"/>
                <a:gd name="connsiteX463" fmla="*/ 6875 w 24669"/>
                <a:gd name="connsiteY463" fmla="*/ 13018 h 36230"/>
                <a:gd name="connsiteX464" fmla="*/ 6845 w 24669"/>
                <a:gd name="connsiteY464" fmla="*/ 13174 h 36230"/>
                <a:gd name="connsiteX465" fmla="*/ 7194 w 24669"/>
                <a:gd name="connsiteY465" fmla="*/ 13287 h 36230"/>
                <a:gd name="connsiteX466" fmla="*/ 7119 w 24669"/>
                <a:gd name="connsiteY466" fmla="*/ 13647 h 36230"/>
                <a:gd name="connsiteX467" fmla="*/ 7054 w 24669"/>
                <a:gd name="connsiteY467" fmla="*/ 13469 h 36230"/>
                <a:gd name="connsiteX468" fmla="*/ 6866 w 24669"/>
                <a:gd name="connsiteY468" fmla="*/ 13710 h 36230"/>
                <a:gd name="connsiteX469" fmla="*/ 7065 w 24669"/>
                <a:gd name="connsiteY469" fmla="*/ 13888 h 36230"/>
                <a:gd name="connsiteX470" fmla="*/ 6926 w 24669"/>
                <a:gd name="connsiteY470" fmla="*/ 14129 h 36230"/>
                <a:gd name="connsiteX471" fmla="*/ 6687 w 24669"/>
                <a:gd name="connsiteY471" fmla="*/ 14320 h 36230"/>
                <a:gd name="connsiteX472" fmla="*/ 6736 w 24669"/>
                <a:gd name="connsiteY472" fmla="*/ 14384 h 36230"/>
                <a:gd name="connsiteX473" fmla="*/ 6949 w 24669"/>
                <a:gd name="connsiteY473" fmla="*/ 14259 h 36230"/>
                <a:gd name="connsiteX474" fmla="*/ 6740 w 24669"/>
                <a:gd name="connsiteY474" fmla="*/ 14512 h 36230"/>
                <a:gd name="connsiteX475" fmla="*/ 6795 w 24669"/>
                <a:gd name="connsiteY475" fmla="*/ 14749 h 36230"/>
                <a:gd name="connsiteX476" fmla="*/ 6590 w 24669"/>
                <a:gd name="connsiteY476" fmla="*/ 14621 h 36230"/>
                <a:gd name="connsiteX477" fmla="*/ 6591 w 24669"/>
                <a:gd name="connsiteY477" fmla="*/ 14746 h 36230"/>
                <a:gd name="connsiteX478" fmla="*/ 6401 w 24669"/>
                <a:gd name="connsiteY478" fmla="*/ 14685 h 36230"/>
                <a:gd name="connsiteX479" fmla="*/ 6496 w 24669"/>
                <a:gd name="connsiteY479" fmla="*/ 14866 h 36230"/>
                <a:gd name="connsiteX480" fmla="*/ 6902 w 24669"/>
                <a:gd name="connsiteY480" fmla="*/ 14776 h 36230"/>
                <a:gd name="connsiteX481" fmla="*/ 6657 w 24669"/>
                <a:gd name="connsiteY481" fmla="*/ 15046 h 36230"/>
                <a:gd name="connsiteX482" fmla="*/ 6675 w 24669"/>
                <a:gd name="connsiteY482" fmla="*/ 15362 h 36230"/>
                <a:gd name="connsiteX483" fmla="*/ 6207 w 24669"/>
                <a:gd name="connsiteY483" fmla="*/ 15159 h 36230"/>
                <a:gd name="connsiteX484" fmla="*/ 6626 w 24669"/>
                <a:gd name="connsiteY484" fmla="*/ 15449 h 36230"/>
                <a:gd name="connsiteX485" fmla="*/ 6460 w 24669"/>
                <a:gd name="connsiteY485" fmla="*/ 15505 h 36230"/>
                <a:gd name="connsiteX486" fmla="*/ 6728 w 24669"/>
                <a:gd name="connsiteY486" fmla="*/ 15579 h 36230"/>
                <a:gd name="connsiteX487" fmla="*/ 6425 w 24669"/>
                <a:gd name="connsiteY487" fmla="*/ 15636 h 36230"/>
                <a:gd name="connsiteX488" fmla="*/ 6586 w 24669"/>
                <a:gd name="connsiteY488" fmla="*/ 15704 h 36230"/>
                <a:gd name="connsiteX489" fmla="*/ 6130 w 24669"/>
                <a:gd name="connsiteY489" fmla="*/ 15718 h 36230"/>
                <a:gd name="connsiteX490" fmla="*/ 6662 w 24669"/>
                <a:gd name="connsiteY490" fmla="*/ 15712 h 36230"/>
                <a:gd name="connsiteX491" fmla="*/ 6308 w 24669"/>
                <a:gd name="connsiteY491" fmla="*/ 16082 h 36230"/>
                <a:gd name="connsiteX492" fmla="*/ 6391 w 24669"/>
                <a:gd name="connsiteY492" fmla="*/ 16264 h 36230"/>
                <a:gd name="connsiteX493" fmla="*/ 5887 w 24669"/>
                <a:gd name="connsiteY493" fmla="*/ 16596 h 36230"/>
                <a:gd name="connsiteX494" fmla="*/ 5948 w 24669"/>
                <a:gd name="connsiteY494" fmla="*/ 16747 h 36230"/>
                <a:gd name="connsiteX495" fmla="*/ 5764 w 24669"/>
                <a:gd name="connsiteY495" fmla="*/ 17086 h 36230"/>
                <a:gd name="connsiteX496" fmla="*/ 5674 w 24669"/>
                <a:gd name="connsiteY496" fmla="*/ 17057 h 36230"/>
                <a:gd name="connsiteX497" fmla="*/ 5837 w 24669"/>
                <a:gd name="connsiteY497" fmla="*/ 17329 h 36230"/>
                <a:gd name="connsiteX498" fmla="*/ 5741 w 24669"/>
                <a:gd name="connsiteY498" fmla="*/ 17637 h 36230"/>
                <a:gd name="connsiteX499" fmla="*/ 5511 w 24669"/>
                <a:gd name="connsiteY499" fmla="*/ 17684 h 36230"/>
                <a:gd name="connsiteX500" fmla="*/ 5442 w 24669"/>
                <a:gd name="connsiteY500" fmla="*/ 17894 h 36230"/>
                <a:gd name="connsiteX501" fmla="*/ 5286 w 24669"/>
                <a:gd name="connsiteY501" fmla="*/ 17875 h 36230"/>
                <a:gd name="connsiteX502" fmla="*/ 4920 w 24669"/>
                <a:gd name="connsiteY502" fmla="*/ 18244 h 36230"/>
                <a:gd name="connsiteX503" fmla="*/ 4329 w 24669"/>
                <a:gd name="connsiteY503" fmla="*/ 18501 h 36230"/>
                <a:gd name="connsiteX504" fmla="*/ 4021 w 24669"/>
                <a:gd name="connsiteY504" fmla="*/ 18501 h 36230"/>
                <a:gd name="connsiteX505" fmla="*/ 3967 w 24669"/>
                <a:gd name="connsiteY505" fmla="*/ 18639 h 36230"/>
                <a:gd name="connsiteX506" fmla="*/ 3827 w 24669"/>
                <a:gd name="connsiteY506" fmla="*/ 18592 h 36230"/>
                <a:gd name="connsiteX507" fmla="*/ 3880 w 24669"/>
                <a:gd name="connsiteY507" fmla="*/ 18705 h 36230"/>
                <a:gd name="connsiteX508" fmla="*/ 3776 w 24669"/>
                <a:gd name="connsiteY508" fmla="*/ 18718 h 36230"/>
                <a:gd name="connsiteX509" fmla="*/ 3499 w 24669"/>
                <a:gd name="connsiteY509" fmla="*/ 18324 h 36230"/>
                <a:gd name="connsiteX510" fmla="*/ 3416 w 24669"/>
                <a:gd name="connsiteY510" fmla="*/ 18706 h 36230"/>
                <a:gd name="connsiteX511" fmla="*/ 3272 w 24669"/>
                <a:gd name="connsiteY511" fmla="*/ 18496 h 36230"/>
                <a:gd name="connsiteX512" fmla="*/ 3299 w 24669"/>
                <a:gd name="connsiteY512" fmla="*/ 18334 h 36230"/>
                <a:gd name="connsiteX513" fmla="*/ 3155 w 24669"/>
                <a:gd name="connsiteY513" fmla="*/ 18386 h 36230"/>
                <a:gd name="connsiteX514" fmla="*/ 2900 w 24669"/>
                <a:gd name="connsiteY514" fmla="*/ 18173 h 36230"/>
                <a:gd name="connsiteX515" fmla="*/ 2885 w 24669"/>
                <a:gd name="connsiteY515" fmla="*/ 18546 h 36230"/>
                <a:gd name="connsiteX516" fmla="*/ 2665 w 24669"/>
                <a:gd name="connsiteY516" fmla="*/ 18583 h 36230"/>
                <a:gd name="connsiteX517" fmla="*/ 2556 w 24669"/>
                <a:gd name="connsiteY517" fmla="*/ 18260 h 36230"/>
                <a:gd name="connsiteX518" fmla="*/ 2343 w 24669"/>
                <a:gd name="connsiteY518" fmla="*/ 18570 h 36230"/>
                <a:gd name="connsiteX519" fmla="*/ 2233 w 24669"/>
                <a:gd name="connsiteY519" fmla="*/ 18411 h 36230"/>
                <a:gd name="connsiteX520" fmla="*/ 2439 w 24669"/>
                <a:gd name="connsiteY520" fmla="*/ 18116 h 36230"/>
                <a:gd name="connsiteX521" fmla="*/ 1693 w 24669"/>
                <a:gd name="connsiteY521" fmla="*/ 18351 h 36230"/>
                <a:gd name="connsiteX522" fmla="*/ 1279 w 24669"/>
                <a:gd name="connsiteY522" fmla="*/ 18767 h 36230"/>
                <a:gd name="connsiteX523" fmla="*/ 1932 w 24669"/>
                <a:gd name="connsiteY523" fmla="*/ 19120 h 36230"/>
                <a:gd name="connsiteX524" fmla="*/ 1943 w 24669"/>
                <a:gd name="connsiteY524" fmla="*/ 19294 h 36230"/>
                <a:gd name="connsiteX525" fmla="*/ 1090 w 24669"/>
                <a:gd name="connsiteY525" fmla="*/ 19430 h 36230"/>
                <a:gd name="connsiteX526" fmla="*/ 1220 w 24669"/>
                <a:gd name="connsiteY526" fmla="*/ 19750 h 36230"/>
                <a:gd name="connsiteX527" fmla="*/ 870 w 24669"/>
                <a:gd name="connsiteY527" fmla="*/ 19481 h 36230"/>
                <a:gd name="connsiteX528" fmla="*/ 805 w 24669"/>
                <a:gd name="connsiteY528" fmla="*/ 19718 h 36230"/>
                <a:gd name="connsiteX529" fmla="*/ 580 w 24669"/>
                <a:gd name="connsiteY529" fmla="*/ 19838 h 36230"/>
                <a:gd name="connsiteX530" fmla="*/ 800 w 24669"/>
                <a:gd name="connsiteY530" fmla="*/ 20110 h 36230"/>
                <a:gd name="connsiteX531" fmla="*/ 773 w 24669"/>
                <a:gd name="connsiteY531" fmla="*/ 20186 h 36230"/>
                <a:gd name="connsiteX532" fmla="*/ 1933 w 24669"/>
                <a:gd name="connsiteY532" fmla="*/ 20139 h 36230"/>
                <a:gd name="connsiteX533" fmla="*/ 1483 w 24669"/>
                <a:gd name="connsiteY533" fmla="*/ 20328 h 36230"/>
                <a:gd name="connsiteX534" fmla="*/ 2023 w 24669"/>
                <a:gd name="connsiteY534" fmla="*/ 20530 h 36230"/>
                <a:gd name="connsiteX535" fmla="*/ 2520 w 24669"/>
                <a:gd name="connsiteY535" fmla="*/ 20412 h 36230"/>
                <a:gd name="connsiteX536" fmla="*/ 2494 w 24669"/>
                <a:gd name="connsiteY536" fmla="*/ 20593 h 36230"/>
                <a:gd name="connsiteX537" fmla="*/ 2710 w 24669"/>
                <a:gd name="connsiteY537" fmla="*/ 20652 h 36230"/>
                <a:gd name="connsiteX538" fmla="*/ 2344 w 24669"/>
                <a:gd name="connsiteY538" fmla="*/ 21109 h 36230"/>
                <a:gd name="connsiteX539" fmla="*/ 2166 w 24669"/>
                <a:gd name="connsiteY539" fmla="*/ 20842 h 36230"/>
                <a:gd name="connsiteX540" fmla="*/ 1821 w 24669"/>
                <a:gd name="connsiteY540" fmla="*/ 20777 h 36230"/>
                <a:gd name="connsiteX541" fmla="*/ 1616 w 24669"/>
                <a:gd name="connsiteY541" fmla="*/ 21086 h 36230"/>
                <a:gd name="connsiteX542" fmla="*/ 1653 w 24669"/>
                <a:gd name="connsiteY542" fmla="*/ 20759 h 36230"/>
                <a:gd name="connsiteX543" fmla="*/ 1028 w 24669"/>
                <a:gd name="connsiteY543" fmla="*/ 20848 h 36230"/>
                <a:gd name="connsiteX544" fmla="*/ 1386 w 24669"/>
                <a:gd name="connsiteY544" fmla="*/ 21167 h 36230"/>
                <a:gd name="connsiteX545" fmla="*/ 841 w 24669"/>
                <a:gd name="connsiteY545" fmla="*/ 21083 h 36230"/>
                <a:gd name="connsiteX546" fmla="*/ 1162 w 24669"/>
                <a:gd name="connsiteY546" fmla="*/ 21384 h 36230"/>
                <a:gd name="connsiteX547" fmla="*/ 1040 w 24669"/>
                <a:gd name="connsiteY547" fmla="*/ 21444 h 36230"/>
                <a:gd name="connsiteX548" fmla="*/ 585 w 24669"/>
                <a:gd name="connsiteY548" fmla="*/ 21228 h 36230"/>
                <a:gd name="connsiteX549" fmla="*/ 632 w 24669"/>
                <a:gd name="connsiteY549" fmla="*/ 21445 h 36230"/>
                <a:gd name="connsiteX550" fmla="*/ 480 w 24669"/>
                <a:gd name="connsiteY550" fmla="*/ 21424 h 36230"/>
                <a:gd name="connsiteX551" fmla="*/ 495 w 24669"/>
                <a:gd name="connsiteY551" fmla="*/ 21543 h 36230"/>
                <a:gd name="connsiteX552" fmla="*/ 311 w 24669"/>
                <a:gd name="connsiteY552" fmla="*/ 21495 h 36230"/>
                <a:gd name="connsiteX553" fmla="*/ 0 w 24669"/>
                <a:gd name="connsiteY553" fmla="*/ 21955 h 36230"/>
                <a:gd name="connsiteX554" fmla="*/ 92 w 24669"/>
                <a:gd name="connsiteY554" fmla="*/ 22640 h 36230"/>
                <a:gd name="connsiteX555" fmla="*/ 172 w 24669"/>
                <a:gd name="connsiteY555" fmla="*/ 22725 h 36230"/>
                <a:gd name="connsiteX556" fmla="*/ 942 w 24669"/>
                <a:gd name="connsiteY556" fmla="*/ 23088 h 36230"/>
                <a:gd name="connsiteX557" fmla="*/ 1579 w 24669"/>
                <a:gd name="connsiteY557" fmla="*/ 23420 h 36230"/>
                <a:gd name="connsiteX558" fmla="*/ 1479 w 24669"/>
                <a:gd name="connsiteY558" fmla="*/ 23585 h 36230"/>
                <a:gd name="connsiteX559" fmla="*/ 2212 w 24669"/>
                <a:gd name="connsiteY559" fmla="*/ 23971 h 36230"/>
                <a:gd name="connsiteX560" fmla="*/ 2687 w 24669"/>
                <a:gd name="connsiteY560" fmla="*/ 23945 h 36230"/>
                <a:gd name="connsiteX561" fmla="*/ 3158 w 24669"/>
                <a:gd name="connsiteY561" fmla="*/ 24727 h 36230"/>
                <a:gd name="connsiteX562" fmla="*/ 3134 w 24669"/>
                <a:gd name="connsiteY562" fmla="*/ 25302 h 36230"/>
                <a:gd name="connsiteX563" fmla="*/ 3132 w 24669"/>
                <a:gd name="connsiteY563" fmla="*/ 25873 h 36230"/>
                <a:gd name="connsiteX564" fmla="*/ 3632 w 24669"/>
                <a:gd name="connsiteY564" fmla="*/ 26164 h 36230"/>
                <a:gd name="connsiteX565" fmla="*/ 3495 w 24669"/>
                <a:gd name="connsiteY565" fmla="*/ 26266 h 36230"/>
                <a:gd name="connsiteX566" fmla="*/ 3350 w 24669"/>
                <a:gd name="connsiteY566" fmla="*/ 26040 h 36230"/>
                <a:gd name="connsiteX567" fmla="*/ 3050 w 24669"/>
                <a:gd name="connsiteY567" fmla="*/ 26060 h 36230"/>
                <a:gd name="connsiteX568" fmla="*/ 2779 w 24669"/>
                <a:gd name="connsiteY568" fmla="*/ 25900 h 36230"/>
                <a:gd name="connsiteX569" fmla="*/ 2578 w 24669"/>
                <a:gd name="connsiteY569" fmla="*/ 26102 h 36230"/>
                <a:gd name="connsiteX570" fmla="*/ 2318 w 24669"/>
                <a:gd name="connsiteY570" fmla="*/ 26049 h 36230"/>
                <a:gd name="connsiteX571" fmla="*/ 2136 w 24669"/>
                <a:gd name="connsiteY571" fmla="*/ 26602 h 36230"/>
                <a:gd name="connsiteX572" fmla="*/ 2331 w 24669"/>
                <a:gd name="connsiteY572" fmla="*/ 26922 h 36230"/>
                <a:gd name="connsiteX573" fmla="*/ 2876 w 24669"/>
                <a:gd name="connsiteY573" fmla="*/ 27509 h 36230"/>
                <a:gd name="connsiteX574" fmla="*/ 2802 w 24669"/>
                <a:gd name="connsiteY574" fmla="*/ 27584 h 36230"/>
                <a:gd name="connsiteX575" fmla="*/ 3109 w 24669"/>
                <a:gd name="connsiteY575" fmla="*/ 27773 h 36230"/>
                <a:gd name="connsiteX576" fmla="*/ 3426 w 24669"/>
                <a:gd name="connsiteY576" fmla="*/ 28370 h 36230"/>
                <a:gd name="connsiteX577" fmla="*/ 3713 w 24669"/>
                <a:gd name="connsiteY577" fmla="*/ 28874 h 36230"/>
                <a:gd name="connsiteX578" fmla="*/ 4467 w 24669"/>
                <a:gd name="connsiteY578" fmla="*/ 28045 h 36230"/>
                <a:gd name="connsiteX579" fmla="*/ 4888 w 24669"/>
                <a:gd name="connsiteY579" fmla="*/ 28122 h 36230"/>
                <a:gd name="connsiteX580" fmla="*/ 4435 w 24669"/>
                <a:gd name="connsiteY580" fmla="*/ 29041 h 36230"/>
                <a:gd name="connsiteX581" fmla="*/ 4575 w 24669"/>
                <a:gd name="connsiteY581" fmla="*/ 29655 h 36230"/>
                <a:gd name="connsiteX582" fmla="*/ 4360 w 24669"/>
                <a:gd name="connsiteY582" fmla="*/ 30394 h 36230"/>
                <a:gd name="connsiteX583" fmla="*/ 4902 w 24669"/>
                <a:gd name="connsiteY583" fmla="*/ 30653 h 36230"/>
                <a:gd name="connsiteX584" fmla="*/ 5294 w 24669"/>
                <a:gd name="connsiteY584" fmla="*/ 29834 h 36230"/>
                <a:gd name="connsiteX585" fmla="*/ 5776 w 24669"/>
                <a:gd name="connsiteY585" fmla="*/ 29835 h 36230"/>
                <a:gd name="connsiteX586" fmla="*/ 6023 w 24669"/>
                <a:gd name="connsiteY586" fmla="*/ 29562 h 36230"/>
                <a:gd name="connsiteX587" fmla="*/ 5555 w 24669"/>
                <a:gd name="connsiteY587" fmla="*/ 30066 h 36230"/>
                <a:gd name="connsiteX588" fmla="*/ 5166 w 24669"/>
                <a:gd name="connsiteY588" fmla="*/ 30522 h 36230"/>
                <a:gd name="connsiteX589" fmla="*/ 4803 w 24669"/>
                <a:gd name="connsiteY589" fmla="*/ 30921 h 36230"/>
                <a:gd name="connsiteX590" fmla="*/ 6155 w 24669"/>
                <a:gd name="connsiteY590" fmla="*/ 31447 h 36230"/>
                <a:gd name="connsiteX591" fmla="*/ 6174 w 24669"/>
                <a:gd name="connsiteY591" fmla="*/ 31550 h 36230"/>
                <a:gd name="connsiteX592" fmla="*/ 6434 w 24669"/>
                <a:gd name="connsiteY592" fmla="*/ 31587 h 36230"/>
                <a:gd name="connsiteX593" fmla="*/ 6925 w 24669"/>
                <a:gd name="connsiteY593" fmla="*/ 31919 h 36230"/>
                <a:gd name="connsiteX594" fmla="*/ 6999 w 24669"/>
                <a:gd name="connsiteY594" fmla="*/ 31648 h 36230"/>
                <a:gd name="connsiteX595" fmla="*/ 7121 w 24669"/>
                <a:gd name="connsiteY595" fmla="*/ 30034 h 36230"/>
                <a:gd name="connsiteX596" fmla="*/ 7389 w 24669"/>
                <a:gd name="connsiteY596" fmla="*/ 30290 h 36230"/>
                <a:gd name="connsiteX597" fmla="*/ 7402 w 24669"/>
                <a:gd name="connsiteY597" fmla="*/ 30858 h 36230"/>
                <a:gd name="connsiteX598" fmla="*/ 8066 w 24669"/>
                <a:gd name="connsiteY598" fmla="*/ 30676 h 36230"/>
                <a:gd name="connsiteX599" fmla="*/ 8482 w 24669"/>
                <a:gd name="connsiteY599" fmla="*/ 30262 h 36230"/>
                <a:gd name="connsiteX600" fmla="*/ 8261 w 24669"/>
                <a:gd name="connsiteY600" fmla="*/ 30764 h 36230"/>
                <a:gd name="connsiteX601" fmla="*/ 8869 w 24669"/>
                <a:gd name="connsiteY601" fmla="*/ 30520 h 36230"/>
                <a:gd name="connsiteX602" fmla="*/ 8818 w 24669"/>
                <a:gd name="connsiteY602" fmla="*/ 30817 h 36230"/>
                <a:gd name="connsiteX603" fmla="*/ 8380 w 24669"/>
                <a:gd name="connsiteY603" fmla="*/ 31681 h 36230"/>
                <a:gd name="connsiteX604" fmla="*/ 8230 w 24669"/>
                <a:gd name="connsiteY604" fmla="*/ 32413 h 36230"/>
                <a:gd name="connsiteX605" fmla="*/ 8834 w 24669"/>
                <a:gd name="connsiteY605" fmla="*/ 32393 h 36230"/>
                <a:gd name="connsiteX606" fmla="*/ 9155 w 24669"/>
                <a:gd name="connsiteY606" fmla="*/ 32001 h 36230"/>
                <a:gd name="connsiteX607" fmla="*/ 9650 w 24669"/>
                <a:gd name="connsiteY607" fmla="*/ 31418 h 36230"/>
                <a:gd name="connsiteX608" fmla="*/ 10097 w 24669"/>
                <a:gd name="connsiteY608" fmla="*/ 31216 h 36230"/>
                <a:gd name="connsiteX609" fmla="*/ 10359 w 24669"/>
                <a:gd name="connsiteY609" fmla="*/ 30669 h 36230"/>
                <a:gd name="connsiteX610" fmla="*/ 10859 w 24669"/>
                <a:gd name="connsiteY610" fmla="*/ 30166 h 36230"/>
                <a:gd name="connsiteX611" fmla="*/ 10837 w 24669"/>
                <a:gd name="connsiteY611" fmla="*/ 30798 h 36230"/>
                <a:gd name="connsiteX612" fmla="*/ 10391 w 24669"/>
                <a:gd name="connsiteY612" fmla="*/ 31475 h 36230"/>
                <a:gd name="connsiteX613" fmla="*/ 9922 w 24669"/>
                <a:gd name="connsiteY613" fmla="*/ 31952 h 36230"/>
                <a:gd name="connsiteX614" fmla="*/ 9571 w 24669"/>
                <a:gd name="connsiteY614" fmla="*/ 32845 h 36230"/>
                <a:gd name="connsiteX615" fmla="*/ 9987 w 24669"/>
                <a:gd name="connsiteY615" fmla="*/ 32781 h 36230"/>
                <a:gd name="connsiteX616" fmla="*/ 9922 w 24669"/>
                <a:gd name="connsiteY616" fmla="*/ 32932 h 36230"/>
                <a:gd name="connsiteX617" fmla="*/ 10793 w 24669"/>
                <a:gd name="connsiteY617" fmla="*/ 32057 h 36230"/>
                <a:gd name="connsiteX618" fmla="*/ 10613 w 24669"/>
                <a:gd name="connsiteY618" fmla="*/ 31568 h 36230"/>
                <a:gd name="connsiteX619" fmla="*/ 10815 w 24669"/>
                <a:gd name="connsiteY619" fmla="*/ 31147 h 36230"/>
                <a:gd name="connsiteX620" fmla="*/ 10720 w 24669"/>
                <a:gd name="connsiteY620" fmla="*/ 31617 h 36230"/>
                <a:gd name="connsiteX621" fmla="*/ 10936 w 24669"/>
                <a:gd name="connsiteY621" fmla="*/ 31771 h 36230"/>
                <a:gd name="connsiteX622" fmla="*/ 11635 w 24669"/>
                <a:gd name="connsiteY622" fmla="*/ 31536 h 36230"/>
                <a:gd name="connsiteX623" fmla="*/ 11111 w 24669"/>
                <a:gd name="connsiteY623" fmla="*/ 31809 h 36230"/>
                <a:gd name="connsiteX624" fmla="*/ 10911 w 24669"/>
                <a:gd name="connsiteY624" fmla="*/ 32241 h 36230"/>
                <a:gd name="connsiteX625" fmla="*/ 10339 w 24669"/>
                <a:gd name="connsiteY625" fmla="*/ 33257 h 36230"/>
                <a:gd name="connsiteX626" fmla="*/ 11683 w 24669"/>
                <a:gd name="connsiteY626" fmla="*/ 33247 h 36230"/>
                <a:gd name="connsiteX627" fmla="*/ 11842 w 24669"/>
                <a:gd name="connsiteY627" fmla="*/ 32472 h 36230"/>
                <a:gd name="connsiteX628" fmla="*/ 11791 w 24669"/>
                <a:gd name="connsiteY628" fmla="*/ 33151 h 36230"/>
                <a:gd name="connsiteX629" fmla="*/ 12360 w 24669"/>
                <a:gd name="connsiteY629" fmla="*/ 32601 h 36230"/>
                <a:gd name="connsiteX630" fmla="*/ 12587 w 24669"/>
                <a:gd name="connsiteY630" fmla="*/ 32006 h 36230"/>
                <a:gd name="connsiteX631" fmla="*/ 12539 w 24669"/>
                <a:gd name="connsiteY631" fmla="*/ 32858 h 36230"/>
                <a:gd name="connsiteX632" fmla="*/ 12473 w 24669"/>
                <a:gd name="connsiteY632" fmla="*/ 33023 h 36230"/>
                <a:gd name="connsiteX633" fmla="*/ 11696 w 24669"/>
                <a:gd name="connsiteY633" fmla="*/ 33488 h 36230"/>
                <a:gd name="connsiteX634" fmla="*/ 10857 w 24669"/>
                <a:gd name="connsiteY634" fmla="*/ 33370 h 36230"/>
                <a:gd name="connsiteX635" fmla="*/ 10470 w 24669"/>
                <a:gd name="connsiteY635" fmla="*/ 34162 h 36230"/>
                <a:gd name="connsiteX636" fmla="*/ 10941 w 24669"/>
                <a:gd name="connsiteY636" fmla="*/ 34482 h 36230"/>
                <a:gd name="connsiteX637" fmla="*/ 11370 w 24669"/>
                <a:gd name="connsiteY637" fmla="*/ 34300 h 36230"/>
                <a:gd name="connsiteX638" fmla="*/ 10980 w 24669"/>
                <a:gd name="connsiteY638" fmla="*/ 34642 h 36230"/>
                <a:gd name="connsiteX639" fmla="*/ 11814 w 24669"/>
                <a:gd name="connsiteY639" fmla="*/ 34551 h 36230"/>
                <a:gd name="connsiteX640" fmla="*/ 11751 w 24669"/>
                <a:gd name="connsiteY640" fmla="*/ 34288 h 36230"/>
                <a:gd name="connsiteX641" fmla="*/ 11872 w 24669"/>
                <a:gd name="connsiteY641" fmla="*/ 34439 h 36230"/>
                <a:gd name="connsiteX642" fmla="*/ 12304 w 24669"/>
                <a:gd name="connsiteY642" fmla="*/ 33923 h 36230"/>
                <a:gd name="connsiteX643" fmla="*/ 12916 w 24669"/>
                <a:gd name="connsiteY643" fmla="*/ 33656 h 36230"/>
                <a:gd name="connsiteX644" fmla="*/ 12870 w 24669"/>
                <a:gd name="connsiteY644" fmla="*/ 33997 h 36230"/>
                <a:gd name="connsiteX645" fmla="*/ 13531 w 24669"/>
                <a:gd name="connsiteY645" fmla="*/ 34114 h 36230"/>
                <a:gd name="connsiteX646" fmla="*/ 13960 w 24669"/>
                <a:gd name="connsiteY646" fmla="*/ 34229 h 36230"/>
                <a:gd name="connsiteX647" fmla="*/ 13617 w 24669"/>
                <a:gd name="connsiteY647" fmla="*/ 34313 h 36230"/>
                <a:gd name="connsiteX648" fmla="*/ 14236 w 24669"/>
                <a:gd name="connsiteY648" fmla="*/ 34628 h 36230"/>
                <a:gd name="connsiteX649" fmla="*/ 13638 w 24669"/>
                <a:gd name="connsiteY649" fmla="*/ 34877 h 36230"/>
                <a:gd name="connsiteX650" fmla="*/ 13635 w 24669"/>
                <a:gd name="connsiteY650" fmla="*/ 35502 h 36230"/>
                <a:gd name="connsiteX651" fmla="*/ 13892 w 24669"/>
                <a:gd name="connsiteY651" fmla="*/ 35459 h 36230"/>
                <a:gd name="connsiteX652" fmla="*/ 14042 w 24669"/>
                <a:gd name="connsiteY652" fmla="*/ 35382 h 36230"/>
                <a:gd name="connsiteX653" fmla="*/ 14038 w 24669"/>
                <a:gd name="connsiteY653" fmla="*/ 35908 h 36230"/>
                <a:gd name="connsiteX654" fmla="*/ 14554 w 24669"/>
                <a:gd name="connsiteY654" fmla="*/ 35357 h 36230"/>
                <a:gd name="connsiteX655" fmla="*/ 14417 w 24669"/>
                <a:gd name="connsiteY655" fmla="*/ 35937 h 36230"/>
                <a:gd name="connsiteX656" fmla="*/ 14972 w 24669"/>
                <a:gd name="connsiteY656" fmla="*/ 36035 h 36230"/>
                <a:gd name="connsiteX657" fmla="*/ 15246 w 24669"/>
                <a:gd name="connsiteY657" fmla="*/ 36230 h 36230"/>
                <a:gd name="connsiteX658" fmla="*/ 15246 w 24669"/>
                <a:gd name="connsiteY658" fmla="*/ 36230 h 3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Lst>
              <a:rect l="l" t="t" r="r" b="b"/>
              <a:pathLst>
                <a:path w="24669" h="36230">
                  <a:moveTo>
                    <a:pt x="15246" y="36230"/>
                  </a:moveTo>
                  <a:lnTo>
                    <a:pt x="15279" y="36230"/>
                  </a:lnTo>
                  <a:cubicBezTo>
                    <a:pt x="15295" y="36158"/>
                    <a:pt x="15311" y="36086"/>
                    <a:pt x="15328" y="36015"/>
                  </a:cubicBezTo>
                  <a:cubicBezTo>
                    <a:pt x="15344" y="36062"/>
                    <a:pt x="15376" y="36158"/>
                    <a:pt x="15392" y="36205"/>
                  </a:cubicBezTo>
                  <a:cubicBezTo>
                    <a:pt x="15462" y="36030"/>
                    <a:pt x="15531" y="35853"/>
                    <a:pt x="15614" y="35682"/>
                  </a:cubicBezTo>
                  <a:cubicBezTo>
                    <a:pt x="15637" y="35819"/>
                    <a:pt x="15590" y="35950"/>
                    <a:pt x="15527" y="36069"/>
                  </a:cubicBezTo>
                  <a:cubicBezTo>
                    <a:pt x="15797" y="35929"/>
                    <a:pt x="16107" y="36004"/>
                    <a:pt x="16398" y="35986"/>
                  </a:cubicBezTo>
                  <a:cubicBezTo>
                    <a:pt x="16597" y="35879"/>
                    <a:pt x="16755" y="35653"/>
                    <a:pt x="17007" y="35695"/>
                  </a:cubicBezTo>
                  <a:cubicBezTo>
                    <a:pt x="16991" y="35604"/>
                    <a:pt x="16998" y="35514"/>
                    <a:pt x="16987" y="35423"/>
                  </a:cubicBezTo>
                  <a:cubicBezTo>
                    <a:pt x="17150" y="35542"/>
                    <a:pt x="17347" y="35648"/>
                    <a:pt x="17558" y="35572"/>
                  </a:cubicBezTo>
                  <a:cubicBezTo>
                    <a:pt x="17845" y="35483"/>
                    <a:pt x="18086" y="35295"/>
                    <a:pt x="18345" y="35148"/>
                  </a:cubicBezTo>
                  <a:cubicBezTo>
                    <a:pt x="18314" y="34876"/>
                    <a:pt x="18129" y="34666"/>
                    <a:pt x="17896" y="34540"/>
                  </a:cubicBezTo>
                  <a:lnTo>
                    <a:pt x="18156" y="34565"/>
                  </a:lnTo>
                  <a:cubicBezTo>
                    <a:pt x="17627" y="34285"/>
                    <a:pt x="17041" y="34565"/>
                    <a:pt x="16485" y="34572"/>
                  </a:cubicBezTo>
                  <a:cubicBezTo>
                    <a:pt x="16123" y="34607"/>
                    <a:pt x="15815" y="34104"/>
                    <a:pt x="15461" y="34324"/>
                  </a:cubicBezTo>
                  <a:cubicBezTo>
                    <a:pt x="15216" y="34490"/>
                    <a:pt x="14909" y="34545"/>
                    <a:pt x="14623" y="34462"/>
                  </a:cubicBezTo>
                  <a:cubicBezTo>
                    <a:pt x="14902" y="34367"/>
                    <a:pt x="15266" y="34421"/>
                    <a:pt x="15454" y="34149"/>
                  </a:cubicBezTo>
                  <a:cubicBezTo>
                    <a:pt x="15112" y="33909"/>
                    <a:pt x="14708" y="33792"/>
                    <a:pt x="14302" y="33720"/>
                  </a:cubicBezTo>
                  <a:cubicBezTo>
                    <a:pt x="14299" y="33491"/>
                    <a:pt x="14264" y="33265"/>
                    <a:pt x="14241" y="33038"/>
                  </a:cubicBezTo>
                  <a:cubicBezTo>
                    <a:pt x="14312" y="33223"/>
                    <a:pt x="14340" y="33424"/>
                    <a:pt x="14431" y="33601"/>
                  </a:cubicBezTo>
                  <a:cubicBezTo>
                    <a:pt x="14534" y="33754"/>
                    <a:pt x="14732" y="33662"/>
                    <a:pt x="14878" y="33641"/>
                  </a:cubicBezTo>
                  <a:cubicBezTo>
                    <a:pt x="14942" y="33715"/>
                    <a:pt x="14996" y="33804"/>
                    <a:pt x="15080" y="33857"/>
                  </a:cubicBezTo>
                  <a:cubicBezTo>
                    <a:pt x="15348" y="33942"/>
                    <a:pt x="15659" y="33892"/>
                    <a:pt x="15899" y="34061"/>
                  </a:cubicBezTo>
                  <a:cubicBezTo>
                    <a:pt x="16167" y="34203"/>
                    <a:pt x="16448" y="34479"/>
                    <a:pt x="16779" y="34401"/>
                  </a:cubicBezTo>
                  <a:cubicBezTo>
                    <a:pt x="17143" y="34243"/>
                    <a:pt x="17564" y="34143"/>
                    <a:pt x="17953" y="34269"/>
                  </a:cubicBezTo>
                  <a:cubicBezTo>
                    <a:pt x="18173" y="34346"/>
                    <a:pt x="18412" y="34338"/>
                    <a:pt x="18632" y="34414"/>
                  </a:cubicBezTo>
                  <a:cubicBezTo>
                    <a:pt x="18637" y="34194"/>
                    <a:pt x="18788" y="33958"/>
                    <a:pt x="18651" y="33753"/>
                  </a:cubicBezTo>
                  <a:cubicBezTo>
                    <a:pt x="18564" y="33587"/>
                    <a:pt x="18466" y="33428"/>
                    <a:pt x="18360" y="33275"/>
                  </a:cubicBezTo>
                  <a:cubicBezTo>
                    <a:pt x="18516" y="33342"/>
                    <a:pt x="18640" y="33457"/>
                    <a:pt x="18735" y="33596"/>
                  </a:cubicBezTo>
                  <a:cubicBezTo>
                    <a:pt x="18806" y="33710"/>
                    <a:pt x="18957" y="33672"/>
                    <a:pt x="19072" y="33696"/>
                  </a:cubicBezTo>
                  <a:cubicBezTo>
                    <a:pt x="19081" y="33596"/>
                    <a:pt x="19090" y="33495"/>
                    <a:pt x="19107" y="33396"/>
                  </a:cubicBezTo>
                  <a:cubicBezTo>
                    <a:pt x="19170" y="33421"/>
                    <a:pt x="19233" y="33455"/>
                    <a:pt x="19303" y="33465"/>
                  </a:cubicBezTo>
                  <a:cubicBezTo>
                    <a:pt x="19443" y="33405"/>
                    <a:pt x="19551" y="33276"/>
                    <a:pt x="19709" y="33256"/>
                  </a:cubicBezTo>
                  <a:cubicBezTo>
                    <a:pt x="19871" y="33098"/>
                    <a:pt x="20070" y="32965"/>
                    <a:pt x="20191" y="32769"/>
                  </a:cubicBezTo>
                  <a:cubicBezTo>
                    <a:pt x="20319" y="32586"/>
                    <a:pt x="20130" y="32452"/>
                    <a:pt x="20032" y="32330"/>
                  </a:cubicBezTo>
                  <a:cubicBezTo>
                    <a:pt x="19898" y="32186"/>
                    <a:pt x="19819" y="32003"/>
                    <a:pt x="19688" y="31859"/>
                  </a:cubicBezTo>
                  <a:cubicBezTo>
                    <a:pt x="19504" y="31704"/>
                    <a:pt x="19246" y="31716"/>
                    <a:pt x="19033" y="31628"/>
                  </a:cubicBezTo>
                  <a:cubicBezTo>
                    <a:pt x="18839" y="31520"/>
                    <a:pt x="18663" y="31345"/>
                    <a:pt x="18422" y="31361"/>
                  </a:cubicBezTo>
                  <a:cubicBezTo>
                    <a:pt x="18157" y="31311"/>
                    <a:pt x="17892" y="31370"/>
                    <a:pt x="17630" y="31404"/>
                  </a:cubicBezTo>
                  <a:cubicBezTo>
                    <a:pt x="17273" y="31458"/>
                    <a:pt x="16932" y="31324"/>
                    <a:pt x="16589" y="31250"/>
                  </a:cubicBezTo>
                  <a:cubicBezTo>
                    <a:pt x="16464" y="31219"/>
                    <a:pt x="16378" y="31112"/>
                    <a:pt x="16276" y="31043"/>
                  </a:cubicBezTo>
                  <a:cubicBezTo>
                    <a:pt x="16009" y="30832"/>
                    <a:pt x="15702" y="30681"/>
                    <a:pt x="15428" y="30480"/>
                  </a:cubicBezTo>
                  <a:cubicBezTo>
                    <a:pt x="15233" y="30365"/>
                    <a:pt x="15339" y="30106"/>
                    <a:pt x="15368" y="29931"/>
                  </a:cubicBezTo>
                  <a:cubicBezTo>
                    <a:pt x="15525" y="30056"/>
                    <a:pt x="15638" y="30229"/>
                    <a:pt x="15797" y="30351"/>
                  </a:cubicBezTo>
                  <a:cubicBezTo>
                    <a:pt x="16161" y="30529"/>
                    <a:pt x="16582" y="30580"/>
                    <a:pt x="16915" y="30822"/>
                  </a:cubicBezTo>
                  <a:cubicBezTo>
                    <a:pt x="17374" y="31044"/>
                    <a:pt x="17901" y="30925"/>
                    <a:pt x="18388" y="30898"/>
                  </a:cubicBezTo>
                  <a:cubicBezTo>
                    <a:pt x="18597" y="30878"/>
                    <a:pt x="18544" y="30616"/>
                    <a:pt x="18573" y="30470"/>
                  </a:cubicBezTo>
                  <a:cubicBezTo>
                    <a:pt x="18738" y="30482"/>
                    <a:pt x="18902" y="30501"/>
                    <a:pt x="19067" y="30522"/>
                  </a:cubicBezTo>
                  <a:cubicBezTo>
                    <a:pt x="19075" y="30645"/>
                    <a:pt x="19055" y="30776"/>
                    <a:pt x="19106" y="30891"/>
                  </a:cubicBezTo>
                  <a:cubicBezTo>
                    <a:pt x="19170" y="30960"/>
                    <a:pt x="19263" y="30990"/>
                    <a:pt x="19345" y="31034"/>
                  </a:cubicBezTo>
                  <a:cubicBezTo>
                    <a:pt x="19325" y="30826"/>
                    <a:pt x="19381" y="30602"/>
                    <a:pt x="19316" y="30400"/>
                  </a:cubicBezTo>
                  <a:cubicBezTo>
                    <a:pt x="19165" y="30164"/>
                    <a:pt x="18894" y="30042"/>
                    <a:pt x="18676" y="29879"/>
                  </a:cubicBezTo>
                  <a:cubicBezTo>
                    <a:pt x="18608" y="29827"/>
                    <a:pt x="18507" y="29775"/>
                    <a:pt x="18512" y="29676"/>
                  </a:cubicBezTo>
                  <a:cubicBezTo>
                    <a:pt x="18505" y="29585"/>
                    <a:pt x="18561" y="29509"/>
                    <a:pt x="18609" y="29437"/>
                  </a:cubicBezTo>
                  <a:cubicBezTo>
                    <a:pt x="18844" y="29659"/>
                    <a:pt x="19109" y="29849"/>
                    <a:pt x="19397" y="29995"/>
                  </a:cubicBezTo>
                  <a:cubicBezTo>
                    <a:pt x="19497" y="30033"/>
                    <a:pt x="19527" y="30156"/>
                    <a:pt x="19625" y="30196"/>
                  </a:cubicBezTo>
                  <a:cubicBezTo>
                    <a:pt x="19714" y="30216"/>
                    <a:pt x="19805" y="30195"/>
                    <a:pt x="19894" y="30186"/>
                  </a:cubicBezTo>
                  <a:cubicBezTo>
                    <a:pt x="19904" y="30448"/>
                    <a:pt x="19831" y="30727"/>
                    <a:pt x="19912" y="30979"/>
                  </a:cubicBezTo>
                  <a:cubicBezTo>
                    <a:pt x="20127" y="31176"/>
                    <a:pt x="20435" y="31234"/>
                    <a:pt x="20716" y="31262"/>
                  </a:cubicBezTo>
                  <a:cubicBezTo>
                    <a:pt x="20816" y="30685"/>
                    <a:pt x="20833" y="30078"/>
                    <a:pt x="20663" y="29512"/>
                  </a:cubicBezTo>
                  <a:cubicBezTo>
                    <a:pt x="20604" y="29277"/>
                    <a:pt x="20414" y="29109"/>
                    <a:pt x="20335" y="28883"/>
                  </a:cubicBezTo>
                  <a:cubicBezTo>
                    <a:pt x="20195" y="28530"/>
                    <a:pt x="19896" y="28237"/>
                    <a:pt x="19869" y="27843"/>
                  </a:cubicBezTo>
                  <a:cubicBezTo>
                    <a:pt x="19854" y="27736"/>
                    <a:pt x="19764" y="27665"/>
                    <a:pt x="19699" y="27586"/>
                  </a:cubicBezTo>
                  <a:cubicBezTo>
                    <a:pt x="19735" y="27595"/>
                    <a:pt x="19771" y="27603"/>
                    <a:pt x="19808" y="27612"/>
                  </a:cubicBezTo>
                  <a:cubicBezTo>
                    <a:pt x="19719" y="27523"/>
                    <a:pt x="19637" y="27423"/>
                    <a:pt x="19606" y="27298"/>
                  </a:cubicBezTo>
                  <a:cubicBezTo>
                    <a:pt x="19707" y="27380"/>
                    <a:pt x="19826" y="27445"/>
                    <a:pt x="19907" y="27549"/>
                  </a:cubicBezTo>
                  <a:cubicBezTo>
                    <a:pt x="20002" y="27697"/>
                    <a:pt x="19995" y="27883"/>
                    <a:pt x="20065" y="28041"/>
                  </a:cubicBezTo>
                  <a:cubicBezTo>
                    <a:pt x="20154" y="28142"/>
                    <a:pt x="20274" y="28211"/>
                    <a:pt x="20379" y="28296"/>
                  </a:cubicBezTo>
                  <a:cubicBezTo>
                    <a:pt x="20357" y="28300"/>
                    <a:pt x="20314" y="28307"/>
                    <a:pt x="20293" y="28310"/>
                  </a:cubicBezTo>
                  <a:cubicBezTo>
                    <a:pt x="20431" y="28484"/>
                    <a:pt x="20562" y="28664"/>
                    <a:pt x="20714" y="28827"/>
                  </a:cubicBezTo>
                  <a:cubicBezTo>
                    <a:pt x="20884" y="29006"/>
                    <a:pt x="20917" y="29266"/>
                    <a:pt x="21067" y="29461"/>
                  </a:cubicBezTo>
                  <a:cubicBezTo>
                    <a:pt x="21147" y="29600"/>
                    <a:pt x="21264" y="29712"/>
                    <a:pt x="21386" y="29815"/>
                  </a:cubicBezTo>
                  <a:lnTo>
                    <a:pt x="21176" y="29783"/>
                  </a:lnTo>
                  <a:cubicBezTo>
                    <a:pt x="21209" y="29923"/>
                    <a:pt x="21236" y="30065"/>
                    <a:pt x="21280" y="30202"/>
                  </a:cubicBezTo>
                  <a:cubicBezTo>
                    <a:pt x="21338" y="30098"/>
                    <a:pt x="21404" y="30000"/>
                    <a:pt x="21488" y="29915"/>
                  </a:cubicBezTo>
                  <a:cubicBezTo>
                    <a:pt x="21485" y="29889"/>
                    <a:pt x="21481" y="29862"/>
                    <a:pt x="21479" y="29835"/>
                  </a:cubicBezTo>
                  <a:cubicBezTo>
                    <a:pt x="21527" y="29866"/>
                    <a:pt x="21574" y="29897"/>
                    <a:pt x="21622" y="29929"/>
                  </a:cubicBezTo>
                  <a:cubicBezTo>
                    <a:pt x="21519" y="29738"/>
                    <a:pt x="21463" y="29526"/>
                    <a:pt x="21434" y="29311"/>
                  </a:cubicBezTo>
                  <a:cubicBezTo>
                    <a:pt x="21559" y="29414"/>
                    <a:pt x="21663" y="29547"/>
                    <a:pt x="21809" y="29621"/>
                  </a:cubicBezTo>
                  <a:cubicBezTo>
                    <a:pt x="21916" y="29595"/>
                    <a:pt x="21982" y="29499"/>
                    <a:pt x="22045" y="29417"/>
                  </a:cubicBezTo>
                  <a:cubicBezTo>
                    <a:pt x="22068" y="29441"/>
                    <a:pt x="22091" y="29466"/>
                    <a:pt x="22114" y="29490"/>
                  </a:cubicBezTo>
                  <a:cubicBezTo>
                    <a:pt x="22156" y="29411"/>
                    <a:pt x="22197" y="29332"/>
                    <a:pt x="22241" y="29254"/>
                  </a:cubicBezTo>
                  <a:lnTo>
                    <a:pt x="22436" y="29648"/>
                  </a:lnTo>
                  <a:cubicBezTo>
                    <a:pt x="22506" y="29766"/>
                    <a:pt x="22396" y="29927"/>
                    <a:pt x="22504" y="30027"/>
                  </a:cubicBezTo>
                  <a:cubicBezTo>
                    <a:pt x="22598" y="30115"/>
                    <a:pt x="22606" y="30250"/>
                    <a:pt x="22665" y="30359"/>
                  </a:cubicBezTo>
                  <a:cubicBezTo>
                    <a:pt x="22717" y="30379"/>
                    <a:pt x="22773" y="30380"/>
                    <a:pt x="22827" y="30387"/>
                  </a:cubicBezTo>
                  <a:cubicBezTo>
                    <a:pt x="22877" y="30470"/>
                    <a:pt x="22938" y="30564"/>
                    <a:pt x="23051" y="30532"/>
                  </a:cubicBezTo>
                  <a:cubicBezTo>
                    <a:pt x="23324" y="30490"/>
                    <a:pt x="23655" y="30563"/>
                    <a:pt x="23865" y="30346"/>
                  </a:cubicBezTo>
                  <a:cubicBezTo>
                    <a:pt x="24028" y="30199"/>
                    <a:pt x="24227" y="30102"/>
                    <a:pt x="24396" y="29962"/>
                  </a:cubicBezTo>
                  <a:cubicBezTo>
                    <a:pt x="24499" y="29824"/>
                    <a:pt x="24560" y="29658"/>
                    <a:pt x="24669" y="29523"/>
                  </a:cubicBezTo>
                  <a:lnTo>
                    <a:pt x="24669" y="29458"/>
                  </a:lnTo>
                  <a:cubicBezTo>
                    <a:pt x="24510" y="29230"/>
                    <a:pt x="24295" y="29047"/>
                    <a:pt x="24139" y="28815"/>
                  </a:cubicBezTo>
                  <a:cubicBezTo>
                    <a:pt x="24025" y="28678"/>
                    <a:pt x="23962" y="28507"/>
                    <a:pt x="23847" y="28371"/>
                  </a:cubicBezTo>
                  <a:cubicBezTo>
                    <a:pt x="23740" y="28306"/>
                    <a:pt x="23596" y="28356"/>
                    <a:pt x="23481" y="28340"/>
                  </a:cubicBezTo>
                  <a:cubicBezTo>
                    <a:pt x="23451" y="28297"/>
                    <a:pt x="23422" y="28255"/>
                    <a:pt x="23393" y="28212"/>
                  </a:cubicBezTo>
                  <a:cubicBezTo>
                    <a:pt x="23534" y="28274"/>
                    <a:pt x="23689" y="28293"/>
                    <a:pt x="23843" y="28271"/>
                  </a:cubicBezTo>
                  <a:cubicBezTo>
                    <a:pt x="23726" y="28116"/>
                    <a:pt x="23620" y="27953"/>
                    <a:pt x="23503" y="27799"/>
                  </a:cubicBezTo>
                  <a:cubicBezTo>
                    <a:pt x="23399" y="27650"/>
                    <a:pt x="23162" y="27696"/>
                    <a:pt x="23075" y="27532"/>
                  </a:cubicBezTo>
                  <a:cubicBezTo>
                    <a:pt x="23022" y="27470"/>
                    <a:pt x="22993" y="27357"/>
                    <a:pt x="22894" y="27360"/>
                  </a:cubicBezTo>
                  <a:cubicBezTo>
                    <a:pt x="22659" y="27363"/>
                    <a:pt x="22439" y="27469"/>
                    <a:pt x="22248" y="27599"/>
                  </a:cubicBezTo>
                  <a:cubicBezTo>
                    <a:pt x="22248" y="27353"/>
                    <a:pt x="21973" y="27182"/>
                    <a:pt x="21746" y="27248"/>
                  </a:cubicBezTo>
                  <a:cubicBezTo>
                    <a:pt x="21734" y="27223"/>
                    <a:pt x="21723" y="27198"/>
                    <a:pt x="21713" y="27172"/>
                  </a:cubicBezTo>
                  <a:cubicBezTo>
                    <a:pt x="21817" y="27125"/>
                    <a:pt x="21919" y="27070"/>
                    <a:pt x="22029" y="27034"/>
                  </a:cubicBezTo>
                  <a:cubicBezTo>
                    <a:pt x="22169" y="27063"/>
                    <a:pt x="22291" y="27158"/>
                    <a:pt x="22435" y="27174"/>
                  </a:cubicBezTo>
                  <a:cubicBezTo>
                    <a:pt x="22590" y="27086"/>
                    <a:pt x="22754" y="27007"/>
                    <a:pt x="22898" y="26899"/>
                  </a:cubicBezTo>
                  <a:cubicBezTo>
                    <a:pt x="22878" y="26671"/>
                    <a:pt x="22689" y="26489"/>
                    <a:pt x="22540" y="26330"/>
                  </a:cubicBezTo>
                  <a:cubicBezTo>
                    <a:pt x="22168" y="26222"/>
                    <a:pt x="21771" y="26323"/>
                    <a:pt x="21434" y="26496"/>
                  </a:cubicBezTo>
                  <a:cubicBezTo>
                    <a:pt x="21345" y="26332"/>
                    <a:pt x="21235" y="26179"/>
                    <a:pt x="21078" y="26073"/>
                  </a:cubicBezTo>
                  <a:lnTo>
                    <a:pt x="21190" y="26069"/>
                  </a:lnTo>
                  <a:cubicBezTo>
                    <a:pt x="21131" y="25885"/>
                    <a:pt x="21097" y="25694"/>
                    <a:pt x="21041" y="25509"/>
                  </a:cubicBezTo>
                  <a:cubicBezTo>
                    <a:pt x="21091" y="25499"/>
                    <a:pt x="21141" y="25488"/>
                    <a:pt x="21192" y="25477"/>
                  </a:cubicBezTo>
                  <a:cubicBezTo>
                    <a:pt x="21254" y="25686"/>
                    <a:pt x="21357" y="25920"/>
                    <a:pt x="21584" y="25990"/>
                  </a:cubicBezTo>
                  <a:cubicBezTo>
                    <a:pt x="21788" y="26018"/>
                    <a:pt x="21990" y="26057"/>
                    <a:pt x="22190" y="26112"/>
                  </a:cubicBezTo>
                  <a:cubicBezTo>
                    <a:pt x="22228" y="26066"/>
                    <a:pt x="22304" y="25975"/>
                    <a:pt x="22342" y="25930"/>
                  </a:cubicBezTo>
                  <a:cubicBezTo>
                    <a:pt x="22248" y="25707"/>
                    <a:pt x="22191" y="25463"/>
                    <a:pt x="22058" y="25259"/>
                  </a:cubicBezTo>
                  <a:cubicBezTo>
                    <a:pt x="21942" y="25082"/>
                    <a:pt x="21740" y="25262"/>
                    <a:pt x="21597" y="25302"/>
                  </a:cubicBezTo>
                  <a:cubicBezTo>
                    <a:pt x="21450" y="25069"/>
                    <a:pt x="21389" y="24788"/>
                    <a:pt x="21391" y="24516"/>
                  </a:cubicBezTo>
                  <a:cubicBezTo>
                    <a:pt x="21380" y="24340"/>
                    <a:pt x="21545" y="24280"/>
                    <a:pt x="21662" y="24201"/>
                  </a:cubicBezTo>
                  <a:cubicBezTo>
                    <a:pt x="21634" y="24125"/>
                    <a:pt x="21620" y="24041"/>
                    <a:pt x="21573" y="23974"/>
                  </a:cubicBezTo>
                  <a:cubicBezTo>
                    <a:pt x="21484" y="23881"/>
                    <a:pt x="21343" y="23867"/>
                    <a:pt x="21250" y="23780"/>
                  </a:cubicBezTo>
                  <a:cubicBezTo>
                    <a:pt x="21250" y="23632"/>
                    <a:pt x="21289" y="23486"/>
                    <a:pt x="21285" y="23338"/>
                  </a:cubicBezTo>
                  <a:lnTo>
                    <a:pt x="20946" y="23363"/>
                  </a:lnTo>
                  <a:cubicBezTo>
                    <a:pt x="20950" y="23290"/>
                    <a:pt x="20955" y="23217"/>
                    <a:pt x="20960" y="23143"/>
                  </a:cubicBezTo>
                  <a:cubicBezTo>
                    <a:pt x="20910" y="23194"/>
                    <a:pt x="20860" y="23245"/>
                    <a:pt x="20809" y="23294"/>
                  </a:cubicBezTo>
                  <a:cubicBezTo>
                    <a:pt x="20810" y="23178"/>
                    <a:pt x="20815" y="23062"/>
                    <a:pt x="20830" y="22947"/>
                  </a:cubicBezTo>
                  <a:lnTo>
                    <a:pt x="20702" y="22882"/>
                  </a:lnTo>
                  <a:lnTo>
                    <a:pt x="20888" y="22879"/>
                  </a:lnTo>
                  <a:cubicBezTo>
                    <a:pt x="20805" y="22633"/>
                    <a:pt x="20715" y="22386"/>
                    <a:pt x="20699" y="22125"/>
                  </a:cubicBezTo>
                  <a:cubicBezTo>
                    <a:pt x="20679" y="21926"/>
                    <a:pt x="20581" y="21747"/>
                    <a:pt x="20548" y="21550"/>
                  </a:cubicBezTo>
                  <a:cubicBezTo>
                    <a:pt x="20518" y="21355"/>
                    <a:pt x="20451" y="21168"/>
                    <a:pt x="20394" y="20980"/>
                  </a:cubicBezTo>
                  <a:cubicBezTo>
                    <a:pt x="20471" y="20995"/>
                    <a:pt x="20551" y="21003"/>
                    <a:pt x="20627" y="21030"/>
                  </a:cubicBezTo>
                  <a:cubicBezTo>
                    <a:pt x="20688" y="21211"/>
                    <a:pt x="20701" y="21404"/>
                    <a:pt x="20669" y="21592"/>
                  </a:cubicBezTo>
                  <a:cubicBezTo>
                    <a:pt x="20744" y="21586"/>
                    <a:pt x="20819" y="21587"/>
                    <a:pt x="20894" y="21591"/>
                  </a:cubicBezTo>
                  <a:cubicBezTo>
                    <a:pt x="21028" y="21414"/>
                    <a:pt x="21196" y="21268"/>
                    <a:pt x="21403" y="21181"/>
                  </a:cubicBezTo>
                  <a:cubicBezTo>
                    <a:pt x="21550" y="21127"/>
                    <a:pt x="21583" y="20965"/>
                    <a:pt x="21621" y="20832"/>
                  </a:cubicBezTo>
                  <a:cubicBezTo>
                    <a:pt x="21413" y="20776"/>
                    <a:pt x="21273" y="20941"/>
                    <a:pt x="21143" y="21076"/>
                  </a:cubicBezTo>
                  <a:lnTo>
                    <a:pt x="20946" y="20919"/>
                  </a:lnTo>
                  <a:cubicBezTo>
                    <a:pt x="20960" y="20973"/>
                    <a:pt x="20974" y="21027"/>
                    <a:pt x="20989" y="21081"/>
                  </a:cubicBezTo>
                  <a:cubicBezTo>
                    <a:pt x="20944" y="21044"/>
                    <a:pt x="20901" y="21007"/>
                    <a:pt x="20858" y="20970"/>
                  </a:cubicBezTo>
                  <a:cubicBezTo>
                    <a:pt x="20949" y="20900"/>
                    <a:pt x="21039" y="20828"/>
                    <a:pt x="21127" y="20753"/>
                  </a:cubicBezTo>
                  <a:cubicBezTo>
                    <a:pt x="21038" y="20724"/>
                    <a:pt x="20948" y="20696"/>
                    <a:pt x="20856" y="20675"/>
                  </a:cubicBezTo>
                  <a:cubicBezTo>
                    <a:pt x="20968" y="20631"/>
                    <a:pt x="21078" y="20583"/>
                    <a:pt x="21189" y="20535"/>
                  </a:cubicBezTo>
                  <a:cubicBezTo>
                    <a:pt x="21097" y="20521"/>
                    <a:pt x="21004" y="20510"/>
                    <a:pt x="20911" y="20497"/>
                  </a:cubicBezTo>
                  <a:cubicBezTo>
                    <a:pt x="21037" y="20457"/>
                    <a:pt x="21169" y="20450"/>
                    <a:pt x="21300" y="20462"/>
                  </a:cubicBezTo>
                  <a:lnTo>
                    <a:pt x="21517" y="20165"/>
                  </a:lnTo>
                  <a:cubicBezTo>
                    <a:pt x="21445" y="20467"/>
                    <a:pt x="21784" y="20415"/>
                    <a:pt x="21846" y="20242"/>
                  </a:cubicBezTo>
                  <a:cubicBezTo>
                    <a:pt x="21933" y="20043"/>
                    <a:pt x="21916" y="19812"/>
                    <a:pt x="21891" y="19600"/>
                  </a:cubicBezTo>
                  <a:cubicBezTo>
                    <a:pt x="21873" y="19506"/>
                    <a:pt x="21796" y="19342"/>
                    <a:pt x="21677" y="19409"/>
                  </a:cubicBezTo>
                  <a:cubicBezTo>
                    <a:pt x="21389" y="19547"/>
                    <a:pt x="21116" y="19742"/>
                    <a:pt x="20780" y="19727"/>
                  </a:cubicBezTo>
                  <a:lnTo>
                    <a:pt x="20961" y="19649"/>
                  </a:lnTo>
                  <a:cubicBezTo>
                    <a:pt x="20853" y="19530"/>
                    <a:pt x="20739" y="19418"/>
                    <a:pt x="20627" y="19304"/>
                  </a:cubicBezTo>
                  <a:cubicBezTo>
                    <a:pt x="20654" y="19289"/>
                    <a:pt x="20709" y="19261"/>
                    <a:pt x="20736" y="19246"/>
                  </a:cubicBezTo>
                  <a:cubicBezTo>
                    <a:pt x="20657" y="19235"/>
                    <a:pt x="20578" y="19216"/>
                    <a:pt x="20498" y="19225"/>
                  </a:cubicBezTo>
                  <a:cubicBezTo>
                    <a:pt x="20417" y="19326"/>
                    <a:pt x="20367" y="19445"/>
                    <a:pt x="20304" y="19557"/>
                  </a:cubicBezTo>
                  <a:cubicBezTo>
                    <a:pt x="20253" y="19458"/>
                    <a:pt x="20189" y="19363"/>
                    <a:pt x="20161" y="19256"/>
                  </a:cubicBezTo>
                  <a:cubicBezTo>
                    <a:pt x="20165" y="19173"/>
                    <a:pt x="20200" y="19096"/>
                    <a:pt x="20221" y="19016"/>
                  </a:cubicBezTo>
                  <a:cubicBezTo>
                    <a:pt x="20264" y="19078"/>
                    <a:pt x="20306" y="19140"/>
                    <a:pt x="20350" y="19201"/>
                  </a:cubicBezTo>
                  <a:cubicBezTo>
                    <a:pt x="20537" y="19009"/>
                    <a:pt x="20508" y="18729"/>
                    <a:pt x="20529" y="18483"/>
                  </a:cubicBezTo>
                  <a:cubicBezTo>
                    <a:pt x="20708" y="18565"/>
                    <a:pt x="20845" y="18740"/>
                    <a:pt x="21064" y="18717"/>
                  </a:cubicBezTo>
                  <a:cubicBezTo>
                    <a:pt x="21061" y="18660"/>
                    <a:pt x="21059" y="18603"/>
                    <a:pt x="21054" y="18547"/>
                  </a:cubicBezTo>
                  <a:lnTo>
                    <a:pt x="20878" y="18513"/>
                  </a:lnTo>
                  <a:cubicBezTo>
                    <a:pt x="21000" y="18496"/>
                    <a:pt x="21126" y="18504"/>
                    <a:pt x="21247" y="18475"/>
                  </a:cubicBezTo>
                  <a:cubicBezTo>
                    <a:pt x="21322" y="18326"/>
                    <a:pt x="21236" y="18198"/>
                    <a:pt x="21116" y="18113"/>
                  </a:cubicBezTo>
                  <a:cubicBezTo>
                    <a:pt x="21140" y="18102"/>
                    <a:pt x="21189" y="18080"/>
                    <a:pt x="21213" y="18068"/>
                  </a:cubicBezTo>
                  <a:lnTo>
                    <a:pt x="21043" y="18015"/>
                  </a:lnTo>
                  <a:cubicBezTo>
                    <a:pt x="21272" y="17994"/>
                    <a:pt x="21418" y="17779"/>
                    <a:pt x="21398" y="17562"/>
                  </a:cubicBezTo>
                  <a:cubicBezTo>
                    <a:pt x="21432" y="17275"/>
                    <a:pt x="21496" y="16985"/>
                    <a:pt x="21363" y="16710"/>
                  </a:cubicBezTo>
                  <a:lnTo>
                    <a:pt x="21205" y="16736"/>
                  </a:lnTo>
                  <a:cubicBezTo>
                    <a:pt x="21187" y="16831"/>
                    <a:pt x="21171" y="16927"/>
                    <a:pt x="21150" y="17021"/>
                  </a:cubicBezTo>
                  <a:lnTo>
                    <a:pt x="20898" y="16973"/>
                  </a:lnTo>
                  <a:cubicBezTo>
                    <a:pt x="20722" y="17190"/>
                    <a:pt x="20540" y="17408"/>
                    <a:pt x="20305" y="17565"/>
                  </a:cubicBezTo>
                  <a:cubicBezTo>
                    <a:pt x="20572" y="17315"/>
                    <a:pt x="20736" y="16984"/>
                    <a:pt x="20984" y="16718"/>
                  </a:cubicBezTo>
                  <a:cubicBezTo>
                    <a:pt x="20772" y="16686"/>
                    <a:pt x="20582" y="16582"/>
                    <a:pt x="20425" y="16439"/>
                  </a:cubicBezTo>
                  <a:cubicBezTo>
                    <a:pt x="20550" y="16479"/>
                    <a:pt x="20666" y="16542"/>
                    <a:pt x="20784" y="16601"/>
                  </a:cubicBezTo>
                  <a:cubicBezTo>
                    <a:pt x="20830" y="16592"/>
                    <a:pt x="20876" y="16582"/>
                    <a:pt x="20923" y="16572"/>
                  </a:cubicBezTo>
                  <a:cubicBezTo>
                    <a:pt x="20923" y="16381"/>
                    <a:pt x="20917" y="16189"/>
                    <a:pt x="20890" y="15999"/>
                  </a:cubicBezTo>
                  <a:cubicBezTo>
                    <a:pt x="21031" y="16005"/>
                    <a:pt x="21171" y="15973"/>
                    <a:pt x="21293" y="15901"/>
                  </a:cubicBezTo>
                  <a:cubicBezTo>
                    <a:pt x="21334" y="15938"/>
                    <a:pt x="21374" y="15974"/>
                    <a:pt x="21416" y="16010"/>
                  </a:cubicBezTo>
                  <a:cubicBezTo>
                    <a:pt x="21418" y="15847"/>
                    <a:pt x="21627" y="15715"/>
                    <a:pt x="21544" y="15550"/>
                  </a:cubicBezTo>
                  <a:cubicBezTo>
                    <a:pt x="21501" y="15453"/>
                    <a:pt x="21418" y="15329"/>
                    <a:pt x="21295" y="15353"/>
                  </a:cubicBezTo>
                  <a:cubicBezTo>
                    <a:pt x="21146" y="15368"/>
                    <a:pt x="21091" y="15522"/>
                    <a:pt x="21029" y="15634"/>
                  </a:cubicBezTo>
                  <a:lnTo>
                    <a:pt x="20827" y="15680"/>
                  </a:lnTo>
                  <a:cubicBezTo>
                    <a:pt x="20985" y="15577"/>
                    <a:pt x="21071" y="15408"/>
                    <a:pt x="21156" y="15245"/>
                  </a:cubicBezTo>
                  <a:cubicBezTo>
                    <a:pt x="20947" y="15215"/>
                    <a:pt x="20697" y="15044"/>
                    <a:pt x="20516" y="15213"/>
                  </a:cubicBezTo>
                  <a:cubicBezTo>
                    <a:pt x="20425" y="15279"/>
                    <a:pt x="20415" y="15398"/>
                    <a:pt x="20394" y="15498"/>
                  </a:cubicBezTo>
                  <a:cubicBezTo>
                    <a:pt x="20341" y="15344"/>
                    <a:pt x="20287" y="15189"/>
                    <a:pt x="20235" y="15033"/>
                  </a:cubicBezTo>
                  <a:cubicBezTo>
                    <a:pt x="20552" y="15085"/>
                    <a:pt x="20836" y="14931"/>
                    <a:pt x="21110" y="14792"/>
                  </a:cubicBezTo>
                  <a:cubicBezTo>
                    <a:pt x="20973" y="14634"/>
                    <a:pt x="20998" y="14429"/>
                    <a:pt x="21021" y="14237"/>
                  </a:cubicBezTo>
                  <a:cubicBezTo>
                    <a:pt x="20884" y="14229"/>
                    <a:pt x="20746" y="14246"/>
                    <a:pt x="20612" y="14225"/>
                  </a:cubicBezTo>
                  <a:cubicBezTo>
                    <a:pt x="20485" y="14149"/>
                    <a:pt x="20416" y="13973"/>
                    <a:pt x="20261" y="13946"/>
                  </a:cubicBezTo>
                  <a:cubicBezTo>
                    <a:pt x="19996" y="14011"/>
                    <a:pt x="19777" y="14208"/>
                    <a:pt x="19600" y="14405"/>
                  </a:cubicBezTo>
                  <a:cubicBezTo>
                    <a:pt x="19531" y="14482"/>
                    <a:pt x="19596" y="14578"/>
                    <a:pt x="19624" y="14657"/>
                  </a:cubicBezTo>
                  <a:cubicBezTo>
                    <a:pt x="19581" y="14693"/>
                    <a:pt x="19538" y="14729"/>
                    <a:pt x="19497" y="14765"/>
                  </a:cubicBezTo>
                  <a:cubicBezTo>
                    <a:pt x="19445" y="14638"/>
                    <a:pt x="19400" y="14507"/>
                    <a:pt x="19385" y="14370"/>
                  </a:cubicBezTo>
                  <a:cubicBezTo>
                    <a:pt x="19342" y="14378"/>
                    <a:pt x="19299" y="14385"/>
                    <a:pt x="19257" y="14392"/>
                  </a:cubicBezTo>
                  <a:cubicBezTo>
                    <a:pt x="19261" y="14366"/>
                    <a:pt x="19266" y="14339"/>
                    <a:pt x="19272" y="14312"/>
                  </a:cubicBezTo>
                  <a:cubicBezTo>
                    <a:pt x="19063" y="14231"/>
                    <a:pt x="18954" y="14030"/>
                    <a:pt x="18785" y="13904"/>
                  </a:cubicBezTo>
                  <a:cubicBezTo>
                    <a:pt x="18578" y="14007"/>
                    <a:pt x="18402" y="14163"/>
                    <a:pt x="18206" y="14284"/>
                  </a:cubicBezTo>
                  <a:cubicBezTo>
                    <a:pt x="18288" y="14099"/>
                    <a:pt x="18467" y="14001"/>
                    <a:pt x="18652" y="13940"/>
                  </a:cubicBezTo>
                  <a:cubicBezTo>
                    <a:pt x="18511" y="13794"/>
                    <a:pt x="18310" y="13786"/>
                    <a:pt x="18119" y="13799"/>
                  </a:cubicBezTo>
                  <a:cubicBezTo>
                    <a:pt x="18158" y="13743"/>
                    <a:pt x="18195" y="13685"/>
                    <a:pt x="18230" y="13626"/>
                  </a:cubicBezTo>
                  <a:cubicBezTo>
                    <a:pt x="18250" y="13671"/>
                    <a:pt x="18270" y="13715"/>
                    <a:pt x="18291" y="13760"/>
                  </a:cubicBezTo>
                  <a:cubicBezTo>
                    <a:pt x="18409" y="13746"/>
                    <a:pt x="18525" y="13769"/>
                    <a:pt x="18630" y="13824"/>
                  </a:cubicBezTo>
                  <a:cubicBezTo>
                    <a:pt x="18726" y="13880"/>
                    <a:pt x="18826" y="13812"/>
                    <a:pt x="18913" y="13772"/>
                  </a:cubicBezTo>
                  <a:cubicBezTo>
                    <a:pt x="18942" y="13936"/>
                    <a:pt x="19048" y="14069"/>
                    <a:pt x="19143" y="14200"/>
                  </a:cubicBezTo>
                  <a:cubicBezTo>
                    <a:pt x="19415" y="14183"/>
                    <a:pt x="19695" y="14105"/>
                    <a:pt x="19900" y="13918"/>
                  </a:cubicBezTo>
                  <a:cubicBezTo>
                    <a:pt x="19775" y="13918"/>
                    <a:pt x="19660" y="13913"/>
                    <a:pt x="19537" y="13914"/>
                  </a:cubicBezTo>
                  <a:lnTo>
                    <a:pt x="19992" y="13814"/>
                  </a:lnTo>
                  <a:cubicBezTo>
                    <a:pt x="19983" y="13764"/>
                    <a:pt x="19975" y="13714"/>
                    <a:pt x="19966" y="13664"/>
                  </a:cubicBezTo>
                  <a:cubicBezTo>
                    <a:pt x="20110" y="13609"/>
                    <a:pt x="20258" y="13553"/>
                    <a:pt x="20400" y="13488"/>
                  </a:cubicBezTo>
                  <a:cubicBezTo>
                    <a:pt x="20383" y="13373"/>
                    <a:pt x="20392" y="13257"/>
                    <a:pt x="20415" y="13143"/>
                  </a:cubicBezTo>
                  <a:cubicBezTo>
                    <a:pt x="20254" y="13172"/>
                    <a:pt x="20114" y="13244"/>
                    <a:pt x="19995" y="13352"/>
                  </a:cubicBezTo>
                  <a:cubicBezTo>
                    <a:pt x="19781" y="13455"/>
                    <a:pt x="19537" y="13443"/>
                    <a:pt x="19306" y="13465"/>
                  </a:cubicBezTo>
                  <a:cubicBezTo>
                    <a:pt x="19376" y="13516"/>
                    <a:pt x="19435" y="13569"/>
                    <a:pt x="19513" y="13611"/>
                  </a:cubicBezTo>
                  <a:cubicBezTo>
                    <a:pt x="19338" y="13647"/>
                    <a:pt x="19164" y="13694"/>
                    <a:pt x="18992" y="13743"/>
                  </a:cubicBezTo>
                  <a:cubicBezTo>
                    <a:pt x="19074" y="13706"/>
                    <a:pt x="19201" y="13670"/>
                    <a:pt x="19156" y="13559"/>
                  </a:cubicBezTo>
                  <a:cubicBezTo>
                    <a:pt x="19071" y="13435"/>
                    <a:pt x="18913" y="13390"/>
                    <a:pt x="18783" y="13325"/>
                  </a:cubicBezTo>
                  <a:cubicBezTo>
                    <a:pt x="18658" y="13261"/>
                    <a:pt x="18538" y="13373"/>
                    <a:pt x="18425" y="13414"/>
                  </a:cubicBezTo>
                  <a:cubicBezTo>
                    <a:pt x="18478" y="13369"/>
                    <a:pt x="18532" y="13324"/>
                    <a:pt x="18586" y="13279"/>
                  </a:cubicBezTo>
                  <a:cubicBezTo>
                    <a:pt x="18555" y="13254"/>
                    <a:pt x="18525" y="13228"/>
                    <a:pt x="18495" y="13202"/>
                  </a:cubicBezTo>
                  <a:lnTo>
                    <a:pt x="18621" y="13210"/>
                  </a:lnTo>
                  <a:cubicBezTo>
                    <a:pt x="18627" y="13177"/>
                    <a:pt x="18632" y="13143"/>
                    <a:pt x="18638" y="13109"/>
                  </a:cubicBezTo>
                  <a:cubicBezTo>
                    <a:pt x="18743" y="13196"/>
                    <a:pt x="18852" y="13279"/>
                    <a:pt x="18978" y="13333"/>
                  </a:cubicBezTo>
                  <a:cubicBezTo>
                    <a:pt x="19157" y="13288"/>
                    <a:pt x="19351" y="13165"/>
                    <a:pt x="19337" y="12951"/>
                  </a:cubicBezTo>
                  <a:cubicBezTo>
                    <a:pt x="19206" y="12822"/>
                    <a:pt x="19000" y="12844"/>
                    <a:pt x="18835" y="12789"/>
                  </a:cubicBezTo>
                  <a:cubicBezTo>
                    <a:pt x="19014" y="12775"/>
                    <a:pt x="19194" y="12774"/>
                    <a:pt x="19372" y="12751"/>
                  </a:cubicBezTo>
                  <a:cubicBezTo>
                    <a:pt x="19660" y="12571"/>
                    <a:pt x="19897" y="12325"/>
                    <a:pt x="20172" y="12126"/>
                  </a:cubicBezTo>
                  <a:cubicBezTo>
                    <a:pt x="20084" y="12013"/>
                    <a:pt x="20000" y="11897"/>
                    <a:pt x="19927" y="11774"/>
                  </a:cubicBezTo>
                  <a:cubicBezTo>
                    <a:pt x="20028" y="11834"/>
                    <a:pt x="20128" y="11896"/>
                    <a:pt x="20225" y="11961"/>
                  </a:cubicBezTo>
                  <a:cubicBezTo>
                    <a:pt x="20189" y="11883"/>
                    <a:pt x="20153" y="11805"/>
                    <a:pt x="20119" y="11726"/>
                  </a:cubicBezTo>
                  <a:cubicBezTo>
                    <a:pt x="20183" y="11782"/>
                    <a:pt x="20243" y="11843"/>
                    <a:pt x="20301" y="11905"/>
                  </a:cubicBezTo>
                  <a:cubicBezTo>
                    <a:pt x="20338" y="11898"/>
                    <a:pt x="20375" y="11890"/>
                    <a:pt x="20413" y="11881"/>
                  </a:cubicBezTo>
                  <a:cubicBezTo>
                    <a:pt x="20295" y="11751"/>
                    <a:pt x="20142" y="11620"/>
                    <a:pt x="20166" y="11425"/>
                  </a:cubicBezTo>
                  <a:cubicBezTo>
                    <a:pt x="20247" y="11490"/>
                    <a:pt x="20320" y="11569"/>
                    <a:pt x="20417" y="11611"/>
                  </a:cubicBezTo>
                  <a:cubicBezTo>
                    <a:pt x="20554" y="11482"/>
                    <a:pt x="20494" y="11280"/>
                    <a:pt x="20495" y="11115"/>
                  </a:cubicBezTo>
                  <a:cubicBezTo>
                    <a:pt x="20533" y="10859"/>
                    <a:pt x="20555" y="10599"/>
                    <a:pt x="20565" y="10341"/>
                  </a:cubicBezTo>
                  <a:cubicBezTo>
                    <a:pt x="20478" y="10243"/>
                    <a:pt x="20335" y="10333"/>
                    <a:pt x="20226" y="10333"/>
                  </a:cubicBezTo>
                  <a:cubicBezTo>
                    <a:pt x="20212" y="10497"/>
                    <a:pt x="20200" y="10660"/>
                    <a:pt x="20185" y="10823"/>
                  </a:cubicBezTo>
                  <a:cubicBezTo>
                    <a:pt x="20143" y="10661"/>
                    <a:pt x="20138" y="10492"/>
                    <a:pt x="20116" y="10327"/>
                  </a:cubicBezTo>
                  <a:cubicBezTo>
                    <a:pt x="20090" y="10234"/>
                    <a:pt x="19967" y="10265"/>
                    <a:pt x="19902" y="10294"/>
                  </a:cubicBezTo>
                  <a:cubicBezTo>
                    <a:pt x="19768" y="10371"/>
                    <a:pt x="19595" y="10452"/>
                    <a:pt x="19566" y="10622"/>
                  </a:cubicBezTo>
                  <a:cubicBezTo>
                    <a:pt x="19529" y="10880"/>
                    <a:pt x="19455" y="11130"/>
                    <a:pt x="19316" y="11352"/>
                  </a:cubicBezTo>
                  <a:cubicBezTo>
                    <a:pt x="19130" y="11392"/>
                    <a:pt x="19018" y="11560"/>
                    <a:pt x="18859" y="11649"/>
                  </a:cubicBezTo>
                  <a:cubicBezTo>
                    <a:pt x="18718" y="11724"/>
                    <a:pt x="18550" y="11701"/>
                    <a:pt x="18399" y="11729"/>
                  </a:cubicBezTo>
                  <a:cubicBezTo>
                    <a:pt x="18271" y="11861"/>
                    <a:pt x="18198" y="12036"/>
                    <a:pt x="18072" y="12169"/>
                  </a:cubicBezTo>
                  <a:cubicBezTo>
                    <a:pt x="17977" y="12252"/>
                    <a:pt x="17846" y="12271"/>
                    <a:pt x="17730" y="12307"/>
                  </a:cubicBezTo>
                  <a:cubicBezTo>
                    <a:pt x="17894" y="12135"/>
                    <a:pt x="18093" y="12004"/>
                    <a:pt x="18272" y="11848"/>
                  </a:cubicBezTo>
                  <a:lnTo>
                    <a:pt x="18074" y="11757"/>
                  </a:lnTo>
                  <a:cubicBezTo>
                    <a:pt x="18279" y="11679"/>
                    <a:pt x="18485" y="11583"/>
                    <a:pt x="18711" y="11595"/>
                  </a:cubicBezTo>
                  <a:cubicBezTo>
                    <a:pt x="18850" y="11604"/>
                    <a:pt x="18996" y="11504"/>
                    <a:pt x="19014" y="11362"/>
                  </a:cubicBezTo>
                  <a:cubicBezTo>
                    <a:pt x="18979" y="11189"/>
                    <a:pt x="18802" y="11101"/>
                    <a:pt x="18671" y="11005"/>
                  </a:cubicBezTo>
                  <a:cubicBezTo>
                    <a:pt x="18536" y="10906"/>
                    <a:pt x="18364" y="10900"/>
                    <a:pt x="18203" y="10906"/>
                  </a:cubicBezTo>
                  <a:cubicBezTo>
                    <a:pt x="18143" y="11002"/>
                    <a:pt x="18082" y="11096"/>
                    <a:pt x="18015" y="11186"/>
                  </a:cubicBezTo>
                  <a:cubicBezTo>
                    <a:pt x="18045" y="11094"/>
                    <a:pt x="18079" y="11003"/>
                    <a:pt x="18113" y="10912"/>
                  </a:cubicBezTo>
                  <a:lnTo>
                    <a:pt x="17919" y="10968"/>
                  </a:lnTo>
                  <a:cubicBezTo>
                    <a:pt x="17964" y="10854"/>
                    <a:pt x="18020" y="10722"/>
                    <a:pt x="17947" y="10606"/>
                  </a:cubicBezTo>
                  <a:cubicBezTo>
                    <a:pt x="17869" y="10421"/>
                    <a:pt x="17654" y="10390"/>
                    <a:pt x="17488" y="10320"/>
                  </a:cubicBezTo>
                  <a:cubicBezTo>
                    <a:pt x="17490" y="10296"/>
                    <a:pt x="17493" y="10273"/>
                    <a:pt x="17496" y="10249"/>
                  </a:cubicBezTo>
                  <a:cubicBezTo>
                    <a:pt x="17615" y="10314"/>
                    <a:pt x="17753" y="10365"/>
                    <a:pt x="17885" y="10302"/>
                  </a:cubicBezTo>
                  <a:cubicBezTo>
                    <a:pt x="18141" y="10156"/>
                    <a:pt x="18484" y="10503"/>
                    <a:pt x="18670" y="10206"/>
                  </a:cubicBezTo>
                  <a:cubicBezTo>
                    <a:pt x="18521" y="10160"/>
                    <a:pt x="18362" y="10130"/>
                    <a:pt x="18235" y="10034"/>
                  </a:cubicBezTo>
                  <a:cubicBezTo>
                    <a:pt x="18091" y="9920"/>
                    <a:pt x="17901" y="9928"/>
                    <a:pt x="17733" y="9877"/>
                  </a:cubicBezTo>
                  <a:cubicBezTo>
                    <a:pt x="17904" y="9853"/>
                    <a:pt x="18078" y="9829"/>
                    <a:pt x="18240" y="9763"/>
                  </a:cubicBezTo>
                  <a:cubicBezTo>
                    <a:pt x="18281" y="9855"/>
                    <a:pt x="18297" y="9967"/>
                    <a:pt x="18374" y="10035"/>
                  </a:cubicBezTo>
                  <a:cubicBezTo>
                    <a:pt x="18470" y="10072"/>
                    <a:pt x="18577" y="10037"/>
                    <a:pt x="18675" y="10065"/>
                  </a:cubicBezTo>
                  <a:cubicBezTo>
                    <a:pt x="18815" y="10122"/>
                    <a:pt x="18946" y="10200"/>
                    <a:pt x="19078" y="10274"/>
                  </a:cubicBezTo>
                  <a:cubicBezTo>
                    <a:pt x="19072" y="10240"/>
                    <a:pt x="19067" y="10204"/>
                    <a:pt x="19063" y="10168"/>
                  </a:cubicBezTo>
                  <a:cubicBezTo>
                    <a:pt x="19316" y="10172"/>
                    <a:pt x="19508" y="9978"/>
                    <a:pt x="19747" y="9928"/>
                  </a:cubicBezTo>
                  <a:cubicBezTo>
                    <a:pt x="19955" y="9870"/>
                    <a:pt x="20173" y="9900"/>
                    <a:pt x="20381" y="9940"/>
                  </a:cubicBezTo>
                  <a:cubicBezTo>
                    <a:pt x="20303" y="9762"/>
                    <a:pt x="20120" y="9702"/>
                    <a:pt x="19944" y="9671"/>
                  </a:cubicBezTo>
                  <a:cubicBezTo>
                    <a:pt x="20012" y="9524"/>
                    <a:pt x="19886" y="9359"/>
                    <a:pt x="19724" y="9403"/>
                  </a:cubicBezTo>
                  <a:cubicBezTo>
                    <a:pt x="19722" y="9359"/>
                    <a:pt x="19717" y="9271"/>
                    <a:pt x="19715" y="9227"/>
                  </a:cubicBezTo>
                  <a:cubicBezTo>
                    <a:pt x="19663" y="9237"/>
                    <a:pt x="19612" y="9248"/>
                    <a:pt x="19562" y="9258"/>
                  </a:cubicBezTo>
                  <a:cubicBezTo>
                    <a:pt x="19481" y="9142"/>
                    <a:pt x="19384" y="9037"/>
                    <a:pt x="19299" y="8924"/>
                  </a:cubicBezTo>
                  <a:cubicBezTo>
                    <a:pt x="19219" y="8931"/>
                    <a:pt x="19140" y="8935"/>
                    <a:pt x="19061" y="8937"/>
                  </a:cubicBezTo>
                  <a:cubicBezTo>
                    <a:pt x="19104" y="8903"/>
                    <a:pt x="19148" y="8867"/>
                    <a:pt x="19192" y="8831"/>
                  </a:cubicBezTo>
                  <a:cubicBezTo>
                    <a:pt x="19140" y="8778"/>
                    <a:pt x="19089" y="8723"/>
                    <a:pt x="19041" y="8667"/>
                  </a:cubicBezTo>
                  <a:lnTo>
                    <a:pt x="18952" y="8688"/>
                  </a:lnTo>
                  <a:cubicBezTo>
                    <a:pt x="18937" y="8452"/>
                    <a:pt x="18709" y="8330"/>
                    <a:pt x="18511" y="8262"/>
                  </a:cubicBezTo>
                  <a:cubicBezTo>
                    <a:pt x="18351" y="8206"/>
                    <a:pt x="18193" y="8139"/>
                    <a:pt x="18043" y="8058"/>
                  </a:cubicBezTo>
                  <a:cubicBezTo>
                    <a:pt x="18027" y="8089"/>
                    <a:pt x="18012" y="8119"/>
                    <a:pt x="17997" y="8149"/>
                  </a:cubicBezTo>
                  <a:cubicBezTo>
                    <a:pt x="17816" y="7983"/>
                    <a:pt x="17577" y="7910"/>
                    <a:pt x="17375" y="7778"/>
                  </a:cubicBezTo>
                  <a:lnTo>
                    <a:pt x="17195" y="7981"/>
                  </a:lnTo>
                  <a:cubicBezTo>
                    <a:pt x="17185" y="7946"/>
                    <a:pt x="17175" y="7910"/>
                    <a:pt x="17165" y="7874"/>
                  </a:cubicBezTo>
                  <a:cubicBezTo>
                    <a:pt x="17212" y="7823"/>
                    <a:pt x="17259" y="7771"/>
                    <a:pt x="17306" y="7719"/>
                  </a:cubicBezTo>
                  <a:cubicBezTo>
                    <a:pt x="17242" y="7744"/>
                    <a:pt x="17180" y="7771"/>
                    <a:pt x="17118" y="7798"/>
                  </a:cubicBezTo>
                  <a:cubicBezTo>
                    <a:pt x="17140" y="7754"/>
                    <a:pt x="17163" y="7709"/>
                    <a:pt x="17186" y="7664"/>
                  </a:cubicBezTo>
                  <a:cubicBezTo>
                    <a:pt x="17090" y="7717"/>
                    <a:pt x="16989" y="7731"/>
                    <a:pt x="16917" y="7645"/>
                  </a:cubicBezTo>
                  <a:cubicBezTo>
                    <a:pt x="16734" y="7578"/>
                    <a:pt x="16530" y="7622"/>
                    <a:pt x="16392" y="7760"/>
                  </a:cubicBezTo>
                  <a:cubicBezTo>
                    <a:pt x="16415" y="7763"/>
                    <a:pt x="16462" y="7770"/>
                    <a:pt x="16485" y="7774"/>
                  </a:cubicBezTo>
                  <a:cubicBezTo>
                    <a:pt x="16345" y="7902"/>
                    <a:pt x="16245" y="8063"/>
                    <a:pt x="16159" y="8231"/>
                  </a:cubicBezTo>
                  <a:cubicBezTo>
                    <a:pt x="16123" y="7976"/>
                    <a:pt x="16391" y="7801"/>
                    <a:pt x="16348" y="7547"/>
                  </a:cubicBezTo>
                  <a:cubicBezTo>
                    <a:pt x="16339" y="7401"/>
                    <a:pt x="16174" y="7366"/>
                    <a:pt x="16080" y="7287"/>
                  </a:cubicBezTo>
                  <a:cubicBezTo>
                    <a:pt x="15887" y="7174"/>
                    <a:pt x="15790" y="6945"/>
                    <a:pt x="15790" y="6727"/>
                  </a:cubicBezTo>
                  <a:cubicBezTo>
                    <a:pt x="15791" y="6582"/>
                    <a:pt x="15626" y="6512"/>
                    <a:pt x="15599" y="6376"/>
                  </a:cubicBezTo>
                  <a:cubicBezTo>
                    <a:pt x="15574" y="6266"/>
                    <a:pt x="15530" y="6163"/>
                    <a:pt x="15485" y="6060"/>
                  </a:cubicBezTo>
                  <a:cubicBezTo>
                    <a:pt x="15458" y="6092"/>
                    <a:pt x="15432" y="6124"/>
                    <a:pt x="15407" y="6156"/>
                  </a:cubicBezTo>
                  <a:cubicBezTo>
                    <a:pt x="15380" y="6005"/>
                    <a:pt x="15310" y="5864"/>
                    <a:pt x="15199" y="5758"/>
                  </a:cubicBezTo>
                  <a:cubicBezTo>
                    <a:pt x="15160" y="5801"/>
                    <a:pt x="15123" y="5844"/>
                    <a:pt x="15085" y="5886"/>
                  </a:cubicBezTo>
                  <a:cubicBezTo>
                    <a:pt x="15098" y="5827"/>
                    <a:pt x="15112" y="5769"/>
                    <a:pt x="15127" y="5710"/>
                  </a:cubicBezTo>
                  <a:lnTo>
                    <a:pt x="14956" y="5782"/>
                  </a:lnTo>
                  <a:cubicBezTo>
                    <a:pt x="14961" y="5751"/>
                    <a:pt x="14967" y="5720"/>
                    <a:pt x="14973" y="5689"/>
                  </a:cubicBezTo>
                  <a:cubicBezTo>
                    <a:pt x="14861" y="5596"/>
                    <a:pt x="14771" y="5481"/>
                    <a:pt x="14672" y="5375"/>
                  </a:cubicBezTo>
                  <a:cubicBezTo>
                    <a:pt x="14645" y="5427"/>
                    <a:pt x="14617" y="5479"/>
                    <a:pt x="14589" y="5531"/>
                  </a:cubicBezTo>
                  <a:cubicBezTo>
                    <a:pt x="14561" y="5455"/>
                    <a:pt x="14534" y="5378"/>
                    <a:pt x="14506" y="5302"/>
                  </a:cubicBezTo>
                  <a:cubicBezTo>
                    <a:pt x="14483" y="5331"/>
                    <a:pt x="14460" y="5359"/>
                    <a:pt x="14438" y="5387"/>
                  </a:cubicBezTo>
                  <a:cubicBezTo>
                    <a:pt x="14421" y="5315"/>
                    <a:pt x="14404" y="5243"/>
                    <a:pt x="14384" y="5172"/>
                  </a:cubicBezTo>
                  <a:cubicBezTo>
                    <a:pt x="14367" y="5286"/>
                    <a:pt x="14347" y="5399"/>
                    <a:pt x="14329" y="5512"/>
                  </a:cubicBezTo>
                  <a:cubicBezTo>
                    <a:pt x="14318" y="5302"/>
                    <a:pt x="14211" y="5076"/>
                    <a:pt x="13983" y="5036"/>
                  </a:cubicBezTo>
                  <a:cubicBezTo>
                    <a:pt x="13960" y="5328"/>
                    <a:pt x="14085" y="5603"/>
                    <a:pt x="14292" y="5803"/>
                  </a:cubicBezTo>
                  <a:cubicBezTo>
                    <a:pt x="14160" y="5815"/>
                    <a:pt x="14030" y="5834"/>
                    <a:pt x="13900" y="5856"/>
                  </a:cubicBezTo>
                  <a:cubicBezTo>
                    <a:pt x="13949" y="5821"/>
                    <a:pt x="13999" y="5788"/>
                    <a:pt x="14051" y="5757"/>
                  </a:cubicBezTo>
                  <a:cubicBezTo>
                    <a:pt x="13998" y="5618"/>
                    <a:pt x="13962" y="5474"/>
                    <a:pt x="13925" y="5330"/>
                  </a:cubicBezTo>
                  <a:cubicBezTo>
                    <a:pt x="13870" y="5389"/>
                    <a:pt x="13814" y="5448"/>
                    <a:pt x="13759" y="5506"/>
                  </a:cubicBezTo>
                  <a:cubicBezTo>
                    <a:pt x="13809" y="5405"/>
                    <a:pt x="13875" y="5308"/>
                    <a:pt x="13903" y="5196"/>
                  </a:cubicBezTo>
                  <a:cubicBezTo>
                    <a:pt x="13829" y="5100"/>
                    <a:pt x="13706" y="5067"/>
                    <a:pt x="13603" y="5015"/>
                  </a:cubicBezTo>
                  <a:lnTo>
                    <a:pt x="13462" y="5188"/>
                  </a:lnTo>
                  <a:cubicBezTo>
                    <a:pt x="13461" y="5141"/>
                    <a:pt x="13461" y="5095"/>
                    <a:pt x="13461" y="5048"/>
                  </a:cubicBezTo>
                  <a:cubicBezTo>
                    <a:pt x="13402" y="5073"/>
                    <a:pt x="13343" y="5100"/>
                    <a:pt x="13285" y="5127"/>
                  </a:cubicBezTo>
                  <a:cubicBezTo>
                    <a:pt x="13267" y="5084"/>
                    <a:pt x="13249" y="5040"/>
                    <a:pt x="13231" y="4996"/>
                  </a:cubicBezTo>
                  <a:cubicBezTo>
                    <a:pt x="13192" y="5008"/>
                    <a:pt x="13152" y="5018"/>
                    <a:pt x="13113" y="5028"/>
                  </a:cubicBezTo>
                  <a:cubicBezTo>
                    <a:pt x="13158" y="4898"/>
                    <a:pt x="13307" y="4728"/>
                    <a:pt x="13137" y="4620"/>
                  </a:cubicBezTo>
                  <a:cubicBezTo>
                    <a:pt x="13059" y="4429"/>
                    <a:pt x="12888" y="4644"/>
                    <a:pt x="12763" y="4559"/>
                  </a:cubicBezTo>
                  <a:cubicBezTo>
                    <a:pt x="12721" y="4492"/>
                    <a:pt x="12748" y="4410"/>
                    <a:pt x="12758" y="4337"/>
                  </a:cubicBezTo>
                  <a:cubicBezTo>
                    <a:pt x="12799" y="4377"/>
                    <a:pt x="12840" y="4416"/>
                    <a:pt x="12881" y="4455"/>
                  </a:cubicBezTo>
                  <a:cubicBezTo>
                    <a:pt x="12947" y="4309"/>
                    <a:pt x="13050" y="4155"/>
                    <a:pt x="13027" y="3988"/>
                  </a:cubicBezTo>
                  <a:cubicBezTo>
                    <a:pt x="12940" y="3927"/>
                    <a:pt x="12828" y="3920"/>
                    <a:pt x="12728" y="3894"/>
                  </a:cubicBezTo>
                  <a:cubicBezTo>
                    <a:pt x="12715" y="3856"/>
                    <a:pt x="12702" y="3818"/>
                    <a:pt x="12690" y="3780"/>
                  </a:cubicBezTo>
                  <a:cubicBezTo>
                    <a:pt x="12638" y="3830"/>
                    <a:pt x="12585" y="3879"/>
                    <a:pt x="12530" y="3925"/>
                  </a:cubicBezTo>
                  <a:cubicBezTo>
                    <a:pt x="12569" y="3747"/>
                    <a:pt x="12740" y="3692"/>
                    <a:pt x="12902" y="3708"/>
                  </a:cubicBezTo>
                  <a:cubicBezTo>
                    <a:pt x="12910" y="3582"/>
                    <a:pt x="12918" y="3455"/>
                    <a:pt x="12927" y="3328"/>
                  </a:cubicBezTo>
                  <a:cubicBezTo>
                    <a:pt x="12886" y="3268"/>
                    <a:pt x="12851" y="3203"/>
                    <a:pt x="12821" y="3136"/>
                  </a:cubicBezTo>
                  <a:cubicBezTo>
                    <a:pt x="12757" y="3110"/>
                    <a:pt x="12694" y="3085"/>
                    <a:pt x="12629" y="3062"/>
                  </a:cubicBezTo>
                  <a:cubicBezTo>
                    <a:pt x="12764" y="2849"/>
                    <a:pt x="12539" y="2667"/>
                    <a:pt x="12424" y="2508"/>
                  </a:cubicBezTo>
                  <a:cubicBezTo>
                    <a:pt x="12327" y="2355"/>
                    <a:pt x="12134" y="2439"/>
                    <a:pt x="11988" y="2407"/>
                  </a:cubicBezTo>
                  <a:cubicBezTo>
                    <a:pt x="12091" y="2353"/>
                    <a:pt x="12196" y="2304"/>
                    <a:pt x="12301" y="2253"/>
                  </a:cubicBezTo>
                  <a:cubicBezTo>
                    <a:pt x="12273" y="2251"/>
                    <a:pt x="12246" y="2247"/>
                    <a:pt x="12219" y="2244"/>
                  </a:cubicBezTo>
                  <a:cubicBezTo>
                    <a:pt x="12270" y="2076"/>
                    <a:pt x="12175" y="1892"/>
                    <a:pt x="12273" y="1737"/>
                  </a:cubicBezTo>
                  <a:cubicBezTo>
                    <a:pt x="12322" y="1658"/>
                    <a:pt x="12208" y="1619"/>
                    <a:pt x="12165" y="1570"/>
                  </a:cubicBezTo>
                  <a:cubicBezTo>
                    <a:pt x="12191" y="1431"/>
                    <a:pt x="12185" y="1270"/>
                    <a:pt x="12037" y="1202"/>
                  </a:cubicBezTo>
                  <a:cubicBezTo>
                    <a:pt x="12058" y="1183"/>
                    <a:pt x="12078" y="1164"/>
                    <a:pt x="12100" y="1144"/>
                  </a:cubicBezTo>
                  <a:cubicBezTo>
                    <a:pt x="12082" y="1138"/>
                    <a:pt x="12046" y="1128"/>
                    <a:pt x="12029" y="1122"/>
                  </a:cubicBezTo>
                  <a:cubicBezTo>
                    <a:pt x="12036" y="1101"/>
                    <a:pt x="12044" y="1079"/>
                    <a:pt x="12052" y="1057"/>
                  </a:cubicBezTo>
                  <a:cubicBezTo>
                    <a:pt x="12041" y="1060"/>
                    <a:pt x="12019" y="1064"/>
                    <a:pt x="12008" y="1067"/>
                  </a:cubicBezTo>
                  <a:cubicBezTo>
                    <a:pt x="12037" y="974"/>
                    <a:pt x="12065" y="874"/>
                    <a:pt x="12040" y="777"/>
                  </a:cubicBezTo>
                  <a:cubicBezTo>
                    <a:pt x="12019" y="663"/>
                    <a:pt x="11916" y="593"/>
                    <a:pt x="11865" y="494"/>
                  </a:cubicBezTo>
                  <a:cubicBezTo>
                    <a:pt x="11859" y="390"/>
                    <a:pt x="11910" y="290"/>
                    <a:pt x="11899" y="185"/>
                  </a:cubicBezTo>
                  <a:cubicBezTo>
                    <a:pt x="11803" y="108"/>
                    <a:pt x="11688" y="63"/>
                    <a:pt x="11584" y="0"/>
                  </a:cubicBezTo>
                  <a:lnTo>
                    <a:pt x="11544" y="0"/>
                  </a:lnTo>
                  <a:cubicBezTo>
                    <a:pt x="11404" y="81"/>
                    <a:pt x="11256" y="148"/>
                    <a:pt x="11118" y="233"/>
                  </a:cubicBezTo>
                  <a:cubicBezTo>
                    <a:pt x="11014" y="301"/>
                    <a:pt x="11044" y="439"/>
                    <a:pt x="11048" y="543"/>
                  </a:cubicBezTo>
                  <a:cubicBezTo>
                    <a:pt x="10970" y="585"/>
                    <a:pt x="10899" y="638"/>
                    <a:pt x="10832" y="695"/>
                  </a:cubicBezTo>
                  <a:cubicBezTo>
                    <a:pt x="10841" y="717"/>
                    <a:pt x="10857" y="761"/>
                    <a:pt x="10865" y="782"/>
                  </a:cubicBezTo>
                  <a:lnTo>
                    <a:pt x="10535" y="717"/>
                  </a:lnTo>
                  <a:cubicBezTo>
                    <a:pt x="10634" y="767"/>
                    <a:pt x="10734" y="811"/>
                    <a:pt x="10839" y="845"/>
                  </a:cubicBezTo>
                  <a:cubicBezTo>
                    <a:pt x="10743" y="904"/>
                    <a:pt x="10647" y="965"/>
                    <a:pt x="10549" y="1019"/>
                  </a:cubicBezTo>
                  <a:cubicBezTo>
                    <a:pt x="10551" y="995"/>
                    <a:pt x="10554" y="970"/>
                    <a:pt x="10557" y="944"/>
                  </a:cubicBezTo>
                  <a:cubicBezTo>
                    <a:pt x="10503" y="903"/>
                    <a:pt x="10462" y="847"/>
                    <a:pt x="10414" y="800"/>
                  </a:cubicBezTo>
                  <a:cubicBezTo>
                    <a:pt x="10382" y="849"/>
                    <a:pt x="10355" y="900"/>
                    <a:pt x="10328" y="951"/>
                  </a:cubicBezTo>
                  <a:cubicBezTo>
                    <a:pt x="10178" y="853"/>
                    <a:pt x="10025" y="723"/>
                    <a:pt x="9830" y="788"/>
                  </a:cubicBezTo>
                  <a:cubicBezTo>
                    <a:pt x="9905" y="855"/>
                    <a:pt x="9981" y="922"/>
                    <a:pt x="10061" y="983"/>
                  </a:cubicBezTo>
                  <a:cubicBezTo>
                    <a:pt x="9860" y="1037"/>
                    <a:pt x="9708" y="1180"/>
                    <a:pt x="9574" y="1331"/>
                  </a:cubicBezTo>
                  <a:cubicBezTo>
                    <a:pt x="9602" y="1335"/>
                    <a:pt x="9630" y="1339"/>
                    <a:pt x="9659" y="1342"/>
                  </a:cubicBezTo>
                  <a:cubicBezTo>
                    <a:pt x="9450" y="1405"/>
                    <a:pt x="9435" y="1630"/>
                    <a:pt x="9397" y="1805"/>
                  </a:cubicBezTo>
                  <a:cubicBezTo>
                    <a:pt x="9360" y="1809"/>
                    <a:pt x="9324" y="1812"/>
                    <a:pt x="9288" y="1815"/>
                  </a:cubicBezTo>
                  <a:cubicBezTo>
                    <a:pt x="9333" y="1856"/>
                    <a:pt x="9379" y="1897"/>
                    <a:pt x="9425" y="1937"/>
                  </a:cubicBezTo>
                  <a:cubicBezTo>
                    <a:pt x="9100" y="1984"/>
                    <a:pt x="8986" y="2350"/>
                    <a:pt x="8991" y="2640"/>
                  </a:cubicBezTo>
                  <a:cubicBezTo>
                    <a:pt x="8912" y="2703"/>
                    <a:pt x="8809" y="2753"/>
                    <a:pt x="8769" y="2852"/>
                  </a:cubicBezTo>
                  <a:cubicBezTo>
                    <a:pt x="8713" y="3036"/>
                    <a:pt x="8616" y="3201"/>
                    <a:pt x="8508" y="3358"/>
                  </a:cubicBezTo>
                  <a:cubicBezTo>
                    <a:pt x="8559" y="3365"/>
                    <a:pt x="8610" y="3370"/>
                    <a:pt x="8662" y="3376"/>
                  </a:cubicBezTo>
                  <a:cubicBezTo>
                    <a:pt x="8605" y="3451"/>
                    <a:pt x="8548" y="3525"/>
                    <a:pt x="8490" y="3597"/>
                  </a:cubicBezTo>
                  <a:lnTo>
                    <a:pt x="8644" y="3641"/>
                  </a:lnTo>
                  <a:lnTo>
                    <a:pt x="8478" y="3741"/>
                  </a:lnTo>
                  <a:cubicBezTo>
                    <a:pt x="8548" y="3782"/>
                    <a:pt x="8618" y="3824"/>
                    <a:pt x="8686" y="3867"/>
                  </a:cubicBezTo>
                  <a:cubicBezTo>
                    <a:pt x="8688" y="3844"/>
                    <a:pt x="8691" y="3798"/>
                    <a:pt x="8692" y="3775"/>
                  </a:cubicBezTo>
                  <a:cubicBezTo>
                    <a:pt x="8784" y="3890"/>
                    <a:pt x="8949" y="4019"/>
                    <a:pt x="8831" y="4173"/>
                  </a:cubicBezTo>
                  <a:lnTo>
                    <a:pt x="8952" y="4230"/>
                  </a:lnTo>
                  <a:cubicBezTo>
                    <a:pt x="9052" y="4097"/>
                    <a:pt x="9163" y="3970"/>
                    <a:pt x="9300" y="3872"/>
                  </a:cubicBezTo>
                  <a:cubicBezTo>
                    <a:pt x="9188" y="4003"/>
                    <a:pt x="9103" y="4155"/>
                    <a:pt x="9087" y="4329"/>
                  </a:cubicBezTo>
                  <a:cubicBezTo>
                    <a:pt x="8938" y="4323"/>
                    <a:pt x="8810" y="4254"/>
                    <a:pt x="8701" y="4156"/>
                  </a:cubicBezTo>
                  <a:cubicBezTo>
                    <a:pt x="8697" y="4214"/>
                    <a:pt x="8693" y="4272"/>
                    <a:pt x="8689" y="4329"/>
                  </a:cubicBezTo>
                  <a:cubicBezTo>
                    <a:pt x="8577" y="4109"/>
                    <a:pt x="8486" y="3874"/>
                    <a:pt x="8326" y="3682"/>
                  </a:cubicBezTo>
                  <a:cubicBezTo>
                    <a:pt x="8307" y="3892"/>
                    <a:pt x="8293" y="4107"/>
                    <a:pt x="8360" y="4310"/>
                  </a:cubicBezTo>
                  <a:cubicBezTo>
                    <a:pt x="8232" y="4455"/>
                    <a:pt x="8281" y="4663"/>
                    <a:pt x="8265" y="4839"/>
                  </a:cubicBezTo>
                  <a:cubicBezTo>
                    <a:pt x="8225" y="4788"/>
                    <a:pt x="8187" y="4736"/>
                    <a:pt x="8149" y="4683"/>
                  </a:cubicBezTo>
                  <a:cubicBezTo>
                    <a:pt x="8170" y="4862"/>
                    <a:pt x="8079" y="5018"/>
                    <a:pt x="8023" y="5179"/>
                  </a:cubicBezTo>
                  <a:cubicBezTo>
                    <a:pt x="7974" y="5124"/>
                    <a:pt x="7925" y="5069"/>
                    <a:pt x="7873" y="5017"/>
                  </a:cubicBezTo>
                  <a:cubicBezTo>
                    <a:pt x="7875" y="5125"/>
                    <a:pt x="7891" y="5234"/>
                    <a:pt x="7879" y="5342"/>
                  </a:cubicBezTo>
                  <a:cubicBezTo>
                    <a:pt x="7855" y="5421"/>
                    <a:pt x="7774" y="5461"/>
                    <a:pt x="7718" y="5514"/>
                  </a:cubicBezTo>
                  <a:cubicBezTo>
                    <a:pt x="7703" y="5626"/>
                    <a:pt x="7685" y="5738"/>
                    <a:pt x="7689" y="5851"/>
                  </a:cubicBezTo>
                  <a:cubicBezTo>
                    <a:pt x="7700" y="5998"/>
                    <a:pt x="7803" y="6113"/>
                    <a:pt x="7894" y="6220"/>
                  </a:cubicBezTo>
                  <a:cubicBezTo>
                    <a:pt x="7867" y="6224"/>
                    <a:pt x="7841" y="6226"/>
                    <a:pt x="7815" y="6229"/>
                  </a:cubicBezTo>
                  <a:cubicBezTo>
                    <a:pt x="7787" y="6348"/>
                    <a:pt x="7683" y="6414"/>
                    <a:pt x="7611" y="6502"/>
                  </a:cubicBezTo>
                  <a:cubicBezTo>
                    <a:pt x="7570" y="6644"/>
                    <a:pt x="7643" y="6790"/>
                    <a:pt x="7649" y="6932"/>
                  </a:cubicBezTo>
                  <a:cubicBezTo>
                    <a:pt x="7671" y="7056"/>
                    <a:pt x="7644" y="7185"/>
                    <a:pt x="7674" y="7308"/>
                  </a:cubicBezTo>
                  <a:cubicBezTo>
                    <a:pt x="7737" y="7390"/>
                    <a:pt x="7869" y="7424"/>
                    <a:pt x="7881" y="7541"/>
                  </a:cubicBezTo>
                  <a:cubicBezTo>
                    <a:pt x="7898" y="7622"/>
                    <a:pt x="7832" y="7685"/>
                    <a:pt x="7795" y="7749"/>
                  </a:cubicBezTo>
                  <a:cubicBezTo>
                    <a:pt x="7883" y="7732"/>
                    <a:pt x="7970" y="7713"/>
                    <a:pt x="8059" y="7694"/>
                  </a:cubicBezTo>
                  <a:cubicBezTo>
                    <a:pt x="8029" y="7747"/>
                    <a:pt x="8000" y="7799"/>
                    <a:pt x="7970" y="7850"/>
                  </a:cubicBezTo>
                  <a:lnTo>
                    <a:pt x="7721" y="7851"/>
                  </a:lnTo>
                  <a:cubicBezTo>
                    <a:pt x="7790" y="7876"/>
                    <a:pt x="7860" y="7899"/>
                    <a:pt x="7931" y="7920"/>
                  </a:cubicBezTo>
                  <a:cubicBezTo>
                    <a:pt x="7905" y="7947"/>
                    <a:pt x="7879" y="7974"/>
                    <a:pt x="7853" y="8000"/>
                  </a:cubicBezTo>
                  <a:cubicBezTo>
                    <a:pt x="7886" y="8055"/>
                    <a:pt x="7918" y="8109"/>
                    <a:pt x="7950" y="8163"/>
                  </a:cubicBezTo>
                  <a:cubicBezTo>
                    <a:pt x="7965" y="8102"/>
                    <a:pt x="7983" y="8041"/>
                    <a:pt x="8002" y="7981"/>
                  </a:cubicBezTo>
                  <a:cubicBezTo>
                    <a:pt x="8044" y="8068"/>
                    <a:pt x="8105" y="8145"/>
                    <a:pt x="8152" y="8229"/>
                  </a:cubicBezTo>
                  <a:cubicBezTo>
                    <a:pt x="8069" y="8217"/>
                    <a:pt x="7986" y="8204"/>
                    <a:pt x="7903" y="8189"/>
                  </a:cubicBezTo>
                  <a:cubicBezTo>
                    <a:pt x="7922" y="8239"/>
                    <a:pt x="7942" y="8288"/>
                    <a:pt x="7962" y="8337"/>
                  </a:cubicBezTo>
                  <a:cubicBezTo>
                    <a:pt x="8159" y="8383"/>
                    <a:pt x="8340" y="8275"/>
                    <a:pt x="8440" y="8114"/>
                  </a:cubicBezTo>
                  <a:cubicBezTo>
                    <a:pt x="8547" y="8135"/>
                    <a:pt x="8690" y="8144"/>
                    <a:pt x="8717" y="8275"/>
                  </a:cubicBezTo>
                  <a:cubicBezTo>
                    <a:pt x="8732" y="8299"/>
                    <a:pt x="8747" y="8323"/>
                    <a:pt x="8763" y="8346"/>
                  </a:cubicBezTo>
                  <a:lnTo>
                    <a:pt x="8628" y="8342"/>
                  </a:lnTo>
                  <a:cubicBezTo>
                    <a:pt x="8651" y="8487"/>
                    <a:pt x="8677" y="8632"/>
                    <a:pt x="8699" y="8778"/>
                  </a:cubicBezTo>
                  <a:cubicBezTo>
                    <a:pt x="8851" y="8697"/>
                    <a:pt x="8996" y="8777"/>
                    <a:pt x="9126" y="8863"/>
                  </a:cubicBezTo>
                  <a:cubicBezTo>
                    <a:pt x="9079" y="8870"/>
                    <a:pt x="9033" y="8875"/>
                    <a:pt x="8987" y="8881"/>
                  </a:cubicBezTo>
                  <a:cubicBezTo>
                    <a:pt x="8980" y="8914"/>
                    <a:pt x="8974" y="8946"/>
                    <a:pt x="8969" y="8979"/>
                  </a:cubicBezTo>
                  <a:cubicBezTo>
                    <a:pt x="8896" y="8896"/>
                    <a:pt x="8801" y="8829"/>
                    <a:pt x="8685" y="8844"/>
                  </a:cubicBezTo>
                  <a:cubicBezTo>
                    <a:pt x="8764" y="9001"/>
                    <a:pt x="8825" y="9168"/>
                    <a:pt x="8828" y="9345"/>
                  </a:cubicBezTo>
                  <a:cubicBezTo>
                    <a:pt x="8823" y="9465"/>
                    <a:pt x="8950" y="9509"/>
                    <a:pt x="9032" y="9566"/>
                  </a:cubicBezTo>
                  <a:cubicBezTo>
                    <a:pt x="8991" y="9627"/>
                    <a:pt x="8958" y="9697"/>
                    <a:pt x="8900" y="9742"/>
                  </a:cubicBezTo>
                  <a:cubicBezTo>
                    <a:pt x="8715" y="9777"/>
                    <a:pt x="8518" y="9736"/>
                    <a:pt x="8339" y="9809"/>
                  </a:cubicBezTo>
                  <a:cubicBezTo>
                    <a:pt x="8157" y="9871"/>
                    <a:pt x="8073" y="10065"/>
                    <a:pt x="7904" y="10146"/>
                  </a:cubicBezTo>
                  <a:cubicBezTo>
                    <a:pt x="7783" y="10210"/>
                    <a:pt x="7640" y="10229"/>
                    <a:pt x="7523" y="10300"/>
                  </a:cubicBezTo>
                  <a:cubicBezTo>
                    <a:pt x="7424" y="10393"/>
                    <a:pt x="7364" y="10517"/>
                    <a:pt x="7290" y="10629"/>
                  </a:cubicBezTo>
                  <a:cubicBezTo>
                    <a:pt x="7451" y="10842"/>
                    <a:pt x="7722" y="10735"/>
                    <a:pt x="7938" y="10703"/>
                  </a:cubicBezTo>
                  <a:cubicBezTo>
                    <a:pt x="8077" y="10682"/>
                    <a:pt x="8174" y="10574"/>
                    <a:pt x="8280" y="10492"/>
                  </a:cubicBezTo>
                  <a:cubicBezTo>
                    <a:pt x="8471" y="10331"/>
                    <a:pt x="8697" y="10196"/>
                    <a:pt x="8951" y="10174"/>
                  </a:cubicBezTo>
                  <a:cubicBezTo>
                    <a:pt x="8826" y="10263"/>
                    <a:pt x="8701" y="10354"/>
                    <a:pt x="8596" y="10467"/>
                  </a:cubicBezTo>
                  <a:lnTo>
                    <a:pt x="8764" y="10421"/>
                  </a:lnTo>
                  <a:cubicBezTo>
                    <a:pt x="8789" y="10480"/>
                    <a:pt x="8818" y="10538"/>
                    <a:pt x="8849" y="10594"/>
                  </a:cubicBezTo>
                  <a:lnTo>
                    <a:pt x="8527" y="10626"/>
                  </a:lnTo>
                  <a:cubicBezTo>
                    <a:pt x="8556" y="10667"/>
                    <a:pt x="8583" y="10709"/>
                    <a:pt x="8617" y="10746"/>
                  </a:cubicBezTo>
                  <a:cubicBezTo>
                    <a:pt x="8710" y="10732"/>
                    <a:pt x="8795" y="10691"/>
                    <a:pt x="8884" y="10660"/>
                  </a:cubicBezTo>
                  <a:cubicBezTo>
                    <a:pt x="8737" y="10835"/>
                    <a:pt x="8510" y="10904"/>
                    <a:pt x="8341" y="11051"/>
                  </a:cubicBezTo>
                  <a:cubicBezTo>
                    <a:pt x="8483" y="11016"/>
                    <a:pt x="8625" y="10965"/>
                    <a:pt x="8772" y="10953"/>
                  </a:cubicBezTo>
                  <a:cubicBezTo>
                    <a:pt x="8617" y="11067"/>
                    <a:pt x="8435" y="11146"/>
                    <a:pt x="8239" y="11126"/>
                  </a:cubicBezTo>
                  <a:cubicBezTo>
                    <a:pt x="8262" y="11165"/>
                    <a:pt x="8286" y="11204"/>
                    <a:pt x="8309" y="11243"/>
                  </a:cubicBezTo>
                  <a:cubicBezTo>
                    <a:pt x="8250" y="11222"/>
                    <a:pt x="8191" y="11200"/>
                    <a:pt x="8133" y="11178"/>
                  </a:cubicBezTo>
                  <a:cubicBezTo>
                    <a:pt x="8140" y="11214"/>
                    <a:pt x="8148" y="11249"/>
                    <a:pt x="8156" y="11284"/>
                  </a:cubicBezTo>
                  <a:cubicBezTo>
                    <a:pt x="8071" y="11243"/>
                    <a:pt x="7978" y="11210"/>
                    <a:pt x="7895" y="11170"/>
                  </a:cubicBezTo>
                  <a:cubicBezTo>
                    <a:pt x="7909" y="11288"/>
                    <a:pt x="7888" y="11419"/>
                    <a:pt x="7961" y="11520"/>
                  </a:cubicBezTo>
                  <a:cubicBezTo>
                    <a:pt x="8107" y="11706"/>
                    <a:pt x="8407" y="11683"/>
                    <a:pt x="8514" y="11910"/>
                  </a:cubicBezTo>
                  <a:cubicBezTo>
                    <a:pt x="8432" y="11865"/>
                    <a:pt x="8360" y="11794"/>
                    <a:pt x="8267" y="11775"/>
                  </a:cubicBezTo>
                  <a:cubicBezTo>
                    <a:pt x="8126" y="11785"/>
                    <a:pt x="7992" y="11848"/>
                    <a:pt x="7855" y="11878"/>
                  </a:cubicBezTo>
                  <a:cubicBezTo>
                    <a:pt x="7908" y="11972"/>
                    <a:pt x="7960" y="12066"/>
                    <a:pt x="8008" y="12162"/>
                  </a:cubicBezTo>
                  <a:lnTo>
                    <a:pt x="7821" y="11988"/>
                  </a:lnTo>
                  <a:cubicBezTo>
                    <a:pt x="7813" y="12038"/>
                    <a:pt x="7806" y="12088"/>
                    <a:pt x="7799" y="12138"/>
                  </a:cubicBezTo>
                  <a:cubicBezTo>
                    <a:pt x="7748" y="12030"/>
                    <a:pt x="7703" y="11918"/>
                    <a:pt x="7630" y="11823"/>
                  </a:cubicBezTo>
                  <a:cubicBezTo>
                    <a:pt x="7586" y="11829"/>
                    <a:pt x="7543" y="11843"/>
                    <a:pt x="7501" y="11853"/>
                  </a:cubicBezTo>
                  <a:cubicBezTo>
                    <a:pt x="7534" y="11747"/>
                    <a:pt x="7565" y="11642"/>
                    <a:pt x="7597" y="11535"/>
                  </a:cubicBezTo>
                  <a:cubicBezTo>
                    <a:pt x="7401" y="11434"/>
                    <a:pt x="7186" y="11461"/>
                    <a:pt x="6978" y="11496"/>
                  </a:cubicBezTo>
                  <a:cubicBezTo>
                    <a:pt x="6922" y="11626"/>
                    <a:pt x="6865" y="11755"/>
                    <a:pt x="6796" y="11878"/>
                  </a:cubicBezTo>
                  <a:cubicBezTo>
                    <a:pt x="6864" y="11932"/>
                    <a:pt x="6934" y="11985"/>
                    <a:pt x="7003" y="12039"/>
                  </a:cubicBezTo>
                  <a:cubicBezTo>
                    <a:pt x="6950" y="12044"/>
                    <a:pt x="6897" y="12050"/>
                    <a:pt x="6844" y="12056"/>
                  </a:cubicBezTo>
                  <a:cubicBezTo>
                    <a:pt x="6838" y="12088"/>
                    <a:pt x="6832" y="12121"/>
                    <a:pt x="6827" y="12153"/>
                  </a:cubicBezTo>
                  <a:cubicBezTo>
                    <a:pt x="6956" y="12138"/>
                    <a:pt x="7086" y="12127"/>
                    <a:pt x="7216" y="12130"/>
                  </a:cubicBezTo>
                  <a:lnTo>
                    <a:pt x="6875" y="12243"/>
                  </a:lnTo>
                  <a:cubicBezTo>
                    <a:pt x="7007" y="12403"/>
                    <a:pt x="7125" y="12575"/>
                    <a:pt x="7202" y="12768"/>
                  </a:cubicBezTo>
                  <a:cubicBezTo>
                    <a:pt x="7112" y="12636"/>
                    <a:pt x="7010" y="12499"/>
                    <a:pt x="6844" y="12463"/>
                  </a:cubicBezTo>
                  <a:cubicBezTo>
                    <a:pt x="6911" y="12550"/>
                    <a:pt x="6985" y="12632"/>
                    <a:pt x="7059" y="12713"/>
                  </a:cubicBezTo>
                  <a:lnTo>
                    <a:pt x="6872" y="12838"/>
                  </a:lnTo>
                  <a:cubicBezTo>
                    <a:pt x="6959" y="13025"/>
                    <a:pt x="7237" y="13009"/>
                    <a:pt x="7266" y="13231"/>
                  </a:cubicBezTo>
                  <a:cubicBezTo>
                    <a:pt x="7201" y="13181"/>
                    <a:pt x="7138" y="13130"/>
                    <a:pt x="7074" y="13078"/>
                  </a:cubicBezTo>
                  <a:cubicBezTo>
                    <a:pt x="7081" y="13118"/>
                    <a:pt x="7088" y="13156"/>
                    <a:pt x="7096" y="13195"/>
                  </a:cubicBezTo>
                  <a:cubicBezTo>
                    <a:pt x="7029" y="13129"/>
                    <a:pt x="6958" y="13064"/>
                    <a:pt x="6875" y="13018"/>
                  </a:cubicBezTo>
                  <a:cubicBezTo>
                    <a:pt x="6864" y="13071"/>
                    <a:pt x="6854" y="13122"/>
                    <a:pt x="6845" y="13174"/>
                  </a:cubicBezTo>
                  <a:cubicBezTo>
                    <a:pt x="6938" y="13274"/>
                    <a:pt x="7060" y="13422"/>
                    <a:pt x="7194" y="13287"/>
                  </a:cubicBezTo>
                  <a:cubicBezTo>
                    <a:pt x="7334" y="13402"/>
                    <a:pt x="7251" y="13571"/>
                    <a:pt x="7119" y="13647"/>
                  </a:cubicBezTo>
                  <a:cubicBezTo>
                    <a:pt x="7097" y="13588"/>
                    <a:pt x="7076" y="13528"/>
                    <a:pt x="7054" y="13469"/>
                  </a:cubicBezTo>
                  <a:cubicBezTo>
                    <a:pt x="6980" y="13535"/>
                    <a:pt x="6848" y="13590"/>
                    <a:pt x="6866" y="13710"/>
                  </a:cubicBezTo>
                  <a:cubicBezTo>
                    <a:pt x="6908" y="13791"/>
                    <a:pt x="6992" y="13837"/>
                    <a:pt x="7065" y="13888"/>
                  </a:cubicBezTo>
                  <a:cubicBezTo>
                    <a:pt x="7002" y="13958"/>
                    <a:pt x="6965" y="14044"/>
                    <a:pt x="6926" y="14129"/>
                  </a:cubicBezTo>
                  <a:cubicBezTo>
                    <a:pt x="6879" y="14225"/>
                    <a:pt x="6774" y="14269"/>
                    <a:pt x="6687" y="14320"/>
                  </a:cubicBezTo>
                  <a:cubicBezTo>
                    <a:pt x="6703" y="14342"/>
                    <a:pt x="6719" y="14363"/>
                    <a:pt x="6736" y="14384"/>
                  </a:cubicBezTo>
                  <a:cubicBezTo>
                    <a:pt x="6806" y="14342"/>
                    <a:pt x="6877" y="14300"/>
                    <a:pt x="6949" y="14259"/>
                  </a:cubicBezTo>
                  <a:cubicBezTo>
                    <a:pt x="6884" y="14347"/>
                    <a:pt x="6813" y="14431"/>
                    <a:pt x="6740" y="14512"/>
                  </a:cubicBezTo>
                  <a:cubicBezTo>
                    <a:pt x="6759" y="14591"/>
                    <a:pt x="6779" y="14670"/>
                    <a:pt x="6795" y="14749"/>
                  </a:cubicBezTo>
                  <a:cubicBezTo>
                    <a:pt x="6726" y="14708"/>
                    <a:pt x="6658" y="14665"/>
                    <a:pt x="6590" y="14621"/>
                  </a:cubicBezTo>
                  <a:cubicBezTo>
                    <a:pt x="6590" y="14663"/>
                    <a:pt x="6591" y="14705"/>
                    <a:pt x="6591" y="14746"/>
                  </a:cubicBezTo>
                  <a:lnTo>
                    <a:pt x="6401" y="14685"/>
                  </a:lnTo>
                  <a:cubicBezTo>
                    <a:pt x="6434" y="14745"/>
                    <a:pt x="6465" y="14806"/>
                    <a:pt x="6496" y="14866"/>
                  </a:cubicBezTo>
                  <a:lnTo>
                    <a:pt x="6902" y="14776"/>
                  </a:lnTo>
                  <a:cubicBezTo>
                    <a:pt x="6809" y="14854"/>
                    <a:pt x="6704" y="14930"/>
                    <a:pt x="6657" y="15046"/>
                  </a:cubicBezTo>
                  <a:cubicBezTo>
                    <a:pt x="6599" y="15146"/>
                    <a:pt x="6652" y="15260"/>
                    <a:pt x="6675" y="15362"/>
                  </a:cubicBezTo>
                  <a:cubicBezTo>
                    <a:pt x="6535" y="15261"/>
                    <a:pt x="6379" y="15184"/>
                    <a:pt x="6207" y="15159"/>
                  </a:cubicBezTo>
                  <a:cubicBezTo>
                    <a:pt x="6349" y="15253"/>
                    <a:pt x="6497" y="15338"/>
                    <a:pt x="6626" y="15449"/>
                  </a:cubicBezTo>
                  <a:lnTo>
                    <a:pt x="6460" y="15505"/>
                  </a:lnTo>
                  <a:cubicBezTo>
                    <a:pt x="6547" y="15531"/>
                    <a:pt x="6639" y="15554"/>
                    <a:pt x="6728" y="15579"/>
                  </a:cubicBezTo>
                  <a:lnTo>
                    <a:pt x="6425" y="15636"/>
                  </a:lnTo>
                  <a:lnTo>
                    <a:pt x="6586" y="15704"/>
                  </a:lnTo>
                  <a:cubicBezTo>
                    <a:pt x="6434" y="15712"/>
                    <a:pt x="6282" y="15711"/>
                    <a:pt x="6130" y="15718"/>
                  </a:cubicBezTo>
                  <a:cubicBezTo>
                    <a:pt x="6303" y="15818"/>
                    <a:pt x="6504" y="15853"/>
                    <a:pt x="6662" y="15712"/>
                  </a:cubicBezTo>
                  <a:cubicBezTo>
                    <a:pt x="6574" y="15861"/>
                    <a:pt x="6467" y="16002"/>
                    <a:pt x="6308" y="16082"/>
                  </a:cubicBezTo>
                  <a:cubicBezTo>
                    <a:pt x="6337" y="16142"/>
                    <a:pt x="6375" y="16199"/>
                    <a:pt x="6391" y="16264"/>
                  </a:cubicBezTo>
                  <a:cubicBezTo>
                    <a:pt x="6274" y="16434"/>
                    <a:pt x="6059" y="16496"/>
                    <a:pt x="5887" y="16596"/>
                  </a:cubicBezTo>
                  <a:cubicBezTo>
                    <a:pt x="5907" y="16647"/>
                    <a:pt x="5927" y="16697"/>
                    <a:pt x="5948" y="16747"/>
                  </a:cubicBezTo>
                  <a:cubicBezTo>
                    <a:pt x="5870" y="16850"/>
                    <a:pt x="5804" y="16963"/>
                    <a:pt x="5764" y="17086"/>
                  </a:cubicBezTo>
                  <a:cubicBezTo>
                    <a:pt x="5734" y="17076"/>
                    <a:pt x="5703" y="17067"/>
                    <a:pt x="5674" y="17057"/>
                  </a:cubicBezTo>
                  <a:cubicBezTo>
                    <a:pt x="5732" y="17142"/>
                    <a:pt x="5879" y="17209"/>
                    <a:pt x="5837" y="17329"/>
                  </a:cubicBezTo>
                  <a:cubicBezTo>
                    <a:pt x="5810" y="17433"/>
                    <a:pt x="5772" y="17534"/>
                    <a:pt x="5741" y="17637"/>
                  </a:cubicBezTo>
                  <a:cubicBezTo>
                    <a:pt x="5665" y="17652"/>
                    <a:pt x="5582" y="17649"/>
                    <a:pt x="5511" y="17684"/>
                  </a:cubicBezTo>
                  <a:cubicBezTo>
                    <a:pt x="5465" y="17744"/>
                    <a:pt x="5461" y="17824"/>
                    <a:pt x="5442" y="17894"/>
                  </a:cubicBezTo>
                  <a:lnTo>
                    <a:pt x="5286" y="17875"/>
                  </a:lnTo>
                  <a:cubicBezTo>
                    <a:pt x="5171" y="18005"/>
                    <a:pt x="5067" y="18148"/>
                    <a:pt x="4920" y="18244"/>
                  </a:cubicBezTo>
                  <a:cubicBezTo>
                    <a:pt x="4755" y="18400"/>
                    <a:pt x="4509" y="18373"/>
                    <a:pt x="4329" y="18501"/>
                  </a:cubicBezTo>
                  <a:cubicBezTo>
                    <a:pt x="4237" y="18579"/>
                    <a:pt x="4121" y="18530"/>
                    <a:pt x="4021" y="18501"/>
                  </a:cubicBezTo>
                  <a:lnTo>
                    <a:pt x="3967" y="18639"/>
                  </a:lnTo>
                  <a:cubicBezTo>
                    <a:pt x="3920" y="18624"/>
                    <a:pt x="3874" y="18608"/>
                    <a:pt x="3827" y="18592"/>
                  </a:cubicBezTo>
                  <a:cubicBezTo>
                    <a:pt x="3845" y="18630"/>
                    <a:pt x="3862" y="18667"/>
                    <a:pt x="3880" y="18705"/>
                  </a:cubicBezTo>
                  <a:cubicBezTo>
                    <a:pt x="3845" y="18710"/>
                    <a:pt x="3811" y="18714"/>
                    <a:pt x="3776" y="18718"/>
                  </a:cubicBezTo>
                  <a:cubicBezTo>
                    <a:pt x="3707" y="18572"/>
                    <a:pt x="3661" y="18394"/>
                    <a:pt x="3499" y="18324"/>
                  </a:cubicBezTo>
                  <a:cubicBezTo>
                    <a:pt x="3469" y="18451"/>
                    <a:pt x="3443" y="18579"/>
                    <a:pt x="3416" y="18706"/>
                  </a:cubicBezTo>
                  <a:cubicBezTo>
                    <a:pt x="3382" y="18627"/>
                    <a:pt x="3336" y="18555"/>
                    <a:pt x="3272" y="18496"/>
                  </a:cubicBezTo>
                  <a:cubicBezTo>
                    <a:pt x="3280" y="18442"/>
                    <a:pt x="3289" y="18388"/>
                    <a:pt x="3299" y="18334"/>
                  </a:cubicBezTo>
                  <a:cubicBezTo>
                    <a:pt x="3252" y="18353"/>
                    <a:pt x="3205" y="18375"/>
                    <a:pt x="3155" y="18386"/>
                  </a:cubicBezTo>
                  <a:cubicBezTo>
                    <a:pt x="3052" y="18338"/>
                    <a:pt x="3001" y="18218"/>
                    <a:pt x="2900" y="18173"/>
                  </a:cubicBezTo>
                  <a:cubicBezTo>
                    <a:pt x="2706" y="18228"/>
                    <a:pt x="2838" y="18426"/>
                    <a:pt x="2885" y="18546"/>
                  </a:cubicBezTo>
                  <a:lnTo>
                    <a:pt x="2665" y="18583"/>
                  </a:lnTo>
                  <a:cubicBezTo>
                    <a:pt x="2629" y="18475"/>
                    <a:pt x="2590" y="18369"/>
                    <a:pt x="2556" y="18260"/>
                  </a:cubicBezTo>
                  <a:cubicBezTo>
                    <a:pt x="2489" y="18366"/>
                    <a:pt x="2429" y="18479"/>
                    <a:pt x="2343" y="18570"/>
                  </a:cubicBezTo>
                  <a:cubicBezTo>
                    <a:pt x="2297" y="18525"/>
                    <a:pt x="2253" y="18473"/>
                    <a:pt x="2233" y="18411"/>
                  </a:cubicBezTo>
                  <a:cubicBezTo>
                    <a:pt x="2281" y="18300"/>
                    <a:pt x="2364" y="18210"/>
                    <a:pt x="2439" y="18116"/>
                  </a:cubicBezTo>
                  <a:cubicBezTo>
                    <a:pt x="2195" y="18183"/>
                    <a:pt x="1862" y="18124"/>
                    <a:pt x="1693" y="18351"/>
                  </a:cubicBezTo>
                  <a:cubicBezTo>
                    <a:pt x="1572" y="18507"/>
                    <a:pt x="1410" y="18622"/>
                    <a:pt x="1279" y="18767"/>
                  </a:cubicBezTo>
                  <a:cubicBezTo>
                    <a:pt x="1461" y="18939"/>
                    <a:pt x="1667" y="19115"/>
                    <a:pt x="1932" y="19120"/>
                  </a:cubicBezTo>
                  <a:cubicBezTo>
                    <a:pt x="1932" y="19178"/>
                    <a:pt x="1935" y="19236"/>
                    <a:pt x="1943" y="19294"/>
                  </a:cubicBezTo>
                  <a:cubicBezTo>
                    <a:pt x="1650" y="19220"/>
                    <a:pt x="1345" y="19264"/>
                    <a:pt x="1090" y="19430"/>
                  </a:cubicBezTo>
                  <a:cubicBezTo>
                    <a:pt x="1133" y="19537"/>
                    <a:pt x="1177" y="19643"/>
                    <a:pt x="1220" y="19750"/>
                  </a:cubicBezTo>
                  <a:cubicBezTo>
                    <a:pt x="1106" y="19674"/>
                    <a:pt x="1038" y="19436"/>
                    <a:pt x="870" y="19481"/>
                  </a:cubicBezTo>
                  <a:cubicBezTo>
                    <a:pt x="768" y="19521"/>
                    <a:pt x="789" y="19633"/>
                    <a:pt x="805" y="19718"/>
                  </a:cubicBezTo>
                  <a:cubicBezTo>
                    <a:pt x="728" y="19753"/>
                    <a:pt x="647" y="19785"/>
                    <a:pt x="580" y="19838"/>
                  </a:cubicBezTo>
                  <a:cubicBezTo>
                    <a:pt x="565" y="19977"/>
                    <a:pt x="685" y="20065"/>
                    <a:pt x="800" y="20110"/>
                  </a:cubicBezTo>
                  <a:cubicBezTo>
                    <a:pt x="790" y="20136"/>
                    <a:pt x="781" y="20161"/>
                    <a:pt x="773" y="20186"/>
                  </a:cubicBezTo>
                  <a:cubicBezTo>
                    <a:pt x="1154" y="20370"/>
                    <a:pt x="1543" y="20096"/>
                    <a:pt x="1933" y="20139"/>
                  </a:cubicBezTo>
                  <a:cubicBezTo>
                    <a:pt x="1783" y="20203"/>
                    <a:pt x="1632" y="20262"/>
                    <a:pt x="1483" y="20328"/>
                  </a:cubicBezTo>
                  <a:cubicBezTo>
                    <a:pt x="1652" y="20421"/>
                    <a:pt x="1827" y="20518"/>
                    <a:pt x="2023" y="20530"/>
                  </a:cubicBezTo>
                  <a:cubicBezTo>
                    <a:pt x="2196" y="20532"/>
                    <a:pt x="2360" y="20471"/>
                    <a:pt x="2520" y="20412"/>
                  </a:cubicBezTo>
                  <a:cubicBezTo>
                    <a:pt x="2511" y="20472"/>
                    <a:pt x="2502" y="20533"/>
                    <a:pt x="2494" y="20593"/>
                  </a:cubicBezTo>
                  <a:cubicBezTo>
                    <a:pt x="2567" y="20609"/>
                    <a:pt x="2641" y="20623"/>
                    <a:pt x="2710" y="20652"/>
                  </a:cubicBezTo>
                  <a:cubicBezTo>
                    <a:pt x="2714" y="20876"/>
                    <a:pt x="2544" y="21041"/>
                    <a:pt x="2344" y="21109"/>
                  </a:cubicBezTo>
                  <a:cubicBezTo>
                    <a:pt x="2288" y="21018"/>
                    <a:pt x="2241" y="20919"/>
                    <a:pt x="2166" y="20842"/>
                  </a:cubicBezTo>
                  <a:cubicBezTo>
                    <a:pt x="2075" y="20754"/>
                    <a:pt x="1931" y="20793"/>
                    <a:pt x="1821" y="20777"/>
                  </a:cubicBezTo>
                  <a:cubicBezTo>
                    <a:pt x="1761" y="20886"/>
                    <a:pt x="1691" y="20989"/>
                    <a:pt x="1616" y="21086"/>
                  </a:cubicBezTo>
                  <a:cubicBezTo>
                    <a:pt x="1628" y="20981"/>
                    <a:pt x="1703" y="20861"/>
                    <a:pt x="1653" y="20759"/>
                  </a:cubicBezTo>
                  <a:cubicBezTo>
                    <a:pt x="1464" y="20575"/>
                    <a:pt x="1220" y="20775"/>
                    <a:pt x="1028" y="20848"/>
                  </a:cubicBezTo>
                  <a:cubicBezTo>
                    <a:pt x="1147" y="20954"/>
                    <a:pt x="1271" y="21056"/>
                    <a:pt x="1386" y="21167"/>
                  </a:cubicBezTo>
                  <a:cubicBezTo>
                    <a:pt x="1204" y="21134"/>
                    <a:pt x="1023" y="21108"/>
                    <a:pt x="841" y="21083"/>
                  </a:cubicBezTo>
                  <a:cubicBezTo>
                    <a:pt x="947" y="21185"/>
                    <a:pt x="1050" y="21289"/>
                    <a:pt x="1162" y="21384"/>
                  </a:cubicBezTo>
                  <a:lnTo>
                    <a:pt x="1040" y="21444"/>
                  </a:lnTo>
                  <a:cubicBezTo>
                    <a:pt x="921" y="21315"/>
                    <a:pt x="762" y="21234"/>
                    <a:pt x="585" y="21228"/>
                  </a:cubicBezTo>
                  <a:cubicBezTo>
                    <a:pt x="599" y="21301"/>
                    <a:pt x="615" y="21373"/>
                    <a:pt x="632" y="21445"/>
                  </a:cubicBezTo>
                  <a:lnTo>
                    <a:pt x="480" y="21424"/>
                  </a:lnTo>
                  <a:cubicBezTo>
                    <a:pt x="485" y="21464"/>
                    <a:pt x="490" y="21503"/>
                    <a:pt x="495" y="21543"/>
                  </a:cubicBezTo>
                  <a:lnTo>
                    <a:pt x="311" y="21495"/>
                  </a:lnTo>
                  <a:cubicBezTo>
                    <a:pt x="216" y="21654"/>
                    <a:pt x="115" y="21809"/>
                    <a:pt x="0" y="21955"/>
                  </a:cubicBezTo>
                  <a:cubicBezTo>
                    <a:pt x="48" y="22182"/>
                    <a:pt x="23" y="22418"/>
                    <a:pt x="92" y="22640"/>
                  </a:cubicBezTo>
                  <a:cubicBezTo>
                    <a:pt x="102" y="22680"/>
                    <a:pt x="137" y="22706"/>
                    <a:pt x="172" y="22725"/>
                  </a:cubicBezTo>
                  <a:cubicBezTo>
                    <a:pt x="425" y="22854"/>
                    <a:pt x="716" y="22910"/>
                    <a:pt x="942" y="23088"/>
                  </a:cubicBezTo>
                  <a:cubicBezTo>
                    <a:pt x="1136" y="23232"/>
                    <a:pt x="1359" y="23326"/>
                    <a:pt x="1579" y="23420"/>
                  </a:cubicBezTo>
                  <a:cubicBezTo>
                    <a:pt x="1546" y="23475"/>
                    <a:pt x="1512" y="23530"/>
                    <a:pt x="1479" y="23585"/>
                  </a:cubicBezTo>
                  <a:cubicBezTo>
                    <a:pt x="1691" y="23768"/>
                    <a:pt x="1960" y="23860"/>
                    <a:pt x="2212" y="23971"/>
                  </a:cubicBezTo>
                  <a:cubicBezTo>
                    <a:pt x="2367" y="24041"/>
                    <a:pt x="2529" y="23950"/>
                    <a:pt x="2687" y="23945"/>
                  </a:cubicBezTo>
                  <a:cubicBezTo>
                    <a:pt x="2881" y="24181"/>
                    <a:pt x="3032" y="24450"/>
                    <a:pt x="3158" y="24727"/>
                  </a:cubicBezTo>
                  <a:cubicBezTo>
                    <a:pt x="3246" y="24911"/>
                    <a:pt x="3148" y="25114"/>
                    <a:pt x="3134" y="25302"/>
                  </a:cubicBezTo>
                  <a:cubicBezTo>
                    <a:pt x="3095" y="25490"/>
                    <a:pt x="3119" y="25683"/>
                    <a:pt x="3132" y="25873"/>
                  </a:cubicBezTo>
                  <a:cubicBezTo>
                    <a:pt x="3315" y="25939"/>
                    <a:pt x="3480" y="26044"/>
                    <a:pt x="3632" y="26164"/>
                  </a:cubicBezTo>
                  <a:lnTo>
                    <a:pt x="3495" y="26266"/>
                  </a:lnTo>
                  <a:cubicBezTo>
                    <a:pt x="3451" y="26189"/>
                    <a:pt x="3415" y="26103"/>
                    <a:pt x="3350" y="26040"/>
                  </a:cubicBezTo>
                  <a:cubicBezTo>
                    <a:pt x="3254" y="25992"/>
                    <a:pt x="3146" y="26036"/>
                    <a:pt x="3050" y="26060"/>
                  </a:cubicBezTo>
                  <a:cubicBezTo>
                    <a:pt x="2968" y="25999"/>
                    <a:pt x="2891" y="25890"/>
                    <a:pt x="2779" y="25900"/>
                  </a:cubicBezTo>
                  <a:cubicBezTo>
                    <a:pt x="2704" y="25960"/>
                    <a:pt x="2655" y="26045"/>
                    <a:pt x="2578" y="26102"/>
                  </a:cubicBezTo>
                  <a:cubicBezTo>
                    <a:pt x="2489" y="26098"/>
                    <a:pt x="2404" y="26069"/>
                    <a:pt x="2318" y="26049"/>
                  </a:cubicBezTo>
                  <a:cubicBezTo>
                    <a:pt x="2233" y="26223"/>
                    <a:pt x="2138" y="26403"/>
                    <a:pt x="2136" y="26602"/>
                  </a:cubicBezTo>
                  <a:cubicBezTo>
                    <a:pt x="2132" y="26738"/>
                    <a:pt x="2264" y="26820"/>
                    <a:pt x="2331" y="26922"/>
                  </a:cubicBezTo>
                  <a:cubicBezTo>
                    <a:pt x="2501" y="27126"/>
                    <a:pt x="2582" y="27443"/>
                    <a:pt x="2876" y="27509"/>
                  </a:cubicBezTo>
                  <a:cubicBezTo>
                    <a:pt x="2851" y="27534"/>
                    <a:pt x="2826" y="27559"/>
                    <a:pt x="2802" y="27584"/>
                  </a:cubicBezTo>
                  <a:cubicBezTo>
                    <a:pt x="2904" y="27647"/>
                    <a:pt x="3016" y="27697"/>
                    <a:pt x="3109" y="27773"/>
                  </a:cubicBezTo>
                  <a:cubicBezTo>
                    <a:pt x="3265" y="27942"/>
                    <a:pt x="3196" y="28256"/>
                    <a:pt x="3426" y="28370"/>
                  </a:cubicBezTo>
                  <a:cubicBezTo>
                    <a:pt x="3617" y="28467"/>
                    <a:pt x="3635" y="28697"/>
                    <a:pt x="3713" y="28874"/>
                  </a:cubicBezTo>
                  <a:cubicBezTo>
                    <a:pt x="4129" y="28809"/>
                    <a:pt x="4371" y="28425"/>
                    <a:pt x="4467" y="28045"/>
                  </a:cubicBezTo>
                  <a:lnTo>
                    <a:pt x="4888" y="28122"/>
                  </a:lnTo>
                  <a:cubicBezTo>
                    <a:pt x="4756" y="28437"/>
                    <a:pt x="4539" y="28715"/>
                    <a:pt x="4435" y="29041"/>
                  </a:cubicBezTo>
                  <a:cubicBezTo>
                    <a:pt x="4362" y="29263"/>
                    <a:pt x="4579" y="29441"/>
                    <a:pt x="4575" y="29655"/>
                  </a:cubicBezTo>
                  <a:cubicBezTo>
                    <a:pt x="4503" y="29901"/>
                    <a:pt x="4339" y="30125"/>
                    <a:pt x="4360" y="30394"/>
                  </a:cubicBezTo>
                  <a:cubicBezTo>
                    <a:pt x="4500" y="30546"/>
                    <a:pt x="4715" y="30587"/>
                    <a:pt x="4902" y="30653"/>
                  </a:cubicBezTo>
                  <a:cubicBezTo>
                    <a:pt x="5032" y="30380"/>
                    <a:pt x="5124" y="30085"/>
                    <a:pt x="5294" y="29834"/>
                  </a:cubicBezTo>
                  <a:cubicBezTo>
                    <a:pt x="5424" y="29666"/>
                    <a:pt x="5621" y="29949"/>
                    <a:pt x="5776" y="29835"/>
                  </a:cubicBezTo>
                  <a:cubicBezTo>
                    <a:pt x="5865" y="29750"/>
                    <a:pt x="5940" y="29652"/>
                    <a:pt x="6023" y="29562"/>
                  </a:cubicBezTo>
                  <a:cubicBezTo>
                    <a:pt x="5926" y="29778"/>
                    <a:pt x="5766" y="29956"/>
                    <a:pt x="5555" y="30066"/>
                  </a:cubicBezTo>
                  <a:cubicBezTo>
                    <a:pt x="5364" y="30158"/>
                    <a:pt x="5283" y="30361"/>
                    <a:pt x="5166" y="30522"/>
                  </a:cubicBezTo>
                  <a:cubicBezTo>
                    <a:pt x="5056" y="30665"/>
                    <a:pt x="4901" y="30768"/>
                    <a:pt x="4803" y="30921"/>
                  </a:cubicBezTo>
                  <a:cubicBezTo>
                    <a:pt x="5229" y="31143"/>
                    <a:pt x="5641" y="31504"/>
                    <a:pt x="6155" y="31447"/>
                  </a:cubicBezTo>
                  <a:cubicBezTo>
                    <a:pt x="6161" y="31481"/>
                    <a:pt x="6167" y="31515"/>
                    <a:pt x="6174" y="31550"/>
                  </a:cubicBezTo>
                  <a:lnTo>
                    <a:pt x="6434" y="31587"/>
                  </a:lnTo>
                  <a:cubicBezTo>
                    <a:pt x="6548" y="31763"/>
                    <a:pt x="6745" y="31833"/>
                    <a:pt x="6925" y="31919"/>
                  </a:cubicBezTo>
                  <a:cubicBezTo>
                    <a:pt x="6937" y="31825"/>
                    <a:pt x="6965" y="31735"/>
                    <a:pt x="6999" y="31648"/>
                  </a:cubicBezTo>
                  <a:cubicBezTo>
                    <a:pt x="7217" y="31143"/>
                    <a:pt x="7194" y="30569"/>
                    <a:pt x="7121" y="30034"/>
                  </a:cubicBezTo>
                  <a:cubicBezTo>
                    <a:pt x="7232" y="30090"/>
                    <a:pt x="7373" y="30150"/>
                    <a:pt x="7389" y="30290"/>
                  </a:cubicBezTo>
                  <a:cubicBezTo>
                    <a:pt x="7408" y="30479"/>
                    <a:pt x="7399" y="30669"/>
                    <a:pt x="7402" y="30858"/>
                  </a:cubicBezTo>
                  <a:cubicBezTo>
                    <a:pt x="7630" y="30828"/>
                    <a:pt x="7867" y="30804"/>
                    <a:pt x="8066" y="30676"/>
                  </a:cubicBezTo>
                  <a:cubicBezTo>
                    <a:pt x="8258" y="30601"/>
                    <a:pt x="8355" y="30411"/>
                    <a:pt x="8482" y="30262"/>
                  </a:cubicBezTo>
                  <a:cubicBezTo>
                    <a:pt x="8410" y="30430"/>
                    <a:pt x="8333" y="30596"/>
                    <a:pt x="8261" y="30764"/>
                  </a:cubicBezTo>
                  <a:cubicBezTo>
                    <a:pt x="8465" y="30688"/>
                    <a:pt x="8676" y="30624"/>
                    <a:pt x="8869" y="30520"/>
                  </a:cubicBezTo>
                  <a:cubicBezTo>
                    <a:pt x="8860" y="30620"/>
                    <a:pt x="8894" y="30738"/>
                    <a:pt x="8818" y="30817"/>
                  </a:cubicBezTo>
                  <a:cubicBezTo>
                    <a:pt x="8613" y="31067"/>
                    <a:pt x="8400" y="31345"/>
                    <a:pt x="8380" y="31681"/>
                  </a:cubicBezTo>
                  <a:cubicBezTo>
                    <a:pt x="8347" y="31928"/>
                    <a:pt x="8279" y="32169"/>
                    <a:pt x="8230" y="32413"/>
                  </a:cubicBezTo>
                  <a:cubicBezTo>
                    <a:pt x="8430" y="32410"/>
                    <a:pt x="8636" y="32432"/>
                    <a:pt x="8834" y="32393"/>
                  </a:cubicBezTo>
                  <a:cubicBezTo>
                    <a:pt x="8981" y="32303"/>
                    <a:pt x="9050" y="32132"/>
                    <a:pt x="9155" y="32001"/>
                  </a:cubicBezTo>
                  <a:cubicBezTo>
                    <a:pt x="9286" y="31774"/>
                    <a:pt x="9592" y="31695"/>
                    <a:pt x="9650" y="31418"/>
                  </a:cubicBezTo>
                  <a:cubicBezTo>
                    <a:pt x="9800" y="31356"/>
                    <a:pt x="9966" y="31316"/>
                    <a:pt x="10097" y="31216"/>
                  </a:cubicBezTo>
                  <a:cubicBezTo>
                    <a:pt x="10255" y="31074"/>
                    <a:pt x="10233" y="30832"/>
                    <a:pt x="10359" y="30669"/>
                  </a:cubicBezTo>
                  <a:cubicBezTo>
                    <a:pt x="10503" y="30482"/>
                    <a:pt x="10639" y="30272"/>
                    <a:pt x="10859" y="30166"/>
                  </a:cubicBezTo>
                  <a:cubicBezTo>
                    <a:pt x="10868" y="30377"/>
                    <a:pt x="10845" y="30587"/>
                    <a:pt x="10837" y="30798"/>
                  </a:cubicBezTo>
                  <a:cubicBezTo>
                    <a:pt x="10571" y="30933"/>
                    <a:pt x="10567" y="31266"/>
                    <a:pt x="10391" y="31475"/>
                  </a:cubicBezTo>
                  <a:cubicBezTo>
                    <a:pt x="10249" y="31648"/>
                    <a:pt x="10057" y="31773"/>
                    <a:pt x="9922" y="31952"/>
                  </a:cubicBezTo>
                  <a:cubicBezTo>
                    <a:pt x="9810" y="32252"/>
                    <a:pt x="9690" y="32548"/>
                    <a:pt x="9571" y="32845"/>
                  </a:cubicBezTo>
                  <a:cubicBezTo>
                    <a:pt x="9710" y="32827"/>
                    <a:pt x="9848" y="32806"/>
                    <a:pt x="9987" y="32781"/>
                  </a:cubicBezTo>
                  <a:cubicBezTo>
                    <a:pt x="9965" y="32832"/>
                    <a:pt x="9943" y="32882"/>
                    <a:pt x="9922" y="32932"/>
                  </a:cubicBezTo>
                  <a:cubicBezTo>
                    <a:pt x="10399" y="32919"/>
                    <a:pt x="10638" y="32443"/>
                    <a:pt x="10793" y="32057"/>
                  </a:cubicBezTo>
                  <a:cubicBezTo>
                    <a:pt x="10870" y="31861"/>
                    <a:pt x="10678" y="31729"/>
                    <a:pt x="10613" y="31568"/>
                  </a:cubicBezTo>
                  <a:cubicBezTo>
                    <a:pt x="10601" y="31404"/>
                    <a:pt x="10708" y="31260"/>
                    <a:pt x="10815" y="31147"/>
                  </a:cubicBezTo>
                  <a:cubicBezTo>
                    <a:pt x="10760" y="31297"/>
                    <a:pt x="10681" y="31452"/>
                    <a:pt x="10720" y="31617"/>
                  </a:cubicBezTo>
                  <a:cubicBezTo>
                    <a:pt x="10750" y="31704"/>
                    <a:pt x="10835" y="31802"/>
                    <a:pt x="10936" y="31771"/>
                  </a:cubicBezTo>
                  <a:cubicBezTo>
                    <a:pt x="11173" y="31706"/>
                    <a:pt x="11398" y="31603"/>
                    <a:pt x="11635" y="31536"/>
                  </a:cubicBezTo>
                  <a:cubicBezTo>
                    <a:pt x="11522" y="31741"/>
                    <a:pt x="11290" y="31718"/>
                    <a:pt x="11111" y="31809"/>
                  </a:cubicBezTo>
                  <a:cubicBezTo>
                    <a:pt x="11024" y="31942"/>
                    <a:pt x="11001" y="32108"/>
                    <a:pt x="10911" y="32241"/>
                  </a:cubicBezTo>
                  <a:cubicBezTo>
                    <a:pt x="10744" y="32594"/>
                    <a:pt x="10442" y="32875"/>
                    <a:pt x="10339" y="33257"/>
                  </a:cubicBezTo>
                  <a:cubicBezTo>
                    <a:pt x="10786" y="33206"/>
                    <a:pt x="11234" y="33220"/>
                    <a:pt x="11683" y="33247"/>
                  </a:cubicBezTo>
                  <a:cubicBezTo>
                    <a:pt x="11771" y="32996"/>
                    <a:pt x="11832" y="32738"/>
                    <a:pt x="11842" y="32472"/>
                  </a:cubicBezTo>
                  <a:cubicBezTo>
                    <a:pt x="11957" y="32702"/>
                    <a:pt x="11861" y="32930"/>
                    <a:pt x="11791" y="33151"/>
                  </a:cubicBezTo>
                  <a:cubicBezTo>
                    <a:pt x="12108" y="33131"/>
                    <a:pt x="12152" y="32771"/>
                    <a:pt x="12360" y="32601"/>
                  </a:cubicBezTo>
                  <a:cubicBezTo>
                    <a:pt x="12541" y="32458"/>
                    <a:pt x="12517" y="32205"/>
                    <a:pt x="12587" y="32006"/>
                  </a:cubicBezTo>
                  <a:cubicBezTo>
                    <a:pt x="12578" y="32290"/>
                    <a:pt x="12530" y="32573"/>
                    <a:pt x="12539" y="32858"/>
                  </a:cubicBezTo>
                  <a:cubicBezTo>
                    <a:pt x="12539" y="32918"/>
                    <a:pt x="12533" y="32990"/>
                    <a:pt x="12473" y="33023"/>
                  </a:cubicBezTo>
                  <a:cubicBezTo>
                    <a:pt x="12216" y="33181"/>
                    <a:pt x="11954" y="33332"/>
                    <a:pt x="11696" y="33488"/>
                  </a:cubicBezTo>
                  <a:cubicBezTo>
                    <a:pt x="11410" y="33541"/>
                    <a:pt x="11126" y="33457"/>
                    <a:pt x="10857" y="33370"/>
                  </a:cubicBezTo>
                  <a:cubicBezTo>
                    <a:pt x="11095" y="33703"/>
                    <a:pt x="10679" y="33967"/>
                    <a:pt x="10470" y="34162"/>
                  </a:cubicBezTo>
                  <a:cubicBezTo>
                    <a:pt x="10535" y="34363"/>
                    <a:pt x="10737" y="34481"/>
                    <a:pt x="10941" y="34482"/>
                  </a:cubicBezTo>
                  <a:cubicBezTo>
                    <a:pt x="11095" y="34454"/>
                    <a:pt x="11228" y="34361"/>
                    <a:pt x="11370" y="34300"/>
                  </a:cubicBezTo>
                  <a:cubicBezTo>
                    <a:pt x="11277" y="34451"/>
                    <a:pt x="11124" y="34546"/>
                    <a:pt x="10980" y="34642"/>
                  </a:cubicBezTo>
                  <a:cubicBezTo>
                    <a:pt x="11264" y="34674"/>
                    <a:pt x="11538" y="34606"/>
                    <a:pt x="11814" y="34551"/>
                  </a:cubicBezTo>
                  <a:cubicBezTo>
                    <a:pt x="11793" y="34464"/>
                    <a:pt x="11771" y="34376"/>
                    <a:pt x="11751" y="34288"/>
                  </a:cubicBezTo>
                  <a:cubicBezTo>
                    <a:pt x="11791" y="34338"/>
                    <a:pt x="11831" y="34389"/>
                    <a:pt x="11872" y="34439"/>
                  </a:cubicBezTo>
                  <a:cubicBezTo>
                    <a:pt x="12011" y="34263"/>
                    <a:pt x="12132" y="34070"/>
                    <a:pt x="12304" y="33923"/>
                  </a:cubicBezTo>
                  <a:cubicBezTo>
                    <a:pt x="12499" y="33811"/>
                    <a:pt x="12746" y="33817"/>
                    <a:pt x="12916" y="33656"/>
                  </a:cubicBezTo>
                  <a:cubicBezTo>
                    <a:pt x="12895" y="33769"/>
                    <a:pt x="12882" y="33883"/>
                    <a:pt x="12870" y="33997"/>
                  </a:cubicBezTo>
                  <a:cubicBezTo>
                    <a:pt x="13088" y="34025"/>
                    <a:pt x="13351" y="33959"/>
                    <a:pt x="13531" y="34114"/>
                  </a:cubicBezTo>
                  <a:cubicBezTo>
                    <a:pt x="13656" y="34196"/>
                    <a:pt x="13818" y="34190"/>
                    <a:pt x="13960" y="34229"/>
                  </a:cubicBezTo>
                  <a:cubicBezTo>
                    <a:pt x="13843" y="34256"/>
                    <a:pt x="13730" y="34277"/>
                    <a:pt x="13617" y="34313"/>
                  </a:cubicBezTo>
                  <a:cubicBezTo>
                    <a:pt x="13767" y="34504"/>
                    <a:pt x="14013" y="34567"/>
                    <a:pt x="14236" y="34628"/>
                  </a:cubicBezTo>
                  <a:cubicBezTo>
                    <a:pt x="14054" y="34750"/>
                    <a:pt x="13848" y="34821"/>
                    <a:pt x="13638" y="34877"/>
                  </a:cubicBezTo>
                  <a:cubicBezTo>
                    <a:pt x="13603" y="35083"/>
                    <a:pt x="13660" y="35294"/>
                    <a:pt x="13635" y="35502"/>
                  </a:cubicBezTo>
                  <a:cubicBezTo>
                    <a:pt x="13712" y="35449"/>
                    <a:pt x="13801" y="35423"/>
                    <a:pt x="13892" y="35459"/>
                  </a:cubicBezTo>
                  <a:cubicBezTo>
                    <a:pt x="13942" y="35434"/>
                    <a:pt x="13991" y="35408"/>
                    <a:pt x="14042" y="35382"/>
                  </a:cubicBezTo>
                  <a:cubicBezTo>
                    <a:pt x="13941" y="35550"/>
                    <a:pt x="13914" y="35748"/>
                    <a:pt x="14038" y="35908"/>
                  </a:cubicBezTo>
                  <a:cubicBezTo>
                    <a:pt x="14238" y="35753"/>
                    <a:pt x="14424" y="35577"/>
                    <a:pt x="14554" y="35357"/>
                  </a:cubicBezTo>
                  <a:cubicBezTo>
                    <a:pt x="14551" y="35561"/>
                    <a:pt x="14442" y="35742"/>
                    <a:pt x="14417" y="35937"/>
                  </a:cubicBezTo>
                  <a:cubicBezTo>
                    <a:pt x="14540" y="36121"/>
                    <a:pt x="14787" y="36016"/>
                    <a:pt x="14972" y="36035"/>
                  </a:cubicBezTo>
                  <a:cubicBezTo>
                    <a:pt x="15104" y="36017"/>
                    <a:pt x="15167" y="36152"/>
                    <a:pt x="15246" y="36230"/>
                  </a:cubicBezTo>
                  <a:lnTo>
                    <a:pt x="15246" y="362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9" name="Svalbard">
              <a:extLst>
                <a:ext uri="{FF2B5EF4-FFF2-40B4-BE49-F238E27FC236}">
                  <a16:creationId xmlns:a16="http://schemas.microsoft.com/office/drawing/2014/main" id="{69AA0FD0-A29F-D1F5-DD03-50EA77BB1D74}"/>
                </a:ext>
              </a:extLst>
            </p:cNvPr>
            <p:cNvSpPr>
              <a:spLocks/>
            </p:cNvSpPr>
            <p:nvPr/>
          </p:nvSpPr>
          <p:spPr bwMode="auto">
            <a:xfrm>
              <a:off x="6077025" y="1220849"/>
              <a:ext cx="395746" cy="482488"/>
            </a:xfrm>
            <a:custGeom>
              <a:avLst/>
              <a:gdLst/>
              <a:ahLst/>
              <a:cxnLst/>
              <a:rect l="l" t="t" r="r" b="b"/>
              <a:pathLst>
                <a:path w="398901" h="486334">
                  <a:moveTo>
                    <a:pt x="276864" y="302365"/>
                  </a:moveTo>
                  <a:lnTo>
                    <a:pt x="296900" y="302365"/>
                  </a:lnTo>
                  <a:lnTo>
                    <a:pt x="304186" y="313294"/>
                  </a:lnTo>
                  <a:lnTo>
                    <a:pt x="298722" y="335152"/>
                  </a:lnTo>
                  <a:lnTo>
                    <a:pt x="338794" y="362474"/>
                  </a:lnTo>
                  <a:lnTo>
                    <a:pt x="338794" y="366117"/>
                  </a:lnTo>
                  <a:lnTo>
                    <a:pt x="287793" y="413475"/>
                  </a:lnTo>
                  <a:lnTo>
                    <a:pt x="280507" y="408011"/>
                  </a:lnTo>
                  <a:lnTo>
                    <a:pt x="287793" y="384331"/>
                  </a:lnTo>
                  <a:lnTo>
                    <a:pt x="280507" y="384331"/>
                  </a:lnTo>
                  <a:lnTo>
                    <a:pt x="265935" y="386153"/>
                  </a:lnTo>
                  <a:lnTo>
                    <a:pt x="249542" y="391617"/>
                  </a:lnTo>
                  <a:lnTo>
                    <a:pt x="242256" y="391617"/>
                  </a:lnTo>
                  <a:lnTo>
                    <a:pt x="242256" y="389796"/>
                  </a:lnTo>
                  <a:lnTo>
                    <a:pt x="260471" y="340616"/>
                  </a:lnTo>
                  <a:lnTo>
                    <a:pt x="245899" y="322401"/>
                  </a:lnTo>
                  <a:lnTo>
                    <a:pt x="242256" y="318758"/>
                  </a:lnTo>
                  <a:lnTo>
                    <a:pt x="245899" y="318758"/>
                  </a:lnTo>
                  <a:close/>
                  <a:moveTo>
                    <a:pt x="250457" y="250806"/>
                  </a:moveTo>
                  <a:lnTo>
                    <a:pt x="270487" y="250806"/>
                  </a:lnTo>
                  <a:lnTo>
                    <a:pt x="277777" y="261741"/>
                  </a:lnTo>
                  <a:lnTo>
                    <a:pt x="282335" y="294523"/>
                  </a:lnTo>
                  <a:lnTo>
                    <a:pt x="245904" y="304539"/>
                  </a:lnTo>
                  <a:lnTo>
                    <a:pt x="234066" y="289064"/>
                  </a:lnTo>
                  <a:cubicBezTo>
                    <a:pt x="232846" y="280864"/>
                    <a:pt x="231636" y="272659"/>
                    <a:pt x="230416" y="264459"/>
                  </a:cubicBezTo>
                  <a:close/>
                  <a:moveTo>
                    <a:pt x="139341" y="60109"/>
                  </a:moveTo>
                  <a:lnTo>
                    <a:pt x="169396" y="81967"/>
                  </a:lnTo>
                  <a:lnTo>
                    <a:pt x="183056" y="117485"/>
                  </a:lnTo>
                  <a:lnTo>
                    <a:pt x="204914" y="136611"/>
                  </a:lnTo>
                  <a:lnTo>
                    <a:pt x="204914" y="177593"/>
                  </a:lnTo>
                  <a:lnTo>
                    <a:pt x="240433" y="202184"/>
                  </a:lnTo>
                  <a:lnTo>
                    <a:pt x="267755" y="224041"/>
                  </a:lnTo>
                  <a:lnTo>
                    <a:pt x="267755" y="240434"/>
                  </a:lnTo>
                  <a:lnTo>
                    <a:pt x="221308" y="240434"/>
                  </a:lnTo>
                  <a:lnTo>
                    <a:pt x="199450" y="303275"/>
                  </a:lnTo>
                  <a:lnTo>
                    <a:pt x="198541" y="303585"/>
                  </a:lnTo>
                  <a:lnTo>
                    <a:pt x="198541" y="329688"/>
                  </a:lnTo>
                  <a:lnTo>
                    <a:pt x="187613" y="333331"/>
                  </a:lnTo>
                  <a:lnTo>
                    <a:pt x="182149" y="389796"/>
                  </a:lnTo>
                  <a:lnTo>
                    <a:pt x="182149" y="391618"/>
                  </a:lnTo>
                  <a:lnTo>
                    <a:pt x="169398" y="395261"/>
                  </a:lnTo>
                  <a:lnTo>
                    <a:pt x="174863" y="400724"/>
                  </a:lnTo>
                  <a:lnTo>
                    <a:pt x="174863" y="402546"/>
                  </a:lnTo>
                  <a:lnTo>
                    <a:pt x="173041" y="402546"/>
                  </a:lnTo>
                  <a:lnTo>
                    <a:pt x="163934" y="411653"/>
                  </a:lnTo>
                  <a:lnTo>
                    <a:pt x="163934" y="446262"/>
                  </a:lnTo>
                  <a:lnTo>
                    <a:pt x="153005" y="459013"/>
                  </a:lnTo>
                  <a:lnTo>
                    <a:pt x="153005" y="484513"/>
                  </a:lnTo>
                  <a:lnTo>
                    <a:pt x="136611" y="486334"/>
                  </a:lnTo>
                  <a:lnTo>
                    <a:pt x="134789" y="486334"/>
                  </a:lnTo>
                  <a:lnTo>
                    <a:pt x="118397" y="455369"/>
                  </a:lnTo>
                  <a:lnTo>
                    <a:pt x="118397" y="451726"/>
                  </a:lnTo>
                  <a:lnTo>
                    <a:pt x="134789" y="440797"/>
                  </a:lnTo>
                  <a:lnTo>
                    <a:pt x="91074" y="428047"/>
                  </a:lnTo>
                  <a:lnTo>
                    <a:pt x="89253" y="424404"/>
                  </a:lnTo>
                  <a:lnTo>
                    <a:pt x="80145" y="386153"/>
                  </a:lnTo>
                  <a:lnTo>
                    <a:pt x="80145" y="384332"/>
                  </a:lnTo>
                  <a:lnTo>
                    <a:pt x="89253" y="384332"/>
                  </a:lnTo>
                  <a:lnTo>
                    <a:pt x="96539" y="386153"/>
                  </a:lnTo>
                  <a:lnTo>
                    <a:pt x="109289" y="386153"/>
                  </a:lnTo>
                  <a:lnTo>
                    <a:pt x="118397" y="389796"/>
                  </a:lnTo>
                  <a:lnTo>
                    <a:pt x="123861" y="389796"/>
                  </a:lnTo>
                  <a:lnTo>
                    <a:pt x="98360" y="371581"/>
                  </a:lnTo>
                  <a:lnTo>
                    <a:pt x="98360" y="367938"/>
                  </a:lnTo>
                  <a:lnTo>
                    <a:pt x="102003" y="367938"/>
                  </a:lnTo>
                  <a:lnTo>
                    <a:pt x="147540" y="355188"/>
                  </a:lnTo>
                  <a:lnTo>
                    <a:pt x="147540" y="344259"/>
                  </a:lnTo>
                  <a:lnTo>
                    <a:pt x="78325" y="362474"/>
                  </a:lnTo>
                  <a:lnTo>
                    <a:pt x="73688" y="334655"/>
                  </a:lnTo>
                  <a:lnTo>
                    <a:pt x="71036" y="333330"/>
                  </a:lnTo>
                  <a:lnTo>
                    <a:pt x="73768" y="314204"/>
                  </a:lnTo>
                  <a:lnTo>
                    <a:pt x="92894" y="314204"/>
                  </a:lnTo>
                  <a:lnTo>
                    <a:pt x="117483" y="289614"/>
                  </a:lnTo>
                  <a:lnTo>
                    <a:pt x="144806" y="278685"/>
                  </a:lnTo>
                  <a:lnTo>
                    <a:pt x="142074" y="254095"/>
                  </a:lnTo>
                  <a:lnTo>
                    <a:pt x="128412" y="267756"/>
                  </a:lnTo>
                  <a:lnTo>
                    <a:pt x="109288" y="265023"/>
                  </a:lnTo>
                  <a:lnTo>
                    <a:pt x="117483" y="232237"/>
                  </a:lnTo>
                  <a:lnTo>
                    <a:pt x="101091" y="237702"/>
                  </a:lnTo>
                  <a:lnTo>
                    <a:pt x="101091" y="273220"/>
                  </a:lnTo>
                  <a:lnTo>
                    <a:pt x="81965" y="300543"/>
                  </a:lnTo>
                  <a:lnTo>
                    <a:pt x="68304" y="292346"/>
                  </a:lnTo>
                  <a:lnTo>
                    <a:pt x="51911" y="273220"/>
                  </a:lnTo>
                  <a:lnTo>
                    <a:pt x="57376" y="262291"/>
                  </a:lnTo>
                  <a:lnTo>
                    <a:pt x="38250" y="251363"/>
                  </a:lnTo>
                  <a:lnTo>
                    <a:pt x="13660" y="218576"/>
                  </a:lnTo>
                  <a:lnTo>
                    <a:pt x="40982" y="210379"/>
                  </a:lnTo>
                  <a:lnTo>
                    <a:pt x="30053" y="183058"/>
                  </a:lnTo>
                  <a:lnTo>
                    <a:pt x="16392" y="191255"/>
                  </a:lnTo>
                  <a:lnTo>
                    <a:pt x="10929" y="180326"/>
                  </a:lnTo>
                  <a:lnTo>
                    <a:pt x="0" y="133878"/>
                  </a:lnTo>
                  <a:lnTo>
                    <a:pt x="16392" y="114753"/>
                  </a:lnTo>
                  <a:lnTo>
                    <a:pt x="27321" y="90162"/>
                  </a:lnTo>
                  <a:lnTo>
                    <a:pt x="40982" y="109288"/>
                  </a:lnTo>
                  <a:lnTo>
                    <a:pt x="46447" y="95627"/>
                  </a:lnTo>
                  <a:lnTo>
                    <a:pt x="81965" y="87430"/>
                  </a:lnTo>
                  <a:lnTo>
                    <a:pt x="54644" y="128414"/>
                  </a:lnTo>
                  <a:lnTo>
                    <a:pt x="76501" y="136611"/>
                  </a:lnTo>
                  <a:lnTo>
                    <a:pt x="103823" y="95627"/>
                  </a:lnTo>
                  <a:lnTo>
                    <a:pt x="131145" y="177593"/>
                  </a:lnTo>
                  <a:lnTo>
                    <a:pt x="131145" y="133878"/>
                  </a:lnTo>
                  <a:lnTo>
                    <a:pt x="120217" y="95627"/>
                  </a:lnTo>
                  <a:close/>
                  <a:moveTo>
                    <a:pt x="221308" y="0"/>
                  </a:moveTo>
                  <a:lnTo>
                    <a:pt x="254095" y="35518"/>
                  </a:lnTo>
                  <a:lnTo>
                    <a:pt x="289613" y="62841"/>
                  </a:lnTo>
                  <a:lnTo>
                    <a:pt x="275952" y="2732"/>
                  </a:lnTo>
                  <a:lnTo>
                    <a:pt x="336060" y="27323"/>
                  </a:lnTo>
                  <a:lnTo>
                    <a:pt x="393437" y="46447"/>
                  </a:lnTo>
                  <a:lnTo>
                    <a:pt x="398901" y="81967"/>
                  </a:lnTo>
                  <a:lnTo>
                    <a:pt x="366115" y="122949"/>
                  </a:lnTo>
                  <a:lnTo>
                    <a:pt x="366115" y="147539"/>
                  </a:lnTo>
                  <a:lnTo>
                    <a:pt x="316936" y="172129"/>
                  </a:lnTo>
                  <a:lnTo>
                    <a:pt x="284149" y="147539"/>
                  </a:lnTo>
                  <a:lnTo>
                    <a:pt x="240434" y="155735"/>
                  </a:lnTo>
                  <a:lnTo>
                    <a:pt x="218576" y="128414"/>
                  </a:lnTo>
                  <a:lnTo>
                    <a:pt x="265024" y="109288"/>
                  </a:lnTo>
                  <a:lnTo>
                    <a:pt x="259559" y="95627"/>
                  </a:lnTo>
                  <a:lnTo>
                    <a:pt x="204914" y="109288"/>
                  </a:lnTo>
                  <a:lnTo>
                    <a:pt x="172128" y="62841"/>
                  </a:lnTo>
                  <a:lnTo>
                    <a:pt x="191253" y="43715"/>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0" name="Iceland">
              <a:extLst>
                <a:ext uri="{FF2B5EF4-FFF2-40B4-BE49-F238E27FC236}">
                  <a16:creationId xmlns:a16="http://schemas.microsoft.com/office/drawing/2014/main" id="{FA812BE0-3B9F-AF62-DF30-11B1C7A3AD70}"/>
                </a:ext>
              </a:extLst>
            </p:cNvPr>
            <p:cNvSpPr>
              <a:spLocks/>
            </p:cNvSpPr>
            <p:nvPr/>
          </p:nvSpPr>
          <p:spPr bwMode="auto">
            <a:xfrm>
              <a:off x="5245778" y="2467723"/>
              <a:ext cx="262024" cy="178900"/>
            </a:xfrm>
            <a:custGeom>
              <a:avLst/>
              <a:gdLst>
                <a:gd name="T0" fmla="*/ 110 w 145"/>
                <a:gd name="T1" fmla="*/ 0 h 99"/>
                <a:gd name="T2" fmla="*/ 129 w 145"/>
                <a:gd name="T3" fmla="*/ 4 h 99"/>
                <a:gd name="T4" fmla="*/ 131 w 145"/>
                <a:gd name="T5" fmla="*/ 6 h 99"/>
                <a:gd name="T6" fmla="*/ 129 w 145"/>
                <a:gd name="T7" fmla="*/ 15 h 99"/>
                <a:gd name="T8" fmla="*/ 138 w 145"/>
                <a:gd name="T9" fmla="*/ 28 h 99"/>
                <a:gd name="T10" fmla="*/ 142 w 145"/>
                <a:gd name="T11" fmla="*/ 35 h 99"/>
                <a:gd name="T12" fmla="*/ 145 w 145"/>
                <a:gd name="T13" fmla="*/ 41 h 99"/>
                <a:gd name="T14" fmla="*/ 142 w 145"/>
                <a:gd name="T15" fmla="*/ 52 h 99"/>
                <a:gd name="T16" fmla="*/ 137 w 145"/>
                <a:gd name="T17" fmla="*/ 59 h 99"/>
                <a:gd name="T18" fmla="*/ 128 w 145"/>
                <a:gd name="T19" fmla="*/ 72 h 99"/>
                <a:gd name="T20" fmla="*/ 122 w 145"/>
                <a:gd name="T21" fmla="*/ 68 h 99"/>
                <a:gd name="T22" fmla="*/ 98 w 145"/>
                <a:gd name="T23" fmla="*/ 83 h 99"/>
                <a:gd name="T24" fmla="*/ 77 w 145"/>
                <a:gd name="T25" fmla="*/ 99 h 99"/>
                <a:gd name="T26" fmla="*/ 45 w 145"/>
                <a:gd name="T27" fmla="*/ 84 h 99"/>
                <a:gd name="T28" fmla="*/ 33 w 145"/>
                <a:gd name="T29" fmla="*/ 86 h 99"/>
                <a:gd name="T30" fmla="*/ 24 w 145"/>
                <a:gd name="T31" fmla="*/ 78 h 99"/>
                <a:gd name="T32" fmla="*/ 25 w 145"/>
                <a:gd name="T33" fmla="*/ 77 h 99"/>
                <a:gd name="T34" fmla="*/ 36 w 145"/>
                <a:gd name="T35" fmla="*/ 70 h 99"/>
                <a:gd name="T36" fmla="*/ 31 w 145"/>
                <a:gd name="T37" fmla="*/ 71 h 99"/>
                <a:gd name="T38" fmla="*/ 34 w 145"/>
                <a:gd name="T39" fmla="*/ 65 h 99"/>
                <a:gd name="T40" fmla="*/ 25 w 145"/>
                <a:gd name="T41" fmla="*/ 55 h 99"/>
                <a:gd name="T42" fmla="*/ 15 w 145"/>
                <a:gd name="T43" fmla="*/ 56 h 99"/>
                <a:gd name="T44" fmla="*/ 9 w 145"/>
                <a:gd name="T45" fmla="*/ 55 h 99"/>
                <a:gd name="T46" fmla="*/ 36 w 145"/>
                <a:gd name="T47" fmla="*/ 47 h 99"/>
                <a:gd name="T48" fmla="*/ 33 w 145"/>
                <a:gd name="T49" fmla="*/ 44 h 99"/>
                <a:gd name="T50" fmla="*/ 27 w 145"/>
                <a:gd name="T51" fmla="*/ 46 h 99"/>
                <a:gd name="T52" fmla="*/ 36 w 145"/>
                <a:gd name="T53" fmla="*/ 35 h 99"/>
                <a:gd name="T54" fmla="*/ 22 w 145"/>
                <a:gd name="T55" fmla="*/ 31 h 99"/>
                <a:gd name="T56" fmla="*/ 6 w 145"/>
                <a:gd name="T57" fmla="*/ 35 h 99"/>
                <a:gd name="T58" fmla="*/ 0 w 145"/>
                <a:gd name="T59" fmla="*/ 34 h 99"/>
                <a:gd name="T60" fmla="*/ 3 w 145"/>
                <a:gd name="T61" fmla="*/ 28 h 99"/>
                <a:gd name="T62" fmla="*/ 5 w 145"/>
                <a:gd name="T63" fmla="*/ 25 h 99"/>
                <a:gd name="T64" fmla="*/ 6 w 145"/>
                <a:gd name="T65" fmla="*/ 24 h 99"/>
                <a:gd name="T66" fmla="*/ 11 w 145"/>
                <a:gd name="T67" fmla="*/ 22 h 99"/>
                <a:gd name="T68" fmla="*/ 9 w 145"/>
                <a:gd name="T69" fmla="*/ 16 h 99"/>
                <a:gd name="T70" fmla="*/ 12 w 145"/>
                <a:gd name="T71" fmla="*/ 15 h 99"/>
                <a:gd name="T72" fmla="*/ 13 w 145"/>
                <a:gd name="T73" fmla="*/ 13 h 99"/>
                <a:gd name="T74" fmla="*/ 28 w 145"/>
                <a:gd name="T75" fmla="*/ 15 h 99"/>
                <a:gd name="T76" fmla="*/ 22 w 145"/>
                <a:gd name="T77" fmla="*/ 10 h 99"/>
                <a:gd name="T78" fmla="*/ 19 w 145"/>
                <a:gd name="T79" fmla="*/ 9 h 99"/>
                <a:gd name="T80" fmla="*/ 18 w 145"/>
                <a:gd name="T81" fmla="*/ 7 h 99"/>
                <a:gd name="T82" fmla="*/ 28 w 145"/>
                <a:gd name="T83" fmla="*/ 3 h 99"/>
                <a:gd name="T84" fmla="*/ 40 w 145"/>
                <a:gd name="T85" fmla="*/ 21 h 99"/>
                <a:gd name="T86" fmla="*/ 39 w 145"/>
                <a:gd name="T87" fmla="*/ 27 h 99"/>
                <a:gd name="T88" fmla="*/ 45 w 145"/>
                <a:gd name="T89" fmla="*/ 40 h 99"/>
                <a:gd name="T90" fmla="*/ 49 w 145"/>
                <a:gd name="T91" fmla="*/ 28 h 99"/>
                <a:gd name="T92" fmla="*/ 55 w 145"/>
                <a:gd name="T93" fmla="*/ 31 h 99"/>
                <a:gd name="T94" fmla="*/ 56 w 145"/>
                <a:gd name="T95" fmla="*/ 13 h 99"/>
                <a:gd name="T96" fmla="*/ 67 w 145"/>
                <a:gd name="T97" fmla="*/ 16 h 99"/>
                <a:gd name="T98" fmla="*/ 76 w 145"/>
                <a:gd name="T99" fmla="*/ 10 h 99"/>
                <a:gd name="T100" fmla="*/ 77 w 145"/>
                <a:gd name="T101" fmla="*/ 12 h 99"/>
                <a:gd name="T102" fmla="*/ 82 w 145"/>
                <a:gd name="T103" fmla="*/ 12 h 99"/>
                <a:gd name="T104" fmla="*/ 91 w 145"/>
                <a:gd name="T105" fmla="*/ 18 h 99"/>
                <a:gd name="T106" fmla="*/ 107 w 145"/>
                <a:gd name="T107" fmla="*/ 12 h 99"/>
                <a:gd name="T108" fmla="*/ 104 w 145"/>
                <a:gd name="T109" fmla="*/ 1 h 99"/>
                <a:gd name="T110" fmla="*/ 108 w 145"/>
                <a:gd name="T111"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 h="99">
                  <a:moveTo>
                    <a:pt x="108" y="0"/>
                  </a:moveTo>
                  <a:lnTo>
                    <a:pt x="110" y="0"/>
                  </a:lnTo>
                  <a:lnTo>
                    <a:pt x="119" y="12"/>
                  </a:lnTo>
                  <a:lnTo>
                    <a:pt x="129" y="4"/>
                  </a:lnTo>
                  <a:lnTo>
                    <a:pt x="131" y="4"/>
                  </a:lnTo>
                  <a:lnTo>
                    <a:pt x="131" y="6"/>
                  </a:lnTo>
                  <a:lnTo>
                    <a:pt x="126" y="15"/>
                  </a:lnTo>
                  <a:lnTo>
                    <a:pt x="129" y="15"/>
                  </a:lnTo>
                  <a:lnTo>
                    <a:pt x="129" y="27"/>
                  </a:lnTo>
                  <a:lnTo>
                    <a:pt x="138" y="28"/>
                  </a:lnTo>
                  <a:lnTo>
                    <a:pt x="139" y="28"/>
                  </a:lnTo>
                  <a:lnTo>
                    <a:pt x="142" y="35"/>
                  </a:lnTo>
                  <a:lnTo>
                    <a:pt x="142" y="40"/>
                  </a:lnTo>
                  <a:lnTo>
                    <a:pt x="145" y="41"/>
                  </a:lnTo>
                  <a:lnTo>
                    <a:pt x="145" y="43"/>
                  </a:lnTo>
                  <a:lnTo>
                    <a:pt x="142" y="52"/>
                  </a:lnTo>
                  <a:lnTo>
                    <a:pt x="134" y="58"/>
                  </a:lnTo>
                  <a:lnTo>
                    <a:pt x="137" y="59"/>
                  </a:lnTo>
                  <a:lnTo>
                    <a:pt x="137" y="61"/>
                  </a:lnTo>
                  <a:lnTo>
                    <a:pt x="128" y="72"/>
                  </a:lnTo>
                  <a:lnTo>
                    <a:pt x="126" y="72"/>
                  </a:lnTo>
                  <a:lnTo>
                    <a:pt x="122" y="68"/>
                  </a:lnTo>
                  <a:lnTo>
                    <a:pt x="108" y="81"/>
                  </a:lnTo>
                  <a:lnTo>
                    <a:pt x="98" y="83"/>
                  </a:lnTo>
                  <a:lnTo>
                    <a:pt x="79" y="99"/>
                  </a:lnTo>
                  <a:lnTo>
                    <a:pt x="77" y="99"/>
                  </a:lnTo>
                  <a:lnTo>
                    <a:pt x="61" y="95"/>
                  </a:lnTo>
                  <a:lnTo>
                    <a:pt x="45" y="84"/>
                  </a:lnTo>
                  <a:lnTo>
                    <a:pt x="37" y="84"/>
                  </a:lnTo>
                  <a:lnTo>
                    <a:pt x="33" y="86"/>
                  </a:lnTo>
                  <a:lnTo>
                    <a:pt x="25" y="86"/>
                  </a:lnTo>
                  <a:lnTo>
                    <a:pt x="24" y="78"/>
                  </a:lnTo>
                  <a:lnTo>
                    <a:pt x="24" y="77"/>
                  </a:lnTo>
                  <a:lnTo>
                    <a:pt x="25" y="77"/>
                  </a:lnTo>
                  <a:lnTo>
                    <a:pt x="36" y="74"/>
                  </a:lnTo>
                  <a:lnTo>
                    <a:pt x="36" y="70"/>
                  </a:lnTo>
                  <a:lnTo>
                    <a:pt x="33" y="71"/>
                  </a:lnTo>
                  <a:lnTo>
                    <a:pt x="31" y="71"/>
                  </a:lnTo>
                  <a:lnTo>
                    <a:pt x="31" y="70"/>
                  </a:lnTo>
                  <a:lnTo>
                    <a:pt x="34" y="65"/>
                  </a:lnTo>
                  <a:lnTo>
                    <a:pt x="33" y="65"/>
                  </a:lnTo>
                  <a:lnTo>
                    <a:pt x="25" y="55"/>
                  </a:lnTo>
                  <a:lnTo>
                    <a:pt x="19" y="55"/>
                  </a:lnTo>
                  <a:lnTo>
                    <a:pt x="15" y="56"/>
                  </a:lnTo>
                  <a:lnTo>
                    <a:pt x="9" y="56"/>
                  </a:lnTo>
                  <a:lnTo>
                    <a:pt x="9" y="55"/>
                  </a:lnTo>
                  <a:lnTo>
                    <a:pt x="24" y="47"/>
                  </a:lnTo>
                  <a:lnTo>
                    <a:pt x="36" y="47"/>
                  </a:lnTo>
                  <a:lnTo>
                    <a:pt x="36" y="44"/>
                  </a:lnTo>
                  <a:lnTo>
                    <a:pt x="33" y="44"/>
                  </a:lnTo>
                  <a:lnTo>
                    <a:pt x="31" y="46"/>
                  </a:lnTo>
                  <a:lnTo>
                    <a:pt x="27" y="46"/>
                  </a:lnTo>
                  <a:lnTo>
                    <a:pt x="27" y="44"/>
                  </a:lnTo>
                  <a:lnTo>
                    <a:pt x="36" y="35"/>
                  </a:lnTo>
                  <a:lnTo>
                    <a:pt x="27" y="31"/>
                  </a:lnTo>
                  <a:lnTo>
                    <a:pt x="22" y="31"/>
                  </a:lnTo>
                  <a:lnTo>
                    <a:pt x="13" y="32"/>
                  </a:lnTo>
                  <a:lnTo>
                    <a:pt x="6" y="35"/>
                  </a:lnTo>
                  <a:lnTo>
                    <a:pt x="0" y="35"/>
                  </a:lnTo>
                  <a:lnTo>
                    <a:pt x="0" y="34"/>
                  </a:lnTo>
                  <a:lnTo>
                    <a:pt x="3" y="29"/>
                  </a:lnTo>
                  <a:lnTo>
                    <a:pt x="3" y="28"/>
                  </a:lnTo>
                  <a:lnTo>
                    <a:pt x="9" y="29"/>
                  </a:lnTo>
                  <a:lnTo>
                    <a:pt x="5" y="25"/>
                  </a:lnTo>
                  <a:lnTo>
                    <a:pt x="5" y="24"/>
                  </a:lnTo>
                  <a:lnTo>
                    <a:pt x="6" y="24"/>
                  </a:lnTo>
                  <a:lnTo>
                    <a:pt x="13" y="27"/>
                  </a:lnTo>
                  <a:lnTo>
                    <a:pt x="11" y="22"/>
                  </a:lnTo>
                  <a:lnTo>
                    <a:pt x="12" y="21"/>
                  </a:lnTo>
                  <a:lnTo>
                    <a:pt x="9" y="16"/>
                  </a:lnTo>
                  <a:lnTo>
                    <a:pt x="13" y="15"/>
                  </a:lnTo>
                  <a:lnTo>
                    <a:pt x="12" y="15"/>
                  </a:lnTo>
                  <a:lnTo>
                    <a:pt x="12" y="13"/>
                  </a:lnTo>
                  <a:lnTo>
                    <a:pt x="13" y="13"/>
                  </a:lnTo>
                  <a:lnTo>
                    <a:pt x="28" y="22"/>
                  </a:lnTo>
                  <a:lnTo>
                    <a:pt x="28" y="15"/>
                  </a:lnTo>
                  <a:lnTo>
                    <a:pt x="22" y="12"/>
                  </a:lnTo>
                  <a:lnTo>
                    <a:pt x="22" y="10"/>
                  </a:lnTo>
                  <a:lnTo>
                    <a:pt x="25" y="10"/>
                  </a:lnTo>
                  <a:lnTo>
                    <a:pt x="19" y="9"/>
                  </a:lnTo>
                  <a:lnTo>
                    <a:pt x="18" y="9"/>
                  </a:lnTo>
                  <a:lnTo>
                    <a:pt x="18" y="7"/>
                  </a:lnTo>
                  <a:lnTo>
                    <a:pt x="19" y="3"/>
                  </a:lnTo>
                  <a:lnTo>
                    <a:pt x="28" y="3"/>
                  </a:lnTo>
                  <a:lnTo>
                    <a:pt x="43" y="18"/>
                  </a:lnTo>
                  <a:lnTo>
                    <a:pt x="40" y="21"/>
                  </a:lnTo>
                  <a:lnTo>
                    <a:pt x="43" y="25"/>
                  </a:lnTo>
                  <a:lnTo>
                    <a:pt x="39" y="27"/>
                  </a:lnTo>
                  <a:lnTo>
                    <a:pt x="43" y="29"/>
                  </a:lnTo>
                  <a:lnTo>
                    <a:pt x="45" y="40"/>
                  </a:lnTo>
                  <a:lnTo>
                    <a:pt x="48" y="35"/>
                  </a:lnTo>
                  <a:lnTo>
                    <a:pt x="49" y="28"/>
                  </a:lnTo>
                  <a:lnTo>
                    <a:pt x="51" y="28"/>
                  </a:lnTo>
                  <a:lnTo>
                    <a:pt x="55" y="31"/>
                  </a:lnTo>
                  <a:lnTo>
                    <a:pt x="55" y="13"/>
                  </a:lnTo>
                  <a:lnTo>
                    <a:pt x="56" y="13"/>
                  </a:lnTo>
                  <a:lnTo>
                    <a:pt x="67" y="25"/>
                  </a:lnTo>
                  <a:lnTo>
                    <a:pt x="67" y="16"/>
                  </a:lnTo>
                  <a:lnTo>
                    <a:pt x="68" y="16"/>
                  </a:lnTo>
                  <a:lnTo>
                    <a:pt x="76" y="10"/>
                  </a:lnTo>
                  <a:lnTo>
                    <a:pt x="77" y="10"/>
                  </a:lnTo>
                  <a:lnTo>
                    <a:pt x="77" y="12"/>
                  </a:lnTo>
                  <a:lnTo>
                    <a:pt x="83" y="24"/>
                  </a:lnTo>
                  <a:lnTo>
                    <a:pt x="82" y="12"/>
                  </a:lnTo>
                  <a:lnTo>
                    <a:pt x="83" y="12"/>
                  </a:lnTo>
                  <a:lnTo>
                    <a:pt x="91" y="18"/>
                  </a:lnTo>
                  <a:lnTo>
                    <a:pt x="95" y="12"/>
                  </a:lnTo>
                  <a:lnTo>
                    <a:pt x="107" y="12"/>
                  </a:lnTo>
                  <a:lnTo>
                    <a:pt x="104" y="3"/>
                  </a:lnTo>
                  <a:lnTo>
                    <a:pt x="104" y="1"/>
                  </a:lnTo>
                  <a:lnTo>
                    <a:pt x="105" y="1"/>
                  </a:lnTo>
                  <a:lnTo>
                    <a:pt x="10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1" name="Portugal">
              <a:extLst>
                <a:ext uri="{FF2B5EF4-FFF2-40B4-BE49-F238E27FC236}">
                  <a16:creationId xmlns:a16="http://schemas.microsoft.com/office/drawing/2014/main" id="{874F720F-21AE-3FA3-E2B6-646E7B5B0E4B}"/>
                </a:ext>
              </a:extLst>
            </p:cNvPr>
            <p:cNvSpPr>
              <a:spLocks/>
            </p:cNvSpPr>
            <p:nvPr/>
          </p:nvSpPr>
          <p:spPr bwMode="auto">
            <a:xfrm>
              <a:off x="5607191" y="3494134"/>
              <a:ext cx="77705" cy="155407"/>
            </a:xfrm>
            <a:custGeom>
              <a:avLst/>
              <a:gdLst>
                <a:gd name="T0" fmla="*/ 18 w 43"/>
                <a:gd name="T1" fmla="*/ 0 h 86"/>
                <a:gd name="T2" fmla="*/ 20 w 43"/>
                <a:gd name="T3" fmla="*/ 4 h 86"/>
                <a:gd name="T4" fmla="*/ 28 w 43"/>
                <a:gd name="T5" fmla="*/ 4 h 86"/>
                <a:gd name="T6" fmla="*/ 31 w 43"/>
                <a:gd name="T7" fmla="*/ 3 h 86"/>
                <a:gd name="T8" fmla="*/ 40 w 43"/>
                <a:gd name="T9" fmla="*/ 3 h 86"/>
                <a:gd name="T10" fmla="*/ 40 w 43"/>
                <a:gd name="T11" fmla="*/ 4 h 86"/>
                <a:gd name="T12" fmla="*/ 43 w 43"/>
                <a:gd name="T13" fmla="*/ 9 h 86"/>
                <a:gd name="T14" fmla="*/ 43 w 43"/>
                <a:gd name="T15" fmla="*/ 10 h 86"/>
                <a:gd name="T16" fmla="*/ 36 w 43"/>
                <a:gd name="T17" fmla="*/ 19 h 86"/>
                <a:gd name="T18" fmla="*/ 34 w 43"/>
                <a:gd name="T19" fmla="*/ 32 h 86"/>
                <a:gd name="T20" fmla="*/ 34 w 43"/>
                <a:gd name="T21" fmla="*/ 38 h 86"/>
                <a:gd name="T22" fmla="*/ 28 w 43"/>
                <a:gd name="T23" fmla="*/ 43 h 86"/>
                <a:gd name="T24" fmla="*/ 33 w 43"/>
                <a:gd name="T25" fmla="*/ 53 h 86"/>
                <a:gd name="T26" fmla="*/ 30 w 43"/>
                <a:gd name="T27" fmla="*/ 62 h 86"/>
                <a:gd name="T28" fmla="*/ 34 w 43"/>
                <a:gd name="T29" fmla="*/ 69 h 86"/>
                <a:gd name="T30" fmla="*/ 33 w 43"/>
                <a:gd name="T31" fmla="*/ 69 h 86"/>
                <a:gd name="T32" fmla="*/ 27 w 43"/>
                <a:gd name="T33" fmla="*/ 77 h 86"/>
                <a:gd name="T34" fmla="*/ 28 w 43"/>
                <a:gd name="T35" fmla="*/ 83 h 86"/>
                <a:gd name="T36" fmla="*/ 22 w 43"/>
                <a:gd name="T37" fmla="*/ 83 h 86"/>
                <a:gd name="T38" fmla="*/ 20 w 43"/>
                <a:gd name="T39" fmla="*/ 84 h 86"/>
                <a:gd name="T40" fmla="*/ 15 w 43"/>
                <a:gd name="T41" fmla="*/ 84 h 86"/>
                <a:gd name="T42" fmla="*/ 12 w 43"/>
                <a:gd name="T43" fmla="*/ 86 h 86"/>
                <a:gd name="T44" fmla="*/ 8 w 43"/>
                <a:gd name="T45" fmla="*/ 86 h 86"/>
                <a:gd name="T46" fmla="*/ 9 w 43"/>
                <a:gd name="T47" fmla="*/ 62 h 86"/>
                <a:gd name="T48" fmla="*/ 5 w 43"/>
                <a:gd name="T49" fmla="*/ 63 h 86"/>
                <a:gd name="T50" fmla="*/ 3 w 43"/>
                <a:gd name="T51" fmla="*/ 63 h 86"/>
                <a:gd name="T52" fmla="*/ 0 w 43"/>
                <a:gd name="T53" fmla="*/ 57 h 86"/>
                <a:gd name="T54" fmla="*/ 9 w 43"/>
                <a:gd name="T55" fmla="*/ 20 h 86"/>
                <a:gd name="T56" fmla="*/ 8 w 43"/>
                <a:gd name="T57" fmla="*/ 6 h 86"/>
                <a:gd name="T58" fmla="*/ 18 w 43"/>
                <a:gd name="T5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86">
                  <a:moveTo>
                    <a:pt x="18" y="0"/>
                  </a:moveTo>
                  <a:lnTo>
                    <a:pt x="20" y="4"/>
                  </a:lnTo>
                  <a:lnTo>
                    <a:pt x="28" y="4"/>
                  </a:lnTo>
                  <a:lnTo>
                    <a:pt x="31" y="3"/>
                  </a:lnTo>
                  <a:lnTo>
                    <a:pt x="40" y="3"/>
                  </a:lnTo>
                  <a:lnTo>
                    <a:pt x="40" y="4"/>
                  </a:lnTo>
                  <a:lnTo>
                    <a:pt x="43" y="9"/>
                  </a:lnTo>
                  <a:lnTo>
                    <a:pt x="43" y="10"/>
                  </a:lnTo>
                  <a:lnTo>
                    <a:pt x="36" y="19"/>
                  </a:lnTo>
                  <a:lnTo>
                    <a:pt x="34" y="32"/>
                  </a:lnTo>
                  <a:lnTo>
                    <a:pt x="34" y="38"/>
                  </a:lnTo>
                  <a:lnTo>
                    <a:pt x="28" y="43"/>
                  </a:lnTo>
                  <a:lnTo>
                    <a:pt x="33" y="53"/>
                  </a:lnTo>
                  <a:lnTo>
                    <a:pt x="30" y="62"/>
                  </a:lnTo>
                  <a:lnTo>
                    <a:pt x="34" y="69"/>
                  </a:lnTo>
                  <a:lnTo>
                    <a:pt x="33" y="69"/>
                  </a:lnTo>
                  <a:lnTo>
                    <a:pt x="27" y="77"/>
                  </a:lnTo>
                  <a:lnTo>
                    <a:pt x="28" y="83"/>
                  </a:lnTo>
                  <a:lnTo>
                    <a:pt x="22" y="83"/>
                  </a:lnTo>
                  <a:lnTo>
                    <a:pt x="20" y="84"/>
                  </a:lnTo>
                  <a:lnTo>
                    <a:pt x="15" y="84"/>
                  </a:lnTo>
                  <a:lnTo>
                    <a:pt x="12" y="86"/>
                  </a:lnTo>
                  <a:lnTo>
                    <a:pt x="8" y="86"/>
                  </a:lnTo>
                  <a:lnTo>
                    <a:pt x="9" y="62"/>
                  </a:lnTo>
                  <a:lnTo>
                    <a:pt x="5" y="63"/>
                  </a:lnTo>
                  <a:lnTo>
                    <a:pt x="3" y="63"/>
                  </a:lnTo>
                  <a:lnTo>
                    <a:pt x="0" y="57"/>
                  </a:lnTo>
                  <a:lnTo>
                    <a:pt x="9" y="20"/>
                  </a:lnTo>
                  <a:lnTo>
                    <a:pt x="8" y="6"/>
                  </a:lnTo>
                  <a:lnTo>
                    <a:pt x="1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2" name="Spain">
              <a:extLst>
                <a:ext uri="{FF2B5EF4-FFF2-40B4-BE49-F238E27FC236}">
                  <a16:creationId xmlns:a16="http://schemas.microsoft.com/office/drawing/2014/main" id="{D42E74B5-EB5D-589C-1A67-046172FEADDF}"/>
                </a:ext>
              </a:extLst>
            </p:cNvPr>
            <p:cNvSpPr>
              <a:spLocks/>
            </p:cNvSpPr>
            <p:nvPr/>
          </p:nvSpPr>
          <p:spPr bwMode="auto">
            <a:xfrm>
              <a:off x="5610805" y="3441730"/>
              <a:ext cx="296358" cy="236726"/>
            </a:xfrm>
            <a:custGeom>
              <a:avLst/>
              <a:gdLst>
                <a:gd name="T0" fmla="*/ 19 w 164"/>
                <a:gd name="T1" fmla="*/ 0 h 131"/>
                <a:gd name="T2" fmla="*/ 47 w 164"/>
                <a:gd name="T3" fmla="*/ 3 h 131"/>
                <a:gd name="T4" fmla="*/ 81 w 164"/>
                <a:gd name="T5" fmla="*/ 5 h 131"/>
                <a:gd name="T6" fmla="*/ 98 w 164"/>
                <a:gd name="T7" fmla="*/ 6 h 131"/>
                <a:gd name="T8" fmla="*/ 126 w 164"/>
                <a:gd name="T9" fmla="*/ 20 h 131"/>
                <a:gd name="T10" fmla="*/ 139 w 164"/>
                <a:gd name="T11" fmla="*/ 20 h 131"/>
                <a:gd name="T12" fmla="*/ 142 w 164"/>
                <a:gd name="T13" fmla="*/ 21 h 131"/>
                <a:gd name="T14" fmla="*/ 161 w 164"/>
                <a:gd name="T15" fmla="*/ 23 h 131"/>
                <a:gd name="T16" fmla="*/ 161 w 164"/>
                <a:gd name="T17" fmla="*/ 35 h 131"/>
                <a:gd name="T18" fmla="*/ 118 w 164"/>
                <a:gd name="T19" fmla="*/ 76 h 131"/>
                <a:gd name="T20" fmla="*/ 124 w 164"/>
                <a:gd name="T21" fmla="*/ 85 h 131"/>
                <a:gd name="T22" fmla="*/ 123 w 164"/>
                <a:gd name="T23" fmla="*/ 89 h 131"/>
                <a:gd name="T24" fmla="*/ 112 w 164"/>
                <a:gd name="T25" fmla="*/ 106 h 131"/>
                <a:gd name="T26" fmla="*/ 96 w 164"/>
                <a:gd name="T27" fmla="*/ 119 h 131"/>
                <a:gd name="T28" fmla="*/ 65 w 164"/>
                <a:gd name="T29" fmla="*/ 121 h 131"/>
                <a:gd name="T30" fmla="*/ 50 w 164"/>
                <a:gd name="T31" fmla="*/ 131 h 131"/>
                <a:gd name="T32" fmla="*/ 35 w 164"/>
                <a:gd name="T33" fmla="*/ 115 h 131"/>
                <a:gd name="T34" fmla="*/ 23 w 164"/>
                <a:gd name="T35" fmla="*/ 106 h 131"/>
                <a:gd name="T36" fmla="*/ 29 w 164"/>
                <a:gd name="T37" fmla="*/ 98 h 131"/>
                <a:gd name="T38" fmla="*/ 26 w 164"/>
                <a:gd name="T39" fmla="*/ 89 h 131"/>
                <a:gd name="T40" fmla="*/ 25 w 164"/>
                <a:gd name="T41" fmla="*/ 72 h 131"/>
                <a:gd name="T42" fmla="*/ 31 w 164"/>
                <a:gd name="T43" fmla="*/ 61 h 131"/>
                <a:gd name="T44" fmla="*/ 40 w 164"/>
                <a:gd name="T45" fmla="*/ 38 h 131"/>
                <a:gd name="T46" fmla="*/ 29 w 164"/>
                <a:gd name="T47" fmla="*/ 33 h 131"/>
                <a:gd name="T48" fmla="*/ 18 w 164"/>
                <a:gd name="T49" fmla="*/ 35 h 131"/>
                <a:gd name="T50" fmla="*/ 16 w 164"/>
                <a:gd name="T51" fmla="*/ 30 h 131"/>
                <a:gd name="T52" fmla="*/ 6 w 164"/>
                <a:gd name="T53" fmla="*/ 36 h 131"/>
                <a:gd name="T54" fmla="*/ 7 w 164"/>
                <a:gd name="T55" fmla="*/ 27 h 131"/>
                <a:gd name="T56" fmla="*/ 6 w 164"/>
                <a:gd name="T57" fmla="*/ 26 h 131"/>
                <a:gd name="T58" fmla="*/ 6 w 164"/>
                <a:gd name="T59" fmla="*/ 20 h 131"/>
                <a:gd name="T60" fmla="*/ 0 w 164"/>
                <a:gd name="T61" fmla="*/ 12 h 131"/>
                <a:gd name="T62" fmla="*/ 12 w 164"/>
                <a:gd name="T63" fmla="*/ 8 h 131"/>
                <a:gd name="T64" fmla="*/ 15 w 164"/>
                <a:gd name="T6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4" h="131">
                  <a:moveTo>
                    <a:pt x="15" y="0"/>
                  </a:moveTo>
                  <a:lnTo>
                    <a:pt x="19" y="0"/>
                  </a:lnTo>
                  <a:lnTo>
                    <a:pt x="31" y="2"/>
                  </a:lnTo>
                  <a:lnTo>
                    <a:pt x="47" y="3"/>
                  </a:lnTo>
                  <a:lnTo>
                    <a:pt x="65" y="3"/>
                  </a:lnTo>
                  <a:lnTo>
                    <a:pt x="81" y="5"/>
                  </a:lnTo>
                  <a:lnTo>
                    <a:pt x="93" y="6"/>
                  </a:lnTo>
                  <a:lnTo>
                    <a:pt x="98" y="6"/>
                  </a:lnTo>
                  <a:lnTo>
                    <a:pt x="112" y="17"/>
                  </a:lnTo>
                  <a:lnTo>
                    <a:pt x="126" y="20"/>
                  </a:lnTo>
                  <a:lnTo>
                    <a:pt x="132" y="17"/>
                  </a:lnTo>
                  <a:lnTo>
                    <a:pt x="139" y="20"/>
                  </a:lnTo>
                  <a:lnTo>
                    <a:pt x="141" y="23"/>
                  </a:lnTo>
                  <a:lnTo>
                    <a:pt x="142" y="21"/>
                  </a:lnTo>
                  <a:lnTo>
                    <a:pt x="148" y="24"/>
                  </a:lnTo>
                  <a:lnTo>
                    <a:pt x="161" y="23"/>
                  </a:lnTo>
                  <a:lnTo>
                    <a:pt x="164" y="26"/>
                  </a:lnTo>
                  <a:lnTo>
                    <a:pt x="161" y="35"/>
                  </a:lnTo>
                  <a:lnTo>
                    <a:pt x="132" y="52"/>
                  </a:lnTo>
                  <a:lnTo>
                    <a:pt x="118" y="76"/>
                  </a:lnTo>
                  <a:lnTo>
                    <a:pt x="118" y="82"/>
                  </a:lnTo>
                  <a:lnTo>
                    <a:pt x="124" y="85"/>
                  </a:lnTo>
                  <a:lnTo>
                    <a:pt x="124" y="86"/>
                  </a:lnTo>
                  <a:lnTo>
                    <a:pt x="123" y="89"/>
                  </a:lnTo>
                  <a:lnTo>
                    <a:pt x="117" y="95"/>
                  </a:lnTo>
                  <a:lnTo>
                    <a:pt x="112" y="106"/>
                  </a:lnTo>
                  <a:lnTo>
                    <a:pt x="105" y="107"/>
                  </a:lnTo>
                  <a:lnTo>
                    <a:pt x="96" y="119"/>
                  </a:lnTo>
                  <a:lnTo>
                    <a:pt x="95" y="119"/>
                  </a:lnTo>
                  <a:lnTo>
                    <a:pt x="65" y="121"/>
                  </a:lnTo>
                  <a:lnTo>
                    <a:pt x="52" y="131"/>
                  </a:lnTo>
                  <a:lnTo>
                    <a:pt x="50" y="131"/>
                  </a:lnTo>
                  <a:lnTo>
                    <a:pt x="43" y="128"/>
                  </a:lnTo>
                  <a:lnTo>
                    <a:pt x="35" y="115"/>
                  </a:lnTo>
                  <a:lnTo>
                    <a:pt x="25" y="112"/>
                  </a:lnTo>
                  <a:lnTo>
                    <a:pt x="23" y="106"/>
                  </a:lnTo>
                  <a:lnTo>
                    <a:pt x="23" y="104"/>
                  </a:lnTo>
                  <a:lnTo>
                    <a:pt x="29" y="98"/>
                  </a:lnTo>
                  <a:lnTo>
                    <a:pt x="26" y="91"/>
                  </a:lnTo>
                  <a:lnTo>
                    <a:pt x="26" y="89"/>
                  </a:lnTo>
                  <a:lnTo>
                    <a:pt x="29" y="82"/>
                  </a:lnTo>
                  <a:lnTo>
                    <a:pt x="25" y="72"/>
                  </a:lnTo>
                  <a:lnTo>
                    <a:pt x="31" y="66"/>
                  </a:lnTo>
                  <a:lnTo>
                    <a:pt x="31" y="61"/>
                  </a:lnTo>
                  <a:lnTo>
                    <a:pt x="32" y="48"/>
                  </a:lnTo>
                  <a:lnTo>
                    <a:pt x="40" y="38"/>
                  </a:lnTo>
                  <a:lnTo>
                    <a:pt x="37" y="33"/>
                  </a:lnTo>
                  <a:lnTo>
                    <a:pt x="29" y="33"/>
                  </a:lnTo>
                  <a:lnTo>
                    <a:pt x="25" y="35"/>
                  </a:lnTo>
                  <a:lnTo>
                    <a:pt x="18" y="35"/>
                  </a:lnTo>
                  <a:lnTo>
                    <a:pt x="18" y="33"/>
                  </a:lnTo>
                  <a:lnTo>
                    <a:pt x="16" y="30"/>
                  </a:lnTo>
                  <a:lnTo>
                    <a:pt x="7" y="36"/>
                  </a:lnTo>
                  <a:lnTo>
                    <a:pt x="6" y="36"/>
                  </a:lnTo>
                  <a:lnTo>
                    <a:pt x="6" y="35"/>
                  </a:lnTo>
                  <a:lnTo>
                    <a:pt x="7" y="27"/>
                  </a:lnTo>
                  <a:lnTo>
                    <a:pt x="6" y="27"/>
                  </a:lnTo>
                  <a:lnTo>
                    <a:pt x="6" y="26"/>
                  </a:lnTo>
                  <a:lnTo>
                    <a:pt x="4" y="23"/>
                  </a:lnTo>
                  <a:lnTo>
                    <a:pt x="6" y="20"/>
                  </a:lnTo>
                  <a:lnTo>
                    <a:pt x="0" y="14"/>
                  </a:lnTo>
                  <a:lnTo>
                    <a:pt x="0" y="12"/>
                  </a:lnTo>
                  <a:lnTo>
                    <a:pt x="4" y="8"/>
                  </a:lnTo>
                  <a:lnTo>
                    <a:pt x="12" y="8"/>
                  </a:lnTo>
                  <a:lnTo>
                    <a:pt x="15" y="2"/>
                  </a:lnTo>
                  <a:lnTo>
                    <a:pt x="1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3" name="France">
              <a:extLst>
                <a:ext uri="{FF2B5EF4-FFF2-40B4-BE49-F238E27FC236}">
                  <a16:creationId xmlns:a16="http://schemas.microsoft.com/office/drawing/2014/main" id="{46E7F6DB-4A0F-DD87-25F0-C7F6F756800C}"/>
                </a:ext>
              </a:extLst>
            </p:cNvPr>
            <p:cNvSpPr>
              <a:spLocks/>
            </p:cNvSpPr>
            <p:nvPr/>
          </p:nvSpPr>
          <p:spPr bwMode="auto">
            <a:xfrm>
              <a:off x="5715614" y="3185127"/>
              <a:ext cx="301780" cy="303587"/>
            </a:xfrm>
            <a:custGeom>
              <a:avLst/>
              <a:gdLst>
                <a:gd name="T0" fmla="*/ 99 w 167"/>
                <a:gd name="T1" fmla="*/ 6 h 168"/>
                <a:gd name="T2" fmla="*/ 118 w 167"/>
                <a:gd name="T3" fmla="*/ 21 h 168"/>
                <a:gd name="T4" fmla="*/ 124 w 167"/>
                <a:gd name="T5" fmla="*/ 19 h 168"/>
                <a:gd name="T6" fmla="*/ 127 w 167"/>
                <a:gd name="T7" fmla="*/ 27 h 168"/>
                <a:gd name="T8" fmla="*/ 143 w 167"/>
                <a:gd name="T9" fmla="*/ 31 h 168"/>
                <a:gd name="T10" fmla="*/ 167 w 167"/>
                <a:gd name="T11" fmla="*/ 42 h 168"/>
                <a:gd name="T12" fmla="*/ 160 w 167"/>
                <a:gd name="T13" fmla="*/ 61 h 168"/>
                <a:gd name="T14" fmla="*/ 160 w 167"/>
                <a:gd name="T15" fmla="*/ 70 h 168"/>
                <a:gd name="T16" fmla="*/ 140 w 167"/>
                <a:gd name="T17" fmla="*/ 92 h 168"/>
                <a:gd name="T18" fmla="*/ 145 w 167"/>
                <a:gd name="T19" fmla="*/ 92 h 168"/>
                <a:gd name="T20" fmla="*/ 151 w 167"/>
                <a:gd name="T21" fmla="*/ 94 h 168"/>
                <a:gd name="T22" fmla="*/ 154 w 167"/>
                <a:gd name="T23" fmla="*/ 104 h 168"/>
                <a:gd name="T24" fmla="*/ 154 w 167"/>
                <a:gd name="T25" fmla="*/ 113 h 168"/>
                <a:gd name="T26" fmla="*/ 154 w 167"/>
                <a:gd name="T27" fmla="*/ 114 h 168"/>
                <a:gd name="T28" fmla="*/ 152 w 167"/>
                <a:gd name="T29" fmla="*/ 122 h 168"/>
                <a:gd name="T30" fmla="*/ 161 w 167"/>
                <a:gd name="T31" fmla="*/ 134 h 168"/>
                <a:gd name="T32" fmla="*/ 143 w 167"/>
                <a:gd name="T33" fmla="*/ 154 h 168"/>
                <a:gd name="T34" fmla="*/ 127 w 167"/>
                <a:gd name="T35" fmla="*/ 148 h 168"/>
                <a:gd name="T36" fmla="*/ 105 w 167"/>
                <a:gd name="T37" fmla="*/ 153 h 168"/>
                <a:gd name="T38" fmla="*/ 105 w 167"/>
                <a:gd name="T39" fmla="*/ 166 h 168"/>
                <a:gd name="T40" fmla="*/ 93 w 167"/>
                <a:gd name="T41" fmla="*/ 168 h 168"/>
                <a:gd name="T42" fmla="*/ 74 w 167"/>
                <a:gd name="T43" fmla="*/ 160 h 168"/>
                <a:gd name="T44" fmla="*/ 53 w 167"/>
                <a:gd name="T45" fmla="*/ 160 h 168"/>
                <a:gd name="T46" fmla="*/ 40 w 167"/>
                <a:gd name="T47" fmla="*/ 148 h 168"/>
                <a:gd name="T48" fmla="*/ 50 w 167"/>
                <a:gd name="T49" fmla="*/ 126 h 168"/>
                <a:gd name="T50" fmla="*/ 47 w 167"/>
                <a:gd name="T51" fmla="*/ 123 h 168"/>
                <a:gd name="T52" fmla="*/ 48 w 167"/>
                <a:gd name="T53" fmla="*/ 105 h 168"/>
                <a:gd name="T54" fmla="*/ 40 w 167"/>
                <a:gd name="T55" fmla="*/ 92 h 168"/>
                <a:gd name="T56" fmla="*/ 35 w 167"/>
                <a:gd name="T57" fmla="*/ 79 h 168"/>
                <a:gd name="T58" fmla="*/ 31 w 167"/>
                <a:gd name="T59" fmla="*/ 77 h 168"/>
                <a:gd name="T60" fmla="*/ 29 w 167"/>
                <a:gd name="T61" fmla="*/ 73 h 168"/>
                <a:gd name="T62" fmla="*/ 5 w 167"/>
                <a:gd name="T63" fmla="*/ 67 h 168"/>
                <a:gd name="T64" fmla="*/ 1 w 167"/>
                <a:gd name="T65" fmla="*/ 61 h 168"/>
                <a:gd name="T66" fmla="*/ 3 w 167"/>
                <a:gd name="T67" fmla="*/ 59 h 168"/>
                <a:gd name="T68" fmla="*/ 4 w 167"/>
                <a:gd name="T69" fmla="*/ 57 h 168"/>
                <a:gd name="T70" fmla="*/ 1 w 167"/>
                <a:gd name="T71" fmla="*/ 52 h 168"/>
                <a:gd name="T72" fmla="*/ 19 w 167"/>
                <a:gd name="T73" fmla="*/ 46 h 168"/>
                <a:gd name="T74" fmla="*/ 43 w 167"/>
                <a:gd name="T75" fmla="*/ 51 h 168"/>
                <a:gd name="T76" fmla="*/ 38 w 167"/>
                <a:gd name="T77" fmla="*/ 28 h 168"/>
                <a:gd name="T78" fmla="*/ 47 w 167"/>
                <a:gd name="T79" fmla="*/ 30 h 168"/>
                <a:gd name="T80" fmla="*/ 65 w 167"/>
                <a:gd name="T81" fmla="*/ 34 h 168"/>
                <a:gd name="T82" fmla="*/ 84 w 167"/>
                <a:gd name="T83" fmla="*/ 18 h 168"/>
                <a:gd name="T84" fmla="*/ 86 w 167"/>
                <a:gd name="T85" fmla="*/ 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7" h="168">
                  <a:moveTo>
                    <a:pt x="99" y="0"/>
                  </a:moveTo>
                  <a:lnTo>
                    <a:pt x="99" y="6"/>
                  </a:lnTo>
                  <a:lnTo>
                    <a:pt x="115" y="15"/>
                  </a:lnTo>
                  <a:lnTo>
                    <a:pt x="118" y="21"/>
                  </a:lnTo>
                  <a:lnTo>
                    <a:pt x="121" y="21"/>
                  </a:lnTo>
                  <a:lnTo>
                    <a:pt x="124" y="19"/>
                  </a:lnTo>
                  <a:lnTo>
                    <a:pt x="127" y="19"/>
                  </a:lnTo>
                  <a:lnTo>
                    <a:pt x="127" y="27"/>
                  </a:lnTo>
                  <a:lnTo>
                    <a:pt x="137" y="30"/>
                  </a:lnTo>
                  <a:lnTo>
                    <a:pt x="143" y="31"/>
                  </a:lnTo>
                  <a:lnTo>
                    <a:pt x="149" y="37"/>
                  </a:lnTo>
                  <a:lnTo>
                    <a:pt x="167" y="42"/>
                  </a:lnTo>
                  <a:lnTo>
                    <a:pt x="167" y="43"/>
                  </a:lnTo>
                  <a:lnTo>
                    <a:pt x="160" y="61"/>
                  </a:lnTo>
                  <a:lnTo>
                    <a:pt x="161" y="70"/>
                  </a:lnTo>
                  <a:lnTo>
                    <a:pt x="160" y="70"/>
                  </a:lnTo>
                  <a:lnTo>
                    <a:pt x="152" y="73"/>
                  </a:lnTo>
                  <a:lnTo>
                    <a:pt x="140" y="92"/>
                  </a:lnTo>
                  <a:lnTo>
                    <a:pt x="140" y="97"/>
                  </a:lnTo>
                  <a:lnTo>
                    <a:pt x="145" y="92"/>
                  </a:lnTo>
                  <a:lnTo>
                    <a:pt x="151" y="92"/>
                  </a:lnTo>
                  <a:lnTo>
                    <a:pt x="151" y="94"/>
                  </a:lnTo>
                  <a:lnTo>
                    <a:pt x="154" y="102"/>
                  </a:lnTo>
                  <a:lnTo>
                    <a:pt x="154" y="104"/>
                  </a:lnTo>
                  <a:lnTo>
                    <a:pt x="151" y="104"/>
                  </a:lnTo>
                  <a:lnTo>
                    <a:pt x="154" y="113"/>
                  </a:lnTo>
                  <a:lnTo>
                    <a:pt x="155" y="114"/>
                  </a:lnTo>
                  <a:lnTo>
                    <a:pt x="154" y="114"/>
                  </a:lnTo>
                  <a:lnTo>
                    <a:pt x="151" y="120"/>
                  </a:lnTo>
                  <a:lnTo>
                    <a:pt x="152" y="122"/>
                  </a:lnTo>
                  <a:lnTo>
                    <a:pt x="154" y="134"/>
                  </a:lnTo>
                  <a:lnTo>
                    <a:pt x="161" y="134"/>
                  </a:lnTo>
                  <a:lnTo>
                    <a:pt x="161" y="141"/>
                  </a:lnTo>
                  <a:lnTo>
                    <a:pt x="143" y="154"/>
                  </a:lnTo>
                  <a:lnTo>
                    <a:pt x="142" y="154"/>
                  </a:lnTo>
                  <a:lnTo>
                    <a:pt x="127" y="148"/>
                  </a:lnTo>
                  <a:lnTo>
                    <a:pt x="115" y="147"/>
                  </a:lnTo>
                  <a:lnTo>
                    <a:pt x="105" y="153"/>
                  </a:lnTo>
                  <a:lnTo>
                    <a:pt x="103" y="159"/>
                  </a:lnTo>
                  <a:lnTo>
                    <a:pt x="105" y="166"/>
                  </a:lnTo>
                  <a:lnTo>
                    <a:pt x="96" y="166"/>
                  </a:lnTo>
                  <a:lnTo>
                    <a:pt x="93" y="168"/>
                  </a:lnTo>
                  <a:lnTo>
                    <a:pt x="88" y="168"/>
                  </a:lnTo>
                  <a:lnTo>
                    <a:pt x="74" y="160"/>
                  </a:lnTo>
                  <a:lnTo>
                    <a:pt x="69" y="163"/>
                  </a:lnTo>
                  <a:lnTo>
                    <a:pt x="53" y="160"/>
                  </a:lnTo>
                  <a:lnTo>
                    <a:pt x="40" y="150"/>
                  </a:lnTo>
                  <a:lnTo>
                    <a:pt x="40" y="148"/>
                  </a:lnTo>
                  <a:lnTo>
                    <a:pt x="45" y="144"/>
                  </a:lnTo>
                  <a:lnTo>
                    <a:pt x="50" y="126"/>
                  </a:lnTo>
                  <a:lnTo>
                    <a:pt x="47" y="125"/>
                  </a:lnTo>
                  <a:lnTo>
                    <a:pt x="47" y="123"/>
                  </a:lnTo>
                  <a:lnTo>
                    <a:pt x="50" y="108"/>
                  </a:lnTo>
                  <a:lnTo>
                    <a:pt x="48" y="105"/>
                  </a:lnTo>
                  <a:lnTo>
                    <a:pt x="47" y="95"/>
                  </a:lnTo>
                  <a:lnTo>
                    <a:pt x="40" y="92"/>
                  </a:lnTo>
                  <a:lnTo>
                    <a:pt x="37" y="86"/>
                  </a:lnTo>
                  <a:lnTo>
                    <a:pt x="35" y="79"/>
                  </a:lnTo>
                  <a:lnTo>
                    <a:pt x="35" y="77"/>
                  </a:lnTo>
                  <a:lnTo>
                    <a:pt x="31" y="77"/>
                  </a:lnTo>
                  <a:lnTo>
                    <a:pt x="31" y="76"/>
                  </a:lnTo>
                  <a:lnTo>
                    <a:pt x="29" y="73"/>
                  </a:lnTo>
                  <a:lnTo>
                    <a:pt x="11" y="67"/>
                  </a:lnTo>
                  <a:lnTo>
                    <a:pt x="5" y="67"/>
                  </a:lnTo>
                  <a:lnTo>
                    <a:pt x="1" y="62"/>
                  </a:lnTo>
                  <a:lnTo>
                    <a:pt x="1" y="61"/>
                  </a:lnTo>
                  <a:lnTo>
                    <a:pt x="4" y="61"/>
                  </a:lnTo>
                  <a:lnTo>
                    <a:pt x="3" y="59"/>
                  </a:lnTo>
                  <a:lnTo>
                    <a:pt x="3" y="58"/>
                  </a:lnTo>
                  <a:lnTo>
                    <a:pt x="4" y="57"/>
                  </a:lnTo>
                  <a:lnTo>
                    <a:pt x="0" y="57"/>
                  </a:lnTo>
                  <a:lnTo>
                    <a:pt x="1" y="52"/>
                  </a:lnTo>
                  <a:lnTo>
                    <a:pt x="17" y="46"/>
                  </a:lnTo>
                  <a:lnTo>
                    <a:pt x="19" y="46"/>
                  </a:lnTo>
                  <a:lnTo>
                    <a:pt x="29" y="51"/>
                  </a:lnTo>
                  <a:lnTo>
                    <a:pt x="43" y="51"/>
                  </a:lnTo>
                  <a:lnTo>
                    <a:pt x="38" y="30"/>
                  </a:lnTo>
                  <a:lnTo>
                    <a:pt x="38" y="28"/>
                  </a:lnTo>
                  <a:lnTo>
                    <a:pt x="47" y="28"/>
                  </a:lnTo>
                  <a:lnTo>
                    <a:pt x="47" y="30"/>
                  </a:lnTo>
                  <a:lnTo>
                    <a:pt x="50" y="34"/>
                  </a:lnTo>
                  <a:lnTo>
                    <a:pt x="65" y="34"/>
                  </a:lnTo>
                  <a:lnTo>
                    <a:pt x="66" y="28"/>
                  </a:lnTo>
                  <a:lnTo>
                    <a:pt x="84" y="18"/>
                  </a:lnTo>
                  <a:lnTo>
                    <a:pt x="86" y="5"/>
                  </a:lnTo>
                  <a:lnTo>
                    <a:pt x="86" y="3"/>
                  </a:lnTo>
                  <a:lnTo>
                    <a:pt x="9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4" name="Ireland">
              <a:extLst>
                <a:ext uri="{FF2B5EF4-FFF2-40B4-BE49-F238E27FC236}">
                  <a16:creationId xmlns:a16="http://schemas.microsoft.com/office/drawing/2014/main" id="{6B0BF622-F84A-D6B3-2693-F2F6F4F820CF}"/>
                </a:ext>
              </a:extLst>
            </p:cNvPr>
            <p:cNvSpPr>
              <a:spLocks noEditPoints="1"/>
            </p:cNvSpPr>
            <p:nvPr/>
          </p:nvSpPr>
          <p:spPr bwMode="auto">
            <a:xfrm>
              <a:off x="5583698" y="3022491"/>
              <a:ext cx="104809" cy="149986"/>
            </a:xfrm>
            <a:custGeom>
              <a:avLst/>
              <a:gdLst>
                <a:gd name="T0" fmla="*/ 19 w 58"/>
                <a:gd name="T1" fmla="*/ 56 h 83"/>
                <a:gd name="T2" fmla="*/ 13 w 58"/>
                <a:gd name="T3" fmla="*/ 59 h 83"/>
                <a:gd name="T4" fmla="*/ 21 w 58"/>
                <a:gd name="T5" fmla="*/ 58 h 83"/>
                <a:gd name="T6" fmla="*/ 19 w 58"/>
                <a:gd name="T7" fmla="*/ 56 h 83"/>
                <a:gd name="T8" fmla="*/ 37 w 58"/>
                <a:gd name="T9" fmla="*/ 0 h 83"/>
                <a:gd name="T10" fmla="*/ 38 w 58"/>
                <a:gd name="T11" fmla="*/ 7 h 83"/>
                <a:gd name="T12" fmla="*/ 31 w 58"/>
                <a:gd name="T13" fmla="*/ 18 h 83"/>
                <a:gd name="T14" fmla="*/ 35 w 58"/>
                <a:gd name="T15" fmla="*/ 23 h 83"/>
                <a:gd name="T16" fmla="*/ 50 w 58"/>
                <a:gd name="T17" fmla="*/ 18 h 83"/>
                <a:gd name="T18" fmla="*/ 52 w 58"/>
                <a:gd name="T19" fmla="*/ 18 h 83"/>
                <a:gd name="T20" fmla="*/ 56 w 58"/>
                <a:gd name="T21" fmla="*/ 28 h 83"/>
                <a:gd name="T22" fmla="*/ 56 w 58"/>
                <a:gd name="T23" fmla="*/ 29 h 83"/>
                <a:gd name="T24" fmla="*/ 55 w 58"/>
                <a:gd name="T25" fmla="*/ 31 h 83"/>
                <a:gd name="T26" fmla="*/ 58 w 58"/>
                <a:gd name="T27" fmla="*/ 38 h 83"/>
                <a:gd name="T28" fmla="*/ 58 w 58"/>
                <a:gd name="T29" fmla="*/ 52 h 83"/>
                <a:gd name="T30" fmla="*/ 53 w 58"/>
                <a:gd name="T31" fmla="*/ 69 h 83"/>
                <a:gd name="T32" fmla="*/ 37 w 58"/>
                <a:gd name="T33" fmla="*/ 69 h 83"/>
                <a:gd name="T34" fmla="*/ 15 w 58"/>
                <a:gd name="T35" fmla="*/ 83 h 83"/>
                <a:gd name="T36" fmla="*/ 9 w 58"/>
                <a:gd name="T37" fmla="*/ 83 h 83"/>
                <a:gd name="T38" fmla="*/ 10 w 58"/>
                <a:gd name="T39" fmla="*/ 80 h 83"/>
                <a:gd name="T40" fmla="*/ 4 w 58"/>
                <a:gd name="T41" fmla="*/ 81 h 83"/>
                <a:gd name="T42" fmla="*/ 3 w 58"/>
                <a:gd name="T43" fmla="*/ 80 h 83"/>
                <a:gd name="T44" fmla="*/ 4 w 58"/>
                <a:gd name="T45" fmla="*/ 80 h 83"/>
                <a:gd name="T46" fmla="*/ 7 w 58"/>
                <a:gd name="T47" fmla="*/ 77 h 83"/>
                <a:gd name="T48" fmla="*/ 1 w 58"/>
                <a:gd name="T49" fmla="*/ 77 h 83"/>
                <a:gd name="T50" fmla="*/ 1 w 58"/>
                <a:gd name="T51" fmla="*/ 75 h 83"/>
                <a:gd name="T52" fmla="*/ 6 w 58"/>
                <a:gd name="T53" fmla="*/ 71 h 83"/>
                <a:gd name="T54" fmla="*/ 0 w 58"/>
                <a:gd name="T55" fmla="*/ 69 h 83"/>
                <a:gd name="T56" fmla="*/ 0 w 58"/>
                <a:gd name="T57" fmla="*/ 68 h 83"/>
                <a:gd name="T58" fmla="*/ 1 w 58"/>
                <a:gd name="T59" fmla="*/ 68 h 83"/>
                <a:gd name="T60" fmla="*/ 6 w 58"/>
                <a:gd name="T61" fmla="*/ 66 h 83"/>
                <a:gd name="T62" fmla="*/ 10 w 58"/>
                <a:gd name="T63" fmla="*/ 61 h 83"/>
                <a:gd name="T64" fmla="*/ 7 w 58"/>
                <a:gd name="T65" fmla="*/ 61 h 83"/>
                <a:gd name="T66" fmla="*/ 7 w 58"/>
                <a:gd name="T67" fmla="*/ 59 h 83"/>
                <a:gd name="T68" fmla="*/ 18 w 58"/>
                <a:gd name="T69" fmla="*/ 47 h 83"/>
                <a:gd name="T70" fmla="*/ 7 w 58"/>
                <a:gd name="T71" fmla="*/ 44 h 83"/>
                <a:gd name="T72" fmla="*/ 7 w 58"/>
                <a:gd name="T73" fmla="*/ 43 h 83"/>
                <a:gd name="T74" fmla="*/ 4 w 58"/>
                <a:gd name="T75" fmla="*/ 38 h 83"/>
                <a:gd name="T76" fmla="*/ 10 w 58"/>
                <a:gd name="T77" fmla="*/ 34 h 83"/>
                <a:gd name="T78" fmla="*/ 4 w 58"/>
                <a:gd name="T79" fmla="*/ 29 h 83"/>
                <a:gd name="T80" fmla="*/ 3 w 58"/>
                <a:gd name="T81" fmla="*/ 29 h 83"/>
                <a:gd name="T82" fmla="*/ 3 w 58"/>
                <a:gd name="T83" fmla="*/ 28 h 83"/>
                <a:gd name="T84" fmla="*/ 7 w 58"/>
                <a:gd name="T85" fmla="*/ 28 h 83"/>
                <a:gd name="T86" fmla="*/ 6 w 58"/>
                <a:gd name="T87" fmla="*/ 26 h 83"/>
                <a:gd name="T88" fmla="*/ 9 w 58"/>
                <a:gd name="T89" fmla="*/ 22 h 83"/>
                <a:gd name="T90" fmla="*/ 9 w 58"/>
                <a:gd name="T91" fmla="*/ 20 h 83"/>
                <a:gd name="T92" fmla="*/ 16 w 58"/>
                <a:gd name="T93" fmla="*/ 20 h 83"/>
                <a:gd name="T94" fmla="*/ 19 w 58"/>
                <a:gd name="T95" fmla="*/ 22 h 83"/>
                <a:gd name="T96" fmla="*/ 24 w 58"/>
                <a:gd name="T97" fmla="*/ 22 h 83"/>
                <a:gd name="T98" fmla="*/ 28 w 58"/>
                <a:gd name="T99" fmla="*/ 16 h 83"/>
                <a:gd name="T100" fmla="*/ 21 w 58"/>
                <a:gd name="T101" fmla="*/ 15 h 83"/>
                <a:gd name="T102" fmla="*/ 21 w 58"/>
                <a:gd name="T103" fmla="*/ 13 h 83"/>
                <a:gd name="T104" fmla="*/ 30 w 58"/>
                <a:gd name="T105" fmla="*/ 3 h 83"/>
                <a:gd name="T106" fmla="*/ 37 w 58"/>
                <a:gd name="T10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83">
                  <a:moveTo>
                    <a:pt x="19" y="56"/>
                  </a:moveTo>
                  <a:lnTo>
                    <a:pt x="13" y="59"/>
                  </a:lnTo>
                  <a:lnTo>
                    <a:pt x="21" y="58"/>
                  </a:lnTo>
                  <a:lnTo>
                    <a:pt x="19" y="56"/>
                  </a:lnTo>
                  <a:close/>
                  <a:moveTo>
                    <a:pt x="37" y="0"/>
                  </a:moveTo>
                  <a:lnTo>
                    <a:pt x="38" y="7"/>
                  </a:lnTo>
                  <a:lnTo>
                    <a:pt x="31" y="18"/>
                  </a:lnTo>
                  <a:lnTo>
                    <a:pt x="35" y="23"/>
                  </a:lnTo>
                  <a:lnTo>
                    <a:pt x="50" y="18"/>
                  </a:lnTo>
                  <a:lnTo>
                    <a:pt x="52" y="18"/>
                  </a:lnTo>
                  <a:lnTo>
                    <a:pt x="56" y="28"/>
                  </a:lnTo>
                  <a:lnTo>
                    <a:pt x="56" y="29"/>
                  </a:lnTo>
                  <a:lnTo>
                    <a:pt x="55" y="31"/>
                  </a:lnTo>
                  <a:lnTo>
                    <a:pt x="58" y="38"/>
                  </a:lnTo>
                  <a:lnTo>
                    <a:pt x="58" y="52"/>
                  </a:lnTo>
                  <a:lnTo>
                    <a:pt x="53" y="69"/>
                  </a:lnTo>
                  <a:lnTo>
                    <a:pt x="37" y="69"/>
                  </a:lnTo>
                  <a:lnTo>
                    <a:pt x="15" y="83"/>
                  </a:lnTo>
                  <a:lnTo>
                    <a:pt x="9" y="83"/>
                  </a:lnTo>
                  <a:lnTo>
                    <a:pt x="10" y="80"/>
                  </a:lnTo>
                  <a:lnTo>
                    <a:pt x="4" y="81"/>
                  </a:lnTo>
                  <a:lnTo>
                    <a:pt x="3" y="80"/>
                  </a:lnTo>
                  <a:lnTo>
                    <a:pt x="4" y="80"/>
                  </a:lnTo>
                  <a:lnTo>
                    <a:pt x="7" y="77"/>
                  </a:lnTo>
                  <a:lnTo>
                    <a:pt x="1" y="77"/>
                  </a:lnTo>
                  <a:lnTo>
                    <a:pt x="1" y="75"/>
                  </a:lnTo>
                  <a:lnTo>
                    <a:pt x="6" y="71"/>
                  </a:lnTo>
                  <a:lnTo>
                    <a:pt x="0" y="69"/>
                  </a:lnTo>
                  <a:lnTo>
                    <a:pt x="0" y="68"/>
                  </a:lnTo>
                  <a:lnTo>
                    <a:pt x="1" y="68"/>
                  </a:lnTo>
                  <a:lnTo>
                    <a:pt x="6" y="66"/>
                  </a:lnTo>
                  <a:lnTo>
                    <a:pt x="10" y="61"/>
                  </a:lnTo>
                  <a:lnTo>
                    <a:pt x="7" y="61"/>
                  </a:lnTo>
                  <a:lnTo>
                    <a:pt x="7" y="59"/>
                  </a:lnTo>
                  <a:lnTo>
                    <a:pt x="18" y="47"/>
                  </a:lnTo>
                  <a:lnTo>
                    <a:pt x="7" y="44"/>
                  </a:lnTo>
                  <a:lnTo>
                    <a:pt x="7" y="43"/>
                  </a:lnTo>
                  <a:lnTo>
                    <a:pt x="4" y="38"/>
                  </a:lnTo>
                  <a:lnTo>
                    <a:pt x="10" y="34"/>
                  </a:lnTo>
                  <a:lnTo>
                    <a:pt x="4" y="29"/>
                  </a:lnTo>
                  <a:lnTo>
                    <a:pt x="3" y="29"/>
                  </a:lnTo>
                  <a:lnTo>
                    <a:pt x="3" y="28"/>
                  </a:lnTo>
                  <a:lnTo>
                    <a:pt x="7" y="28"/>
                  </a:lnTo>
                  <a:lnTo>
                    <a:pt x="6" y="26"/>
                  </a:lnTo>
                  <a:lnTo>
                    <a:pt x="9" y="22"/>
                  </a:lnTo>
                  <a:lnTo>
                    <a:pt x="9" y="20"/>
                  </a:lnTo>
                  <a:lnTo>
                    <a:pt x="16" y="20"/>
                  </a:lnTo>
                  <a:lnTo>
                    <a:pt x="19" y="22"/>
                  </a:lnTo>
                  <a:lnTo>
                    <a:pt x="24" y="22"/>
                  </a:lnTo>
                  <a:lnTo>
                    <a:pt x="28" y="16"/>
                  </a:lnTo>
                  <a:lnTo>
                    <a:pt x="21" y="15"/>
                  </a:lnTo>
                  <a:lnTo>
                    <a:pt x="21" y="13"/>
                  </a:lnTo>
                  <a:lnTo>
                    <a:pt x="30" y="3"/>
                  </a:lnTo>
                  <a:lnTo>
                    <a:pt x="3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5" name="Austria">
              <a:extLst>
                <a:ext uri="{FF2B5EF4-FFF2-40B4-BE49-F238E27FC236}">
                  <a16:creationId xmlns:a16="http://schemas.microsoft.com/office/drawing/2014/main" id="{D5C109DD-3A31-47CF-31FF-0F2016FBDEB5}"/>
                </a:ext>
              </a:extLst>
            </p:cNvPr>
            <p:cNvSpPr>
              <a:spLocks/>
            </p:cNvSpPr>
            <p:nvPr/>
          </p:nvSpPr>
          <p:spPr bwMode="auto">
            <a:xfrm>
              <a:off x="6049920" y="3261023"/>
              <a:ext cx="182514" cy="90353"/>
            </a:xfrm>
            <a:custGeom>
              <a:avLst/>
              <a:gdLst>
                <a:gd name="T0" fmla="*/ 72 w 101"/>
                <a:gd name="T1" fmla="*/ 0 h 50"/>
                <a:gd name="T2" fmla="*/ 74 w 101"/>
                <a:gd name="T3" fmla="*/ 0 h 50"/>
                <a:gd name="T4" fmla="*/ 95 w 101"/>
                <a:gd name="T5" fmla="*/ 4 h 50"/>
                <a:gd name="T6" fmla="*/ 101 w 101"/>
                <a:gd name="T7" fmla="*/ 19 h 50"/>
                <a:gd name="T8" fmla="*/ 99 w 101"/>
                <a:gd name="T9" fmla="*/ 25 h 50"/>
                <a:gd name="T10" fmla="*/ 99 w 101"/>
                <a:gd name="T11" fmla="*/ 26 h 50"/>
                <a:gd name="T12" fmla="*/ 93 w 101"/>
                <a:gd name="T13" fmla="*/ 26 h 50"/>
                <a:gd name="T14" fmla="*/ 92 w 101"/>
                <a:gd name="T15" fmla="*/ 38 h 50"/>
                <a:gd name="T16" fmla="*/ 92 w 101"/>
                <a:gd name="T17" fmla="*/ 40 h 50"/>
                <a:gd name="T18" fmla="*/ 87 w 101"/>
                <a:gd name="T19" fmla="*/ 43 h 50"/>
                <a:gd name="T20" fmla="*/ 67 w 101"/>
                <a:gd name="T21" fmla="*/ 50 h 50"/>
                <a:gd name="T22" fmla="*/ 55 w 101"/>
                <a:gd name="T23" fmla="*/ 50 h 50"/>
                <a:gd name="T24" fmla="*/ 40 w 101"/>
                <a:gd name="T25" fmla="*/ 46 h 50"/>
                <a:gd name="T26" fmla="*/ 34 w 101"/>
                <a:gd name="T27" fmla="*/ 38 h 50"/>
                <a:gd name="T28" fmla="*/ 12 w 101"/>
                <a:gd name="T29" fmla="*/ 43 h 50"/>
                <a:gd name="T30" fmla="*/ 3 w 101"/>
                <a:gd name="T31" fmla="*/ 40 h 50"/>
                <a:gd name="T32" fmla="*/ 1 w 101"/>
                <a:gd name="T33" fmla="*/ 40 h 50"/>
                <a:gd name="T34" fmla="*/ 0 w 101"/>
                <a:gd name="T35" fmla="*/ 31 h 50"/>
                <a:gd name="T36" fmla="*/ 0 w 101"/>
                <a:gd name="T37" fmla="*/ 29 h 50"/>
                <a:gd name="T38" fmla="*/ 4 w 101"/>
                <a:gd name="T39" fmla="*/ 28 h 50"/>
                <a:gd name="T40" fmla="*/ 10 w 101"/>
                <a:gd name="T41" fmla="*/ 32 h 50"/>
                <a:gd name="T42" fmla="*/ 13 w 101"/>
                <a:gd name="T43" fmla="*/ 28 h 50"/>
                <a:gd name="T44" fmla="*/ 15 w 101"/>
                <a:gd name="T45" fmla="*/ 28 h 50"/>
                <a:gd name="T46" fmla="*/ 22 w 101"/>
                <a:gd name="T47" fmla="*/ 31 h 50"/>
                <a:gd name="T48" fmla="*/ 37 w 101"/>
                <a:gd name="T49" fmla="*/ 25 h 50"/>
                <a:gd name="T50" fmla="*/ 43 w 101"/>
                <a:gd name="T51" fmla="*/ 28 h 50"/>
                <a:gd name="T52" fmla="*/ 46 w 101"/>
                <a:gd name="T53" fmla="*/ 26 h 50"/>
                <a:gd name="T54" fmla="*/ 44 w 101"/>
                <a:gd name="T55" fmla="*/ 16 h 50"/>
                <a:gd name="T56" fmla="*/ 44 w 101"/>
                <a:gd name="T57" fmla="*/ 15 h 50"/>
                <a:gd name="T58" fmla="*/ 56 w 101"/>
                <a:gd name="T59" fmla="*/ 6 h 50"/>
                <a:gd name="T60" fmla="*/ 59 w 101"/>
                <a:gd name="T61" fmla="*/ 6 h 50"/>
                <a:gd name="T62" fmla="*/ 64 w 101"/>
                <a:gd name="T63" fmla="*/ 7 h 50"/>
                <a:gd name="T64" fmla="*/ 67 w 101"/>
                <a:gd name="T65" fmla="*/ 7 h 50"/>
                <a:gd name="T66" fmla="*/ 72 w 101"/>
                <a:gd name="T6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50">
                  <a:moveTo>
                    <a:pt x="72" y="0"/>
                  </a:moveTo>
                  <a:lnTo>
                    <a:pt x="74" y="0"/>
                  </a:lnTo>
                  <a:lnTo>
                    <a:pt x="95" y="4"/>
                  </a:lnTo>
                  <a:lnTo>
                    <a:pt x="101" y="19"/>
                  </a:lnTo>
                  <a:lnTo>
                    <a:pt x="99" y="25"/>
                  </a:lnTo>
                  <a:lnTo>
                    <a:pt x="99" y="26"/>
                  </a:lnTo>
                  <a:lnTo>
                    <a:pt x="93" y="26"/>
                  </a:lnTo>
                  <a:lnTo>
                    <a:pt x="92" y="38"/>
                  </a:lnTo>
                  <a:lnTo>
                    <a:pt x="92" y="40"/>
                  </a:lnTo>
                  <a:lnTo>
                    <a:pt x="87" y="43"/>
                  </a:lnTo>
                  <a:lnTo>
                    <a:pt x="67" y="50"/>
                  </a:lnTo>
                  <a:lnTo>
                    <a:pt x="55" y="50"/>
                  </a:lnTo>
                  <a:lnTo>
                    <a:pt x="40" y="46"/>
                  </a:lnTo>
                  <a:lnTo>
                    <a:pt x="34" y="38"/>
                  </a:lnTo>
                  <a:lnTo>
                    <a:pt x="12" y="43"/>
                  </a:lnTo>
                  <a:lnTo>
                    <a:pt x="3" y="40"/>
                  </a:lnTo>
                  <a:lnTo>
                    <a:pt x="1" y="40"/>
                  </a:lnTo>
                  <a:lnTo>
                    <a:pt x="0" y="31"/>
                  </a:lnTo>
                  <a:lnTo>
                    <a:pt x="0" y="29"/>
                  </a:lnTo>
                  <a:lnTo>
                    <a:pt x="4" y="28"/>
                  </a:lnTo>
                  <a:lnTo>
                    <a:pt x="10" y="32"/>
                  </a:lnTo>
                  <a:lnTo>
                    <a:pt x="13" y="28"/>
                  </a:lnTo>
                  <a:lnTo>
                    <a:pt x="15" y="28"/>
                  </a:lnTo>
                  <a:lnTo>
                    <a:pt x="22" y="31"/>
                  </a:lnTo>
                  <a:lnTo>
                    <a:pt x="37" y="25"/>
                  </a:lnTo>
                  <a:lnTo>
                    <a:pt x="43" y="28"/>
                  </a:lnTo>
                  <a:lnTo>
                    <a:pt x="46" y="26"/>
                  </a:lnTo>
                  <a:lnTo>
                    <a:pt x="44" y="16"/>
                  </a:lnTo>
                  <a:lnTo>
                    <a:pt x="44" y="15"/>
                  </a:lnTo>
                  <a:lnTo>
                    <a:pt x="56" y="6"/>
                  </a:lnTo>
                  <a:lnTo>
                    <a:pt x="59" y="6"/>
                  </a:lnTo>
                  <a:lnTo>
                    <a:pt x="64" y="7"/>
                  </a:lnTo>
                  <a:lnTo>
                    <a:pt x="67" y="7"/>
                  </a:lnTo>
                  <a:lnTo>
                    <a:pt x="7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6" name="Belgium">
              <a:extLst>
                <a:ext uri="{FF2B5EF4-FFF2-40B4-BE49-F238E27FC236}">
                  <a16:creationId xmlns:a16="http://schemas.microsoft.com/office/drawing/2014/main" id="{A9606843-5A07-02B7-557C-52363CBC2070}"/>
                </a:ext>
              </a:extLst>
            </p:cNvPr>
            <p:cNvSpPr>
              <a:spLocks/>
            </p:cNvSpPr>
            <p:nvPr/>
          </p:nvSpPr>
          <p:spPr bwMode="auto">
            <a:xfrm>
              <a:off x="5890898" y="3174285"/>
              <a:ext cx="83124" cy="66862"/>
            </a:xfrm>
            <a:custGeom>
              <a:avLst/>
              <a:gdLst>
                <a:gd name="T0" fmla="*/ 9 w 46"/>
                <a:gd name="T1" fmla="*/ 0 h 37"/>
                <a:gd name="T2" fmla="*/ 11 w 46"/>
                <a:gd name="T3" fmla="*/ 0 h 37"/>
                <a:gd name="T4" fmla="*/ 15 w 46"/>
                <a:gd name="T5" fmla="*/ 3 h 37"/>
                <a:gd name="T6" fmla="*/ 18 w 46"/>
                <a:gd name="T7" fmla="*/ 3 h 37"/>
                <a:gd name="T8" fmla="*/ 21 w 46"/>
                <a:gd name="T9" fmla="*/ 2 h 37"/>
                <a:gd name="T10" fmla="*/ 26 w 46"/>
                <a:gd name="T11" fmla="*/ 2 h 37"/>
                <a:gd name="T12" fmla="*/ 29 w 46"/>
                <a:gd name="T13" fmla="*/ 0 h 37"/>
                <a:gd name="T14" fmla="*/ 32 w 46"/>
                <a:gd name="T15" fmla="*/ 0 h 37"/>
                <a:gd name="T16" fmla="*/ 37 w 46"/>
                <a:gd name="T17" fmla="*/ 5 h 37"/>
                <a:gd name="T18" fmla="*/ 39 w 46"/>
                <a:gd name="T19" fmla="*/ 5 h 37"/>
                <a:gd name="T20" fmla="*/ 39 w 46"/>
                <a:gd name="T21" fmla="*/ 12 h 37"/>
                <a:gd name="T22" fmla="*/ 43 w 46"/>
                <a:gd name="T23" fmla="*/ 14 h 37"/>
                <a:gd name="T24" fmla="*/ 46 w 46"/>
                <a:gd name="T25" fmla="*/ 20 h 37"/>
                <a:gd name="T26" fmla="*/ 45 w 46"/>
                <a:gd name="T27" fmla="*/ 25 h 37"/>
                <a:gd name="T28" fmla="*/ 39 w 46"/>
                <a:gd name="T29" fmla="*/ 31 h 37"/>
                <a:gd name="T30" fmla="*/ 40 w 46"/>
                <a:gd name="T31" fmla="*/ 37 h 37"/>
                <a:gd name="T32" fmla="*/ 39 w 46"/>
                <a:gd name="T33" fmla="*/ 37 h 37"/>
                <a:gd name="T34" fmla="*/ 30 w 46"/>
                <a:gd name="T35" fmla="*/ 34 h 37"/>
                <a:gd name="T36" fmla="*/ 29 w 46"/>
                <a:gd name="T37" fmla="*/ 34 h 37"/>
                <a:gd name="T38" fmla="*/ 29 w 46"/>
                <a:gd name="T39" fmla="*/ 27 h 37"/>
                <a:gd name="T40" fmla="*/ 27 w 46"/>
                <a:gd name="T41" fmla="*/ 27 h 37"/>
                <a:gd name="T42" fmla="*/ 26 w 46"/>
                <a:gd name="T43" fmla="*/ 28 h 37"/>
                <a:gd name="T44" fmla="*/ 23 w 46"/>
                <a:gd name="T45" fmla="*/ 28 h 37"/>
                <a:gd name="T46" fmla="*/ 21 w 46"/>
                <a:gd name="T47" fmla="*/ 30 h 37"/>
                <a:gd name="T48" fmla="*/ 20 w 46"/>
                <a:gd name="T49" fmla="*/ 30 h 37"/>
                <a:gd name="T50" fmla="*/ 20 w 46"/>
                <a:gd name="T51" fmla="*/ 28 h 37"/>
                <a:gd name="T52" fmla="*/ 17 w 46"/>
                <a:gd name="T53" fmla="*/ 22 h 37"/>
                <a:gd name="T54" fmla="*/ 2 w 46"/>
                <a:gd name="T55" fmla="*/ 12 h 37"/>
                <a:gd name="T56" fmla="*/ 0 w 46"/>
                <a:gd name="T57" fmla="*/ 12 h 37"/>
                <a:gd name="T58" fmla="*/ 0 w 46"/>
                <a:gd name="T59" fmla="*/ 6 h 37"/>
                <a:gd name="T60" fmla="*/ 2 w 46"/>
                <a:gd name="T61" fmla="*/ 6 h 37"/>
                <a:gd name="T62" fmla="*/ 9 w 46"/>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7">
                  <a:moveTo>
                    <a:pt x="9" y="0"/>
                  </a:moveTo>
                  <a:lnTo>
                    <a:pt x="11" y="0"/>
                  </a:lnTo>
                  <a:lnTo>
                    <a:pt x="15" y="3"/>
                  </a:lnTo>
                  <a:lnTo>
                    <a:pt x="18" y="3"/>
                  </a:lnTo>
                  <a:lnTo>
                    <a:pt x="21" y="2"/>
                  </a:lnTo>
                  <a:lnTo>
                    <a:pt x="26" y="2"/>
                  </a:lnTo>
                  <a:lnTo>
                    <a:pt x="29" y="0"/>
                  </a:lnTo>
                  <a:lnTo>
                    <a:pt x="32" y="0"/>
                  </a:lnTo>
                  <a:lnTo>
                    <a:pt x="37" y="5"/>
                  </a:lnTo>
                  <a:lnTo>
                    <a:pt x="39" y="5"/>
                  </a:lnTo>
                  <a:lnTo>
                    <a:pt x="39" y="12"/>
                  </a:lnTo>
                  <a:lnTo>
                    <a:pt x="43" y="14"/>
                  </a:lnTo>
                  <a:lnTo>
                    <a:pt x="46" y="20"/>
                  </a:lnTo>
                  <a:lnTo>
                    <a:pt x="45" y="25"/>
                  </a:lnTo>
                  <a:lnTo>
                    <a:pt x="39" y="31"/>
                  </a:lnTo>
                  <a:lnTo>
                    <a:pt x="40" y="37"/>
                  </a:lnTo>
                  <a:lnTo>
                    <a:pt x="39" y="37"/>
                  </a:lnTo>
                  <a:lnTo>
                    <a:pt x="30" y="34"/>
                  </a:lnTo>
                  <a:lnTo>
                    <a:pt x="29" y="34"/>
                  </a:lnTo>
                  <a:lnTo>
                    <a:pt x="29" y="27"/>
                  </a:lnTo>
                  <a:lnTo>
                    <a:pt x="27" y="27"/>
                  </a:lnTo>
                  <a:lnTo>
                    <a:pt x="26" y="28"/>
                  </a:lnTo>
                  <a:lnTo>
                    <a:pt x="23" y="28"/>
                  </a:lnTo>
                  <a:lnTo>
                    <a:pt x="21" y="30"/>
                  </a:lnTo>
                  <a:lnTo>
                    <a:pt x="20" y="30"/>
                  </a:lnTo>
                  <a:lnTo>
                    <a:pt x="20" y="28"/>
                  </a:lnTo>
                  <a:lnTo>
                    <a:pt x="17" y="22"/>
                  </a:lnTo>
                  <a:lnTo>
                    <a:pt x="2" y="12"/>
                  </a:lnTo>
                  <a:lnTo>
                    <a:pt x="0" y="12"/>
                  </a:lnTo>
                  <a:lnTo>
                    <a:pt x="0" y="6"/>
                  </a:lnTo>
                  <a:lnTo>
                    <a:pt x="2" y="6"/>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7" name="Poland">
              <a:extLst>
                <a:ext uri="{FF2B5EF4-FFF2-40B4-BE49-F238E27FC236}">
                  <a16:creationId xmlns:a16="http://schemas.microsoft.com/office/drawing/2014/main" id="{1E1DE7ED-BA69-62FA-9266-3E66BC315D41}"/>
                </a:ext>
              </a:extLst>
            </p:cNvPr>
            <p:cNvSpPr>
              <a:spLocks/>
            </p:cNvSpPr>
            <p:nvPr/>
          </p:nvSpPr>
          <p:spPr bwMode="auto">
            <a:xfrm>
              <a:off x="6160151" y="3038754"/>
              <a:ext cx="234918" cy="222269"/>
            </a:xfrm>
            <a:custGeom>
              <a:avLst/>
              <a:gdLst>
                <a:gd name="T0" fmla="*/ 51 w 130"/>
                <a:gd name="T1" fmla="*/ 0 h 123"/>
                <a:gd name="T2" fmla="*/ 59 w 130"/>
                <a:gd name="T3" fmla="*/ 0 h 123"/>
                <a:gd name="T4" fmla="*/ 59 w 130"/>
                <a:gd name="T5" fmla="*/ 1 h 123"/>
                <a:gd name="T6" fmla="*/ 60 w 130"/>
                <a:gd name="T7" fmla="*/ 4 h 123"/>
                <a:gd name="T8" fmla="*/ 60 w 130"/>
                <a:gd name="T9" fmla="*/ 6 h 123"/>
                <a:gd name="T10" fmla="*/ 57 w 130"/>
                <a:gd name="T11" fmla="*/ 4 h 123"/>
                <a:gd name="T12" fmla="*/ 60 w 130"/>
                <a:gd name="T13" fmla="*/ 11 h 123"/>
                <a:gd name="T14" fmla="*/ 71 w 130"/>
                <a:gd name="T15" fmla="*/ 9 h 123"/>
                <a:gd name="T16" fmla="*/ 89 w 130"/>
                <a:gd name="T17" fmla="*/ 10 h 123"/>
                <a:gd name="T18" fmla="*/ 114 w 130"/>
                <a:gd name="T19" fmla="*/ 10 h 123"/>
                <a:gd name="T20" fmla="*/ 123 w 130"/>
                <a:gd name="T21" fmla="*/ 17 h 123"/>
                <a:gd name="T22" fmla="*/ 124 w 130"/>
                <a:gd name="T23" fmla="*/ 20 h 123"/>
                <a:gd name="T24" fmla="*/ 127 w 130"/>
                <a:gd name="T25" fmla="*/ 47 h 123"/>
                <a:gd name="T26" fmla="*/ 120 w 130"/>
                <a:gd name="T27" fmla="*/ 56 h 123"/>
                <a:gd name="T28" fmla="*/ 123 w 130"/>
                <a:gd name="T29" fmla="*/ 62 h 123"/>
                <a:gd name="T30" fmla="*/ 123 w 130"/>
                <a:gd name="T31" fmla="*/ 71 h 123"/>
                <a:gd name="T32" fmla="*/ 130 w 130"/>
                <a:gd name="T33" fmla="*/ 90 h 123"/>
                <a:gd name="T34" fmla="*/ 130 w 130"/>
                <a:gd name="T35" fmla="*/ 92 h 123"/>
                <a:gd name="T36" fmla="*/ 117 w 130"/>
                <a:gd name="T37" fmla="*/ 106 h 123"/>
                <a:gd name="T38" fmla="*/ 112 w 130"/>
                <a:gd name="T39" fmla="*/ 115 h 123"/>
                <a:gd name="T40" fmla="*/ 112 w 130"/>
                <a:gd name="T41" fmla="*/ 123 h 123"/>
                <a:gd name="T42" fmla="*/ 108 w 130"/>
                <a:gd name="T43" fmla="*/ 123 h 123"/>
                <a:gd name="T44" fmla="*/ 94 w 130"/>
                <a:gd name="T45" fmla="*/ 115 h 123"/>
                <a:gd name="T46" fmla="*/ 93 w 130"/>
                <a:gd name="T47" fmla="*/ 115 h 123"/>
                <a:gd name="T48" fmla="*/ 90 w 130"/>
                <a:gd name="T49" fmla="*/ 117 h 123"/>
                <a:gd name="T50" fmla="*/ 87 w 130"/>
                <a:gd name="T51" fmla="*/ 117 h 123"/>
                <a:gd name="T52" fmla="*/ 83 w 130"/>
                <a:gd name="T53" fmla="*/ 118 h 123"/>
                <a:gd name="T54" fmla="*/ 80 w 130"/>
                <a:gd name="T55" fmla="*/ 118 h 123"/>
                <a:gd name="T56" fmla="*/ 77 w 130"/>
                <a:gd name="T57" fmla="*/ 120 h 123"/>
                <a:gd name="T58" fmla="*/ 75 w 130"/>
                <a:gd name="T59" fmla="*/ 120 h 123"/>
                <a:gd name="T60" fmla="*/ 69 w 130"/>
                <a:gd name="T61" fmla="*/ 114 h 123"/>
                <a:gd name="T62" fmla="*/ 63 w 130"/>
                <a:gd name="T63" fmla="*/ 115 h 123"/>
                <a:gd name="T64" fmla="*/ 56 w 130"/>
                <a:gd name="T65" fmla="*/ 111 h 123"/>
                <a:gd name="T66" fmla="*/ 46 w 130"/>
                <a:gd name="T67" fmla="*/ 103 h 123"/>
                <a:gd name="T68" fmla="*/ 46 w 130"/>
                <a:gd name="T69" fmla="*/ 97 h 123"/>
                <a:gd name="T70" fmla="*/ 37 w 130"/>
                <a:gd name="T71" fmla="*/ 96 h 123"/>
                <a:gd name="T72" fmla="*/ 34 w 130"/>
                <a:gd name="T73" fmla="*/ 100 h 123"/>
                <a:gd name="T74" fmla="*/ 22 w 130"/>
                <a:gd name="T75" fmla="*/ 89 h 123"/>
                <a:gd name="T76" fmla="*/ 13 w 130"/>
                <a:gd name="T77" fmla="*/ 84 h 123"/>
                <a:gd name="T78" fmla="*/ 7 w 130"/>
                <a:gd name="T79" fmla="*/ 87 h 123"/>
                <a:gd name="T80" fmla="*/ 7 w 130"/>
                <a:gd name="T81" fmla="*/ 86 h 123"/>
                <a:gd name="T82" fmla="*/ 8 w 130"/>
                <a:gd name="T83" fmla="*/ 75 h 123"/>
                <a:gd name="T84" fmla="*/ 6 w 130"/>
                <a:gd name="T85" fmla="*/ 71 h 123"/>
                <a:gd name="T86" fmla="*/ 3 w 130"/>
                <a:gd name="T87" fmla="*/ 47 h 123"/>
                <a:gd name="T88" fmla="*/ 0 w 130"/>
                <a:gd name="T89" fmla="*/ 46 h 123"/>
                <a:gd name="T90" fmla="*/ 0 w 130"/>
                <a:gd name="T91" fmla="*/ 44 h 123"/>
                <a:gd name="T92" fmla="*/ 1 w 130"/>
                <a:gd name="T93" fmla="*/ 34 h 123"/>
                <a:gd name="T94" fmla="*/ 0 w 130"/>
                <a:gd name="T95" fmla="*/ 25 h 123"/>
                <a:gd name="T96" fmla="*/ 0 w 130"/>
                <a:gd name="T97" fmla="*/ 23 h 123"/>
                <a:gd name="T98" fmla="*/ 4 w 130"/>
                <a:gd name="T99" fmla="*/ 25 h 123"/>
                <a:gd name="T100" fmla="*/ 4 w 130"/>
                <a:gd name="T101" fmla="*/ 23 h 123"/>
                <a:gd name="T102" fmla="*/ 1 w 130"/>
                <a:gd name="T103" fmla="*/ 23 h 123"/>
                <a:gd name="T104" fmla="*/ 1 w 130"/>
                <a:gd name="T105" fmla="*/ 22 h 123"/>
                <a:gd name="T106" fmla="*/ 3 w 130"/>
                <a:gd name="T107" fmla="*/ 19 h 123"/>
                <a:gd name="T108" fmla="*/ 40 w 130"/>
                <a:gd name="T109" fmla="*/ 1 h 123"/>
                <a:gd name="T110" fmla="*/ 47 w 130"/>
                <a:gd name="T111" fmla="*/ 1 h 123"/>
                <a:gd name="T112" fmla="*/ 51 w 130"/>
                <a:gd name="T11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23">
                  <a:moveTo>
                    <a:pt x="51" y="0"/>
                  </a:moveTo>
                  <a:lnTo>
                    <a:pt x="59" y="0"/>
                  </a:lnTo>
                  <a:lnTo>
                    <a:pt x="59" y="1"/>
                  </a:lnTo>
                  <a:lnTo>
                    <a:pt x="60" y="4"/>
                  </a:lnTo>
                  <a:lnTo>
                    <a:pt x="60" y="6"/>
                  </a:lnTo>
                  <a:lnTo>
                    <a:pt x="57" y="4"/>
                  </a:lnTo>
                  <a:lnTo>
                    <a:pt x="60" y="11"/>
                  </a:lnTo>
                  <a:lnTo>
                    <a:pt x="71" y="9"/>
                  </a:lnTo>
                  <a:lnTo>
                    <a:pt x="89" y="10"/>
                  </a:lnTo>
                  <a:lnTo>
                    <a:pt x="114" y="10"/>
                  </a:lnTo>
                  <a:lnTo>
                    <a:pt x="123" y="17"/>
                  </a:lnTo>
                  <a:lnTo>
                    <a:pt x="124" y="20"/>
                  </a:lnTo>
                  <a:lnTo>
                    <a:pt x="127" y="47"/>
                  </a:lnTo>
                  <a:lnTo>
                    <a:pt x="120" y="56"/>
                  </a:lnTo>
                  <a:lnTo>
                    <a:pt x="123" y="62"/>
                  </a:lnTo>
                  <a:lnTo>
                    <a:pt x="123" y="71"/>
                  </a:lnTo>
                  <a:lnTo>
                    <a:pt x="130" y="90"/>
                  </a:lnTo>
                  <a:lnTo>
                    <a:pt x="130" y="92"/>
                  </a:lnTo>
                  <a:lnTo>
                    <a:pt x="117" y="106"/>
                  </a:lnTo>
                  <a:lnTo>
                    <a:pt x="112" y="115"/>
                  </a:lnTo>
                  <a:lnTo>
                    <a:pt x="112" y="123"/>
                  </a:lnTo>
                  <a:lnTo>
                    <a:pt x="108" y="123"/>
                  </a:lnTo>
                  <a:lnTo>
                    <a:pt x="94" y="115"/>
                  </a:lnTo>
                  <a:lnTo>
                    <a:pt x="93" y="115"/>
                  </a:lnTo>
                  <a:lnTo>
                    <a:pt x="90" y="117"/>
                  </a:lnTo>
                  <a:lnTo>
                    <a:pt x="87" y="117"/>
                  </a:lnTo>
                  <a:lnTo>
                    <a:pt x="83" y="118"/>
                  </a:lnTo>
                  <a:lnTo>
                    <a:pt x="80" y="118"/>
                  </a:lnTo>
                  <a:lnTo>
                    <a:pt x="77" y="120"/>
                  </a:lnTo>
                  <a:lnTo>
                    <a:pt x="75" y="120"/>
                  </a:lnTo>
                  <a:lnTo>
                    <a:pt x="69" y="114"/>
                  </a:lnTo>
                  <a:lnTo>
                    <a:pt x="63" y="115"/>
                  </a:lnTo>
                  <a:lnTo>
                    <a:pt x="56" y="111"/>
                  </a:lnTo>
                  <a:lnTo>
                    <a:pt x="46" y="103"/>
                  </a:lnTo>
                  <a:lnTo>
                    <a:pt x="46" y="97"/>
                  </a:lnTo>
                  <a:lnTo>
                    <a:pt x="37" y="96"/>
                  </a:lnTo>
                  <a:lnTo>
                    <a:pt x="34" y="100"/>
                  </a:lnTo>
                  <a:lnTo>
                    <a:pt x="22" y="89"/>
                  </a:lnTo>
                  <a:lnTo>
                    <a:pt x="13" y="84"/>
                  </a:lnTo>
                  <a:lnTo>
                    <a:pt x="7" y="87"/>
                  </a:lnTo>
                  <a:lnTo>
                    <a:pt x="7" y="86"/>
                  </a:lnTo>
                  <a:lnTo>
                    <a:pt x="8" y="75"/>
                  </a:lnTo>
                  <a:lnTo>
                    <a:pt x="6" y="71"/>
                  </a:lnTo>
                  <a:lnTo>
                    <a:pt x="3" y="47"/>
                  </a:lnTo>
                  <a:lnTo>
                    <a:pt x="0" y="46"/>
                  </a:lnTo>
                  <a:lnTo>
                    <a:pt x="0" y="44"/>
                  </a:lnTo>
                  <a:lnTo>
                    <a:pt x="1" y="34"/>
                  </a:lnTo>
                  <a:lnTo>
                    <a:pt x="0" y="25"/>
                  </a:lnTo>
                  <a:lnTo>
                    <a:pt x="0" y="23"/>
                  </a:lnTo>
                  <a:lnTo>
                    <a:pt x="4" y="25"/>
                  </a:lnTo>
                  <a:lnTo>
                    <a:pt x="4" y="23"/>
                  </a:lnTo>
                  <a:lnTo>
                    <a:pt x="1" y="23"/>
                  </a:lnTo>
                  <a:lnTo>
                    <a:pt x="1" y="22"/>
                  </a:lnTo>
                  <a:lnTo>
                    <a:pt x="3" y="19"/>
                  </a:lnTo>
                  <a:lnTo>
                    <a:pt x="40" y="1"/>
                  </a:lnTo>
                  <a:lnTo>
                    <a:pt x="47" y="1"/>
                  </a:lnTo>
                  <a:lnTo>
                    <a:pt x="5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8" name="Sardinia (Italy)">
              <a:extLst>
                <a:ext uri="{FF2B5EF4-FFF2-40B4-BE49-F238E27FC236}">
                  <a16:creationId xmlns:a16="http://schemas.microsoft.com/office/drawing/2014/main" id="{AF99B721-DBD7-785C-7799-4AE30EC3D4FE}"/>
                </a:ext>
              </a:extLst>
            </p:cNvPr>
            <p:cNvSpPr>
              <a:spLocks/>
            </p:cNvSpPr>
            <p:nvPr/>
          </p:nvSpPr>
          <p:spPr bwMode="auto">
            <a:xfrm>
              <a:off x="6021007" y="3517627"/>
              <a:ext cx="34334" cy="77705"/>
            </a:xfrm>
            <a:custGeom>
              <a:avLst/>
              <a:gdLst>
                <a:gd name="T0" fmla="*/ 11 w 19"/>
                <a:gd name="T1" fmla="*/ 0 h 43"/>
                <a:gd name="T2" fmla="*/ 13 w 19"/>
                <a:gd name="T3" fmla="*/ 0 h 43"/>
                <a:gd name="T4" fmla="*/ 17 w 19"/>
                <a:gd name="T5" fmla="*/ 3 h 43"/>
                <a:gd name="T6" fmla="*/ 19 w 19"/>
                <a:gd name="T7" fmla="*/ 10 h 43"/>
                <a:gd name="T8" fmla="*/ 19 w 19"/>
                <a:gd name="T9" fmla="*/ 34 h 43"/>
                <a:gd name="T10" fmla="*/ 17 w 19"/>
                <a:gd name="T11" fmla="*/ 37 h 43"/>
                <a:gd name="T12" fmla="*/ 17 w 19"/>
                <a:gd name="T13" fmla="*/ 39 h 43"/>
                <a:gd name="T14" fmla="*/ 16 w 19"/>
                <a:gd name="T15" fmla="*/ 39 h 43"/>
                <a:gd name="T16" fmla="*/ 14 w 19"/>
                <a:gd name="T17" fmla="*/ 37 h 43"/>
                <a:gd name="T18" fmla="*/ 13 w 19"/>
                <a:gd name="T19" fmla="*/ 37 h 43"/>
                <a:gd name="T20" fmla="*/ 8 w 19"/>
                <a:gd name="T21" fmla="*/ 43 h 43"/>
                <a:gd name="T22" fmla="*/ 7 w 19"/>
                <a:gd name="T23" fmla="*/ 43 h 43"/>
                <a:gd name="T24" fmla="*/ 2 w 19"/>
                <a:gd name="T25" fmla="*/ 36 h 43"/>
                <a:gd name="T26" fmla="*/ 2 w 19"/>
                <a:gd name="T27" fmla="*/ 25 h 43"/>
                <a:gd name="T28" fmla="*/ 0 w 19"/>
                <a:gd name="T29" fmla="*/ 7 h 43"/>
                <a:gd name="T30" fmla="*/ 0 w 19"/>
                <a:gd name="T31" fmla="*/ 6 h 43"/>
                <a:gd name="T32" fmla="*/ 4 w 19"/>
                <a:gd name="T33" fmla="*/ 7 h 43"/>
                <a:gd name="T34" fmla="*/ 11 w 19"/>
                <a:gd name="T3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43">
                  <a:moveTo>
                    <a:pt x="11" y="0"/>
                  </a:moveTo>
                  <a:lnTo>
                    <a:pt x="13" y="0"/>
                  </a:lnTo>
                  <a:lnTo>
                    <a:pt x="17" y="3"/>
                  </a:lnTo>
                  <a:lnTo>
                    <a:pt x="19" y="10"/>
                  </a:lnTo>
                  <a:lnTo>
                    <a:pt x="19" y="34"/>
                  </a:lnTo>
                  <a:lnTo>
                    <a:pt x="17" y="37"/>
                  </a:lnTo>
                  <a:lnTo>
                    <a:pt x="17" y="39"/>
                  </a:lnTo>
                  <a:lnTo>
                    <a:pt x="16" y="39"/>
                  </a:lnTo>
                  <a:lnTo>
                    <a:pt x="14" y="37"/>
                  </a:lnTo>
                  <a:lnTo>
                    <a:pt x="13" y="37"/>
                  </a:lnTo>
                  <a:lnTo>
                    <a:pt x="8" y="43"/>
                  </a:lnTo>
                  <a:lnTo>
                    <a:pt x="7" y="43"/>
                  </a:lnTo>
                  <a:lnTo>
                    <a:pt x="2" y="36"/>
                  </a:lnTo>
                  <a:lnTo>
                    <a:pt x="2" y="25"/>
                  </a:lnTo>
                  <a:lnTo>
                    <a:pt x="0" y="7"/>
                  </a:lnTo>
                  <a:lnTo>
                    <a:pt x="0" y="6"/>
                  </a:lnTo>
                  <a:lnTo>
                    <a:pt x="4" y="7"/>
                  </a:lnTo>
                  <a:lnTo>
                    <a:pt x="1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9" name="Sicily (Italy)">
              <a:extLst>
                <a:ext uri="{FF2B5EF4-FFF2-40B4-BE49-F238E27FC236}">
                  <a16:creationId xmlns:a16="http://schemas.microsoft.com/office/drawing/2014/main" id="{BD16CA62-0244-0152-8DA7-17F7878C1CE1}"/>
                </a:ext>
              </a:extLst>
            </p:cNvPr>
            <p:cNvSpPr>
              <a:spLocks/>
            </p:cNvSpPr>
            <p:nvPr/>
          </p:nvSpPr>
          <p:spPr bwMode="auto">
            <a:xfrm>
              <a:off x="6122202" y="3611594"/>
              <a:ext cx="74090" cy="48791"/>
            </a:xfrm>
            <a:custGeom>
              <a:avLst/>
              <a:gdLst>
                <a:gd name="T0" fmla="*/ 7 w 41"/>
                <a:gd name="T1" fmla="*/ 0 h 27"/>
                <a:gd name="T2" fmla="*/ 16 w 41"/>
                <a:gd name="T3" fmla="*/ 4 h 27"/>
                <a:gd name="T4" fmla="*/ 21 w 41"/>
                <a:gd name="T5" fmla="*/ 4 h 27"/>
                <a:gd name="T6" fmla="*/ 28 w 41"/>
                <a:gd name="T7" fmla="*/ 1 h 27"/>
                <a:gd name="T8" fmla="*/ 37 w 41"/>
                <a:gd name="T9" fmla="*/ 0 h 27"/>
                <a:gd name="T10" fmla="*/ 41 w 41"/>
                <a:gd name="T11" fmla="*/ 0 h 27"/>
                <a:gd name="T12" fmla="*/ 41 w 41"/>
                <a:gd name="T13" fmla="*/ 1 h 27"/>
                <a:gd name="T14" fmla="*/ 34 w 41"/>
                <a:gd name="T15" fmla="*/ 15 h 27"/>
                <a:gd name="T16" fmla="*/ 35 w 41"/>
                <a:gd name="T17" fmla="*/ 21 h 27"/>
                <a:gd name="T18" fmla="*/ 34 w 41"/>
                <a:gd name="T19" fmla="*/ 25 h 27"/>
                <a:gd name="T20" fmla="*/ 34 w 41"/>
                <a:gd name="T21" fmla="*/ 27 h 27"/>
                <a:gd name="T22" fmla="*/ 28 w 41"/>
                <a:gd name="T23" fmla="*/ 27 h 27"/>
                <a:gd name="T24" fmla="*/ 24 w 41"/>
                <a:gd name="T25" fmla="*/ 22 h 27"/>
                <a:gd name="T26" fmla="*/ 1 w 41"/>
                <a:gd name="T27" fmla="*/ 12 h 27"/>
                <a:gd name="T28" fmla="*/ 0 w 41"/>
                <a:gd name="T29" fmla="*/ 6 h 27"/>
                <a:gd name="T30" fmla="*/ 1 w 41"/>
                <a:gd name="T31" fmla="*/ 1 h 27"/>
                <a:gd name="T32" fmla="*/ 7 w 41"/>
                <a:gd name="T3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27">
                  <a:moveTo>
                    <a:pt x="7" y="0"/>
                  </a:moveTo>
                  <a:lnTo>
                    <a:pt x="16" y="4"/>
                  </a:lnTo>
                  <a:lnTo>
                    <a:pt x="21" y="4"/>
                  </a:lnTo>
                  <a:lnTo>
                    <a:pt x="28" y="1"/>
                  </a:lnTo>
                  <a:lnTo>
                    <a:pt x="37" y="0"/>
                  </a:lnTo>
                  <a:lnTo>
                    <a:pt x="41" y="0"/>
                  </a:lnTo>
                  <a:lnTo>
                    <a:pt x="41" y="1"/>
                  </a:lnTo>
                  <a:lnTo>
                    <a:pt x="34" y="15"/>
                  </a:lnTo>
                  <a:lnTo>
                    <a:pt x="35" y="21"/>
                  </a:lnTo>
                  <a:lnTo>
                    <a:pt x="34" y="25"/>
                  </a:lnTo>
                  <a:lnTo>
                    <a:pt x="34" y="27"/>
                  </a:lnTo>
                  <a:lnTo>
                    <a:pt x="28" y="27"/>
                  </a:lnTo>
                  <a:lnTo>
                    <a:pt x="24" y="22"/>
                  </a:lnTo>
                  <a:lnTo>
                    <a:pt x="1" y="12"/>
                  </a:lnTo>
                  <a:lnTo>
                    <a:pt x="0" y="6"/>
                  </a:lnTo>
                  <a:lnTo>
                    <a:pt x="1" y="1"/>
                  </a:lnTo>
                  <a:lnTo>
                    <a:pt x="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0" name="Italy">
              <a:extLst>
                <a:ext uri="{FF2B5EF4-FFF2-40B4-BE49-F238E27FC236}">
                  <a16:creationId xmlns:a16="http://schemas.microsoft.com/office/drawing/2014/main" id="{4D4E1845-7175-6C63-D2AD-494DCDB3E3A1}"/>
                </a:ext>
              </a:extLst>
            </p:cNvPr>
            <p:cNvSpPr>
              <a:spLocks/>
            </p:cNvSpPr>
            <p:nvPr/>
          </p:nvSpPr>
          <p:spPr bwMode="auto">
            <a:xfrm>
              <a:off x="5984866" y="3327884"/>
              <a:ext cx="278288" cy="294552"/>
            </a:xfrm>
            <a:custGeom>
              <a:avLst/>
              <a:gdLst>
                <a:gd name="T0" fmla="*/ 71 w 154"/>
                <a:gd name="T1" fmla="*/ 0 h 163"/>
                <a:gd name="T2" fmla="*/ 76 w 154"/>
                <a:gd name="T3" fmla="*/ 9 h 163"/>
                <a:gd name="T4" fmla="*/ 92 w 154"/>
                <a:gd name="T5" fmla="*/ 12 h 163"/>
                <a:gd name="T6" fmla="*/ 91 w 154"/>
                <a:gd name="T7" fmla="*/ 13 h 163"/>
                <a:gd name="T8" fmla="*/ 91 w 154"/>
                <a:gd name="T9" fmla="*/ 16 h 163"/>
                <a:gd name="T10" fmla="*/ 95 w 154"/>
                <a:gd name="T11" fmla="*/ 28 h 163"/>
                <a:gd name="T12" fmla="*/ 94 w 154"/>
                <a:gd name="T13" fmla="*/ 29 h 163"/>
                <a:gd name="T14" fmla="*/ 91 w 154"/>
                <a:gd name="T15" fmla="*/ 29 h 163"/>
                <a:gd name="T16" fmla="*/ 83 w 154"/>
                <a:gd name="T17" fmla="*/ 26 h 163"/>
                <a:gd name="T18" fmla="*/ 74 w 154"/>
                <a:gd name="T19" fmla="*/ 38 h 163"/>
                <a:gd name="T20" fmla="*/ 76 w 154"/>
                <a:gd name="T21" fmla="*/ 41 h 163"/>
                <a:gd name="T22" fmla="*/ 76 w 154"/>
                <a:gd name="T23" fmla="*/ 55 h 163"/>
                <a:gd name="T24" fmla="*/ 98 w 154"/>
                <a:gd name="T25" fmla="*/ 83 h 163"/>
                <a:gd name="T26" fmla="*/ 111 w 154"/>
                <a:gd name="T27" fmla="*/ 96 h 163"/>
                <a:gd name="T28" fmla="*/ 114 w 154"/>
                <a:gd name="T29" fmla="*/ 95 h 163"/>
                <a:gd name="T30" fmla="*/ 120 w 154"/>
                <a:gd name="T31" fmla="*/ 93 h 163"/>
                <a:gd name="T32" fmla="*/ 122 w 154"/>
                <a:gd name="T33" fmla="*/ 95 h 163"/>
                <a:gd name="T34" fmla="*/ 123 w 154"/>
                <a:gd name="T35" fmla="*/ 96 h 163"/>
                <a:gd name="T36" fmla="*/ 147 w 154"/>
                <a:gd name="T37" fmla="*/ 115 h 163"/>
                <a:gd name="T38" fmla="*/ 154 w 154"/>
                <a:gd name="T39" fmla="*/ 127 h 163"/>
                <a:gd name="T40" fmla="*/ 151 w 154"/>
                <a:gd name="T41" fmla="*/ 132 h 163"/>
                <a:gd name="T42" fmla="*/ 137 w 154"/>
                <a:gd name="T43" fmla="*/ 120 h 163"/>
                <a:gd name="T44" fmla="*/ 129 w 154"/>
                <a:gd name="T45" fmla="*/ 132 h 163"/>
                <a:gd name="T46" fmla="*/ 137 w 154"/>
                <a:gd name="T47" fmla="*/ 145 h 163"/>
                <a:gd name="T48" fmla="*/ 129 w 154"/>
                <a:gd name="T49" fmla="*/ 155 h 163"/>
                <a:gd name="T50" fmla="*/ 117 w 154"/>
                <a:gd name="T51" fmla="*/ 163 h 163"/>
                <a:gd name="T52" fmla="*/ 119 w 154"/>
                <a:gd name="T53" fmla="*/ 151 h 163"/>
                <a:gd name="T54" fmla="*/ 123 w 154"/>
                <a:gd name="T55" fmla="*/ 148 h 163"/>
                <a:gd name="T56" fmla="*/ 114 w 154"/>
                <a:gd name="T57" fmla="*/ 130 h 163"/>
                <a:gd name="T58" fmla="*/ 113 w 154"/>
                <a:gd name="T59" fmla="*/ 129 h 163"/>
                <a:gd name="T60" fmla="*/ 105 w 154"/>
                <a:gd name="T61" fmla="*/ 118 h 163"/>
                <a:gd name="T62" fmla="*/ 91 w 154"/>
                <a:gd name="T63" fmla="*/ 108 h 163"/>
                <a:gd name="T64" fmla="*/ 64 w 154"/>
                <a:gd name="T65" fmla="*/ 89 h 163"/>
                <a:gd name="T66" fmla="*/ 49 w 154"/>
                <a:gd name="T67" fmla="*/ 75 h 163"/>
                <a:gd name="T68" fmla="*/ 27 w 154"/>
                <a:gd name="T69" fmla="*/ 52 h 163"/>
                <a:gd name="T70" fmla="*/ 12 w 154"/>
                <a:gd name="T71" fmla="*/ 62 h 163"/>
                <a:gd name="T72" fmla="*/ 11 w 154"/>
                <a:gd name="T73" fmla="*/ 56 h 163"/>
                <a:gd name="T74" fmla="*/ 5 w 154"/>
                <a:gd name="T75" fmla="*/ 55 h 163"/>
                <a:gd name="T76" fmla="*/ 0 w 154"/>
                <a:gd name="T77" fmla="*/ 43 h 163"/>
                <a:gd name="T78" fmla="*/ 3 w 154"/>
                <a:gd name="T79" fmla="*/ 35 h 163"/>
                <a:gd name="T80" fmla="*/ 3 w 154"/>
                <a:gd name="T81" fmla="*/ 23 h 163"/>
                <a:gd name="T82" fmla="*/ 22 w 154"/>
                <a:gd name="T83" fmla="*/ 13 h 163"/>
                <a:gd name="T84" fmla="*/ 30 w 154"/>
                <a:gd name="T85" fmla="*/ 22 h 163"/>
                <a:gd name="T86" fmla="*/ 34 w 154"/>
                <a:gd name="T87" fmla="*/ 12 h 163"/>
                <a:gd name="T88" fmla="*/ 43 w 154"/>
                <a:gd name="T89" fmla="*/ 9 h 163"/>
                <a:gd name="T90" fmla="*/ 48 w 154"/>
                <a:gd name="T91" fmla="*/ 4 h 163"/>
                <a:gd name="T92" fmla="*/ 55 w 154"/>
                <a:gd name="T93" fmla="*/ 3 h 163"/>
                <a:gd name="T94" fmla="*/ 63 w 154"/>
                <a:gd name="T95" fmla="*/ 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63">
                  <a:moveTo>
                    <a:pt x="67" y="0"/>
                  </a:moveTo>
                  <a:lnTo>
                    <a:pt x="71" y="0"/>
                  </a:lnTo>
                  <a:lnTo>
                    <a:pt x="71" y="1"/>
                  </a:lnTo>
                  <a:lnTo>
                    <a:pt x="76" y="9"/>
                  </a:lnTo>
                  <a:lnTo>
                    <a:pt x="91" y="12"/>
                  </a:lnTo>
                  <a:lnTo>
                    <a:pt x="92" y="12"/>
                  </a:lnTo>
                  <a:lnTo>
                    <a:pt x="92" y="13"/>
                  </a:lnTo>
                  <a:lnTo>
                    <a:pt x="91" y="13"/>
                  </a:lnTo>
                  <a:lnTo>
                    <a:pt x="89" y="16"/>
                  </a:lnTo>
                  <a:lnTo>
                    <a:pt x="91" y="16"/>
                  </a:lnTo>
                  <a:lnTo>
                    <a:pt x="92" y="23"/>
                  </a:lnTo>
                  <a:lnTo>
                    <a:pt x="95" y="28"/>
                  </a:lnTo>
                  <a:lnTo>
                    <a:pt x="95" y="29"/>
                  </a:lnTo>
                  <a:lnTo>
                    <a:pt x="94" y="29"/>
                  </a:lnTo>
                  <a:lnTo>
                    <a:pt x="91" y="31"/>
                  </a:lnTo>
                  <a:lnTo>
                    <a:pt x="91" y="29"/>
                  </a:lnTo>
                  <a:lnTo>
                    <a:pt x="89" y="26"/>
                  </a:lnTo>
                  <a:lnTo>
                    <a:pt x="83" y="26"/>
                  </a:lnTo>
                  <a:lnTo>
                    <a:pt x="74" y="34"/>
                  </a:lnTo>
                  <a:lnTo>
                    <a:pt x="74" y="38"/>
                  </a:lnTo>
                  <a:lnTo>
                    <a:pt x="76" y="40"/>
                  </a:lnTo>
                  <a:lnTo>
                    <a:pt x="76" y="41"/>
                  </a:lnTo>
                  <a:lnTo>
                    <a:pt x="74" y="47"/>
                  </a:lnTo>
                  <a:lnTo>
                    <a:pt x="76" y="55"/>
                  </a:lnTo>
                  <a:lnTo>
                    <a:pt x="89" y="65"/>
                  </a:lnTo>
                  <a:lnTo>
                    <a:pt x="98" y="83"/>
                  </a:lnTo>
                  <a:lnTo>
                    <a:pt x="104" y="92"/>
                  </a:lnTo>
                  <a:lnTo>
                    <a:pt x="111" y="96"/>
                  </a:lnTo>
                  <a:lnTo>
                    <a:pt x="113" y="96"/>
                  </a:lnTo>
                  <a:lnTo>
                    <a:pt x="114" y="95"/>
                  </a:lnTo>
                  <a:lnTo>
                    <a:pt x="119" y="95"/>
                  </a:lnTo>
                  <a:lnTo>
                    <a:pt x="120" y="93"/>
                  </a:lnTo>
                  <a:lnTo>
                    <a:pt x="122" y="93"/>
                  </a:lnTo>
                  <a:lnTo>
                    <a:pt x="122" y="95"/>
                  </a:lnTo>
                  <a:lnTo>
                    <a:pt x="123" y="95"/>
                  </a:lnTo>
                  <a:lnTo>
                    <a:pt x="123" y="96"/>
                  </a:lnTo>
                  <a:lnTo>
                    <a:pt x="122" y="102"/>
                  </a:lnTo>
                  <a:lnTo>
                    <a:pt x="147" y="115"/>
                  </a:lnTo>
                  <a:lnTo>
                    <a:pt x="154" y="126"/>
                  </a:lnTo>
                  <a:lnTo>
                    <a:pt x="154" y="127"/>
                  </a:lnTo>
                  <a:lnTo>
                    <a:pt x="153" y="132"/>
                  </a:lnTo>
                  <a:lnTo>
                    <a:pt x="151" y="132"/>
                  </a:lnTo>
                  <a:lnTo>
                    <a:pt x="146" y="124"/>
                  </a:lnTo>
                  <a:lnTo>
                    <a:pt x="137" y="120"/>
                  </a:lnTo>
                  <a:lnTo>
                    <a:pt x="132" y="123"/>
                  </a:lnTo>
                  <a:lnTo>
                    <a:pt x="129" y="132"/>
                  </a:lnTo>
                  <a:lnTo>
                    <a:pt x="137" y="138"/>
                  </a:lnTo>
                  <a:lnTo>
                    <a:pt x="137" y="145"/>
                  </a:lnTo>
                  <a:lnTo>
                    <a:pt x="131" y="148"/>
                  </a:lnTo>
                  <a:lnTo>
                    <a:pt x="129" y="155"/>
                  </a:lnTo>
                  <a:lnTo>
                    <a:pt x="123" y="163"/>
                  </a:lnTo>
                  <a:lnTo>
                    <a:pt x="117" y="163"/>
                  </a:lnTo>
                  <a:lnTo>
                    <a:pt x="116" y="158"/>
                  </a:lnTo>
                  <a:lnTo>
                    <a:pt x="119" y="151"/>
                  </a:lnTo>
                  <a:lnTo>
                    <a:pt x="119" y="149"/>
                  </a:lnTo>
                  <a:lnTo>
                    <a:pt x="123" y="148"/>
                  </a:lnTo>
                  <a:lnTo>
                    <a:pt x="116" y="129"/>
                  </a:lnTo>
                  <a:lnTo>
                    <a:pt x="114" y="130"/>
                  </a:lnTo>
                  <a:lnTo>
                    <a:pt x="113" y="130"/>
                  </a:lnTo>
                  <a:lnTo>
                    <a:pt x="113" y="129"/>
                  </a:lnTo>
                  <a:lnTo>
                    <a:pt x="108" y="126"/>
                  </a:lnTo>
                  <a:lnTo>
                    <a:pt x="105" y="118"/>
                  </a:lnTo>
                  <a:lnTo>
                    <a:pt x="100" y="118"/>
                  </a:lnTo>
                  <a:lnTo>
                    <a:pt x="91" y="108"/>
                  </a:lnTo>
                  <a:lnTo>
                    <a:pt x="82" y="108"/>
                  </a:lnTo>
                  <a:lnTo>
                    <a:pt x="64" y="89"/>
                  </a:lnTo>
                  <a:lnTo>
                    <a:pt x="58" y="87"/>
                  </a:lnTo>
                  <a:lnTo>
                    <a:pt x="49" y="75"/>
                  </a:lnTo>
                  <a:lnTo>
                    <a:pt x="45" y="59"/>
                  </a:lnTo>
                  <a:lnTo>
                    <a:pt x="27" y="52"/>
                  </a:lnTo>
                  <a:lnTo>
                    <a:pt x="20" y="61"/>
                  </a:lnTo>
                  <a:lnTo>
                    <a:pt x="12" y="62"/>
                  </a:lnTo>
                  <a:lnTo>
                    <a:pt x="11" y="62"/>
                  </a:lnTo>
                  <a:lnTo>
                    <a:pt x="11" y="56"/>
                  </a:lnTo>
                  <a:lnTo>
                    <a:pt x="5" y="56"/>
                  </a:lnTo>
                  <a:lnTo>
                    <a:pt x="5" y="55"/>
                  </a:lnTo>
                  <a:lnTo>
                    <a:pt x="2" y="43"/>
                  </a:lnTo>
                  <a:lnTo>
                    <a:pt x="0" y="43"/>
                  </a:lnTo>
                  <a:lnTo>
                    <a:pt x="0" y="41"/>
                  </a:lnTo>
                  <a:lnTo>
                    <a:pt x="3" y="35"/>
                  </a:lnTo>
                  <a:lnTo>
                    <a:pt x="0" y="25"/>
                  </a:lnTo>
                  <a:lnTo>
                    <a:pt x="3" y="23"/>
                  </a:lnTo>
                  <a:lnTo>
                    <a:pt x="15" y="22"/>
                  </a:lnTo>
                  <a:lnTo>
                    <a:pt x="22" y="13"/>
                  </a:lnTo>
                  <a:lnTo>
                    <a:pt x="22" y="15"/>
                  </a:lnTo>
                  <a:lnTo>
                    <a:pt x="30" y="22"/>
                  </a:lnTo>
                  <a:lnTo>
                    <a:pt x="33" y="12"/>
                  </a:lnTo>
                  <a:lnTo>
                    <a:pt x="34" y="12"/>
                  </a:lnTo>
                  <a:lnTo>
                    <a:pt x="43" y="15"/>
                  </a:lnTo>
                  <a:lnTo>
                    <a:pt x="43" y="9"/>
                  </a:lnTo>
                  <a:lnTo>
                    <a:pt x="48" y="9"/>
                  </a:lnTo>
                  <a:lnTo>
                    <a:pt x="48" y="4"/>
                  </a:lnTo>
                  <a:lnTo>
                    <a:pt x="51" y="4"/>
                  </a:lnTo>
                  <a:lnTo>
                    <a:pt x="55" y="3"/>
                  </a:lnTo>
                  <a:lnTo>
                    <a:pt x="58" y="1"/>
                  </a:lnTo>
                  <a:lnTo>
                    <a:pt x="63" y="1"/>
                  </a:lnTo>
                  <a:lnTo>
                    <a:pt x="6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1" name="Croatia">
              <a:extLst>
                <a:ext uri="{FF2B5EF4-FFF2-40B4-BE49-F238E27FC236}">
                  <a16:creationId xmlns:a16="http://schemas.microsoft.com/office/drawing/2014/main" id="{9708D898-C2F7-FA5F-A9AC-03F30C38CC72}"/>
                </a:ext>
              </a:extLst>
            </p:cNvPr>
            <p:cNvSpPr>
              <a:spLocks/>
            </p:cNvSpPr>
            <p:nvPr/>
          </p:nvSpPr>
          <p:spPr bwMode="auto">
            <a:xfrm>
              <a:off x="6145695" y="3340534"/>
              <a:ext cx="142758" cy="139145"/>
            </a:xfrm>
            <a:custGeom>
              <a:avLst/>
              <a:gdLst>
                <a:gd name="T0" fmla="*/ 36 w 79"/>
                <a:gd name="T1" fmla="*/ 0 h 77"/>
                <a:gd name="T2" fmla="*/ 37 w 79"/>
                <a:gd name="T3" fmla="*/ 0 h 77"/>
                <a:gd name="T4" fmla="*/ 58 w 79"/>
                <a:gd name="T5" fmla="*/ 18 h 77"/>
                <a:gd name="T6" fmla="*/ 67 w 79"/>
                <a:gd name="T7" fmla="*/ 15 h 77"/>
                <a:gd name="T8" fmla="*/ 68 w 79"/>
                <a:gd name="T9" fmla="*/ 15 h 77"/>
                <a:gd name="T10" fmla="*/ 71 w 79"/>
                <a:gd name="T11" fmla="*/ 24 h 77"/>
                <a:gd name="T12" fmla="*/ 79 w 79"/>
                <a:gd name="T13" fmla="*/ 28 h 77"/>
                <a:gd name="T14" fmla="*/ 79 w 79"/>
                <a:gd name="T15" fmla="*/ 30 h 77"/>
                <a:gd name="T16" fmla="*/ 76 w 79"/>
                <a:gd name="T17" fmla="*/ 31 h 77"/>
                <a:gd name="T18" fmla="*/ 74 w 79"/>
                <a:gd name="T19" fmla="*/ 34 h 77"/>
                <a:gd name="T20" fmla="*/ 73 w 79"/>
                <a:gd name="T21" fmla="*/ 34 h 77"/>
                <a:gd name="T22" fmla="*/ 71 w 79"/>
                <a:gd name="T23" fmla="*/ 36 h 77"/>
                <a:gd name="T24" fmla="*/ 70 w 79"/>
                <a:gd name="T25" fmla="*/ 36 h 77"/>
                <a:gd name="T26" fmla="*/ 67 w 79"/>
                <a:gd name="T27" fmla="*/ 30 h 77"/>
                <a:gd name="T28" fmla="*/ 45 w 79"/>
                <a:gd name="T29" fmla="*/ 25 h 77"/>
                <a:gd name="T30" fmla="*/ 37 w 79"/>
                <a:gd name="T31" fmla="*/ 31 h 77"/>
                <a:gd name="T32" fmla="*/ 36 w 79"/>
                <a:gd name="T33" fmla="*/ 31 h 77"/>
                <a:gd name="T34" fmla="*/ 36 w 79"/>
                <a:gd name="T35" fmla="*/ 30 h 77"/>
                <a:gd name="T36" fmla="*/ 31 w 79"/>
                <a:gd name="T37" fmla="*/ 25 h 77"/>
                <a:gd name="T38" fmla="*/ 28 w 79"/>
                <a:gd name="T39" fmla="*/ 31 h 77"/>
                <a:gd name="T40" fmla="*/ 33 w 79"/>
                <a:gd name="T41" fmla="*/ 36 h 77"/>
                <a:gd name="T42" fmla="*/ 49 w 79"/>
                <a:gd name="T43" fmla="*/ 61 h 77"/>
                <a:gd name="T44" fmla="*/ 65 w 79"/>
                <a:gd name="T45" fmla="*/ 73 h 77"/>
                <a:gd name="T46" fmla="*/ 65 w 79"/>
                <a:gd name="T47" fmla="*/ 74 h 77"/>
                <a:gd name="T48" fmla="*/ 62 w 79"/>
                <a:gd name="T49" fmla="*/ 77 h 77"/>
                <a:gd name="T50" fmla="*/ 61 w 79"/>
                <a:gd name="T51" fmla="*/ 77 h 77"/>
                <a:gd name="T52" fmla="*/ 57 w 79"/>
                <a:gd name="T53" fmla="*/ 73 h 77"/>
                <a:gd name="T54" fmla="*/ 46 w 79"/>
                <a:gd name="T55" fmla="*/ 70 h 77"/>
                <a:gd name="T56" fmla="*/ 46 w 79"/>
                <a:gd name="T57" fmla="*/ 68 h 77"/>
                <a:gd name="T58" fmla="*/ 51 w 79"/>
                <a:gd name="T59" fmla="*/ 68 h 77"/>
                <a:gd name="T60" fmla="*/ 43 w 79"/>
                <a:gd name="T61" fmla="*/ 62 h 77"/>
                <a:gd name="T62" fmla="*/ 33 w 79"/>
                <a:gd name="T63" fmla="*/ 61 h 77"/>
                <a:gd name="T64" fmla="*/ 21 w 79"/>
                <a:gd name="T65" fmla="*/ 49 h 77"/>
                <a:gd name="T66" fmla="*/ 21 w 79"/>
                <a:gd name="T67" fmla="*/ 48 h 77"/>
                <a:gd name="T68" fmla="*/ 24 w 79"/>
                <a:gd name="T69" fmla="*/ 45 h 77"/>
                <a:gd name="T70" fmla="*/ 19 w 79"/>
                <a:gd name="T71" fmla="*/ 42 h 77"/>
                <a:gd name="T72" fmla="*/ 16 w 79"/>
                <a:gd name="T73" fmla="*/ 31 h 77"/>
                <a:gd name="T74" fmla="*/ 14 w 79"/>
                <a:gd name="T75" fmla="*/ 28 h 77"/>
                <a:gd name="T76" fmla="*/ 12 w 79"/>
                <a:gd name="T77" fmla="*/ 28 h 77"/>
                <a:gd name="T78" fmla="*/ 8 w 79"/>
                <a:gd name="T79" fmla="*/ 36 h 77"/>
                <a:gd name="T80" fmla="*/ 6 w 79"/>
                <a:gd name="T81" fmla="*/ 37 h 77"/>
                <a:gd name="T82" fmla="*/ 5 w 79"/>
                <a:gd name="T83" fmla="*/ 36 h 77"/>
                <a:gd name="T84" fmla="*/ 3 w 79"/>
                <a:gd name="T85" fmla="*/ 36 h 77"/>
                <a:gd name="T86" fmla="*/ 0 w 79"/>
                <a:gd name="T87" fmla="*/ 30 h 77"/>
                <a:gd name="T88" fmla="*/ 2 w 79"/>
                <a:gd name="T89" fmla="*/ 22 h 77"/>
                <a:gd name="T90" fmla="*/ 12 w 79"/>
                <a:gd name="T91" fmla="*/ 18 h 77"/>
                <a:gd name="T92" fmla="*/ 21 w 79"/>
                <a:gd name="T93" fmla="*/ 19 h 77"/>
                <a:gd name="T94" fmla="*/ 25 w 79"/>
                <a:gd name="T95" fmla="*/ 8 h 77"/>
                <a:gd name="T96" fmla="*/ 34 w 79"/>
                <a:gd name="T97" fmla="*/ 3 h 77"/>
                <a:gd name="T98" fmla="*/ 36 w 79"/>
                <a:gd name="T9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77">
                  <a:moveTo>
                    <a:pt x="36" y="0"/>
                  </a:moveTo>
                  <a:lnTo>
                    <a:pt x="37" y="0"/>
                  </a:lnTo>
                  <a:lnTo>
                    <a:pt x="58" y="18"/>
                  </a:lnTo>
                  <a:lnTo>
                    <a:pt x="67" y="15"/>
                  </a:lnTo>
                  <a:lnTo>
                    <a:pt x="68" y="15"/>
                  </a:lnTo>
                  <a:lnTo>
                    <a:pt x="71" y="24"/>
                  </a:lnTo>
                  <a:lnTo>
                    <a:pt x="79" y="28"/>
                  </a:lnTo>
                  <a:lnTo>
                    <a:pt x="79" y="30"/>
                  </a:lnTo>
                  <a:lnTo>
                    <a:pt x="76" y="31"/>
                  </a:lnTo>
                  <a:lnTo>
                    <a:pt x="74" y="34"/>
                  </a:lnTo>
                  <a:lnTo>
                    <a:pt x="73" y="34"/>
                  </a:lnTo>
                  <a:lnTo>
                    <a:pt x="71" y="36"/>
                  </a:lnTo>
                  <a:lnTo>
                    <a:pt x="70" y="36"/>
                  </a:lnTo>
                  <a:lnTo>
                    <a:pt x="67" y="30"/>
                  </a:lnTo>
                  <a:lnTo>
                    <a:pt x="45" y="25"/>
                  </a:lnTo>
                  <a:lnTo>
                    <a:pt x="37" y="31"/>
                  </a:lnTo>
                  <a:lnTo>
                    <a:pt x="36" y="31"/>
                  </a:lnTo>
                  <a:lnTo>
                    <a:pt x="36" y="30"/>
                  </a:lnTo>
                  <a:lnTo>
                    <a:pt x="31" y="25"/>
                  </a:lnTo>
                  <a:lnTo>
                    <a:pt x="28" y="31"/>
                  </a:lnTo>
                  <a:lnTo>
                    <a:pt x="33" y="36"/>
                  </a:lnTo>
                  <a:lnTo>
                    <a:pt x="49" y="61"/>
                  </a:lnTo>
                  <a:lnTo>
                    <a:pt x="65" y="73"/>
                  </a:lnTo>
                  <a:lnTo>
                    <a:pt x="65" y="74"/>
                  </a:lnTo>
                  <a:lnTo>
                    <a:pt x="62" y="77"/>
                  </a:lnTo>
                  <a:lnTo>
                    <a:pt x="61" y="77"/>
                  </a:lnTo>
                  <a:lnTo>
                    <a:pt x="57" y="73"/>
                  </a:lnTo>
                  <a:lnTo>
                    <a:pt x="46" y="70"/>
                  </a:lnTo>
                  <a:lnTo>
                    <a:pt x="46" y="68"/>
                  </a:lnTo>
                  <a:lnTo>
                    <a:pt x="51" y="68"/>
                  </a:lnTo>
                  <a:lnTo>
                    <a:pt x="43" y="62"/>
                  </a:lnTo>
                  <a:lnTo>
                    <a:pt x="33" y="61"/>
                  </a:lnTo>
                  <a:lnTo>
                    <a:pt x="21" y="49"/>
                  </a:lnTo>
                  <a:lnTo>
                    <a:pt x="21" y="48"/>
                  </a:lnTo>
                  <a:lnTo>
                    <a:pt x="24" y="45"/>
                  </a:lnTo>
                  <a:lnTo>
                    <a:pt x="19" y="42"/>
                  </a:lnTo>
                  <a:lnTo>
                    <a:pt x="16" y="31"/>
                  </a:lnTo>
                  <a:lnTo>
                    <a:pt x="14" y="28"/>
                  </a:lnTo>
                  <a:lnTo>
                    <a:pt x="12" y="28"/>
                  </a:lnTo>
                  <a:lnTo>
                    <a:pt x="8" y="36"/>
                  </a:lnTo>
                  <a:lnTo>
                    <a:pt x="6" y="37"/>
                  </a:lnTo>
                  <a:lnTo>
                    <a:pt x="5" y="36"/>
                  </a:lnTo>
                  <a:lnTo>
                    <a:pt x="3" y="36"/>
                  </a:lnTo>
                  <a:lnTo>
                    <a:pt x="0" y="30"/>
                  </a:lnTo>
                  <a:lnTo>
                    <a:pt x="2" y="22"/>
                  </a:lnTo>
                  <a:lnTo>
                    <a:pt x="12" y="18"/>
                  </a:lnTo>
                  <a:lnTo>
                    <a:pt x="21" y="19"/>
                  </a:lnTo>
                  <a:lnTo>
                    <a:pt x="25" y="8"/>
                  </a:lnTo>
                  <a:lnTo>
                    <a:pt x="34" y="3"/>
                  </a:lnTo>
                  <a:lnTo>
                    <a:pt x="3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2" name="Switzerland">
              <a:extLst>
                <a:ext uri="{FF2B5EF4-FFF2-40B4-BE49-F238E27FC236}">
                  <a16:creationId xmlns:a16="http://schemas.microsoft.com/office/drawing/2014/main" id="{DE3FC066-E8C4-E14C-7D40-07D94406C457}"/>
                </a:ext>
              </a:extLst>
            </p:cNvPr>
            <p:cNvSpPr>
              <a:spLocks/>
            </p:cNvSpPr>
            <p:nvPr/>
          </p:nvSpPr>
          <p:spPr bwMode="auto">
            <a:xfrm>
              <a:off x="5966795" y="3308008"/>
              <a:ext cx="106617" cy="65054"/>
            </a:xfrm>
            <a:custGeom>
              <a:avLst/>
              <a:gdLst>
                <a:gd name="T0" fmla="*/ 21 w 59"/>
                <a:gd name="T1" fmla="*/ 0 h 36"/>
                <a:gd name="T2" fmla="*/ 37 w 59"/>
                <a:gd name="T3" fmla="*/ 0 h 36"/>
                <a:gd name="T4" fmla="*/ 46 w 59"/>
                <a:gd name="T5" fmla="*/ 3 h 36"/>
                <a:gd name="T6" fmla="*/ 49 w 59"/>
                <a:gd name="T7" fmla="*/ 12 h 36"/>
                <a:gd name="T8" fmla="*/ 58 w 59"/>
                <a:gd name="T9" fmla="*/ 15 h 36"/>
                <a:gd name="T10" fmla="*/ 59 w 59"/>
                <a:gd name="T11" fmla="*/ 15 h 36"/>
                <a:gd name="T12" fmla="*/ 59 w 59"/>
                <a:gd name="T13" fmla="*/ 20 h 36"/>
                <a:gd name="T14" fmla="*/ 58 w 59"/>
                <a:gd name="T15" fmla="*/ 21 h 36"/>
                <a:gd name="T16" fmla="*/ 55 w 59"/>
                <a:gd name="T17" fmla="*/ 21 h 36"/>
                <a:gd name="T18" fmla="*/ 55 w 59"/>
                <a:gd name="T19" fmla="*/ 27 h 36"/>
                <a:gd name="T20" fmla="*/ 44 w 59"/>
                <a:gd name="T21" fmla="*/ 24 h 36"/>
                <a:gd name="T22" fmla="*/ 40 w 59"/>
                <a:gd name="T23" fmla="*/ 34 h 36"/>
                <a:gd name="T24" fmla="*/ 32 w 59"/>
                <a:gd name="T25" fmla="*/ 27 h 36"/>
                <a:gd name="T26" fmla="*/ 25 w 59"/>
                <a:gd name="T27" fmla="*/ 34 h 36"/>
                <a:gd name="T28" fmla="*/ 22 w 59"/>
                <a:gd name="T29" fmla="*/ 34 h 36"/>
                <a:gd name="T30" fmla="*/ 18 w 59"/>
                <a:gd name="T31" fmla="*/ 36 h 36"/>
                <a:gd name="T32" fmla="*/ 13 w 59"/>
                <a:gd name="T33" fmla="*/ 36 h 36"/>
                <a:gd name="T34" fmla="*/ 13 w 59"/>
                <a:gd name="T35" fmla="*/ 34 h 36"/>
                <a:gd name="T36" fmla="*/ 10 w 59"/>
                <a:gd name="T37" fmla="*/ 26 h 36"/>
                <a:gd name="T38" fmla="*/ 6 w 59"/>
                <a:gd name="T39" fmla="*/ 26 h 36"/>
                <a:gd name="T40" fmla="*/ 1 w 59"/>
                <a:gd name="T41" fmla="*/ 30 h 36"/>
                <a:gd name="T42" fmla="*/ 0 w 59"/>
                <a:gd name="T43" fmla="*/ 24 h 36"/>
                <a:gd name="T44" fmla="*/ 13 w 59"/>
                <a:gd name="T45" fmla="*/ 3 h 36"/>
                <a:gd name="T46" fmla="*/ 21 w 59"/>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36">
                  <a:moveTo>
                    <a:pt x="21" y="0"/>
                  </a:moveTo>
                  <a:lnTo>
                    <a:pt x="37" y="0"/>
                  </a:lnTo>
                  <a:lnTo>
                    <a:pt x="46" y="3"/>
                  </a:lnTo>
                  <a:lnTo>
                    <a:pt x="49" y="12"/>
                  </a:lnTo>
                  <a:lnTo>
                    <a:pt x="58" y="15"/>
                  </a:lnTo>
                  <a:lnTo>
                    <a:pt x="59" y="15"/>
                  </a:lnTo>
                  <a:lnTo>
                    <a:pt x="59" y="20"/>
                  </a:lnTo>
                  <a:lnTo>
                    <a:pt x="58" y="21"/>
                  </a:lnTo>
                  <a:lnTo>
                    <a:pt x="55" y="21"/>
                  </a:lnTo>
                  <a:lnTo>
                    <a:pt x="55" y="27"/>
                  </a:lnTo>
                  <a:lnTo>
                    <a:pt x="44" y="24"/>
                  </a:lnTo>
                  <a:lnTo>
                    <a:pt x="40" y="34"/>
                  </a:lnTo>
                  <a:lnTo>
                    <a:pt x="32" y="27"/>
                  </a:lnTo>
                  <a:lnTo>
                    <a:pt x="25" y="34"/>
                  </a:lnTo>
                  <a:lnTo>
                    <a:pt x="22" y="34"/>
                  </a:lnTo>
                  <a:lnTo>
                    <a:pt x="18" y="36"/>
                  </a:lnTo>
                  <a:lnTo>
                    <a:pt x="13" y="36"/>
                  </a:lnTo>
                  <a:lnTo>
                    <a:pt x="13" y="34"/>
                  </a:lnTo>
                  <a:lnTo>
                    <a:pt x="10" y="26"/>
                  </a:lnTo>
                  <a:lnTo>
                    <a:pt x="6" y="26"/>
                  </a:lnTo>
                  <a:lnTo>
                    <a:pt x="1" y="30"/>
                  </a:lnTo>
                  <a:lnTo>
                    <a:pt x="0" y="24"/>
                  </a:lnTo>
                  <a:lnTo>
                    <a:pt x="13" y="3"/>
                  </a:lnTo>
                  <a:lnTo>
                    <a:pt x="2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3" name="Latvia">
              <a:extLst>
                <a:ext uri="{FF2B5EF4-FFF2-40B4-BE49-F238E27FC236}">
                  <a16:creationId xmlns:a16="http://schemas.microsoft.com/office/drawing/2014/main" id="{3CBB7EE0-A3E2-1693-2C0F-E66ECE2FCA7C}"/>
                </a:ext>
              </a:extLst>
            </p:cNvPr>
            <p:cNvSpPr>
              <a:spLocks/>
            </p:cNvSpPr>
            <p:nvPr/>
          </p:nvSpPr>
          <p:spPr bwMode="auto">
            <a:xfrm>
              <a:off x="6317365" y="2901418"/>
              <a:ext cx="178900" cy="106617"/>
            </a:xfrm>
            <a:custGeom>
              <a:avLst/>
              <a:gdLst>
                <a:gd name="T0" fmla="*/ 59 w 99"/>
                <a:gd name="T1" fmla="*/ 0 h 59"/>
                <a:gd name="T2" fmla="*/ 71 w 99"/>
                <a:gd name="T3" fmla="*/ 6 h 59"/>
                <a:gd name="T4" fmla="*/ 77 w 99"/>
                <a:gd name="T5" fmla="*/ 12 h 59"/>
                <a:gd name="T6" fmla="*/ 83 w 99"/>
                <a:gd name="T7" fmla="*/ 10 h 59"/>
                <a:gd name="T8" fmla="*/ 89 w 99"/>
                <a:gd name="T9" fmla="*/ 12 h 59"/>
                <a:gd name="T10" fmla="*/ 93 w 99"/>
                <a:gd name="T11" fmla="*/ 18 h 59"/>
                <a:gd name="T12" fmla="*/ 93 w 99"/>
                <a:gd name="T13" fmla="*/ 19 h 59"/>
                <a:gd name="T14" fmla="*/ 92 w 99"/>
                <a:gd name="T15" fmla="*/ 27 h 59"/>
                <a:gd name="T16" fmla="*/ 95 w 99"/>
                <a:gd name="T17" fmla="*/ 30 h 59"/>
                <a:gd name="T18" fmla="*/ 99 w 99"/>
                <a:gd name="T19" fmla="*/ 36 h 59"/>
                <a:gd name="T20" fmla="*/ 99 w 99"/>
                <a:gd name="T21" fmla="*/ 47 h 59"/>
                <a:gd name="T22" fmla="*/ 95 w 99"/>
                <a:gd name="T23" fmla="*/ 47 h 59"/>
                <a:gd name="T24" fmla="*/ 89 w 99"/>
                <a:gd name="T25" fmla="*/ 55 h 59"/>
                <a:gd name="T26" fmla="*/ 89 w 99"/>
                <a:gd name="T27" fmla="*/ 56 h 59"/>
                <a:gd name="T28" fmla="*/ 85 w 99"/>
                <a:gd name="T29" fmla="*/ 55 h 59"/>
                <a:gd name="T30" fmla="*/ 80 w 99"/>
                <a:gd name="T31" fmla="*/ 59 h 59"/>
                <a:gd name="T32" fmla="*/ 79 w 99"/>
                <a:gd name="T33" fmla="*/ 59 h 59"/>
                <a:gd name="T34" fmla="*/ 74 w 99"/>
                <a:gd name="T35" fmla="*/ 56 h 59"/>
                <a:gd name="T36" fmla="*/ 64 w 99"/>
                <a:gd name="T37" fmla="*/ 47 h 59"/>
                <a:gd name="T38" fmla="*/ 58 w 99"/>
                <a:gd name="T39" fmla="*/ 46 h 59"/>
                <a:gd name="T40" fmla="*/ 53 w 99"/>
                <a:gd name="T41" fmla="*/ 40 h 59"/>
                <a:gd name="T42" fmla="*/ 47 w 99"/>
                <a:gd name="T43" fmla="*/ 43 h 59"/>
                <a:gd name="T44" fmla="*/ 46 w 99"/>
                <a:gd name="T45" fmla="*/ 43 h 59"/>
                <a:gd name="T46" fmla="*/ 39 w 99"/>
                <a:gd name="T47" fmla="*/ 42 h 59"/>
                <a:gd name="T48" fmla="*/ 19 w 99"/>
                <a:gd name="T49" fmla="*/ 40 h 59"/>
                <a:gd name="T50" fmla="*/ 10 w 99"/>
                <a:gd name="T51" fmla="*/ 44 h 59"/>
                <a:gd name="T52" fmla="*/ 6 w 99"/>
                <a:gd name="T53" fmla="*/ 47 h 59"/>
                <a:gd name="T54" fmla="*/ 6 w 99"/>
                <a:gd name="T55" fmla="*/ 49 h 59"/>
                <a:gd name="T56" fmla="*/ 4 w 99"/>
                <a:gd name="T57" fmla="*/ 49 h 59"/>
                <a:gd name="T58" fmla="*/ 2 w 99"/>
                <a:gd name="T59" fmla="*/ 46 h 59"/>
                <a:gd name="T60" fmla="*/ 0 w 99"/>
                <a:gd name="T61" fmla="*/ 46 h 59"/>
                <a:gd name="T62" fmla="*/ 0 w 99"/>
                <a:gd name="T63" fmla="*/ 44 h 59"/>
                <a:gd name="T64" fmla="*/ 2 w 99"/>
                <a:gd name="T65" fmla="*/ 33 h 59"/>
                <a:gd name="T66" fmla="*/ 10 w 99"/>
                <a:gd name="T67" fmla="*/ 13 h 59"/>
                <a:gd name="T68" fmla="*/ 22 w 99"/>
                <a:gd name="T69" fmla="*/ 7 h 59"/>
                <a:gd name="T70" fmla="*/ 33 w 99"/>
                <a:gd name="T71" fmla="*/ 24 h 59"/>
                <a:gd name="T72" fmla="*/ 42 w 99"/>
                <a:gd name="T73" fmla="*/ 27 h 59"/>
                <a:gd name="T74" fmla="*/ 45 w 99"/>
                <a:gd name="T75" fmla="*/ 21 h 59"/>
                <a:gd name="T76" fmla="*/ 46 w 99"/>
                <a:gd name="T77" fmla="*/ 6 h 59"/>
                <a:gd name="T78" fmla="*/ 46 w 99"/>
                <a:gd name="T79" fmla="*/ 4 h 59"/>
                <a:gd name="T80" fmla="*/ 59 w 99"/>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9" h="59">
                  <a:moveTo>
                    <a:pt x="59" y="0"/>
                  </a:moveTo>
                  <a:lnTo>
                    <a:pt x="71" y="6"/>
                  </a:lnTo>
                  <a:lnTo>
                    <a:pt x="77" y="12"/>
                  </a:lnTo>
                  <a:lnTo>
                    <a:pt x="83" y="10"/>
                  </a:lnTo>
                  <a:lnTo>
                    <a:pt x="89" y="12"/>
                  </a:lnTo>
                  <a:lnTo>
                    <a:pt x="93" y="18"/>
                  </a:lnTo>
                  <a:lnTo>
                    <a:pt x="93" y="19"/>
                  </a:lnTo>
                  <a:lnTo>
                    <a:pt x="92" y="27"/>
                  </a:lnTo>
                  <a:lnTo>
                    <a:pt x="95" y="30"/>
                  </a:lnTo>
                  <a:lnTo>
                    <a:pt x="99" y="36"/>
                  </a:lnTo>
                  <a:lnTo>
                    <a:pt x="99" y="47"/>
                  </a:lnTo>
                  <a:lnTo>
                    <a:pt x="95" y="47"/>
                  </a:lnTo>
                  <a:lnTo>
                    <a:pt x="89" y="55"/>
                  </a:lnTo>
                  <a:lnTo>
                    <a:pt x="89" y="56"/>
                  </a:lnTo>
                  <a:lnTo>
                    <a:pt x="85" y="55"/>
                  </a:lnTo>
                  <a:lnTo>
                    <a:pt x="80" y="59"/>
                  </a:lnTo>
                  <a:lnTo>
                    <a:pt x="79" y="59"/>
                  </a:lnTo>
                  <a:lnTo>
                    <a:pt x="74" y="56"/>
                  </a:lnTo>
                  <a:lnTo>
                    <a:pt x="64" y="47"/>
                  </a:lnTo>
                  <a:lnTo>
                    <a:pt x="58" y="46"/>
                  </a:lnTo>
                  <a:lnTo>
                    <a:pt x="53" y="40"/>
                  </a:lnTo>
                  <a:lnTo>
                    <a:pt x="47" y="43"/>
                  </a:lnTo>
                  <a:lnTo>
                    <a:pt x="46" y="43"/>
                  </a:lnTo>
                  <a:lnTo>
                    <a:pt x="39" y="42"/>
                  </a:lnTo>
                  <a:lnTo>
                    <a:pt x="19" y="40"/>
                  </a:lnTo>
                  <a:lnTo>
                    <a:pt x="10" y="44"/>
                  </a:lnTo>
                  <a:lnTo>
                    <a:pt x="6" y="47"/>
                  </a:lnTo>
                  <a:lnTo>
                    <a:pt x="6" y="49"/>
                  </a:lnTo>
                  <a:lnTo>
                    <a:pt x="4" y="49"/>
                  </a:lnTo>
                  <a:lnTo>
                    <a:pt x="2" y="46"/>
                  </a:lnTo>
                  <a:lnTo>
                    <a:pt x="0" y="46"/>
                  </a:lnTo>
                  <a:lnTo>
                    <a:pt x="0" y="44"/>
                  </a:lnTo>
                  <a:lnTo>
                    <a:pt x="2" y="33"/>
                  </a:lnTo>
                  <a:lnTo>
                    <a:pt x="10" y="13"/>
                  </a:lnTo>
                  <a:lnTo>
                    <a:pt x="22" y="7"/>
                  </a:lnTo>
                  <a:lnTo>
                    <a:pt x="33" y="24"/>
                  </a:lnTo>
                  <a:lnTo>
                    <a:pt x="42" y="27"/>
                  </a:lnTo>
                  <a:lnTo>
                    <a:pt x="45" y="21"/>
                  </a:lnTo>
                  <a:lnTo>
                    <a:pt x="46" y="6"/>
                  </a:lnTo>
                  <a:lnTo>
                    <a:pt x="46" y="4"/>
                  </a:lnTo>
                  <a:lnTo>
                    <a:pt x="5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4" name="Lithuania">
              <a:extLst>
                <a:ext uri="{FF2B5EF4-FFF2-40B4-BE49-F238E27FC236}">
                  <a16:creationId xmlns:a16="http://schemas.microsoft.com/office/drawing/2014/main" id="{020F2704-68DA-36A3-9A32-81CB54CDFCFD}"/>
                </a:ext>
              </a:extLst>
            </p:cNvPr>
            <p:cNvSpPr>
              <a:spLocks/>
            </p:cNvSpPr>
            <p:nvPr/>
          </p:nvSpPr>
          <p:spPr bwMode="auto">
            <a:xfrm>
              <a:off x="6317365" y="2971894"/>
              <a:ext cx="144565" cy="106617"/>
            </a:xfrm>
            <a:custGeom>
              <a:avLst/>
              <a:gdLst>
                <a:gd name="T0" fmla="*/ 18 w 80"/>
                <a:gd name="T1" fmla="*/ 0 h 59"/>
                <a:gd name="T2" fmla="*/ 39 w 80"/>
                <a:gd name="T3" fmla="*/ 1 h 59"/>
                <a:gd name="T4" fmla="*/ 46 w 80"/>
                <a:gd name="T5" fmla="*/ 3 h 59"/>
                <a:gd name="T6" fmla="*/ 53 w 80"/>
                <a:gd name="T7" fmla="*/ 0 h 59"/>
                <a:gd name="T8" fmla="*/ 55 w 80"/>
                <a:gd name="T9" fmla="*/ 0 h 59"/>
                <a:gd name="T10" fmla="*/ 59 w 80"/>
                <a:gd name="T11" fmla="*/ 5 h 59"/>
                <a:gd name="T12" fmla="*/ 64 w 80"/>
                <a:gd name="T13" fmla="*/ 7 h 59"/>
                <a:gd name="T14" fmla="*/ 74 w 80"/>
                <a:gd name="T15" fmla="*/ 16 h 59"/>
                <a:gd name="T16" fmla="*/ 80 w 80"/>
                <a:gd name="T17" fmla="*/ 19 h 59"/>
                <a:gd name="T18" fmla="*/ 80 w 80"/>
                <a:gd name="T19" fmla="*/ 20 h 59"/>
                <a:gd name="T20" fmla="*/ 76 w 80"/>
                <a:gd name="T21" fmla="*/ 22 h 59"/>
                <a:gd name="T22" fmla="*/ 76 w 80"/>
                <a:gd name="T23" fmla="*/ 25 h 59"/>
                <a:gd name="T24" fmla="*/ 80 w 80"/>
                <a:gd name="T25" fmla="*/ 26 h 59"/>
                <a:gd name="T26" fmla="*/ 79 w 80"/>
                <a:gd name="T27" fmla="*/ 31 h 59"/>
                <a:gd name="T28" fmla="*/ 77 w 80"/>
                <a:gd name="T29" fmla="*/ 31 h 59"/>
                <a:gd name="T30" fmla="*/ 68 w 80"/>
                <a:gd name="T31" fmla="*/ 35 h 59"/>
                <a:gd name="T32" fmla="*/ 65 w 80"/>
                <a:gd name="T33" fmla="*/ 47 h 59"/>
                <a:gd name="T34" fmla="*/ 68 w 80"/>
                <a:gd name="T35" fmla="*/ 51 h 59"/>
                <a:gd name="T36" fmla="*/ 68 w 80"/>
                <a:gd name="T37" fmla="*/ 53 h 59"/>
                <a:gd name="T38" fmla="*/ 67 w 80"/>
                <a:gd name="T39" fmla="*/ 53 h 59"/>
                <a:gd name="T40" fmla="*/ 65 w 80"/>
                <a:gd name="T41" fmla="*/ 54 h 59"/>
                <a:gd name="T42" fmla="*/ 65 w 80"/>
                <a:gd name="T43" fmla="*/ 53 h 59"/>
                <a:gd name="T44" fmla="*/ 61 w 80"/>
                <a:gd name="T45" fmla="*/ 50 h 59"/>
                <a:gd name="T46" fmla="*/ 55 w 80"/>
                <a:gd name="T47" fmla="*/ 53 h 59"/>
                <a:gd name="T48" fmla="*/ 55 w 80"/>
                <a:gd name="T49" fmla="*/ 57 h 59"/>
                <a:gd name="T50" fmla="*/ 47 w 80"/>
                <a:gd name="T51" fmla="*/ 57 h 59"/>
                <a:gd name="T52" fmla="*/ 43 w 80"/>
                <a:gd name="T53" fmla="*/ 59 h 59"/>
                <a:gd name="T54" fmla="*/ 36 w 80"/>
                <a:gd name="T55" fmla="*/ 59 h 59"/>
                <a:gd name="T56" fmla="*/ 36 w 80"/>
                <a:gd name="T57" fmla="*/ 57 h 59"/>
                <a:gd name="T58" fmla="*/ 34 w 80"/>
                <a:gd name="T59" fmla="*/ 54 h 59"/>
                <a:gd name="T60" fmla="*/ 25 w 80"/>
                <a:gd name="T61" fmla="*/ 47 h 59"/>
                <a:gd name="T62" fmla="*/ 27 w 80"/>
                <a:gd name="T63" fmla="*/ 38 h 59"/>
                <a:gd name="T64" fmla="*/ 25 w 80"/>
                <a:gd name="T65" fmla="*/ 34 h 59"/>
                <a:gd name="T66" fmla="*/ 16 w 80"/>
                <a:gd name="T67" fmla="*/ 32 h 59"/>
                <a:gd name="T68" fmla="*/ 4 w 80"/>
                <a:gd name="T69" fmla="*/ 28 h 59"/>
                <a:gd name="T70" fmla="*/ 4 w 80"/>
                <a:gd name="T71" fmla="*/ 26 h 59"/>
                <a:gd name="T72" fmla="*/ 0 w 80"/>
                <a:gd name="T73" fmla="*/ 5 h 59"/>
                <a:gd name="T74" fmla="*/ 2 w 80"/>
                <a:gd name="T75" fmla="*/ 5 h 59"/>
                <a:gd name="T76" fmla="*/ 6 w 80"/>
                <a:gd name="T77" fmla="*/ 8 h 59"/>
                <a:gd name="T78" fmla="*/ 9 w 80"/>
                <a:gd name="T79" fmla="*/ 4 h 59"/>
                <a:gd name="T80" fmla="*/ 18 w 80"/>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 h="59">
                  <a:moveTo>
                    <a:pt x="18" y="0"/>
                  </a:moveTo>
                  <a:lnTo>
                    <a:pt x="39" y="1"/>
                  </a:lnTo>
                  <a:lnTo>
                    <a:pt x="46" y="3"/>
                  </a:lnTo>
                  <a:lnTo>
                    <a:pt x="53" y="0"/>
                  </a:lnTo>
                  <a:lnTo>
                    <a:pt x="55" y="0"/>
                  </a:lnTo>
                  <a:lnTo>
                    <a:pt x="59" y="5"/>
                  </a:lnTo>
                  <a:lnTo>
                    <a:pt x="64" y="7"/>
                  </a:lnTo>
                  <a:lnTo>
                    <a:pt x="74" y="16"/>
                  </a:lnTo>
                  <a:lnTo>
                    <a:pt x="80" y="19"/>
                  </a:lnTo>
                  <a:lnTo>
                    <a:pt x="80" y="20"/>
                  </a:lnTo>
                  <a:lnTo>
                    <a:pt x="76" y="22"/>
                  </a:lnTo>
                  <a:lnTo>
                    <a:pt x="76" y="25"/>
                  </a:lnTo>
                  <a:lnTo>
                    <a:pt x="80" y="26"/>
                  </a:lnTo>
                  <a:lnTo>
                    <a:pt x="79" y="31"/>
                  </a:lnTo>
                  <a:lnTo>
                    <a:pt x="77" y="31"/>
                  </a:lnTo>
                  <a:lnTo>
                    <a:pt x="68" y="35"/>
                  </a:lnTo>
                  <a:lnTo>
                    <a:pt x="65" y="47"/>
                  </a:lnTo>
                  <a:lnTo>
                    <a:pt x="68" y="51"/>
                  </a:lnTo>
                  <a:lnTo>
                    <a:pt x="68" y="53"/>
                  </a:lnTo>
                  <a:lnTo>
                    <a:pt x="67" y="53"/>
                  </a:lnTo>
                  <a:lnTo>
                    <a:pt x="65" y="54"/>
                  </a:lnTo>
                  <a:lnTo>
                    <a:pt x="65" y="53"/>
                  </a:lnTo>
                  <a:lnTo>
                    <a:pt x="61" y="50"/>
                  </a:lnTo>
                  <a:lnTo>
                    <a:pt x="55" y="53"/>
                  </a:lnTo>
                  <a:lnTo>
                    <a:pt x="55" y="57"/>
                  </a:lnTo>
                  <a:lnTo>
                    <a:pt x="47" y="57"/>
                  </a:lnTo>
                  <a:lnTo>
                    <a:pt x="43" y="59"/>
                  </a:lnTo>
                  <a:lnTo>
                    <a:pt x="36" y="59"/>
                  </a:lnTo>
                  <a:lnTo>
                    <a:pt x="36" y="57"/>
                  </a:lnTo>
                  <a:lnTo>
                    <a:pt x="34" y="54"/>
                  </a:lnTo>
                  <a:lnTo>
                    <a:pt x="25" y="47"/>
                  </a:lnTo>
                  <a:lnTo>
                    <a:pt x="27" y="38"/>
                  </a:lnTo>
                  <a:lnTo>
                    <a:pt x="25" y="34"/>
                  </a:lnTo>
                  <a:lnTo>
                    <a:pt x="16" y="32"/>
                  </a:lnTo>
                  <a:lnTo>
                    <a:pt x="4" y="28"/>
                  </a:lnTo>
                  <a:lnTo>
                    <a:pt x="4" y="26"/>
                  </a:lnTo>
                  <a:lnTo>
                    <a:pt x="0" y="5"/>
                  </a:lnTo>
                  <a:lnTo>
                    <a:pt x="2" y="5"/>
                  </a:lnTo>
                  <a:lnTo>
                    <a:pt x="6" y="8"/>
                  </a:lnTo>
                  <a:lnTo>
                    <a:pt x="9" y="4"/>
                  </a:lnTo>
                  <a:lnTo>
                    <a:pt x="1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5" name="Czech Republic">
              <a:extLst>
                <a:ext uri="{FF2B5EF4-FFF2-40B4-BE49-F238E27FC236}">
                  <a16:creationId xmlns:a16="http://schemas.microsoft.com/office/drawing/2014/main" id="{3450E67C-9EBD-CA67-5CAA-30377AF7331D}"/>
                </a:ext>
              </a:extLst>
            </p:cNvPr>
            <p:cNvSpPr>
              <a:spLocks/>
            </p:cNvSpPr>
            <p:nvPr/>
          </p:nvSpPr>
          <p:spPr bwMode="auto">
            <a:xfrm>
              <a:off x="6107745" y="3183320"/>
              <a:ext cx="166250" cy="90353"/>
            </a:xfrm>
            <a:custGeom>
              <a:avLst/>
              <a:gdLst>
                <a:gd name="T0" fmla="*/ 30 w 92"/>
                <a:gd name="T1" fmla="*/ 0 h 50"/>
                <a:gd name="T2" fmla="*/ 36 w 92"/>
                <a:gd name="T3" fmla="*/ 6 h 50"/>
                <a:gd name="T4" fmla="*/ 42 w 92"/>
                <a:gd name="T5" fmla="*/ 3 h 50"/>
                <a:gd name="T6" fmla="*/ 52 w 92"/>
                <a:gd name="T7" fmla="*/ 9 h 50"/>
                <a:gd name="T8" fmla="*/ 63 w 92"/>
                <a:gd name="T9" fmla="*/ 19 h 50"/>
                <a:gd name="T10" fmla="*/ 66 w 92"/>
                <a:gd name="T11" fmla="*/ 16 h 50"/>
                <a:gd name="T12" fmla="*/ 75 w 92"/>
                <a:gd name="T13" fmla="*/ 17 h 50"/>
                <a:gd name="T14" fmla="*/ 76 w 92"/>
                <a:gd name="T15" fmla="*/ 22 h 50"/>
                <a:gd name="T16" fmla="*/ 86 w 92"/>
                <a:gd name="T17" fmla="*/ 31 h 50"/>
                <a:gd name="T18" fmla="*/ 92 w 92"/>
                <a:gd name="T19" fmla="*/ 35 h 50"/>
                <a:gd name="T20" fmla="*/ 86 w 92"/>
                <a:gd name="T21" fmla="*/ 38 h 50"/>
                <a:gd name="T22" fmla="*/ 83 w 92"/>
                <a:gd name="T23" fmla="*/ 46 h 50"/>
                <a:gd name="T24" fmla="*/ 63 w 92"/>
                <a:gd name="T25" fmla="*/ 49 h 50"/>
                <a:gd name="T26" fmla="*/ 42 w 92"/>
                <a:gd name="T27" fmla="*/ 43 h 50"/>
                <a:gd name="T28" fmla="*/ 35 w 92"/>
                <a:gd name="T29" fmla="*/ 50 h 50"/>
                <a:gd name="T30" fmla="*/ 24 w 92"/>
                <a:gd name="T31" fmla="*/ 49 h 50"/>
                <a:gd name="T32" fmla="*/ 8 w 92"/>
                <a:gd name="T33" fmla="*/ 34 h 50"/>
                <a:gd name="T34" fmla="*/ 0 w 92"/>
                <a:gd name="T35" fmla="*/ 17 h 50"/>
                <a:gd name="T36" fmla="*/ 5 w 92"/>
                <a:gd name="T37" fmla="*/ 20 h 50"/>
                <a:gd name="T38" fmla="*/ 29 w 92"/>
                <a:gd name="T39" fmla="*/ 6 h 50"/>
                <a:gd name="T40" fmla="*/ 30 w 92"/>
                <a:gd name="T4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0">
                  <a:moveTo>
                    <a:pt x="30" y="0"/>
                  </a:moveTo>
                  <a:lnTo>
                    <a:pt x="36" y="6"/>
                  </a:lnTo>
                  <a:lnTo>
                    <a:pt x="42" y="3"/>
                  </a:lnTo>
                  <a:lnTo>
                    <a:pt x="52" y="9"/>
                  </a:lnTo>
                  <a:lnTo>
                    <a:pt x="63" y="19"/>
                  </a:lnTo>
                  <a:lnTo>
                    <a:pt x="66" y="16"/>
                  </a:lnTo>
                  <a:lnTo>
                    <a:pt x="75" y="17"/>
                  </a:lnTo>
                  <a:lnTo>
                    <a:pt x="76" y="22"/>
                  </a:lnTo>
                  <a:lnTo>
                    <a:pt x="86" y="31"/>
                  </a:lnTo>
                  <a:lnTo>
                    <a:pt x="92" y="35"/>
                  </a:lnTo>
                  <a:lnTo>
                    <a:pt x="86" y="38"/>
                  </a:lnTo>
                  <a:lnTo>
                    <a:pt x="83" y="46"/>
                  </a:lnTo>
                  <a:lnTo>
                    <a:pt x="63" y="49"/>
                  </a:lnTo>
                  <a:lnTo>
                    <a:pt x="42" y="43"/>
                  </a:lnTo>
                  <a:lnTo>
                    <a:pt x="35" y="50"/>
                  </a:lnTo>
                  <a:lnTo>
                    <a:pt x="24" y="49"/>
                  </a:lnTo>
                  <a:lnTo>
                    <a:pt x="8" y="34"/>
                  </a:lnTo>
                  <a:lnTo>
                    <a:pt x="0" y="17"/>
                  </a:lnTo>
                  <a:lnTo>
                    <a:pt x="5" y="20"/>
                  </a:lnTo>
                  <a:lnTo>
                    <a:pt x="29" y="6"/>
                  </a:lnTo>
                  <a:lnTo>
                    <a:pt x="3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6" name="Corsica (France)">
              <a:extLst>
                <a:ext uri="{FF2B5EF4-FFF2-40B4-BE49-F238E27FC236}">
                  <a16:creationId xmlns:a16="http://schemas.microsoft.com/office/drawing/2014/main" id="{35B1A993-4331-AAAD-0553-1AE5E376748A}"/>
                </a:ext>
              </a:extLst>
            </p:cNvPr>
            <p:cNvSpPr>
              <a:spLocks/>
            </p:cNvSpPr>
            <p:nvPr/>
          </p:nvSpPr>
          <p:spPr bwMode="auto">
            <a:xfrm>
              <a:off x="6028235" y="3463415"/>
              <a:ext cx="23493" cy="56019"/>
            </a:xfrm>
            <a:custGeom>
              <a:avLst/>
              <a:gdLst>
                <a:gd name="T0" fmla="*/ 10 w 13"/>
                <a:gd name="T1" fmla="*/ 0 h 31"/>
                <a:gd name="T2" fmla="*/ 12 w 13"/>
                <a:gd name="T3" fmla="*/ 0 h 31"/>
                <a:gd name="T4" fmla="*/ 13 w 13"/>
                <a:gd name="T5" fmla="*/ 15 h 31"/>
                <a:gd name="T6" fmla="*/ 10 w 13"/>
                <a:gd name="T7" fmla="*/ 30 h 31"/>
                <a:gd name="T8" fmla="*/ 9 w 13"/>
                <a:gd name="T9" fmla="*/ 31 h 31"/>
                <a:gd name="T10" fmla="*/ 9 w 13"/>
                <a:gd name="T11" fmla="*/ 30 h 31"/>
                <a:gd name="T12" fmla="*/ 1 w 13"/>
                <a:gd name="T13" fmla="*/ 23 h 31"/>
                <a:gd name="T14" fmla="*/ 0 w 13"/>
                <a:gd name="T15" fmla="*/ 11 h 31"/>
                <a:gd name="T16" fmla="*/ 1 w 13"/>
                <a:gd name="T17" fmla="*/ 8 h 31"/>
                <a:gd name="T18" fmla="*/ 9 w 13"/>
                <a:gd name="T19" fmla="*/ 5 h 31"/>
                <a:gd name="T20" fmla="*/ 10 w 13"/>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1">
                  <a:moveTo>
                    <a:pt x="10" y="0"/>
                  </a:moveTo>
                  <a:lnTo>
                    <a:pt x="12" y="0"/>
                  </a:lnTo>
                  <a:lnTo>
                    <a:pt x="13" y="15"/>
                  </a:lnTo>
                  <a:lnTo>
                    <a:pt x="10" y="30"/>
                  </a:lnTo>
                  <a:lnTo>
                    <a:pt x="9" y="31"/>
                  </a:lnTo>
                  <a:lnTo>
                    <a:pt x="9" y="30"/>
                  </a:lnTo>
                  <a:lnTo>
                    <a:pt x="1" y="23"/>
                  </a:lnTo>
                  <a:lnTo>
                    <a:pt x="0" y="11"/>
                  </a:lnTo>
                  <a:lnTo>
                    <a:pt x="1" y="8"/>
                  </a:lnTo>
                  <a:lnTo>
                    <a:pt x="9" y="5"/>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7" name="Kaliningrad (Russia)">
              <a:extLst>
                <a:ext uri="{FF2B5EF4-FFF2-40B4-BE49-F238E27FC236}">
                  <a16:creationId xmlns:a16="http://schemas.microsoft.com/office/drawing/2014/main" id="{9E222C30-A647-12D4-5374-2D4F8CC4477A}"/>
                </a:ext>
              </a:extLst>
            </p:cNvPr>
            <p:cNvSpPr>
              <a:spLocks/>
            </p:cNvSpPr>
            <p:nvPr/>
          </p:nvSpPr>
          <p:spPr bwMode="auto">
            <a:xfrm>
              <a:off x="6288452" y="3018878"/>
              <a:ext cx="79511" cy="39755"/>
            </a:xfrm>
            <a:custGeom>
              <a:avLst/>
              <a:gdLst>
                <a:gd name="T0" fmla="*/ 20 w 44"/>
                <a:gd name="T1" fmla="*/ 0 h 22"/>
                <a:gd name="T2" fmla="*/ 22 w 44"/>
                <a:gd name="T3" fmla="*/ 0 h 22"/>
                <a:gd name="T4" fmla="*/ 32 w 44"/>
                <a:gd name="T5" fmla="*/ 5 h 22"/>
                <a:gd name="T6" fmla="*/ 41 w 44"/>
                <a:gd name="T7" fmla="*/ 6 h 22"/>
                <a:gd name="T8" fmla="*/ 44 w 44"/>
                <a:gd name="T9" fmla="*/ 12 h 22"/>
                <a:gd name="T10" fmla="*/ 43 w 44"/>
                <a:gd name="T11" fmla="*/ 21 h 22"/>
                <a:gd name="T12" fmla="*/ 43 w 44"/>
                <a:gd name="T13" fmla="*/ 22 h 22"/>
                <a:gd name="T14" fmla="*/ 18 w 44"/>
                <a:gd name="T15" fmla="*/ 22 h 22"/>
                <a:gd name="T16" fmla="*/ 0 w 44"/>
                <a:gd name="T17" fmla="*/ 21 h 22"/>
                <a:gd name="T18" fmla="*/ 0 w 44"/>
                <a:gd name="T19" fmla="*/ 20 h 22"/>
                <a:gd name="T20" fmla="*/ 4 w 44"/>
                <a:gd name="T21" fmla="*/ 8 h 22"/>
                <a:gd name="T22" fmla="*/ 15 w 44"/>
                <a:gd name="T23" fmla="*/ 3 h 22"/>
                <a:gd name="T24" fmla="*/ 16 w 44"/>
                <a:gd name="T25" fmla="*/ 3 h 22"/>
                <a:gd name="T26" fmla="*/ 16 w 44"/>
                <a:gd name="T27" fmla="*/ 5 h 22"/>
                <a:gd name="T28" fmla="*/ 15 w 44"/>
                <a:gd name="T29" fmla="*/ 6 h 22"/>
                <a:gd name="T30" fmla="*/ 19 w 44"/>
                <a:gd name="T31" fmla="*/ 8 h 22"/>
                <a:gd name="T32" fmla="*/ 20 w 44"/>
                <a:gd name="T33" fmla="*/ 2 h 22"/>
                <a:gd name="T34" fmla="*/ 20 w 4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22">
                  <a:moveTo>
                    <a:pt x="20" y="0"/>
                  </a:moveTo>
                  <a:lnTo>
                    <a:pt x="22" y="0"/>
                  </a:lnTo>
                  <a:lnTo>
                    <a:pt x="32" y="5"/>
                  </a:lnTo>
                  <a:lnTo>
                    <a:pt x="41" y="6"/>
                  </a:lnTo>
                  <a:lnTo>
                    <a:pt x="44" y="12"/>
                  </a:lnTo>
                  <a:lnTo>
                    <a:pt x="43" y="21"/>
                  </a:lnTo>
                  <a:lnTo>
                    <a:pt x="43" y="22"/>
                  </a:lnTo>
                  <a:lnTo>
                    <a:pt x="18" y="22"/>
                  </a:lnTo>
                  <a:lnTo>
                    <a:pt x="0" y="21"/>
                  </a:lnTo>
                  <a:lnTo>
                    <a:pt x="0" y="20"/>
                  </a:lnTo>
                  <a:lnTo>
                    <a:pt x="4" y="8"/>
                  </a:lnTo>
                  <a:lnTo>
                    <a:pt x="15" y="3"/>
                  </a:lnTo>
                  <a:lnTo>
                    <a:pt x="16" y="3"/>
                  </a:lnTo>
                  <a:lnTo>
                    <a:pt x="16" y="5"/>
                  </a:lnTo>
                  <a:lnTo>
                    <a:pt x="15" y="6"/>
                  </a:lnTo>
                  <a:lnTo>
                    <a:pt x="19" y="8"/>
                  </a:lnTo>
                  <a:lnTo>
                    <a:pt x="20" y="2"/>
                  </a:lnTo>
                  <a:lnTo>
                    <a:pt x="2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8" name="Luxembourg">
              <a:extLst>
                <a:ext uri="{FF2B5EF4-FFF2-40B4-BE49-F238E27FC236}">
                  <a16:creationId xmlns:a16="http://schemas.microsoft.com/office/drawing/2014/main" id="{451E151C-2BBB-3C6F-7BFE-D97EAC835571}"/>
                </a:ext>
              </a:extLst>
            </p:cNvPr>
            <p:cNvSpPr>
              <a:spLocks/>
            </p:cNvSpPr>
            <p:nvPr/>
          </p:nvSpPr>
          <p:spPr bwMode="auto">
            <a:xfrm>
              <a:off x="5957760" y="3217654"/>
              <a:ext cx="19879" cy="27107"/>
            </a:xfrm>
            <a:custGeom>
              <a:avLst/>
              <a:gdLst>
                <a:gd name="T0" fmla="*/ 6 w 11"/>
                <a:gd name="T1" fmla="*/ 0 h 15"/>
                <a:gd name="T2" fmla="*/ 8 w 11"/>
                <a:gd name="T3" fmla="*/ 1 h 15"/>
                <a:gd name="T4" fmla="*/ 11 w 11"/>
                <a:gd name="T5" fmla="*/ 9 h 15"/>
                <a:gd name="T6" fmla="*/ 9 w 11"/>
                <a:gd name="T7" fmla="*/ 13 h 15"/>
                <a:gd name="T8" fmla="*/ 9 w 11"/>
                <a:gd name="T9" fmla="*/ 15 h 15"/>
                <a:gd name="T10" fmla="*/ 2 w 11"/>
                <a:gd name="T11" fmla="*/ 13 h 15"/>
                <a:gd name="T12" fmla="*/ 0 w 11"/>
                <a:gd name="T13" fmla="*/ 7 h 15"/>
                <a:gd name="T14" fmla="*/ 0 w 11"/>
                <a:gd name="T15" fmla="*/ 6 h 15"/>
                <a:gd name="T16" fmla="*/ 6 w 1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5">
                  <a:moveTo>
                    <a:pt x="6" y="0"/>
                  </a:moveTo>
                  <a:lnTo>
                    <a:pt x="8" y="1"/>
                  </a:lnTo>
                  <a:lnTo>
                    <a:pt x="11" y="9"/>
                  </a:lnTo>
                  <a:lnTo>
                    <a:pt x="9" y="13"/>
                  </a:lnTo>
                  <a:lnTo>
                    <a:pt x="9" y="15"/>
                  </a:lnTo>
                  <a:lnTo>
                    <a:pt x="2" y="13"/>
                  </a:lnTo>
                  <a:lnTo>
                    <a:pt x="0" y="7"/>
                  </a:lnTo>
                  <a:lnTo>
                    <a:pt x="0" y="6"/>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89" name="Hungary">
              <a:extLst>
                <a:ext uri="{FF2B5EF4-FFF2-40B4-BE49-F238E27FC236}">
                  <a16:creationId xmlns:a16="http://schemas.microsoft.com/office/drawing/2014/main" id="{133392A5-268E-AD69-5228-C60E77464652}"/>
                </a:ext>
              </a:extLst>
            </p:cNvPr>
            <p:cNvSpPr>
              <a:spLocks/>
            </p:cNvSpPr>
            <p:nvPr/>
          </p:nvSpPr>
          <p:spPr bwMode="auto">
            <a:xfrm>
              <a:off x="6205327" y="3277287"/>
              <a:ext cx="160829" cy="97581"/>
            </a:xfrm>
            <a:custGeom>
              <a:avLst/>
              <a:gdLst>
                <a:gd name="T0" fmla="*/ 61 w 89"/>
                <a:gd name="T1" fmla="*/ 0 h 54"/>
                <a:gd name="T2" fmla="*/ 65 w 89"/>
                <a:gd name="T3" fmla="*/ 0 h 54"/>
                <a:gd name="T4" fmla="*/ 68 w 89"/>
                <a:gd name="T5" fmla="*/ 1 h 54"/>
                <a:gd name="T6" fmla="*/ 72 w 89"/>
                <a:gd name="T7" fmla="*/ 1 h 54"/>
                <a:gd name="T8" fmla="*/ 75 w 89"/>
                <a:gd name="T9" fmla="*/ 3 h 54"/>
                <a:gd name="T10" fmla="*/ 80 w 89"/>
                <a:gd name="T11" fmla="*/ 3 h 54"/>
                <a:gd name="T12" fmla="*/ 89 w 89"/>
                <a:gd name="T13" fmla="*/ 11 h 54"/>
                <a:gd name="T14" fmla="*/ 89 w 89"/>
                <a:gd name="T15" fmla="*/ 13 h 54"/>
                <a:gd name="T16" fmla="*/ 78 w 89"/>
                <a:gd name="T17" fmla="*/ 19 h 54"/>
                <a:gd name="T18" fmla="*/ 66 w 89"/>
                <a:gd name="T19" fmla="*/ 43 h 54"/>
                <a:gd name="T20" fmla="*/ 66 w 89"/>
                <a:gd name="T21" fmla="*/ 44 h 54"/>
                <a:gd name="T22" fmla="*/ 55 w 89"/>
                <a:gd name="T23" fmla="*/ 47 h 54"/>
                <a:gd name="T24" fmla="*/ 47 w 89"/>
                <a:gd name="T25" fmla="*/ 47 h 54"/>
                <a:gd name="T26" fmla="*/ 35 w 89"/>
                <a:gd name="T27" fmla="*/ 51 h 54"/>
                <a:gd name="T28" fmla="*/ 25 w 89"/>
                <a:gd name="T29" fmla="*/ 54 h 54"/>
                <a:gd name="T30" fmla="*/ 24 w 89"/>
                <a:gd name="T31" fmla="*/ 54 h 54"/>
                <a:gd name="T32" fmla="*/ 0 w 89"/>
                <a:gd name="T33" fmla="*/ 34 h 54"/>
                <a:gd name="T34" fmla="*/ 0 w 89"/>
                <a:gd name="T35" fmla="*/ 32 h 54"/>
                <a:gd name="T36" fmla="*/ 4 w 89"/>
                <a:gd name="T37" fmla="*/ 29 h 54"/>
                <a:gd name="T38" fmla="*/ 6 w 89"/>
                <a:gd name="T39" fmla="*/ 16 h 54"/>
                <a:gd name="T40" fmla="*/ 13 w 89"/>
                <a:gd name="T41" fmla="*/ 16 h 54"/>
                <a:gd name="T42" fmla="*/ 13 w 89"/>
                <a:gd name="T43" fmla="*/ 8 h 54"/>
                <a:gd name="T44" fmla="*/ 15 w 89"/>
                <a:gd name="T45" fmla="*/ 8 h 54"/>
                <a:gd name="T46" fmla="*/ 15 w 89"/>
                <a:gd name="T47" fmla="*/ 10 h 54"/>
                <a:gd name="T48" fmla="*/ 24 w 89"/>
                <a:gd name="T49" fmla="*/ 16 h 54"/>
                <a:gd name="T50" fmla="*/ 31 w 89"/>
                <a:gd name="T51" fmla="*/ 14 h 54"/>
                <a:gd name="T52" fmla="*/ 34 w 89"/>
                <a:gd name="T53" fmla="*/ 10 h 54"/>
                <a:gd name="T54" fmla="*/ 35 w 89"/>
                <a:gd name="T55" fmla="*/ 10 h 54"/>
                <a:gd name="T56" fmla="*/ 50 w 89"/>
                <a:gd name="T57" fmla="*/ 7 h 54"/>
                <a:gd name="T58" fmla="*/ 61 w 89"/>
                <a:gd name="T5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54">
                  <a:moveTo>
                    <a:pt x="61" y="0"/>
                  </a:moveTo>
                  <a:lnTo>
                    <a:pt x="65" y="0"/>
                  </a:lnTo>
                  <a:lnTo>
                    <a:pt x="68" y="1"/>
                  </a:lnTo>
                  <a:lnTo>
                    <a:pt x="72" y="1"/>
                  </a:lnTo>
                  <a:lnTo>
                    <a:pt x="75" y="3"/>
                  </a:lnTo>
                  <a:lnTo>
                    <a:pt x="80" y="3"/>
                  </a:lnTo>
                  <a:lnTo>
                    <a:pt x="89" y="11"/>
                  </a:lnTo>
                  <a:lnTo>
                    <a:pt x="89" y="13"/>
                  </a:lnTo>
                  <a:lnTo>
                    <a:pt x="78" y="19"/>
                  </a:lnTo>
                  <a:lnTo>
                    <a:pt x="66" y="43"/>
                  </a:lnTo>
                  <a:lnTo>
                    <a:pt x="66" y="44"/>
                  </a:lnTo>
                  <a:lnTo>
                    <a:pt x="55" y="47"/>
                  </a:lnTo>
                  <a:lnTo>
                    <a:pt x="47" y="47"/>
                  </a:lnTo>
                  <a:lnTo>
                    <a:pt x="35" y="51"/>
                  </a:lnTo>
                  <a:lnTo>
                    <a:pt x="25" y="54"/>
                  </a:lnTo>
                  <a:lnTo>
                    <a:pt x="24" y="54"/>
                  </a:lnTo>
                  <a:lnTo>
                    <a:pt x="0" y="34"/>
                  </a:lnTo>
                  <a:lnTo>
                    <a:pt x="0" y="32"/>
                  </a:lnTo>
                  <a:lnTo>
                    <a:pt x="4" y="29"/>
                  </a:lnTo>
                  <a:lnTo>
                    <a:pt x="6" y="16"/>
                  </a:lnTo>
                  <a:lnTo>
                    <a:pt x="13" y="16"/>
                  </a:lnTo>
                  <a:lnTo>
                    <a:pt x="13" y="8"/>
                  </a:lnTo>
                  <a:lnTo>
                    <a:pt x="15" y="8"/>
                  </a:lnTo>
                  <a:lnTo>
                    <a:pt x="15" y="10"/>
                  </a:lnTo>
                  <a:lnTo>
                    <a:pt x="24" y="16"/>
                  </a:lnTo>
                  <a:lnTo>
                    <a:pt x="31" y="14"/>
                  </a:lnTo>
                  <a:lnTo>
                    <a:pt x="34" y="10"/>
                  </a:lnTo>
                  <a:lnTo>
                    <a:pt x="35" y="10"/>
                  </a:lnTo>
                  <a:lnTo>
                    <a:pt x="50" y="7"/>
                  </a:lnTo>
                  <a:lnTo>
                    <a:pt x="6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0" name="Romania">
              <a:extLst>
                <a:ext uri="{FF2B5EF4-FFF2-40B4-BE49-F238E27FC236}">
                  <a16:creationId xmlns:a16="http://schemas.microsoft.com/office/drawing/2014/main" id="{F13530F9-87AC-3541-8102-00E5F17061B2}"/>
                </a:ext>
              </a:extLst>
            </p:cNvPr>
            <p:cNvSpPr>
              <a:spLocks/>
            </p:cNvSpPr>
            <p:nvPr/>
          </p:nvSpPr>
          <p:spPr bwMode="auto">
            <a:xfrm>
              <a:off x="6301102" y="3288129"/>
              <a:ext cx="225883" cy="157215"/>
            </a:xfrm>
            <a:custGeom>
              <a:avLst/>
              <a:gdLst>
                <a:gd name="T0" fmla="*/ 86 w 125"/>
                <a:gd name="T1" fmla="*/ 0 h 87"/>
                <a:gd name="T2" fmla="*/ 88 w 125"/>
                <a:gd name="T3" fmla="*/ 0 h 87"/>
                <a:gd name="T4" fmla="*/ 95 w 125"/>
                <a:gd name="T5" fmla="*/ 8 h 87"/>
                <a:gd name="T6" fmla="*/ 104 w 125"/>
                <a:gd name="T7" fmla="*/ 28 h 87"/>
                <a:gd name="T8" fmla="*/ 107 w 125"/>
                <a:gd name="T9" fmla="*/ 53 h 87"/>
                <a:gd name="T10" fmla="*/ 111 w 125"/>
                <a:gd name="T11" fmla="*/ 56 h 87"/>
                <a:gd name="T12" fmla="*/ 113 w 125"/>
                <a:gd name="T13" fmla="*/ 56 h 87"/>
                <a:gd name="T14" fmla="*/ 114 w 125"/>
                <a:gd name="T15" fmla="*/ 54 h 87"/>
                <a:gd name="T16" fmla="*/ 120 w 125"/>
                <a:gd name="T17" fmla="*/ 54 h 87"/>
                <a:gd name="T18" fmla="*/ 122 w 125"/>
                <a:gd name="T19" fmla="*/ 53 h 87"/>
                <a:gd name="T20" fmla="*/ 125 w 125"/>
                <a:gd name="T21" fmla="*/ 53 h 87"/>
                <a:gd name="T22" fmla="*/ 125 w 125"/>
                <a:gd name="T23" fmla="*/ 54 h 87"/>
                <a:gd name="T24" fmla="*/ 123 w 125"/>
                <a:gd name="T25" fmla="*/ 66 h 87"/>
                <a:gd name="T26" fmla="*/ 117 w 125"/>
                <a:gd name="T27" fmla="*/ 72 h 87"/>
                <a:gd name="T28" fmla="*/ 116 w 125"/>
                <a:gd name="T29" fmla="*/ 72 h 87"/>
                <a:gd name="T30" fmla="*/ 116 w 125"/>
                <a:gd name="T31" fmla="*/ 71 h 87"/>
                <a:gd name="T32" fmla="*/ 117 w 125"/>
                <a:gd name="T33" fmla="*/ 66 h 87"/>
                <a:gd name="T34" fmla="*/ 116 w 125"/>
                <a:gd name="T35" fmla="*/ 65 h 87"/>
                <a:gd name="T36" fmla="*/ 113 w 125"/>
                <a:gd name="T37" fmla="*/ 84 h 87"/>
                <a:gd name="T38" fmla="*/ 89 w 125"/>
                <a:gd name="T39" fmla="*/ 78 h 87"/>
                <a:gd name="T40" fmla="*/ 70 w 125"/>
                <a:gd name="T41" fmla="*/ 87 h 87"/>
                <a:gd name="T42" fmla="*/ 39 w 125"/>
                <a:gd name="T43" fmla="*/ 84 h 87"/>
                <a:gd name="T44" fmla="*/ 37 w 125"/>
                <a:gd name="T45" fmla="*/ 84 h 87"/>
                <a:gd name="T46" fmla="*/ 34 w 125"/>
                <a:gd name="T47" fmla="*/ 81 h 87"/>
                <a:gd name="T48" fmla="*/ 36 w 125"/>
                <a:gd name="T49" fmla="*/ 78 h 87"/>
                <a:gd name="T50" fmla="*/ 34 w 125"/>
                <a:gd name="T51" fmla="*/ 78 h 87"/>
                <a:gd name="T52" fmla="*/ 30 w 125"/>
                <a:gd name="T53" fmla="*/ 72 h 87"/>
                <a:gd name="T54" fmla="*/ 31 w 125"/>
                <a:gd name="T55" fmla="*/ 71 h 87"/>
                <a:gd name="T56" fmla="*/ 31 w 125"/>
                <a:gd name="T57" fmla="*/ 69 h 87"/>
                <a:gd name="T58" fmla="*/ 28 w 125"/>
                <a:gd name="T59" fmla="*/ 71 h 87"/>
                <a:gd name="T60" fmla="*/ 18 w 125"/>
                <a:gd name="T61" fmla="*/ 65 h 87"/>
                <a:gd name="T62" fmla="*/ 16 w 125"/>
                <a:gd name="T63" fmla="*/ 65 h 87"/>
                <a:gd name="T64" fmla="*/ 16 w 125"/>
                <a:gd name="T65" fmla="*/ 59 h 87"/>
                <a:gd name="T66" fmla="*/ 13 w 125"/>
                <a:gd name="T67" fmla="*/ 57 h 87"/>
                <a:gd name="T68" fmla="*/ 12 w 125"/>
                <a:gd name="T69" fmla="*/ 57 h 87"/>
                <a:gd name="T70" fmla="*/ 8 w 125"/>
                <a:gd name="T71" fmla="*/ 45 h 87"/>
                <a:gd name="T72" fmla="*/ 0 w 125"/>
                <a:gd name="T73" fmla="*/ 41 h 87"/>
                <a:gd name="T74" fmla="*/ 2 w 125"/>
                <a:gd name="T75" fmla="*/ 40 h 87"/>
                <a:gd name="T76" fmla="*/ 12 w 125"/>
                <a:gd name="T77" fmla="*/ 37 h 87"/>
                <a:gd name="T78" fmla="*/ 24 w 125"/>
                <a:gd name="T79" fmla="*/ 13 h 87"/>
                <a:gd name="T80" fmla="*/ 34 w 125"/>
                <a:gd name="T81" fmla="*/ 5 h 87"/>
                <a:gd name="T82" fmla="*/ 58 w 125"/>
                <a:gd name="T83" fmla="*/ 4 h 87"/>
                <a:gd name="T84" fmla="*/ 64 w 125"/>
                <a:gd name="T85" fmla="*/ 8 h 87"/>
                <a:gd name="T86" fmla="*/ 86 w 125"/>
                <a:gd name="T8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 h="87">
                  <a:moveTo>
                    <a:pt x="86" y="0"/>
                  </a:moveTo>
                  <a:lnTo>
                    <a:pt x="88" y="0"/>
                  </a:lnTo>
                  <a:lnTo>
                    <a:pt x="95" y="8"/>
                  </a:lnTo>
                  <a:lnTo>
                    <a:pt x="104" y="28"/>
                  </a:lnTo>
                  <a:lnTo>
                    <a:pt x="107" y="53"/>
                  </a:lnTo>
                  <a:lnTo>
                    <a:pt x="111" y="56"/>
                  </a:lnTo>
                  <a:lnTo>
                    <a:pt x="113" y="56"/>
                  </a:lnTo>
                  <a:lnTo>
                    <a:pt x="114" y="54"/>
                  </a:lnTo>
                  <a:lnTo>
                    <a:pt x="120" y="54"/>
                  </a:lnTo>
                  <a:lnTo>
                    <a:pt x="122" y="53"/>
                  </a:lnTo>
                  <a:lnTo>
                    <a:pt x="125" y="53"/>
                  </a:lnTo>
                  <a:lnTo>
                    <a:pt x="125" y="54"/>
                  </a:lnTo>
                  <a:lnTo>
                    <a:pt x="123" y="66"/>
                  </a:lnTo>
                  <a:lnTo>
                    <a:pt x="117" y="72"/>
                  </a:lnTo>
                  <a:lnTo>
                    <a:pt x="116" y="72"/>
                  </a:lnTo>
                  <a:lnTo>
                    <a:pt x="116" y="71"/>
                  </a:lnTo>
                  <a:lnTo>
                    <a:pt x="117" y="66"/>
                  </a:lnTo>
                  <a:lnTo>
                    <a:pt x="116" y="65"/>
                  </a:lnTo>
                  <a:lnTo>
                    <a:pt x="113" y="84"/>
                  </a:lnTo>
                  <a:lnTo>
                    <a:pt x="89" y="78"/>
                  </a:lnTo>
                  <a:lnTo>
                    <a:pt x="70" y="87"/>
                  </a:lnTo>
                  <a:lnTo>
                    <a:pt x="39" y="84"/>
                  </a:lnTo>
                  <a:lnTo>
                    <a:pt x="37" y="84"/>
                  </a:lnTo>
                  <a:lnTo>
                    <a:pt x="34" y="81"/>
                  </a:lnTo>
                  <a:lnTo>
                    <a:pt x="36" y="78"/>
                  </a:lnTo>
                  <a:lnTo>
                    <a:pt x="34" y="78"/>
                  </a:lnTo>
                  <a:lnTo>
                    <a:pt x="30" y="72"/>
                  </a:lnTo>
                  <a:lnTo>
                    <a:pt x="31" y="71"/>
                  </a:lnTo>
                  <a:lnTo>
                    <a:pt x="31" y="69"/>
                  </a:lnTo>
                  <a:lnTo>
                    <a:pt x="28" y="71"/>
                  </a:lnTo>
                  <a:lnTo>
                    <a:pt x="18" y="65"/>
                  </a:lnTo>
                  <a:lnTo>
                    <a:pt x="16" y="65"/>
                  </a:lnTo>
                  <a:lnTo>
                    <a:pt x="16" y="59"/>
                  </a:lnTo>
                  <a:lnTo>
                    <a:pt x="13" y="57"/>
                  </a:lnTo>
                  <a:lnTo>
                    <a:pt x="12" y="57"/>
                  </a:lnTo>
                  <a:lnTo>
                    <a:pt x="8" y="45"/>
                  </a:lnTo>
                  <a:lnTo>
                    <a:pt x="0" y="41"/>
                  </a:lnTo>
                  <a:lnTo>
                    <a:pt x="2" y="40"/>
                  </a:lnTo>
                  <a:lnTo>
                    <a:pt x="12" y="37"/>
                  </a:lnTo>
                  <a:lnTo>
                    <a:pt x="24" y="13"/>
                  </a:lnTo>
                  <a:lnTo>
                    <a:pt x="34" y="5"/>
                  </a:lnTo>
                  <a:lnTo>
                    <a:pt x="58" y="4"/>
                  </a:lnTo>
                  <a:lnTo>
                    <a:pt x="64" y="8"/>
                  </a:lnTo>
                  <a:lnTo>
                    <a:pt x="8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1" name="Slovenia">
              <a:extLst>
                <a:ext uri="{FF2B5EF4-FFF2-40B4-BE49-F238E27FC236}">
                  <a16:creationId xmlns:a16="http://schemas.microsoft.com/office/drawing/2014/main" id="{5DB50F55-35D7-F2A1-C889-184C2E7FA528}"/>
                </a:ext>
              </a:extLst>
            </p:cNvPr>
            <p:cNvSpPr>
              <a:spLocks/>
            </p:cNvSpPr>
            <p:nvPr/>
          </p:nvSpPr>
          <p:spPr bwMode="auto">
            <a:xfrm>
              <a:off x="6140273" y="3335113"/>
              <a:ext cx="72283" cy="45177"/>
            </a:xfrm>
            <a:custGeom>
              <a:avLst/>
              <a:gdLst>
                <a:gd name="T0" fmla="*/ 36 w 40"/>
                <a:gd name="T1" fmla="*/ 0 h 25"/>
                <a:gd name="T2" fmla="*/ 37 w 40"/>
                <a:gd name="T3" fmla="*/ 0 h 25"/>
                <a:gd name="T4" fmla="*/ 40 w 40"/>
                <a:gd name="T5" fmla="*/ 3 h 25"/>
                <a:gd name="T6" fmla="*/ 40 w 40"/>
                <a:gd name="T7" fmla="*/ 5 h 25"/>
                <a:gd name="T8" fmla="*/ 39 w 40"/>
                <a:gd name="T9" fmla="*/ 8 h 25"/>
                <a:gd name="T10" fmla="*/ 30 w 40"/>
                <a:gd name="T11" fmla="*/ 12 h 25"/>
                <a:gd name="T12" fmla="*/ 25 w 40"/>
                <a:gd name="T13" fmla="*/ 24 h 25"/>
                <a:gd name="T14" fmla="*/ 15 w 40"/>
                <a:gd name="T15" fmla="*/ 22 h 25"/>
                <a:gd name="T16" fmla="*/ 8 w 40"/>
                <a:gd name="T17" fmla="*/ 25 h 25"/>
                <a:gd name="T18" fmla="*/ 8 w 40"/>
                <a:gd name="T19" fmla="*/ 24 h 25"/>
                <a:gd name="T20" fmla="*/ 5 w 40"/>
                <a:gd name="T21" fmla="*/ 19 h 25"/>
                <a:gd name="T22" fmla="*/ 3 w 40"/>
                <a:gd name="T23" fmla="*/ 14 h 25"/>
                <a:gd name="T24" fmla="*/ 0 w 40"/>
                <a:gd name="T25" fmla="*/ 14 h 25"/>
                <a:gd name="T26" fmla="*/ 0 w 40"/>
                <a:gd name="T27" fmla="*/ 12 h 25"/>
                <a:gd name="T28" fmla="*/ 5 w 40"/>
                <a:gd name="T29" fmla="*/ 8 h 25"/>
                <a:gd name="T30" fmla="*/ 17 w 40"/>
                <a:gd name="T31" fmla="*/ 8 h 25"/>
                <a:gd name="T32" fmla="*/ 36 w 40"/>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25">
                  <a:moveTo>
                    <a:pt x="36" y="0"/>
                  </a:moveTo>
                  <a:lnTo>
                    <a:pt x="37" y="0"/>
                  </a:lnTo>
                  <a:lnTo>
                    <a:pt x="40" y="3"/>
                  </a:lnTo>
                  <a:lnTo>
                    <a:pt x="40" y="5"/>
                  </a:lnTo>
                  <a:lnTo>
                    <a:pt x="39" y="8"/>
                  </a:lnTo>
                  <a:lnTo>
                    <a:pt x="30" y="12"/>
                  </a:lnTo>
                  <a:lnTo>
                    <a:pt x="25" y="24"/>
                  </a:lnTo>
                  <a:lnTo>
                    <a:pt x="15" y="22"/>
                  </a:lnTo>
                  <a:lnTo>
                    <a:pt x="8" y="25"/>
                  </a:lnTo>
                  <a:lnTo>
                    <a:pt x="8" y="24"/>
                  </a:lnTo>
                  <a:lnTo>
                    <a:pt x="5" y="19"/>
                  </a:lnTo>
                  <a:lnTo>
                    <a:pt x="3" y="14"/>
                  </a:lnTo>
                  <a:lnTo>
                    <a:pt x="0" y="14"/>
                  </a:lnTo>
                  <a:lnTo>
                    <a:pt x="0" y="12"/>
                  </a:lnTo>
                  <a:lnTo>
                    <a:pt x="5" y="8"/>
                  </a:lnTo>
                  <a:lnTo>
                    <a:pt x="17" y="8"/>
                  </a:lnTo>
                  <a:lnTo>
                    <a:pt x="3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2" name="Bosnia &amp; Herzegovina">
              <a:extLst>
                <a:ext uri="{FF2B5EF4-FFF2-40B4-BE49-F238E27FC236}">
                  <a16:creationId xmlns:a16="http://schemas.microsoft.com/office/drawing/2014/main" id="{76624958-473A-A133-019B-87ABE1D3E3AE}"/>
                </a:ext>
              </a:extLst>
            </p:cNvPr>
            <p:cNvSpPr>
              <a:spLocks/>
            </p:cNvSpPr>
            <p:nvPr/>
          </p:nvSpPr>
          <p:spPr bwMode="auto">
            <a:xfrm>
              <a:off x="6194485" y="3383904"/>
              <a:ext cx="95775" cy="90353"/>
            </a:xfrm>
            <a:custGeom>
              <a:avLst/>
              <a:gdLst>
                <a:gd name="T0" fmla="*/ 4 w 53"/>
                <a:gd name="T1" fmla="*/ 0 h 50"/>
                <a:gd name="T2" fmla="*/ 6 w 53"/>
                <a:gd name="T3" fmla="*/ 0 h 50"/>
                <a:gd name="T4" fmla="*/ 9 w 53"/>
                <a:gd name="T5" fmla="*/ 4 h 50"/>
                <a:gd name="T6" fmla="*/ 16 w 53"/>
                <a:gd name="T7" fmla="*/ 0 h 50"/>
                <a:gd name="T8" fmla="*/ 21 w 53"/>
                <a:gd name="T9" fmla="*/ 0 h 50"/>
                <a:gd name="T10" fmla="*/ 25 w 53"/>
                <a:gd name="T11" fmla="*/ 1 h 50"/>
                <a:gd name="T12" fmla="*/ 30 w 53"/>
                <a:gd name="T13" fmla="*/ 1 h 50"/>
                <a:gd name="T14" fmla="*/ 32 w 53"/>
                <a:gd name="T15" fmla="*/ 3 h 50"/>
                <a:gd name="T16" fmla="*/ 37 w 53"/>
                <a:gd name="T17" fmla="*/ 4 h 50"/>
                <a:gd name="T18" fmla="*/ 40 w 53"/>
                <a:gd name="T19" fmla="*/ 4 h 50"/>
                <a:gd name="T20" fmla="*/ 44 w 53"/>
                <a:gd name="T21" fmla="*/ 10 h 50"/>
                <a:gd name="T22" fmla="*/ 46 w 53"/>
                <a:gd name="T23" fmla="*/ 9 h 50"/>
                <a:gd name="T24" fmla="*/ 50 w 53"/>
                <a:gd name="T25" fmla="*/ 10 h 50"/>
                <a:gd name="T26" fmla="*/ 52 w 53"/>
                <a:gd name="T27" fmla="*/ 10 h 50"/>
                <a:gd name="T28" fmla="*/ 46 w 53"/>
                <a:gd name="T29" fmla="*/ 19 h 50"/>
                <a:gd name="T30" fmla="*/ 53 w 53"/>
                <a:gd name="T31" fmla="*/ 24 h 50"/>
                <a:gd name="T32" fmla="*/ 53 w 53"/>
                <a:gd name="T33" fmla="*/ 25 h 50"/>
                <a:gd name="T34" fmla="*/ 52 w 53"/>
                <a:gd name="T35" fmla="*/ 27 h 50"/>
                <a:gd name="T36" fmla="*/ 49 w 53"/>
                <a:gd name="T37" fmla="*/ 28 h 50"/>
                <a:gd name="T38" fmla="*/ 52 w 53"/>
                <a:gd name="T39" fmla="*/ 32 h 50"/>
                <a:gd name="T40" fmla="*/ 50 w 53"/>
                <a:gd name="T41" fmla="*/ 32 h 50"/>
                <a:gd name="T42" fmla="*/ 47 w 53"/>
                <a:gd name="T43" fmla="*/ 35 h 50"/>
                <a:gd name="T44" fmla="*/ 44 w 53"/>
                <a:gd name="T45" fmla="*/ 35 h 50"/>
                <a:gd name="T46" fmla="*/ 46 w 53"/>
                <a:gd name="T47" fmla="*/ 37 h 50"/>
                <a:gd name="T48" fmla="*/ 46 w 53"/>
                <a:gd name="T49" fmla="*/ 38 h 50"/>
                <a:gd name="T50" fmla="*/ 44 w 53"/>
                <a:gd name="T51" fmla="*/ 38 h 50"/>
                <a:gd name="T52" fmla="*/ 40 w 53"/>
                <a:gd name="T53" fmla="*/ 35 h 50"/>
                <a:gd name="T54" fmla="*/ 38 w 53"/>
                <a:gd name="T55" fmla="*/ 37 h 50"/>
                <a:gd name="T56" fmla="*/ 41 w 53"/>
                <a:gd name="T57" fmla="*/ 41 h 50"/>
                <a:gd name="T58" fmla="*/ 37 w 53"/>
                <a:gd name="T59" fmla="*/ 44 h 50"/>
                <a:gd name="T60" fmla="*/ 38 w 53"/>
                <a:gd name="T61" fmla="*/ 50 h 50"/>
                <a:gd name="T62" fmla="*/ 37 w 53"/>
                <a:gd name="T63" fmla="*/ 50 h 50"/>
                <a:gd name="T64" fmla="*/ 21 w 53"/>
                <a:gd name="T65" fmla="*/ 37 h 50"/>
                <a:gd name="T66" fmla="*/ 4 w 53"/>
                <a:gd name="T67" fmla="*/ 12 h 50"/>
                <a:gd name="T68" fmla="*/ 0 w 53"/>
                <a:gd name="T69" fmla="*/ 9 h 50"/>
                <a:gd name="T70" fmla="*/ 0 w 53"/>
                <a:gd name="T71" fmla="*/ 7 h 50"/>
                <a:gd name="T72" fmla="*/ 4 w 53"/>
                <a:gd name="T7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50">
                  <a:moveTo>
                    <a:pt x="4" y="0"/>
                  </a:moveTo>
                  <a:lnTo>
                    <a:pt x="6" y="0"/>
                  </a:lnTo>
                  <a:lnTo>
                    <a:pt x="9" y="4"/>
                  </a:lnTo>
                  <a:lnTo>
                    <a:pt x="16" y="0"/>
                  </a:lnTo>
                  <a:lnTo>
                    <a:pt x="21" y="0"/>
                  </a:lnTo>
                  <a:lnTo>
                    <a:pt x="25" y="1"/>
                  </a:lnTo>
                  <a:lnTo>
                    <a:pt x="30" y="1"/>
                  </a:lnTo>
                  <a:lnTo>
                    <a:pt x="32" y="3"/>
                  </a:lnTo>
                  <a:lnTo>
                    <a:pt x="37" y="4"/>
                  </a:lnTo>
                  <a:lnTo>
                    <a:pt x="40" y="4"/>
                  </a:lnTo>
                  <a:lnTo>
                    <a:pt x="44" y="10"/>
                  </a:lnTo>
                  <a:lnTo>
                    <a:pt x="46" y="9"/>
                  </a:lnTo>
                  <a:lnTo>
                    <a:pt x="50" y="10"/>
                  </a:lnTo>
                  <a:lnTo>
                    <a:pt x="52" y="10"/>
                  </a:lnTo>
                  <a:lnTo>
                    <a:pt x="46" y="19"/>
                  </a:lnTo>
                  <a:lnTo>
                    <a:pt x="53" y="24"/>
                  </a:lnTo>
                  <a:lnTo>
                    <a:pt x="53" y="25"/>
                  </a:lnTo>
                  <a:lnTo>
                    <a:pt x="52" y="27"/>
                  </a:lnTo>
                  <a:lnTo>
                    <a:pt x="49" y="28"/>
                  </a:lnTo>
                  <a:lnTo>
                    <a:pt x="52" y="32"/>
                  </a:lnTo>
                  <a:lnTo>
                    <a:pt x="50" y="32"/>
                  </a:lnTo>
                  <a:lnTo>
                    <a:pt x="47" y="35"/>
                  </a:lnTo>
                  <a:lnTo>
                    <a:pt x="44" y="35"/>
                  </a:lnTo>
                  <a:lnTo>
                    <a:pt x="46" y="37"/>
                  </a:lnTo>
                  <a:lnTo>
                    <a:pt x="46" y="38"/>
                  </a:lnTo>
                  <a:lnTo>
                    <a:pt x="44" y="38"/>
                  </a:lnTo>
                  <a:lnTo>
                    <a:pt x="40" y="35"/>
                  </a:lnTo>
                  <a:lnTo>
                    <a:pt x="38" y="37"/>
                  </a:lnTo>
                  <a:lnTo>
                    <a:pt x="41" y="41"/>
                  </a:lnTo>
                  <a:lnTo>
                    <a:pt x="37" y="44"/>
                  </a:lnTo>
                  <a:lnTo>
                    <a:pt x="38" y="50"/>
                  </a:lnTo>
                  <a:lnTo>
                    <a:pt x="37" y="50"/>
                  </a:lnTo>
                  <a:lnTo>
                    <a:pt x="21" y="37"/>
                  </a:lnTo>
                  <a:lnTo>
                    <a:pt x="4" y="12"/>
                  </a:lnTo>
                  <a:lnTo>
                    <a:pt x="0" y="9"/>
                  </a:lnTo>
                  <a:lnTo>
                    <a:pt x="0" y="7"/>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3" name="Serbia">
              <a:extLst>
                <a:ext uri="{FF2B5EF4-FFF2-40B4-BE49-F238E27FC236}">
                  <a16:creationId xmlns:a16="http://schemas.microsoft.com/office/drawing/2014/main" id="{292F9492-32BC-E234-044E-EF3DF66A1BFF}"/>
                </a:ext>
              </a:extLst>
            </p:cNvPr>
            <p:cNvSpPr>
              <a:spLocks/>
            </p:cNvSpPr>
            <p:nvPr/>
          </p:nvSpPr>
          <p:spPr bwMode="auto">
            <a:xfrm>
              <a:off x="6266768" y="3360412"/>
              <a:ext cx="99389" cy="135531"/>
            </a:xfrm>
            <a:custGeom>
              <a:avLst/>
              <a:gdLst>
                <a:gd name="T0" fmla="*/ 13 w 55"/>
                <a:gd name="T1" fmla="*/ 0 h 75"/>
                <a:gd name="T2" fmla="*/ 21 w 55"/>
                <a:gd name="T3" fmla="*/ 0 h 75"/>
                <a:gd name="T4" fmla="*/ 27 w 55"/>
                <a:gd name="T5" fmla="*/ 5 h 75"/>
                <a:gd name="T6" fmla="*/ 32 w 55"/>
                <a:gd name="T7" fmla="*/ 16 h 75"/>
                <a:gd name="T8" fmla="*/ 37 w 55"/>
                <a:gd name="T9" fmla="*/ 17 h 75"/>
                <a:gd name="T10" fmla="*/ 37 w 55"/>
                <a:gd name="T11" fmla="*/ 23 h 75"/>
                <a:gd name="T12" fmla="*/ 47 w 55"/>
                <a:gd name="T13" fmla="*/ 29 h 75"/>
                <a:gd name="T14" fmla="*/ 49 w 55"/>
                <a:gd name="T15" fmla="*/ 26 h 75"/>
                <a:gd name="T16" fmla="*/ 50 w 55"/>
                <a:gd name="T17" fmla="*/ 26 h 75"/>
                <a:gd name="T18" fmla="*/ 50 w 55"/>
                <a:gd name="T19" fmla="*/ 28 h 75"/>
                <a:gd name="T20" fmla="*/ 53 w 55"/>
                <a:gd name="T21" fmla="*/ 29 h 75"/>
                <a:gd name="T22" fmla="*/ 53 w 55"/>
                <a:gd name="T23" fmla="*/ 31 h 75"/>
                <a:gd name="T24" fmla="*/ 52 w 55"/>
                <a:gd name="T25" fmla="*/ 31 h 75"/>
                <a:gd name="T26" fmla="*/ 50 w 55"/>
                <a:gd name="T27" fmla="*/ 32 h 75"/>
                <a:gd name="T28" fmla="*/ 53 w 55"/>
                <a:gd name="T29" fmla="*/ 37 h 75"/>
                <a:gd name="T30" fmla="*/ 55 w 55"/>
                <a:gd name="T31" fmla="*/ 37 h 75"/>
                <a:gd name="T32" fmla="*/ 55 w 55"/>
                <a:gd name="T33" fmla="*/ 38 h 75"/>
                <a:gd name="T34" fmla="*/ 53 w 55"/>
                <a:gd name="T35" fmla="*/ 38 h 75"/>
                <a:gd name="T36" fmla="*/ 50 w 55"/>
                <a:gd name="T37" fmla="*/ 40 h 75"/>
                <a:gd name="T38" fmla="*/ 49 w 55"/>
                <a:gd name="T39" fmla="*/ 44 h 75"/>
                <a:gd name="T40" fmla="*/ 50 w 55"/>
                <a:gd name="T41" fmla="*/ 48 h 75"/>
                <a:gd name="T42" fmla="*/ 55 w 55"/>
                <a:gd name="T43" fmla="*/ 56 h 75"/>
                <a:gd name="T44" fmla="*/ 55 w 55"/>
                <a:gd name="T45" fmla="*/ 57 h 75"/>
                <a:gd name="T46" fmla="*/ 50 w 55"/>
                <a:gd name="T47" fmla="*/ 66 h 75"/>
                <a:gd name="T48" fmla="*/ 50 w 55"/>
                <a:gd name="T49" fmla="*/ 69 h 75"/>
                <a:gd name="T50" fmla="*/ 46 w 55"/>
                <a:gd name="T51" fmla="*/ 69 h 75"/>
                <a:gd name="T52" fmla="*/ 43 w 55"/>
                <a:gd name="T53" fmla="*/ 68 h 75"/>
                <a:gd name="T54" fmla="*/ 35 w 55"/>
                <a:gd name="T55" fmla="*/ 68 h 75"/>
                <a:gd name="T56" fmla="*/ 27 w 55"/>
                <a:gd name="T57" fmla="*/ 75 h 75"/>
                <a:gd name="T58" fmla="*/ 25 w 55"/>
                <a:gd name="T59" fmla="*/ 75 h 75"/>
                <a:gd name="T60" fmla="*/ 25 w 55"/>
                <a:gd name="T61" fmla="*/ 74 h 75"/>
                <a:gd name="T62" fmla="*/ 19 w 55"/>
                <a:gd name="T63" fmla="*/ 68 h 75"/>
                <a:gd name="T64" fmla="*/ 15 w 55"/>
                <a:gd name="T65" fmla="*/ 66 h 75"/>
                <a:gd name="T66" fmla="*/ 15 w 55"/>
                <a:gd name="T67" fmla="*/ 60 h 75"/>
                <a:gd name="T68" fmla="*/ 16 w 55"/>
                <a:gd name="T69" fmla="*/ 60 h 75"/>
                <a:gd name="T70" fmla="*/ 18 w 55"/>
                <a:gd name="T71" fmla="*/ 62 h 75"/>
                <a:gd name="T72" fmla="*/ 19 w 55"/>
                <a:gd name="T73" fmla="*/ 59 h 75"/>
                <a:gd name="T74" fmla="*/ 6 w 55"/>
                <a:gd name="T75" fmla="*/ 50 h 75"/>
                <a:gd name="T76" fmla="*/ 6 w 55"/>
                <a:gd name="T77" fmla="*/ 47 h 75"/>
                <a:gd name="T78" fmla="*/ 7 w 55"/>
                <a:gd name="T79" fmla="*/ 47 h 75"/>
                <a:gd name="T80" fmla="*/ 10 w 55"/>
                <a:gd name="T81" fmla="*/ 45 h 75"/>
                <a:gd name="T82" fmla="*/ 7 w 55"/>
                <a:gd name="T83" fmla="*/ 40 h 75"/>
                <a:gd name="T84" fmla="*/ 12 w 55"/>
                <a:gd name="T85" fmla="*/ 38 h 75"/>
                <a:gd name="T86" fmla="*/ 6 w 55"/>
                <a:gd name="T87" fmla="*/ 34 h 75"/>
                <a:gd name="T88" fmla="*/ 4 w 55"/>
                <a:gd name="T89" fmla="*/ 34 h 75"/>
                <a:gd name="T90" fmla="*/ 4 w 55"/>
                <a:gd name="T91" fmla="*/ 32 h 75"/>
                <a:gd name="T92" fmla="*/ 9 w 55"/>
                <a:gd name="T93" fmla="*/ 25 h 75"/>
                <a:gd name="T94" fmla="*/ 6 w 55"/>
                <a:gd name="T95" fmla="*/ 23 h 75"/>
                <a:gd name="T96" fmla="*/ 6 w 55"/>
                <a:gd name="T97" fmla="*/ 22 h 75"/>
                <a:gd name="T98" fmla="*/ 7 w 55"/>
                <a:gd name="T99" fmla="*/ 19 h 75"/>
                <a:gd name="T100" fmla="*/ 10 w 55"/>
                <a:gd name="T101" fmla="*/ 17 h 75"/>
                <a:gd name="T102" fmla="*/ 3 w 55"/>
                <a:gd name="T103" fmla="*/ 14 h 75"/>
                <a:gd name="T104" fmla="*/ 0 w 55"/>
                <a:gd name="T105" fmla="*/ 4 h 75"/>
                <a:gd name="T106" fmla="*/ 13 w 55"/>
                <a:gd name="T10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75">
                  <a:moveTo>
                    <a:pt x="13" y="0"/>
                  </a:moveTo>
                  <a:lnTo>
                    <a:pt x="21" y="0"/>
                  </a:lnTo>
                  <a:lnTo>
                    <a:pt x="27" y="5"/>
                  </a:lnTo>
                  <a:lnTo>
                    <a:pt x="32" y="16"/>
                  </a:lnTo>
                  <a:lnTo>
                    <a:pt x="37" y="17"/>
                  </a:lnTo>
                  <a:lnTo>
                    <a:pt x="37" y="23"/>
                  </a:lnTo>
                  <a:lnTo>
                    <a:pt x="47" y="29"/>
                  </a:lnTo>
                  <a:lnTo>
                    <a:pt x="49" y="26"/>
                  </a:lnTo>
                  <a:lnTo>
                    <a:pt x="50" y="26"/>
                  </a:lnTo>
                  <a:lnTo>
                    <a:pt x="50" y="28"/>
                  </a:lnTo>
                  <a:lnTo>
                    <a:pt x="53" y="29"/>
                  </a:lnTo>
                  <a:lnTo>
                    <a:pt x="53" y="31"/>
                  </a:lnTo>
                  <a:lnTo>
                    <a:pt x="52" y="31"/>
                  </a:lnTo>
                  <a:lnTo>
                    <a:pt x="50" y="32"/>
                  </a:lnTo>
                  <a:lnTo>
                    <a:pt x="53" y="37"/>
                  </a:lnTo>
                  <a:lnTo>
                    <a:pt x="55" y="37"/>
                  </a:lnTo>
                  <a:lnTo>
                    <a:pt x="55" y="38"/>
                  </a:lnTo>
                  <a:lnTo>
                    <a:pt x="53" y="38"/>
                  </a:lnTo>
                  <a:lnTo>
                    <a:pt x="50" y="40"/>
                  </a:lnTo>
                  <a:lnTo>
                    <a:pt x="49" y="44"/>
                  </a:lnTo>
                  <a:lnTo>
                    <a:pt x="50" y="48"/>
                  </a:lnTo>
                  <a:lnTo>
                    <a:pt x="55" y="56"/>
                  </a:lnTo>
                  <a:lnTo>
                    <a:pt x="55" y="57"/>
                  </a:lnTo>
                  <a:lnTo>
                    <a:pt x="50" y="66"/>
                  </a:lnTo>
                  <a:lnTo>
                    <a:pt x="50" y="69"/>
                  </a:lnTo>
                  <a:lnTo>
                    <a:pt x="46" y="69"/>
                  </a:lnTo>
                  <a:lnTo>
                    <a:pt x="43" y="68"/>
                  </a:lnTo>
                  <a:lnTo>
                    <a:pt x="35" y="68"/>
                  </a:lnTo>
                  <a:lnTo>
                    <a:pt x="27" y="75"/>
                  </a:lnTo>
                  <a:lnTo>
                    <a:pt x="25" y="75"/>
                  </a:lnTo>
                  <a:lnTo>
                    <a:pt x="25" y="74"/>
                  </a:lnTo>
                  <a:lnTo>
                    <a:pt x="19" y="68"/>
                  </a:lnTo>
                  <a:lnTo>
                    <a:pt x="15" y="66"/>
                  </a:lnTo>
                  <a:lnTo>
                    <a:pt x="15" y="60"/>
                  </a:lnTo>
                  <a:lnTo>
                    <a:pt x="16" y="60"/>
                  </a:lnTo>
                  <a:lnTo>
                    <a:pt x="18" y="62"/>
                  </a:lnTo>
                  <a:lnTo>
                    <a:pt x="19" y="59"/>
                  </a:lnTo>
                  <a:lnTo>
                    <a:pt x="6" y="50"/>
                  </a:lnTo>
                  <a:lnTo>
                    <a:pt x="6" y="47"/>
                  </a:lnTo>
                  <a:lnTo>
                    <a:pt x="7" y="47"/>
                  </a:lnTo>
                  <a:lnTo>
                    <a:pt x="10" y="45"/>
                  </a:lnTo>
                  <a:lnTo>
                    <a:pt x="7" y="40"/>
                  </a:lnTo>
                  <a:lnTo>
                    <a:pt x="12" y="38"/>
                  </a:lnTo>
                  <a:lnTo>
                    <a:pt x="6" y="34"/>
                  </a:lnTo>
                  <a:lnTo>
                    <a:pt x="4" y="34"/>
                  </a:lnTo>
                  <a:lnTo>
                    <a:pt x="4" y="32"/>
                  </a:lnTo>
                  <a:lnTo>
                    <a:pt x="9" y="25"/>
                  </a:lnTo>
                  <a:lnTo>
                    <a:pt x="6" y="23"/>
                  </a:lnTo>
                  <a:lnTo>
                    <a:pt x="6" y="22"/>
                  </a:lnTo>
                  <a:lnTo>
                    <a:pt x="7" y="19"/>
                  </a:lnTo>
                  <a:lnTo>
                    <a:pt x="10" y="17"/>
                  </a:lnTo>
                  <a:lnTo>
                    <a:pt x="3" y="14"/>
                  </a:lnTo>
                  <a:lnTo>
                    <a:pt x="0" y="4"/>
                  </a:lnTo>
                  <a:lnTo>
                    <a:pt x="1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4" name="Belarus">
              <a:extLst>
                <a:ext uri="{FF2B5EF4-FFF2-40B4-BE49-F238E27FC236}">
                  <a16:creationId xmlns:a16="http://schemas.microsoft.com/office/drawing/2014/main" id="{8BAA020B-5A09-411F-D0E4-E18D0DE4EAED}"/>
                </a:ext>
              </a:extLst>
            </p:cNvPr>
            <p:cNvSpPr>
              <a:spLocks/>
            </p:cNvSpPr>
            <p:nvPr/>
          </p:nvSpPr>
          <p:spPr bwMode="auto">
            <a:xfrm>
              <a:off x="6373385" y="2984542"/>
              <a:ext cx="231304" cy="193357"/>
            </a:xfrm>
            <a:custGeom>
              <a:avLst/>
              <a:gdLst>
                <a:gd name="T0" fmla="*/ 68 w 128"/>
                <a:gd name="T1" fmla="*/ 0 h 107"/>
                <a:gd name="T2" fmla="*/ 82 w 128"/>
                <a:gd name="T3" fmla="*/ 3 h 107"/>
                <a:gd name="T4" fmla="*/ 85 w 128"/>
                <a:gd name="T5" fmla="*/ 6 h 107"/>
                <a:gd name="T6" fmla="*/ 94 w 128"/>
                <a:gd name="T7" fmla="*/ 6 h 107"/>
                <a:gd name="T8" fmla="*/ 104 w 128"/>
                <a:gd name="T9" fmla="*/ 13 h 107"/>
                <a:gd name="T10" fmla="*/ 105 w 128"/>
                <a:gd name="T11" fmla="*/ 22 h 107"/>
                <a:gd name="T12" fmla="*/ 102 w 128"/>
                <a:gd name="T13" fmla="*/ 31 h 107"/>
                <a:gd name="T14" fmla="*/ 114 w 128"/>
                <a:gd name="T15" fmla="*/ 47 h 107"/>
                <a:gd name="T16" fmla="*/ 120 w 128"/>
                <a:gd name="T17" fmla="*/ 52 h 107"/>
                <a:gd name="T18" fmla="*/ 125 w 128"/>
                <a:gd name="T19" fmla="*/ 56 h 107"/>
                <a:gd name="T20" fmla="*/ 128 w 128"/>
                <a:gd name="T21" fmla="*/ 62 h 107"/>
                <a:gd name="T22" fmla="*/ 119 w 128"/>
                <a:gd name="T23" fmla="*/ 68 h 107"/>
                <a:gd name="T24" fmla="*/ 108 w 128"/>
                <a:gd name="T25" fmla="*/ 68 h 107"/>
                <a:gd name="T26" fmla="*/ 114 w 128"/>
                <a:gd name="T27" fmla="*/ 89 h 107"/>
                <a:gd name="T28" fmla="*/ 104 w 128"/>
                <a:gd name="T29" fmla="*/ 92 h 107"/>
                <a:gd name="T30" fmla="*/ 99 w 128"/>
                <a:gd name="T31" fmla="*/ 104 h 107"/>
                <a:gd name="T32" fmla="*/ 97 w 128"/>
                <a:gd name="T33" fmla="*/ 107 h 107"/>
                <a:gd name="T34" fmla="*/ 91 w 128"/>
                <a:gd name="T35" fmla="*/ 105 h 107"/>
                <a:gd name="T36" fmla="*/ 83 w 128"/>
                <a:gd name="T37" fmla="*/ 107 h 107"/>
                <a:gd name="T38" fmla="*/ 76 w 128"/>
                <a:gd name="T39" fmla="*/ 105 h 107"/>
                <a:gd name="T40" fmla="*/ 67 w 128"/>
                <a:gd name="T41" fmla="*/ 102 h 107"/>
                <a:gd name="T42" fmla="*/ 59 w 128"/>
                <a:gd name="T43" fmla="*/ 105 h 107"/>
                <a:gd name="T44" fmla="*/ 55 w 128"/>
                <a:gd name="T45" fmla="*/ 102 h 107"/>
                <a:gd name="T46" fmla="*/ 51 w 128"/>
                <a:gd name="T47" fmla="*/ 98 h 107"/>
                <a:gd name="T48" fmla="*/ 19 w 128"/>
                <a:gd name="T49" fmla="*/ 95 h 107"/>
                <a:gd name="T50" fmla="*/ 3 w 128"/>
                <a:gd name="T51" fmla="*/ 101 h 107"/>
                <a:gd name="T52" fmla="*/ 0 w 128"/>
                <a:gd name="T53" fmla="*/ 86 h 107"/>
                <a:gd name="T54" fmla="*/ 5 w 128"/>
                <a:gd name="T55" fmla="*/ 50 h 107"/>
                <a:gd name="T56" fmla="*/ 22 w 128"/>
                <a:gd name="T57" fmla="*/ 46 h 107"/>
                <a:gd name="T58" fmla="*/ 30 w 128"/>
                <a:gd name="T59" fmla="*/ 41 h 107"/>
                <a:gd name="T60" fmla="*/ 34 w 128"/>
                <a:gd name="T61" fmla="*/ 44 h 107"/>
                <a:gd name="T62" fmla="*/ 36 w 128"/>
                <a:gd name="T63" fmla="*/ 27 h 107"/>
                <a:gd name="T64" fmla="*/ 48 w 128"/>
                <a:gd name="T65" fmla="*/ 19 h 107"/>
                <a:gd name="T66" fmla="*/ 43 w 128"/>
                <a:gd name="T67" fmla="*/ 15 h 107"/>
                <a:gd name="T68" fmla="*/ 52 w 128"/>
                <a:gd name="T69" fmla="*/ 7 h 107"/>
                <a:gd name="T70" fmla="*/ 64 w 128"/>
                <a:gd name="T7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107">
                  <a:moveTo>
                    <a:pt x="64" y="0"/>
                  </a:moveTo>
                  <a:lnTo>
                    <a:pt x="68" y="0"/>
                  </a:lnTo>
                  <a:lnTo>
                    <a:pt x="68" y="1"/>
                  </a:lnTo>
                  <a:lnTo>
                    <a:pt x="82" y="3"/>
                  </a:lnTo>
                  <a:lnTo>
                    <a:pt x="85" y="4"/>
                  </a:lnTo>
                  <a:lnTo>
                    <a:pt x="85" y="6"/>
                  </a:lnTo>
                  <a:lnTo>
                    <a:pt x="83" y="9"/>
                  </a:lnTo>
                  <a:lnTo>
                    <a:pt x="94" y="6"/>
                  </a:lnTo>
                  <a:lnTo>
                    <a:pt x="104" y="12"/>
                  </a:lnTo>
                  <a:lnTo>
                    <a:pt x="104" y="13"/>
                  </a:lnTo>
                  <a:lnTo>
                    <a:pt x="102" y="19"/>
                  </a:lnTo>
                  <a:lnTo>
                    <a:pt x="105" y="22"/>
                  </a:lnTo>
                  <a:lnTo>
                    <a:pt x="105" y="24"/>
                  </a:lnTo>
                  <a:lnTo>
                    <a:pt x="102" y="31"/>
                  </a:lnTo>
                  <a:lnTo>
                    <a:pt x="110" y="43"/>
                  </a:lnTo>
                  <a:lnTo>
                    <a:pt x="114" y="47"/>
                  </a:lnTo>
                  <a:lnTo>
                    <a:pt x="116" y="52"/>
                  </a:lnTo>
                  <a:lnTo>
                    <a:pt x="120" y="52"/>
                  </a:lnTo>
                  <a:lnTo>
                    <a:pt x="125" y="53"/>
                  </a:lnTo>
                  <a:lnTo>
                    <a:pt x="125" y="56"/>
                  </a:lnTo>
                  <a:lnTo>
                    <a:pt x="128" y="58"/>
                  </a:lnTo>
                  <a:lnTo>
                    <a:pt x="128" y="62"/>
                  </a:lnTo>
                  <a:lnTo>
                    <a:pt x="120" y="68"/>
                  </a:lnTo>
                  <a:lnTo>
                    <a:pt x="119" y="68"/>
                  </a:lnTo>
                  <a:lnTo>
                    <a:pt x="111" y="65"/>
                  </a:lnTo>
                  <a:lnTo>
                    <a:pt x="108" y="68"/>
                  </a:lnTo>
                  <a:lnTo>
                    <a:pt x="111" y="71"/>
                  </a:lnTo>
                  <a:lnTo>
                    <a:pt x="114" y="89"/>
                  </a:lnTo>
                  <a:lnTo>
                    <a:pt x="114" y="90"/>
                  </a:lnTo>
                  <a:lnTo>
                    <a:pt x="104" y="92"/>
                  </a:lnTo>
                  <a:lnTo>
                    <a:pt x="101" y="95"/>
                  </a:lnTo>
                  <a:lnTo>
                    <a:pt x="99" y="104"/>
                  </a:lnTo>
                  <a:lnTo>
                    <a:pt x="99" y="105"/>
                  </a:lnTo>
                  <a:lnTo>
                    <a:pt x="97" y="107"/>
                  </a:lnTo>
                  <a:lnTo>
                    <a:pt x="94" y="105"/>
                  </a:lnTo>
                  <a:lnTo>
                    <a:pt x="91" y="105"/>
                  </a:lnTo>
                  <a:lnTo>
                    <a:pt x="88" y="107"/>
                  </a:lnTo>
                  <a:lnTo>
                    <a:pt x="83" y="107"/>
                  </a:lnTo>
                  <a:lnTo>
                    <a:pt x="79" y="101"/>
                  </a:lnTo>
                  <a:lnTo>
                    <a:pt x="76" y="105"/>
                  </a:lnTo>
                  <a:lnTo>
                    <a:pt x="74" y="105"/>
                  </a:lnTo>
                  <a:lnTo>
                    <a:pt x="67" y="102"/>
                  </a:lnTo>
                  <a:lnTo>
                    <a:pt x="61" y="105"/>
                  </a:lnTo>
                  <a:lnTo>
                    <a:pt x="59" y="105"/>
                  </a:lnTo>
                  <a:lnTo>
                    <a:pt x="58" y="102"/>
                  </a:lnTo>
                  <a:lnTo>
                    <a:pt x="55" y="102"/>
                  </a:lnTo>
                  <a:lnTo>
                    <a:pt x="55" y="101"/>
                  </a:lnTo>
                  <a:lnTo>
                    <a:pt x="51" y="98"/>
                  </a:lnTo>
                  <a:lnTo>
                    <a:pt x="36" y="93"/>
                  </a:lnTo>
                  <a:lnTo>
                    <a:pt x="19" y="95"/>
                  </a:lnTo>
                  <a:lnTo>
                    <a:pt x="16" y="98"/>
                  </a:lnTo>
                  <a:lnTo>
                    <a:pt x="3" y="101"/>
                  </a:lnTo>
                  <a:lnTo>
                    <a:pt x="3" y="92"/>
                  </a:lnTo>
                  <a:lnTo>
                    <a:pt x="0" y="86"/>
                  </a:lnTo>
                  <a:lnTo>
                    <a:pt x="8" y="76"/>
                  </a:lnTo>
                  <a:lnTo>
                    <a:pt x="5" y="50"/>
                  </a:lnTo>
                  <a:lnTo>
                    <a:pt x="22" y="49"/>
                  </a:lnTo>
                  <a:lnTo>
                    <a:pt x="22" y="46"/>
                  </a:lnTo>
                  <a:lnTo>
                    <a:pt x="28" y="41"/>
                  </a:lnTo>
                  <a:lnTo>
                    <a:pt x="30" y="41"/>
                  </a:lnTo>
                  <a:lnTo>
                    <a:pt x="34" y="46"/>
                  </a:lnTo>
                  <a:lnTo>
                    <a:pt x="34" y="44"/>
                  </a:lnTo>
                  <a:lnTo>
                    <a:pt x="33" y="40"/>
                  </a:lnTo>
                  <a:lnTo>
                    <a:pt x="36" y="27"/>
                  </a:lnTo>
                  <a:lnTo>
                    <a:pt x="46" y="24"/>
                  </a:lnTo>
                  <a:lnTo>
                    <a:pt x="48" y="19"/>
                  </a:lnTo>
                  <a:lnTo>
                    <a:pt x="43" y="19"/>
                  </a:lnTo>
                  <a:lnTo>
                    <a:pt x="43" y="15"/>
                  </a:lnTo>
                  <a:lnTo>
                    <a:pt x="45" y="15"/>
                  </a:lnTo>
                  <a:lnTo>
                    <a:pt x="52" y="7"/>
                  </a:lnTo>
                  <a:lnTo>
                    <a:pt x="58" y="7"/>
                  </a:lnTo>
                  <a:lnTo>
                    <a:pt x="6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5" name="Moldova">
              <a:extLst>
                <a:ext uri="{FF2B5EF4-FFF2-40B4-BE49-F238E27FC236}">
                  <a16:creationId xmlns:a16="http://schemas.microsoft.com/office/drawing/2014/main" id="{EF91E965-5227-E328-EA23-FBDEE9F2ABB7}"/>
                </a:ext>
              </a:extLst>
            </p:cNvPr>
            <p:cNvSpPr>
              <a:spLocks/>
            </p:cNvSpPr>
            <p:nvPr/>
          </p:nvSpPr>
          <p:spPr bwMode="auto">
            <a:xfrm>
              <a:off x="6456509" y="3279094"/>
              <a:ext cx="81319" cy="106617"/>
            </a:xfrm>
            <a:custGeom>
              <a:avLst/>
              <a:gdLst>
                <a:gd name="T0" fmla="*/ 11 w 45"/>
                <a:gd name="T1" fmla="*/ 0 h 59"/>
                <a:gd name="T2" fmla="*/ 22 w 45"/>
                <a:gd name="T3" fmla="*/ 6 h 59"/>
                <a:gd name="T4" fmla="*/ 27 w 45"/>
                <a:gd name="T5" fmla="*/ 6 h 59"/>
                <a:gd name="T6" fmla="*/ 34 w 45"/>
                <a:gd name="T7" fmla="*/ 9 h 59"/>
                <a:gd name="T8" fmla="*/ 34 w 45"/>
                <a:gd name="T9" fmla="*/ 18 h 59"/>
                <a:gd name="T10" fmla="*/ 39 w 45"/>
                <a:gd name="T11" fmla="*/ 21 h 59"/>
                <a:gd name="T12" fmla="*/ 42 w 45"/>
                <a:gd name="T13" fmla="*/ 30 h 59"/>
                <a:gd name="T14" fmla="*/ 45 w 45"/>
                <a:gd name="T15" fmla="*/ 33 h 59"/>
                <a:gd name="T16" fmla="*/ 45 w 45"/>
                <a:gd name="T17" fmla="*/ 40 h 59"/>
                <a:gd name="T18" fmla="*/ 34 w 45"/>
                <a:gd name="T19" fmla="*/ 40 h 59"/>
                <a:gd name="T20" fmla="*/ 31 w 45"/>
                <a:gd name="T21" fmla="*/ 48 h 59"/>
                <a:gd name="T22" fmla="*/ 27 w 45"/>
                <a:gd name="T23" fmla="*/ 53 h 59"/>
                <a:gd name="T24" fmla="*/ 25 w 45"/>
                <a:gd name="T25" fmla="*/ 56 h 59"/>
                <a:gd name="T26" fmla="*/ 25 w 45"/>
                <a:gd name="T27" fmla="*/ 58 h 59"/>
                <a:gd name="T28" fmla="*/ 19 w 45"/>
                <a:gd name="T29" fmla="*/ 59 h 59"/>
                <a:gd name="T30" fmla="*/ 19 w 45"/>
                <a:gd name="T31" fmla="*/ 58 h 59"/>
                <a:gd name="T32" fmla="*/ 16 w 45"/>
                <a:gd name="T33" fmla="*/ 33 h 59"/>
                <a:gd name="T34" fmla="*/ 8 w 45"/>
                <a:gd name="T35" fmla="*/ 13 h 59"/>
                <a:gd name="T36" fmla="*/ 0 w 45"/>
                <a:gd name="T37" fmla="*/ 6 h 59"/>
                <a:gd name="T38" fmla="*/ 0 w 45"/>
                <a:gd name="T39" fmla="*/ 5 h 59"/>
                <a:gd name="T40" fmla="*/ 3 w 45"/>
                <a:gd name="T41" fmla="*/ 2 h 59"/>
                <a:gd name="T42" fmla="*/ 5 w 45"/>
                <a:gd name="T43" fmla="*/ 2 h 59"/>
                <a:gd name="T44" fmla="*/ 11 w 45"/>
                <a:gd name="T4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59">
                  <a:moveTo>
                    <a:pt x="11" y="0"/>
                  </a:moveTo>
                  <a:lnTo>
                    <a:pt x="22" y="6"/>
                  </a:lnTo>
                  <a:lnTo>
                    <a:pt x="27" y="6"/>
                  </a:lnTo>
                  <a:lnTo>
                    <a:pt x="34" y="9"/>
                  </a:lnTo>
                  <a:lnTo>
                    <a:pt x="34" y="18"/>
                  </a:lnTo>
                  <a:lnTo>
                    <a:pt x="39" y="21"/>
                  </a:lnTo>
                  <a:lnTo>
                    <a:pt x="42" y="30"/>
                  </a:lnTo>
                  <a:lnTo>
                    <a:pt x="45" y="33"/>
                  </a:lnTo>
                  <a:lnTo>
                    <a:pt x="45" y="40"/>
                  </a:lnTo>
                  <a:lnTo>
                    <a:pt x="34" y="40"/>
                  </a:lnTo>
                  <a:lnTo>
                    <a:pt x="31" y="48"/>
                  </a:lnTo>
                  <a:lnTo>
                    <a:pt x="27" y="53"/>
                  </a:lnTo>
                  <a:lnTo>
                    <a:pt x="25" y="56"/>
                  </a:lnTo>
                  <a:lnTo>
                    <a:pt x="25" y="58"/>
                  </a:lnTo>
                  <a:lnTo>
                    <a:pt x="19" y="59"/>
                  </a:lnTo>
                  <a:lnTo>
                    <a:pt x="19" y="58"/>
                  </a:lnTo>
                  <a:lnTo>
                    <a:pt x="16" y="33"/>
                  </a:lnTo>
                  <a:lnTo>
                    <a:pt x="8" y="13"/>
                  </a:lnTo>
                  <a:lnTo>
                    <a:pt x="0" y="6"/>
                  </a:lnTo>
                  <a:lnTo>
                    <a:pt x="0" y="5"/>
                  </a:lnTo>
                  <a:lnTo>
                    <a:pt x="3" y="2"/>
                  </a:lnTo>
                  <a:lnTo>
                    <a:pt x="5" y="2"/>
                  </a:lnTo>
                  <a:lnTo>
                    <a:pt x="1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6" name="Ukraine">
              <a:extLst>
                <a:ext uri="{FF2B5EF4-FFF2-40B4-BE49-F238E27FC236}">
                  <a16:creationId xmlns:a16="http://schemas.microsoft.com/office/drawing/2014/main" id="{5E3FA3D6-1E1F-6C73-F8BF-461EEA85EBCA}"/>
                </a:ext>
              </a:extLst>
            </p:cNvPr>
            <p:cNvSpPr>
              <a:spLocks noEditPoints="1"/>
            </p:cNvSpPr>
            <p:nvPr/>
          </p:nvSpPr>
          <p:spPr bwMode="auto">
            <a:xfrm>
              <a:off x="6346278" y="3134530"/>
              <a:ext cx="431888" cy="287324"/>
            </a:xfrm>
            <a:custGeom>
              <a:avLst/>
              <a:gdLst>
                <a:gd name="T0" fmla="*/ 156 w 239"/>
                <a:gd name="T1" fmla="*/ 126 h 159"/>
                <a:gd name="T2" fmla="*/ 159 w 239"/>
                <a:gd name="T3" fmla="*/ 125 h 159"/>
                <a:gd name="T4" fmla="*/ 156 w 239"/>
                <a:gd name="T5" fmla="*/ 1 h 159"/>
                <a:gd name="T6" fmla="*/ 160 w 239"/>
                <a:gd name="T7" fmla="*/ 16 h 159"/>
                <a:gd name="T8" fmla="*/ 171 w 239"/>
                <a:gd name="T9" fmla="*/ 24 h 159"/>
                <a:gd name="T10" fmla="*/ 177 w 239"/>
                <a:gd name="T11" fmla="*/ 39 h 159"/>
                <a:gd name="T12" fmla="*/ 189 w 239"/>
                <a:gd name="T13" fmla="*/ 43 h 159"/>
                <a:gd name="T14" fmla="*/ 202 w 239"/>
                <a:gd name="T15" fmla="*/ 40 h 159"/>
                <a:gd name="T16" fmla="*/ 221 w 239"/>
                <a:gd name="T17" fmla="*/ 52 h 159"/>
                <a:gd name="T18" fmla="*/ 239 w 239"/>
                <a:gd name="T19" fmla="*/ 58 h 159"/>
                <a:gd name="T20" fmla="*/ 239 w 239"/>
                <a:gd name="T21" fmla="*/ 65 h 159"/>
                <a:gd name="T22" fmla="*/ 235 w 239"/>
                <a:gd name="T23" fmla="*/ 70 h 159"/>
                <a:gd name="T24" fmla="*/ 233 w 239"/>
                <a:gd name="T25" fmla="*/ 76 h 159"/>
                <a:gd name="T26" fmla="*/ 233 w 239"/>
                <a:gd name="T27" fmla="*/ 93 h 159"/>
                <a:gd name="T28" fmla="*/ 223 w 239"/>
                <a:gd name="T29" fmla="*/ 92 h 159"/>
                <a:gd name="T30" fmla="*/ 214 w 239"/>
                <a:gd name="T31" fmla="*/ 101 h 159"/>
                <a:gd name="T32" fmla="*/ 175 w 239"/>
                <a:gd name="T33" fmla="*/ 125 h 159"/>
                <a:gd name="T34" fmla="*/ 172 w 239"/>
                <a:gd name="T35" fmla="*/ 122 h 159"/>
                <a:gd name="T36" fmla="*/ 168 w 239"/>
                <a:gd name="T37" fmla="*/ 130 h 159"/>
                <a:gd name="T38" fmla="*/ 165 w 239"/>
                <a:gd name="T39" fmla="*/ 129 h 159"/>
                <a:gd name="T40" fmla="*/ 168 w 239"/>
                <a:gd name="T41" fmla="*/ 135 h 159"/>
                <a:gd name="T42" fmla="*/ 175 w 239"/>
                <a:gd name="T43" fmla="*/ 141 h 159"/>
                <a:gd name="T44" fmla="*/ 186 w 239"/>
                <a:gd name="T45" fmla="*/ 138 h 159"/>
                <a:gd name="T46" fmla="*/ 190 w 239"/>
                <a:gd name="T47" fmla="*/ 147 h 159"/>
                <a:gd name="T48" fmla="*/ 177 w 239"/>
                <a:gd name="T49" fmla="*/ 145 h 159"/>
                <a:gd name="T50" fmla="*/ 149 w 239"/>
                <a:gd name="T51" fmla="*/ 145 h 159"/>
                <a:gd name="T52" fmla="*/ 153 w 239"/>
                <a:gd name="T53" fmla="*/ 130 h 159"/>
                <a:gd name="T54" fmla="*/ 128 w 239"/>
                <a:gd name="T55" fmla="*/ 125 h 159"/>
                <a:gd name="T56" fmla="*/ 125 w 239"/>
                <a:gd name="T57" fmla="*/ 119 h 159"/>
                <a:gd name="T58" fmla="*/ 114 w 239"/>
                <a:gd name="T59" fmla="*/ 120 h 159"/>
                <a:gd name="T60" fmla="*/ 110 w 239"/>
                <a:gd name="T61" fmla="*/ 129 h 159"/>
                <a:gd name="T62" fmla="*/ 100 w 239"/>
                <a:gd name="T63" fmla="*/ 139 h 159"/>
                <a:gd name="T64" fmla="*/ 88 w 239"/>
                <a:gd name="T65" fmla="*/ 141 h 159"/>
                <a:gd name="T66" fmla="*/ 80 w 239"/>
                <a:gd name="T67" fmla="*/ 139 h 159"/>
                <a:gd name="T68" fmla="*/ 86 w 239"/>
                <a:gd name="T69" fmla="*/ 132 h 159"/>
                <a:gd name="T70" fmla="*/ 94 w 239"/>
                <a:gd name="T71" fmla="*/ 119 h 159"/>
                <a:gd name="T72" fmla="*/ 101 w 239"/>
                <a:gd name="T73" fmla="*/ 110 h 159"/>
                <a:gd name="T74" fmla="*/ 94 w 239"/>
                <a:gd name="T75" fmla="*/ 90 h 159"/>
                <a:gd name="T76" fmla="*/ 72 w 239"/>
                <a:gd name="T77" fmla="*/ 82 h 159"/>
                <a:gd name="T78" fmla="*/ 39 w 239"/>
                <a:gd name="T79" fmla="*/ 95 h 159"/>
                <a:gd name="T80" fmla="*/ 33 w 239"/>
                <a:gd name="T81" fmla="*/ 90 h 159"/>
                <a:gd name="T82" fmla="*/ 0 w 239"/>
                <a:gd name="T83" fmla="*/ 82 h 159"/>
                <a:gd name="T84" fmla="*/ 8 w 239"/>
                <a:gd name="T85" fmla="*/ 62 h 159"/>
                <a:gd name="T86" fmla="*/ 18 w 239"/>
                <a:gd name="T87" fmla="*/ 18 h 159"/>
                <a:gd name="T88" fmla="*/ 34 w 239"/>
                <a:gd name="T89" fmla="*/ 10 h 159"/>
                <a:gd name="T90" fmla="*/ 70 w 239"/>
                <a:gd name="T91" fmla="*/ 18 h 159"/>
                <a:gd name="T92" fmla="*/ 82 w 239"/>
                <a:gd name="T93" fmla="*/ 18 h 159"/>
                <a:gd name="T94" fmla="*/ 95 w 239"/>
                <a:gd name="T95" fmla="*/ 16 h 159"/>
                <a:gd name="T96" fmla="*/ 106 w 239"/>
                <a:gd name="T97" fmla="*/ 21 h 159"/>
                <a:gd name="T98" fmla="*/ 113 w 239"/>
                <a:gd name="T99" fmla="*/ 21 h 159"/>
                <a:gd name="T100" fmla="*/ 122 w 239"/>
                <a:gd name="T101" fmla="*/ 7 h 159"/>
                <a:gd name="T102" fmla="*/ 132 w 239"/>
                <a:gd name="T103" fmla="*/ 7 h 159"/>
                <a:gd name="T104" fmla="*/ 149 w 239"/>
                <a:gd name="T105"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9" h="159">
                  <a:moveTo>
                    <a:pt x="159" y="125"/>
                  </a:moveTo>
                  <a:lnTo>
                    <a:pt x="159" y="126"/>
                  </a:lnTo>
                  <a:lnTo>
                    <a:pt x="156" y="126"/>
                  </a:lnTo>
                  <a:lnTo>
                    <a:pt x="159" y="130"/>
                  </a:lnTo>
                  <a:lnTo>
                    <a:pt x="162" y="129"/>
                  </a:lnTo>
                  <a:lnTo>
                    <a:pt x="159" y="125"/>
                  </a:lnTo>
                  <a:close/>
                  <a:moveTo>
                    <a:pt x="149" y="0"/>
                  </a:moveTo>
                  <a:lnTo>
                    <a:pt x="155" y="0"/>
                  </a:lnTo>
                  <a:lnTo>
                    <a:pt x="156" y="1"/>
                  </a:lnTo>
                  <a:lnTo>
                    <a:pt x="163" y="12"/>
                  </a:lnTo>
                  <a:lnTo>
                    <a:pt x="163" y="15"/>
                  </a:lnTo>
                  <a:lnTo>
                    <a:pt x="160" y="16"/>
                  </a:lnTo>
                  <a:lnTo>
                    <a:pt x="162" y="22"/>
                  </a:lnTo>
                  <a:lnTo>
                    <a:pt x="168" y="25"/>
                  </a:lnTo>
                  <a:lnTo>
                    <a:pt x="171" y="24"/>
                  </a:lnTo>
                  <a:lnTo>
                    <a:pt x="172" y="24"/>
                  </a:lnTo>
                  <a:lnTo>
                    <a:pt x="177" y="28"/>
                  </a:lnTo>
                  <a:lnTo>
                    <a:pt x="177" y="39"/>
                  </a:lnTo>
                  <a:lnTo>
                    <a:pt x="180" y="40"/>
                  </a:lnTo>
                  <a:lnTo>
                    <a:pt x="187" y="40"/>
                  </a:lnTo>
                  <a:lnTo>
                    <a:pt x="189" y="43"/>
                  </a:lnTo>
                  <a:lnTo>
                    <a:pt x="192" y="43"/>
                  </a:lnTo>
                  <a:lnTo>
                    <a:pt x="200" y="40"/>
                  </a:lnTo>
                  <a:lnTo>
                    <a:pt x="202" y="40"/>
                  </a:lnTo>
                  <a:lnTo>
                    <a:pt x="211" y="49"/>
                  </a:lnTo>
                  <a:lnTo>
                    <a:pt x="215" y="49"/>
                  </a:lnTo>
                  <a:lnTo>
                    <a:pt x="221" y="52"/>
                  </a:lnTo>
                  <a:lnTo>
                    <a:pt x="224" y="52"/>
                  </a:lnTo>
                  <a:lnTo>
                    <a:pt x="238" y="58"/>
                  </a:lnTo>
                  <a:lnTo>
                    <a:pt x="239" y="58"/>
                  </a:lnTo>
                  <a:lnTo>
                    <a:pt x="239" y="59"/>
                  </a:lnTo>
                  <a:lnTo>
                    <a:pt x="238" y="59"/>
                  </a:lnTo>
                  <a:lnTo>
                    <a:pt x="239" y="65"/>
                  </a:lnTo>
                  <a:lnTo>
                    <a:pt x="238" y="68"/>
                  </a:lnTo>
                  <a:lnTo>
                    <a:pt x="238" y="70"/>
                  </a:lnTo>
                  <a:lnTo>
                    <a:pt x="235" y="70"/>
                  </a:lnTo>
                  <a:lnTo>
                    <a:pt x="238" y="73"/>
                  </a:lnTo>
                  <a:lnTo>
                    <a:pt x="238" y="74"/>
                  </a:lnTo>
                  <a:lnTo>
                    <a:pt x="233" y="76"/>
                  </a:lnTo>
                  <a:lnTo>
                    <a:pt x="233" y="83"/>
                  </a:lnTo>
                  <a:lnTo>
                    <a:pt x="236" y="83"/>
                  </a:lnTo>
                  <a:lnTo>
                    <a:pt x="233" y="93"/>
                  </a:lnTo>
                  <a:lnTo>
                    <a:pt x="233" y="95"/>
                  </a:lnTo>
                  <a:lnTo>
                    <a:pt x="226" y="95"/>
                  </a:lnTo>
                  <a:lnTo>
                    <a:pt x="223" y="92"/>
                  </a:lnTo>
                  <a:lnTo>
                    <a:pt x="218" y="96"/>
                  </a:lnTo>
                  <a:lnTo>
                    <a:pt x="215" y="98"/>
                  </a:lnTo>
                  <a:lnTo>
                    <a:pt x="214" y="101"/>
                  </a:lnTo>
                  <a:lnTo>
                    <a:pt x="214" y="108"/>
                  </a:lnTo>
                  <a:lnTo>
                    <a:pt x="180" y="119"/>
                  </a:lnTo>
                  <a:lnTo>
                    <a:pt x="175" y="125"/>
                  </a:lnTo>
                  <a:lnTo>
                    <a:pt x="174" y="125"/>
                  </a:lnTo>
                  <a:lnTo>
                    <a:pt x="174" y="123"/>
                  </a:lnTo>
                  <a:lnTo>
                    <a:pt x="172" y="122"/>
                  </a:lnTo>
                  <a:lnTo>
                    <a:pt x="169" y="126"/>
                  </a:lnTo>
                  <a:lnTo>
                    <a:pt x="169" y="130"/>
                  </a:lnTo>
                  <a:lnTo>
                    <a:pt x="168" y="130"/>
                  </a:lnTo>
                  <a:lnTo>
                    <a:pt x="165" y="128"/>
                  </a:lnTo>
                  <a:lnTo>
                    <a:pt x="163" y="129"/>
                  </a:lnTo>
                  <a:lnTo>
                    <a:pt x="165" y="129"/>
                  </a:lnTo>
                  <a:lnTo>
                    <a:pt x="165" y="130"/>
                  </a:lnTo>
                  <a:lnTo>
                    <a:pt x="163" y="133"/>
                  </a:lnTo>
                  <a:lnTo>
                    <a:pt x="168" y="135"/>
                  </a:lnTo>
                  <a:lnTo>
                    <a:pt x="169" y="135"/>
                  </a:lnTo>
                  <a:lnTo>
                    <a:pt x="171" y="141"/>
                  </a:lnTo>
                  <a:lnTo>
                    <a:pt x="175" y="141"/>
                  </a:lnTo>
                  <a:lnTo>
                    <a:pt x="178" y="139"/>
                  </a:lnTo>
                  <a:lnTo>
                    <a:pt x="183" y="139"/>
                  </a:lnTo>
                  <a:lnTo>
                    <a:pt x="186" y="138"/>
                  </a:lnTo>
                  <a:lnTo>
                    <a:pt x="192" y="138"/>
                  </a:lnTo>
                  <a:lnTo>
                    <a:pt x="192" y="139"/>
                  </a:lnTo>
                  <a:lnTo>
                    <a:pt x="190" y="147"/>
                  </a:lnTo>
                  <a:lnTo>
                    <a:pt x="186" y="147"/>
                  </a:lnTo>
                  <a:lnTo>
                    <a:pt x="183" y="145"/>
                  </a:lnTo>
                  <a:lnTo>
                    <a:pt x="177" y="145"/>
                  </a:lnTo>
                  <a:lnTo>
                    <a:pt x="156" y="159"/>
                  </a:lnTo>
                  <a:lnTo>
                    <a:pt x="149" y="157"/>
                  </a:lnTo>
                  <a:lnTo>
                    <a:pt x="149" y="145"/>
                  </a:lnTo>
                  <a:lnTo>
                    <a:pt x="137" y="141"/>
                  </a:lnTo>
                  <a:lnTo>
                    <a:pt x="137" y="139"/>
                  </a:lnTo>
                  <a:lnTo>
                    <a:pt x="153" y="130"/>
                  </a:lnTo>
                  <a:lnTo>
                    <a:pt x="152" y="129"/>
                  </a:lnTo>
                  <a:lnTo>
                    <a:pt x="128" y="126"/>
                  </a:lnTo>
                  <a:lnTo>
                    <a:pt x="128" y="125"/>
                  </a:lnTo>
                  <a:lnTo>
                    <a:pt x="129" y="123"/>
                  </a:lnTo>
                  <a:lnTo>
                    <a:pt x="125" y="120"/>
                  </a:lnTo>
                  <a:lnTo>
                    <a:pt x="125" y="119"/>
                  </a:lnTo>
                  <a:lnTo>
                    <a:pt x="132" y="119"/>
                  </a:lnTo>
                  <a:lnTo>
                    <a:pt x="129" y="116"/>
                  </a:lnTo>
                  <a:lnTo>
                    <a:pt x="114" y="120"/>
                  </a:lnTo>
                  <a:lnTo>
                    <a:pt x="112" y="126"/>
                  </a:lnTo>
                  <a:lnTo>
                    <a:pt x="109" y="125"/>
                  </a:lnTo>
                  <a:lnTo>
                    <a:pt x="110" y="129"/>
                  </a:lnTo>
                  <a:lnTo>
                    <a:pt x="101" y="136"/>
                  </a:lnTo>
                  <a:lnTo>
                    <a:pt x="100" y="135"/>
                  </a:lnTo>
                  <a:lnTo>
                    <a:pt x="100" y="139"/>
                  </a:lnTo>
                  <a:lnTo>
                    <a:pt x="97" y="139"/>
                  </a:lnTo>
                  <a:lnTo>
                    <a:pt x="95" y="141"/>
                  </a:lnTo>
                  <a:lnTo>
                    <a:pt x="88" y="141"/>
                  </a:lnTo>
                  <a:lnTo>
                    <a:pt x="86" y="142"/>
                  </a:lnTo>
                  <a:lnTo>
                    <a:pt x="85" y="142"/>
                  </a:lnTo>
                  <a:lnTo>
                    <a:pt x="80" y="139"/>
                  </a:lnTo>
                  <a:lnTo>
                    <a:pt x="80" y="138"/>
                  </a:lnTo>
                  <a:lnTo>
                    <a:pt x="85" y="136"/>
                  </a:lnTo>
                  <a:lnTo>
                    <a:pt x="86" y="132"/>
                  </a:lnTo>
                  <a:lnTo>
                    <a:pt x="91" y="128"/>
                  </a:lnTo>
                  <a:lnTo>
                    <a:pt x="94" y="120"/>
                  </a:lnTo>
                  <a:lnTo>
                    <a:pt x="94" y="119"/>
                  </a:lnTo>
                  <a:lnTo>
                    <a:pt x="104" y="119"/>
                  </a:lnTo>
                  <a:lnTo>
                    <a:pt x="104" y="113"/>
                  </a:lnTo>
                  <a:lnTo>
                    <a:pt x="101" y="110"/>
                  </a:lnTo>
                  <a:lnTo>
                    <a:pt x="98" y="102"/>
                  </a:lnTo>
                  <a:lnTo>
                    <a:pt x="94" y="99"/>
                  </a:lnTo>
                  <a:lnTo>
                    <a:pt x="94" y="90"/>
                  </a:lnTo>
                  <a:lnTo>
                    <a:pt x="88" y="87"/>
                  </a:lnTo>
                  <a:lnTo>
                    <a:pt x="83" y="87"/>
                  </a:lnTo>
                  <a:lnTo>
                    <a:pt x="72" y="82"/>
                  </a:lnTo>
                  <a:lnTo>
                    <a:pt x="66" y="82"/>
                  </a:lnTo>
                  <a:lnTo>
                    <a:pt x="63" y="86"/>
                  </a:lnTo>
                  <a:lnTo>
                    <a:pt x="39" y="95"/>
                  </a:lnTo>
                  <a:lnTo>
                    <a:pt x="37" y="95"/>
                  </a:lnTo>
                  <a:lnTo>
                    <a:pt x="37" y="93"/>
                  </a:lnTo>
                  <a:lnTo>
                    <a:pt x="33" y="90"/>
                  </a:lnTo>
                  <a:lnTo>
                    <a:pt x="9" y="92"/>
                  </a:lnTo>
                  <a:lnTo>
                    <a:pt x="0" y="83"/>
                  </a:lnTo>
                  <a:lnTo>
                    <a:pt x="0" y="82"/>
                  </a:lnTo>
                  <a:lnTo>
                    <a:pt x="5" y="68"/>
                  </a:lnTo>
                  <a:lnTo>
                    <a:pt x="8" y="68"/>
                  </a:lnTo>
                  <a:lnTo>
                    <a:pt x="8" y="62"/>
                  </a:lnTo>
                  <a:lnTo>
                    <a:pt x="12" y="52"/>
                  </a:lnTo>
                  <a:lnTo>
                    <a:pt x="26" y="37"/>
                  </a:lnTo>
                  <a:lnTo>
                    <a:pt x="18" y="18"/>
                  </a:lnTo>
                  <a:lnTo>
                    <a:pt x="18" y="16"/>
                  </a:lnTo>
                  <a:lnTo>
                    <a:pt x="31" y="13"/>
                  </a:lnTo>
                  <a:lnTo>
                    <a:pt x="34" y="10"/>
                  </a:lnTo>
                  <a:lnTo>
                    <a:pt x="52" y="9"/>
                  </a:lnTo>
                  <a:lnTo>
                    <a:pt x="67" y="13"/>
                  </a:lnTo>
                  <a:lnTo>
                    <a:pt x="70" y="18"/>
                  </a:lnTo>
                  <a:lnTo>
                    <a:pt x="74" y="18"/>
                  </a:lnTo>
                  <a:lnTo>
                    <a:pt x="76" y="21"/>
                  </a:lnTo>
                  <a:lnTo>
                    <a:pt x="82" y="18"/>
                  </a:lnTo>
                  <a:lnTo>
                    <a:pt x="89" y="21"/>
                  </a:lnTo>
                  <a:lnTo>
                    <a:pt x="94" y="16"/>
                  </a:lnTo>
                  <a:lnTo>
                    <a:pt x="95" y="16"/>
                  </a:lnTo>
                  <a:lnTo>
                    <a:pt x="100" y="22"/>
                  </a:lnTo>
                  <a:lnTo>
                    <a:pt x="103" y="22"/>
                  </a:lnTo>
                  <a:lnTo>
                    <a:pt x="106" y="21"/>
                  </a:lnTo>
                  <a:lnTo>
                    <a:pt x="109" y="21"/>
                  </a:lnTo>
                  <a:lnTo>
                    <a:pt x="112" y="22"/>
                  </a:lnTo>
                  <a:lnTo>
                    <a:pt x="113" y="21"/>
                  </a:lnTo>
                  <a:lnTo>
                    <a:pt x="114" y="12"/>
                  </a:lnTo>
                  <a:lnTo>
                    <a:pt x="119" y="7"/>
                  </a:lnTo>
                  <a:lnTo>
                    <a:pt x="122" y="7"/>
                  </a:lnTo>
                  <a:lnTo>
                    <a:pt x="126" y="6"/>
                  </a:lnTo>
                  <a:lnTo>
                    <a:pt x="129" y="6"/>
                  </a:lnTo>
                  <a:lnTo>
                    <a:pt x="132" y="7"/>
                  </a:lnTo>
                  <a:lnTo>
                    <a:pt x="137" y="1"/>
                  </a:lnTo>
                  <a:lnTo>
                    <a:pt x="144" y="1"/>
                  </a:lnTo>
                  <a:lnTo>
                    <a:pt x="14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7" name="Albania">
              <a:extLst>
                <a:ext uri="{FF2B5EF4-FFF2-40B4-BE49-F238E27FC236}">
                  <a16:creationId xmlns:a16="http://schemas.microsoft.com/office/drawing/2014/main" id="{8E2DA329-9DCE-DF65-BEB0-A3CD46036D27}"/>
                </a:ext>
              </a:extLst>
            </p:cNvPr>
            <p:cNvSpPr>
              <a:spLocks/>
            </p:cNvSpPr>
            <p:nvPr/>
          </p:nvSpPr>
          <p:spPr bwMode="auto">
            <a:xfrm>
              <a:off x="6279416" y="3474256"/>
              <a:ext cx="45177" cy="97581"/>
            </a:xfrm>
            <a:custGeom>
              <a:avLst/>
              <a:gdLst>
                <a:gd name="T0" fmla="*/ 6 w 25"/>
                <a:gd name="T1" fmla="*/ 0 h 54"/>
                <a:gd name="T2" fmla="*/ 12 w 25"/>
                <a:gd name="T3" fmla="*/ 3 h 54"/>
                <a:gd name="T4" fmla="*/ 20 w 25"/>
                <a:gd name="T5" fmla="*/ 11 h 54"/>
                <a:gd name="T6" fmla="*/ 18 w 25"/>
                <a:gd name="T7" fmla="*/ 24 h 54"/>
                <a:gd name="T8" fmla="*/ 24 w 25"/>
                <a:gd name="T9" fmla="*/ 33 h 54"/>
                <a:gd name="T10" fmla="*/ 25 w 25"/>
                <a:gd name="T11" fmla="*/ 37 h 54"/>
                <a:gd name="T12" fmla="*/ 25 w 25"/>
                <a:gd name="T13" fmla="*/ 39 h 54"/>
                <a:gd name="T14" fmla="*/ 14 w 25"/>
                <a:gd name="T15" fmla="*/ 54 h 54"/>
                <a:gd name="T16" fmla="*/ 12 w 25"/>
                <a:gd name="T17" fmla="*/ 54 h 54"/>
                <a:gd name="T18" fmla="*/ 0 w 25"/>
                <a:gd name="T19" fmla="*/ 40 h 54"/>
                <a:gd name="T20" fmla="*/ 0 w 25"/>
                <a:gd name="T21" fmla="*/ 39 h 54"/>
                <a:gd name="T22" fmla="*/ 2 w 25"/>
                <a:gd name="T23" fmla="*/ 39 h 54"/>
                <a:gd name="T24" fmla="*/ 2 w 25"/>
                <a:gd name="T25" fmla="*/ 24 h 54"/>
                <a:gd name="T26" fmla="*/ 5 w 25"/>
                <a:gd name="T27" fmla="*/ 17 h 54"/>
                <a:gd name="T28" fmla="*/ 0 w 25"/>
                <a:gd name="T29" fmla="*/ 15 h 54"/>
                <a:gd name="T30" fmla="*/ 3 w 25"/>
                <a:gd name="T31" fmla="*/ 5 h 54"/>
                <a:gd name="T32" fmla="*/ 6 w 25"/>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4">
                  <a:moveTo>
                    <a:pt x="6" y="0"/>
                  </a:moveTo>
                  <a:lnTo>
                    <a:pt x="12" y="3"/>
                  </a:lnTo>
                  <a:lnTo>
                    <a:pt x="20" y="11"/>
                  </a:lnTo>
                  <a:lnTo>
                    <a:pt x="18" y="24"/>
                  </a:lnTo>
                  <a:lnTo>
                    <a:pt x="24" y="33"/>
                  </a:lnTo>
                  <a:lnTo>
                    <a:pt x="25" y="37"/>
                  </a:lnTo>
                  <a:lnTo>
                    <a:pt x="25" y="39"/>
                  </a:lnTo>
                  <a:lnTo>
                    <a:pt x="14" y="54"/>
                  </a:lnTo>
                  <a:lnTo>
                    <a:pt x="12" y="54"/>
                  </a:lnTo>
                  <a:lnTo>
                    <a:pt x="0" y="40"/>
                  </a:lnTo>
                  <a:lnTo>
                    <a:pt x="0" y="39"/>
                  </a:lnTo>
                  <a:lnTo>
                    <a:pt x="2" y="39"/>
                  </a:lnTo>
                  <a:lnTo>
                    <a:pt x="2" y="24"/>
                  </a:lnTo>
                  <a:lnTo>
                    <a:pt x="5" y="17"/>
                  </a:lnTo>
                  <a:lnTo>
                    <a:pt x="0" y="15"/>
                  </a:lnTo>
                  <a:lnTo>
                    <a:pt x="3" y="5"/>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8" name="Bulgaria">
              <a:extLst>
                <a:ext uri="{FF2B5EF4-FFF2-40B4-BE49-F238E27FC236}">
                  <a16:creationId xmlns:a16="http://schemas.microsoft.com/office/drawing/2014/main" id="{18E3C852-7C4F-C865-9D07-0B5A3DB9E7C9}"/>
                </a:ext>
              </a:extLst>
            </p:cNvPr>
            <p:cNvSpPr>
              <a:spLocks/>
            </p:cNvSpPr>
            <p:nvPr/>
          </p:nvSpPr>
          <p:spPr bwMode="auto">
            <a:xfrm>
              <a:off x="6351698" y="3427272"/>
              <a:ext cx="153601" cy="95775"/>
            </a:xfrm>
            <a:custGeom>
              <a:avLst/>
              <a:gdLst>
                <a:gd name="T0" fmla="*/ 6 w 85"/>
                <a:gd name="T1" fmla="*/ 0 h 53"/>
                <a:gd name="T2" fmla="*/ 9 w 85"/>
                <a:gd name="T3" fmla="*/ 0 h 53"/>
                <a:gd name="T4" fmla="*/ 11 w 85"/>
                <a:gd name="T5" fmla="*/ 1 h 53"/>
                <a:gd name="T6" fmla="*/ 9 w 85"/>
                <a:gd name="T7" fmla="*/ 4 h 53"/>
                <a:gd name="T8" fmla="*/ 11 w 85"/>
                <a:gd name="T9" fmla="*/ 7 h 53"/>
                <a:gd name="T10" fmla="*/ 42 w 85"/>
                <a:gd name="T11" fmla="*/ 8 h 53"/>
                <a:gd name="T12" fmla="*/ 61 w 85"/>
                <a:gd name="T13" fmla="*/ 1 h 53"/>
                <a:gd name="T14" fmla="*/ 85 w 85"/>
                <a:gd name="T15" fmla="*/ 7 h 53"/>
                <a:gd name="T16" fmla="*/ 82 w 85"/>
                <a:gd name="T17" fmla="*/ 14 h 53"/>
                <a:gd name="T18" fmla="*/ 76 w 85"/>
                <a:gd name="T19" fmla="*/ 19 h 53"/>
                <a:gd name="T20" fmla="*/ 74 w 85"/>
                <a:gd name="T21" fmla="*/ 26 h 53"/>
                <a:gd name="T22" fmla="*/ 70 w 85"/>
                <a:gd name="T23" fmla="*/ 31 h 53"/>
                <a:gd name="T24" fmla="*/ 76 w 85"/>
                <a:gd name="T25" fmla="*/ 40 h 53"/>
                <a:gd name="T26" fmla="*/ 76 w 85"/>
                <a:gd name="T27" fmla="*/ 41 h 53"/>
                <a:gd name="T28" fmla="*/ 73 w 85"/>
                <a:gd name="T29" fmla="*/ 41 h 53"/>
                <a:gd name="T30" fmla="*/ 70 w 85"/>
                <a:gd name="T31" fmla="*/ 40 h 53"/>
                <a:gd name="T32" fmla="*/ 64 w 85"/>
                <a:gd name="T33" fmla="*/ 40 h 53"/>
                <a:gd name="T34" fmla="*/ 54 w 85"/>
                <a:gd name="T35" fmla="*/ 44 h 53"/>
                <a:gd name="T36" fmla="*/ 52 w 85"/>
                <a:gd name="T37" fmla="*/ 44 h 53"/>
                <a:gd name="T38" fmla="*/ 52 w 85"/>
                <a:gd name="T39" fmla="*/ 49 h 53"/>
                <a:gd name="T40" fmla="*/ 48 w 85"/>
                <a:gd name="T41" fmla="*/ 50 h 53"/>
                <a:gd name="T42" fmla="*/ 43 w 85"/>
                <a:gd name="T43" fmla="*/ 53 h 53"/>
                <a:gd name="T44" fmla="*/ 42 w 85"/>
                <a:gd name="T45" fmla="*/ 53 h 53"/>
                <a:gd name="T46" fmla="*/ 28 w 85"/>
                <a:gd name="T47" fmla="*/ 47 h 53"/>
                <a:gd name="T48" fmla="*/ 9 w 85"/>
                <a:gd name="T49" fmla="*/ 51 h 53"/>
                <a:gd name="T50" fmla="*/ 9 w 85"/>
                <a:gd name="T51" fmla="*/ 50 h 53"/>
                <a:gd name="T52" fmla="*/ 6 w 85"/>
                <a:gd name="T53" fmla="*/ 40 h 53"/>
                <a:gd name="T54" fmla="*/ 2 w 85"/>
                <a:gd name="T55" fmla="*/ 35 h 53"/>
                <a:gd name="T56" fmla="*/ 2 w 85"/>
                <a:gd name="T57" fmla="*/ 28 h 53"/>
                <a:gd name="T58" fmla="*/ 6 w 85"/>
                <a:gd name="T59" fmla="*/ 20 h 53"/>
                <a:gd name="T60" fmla="*/ 2 w 85"/>
                <a:gd name="T61" fmla="*/ 13 h 53"/>
                <a:gd name="T62" fmla="*/ 0 w 85"/>
                <a:gd name="T63" fmla="*/ 7 h 53"/>
                <a:gd name="T64" fmla="*/ 2 w 85"/>
                <a:gd name="T65" fmla="*/ 1 h 53"/>
                <a:gd name="T66" fmla="*/ 6 w 85"/>
                <a:gd name="T6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53">
                  <a:moveTo>
                    <a:pt x="6" y="0"/>
                  </a:moveTo>
                  <a:lnTo>
                    <a:pt x="9" y="0"/>
                  </a:lnTo>
                  <a:lnTo>
                    <a:pt x="11" y="1"/>
                  </a:lnTo>
                  <a:lnTo>
                    <a:pt x="9" y="4"/>
                  </a:lnTo>
                  <a:lnTo>
                    <a:pt x="11" y="7"/>
                  </a:lnTo>
                  <a:lnTo>
                    <a:pt x="42" y="8"/>
                  </a:lnTo>
                  <a:lnTo>
                    <a:pt x="61" y="1"/>
                  </a:lnTo>
                  <a:lnTo>
                    <a:pt x="85" y="7"/>
                  </a:lnTo>
                  <a:lnTo>
                    <a:pt x="82" y="14"/>
                  </a:lnTo>
                  <a:lnTo>
                    <a:pt x="76" y="19"/>
                  </a:lnTo>
                  <a:lnTo>
                    <a:pt x="74" y="26"/>
                  </a:lnTo>
                  <a:lnTo>
                    <a:pt x="70" y="31"/>
                  </a:lnTo>
                  <a:lnTo>
                    <a:pt x="76" y="40"/>
                  </a:lnTo>
                  <a:lnTo>
                    <a:pt x="76" y="41"/>
                  </a:lnTo>
                  <a:lnTo>
                    <a:pt x="73" y="41"/>
                  </a:lnTo>
                  <a:lnTo>
                    <a:pt x="70" y="40"/>
                  </a:lnTo>
                  <a:lnTo>
                    <a:pt x="64" y="40"/>
                  </a:lnTo>
                  <a:lnTo>
                    <a:pt x="54" y="44"/>
                  </a:lnTo>
                  <a:lnTo>
                    <a:pt x="52" y="44"/>
                  </a:lnTo>
                  <a:lnTo>
                    <a:pt x="52" y="49"/>
                  </a:lnTo>
                  <a:lnTo>
                    <a:pt x="48" y="50"/>
                  </a:lnTo>
                  <a:lnTo>
                    <a:pt x="43" y="53"/>
                  </a:lnTo>
                  <a:lnTo>
                    <a:pt x="42" y="53"/>
                  </a:lnTo>
                  <a:lnTo>
                    <a:pt x="28" y="47"/>
                  </a:lnTo>
                  <a:lnTo>
                    <a:pt x="9" y="51"/>
                  </a:lnTo>
                  <a:lnTo>
                    <a:pt x="9" y="50"/>
                  </a:lnTo>
                  <a:lnTo>
                    <a:pt x="6" y="40"/>
                  </a:lnTo>
                  <a:lnTo>
                    <a:pt x="2" y="35"/>
                  </a:lnTo>
                  <a:lnTo>
                    <a:pt x="2" y="28"/>
                  </a:lnTo>
                  <a:lnTo>
                    <a:pt x="6" y="20"/>
                  </a:lnTo>
                  <a:lnTo>
                    <a:pt x="2" y="13"/>
                  </a:lnTo>
                  <a:lnTo>
                    <a:pt x="0" y="7"/>
                  </a:lnTo>
                  <a:lnTo>
                    <a:pt x="2" y="1"/>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9" name="Cyprus">
              <a:extLst>
                <a:ext uri="{FF2B5EF4-FFF2-40B4-BE49-F238E27FC236}">
                  <a16:creationId xmlns:a16="http://schemas.microsoft.com/office/drawing/2014/main" id="{2A3C7EF9-0209-AFF1-F5A2-B37294F82C2E}"/>
                </a:ext>
              </a:extLst>
            </p:cNvPr>
            <p:cNvSpPr>
              <a:spLocks/>
            </p:cNvSpPr>
            <p:nvPr/>
          </p:nvSpPr>
          <p:spPr bwMode="auto">
            <a:xfrm>
              <a:off x="6588424" y="3685683"/>
              <a:ext cx="56019" cy="36141"/>
            </a:xfrm>
            <a:custGeom>
              <a:avLst/>
              <a:gdLst>
                <a:gd name="T0" fmla="*/ 31 w 31"/>
                <a:gd name="T1" fmla="*/ 0 h 20"/>
                <a:gd name="T2" fmla="*/ 31 w 31"/>
                <a:gd name="T3" fmla="*/ 2 h 20"/>
                <a:gd name="T4" fmla="*/ 25 w 31"/>
                <a:gd name="T5" fmla="*/ 14 h 20"/>
                <a:gd name="T6" fmla="*/ 12 w 31"/>
                <a:gd name="T7" fmla="*/ 20 h 20"/>
                <a:gd name="T8" fmla="*/ 10 w 31"/>
                <a:gd name="T9" fmla="*/ 20 h 20"/>
                <a:gd name="T10" fmla="*/ 4 w 31"/>
                <a:gd name="T11" fmla="*/ 18 h 20"/>
                <a:gd name="T12" fmla="*/ 0 w 31"/>
                <a:gd name="T13" fmla="*/ 12 h 20"/>
                <a:gd name="T14" fmla="*/ 1 w 31"/>
                <a:gd name="T15" fmla="*/ 12 h 20"/>
                <a:gd name="T16" fmla="*/ 10 w 31"/>
                <a:gd name="T17" fmla="*/ 6 h 20"/>
                <a:gd name="T18" fmla="*/ 23 w 31"/>
                <a:gd name="T19" fmla="*/ 5 h 20"/>
                <a:gd name="T20" fmla="*/ 31 w 31"/>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0">
                  <a:moveTo>
                    <a:pt x="31" y="0"/>
                  </a:moveTo>
                  <a:lnTo>
                    <a:pt x="31" y="2"/>
                  </a:lnTo>
                  <a:lnTo>
                    <a:pt x="25" y="14"/>
                  </a:lnTo>
                  <a:lnTo>
                    <a:pt x="12" y="20"/>
                  </a:lnTo>
                  <a:lnTo>
                    <a:pt x="10" y="20"/>
                  </a:lnTo>
                  <a:lnTo>
                    <a:pt x="4" y="18"/>
                  </a:lnTo>
                  <a:lnTo>
                    <a:pt x="0" y="12"/>
                  </a:lnTo>
                  <a:lnTo>
                    <a:pt x="1" y="12"/>
                  </a:lnTo>
                  <a:lnTo>
                    <a:pt x="10" y="6"/>
                  </a:lnTo>
                  <a:lnTo>
                    <a:pt x="23" y="5"/>
                  </a:lnTo>
                  <a:lnTo>
                    <a:pt x="3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0" name="Kosovo">
              <a:extLst>
                <a:ext uri="{FF2B5EF4-FFF2-40B4-BE49-F238E27FC236}">
                  <a16:creationId xmlns:a16="http://schemas.microsoft.com/office/drawing/2014/main" id="{658A3DBC-2161-4705-5FAE-AAB0E8DDEF01}"/>
                </a:ext>
              </a:extLst>
            </p:cNvPr>
            <p:cNvSpPr>
              <a:spLocks/>
            </p:cNvSpPr>
            <p:nvPr/>
          </p:nvSpPr>
          <p:spPr bwMode="auto">
            <a:xfrm>
              <a:off x="6293873" y="3457993"/>
              <a:ext cx="39755" cy="37948"/>
            </a:xfrm>
            <a:custGeom>
              <a:avLst/>
              <a:gdLst>
                <a:gd name="T0" fmla="*/ 9 w 22"/>
                <a:gd name="T1" fmla="*/ 0 h 21"/>
                <a:gd name="T2" fmla="*/ 15 w 22"/>
                <a:gd name="T3" fmla="*/ 0 h 21"/>
                <a:gd name="T4" fmla="*/ 15 w 22"/>
                <a:gd name="T5" fmla="*/ 2 h 21"/>
                <a:gd name="T6" fmla="*/ 17 w 22"/>
                <a:gd name="T7" fmla="*/ 8 h 21"/>
                <a:gd name="T8" fmla="*/ 22 w 22"/>
                <a:gd name="T9" fmla="*/ 8 h 21"/>
                <a:gd name="T10" fmla="*/ 22 w 22"/>
                <a:gd name="T11" fmla="*/ 14 h 21"/>
                <a:gd name="T12" fmla="*/ 12 w 22"/>
                <a:gd name="T13" fmla="*/ 21 h 21"/>
                <a:gd name="T14" fmla="*/ 10 w 22"/>
                <a:gd name="T15" fmla="*/ 21 h 21"/>
                <a:gd name="T16" fmla="*/ 10 w 22"/>
                <a:gd name="T17" fmla="*/ 20 h 21"/>
                <a:gd name="T18" fmla="*/ 4 w 22"/>
                <a:gd name="T19" fmla="*/ 14 h 21"/>
                <a:gd name="T20" fmla="*/ 0 w 22"/>
                <a:gd name="T21" fmla="*/ 12 h 21"/>
                <a:gd name="T22" fmla="*/ 0 w 22"/>
                <a:gd name="T23" fmla="*/ 6 h 21"/>
                <a:gd name="T24" fmla="*/ 1 w 22"/>
                <a:gd name="T25" fmla="*/ 6 h 21"/>
                <a:gd name="T26" fmla="*/ 3 w 22"/>
                <a:gd name="T27" fmla="*/ 8 h 21"/>
                <a:gd name="T28" fmla="*/ 4 w 22"/>
                <a:gd name="T29" fmla="*/ 5 h 21"/>
                <a:gd name="T30" fmla="*/ 9 w 22"/>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1">
                  <a:moveTo>
                    <a:pt x="9" y="0"/>
                  </a:moveTo>
                  <a:lnTo>
                    <a:pt x="15" y="0"/>
                  </a:lnTo>
                  <a:lnTo>
                    <a:pt x="15" y="2"/>
                  </a:lnTo>
                  <a:lnTo>
                    <a:pt x="17" y="8"/>
                  </a:lnTo>
                  <a:lnTo>
                    <a:pt x="22" y="8"/>
                  </a:lnTo>
                  <a:lnTo>
                    <a:pt x="22" y="14"/>
                  </a:lnTo>
                  <a:lnTo>
                    <a:pt x="12" y="21"/>
                  </a:lnTo>
                  <a:lnTo>
                    <a:pt x="10" y="21"/>
                  </a:lnTo>
                  <a:lnTo>
                    <a:pt x="10" y="20"/>
                  </a:lnTo>
                  <a:lnTo>
                    <a:pt x="4" y="14"/>
                  </a:lnTo>
                  <a:lnTo>
                    <a:pt x="0" y="12"/>
                  </a:lnTo>
                  <a:lnTo>
                    <a:pt x="0" y="6"/>
                  </a:lnTo>
                  <a:lnTo>
                    <a:pt x="1" y="6"/>
                  </a:lnTo>
                  <a:lnTo>
                    <a:pt x="3" y="8"/>
                  </a:lnTo>
                  <a:lnTo>
                    <a:pt x="4" y="5"/>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1" name="Macedonia">
              <a:extLst>
                <a:ext uri="{FF2B5EF4-FFF2-40B4-BE49-F238E27FC236}">
                  <a16:creationId xmlns:a16="http://schemas.microsoft.com/office/drawing/2014/main" id="{F3E57069-6DAE-2F4D-BE3C-1A8F1F219FA2}"/>
                </a:ext>
              </a:extLst>
            </p:cNvPr>
            <p:cNvSpPr>
              <a:spLocks/>
            </p:cNvSpPr>
            <p:nvPr/>
          </p:nvSpPr>
          <p:spPr bwMode="auto">
            <a:xfrm>
              <a:off x="6310137" y="3479677"/>
              <a:ext cx="61440" cy="54212"/>
            </a:xfrm>
            <a:custGeom>
              <a:avLst/>
              <a:gdLst>
                <a:gd name="T0" fmla="*/ 11 w 34"/>
                <a:gd name="T1" fmla="*/ 0 h 30"/>
                <a:gd name="T2" fmla="*/ 25 w 34"/>
                <a:gd name="T3" fmla="*/ 2 h 30"/>
                <a:gd name="T4" fmla="*/ 26 w 34"/>
                <a:gd name="T5" fmla="*/ 2 h 30"/>
                <a:gd name="T6" fmla="*/ 26 w 34"/>
                <a:gd name="T7" fmla="*/ 5 h 30"/>
                <a:gd name="T8" fmla="*/ 31 w 34"/>
                <a:gd name="T9" fmla="*/ 9 h 30"/>
                <a:gd name="T10" fmla="*/ 34 w 34"/>
                <a:gd name="T11" fmla="*/ 21 h 30"/>
                <a:gd name="T12" fmla="*/ 32 w 34"/>
                <a:gd name="T13" fmla="*/ 21 h 30"/>
                <a:gd name="T14" fmla="*/ 7 w 34"/>
                <a:gd name="T15" fmla="*/ 30 h 30"/>
                <a:gd name="T16" fmla="*/ 6 w 34"/>
                <a:gd name="T17" fmla="*/ 30 h 30"/>
                <a:gd name="T18" fmla="*/ 0 w 34"/>
                <a:gd name="T19" fmla="*/ 21 h 30"/>
                <a:gd name="T20" fmla="*/ 1 w 34"/>
                <a:gd name="T21" fmla="*/ 8 h 30"/>
                <a:gd name="T22" fmla="*/ 11 w 34"/>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0">
                  <a:moveTo>
                    <a:pt x="11" y="0"/>
                  </a:moveTo>
                  <a:lnTo>
                    <a:pt x="25" y="2"/>
                  </a:lnTo>
                  <a:lnTo>
                    <a:pt x="26" y="2"/>
                  </a:lnTo>
                  <a:lnTo>
                    <a:pt x="26" y="5"/>
                  </a:lnTo>
                  <a:lnTo>
                    <a:pt x="31" y="9"/>
                  </a:lnTo>
                  <a:lnTo>
                    <a:pt x="34" y="21"/>
                  </a:lnTo>
                  <a:lnTo>
                    <a:pt x="32" y="21"/>
                  </a:lnTo>
                  <a:lnTo>
                    <a:pt x="7" y="30"/>
                  </a:lnTo>
                  <a:lnTo>
                    <a:pt x="6" y="30"/>
                  </a:lnTo>
                  <a:lnTo>
                    <a:pt x="0" y="21"/>
                  </a:lnTo>
                  <a:lnTo>
                    <a:pt x="1" y="8"/>
                  </a:lnTo>
                  <a:lnTo>
                    <a:pt x="1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2" name="Slovakia">
              <a:extLst>
                <a:ext uri="{FF2B5EF4-FFF2-40B4-BE49-F238E27FC236}">
                  <a16:creationId xmlns:a16="http://schemas.microsoft.com/office/drawing/2014/main" id="{0B332B98-CDDB-4081-61FB-568B535F915F}"/>
                </a:ext>
              </a:extLst>
            </p:cNvPr>
            <p:cNvSpPr>
              <a:spLocks/>
            </p:cNvSpPr>
            <p:nvPr/>
          </p:nvSpPr>
          <p:spPr bwMode="auto">
            <a:xfrm>
              <a:off x="6221590" y="3241146"/>
              <a:ext cx="133723" cy="65054"/>
            </a:xfrm>
            <a:custGeom>
              <a:avLst/>
              <a:gdLst>
                <a:gd name="T0" fmla="*/ 35 w 74"/>
                <a:gd name="T1" fmla="*/ 0 h 36"/>
                <a:gd name="T2" fmla="*/ 41 w 74"/>
                <a:gd name="T3" fmla="*/ 6 h 36"/>
                <a:gd name="T4" fmla="*/ 60 w 74"/>
                <a:gd name="T5" fmla="*/ 3 h 36"/>
                <a:gd name="T6" fmla="*/ 74 w 74"/>
                <a:gd name="T7" fmla="*/ 9 h 36"/>
                <a:gd name="T8" fmla="*/ 71 w 74"/>
                <a:gd name="T9" fmla="*/ 23 h 36"/>
                <a:gd name="T10" fmla="*/ 52 w 74"/>
                <a:gd name="T11" fmla="*/ 21 h 36"/>
                <a:gd name="T12" fmla="*/ 41 w 74"/>
                <a:gd name="T13" fmla="*/ 28 h 36"/>
                <a:gd name="T14" fmla="*/ 26 w 74"/>
                <a:gd name="T15" fmla="*/ 30 h 36"/>
                <a:gd name="T16" fmla="*/ 22 w 74"/>
                <a:gd name="T17" fmla="*/ 36 h 36"/>
                <a:gd name="T18" fmla="*/ 13 w 74"/>
                <a:gd name="T19" fmla="*/ 36 h 36"/>
                <a:gd name="T20" fmla="*/ 4 w 74"/>
                <a:gd name="T21" fmla="*/ 30 h 36"/>
                <a:gd name="T22" fmla="*/ 0 w 74"/>
                <a:gd name="T23" fmla="*/ 17 h 36"/>
                <a:gd name="T24" fmla="*/ 20 w 74"/>
                <a:gd name="T25" fmla="*/ 14 h 36"/>
                <a:gd name="T26" fmla="*/ 23 w 74"/>
                <a:gd name="T27" fmla="*/ 6 h 36"/>
                <a:gd name="T28" fmla="*/ 35 w 7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6">
                  <a:moveTo>
                    <a:pt x="35" y="0"/>
                  </a:moveTo>
                  <a:lnTo>
                    <a:pt x="41" y="6"/>
                  </a:lnTo>
                  <a:lnTo>
                    <a:pt x="60" y="3"/>
                  </a:lnTo>
                  <a:lnTo>
                    <a:pt x="74" y="9"/>
                  </a:lnTo>
                  <a:lnTo>
                    <a:pt x="71" y="23"/>
                  </a:lnTo>
                  <a:lnTo>
                    <a:pt x="52" y="21"/>
                  </a:lnTo>
                  <a:lnTo>
                    <a:pt x="41" y="28"/>
                  </a:lnTo>
                  <a:lnTo>
                    <a:pt x="26" y="30"/>
                  </a:lnTo>
                  <a:lnTo>
                    <a:pt x="22" y="36"/>
                  </a:lnTo>
                  <a:lnTo>
                    <a:pt x="13" y="36"/>
                  </a:lnTo>
                  <a:lnTo>
                    <a:pt x="4" y="30"/>
                  </a:lnTo>
                  <a:lnTo>
                    <a:pt x="0" y="17"/>
                  </a:lnTo>
                  <a:lnTo>
                    <a:pt x="20" y="14"/>
                  </a:lnTo>
                  <a:lnTo>
                    <a:pt x="23" y="6"/>
                  </a:lnTo>
                  <a:lnTo>
                    <a:pt x="3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3" name="Montenegro">
              <a:extLst>
                <a:ext uri="{FF2B5EF4-FFF2-40B4-BE49-F238E27FC236}">
                  <a16:creationId xmlns:a16="http://schemas.microsoft.com/office/drawing/2014/main" id="{8F8AC607-2E7B-92C7-829F-37ABFFEE9017}"/>
                </a:ext>
              </a:extLst>
            </p:cNvPr>
            <p:cNvSpPr>
              <a:spLocks/>
            </p:cNvSpPr>
            <p:nvPr/>
          </p:nvSpPr>
          <p:spPr bwMode="auto">
            <a:xfrm>
              <a:off x="6255925" y="3445344"/>
              <a:ext cx="48791" cy="56019"/>
            </a:xfrm>
            <a:custGeom>
              <a:avLst/>
              <a:gdLst>
                <a:gd name="T0" fmla="*/ 6 w 27"/>
                <a:gd name="T1" fmla="*/ 0 h 31"/>
                <a:gd name="T2" fmla="*/ 9 w 27"/>
                <a:gd name="T3" fmla="*/ 1 h 31"/>
                <a:gd name="T4" fmla="*/ 9 w 27"/>
                <a:gd name="T5" fmla="*/ 0 h 31"/>
                <a:gd name="T6" fmla="*/ 13 w 27"/>
                <a:gd name="T7" fmla="*/ 0 h 31"/>
                <a:gd name="T8" fmla="*/ 13 w 27"/>
                <a:gd name="T9" fmla="*/ 1 h 31"/>
                <a:gd name="T10" fmla="*/ 27 w 27"/>
                <a:gd name="T11" fmla="*/ 12 h 31"/>
                <a:gd name="T12" fmla="*/ 25 w 27"/>
                <a:gd name="T13" fmla="*/ 16 h 31"/>
                <a:gd name="T14" fmla="*/ 24 w 27"/>
                <a:gd name="T15" fmla="*/ 16 h 31"/>
                <a:gd name="T16" fmla="*/ 22 w 27"/>
                <a:gd name="T17" fmla="*/ 15 h 31"/>
                <a:gd name="T18" fmla="*/ 22 w 27"/>
                <a:gd name="T19" fmla="*/ 19 h 31"/>
                <a:gd name="T20" fmla="*/ 19 w 27"/>
                <a:gd name="T21" fmla="*/ 18 h 31"/>
                <a:gd name="T22" fmla="*/ 16 w 27"/>
                <a:gd name="T23" fmla="*/ 21 h 31"/>
                <a:gd name="T24" fmla="*/ 15 w 27"/>
                <a:gd name="T25" fmla="*/ 31 h 31"/>
                <a:gd name="T26" fmla="*/ 13 w 27"/>
                <a:gd name="T27" fmla="*/ 31 h 31"/>
                <a:gd name="T28" fmla="*/ 0 w 27"/>
                <a:gd name="T29" fmla="*/ 19 h 31"/>
                <a:gd name="T30" fmla="*/ 0 w 27"/>
                <a:gd name="T31" fmla="*/ 18 h 31"/>
                <a:gd name="T32" fmla="*/ 3 w 27"/>
                <a:gd name="T33" fmla="*/ 16 h 31"/>
                <a:gd name="T34" fmla="*/ 1 w 27"/>
                <a:gd name="T35" fmla="*/ 10 h 31"/>
                <a:gd name="T36" fmla="*/ 1 w 27"/>
                <a:gd name="T37" fmla="*/ 9 h 31"/>
                <a:gd name="T38" fmla="*/ 6 w 27"/>
                <a:gd name="T39" fmla="*/ 7 h 31"/>
                <a:gd name="T40" fmla="*/ 3 w 27"/>
                <a:gd name="T41" fmla="*/ 3 h 31"/>
                <a:gd name="T42" fmla="*/ 3 w 27"/>
                <a:gd name="T43" fmla="*/ 1 h 31"/>
                <a:gd name="T44" fmla="*/ 6 w 27"/>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
                  <a:moveTo>
                    <a:pt x="6" y="0"/>
                  </a:moveTo>
                  <a:lnTo>
                    <a:pt x="9" y="1"/>
                  </a:lnTo>
                  <a:lnTo>
                    <a:pt x="9" y="0"/>
                  </a:lnTo>
                  <a:lnTo>
                    <a:pt x="13" y="0"/>
                  </a:lnTo>
                  <a:lnTo>
                    <a:pt x="13" y="1"/>
                  </a:lnTo>
                  <a:lnTo>
                    <a:pt x="27" y="12"/>
                  </a:lnTo>
                  <a:lnTo>
                    <a:pt x="25" y="16"/>
                  </a:lnTo>
                  <a:lnTo>
                    <a:pt x="24" y="16"/>
                  </a:lnTo>
                  <a:lnTo>
                    <a:pt x="22" y="15"/>
                  </a:lnTo>
                  <a:lnTo>
                    <a:pt x="22" y="19"/>
                  </a:lnTo>
                  <a:lnTo>
                    <a:pt x="19" y="18"/>
                  </a:lnTo>
                  <a:lnTo>
                    <a:pt x="16" y="21"/>
                  </a:lnTo>
                  <a:lnTo>
                    <a:pt x="15" y="31"/>
                  </a:lnTo>
                  <a:lnTo>
                    <a:pt x="13" y="31"/>
                  </a:lnTo>
                  <a:lnTo>
                    <a:pt x="0" y="19"/>
                  </a:lnTo>
                  <a:lnTo>
                    <a:pt x="0" y="18"/>
                  </a:lnTo>
                  <a:lnTo>
                    <a:pt x="3" y="16"/>
                  </a:lnTo>
                  <a:lnTo>
                    <a:pt x="1" y="10"/>
                  </a:lnTo>
                  <a:lnTo>
                    <a:pt x="1" y="9"/>
                  </a:lnTo>
                  <a:lnTo>
                    <a:pt x="6" y="7"/>
                  </a:lnTo>
                  <a:lnTo>
                    <a:pt x="3" y="3"/>
                  </a:lnTo>
                  <a:lnTo>
                    <a:pt x="3" y="1"/>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4" name="Palma">
              <a:extLst>
                <a:ext uri="{FF2B5EF4-FFF2-40B4-BE49-F238E27FC236}">
                  <a16:creationId xmlns:a16="http://schemas.microsoft.com/office/drawing/2014/main" id="{512FA5F7-E95D-B5FD-7E24-8BA199031527}"/>
                </a:ext>
              </a:extLst>
            </p:cNvPr>
            <p:cNvSpPr>
              <a:spLocks/>
            </p:cNvSpPr>
            <p:nvPr/>
          </p:nvSpPr>
          <p:spPr bwMode="auto">
            <a:xfrm>
              <a:off x="5883670" y="3560996"/>
              <a:ext cx="27107" cy="23493"/>
            </a:xfrm>
            <a:custGeom>
              <a:avLst/>
              <a:gdLst>
                <a:gd name="T0" fmla="*/ 10 w 15"/>
                <a:gd name="T1" fmla="*/ 0 h 13"/>
                <a:gd name="T2" fmla="*/ 12 w 15"/>
                <a:gd name="T3" fmla="*/ 0 h 13"/>
                <a:gd name="T4" fmla="*/ 12 w 15"/>
                <a:gd name="T5" fmla="*/ 3 h 13"/>
                <a:gd name="T6" fmla="*/ 15 w 15"/>
                <a:gd name="T7" fmla="*/ 4 h 13"/>
                <a:gd name="T8" fmla="*/ 15 w 15"/>
                <a:gd name="T9" fmla="*/ 6 h 13"/>
                <a:gd name="T10" fmla="*/ 10 w 15"/>
                <a:gd name="T11" fmla="*/ 12 h 13"/>
                <a:gd name="T12" fmla="*/ 10 w 15"/>
                <a:gd name="T13" fmla="*/ 13 h 13"/>
                <a:gd name="T14" fmla="*/ 1 w 15"/>
                <a:gd name="T15" fmla="*/ 7 h 13"/>
                <a:gd name="T16" fmla="*/ 0 w 15"/>
                <a:gd name="T17" fmla="*/ 7 h 13"/>
                <a:gd name="T18" fmla="*/ 0 w 15"/>
                <a:gd name="T19" fmla="*/ 6 h 13"/>
                <a:gd name="T20" fmla="*/ 1 w 15"/>
                <a:gd name="T21" fmla="*/ 6 h 13"/>
                <a:gd name="T22" fmla="*/ 10 w 15"/>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3">
                  <a:moveTo>
                    <a:pt x="10" y="0"/>
                  </a:moveTo>
                  <a:lnTo>
                    <a:pt x="12" y="0"/>
                  </a:lnTo>
                  <a:lnTo>
                    <a:pt x="12" y="3"/>
                  </a:lnTo>
                  <a:lnTo>
                    <a:pt x="15" y="4"/>
                  </a:lnTo>
                  <a:lnTo>
                    <a:pt x="15" y="6"/>
                  </a:lnTo>
                  <a:lnTo>
                    <a:pt x="10" y="12"/>
                  </a:lnTo>
                  <a:lnTo>
                    <a:pt x="10" y="13"/>
                  </a:lnTo>
                  <a:lnTo>
                    <a:pt x="1" y="7"/>
                  </a:lnTo>
                  <a:lnTo>
                    <a:pt x="0" y="7"/>
                  </a:lnTo>
                  <a:lnTo>
                    <a:pt x="0" y="6"/>
                  </a:lnTo>
                  <a:lnTo>
                    <a:pt x="1" y="6"/>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5" name="Armenia">
              <a:extLst>
                <a:ext uri="{FF2B5EF4-FFF2-40B4-BE49-F238E27FC236}">
                  <a16:creationId xmlns:a16="http://schemas.microsoft.com/office/drawing/2014/main" id="{6E0812E7-65CE-E540-C8B8-F553D7FA51CE}"/>
                </a:ext>
              </a:extLst>
            </p:cNvPr>
            <p:cNvSpPr>
              <a:spLocks/>
            </p:cNvSpPr>
            <p:nvPr/>
          </p:nvSpPr>
          <p:spPr bwMode="auto">
            <a:xfrm>
              <a:off x="6850449" y="3517627"/>
              <a:ext cx="77705" cy="77705"/>
            </a:xfrm>
            <a:custGeom>
              <a:avLst/>
              <a:gdLst>
                <a:gd name="T0" fmla="*/ 19 w 43"/>
                <a:gd name="T1" fmla="*/ 0 h 43"/>
                <a:gd name="T2" fmla="*/ 22 w 43"/>
                <a:gd name="T3" fmla="*/ 0 h 43"/>
                <a:gd name="T4" fmla="*/ 25 w 43"/>
                <a:gd name="T5" fmla="*/ 4 h 43"/>
                <a:gd name="T6" fmla="*/ 28 w 43"/>
                <a:gd name="T7" fmla="*/ 6 h 43"/>
                <a:gd name="T8" fmla="*/ 30 w 43"/>
                <a:gd name="T9" fmla="*/ 6 h 43"/>
                <a:gd name="T10" fmla="*/ 28 w 43"/>
                <a:gd name="T11" fmla="*/ 13 h 43"/>
                <a:gd name="T12" fmla="*/ 34 w 43"/>
                <a:gd name="T13" fmla="*/ 18 h 43"/>
                <a:gd name="T14" fmla="*/ 33 w 43"/>
                <a:gd name="T15" fmla="*/ 24 h 43"/>
                <a:gd name="T16" fmla="*/ 37 w 43"/>
                <a:gd name="T17" fmla="*/ 28 h 43"/>
                <a:gd name="T18" fmla="*/ 42 w 43"/>
                <a:gd name="T19" fmla="*/ 28 h 43"/>
                <a:gd name="T20" fmla="*/ 42 w 43"/>
                <a:gd name="T21" fmla="*/ 37 h 43"/>
                <a:gd name="T22" fmla="*/ 40 w 43"/>
                <a:gd name="T23" fmla="*/ 37 h 43"/>
                <a:gd name="T24" fmla="*/ 43 w 43"/>
                <a:gd name="T25" fmla="*/ 42 h 43"/>
                <a:gd name="T26" fmla="*/ 43 w 43"/>
                <a:gd name="T27" fmla="*/ 43 h 43"/>
                <a:gd name="T28" fmla="*/ 34 w 43"/>
                <a:gd name="T29" fmla="*/ 43 h 43"/>
                <a:gd name="T30" fmla="*/ 31 w 43"/>
                <a:gd name="T31" fmla="*/ 31 h 43"/>
                <a:gd name="T32" fmla="*/ 27 w 43"/>
                <a:gd name="T33" fmla="*/ 31 h 43"/>
                <a:gd name="T34" fmla="*/ 22 w 43"/>
                <a:gd name="T35" fmla="*/ 28 h 43"/>
                <a:gd name="T36" fmla="*/ 18 w 43"/>
                <a:gd name="T37" fmla="*/ 30 h 43"/>
                <a:gd name="T38" fmla="*/ 16 w 43"/>
                <a:gd name="T39" fmla="*/ 30 h 43"/>
                <a:gd name="T40" fmla="*/ 15 w 43"/>
                <a:gd name="T41" fmla="*/ 27 h 43"/>
                <a:gd name="T42" fmla="*/ 6 w 43"/>
                <a:gd name="T43" fmla="*/ 21 h 43"/>
                <a:gd name="T44" fmla="*/ 0 w 43"/>
                <a:gd name="T45" fmla="*/ 6 h 43"/>
                <a:gd name="T46" fmla="*/ 2 w 43"/>
                <a:gd name="T47" fmla="*/ 6 h 43"/>
                <a:gd name="T48" fmla="*/ 19 w 43"/>
                <a:gd name="T4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43">
                  <a:moveTo>
                    <a:pt x="19" y="0"/>
                  </a:moveTo>
                  <a:lnTo>
                    <a:pt x="22" y="0"/>
                  </a:lnTo>
                  <a:lnTo>
                    <a:pt x="25" y="4"/>
                  </a:lnTo>
                  <a:lnTo>
                    <a:pt x="28" y="6"/>
                  </a:lnTo>
                  <a:lnTo>
                    <a:pt x="30" y="6"/>
                  </a:lnTo>
                  <a:lnTo>
                    <a:pt x="28" y="13"/>
                  </a:lnTo>
                  <a:lnTo>
                    <a:pt x="34" y="18"/>
                  </a:lnTo>
                  <a:lnTo>
                    <a:pt x="33" y="24"/>
                  </a:lnTo>
                  <a:lnTo>
                    <a:pt x="37" y="28"/>
                  </a:lnTo>
                  <a:lnTo>
                    <a:pt x="42" y="28"/>
                  </a:lnTo>
                  <a:lnTo>
                    <a:pt x="42" y="37"/>
                  </a:lnTo>
                  <a:lnTo>
                    <a:pt x="40" y="37"/>
                  </a:lnTo>
                  <a:lnTo>
                    <a:pt x="43" y="42"/>
                  </a:lnTo>
                  <a:lnTo>
                    <a:pt x="43" y="43"/>
                  </a:lnTo>
                  <a:lnTo>
                    <a:pt x="34" y="43"/>
                  </a:lnTo>
                  <a:lnTo>
                    <a:pt x="31" y="31"/>
                  </a:lnTo>
                  <a:lnTo>
                    <a:pt x="27" y="31"/>
                  </a:lnTo>
                  <a:lnTo>
                    <a:pt x="22" y="28"/>
                  </a:lnTo>
                  <a:lnTo>
                    <a:pt x="18" y="30"/>
                  </a:lnTo>
                  <a:lnTo>
                    <a:pt x="16" y="30"/>
                  </a:lnTo>
                  <a:lnTo>
                    <a:pt x="15" y="27"/>
                  </a:lnTo>
                  <a:lnTo>
                    <a:pt x="6" y="21"/>
                  </a:lnTo>
                  <a:lnTo>
                    <a:pt x="0" y="6"/>
                  </a:lnTo>
                  <a:lnTo>
                    <a:pt x="2" y="6"/>
                  </a:lnTo>
                  <a:lnTo>
                    <a:pt x="1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6" name="Azerbaijan - West">
              <a:extLst>
                <a:ext uri="{FF2B5EF4-FFF2-40B4-BE49-F238E27FC236}">
                  <a16:creationId xmlns:a16="http://schemas.microsoft.com/office/drawing/2014/main" id="{9CED6525-A0C1-D3F9-FEA3-62336DB0F8A6}"/>
                </a:ext>
              </a:extLst>
            </p:cNvPr>
            <p:cNvSpPr>
              <a:spLocks/>
            </p:cNvSpPr>
            <p:nvPr/>
          </p:nvSpPr>
          <p:spPr bwMode="auto">
            <a:xfrm>
              <a:off x="6879361" y="3566417"/>
              <a:ext cx="36141" cy="28913"/>
            </a:xfrm>
            <a:custGeom>
              <a:avLst/>
              <a:gdLst>
                <a:gd name="T0" fmla="*/ 5 w 20"/>
                <a:gd name="T1" fmla="*/ 0 h 16"/>
                <a:gd name="T2" fmla="*/ 6 w 20"/>
                <a:gd name="T3" fmla="*/ 0 h 16"/>
                <a:gd name="T4" fmla="*/ 11 w 20"/>
                <a:gd name="T5" fmla="*/ 3 h 16"/>
                <a:gd name="T6" fmla="*/ 17 w 20"/>
                <a:gd name="T7" fmla="*/ 3 h 16"/>
                <a:gd name="T8" fmla="*/ 20 w 20"/>
                <a:gd name="T9" fmla="*/ 15 h 16"/>
                <a:gd name="T10" fmla="*/ 20 w 20"/>
                <a:gd name="T11" fmla="*/ 16 h 16"/>
                <a:gd name="T12" fmla="*/ 11 w 20"/>
                <a:gd name="T13" fmla="*/ 16 h 16"/>
                <a:gd name="T14" fmla="*/ 11 w 20"/>
                <a:gd name="T15" fmla="*/ 15 h 16"/>
                <a:gd name="T16" fmla="*/ 0 w 20"/>
                <a:gd name="T17" fmla="*/ 3 h 16"/>
                <a:gd name="T18" fmla="*/ 0 w 20"/>
                <a:gd name="T19" fmla="*/ 1 h 16"/>
                <a:gd name="T20" fmla="*/ 2 w 20"/>
                <a:gd name="T21" fmla="*/ 1 h 16"/>
                <a:gd name="T22" fmla="*/ 5 w 20"/>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6">
                  <a:moveTo>
                    <a:pt x="5" y="0"/>
                  </a:moveTo>
                  <a:lnTo>
                    <a:pt x="6" y="0"/>
                  </a:lnTo>
                  <a:lnTo>
                    <a:pt x="11" y="3"/>
                  </a:lnTo>
                  <a:lnTo>
                    <a:pt x="17" y="3"/>
                  </a:lnTo>
                  <a:lnTo>
                    <a:pt x="20" y="15"/>
                  </a:lnTo>
                  <a:lnTo>
                    <a:pt x="20" y="16"/>
                  </a:lnTo>
                  <a:lnTo>
                    <a:pt x="11" y="16"/>
                  </a:lnTo>
                  <a:lnTo>
                    <a:pt x="11" y="15"/>
                  </a:lnTo>
                  <a:lnTo>
                    <a:pt x="0" y="3"/>
                  </a:lnTo>
                  <a:lnTo>
                    <a:pt x="0" y="1"/>
                  </a:lnTo>
                  <a:lnTo>
                    <a:pt x="2" y="1"/>
                  </a:lnTo>
                  <a:lnTo>
                    <a:pt x="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7" name="Azerbaijan - East">
              <a:extLst>
                <a:ext uri="{FF2B5EF4-FFF2-40B4-BE49-F238E27FC236}">
                  <a16:creationId xmlns:a16="http://schemas.microsoft.com/office/drawing/2014/main" id="{D7911E3A-448B-FF82-739F-C59FB1610DA0}"/>
                </a:ext>
              </a:extLst>
            </p:cNvPr>
            <p:cNvSpPr>
              <a:spLocks/>
            </p:cNvSpPr>
            <p:nvPr/>
          </p:nvSpPr>
          <p:spPr bwMode="auto">
            <a:xfrm>
              <a:off x="6888396" y="3495942"/>
              <a:ext cx="124688" cy="112038"/>
            </a:xfrm>
            <a:custGeom>
              <a:avLst/>
              <a:gdLst>
                <a:gd name="T0" fmla="*/ 19 w 69"/>
                <a:gd name="T1" fmla="*/ 0 h 62"/>
                <a:gd name="T2" fmla="*/ 29 w 69"/>
                <a:gd name="T3" fmla="*/ 6 h 62"/>
                <a:gd name="T4" fmla="*/ 31 w 69"/>
                <a:gd name="T5" fmla="*/ 12 h 62"/>
                <a:gd name="T6" fmla="*/ 38 w 69"/>
                <a:gd name="T7" fmla="*/ 12 h 62"/>
                <a:gd name="T8" fmla="*/ 44 w 69"/>
                <a:gd name="T9" fmla="*/ 3 h 62"/>
                <a:gd name="T10" fmla="*/ 46 w 69"/>
                <a:gd name="T11" fmla="*/ 3 h 62"/>
                <a:gd name="T12" fmla="*/ 52 w 69"/>
                <a:gd name="T13" fmla="*/ 9 h 62"/>
                <a:gd name="T14" fmla="*/ 61 w 69"/>
                <a:gd name="T15" fmla="*/ 24 h 62"/>
                <a:gd name="T16" fmla="*/ 68 w 69"/>
                <a:gd name="T17" fmla="*/ 25 h 62"/>
                <a:gd name="T18" fmla="*/ 69 w 69"/>
                <a:gd name="T19" fmla="*/ 30 h 62"/>
                <a:gd name="T20" fmla="*/ 69 w 69"/>
                <a:gd name="T21" fmla="*/ 31 h 62"/>
                <a:gd name="T22" fmla="*/ 64 w 69"/>
                <a:gd name="T23" fmla="*/ 30 h 62"/>
                <a:gd name="T24" fmla="*/ 61 w 69"/>
                <a:gd name="T25" fmla="*/ 33 h 62"/>
                <a:gd name="T26" fmla="*/ 56 w 69"/>
                <a:gd name="T27" fmla="*/ 52 h 62"/>
                <a:gd name="T28" fmla="*/ 55 w 69"/>
                <a:gd name="T29" fmla="*/ 52 h 62"/>
                <a:gd name="T30" fmla="*/ 52 w 69"/>
                <a:gd name="T31" fmla="*/ 51 h 62"/>
                <a:gd name="T32" fmla="*/ 52 w 69"/>
                <a:gd name="T33" fmla="*/ 61 h 62"/>
                <a:gd name="T34" fmla="*/ 50 w 69"/>
                <a:gd name="T35" fmla="*/ 61 h 62"/>
                <a:gd name="T36" fmla="*/ 50 w 69"/>
                <a:gd name="T37" fmla="*/ 62 h 62"/>
                <a:gd name="T38" fmla="*/ 38 w 69"/>
                <a:gd name="T39" fmla="*/ 55 h 62"/>
                <a:gd name="T40" fmla="*/ 43 w 69"/>
                <a:gd name="T41" fmla="*/ 52 h 62"/>
                <a:gd name="T42" fmla="*/ 40 w 69"/>
                <a:gd name="T43" fmla="*/ 43 h 62"/>
                <a:gd name="T44" fmla="*/ 37 w 69"/>
                <a:gd name="T45" fmla="*/ 43 h 62"/>
                <a:gd name="T46" fmla="*/ 28 w 69"/>
                <a:gd name="T47" fmla="*/ 46 h 62"/>
                <a:gd name="T48" fmla="*/ 22 w 69"/>
                <a:gd name="T49" fmla="*/ 55 h 62"/>
                <a:gd name="T50" fmla="*/ 21 w 69"/>
                <a:gd name="T51" fmla="*/ 55 h 62"/>
                <a:gd name="T52" fmla="*/ 18 w 69"/>
                <a:gd name="T53" fmla="*/ 49 h 62"/>
                <a:gd name="T54" fmla="*/ 18 w 69"/>
                <a:gd name="T55" fmla="*/ 48 h 62"/>
                <a:gd name="T56" fmla="*/ 19 w 69"/>
                <a:gd name="T57" fmla="*/ 48 h 62"/>
                <a:gd name="T58" fmla="*/ 19 w 69"/>
                <a:gd name="T59" fmla="*/ 42 h 62"/>
                <a:gd name="T60" fmla="*/ 16 w 69"/>
                <a:gd name="T61" fmla="*/ 42 h 62"/>
                <a:gd name="T62" fmla="*/ 10 w 69"/>
                <a:gd name="T63" fmla="*/ 36 h 62"/>
                <a:gd name="T64" fmla="*/ 12 w 69"/>
                <a:gd name="T65" fmla="*/ 30 h 62"/>
                <a:gd name="T66" fmla="*/ 6 w 69"/>
                <a:gd name="T67" fmla="*/ 25 h 62"/>
                <a:gd name="T68" fmla="*/ 7 w 69"/>
                <a:gd name="T69" fmla="*/ 18 h 62"/>
                <a:gd name="T70" fmla="*/ 3 w 69"/>
                <a:gd name="T71" fmla="*/ 18 h 62"/>
                <a:gd name="T72" fmla="*/ 3 w 69"/>
                <a:gd name="T73" fmla="*/ 16 h 62"/>
                <a:gd name="T74" fmla="*/ 0 w 69"/>
                <a:gd name="T75" fmla="*/ 12 h 62"/>
                <a:gd name="T76" fmla="*/ 4 w 69"/>
                <a:gd name="T77" fmla="*/ 9 h 62"/>
                <a:gd name="T78" fmla="*/ 6 w 69"/>
                <a:gd name="T79" fmla="*/ 9 h 62"/>
                <a:gd name="T80" fmla="*/ 21 w 69"/>
                <a:gd name="T81" fmla="*/ 13 h 62"/>
                <a:gd name="T82" fmla="*/ 21 w 69"/>
                <a:gd name="T83" fmla="*/ 12 h 62"/>
                <a:gd name="T84" fmla="*/ 16 w 69"/>
                <a:gd name="T85" fmla="*/ 6 h 62"/>
                <a:gd name="T86" fmla="*/ 19 w 69"/>
                <a:gd name="T87" fmla="*/ 2 h 62"/>
                <a:gd name="T88" fmla="*/ 19 w 69"/>
                <a:gd name="T8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62">
                  <a:moveTo>
                    <a:pt x="19" y="0"/>
                  </a:moveTo>
                  <a:lnTo>
                    <a:pt x="29" y="6"/>
                  </a:lnTo>
                  <a:lnTo>
                    <a:pt x="31" y="12"/>
                  </a:lnTo>
                  <a:lnTo>
                    <a:pt x="38" y="12"/>
                  </a:lnTo>
                  <a:lnTo>
                    <a:pt x="44" y="3"/>
                  </a:lnTo>
                  <a:lnTo>
                    <a:pt x="46" y="3"/>
                  </a:lnTo>
                  <a:lnTo>
                    <a:pt x="52" y="9"/>
                  </a:lnTo>
                  <a:lnTo>
                    <a:pt x="61" y="24"/>
                  </a:lnTo>
                  <a:lnTo>
                    <a:pt x="68" y="25"/>
                  </a:lnTo>
                  <a:lnTo>
                    <a:pt x="69" y="30"/>
                  </a:lnTo>
                  <a:lnTo>
                    <a:pt x="69" y="31"/>
                  </a:lnTo>
                  <a:lnTo>
                    <a:pt x="64" y="30"/>
                  </a:lnTo>
                  <a:lnTo>
                    <a:pt x="61" y="33"/>
                  </a:lnTo>
                  <a:lnTo>
                    <a:pt x="56" y="52"/>
                  </a:lnTo>
                  <a:lnTo>
                    <a:pt x="55" y="52"/>
                  </a:lnTo>
                  <a:lnTo>
                    <a:pt x="52" y="51"/>
                  </a:lnTo>
                  <a:lnTo>
                    <a:pt x="52" y="61"/>
                  </a:lnTo>
                  <a:lnTo>
                    <a:pt x="50" y="61"/>
                  </a:lnTo>
                  <a:lnTo>
                    <a:pt x="50" y="62"/>
                  </a:lnTo>
                  <a:lnTo>
                    <a:pt x="38" y="55"/>
                  </a:lnTo>
                  <a:lnTo>
                    <a:pt x="43" y="52"/>
                  </a:lnTo>
                  <a:lnTo>
                    <a:pt x="40" y="43"/>
                  </a:lnTo>
                  <a:lnTo>
                    <a:pt x="37" y="43"/>
                  </a:lnTo>
                  <a:lnTo>
                    <a:pt x="28" y="46"/>
                  </a:lnTo>
                  <a:lnTo>
                    <a:pt x="22" y="55"/>
                  </a:lnTo>
                  <a:lnTo>
                    <a:pt x="21" y="55"/>
                  </a:lnTo>
                  <a:lnTo>
                    <a:pt x="18" y="49"/>
                  </a:lnTo>
                  <a:lnTo>
                    <a:pt x="18" y="48"/>
                  </a:lnTo>
                  <a:lnTo>
                    <a:pt x="19" y="48"/>
                  </a:lnTo>
                  <a:lnTo>
                    <a:pt x="19" y="42"/>
                  </a:lnTo>
                  <a:lnTo>
                    <a:pt x="16" y="42"/>
                  </a:lnTo>
                  <a:lnTo>
                    <a:pt x="10" y="36"/>
                  </a:lnTo>
                  <a:lnTo>
                    <a:pt x="12" y="30"/>
                  </a:lnTo>
                  <a:lnTo>
                    <a:pt x="6" y="25"/>
                  </a:lnTo>
                  <a:lnTo>
                    <a:pt x="7" y="18"/>
                  </a:lnTo>
                  <a:lnTo>
                    <a:pt x="3" y="18"/>
                  </a:lnTo>
                  <a:lnTo>
                    <a:pt x="3" y="16"/>
                  </a:lnTo>
                  <a:lnTo>
                    <a:pt x="0" y="12"/>
                  </a:lnTo>
                  <a:lnTo>
                    <a:pt x="4" y="9"/>
                  </a:lnTo>
                  <a:lnTo>
                    <a:pt x="6" y="9"/>
                  </a:lnTo>
                  <a:lnTo>
                    <a:pt x="21" y="13"/>
                  </a:lnTo>
                  <a:lnTo>
                    <a:pt x="21" y="12"/>
                  </a:lnTo>
                  <a:lnTo>
                    <a:pt x="16" y="6"/>
                  </a:lnTo>
                  <a:lnTo>
                    <a:pt x="19" y="2"/>
                  </a:lnTo>
                  <a:lnTo>
                    <a:pt x="1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8" name="Denmark">
              <a:extLst>
                <a:ext uri="{FF2B5EF4-FFF2-40B4-BE49-F238E27FC236}">
                  <a16:creationId xmlns:a16="http://schemas.microsoft.com/office/drawing/2014/main" id="{CA7019FF-280A-0E24-75CB-DD8D3C4579A2}"/>
                </a:ext>
              </a:extLst>
            </p:cNvPr>
            <p:cNvSpPr>
              <a:spLocks/>
            </p:cNvSpPr>
            <p:nvPr/>
          </p:nvSpPr>
          <p:spPr bwMode="auto">
            <a:xfrm>
              <a:off x="6015586" y="2914068"/>
              <a:ext cx="112038" cy="137336"/>
            </a:xfrm>
            <a:custGeom>
              <a:avLst/>
              <a:gdLst/>
              <a:ahLst/>
              <a:cxnLst/>
              <a:rect l="l" t="t" r="r" b="b"/>
              <a:pathLst>
                <a:path w="112931" h="138431">
                  <a:moveTo>
                    <a:pt x="78324" y="120216"/>
                  </a:moveTo>
                  <a:lnTo>
                    <a:pt x="87431" y="122038"/>
                  </a:lnTo>
                  <a:lnTo>
                    <a:pt x="87431" y="125681"/>
                  </a:lnTo>
                  <a:lnTo>
                    <a:pt x="91074" y="132967"/>
                  </a:lnTo>
                  <a:lnTo>
                    <a:pt x="91074" y="136610"/>
                  </a:lnTo>
                  <a:lnTo>
                    <a:pt x="72859" y="131145"/>
                  </a:lnTo>
                  <a:lnTo>
                    <a:pt x="72859" y="122038"/>
                  </a:lnTo>
                  <a:close/>
                  <a:moveTo>
                    <a:pt x="61929" y="92894"/>
                  </a:moveTo>
                  <a:lnTo>
                    <a:pt x="63751" y="92894"/>
                  </a:lnTo>
                  <a:lnTo>
                    <a:pt x="69215" y="105645"/>
                  </a:lnTo>
                  <a:lnTo>
                    <a:pt x="69215" y="116574"/>
                  </a:lnTo>
                  <a:lnTo>
                    <a:pt x="69216" y="116574"/>
                  </a:lnTo>
                  <a:lnTo>
                    <a:pt x="67395" y="131147"/>
                  </a:lnTo>
                  <a:lnTo>
                    <a:pt x="67395" y="132968"/>
                  </a:lnTo>
                  <a:lnTo>
                    <a:pt x="63752" y="132968"/>
                  </a:lnTo>
                  <a:lnTo>
                    <a:pt x="63752" y="131147"/>
                  </a:lnTo>
                  <a:lnTo>
                    <a:pt x="61930" y="125682"/>
                  </a:lnTo>
                  <a:lnTo>
                    <a:pt x="67395" y="116574"/>
                  </a:lnTo>
                  <a:lnTo>
                    <a:pt x="61929" y="116574"/>
                  </a:lnTo>
                  <a:lnTo>
                    <a:pt x="56465" y="120217"/>
                  </a:lnTo>
                  <a:lnTo>
                    <a:pt x="47358" y="120217"/>
                  </a:lnTo>
                  <a:lnTo>
                    <a:pt x="47358" y="116574"/>
                  </a:lnTo>
                  <a:lnTo>
                    <a:pt x="40072" y="98359"/>
                  </a:lnTo>
                  <a:lnTo>
                    <a:pt x="41894" y="98359"/>
                  </a:lnTo>
                  <a:lnTo>
                    <a:pt x="47358" y="94716"/>
                  </a:lnTo>
                  <a:close/>
                  <a:moveTo>
                    <a:pt x="103824" y="71036"/>
                  </a:moveTo>
                  <a:lnTo>
                    <a:pt x="112931" y="89251"/>
                  </a:lnTo>
                  <a:lnTo>
                    <a:pt x="112931" y="92894"/>
                  </a:lnTo>
                  <a:lnTo>
                    <a:pt x="103824" y="98358"/>
                  </a:lnTo>
                  <a:lnTo>
                    <a:pt x="107467" y="109287"/>
                  </a:lnTo>
                  <a:lnTo>
                    <a:pt x="107467" y="111108"/>
                  </a:lnTo>
                  <a:lnTo>
                    <a:pt x="102002" y="111108"/>
                  </a:lnTo>
                  <a:lnTo>
                    <a:pt x="102002" y="120216"/>
                  </a:lnTo>
                  <a:lnTo>
                    <a:pt x="98360" y="122037"/>
                  </a:lnTo>
                  <a:lnTo>
                    <a:pt x="98355" y="122036"/>
                  </a:lnTo>
                  <a:lnTo>
                    <a:pt x="98360" y="122038"/>
                  </a:lnTo>
                  <a:lnTo>
                    <a:pt x="98360" y="125681"/>
                  </a:lnTo>
                  <a:lnTo>
                    <a:pt x="96539" y="136610"/>
                  </a:lnTo>
                  <a:lnTo>
                    <a:pt x="96539" y="138431"/>
                  </a:lnTo>
                  <a:lnTo>
                    <a:pt x="92896" y="138431"/>
                  </a:lnTo>
                  <a:lnTo>
                    <a:pt x="91074" y="122038"/>
                  </a:lnTo>
                  <a:lnTo>
                    <a:pt x="91074" y="120823"/>
                  </a:lnTo>
                  <a:lnTo>
                    <a:pt x="87431" y="120216"/>
                  </a:lnTo>
                  <a:lnTo>
                    <a:pt x="87431" y="114751"/>
                  </a:lnTo>
                  <a:lnTo>
                    <a:pt x="78324" y="111108"/>
                  </a:lnTo>
                  <a:lnTo>
                    <a:pt x="74681" y="94715"/>
                  </a:lnTo>
                  <a:lnTo>
                    <a:pt x="69216" y="89251"/>
                  </a:lnTo>
                  <a:lnTo>
                    <a:pt x="83788" y="81965"/>
                  </a:lnTo>
                  <a:lnTo>
                    <a:pt x="80145" y="78322"/>
                  </a:lnTo>
                  <a:lnTo>
                    <a:pt x="80145" y="76501"/>
                  </a:lnTo>
                  <a:lnTo>
                    <a:pt x="91074" y="76501"/>
                  </a:lnTo>
                  <a:lnTo>
                    <a:pt x="91074" y="83786"/>
                  </a:lnTo>
                  <a:lnTo>
                    <a:pt x="92895" y="81965"/>
                  </a:lnTo>
                  <a:lnTo>
                    <a:pt x="92895" y="76501"/>
                  </a:lnTo>
                  <a:close/>
                  <a:moveTo>
                    <a:pt x="56466" y="0"/>
                  </a:moveTo>
                  <a:lnTo>
                    <a:pt x="58287" y="0"/>
                  </a:lnTo>
                  <a:lnTo>
                    <a:pt x="58287" y="21858"/>
                  </a:lnTo>
                  <a:lnTo>
                    <a:pt x="51002" y="49180"/>
                  </a:lnTo>
                  <a:lnTo>
                    <a:pt x="56466" y="49180"/>
                  </a:lnTo>
                  <a:lnTo>
                    <a:pt x="52823" y="58287"/>
                  </a:lnTo>
                  <a:lnTo>
                    <a:pt x="58287" y="58287"/>
                  </a:lnTo>
                  <a:lnTo>
                    <a:pt x="61930" y="54644"/>
                  </a:lnTo>
                  <a:lnTo>
                    <a:pt x="67395" y="54644"/>
                  </a:lnTo>
                  <a:lnTo>
                    <a:pt x="67395" y="58287"/>
                  </a:lnTo>
                  <a:lnTo>
                    <a:pt x="69216" y="58287"/>
                  </a:lnTo>
                  <a:lnTo>
                    <a:pt x="69216" y="65573"/>
                  </a:lnTo>
                  <a:lnTo>
                    <a:pt x="67395" y="65573"/>
                  </a:lnTo>
                  <a:lnTo>
                    <a:pt x="58287" y="72859"/>
                  </a:lnTo>
                  <a:lnTo>
                    <a:pt x="56466" y="71038"/>
                  </a:lnTo>
                  <a:lnTo>
                    <a:pt x="56466" y="78324"/>
                  </a:lnTo>
                  <a:lnTo>
                    <a:pt x="52823" y="78324"/>
                  </a:lnTo>
                  <a:lnTo>
                    <a:pt x="45537" y="83788"/>
                  </a:lnTo>
                  <a:lnTo>
                    <a:pt x="45537" y="89253"/>
                  </a:lnTo>
                  <a:lnTo>
                    <a:pt x="40073" y="89253"/>
                  </a:lnTo>
                  <a:lnTo>
                    <a:pt x="40073" y="94717"/>
                  </a:lnTo>
                  <a:lnTo>
                    <a:pt x="34608" y="114753"/>
                  </a:lnTo>
                  <a:lnTo>
                    <a:pt x="40073" y="125682"/>
                  </a:lnTo>
                  <a:lnTo>
                    <a:pt x="14572" y="125682"/>
                  </a:lnTo>
                  <a:lnTo>
                    <a:pt x="14572" y="122039"/>
                  </a:lnTo>
                  <a:lnTo>
                    <a:pt x="12751" y="122039"/>
                  </a:lnTo>
                  <a:lnTo>
                    <a:pt x="12751" y="105646"/>
                  </a:lnTo>
                  <a:lnTo>
                    <a:pt x="1822" y="98360"/>
                  </a:lnTo>
                  <a:lnTo>
                    <a:pt x="0" y="94717"/>
                  </a:lnTo>
                  <a:lnTo>
                    <a:pt x="0" y="60109"/>
                  </a:lnTo>
                  <a:lnTo>
                    <a:pt x="5465" y="3825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9" name="Germany">
              <a:extLst>
                <a:ext uri="{FF2B5EF4-FFF2-40B4-BE49-F238E27FC236}">
                  <a16:creationId xmlns:a16="http://schemas.microsoft.com/office/drawing/2014/main" id="{2DA885A8-5BA1-3372-AA0F-DC35AC81F92C}"/>
                </a:ext>
              </a:extLst>
            </p:cNvPr>
            <p:cNvSpPr>
              <a:spLocks/>
            </p:cNvSpPr>
            <p:nvPr/>
          </p:nvSpPr>
          <p:spPr bwMode="auto">
            <a:xfrm>
              <a:off x="5966795" y="3035140"/>
              <a:ext cx="211427" cy="287324"/>
            </a:xfrm>
            <a:custGeom>
              <a:avLst/>
              <a:gdLst/>
              <a:ahLst/>
              <a:cxnLst/>
              <a:rect l="l" t="t" r="r" b="b"/>
              <a:pathLst>
                <a:path w="213112" h="289614">
                  <a:moveTo>
                    <a:pt x="61930" y="0"/>
                  </a:moveTo>
                  <a:lnTo>
                    <a:pt x="85609" y="0"/>
                  </a:lnTo>
                  <a:lnTo>
                    <a:pt x="91073" y="3643"/>
                  </a:lnTo>
                  <a:lnTo>
                    <a:pt x="94716" y="5464"/>
                  </a:lnTo>
                  <a:lnTo>
                    <a:pt x="94716" y="16393"/>
                  </a:lnTo>
                  <a:lnTo>
                    <a:pt x="96538" y="21858"/>
                  </a:lnTo>
                  <a:lnTo>
                    <a:pt x="122038" y="21858"/>
                  </a:lnTo>
                  <a:lnTo>
                    <a:pt x="122038" y="23679"/>
                  </a:lnTo>
                  <a:lnTo>
                    <a:pt x="112931" y="38251"/>
                  </a:lnTo>
                  <a:lnTo>
                    <a:pt x="129324" y="38251"/>
                  </a:lnTo>
                  <a:lnTo>
                    <a:pt x="156646" y="20036"/>
                  </a:lnTo>
                  <a:lnTo>
                    <a:pt x="158468" y="20036"/>
                  </a:lnTo>
                  <a:lnTo>
                    <a:pt x="156646" y="23679"/>
                  </a:lnTo>
                  <a:lnTo>
                    <a:pt x="163932" y="21858"/>
                  </a:lnTo>
                  <a:lnTo>
                    <a:pt x="167575" y="21858"/>
                  </a:lnTo>
                  <a:lnTo>
                    <a:pt x="167575" y="21858"/>
                  </a:lnTo>
                  <a:lnTo>
                    <a:pt x="169397" y="16394"/>
                  </a:lnTo>
                  <a:lnTo>
                    <a:pt x="169397" y="14572"/>
                  </a:lnTo>
                  <a:lnTo>
                    <a:pt x="169397" y="10929"/>
                  </a:lnTo>
                  <a:lnTo>
                    <a:pt x="180326" y="14572"/>
                  </a:lnTo>
                  <a:lnTo>
                    <a:pt x="183969" y="14572"/>
                  </a:lnTo>
                  <a:lnTo>
                    <a:pt x="183969" y="27323"/>
                  </a:lnTo>
                  <a:lnTo>
                    <a:pt x="180326" y="27323"/>
                  </a:lnTo>
                  <a:lnTo>
                    <a:pt x="169854" y="23832"/>
                  </a:lnTo>
                  <a:lnTo>
                    <a:pt x="194898" y="45537"/>
                  </a:lnTo>
                  <a:lnTo>
                    <a:pt x="200362" y="65573"/>
                  </a:lnTo>
                  <a:lnTo>
                    <a:pt x="196719" y="83788"/>
                  </a:lnTo>
                  <a:lnTo>
                    <a:pt x="202183" y="89252"/>
                  </a:lnTo>
                  <a:lnTo>
                    <a:pt x="207648" y="129325"/>
                  </a:lnTo>
                  <a:lnTo>
                    <a:pt x="213112" y="140253"/>
                  </a:lnTo>
                  <a:lnTo>
                    <a:pt x="207648" y="162111"/>
                  </a:lnTo>
                  <a:lnTo>
                    <a:pt x="196719" y="151182"/>
                  </a:lnTo>
                  <a:lnTo>
                    <a:pt x="196719" y="160290"/>
                  </a:lnTo>
                  <a:lnTo>
                    <a:pt x="194898" y="160290"/>
                  </a:lnTo>
                  <a:lnTo>
                    <a:pt x="151182" y="185790"/>
                  </a:lnTo>
                  <a:lnTo>
                    <a:pt x="147539" y="183969"/>
                  </a:lnTo>
                  <a:lnTo>
                    <a:pt x="158468" y="211291"/>
                  </a:lnTo>
                  <a:lnTo>
                    <a:pt x="189433" y="238613"/>
                  </a:lnTo>
                  <a:lnTo>
                    <a:pt x="167575" y="256828"/>
                  </a:lnTo>
                  <a:lnTo>
                    <a:pt x="169397" y="278685"/>
                  </a:lnTo>
                  <a:lnTo>
                    <a:pt x="167575" y="278685"/>
                  </a:lnTo>
                  <a:lnTo>
                    <a:pt x="163932" y="280507"/>
                  </a:lnTo>
                  <a:lnTo>
                    <a:pt x="162111" y="280507"/>
                  </a:lnTo>
                  <a:lnTo>
                    <a:pt x="151182" y="275042"/>
                  </a:lnTo>
                  <a:lnTo>
                    <a:pt x="123860" y="285971"/>
                  </a:lnTo>
                  <a:lnTo>
                    <a:pt x="111109" y="280507"/>
                  </a:lnTo>
                  <a:lnTo>
                    <a:pt x="105645" y="289614"/>
                  </a:lnTo>
                  <a:lnTo>
                    <a:pt x="102002" y="289614"/>
                  </a:lnTo>
                  <a:lnTo>
                    <a:pt x="91073" y="280507"/>
                  </a:lnTo>
                  <a:lnTo>
                    <a:pt x="83787" y="284150"/>
                  </a:lnTo>
                  <a:lnTo>
                    <a:pt x="67394" y="278685"/>
                  </a:lnTo>
                  <a:lnTo>
                    <a:pt x="38251" y="278685"/>
                  </a:lnTo>
                  <a:lnTo>
                    <a:pt x="38251" y="262292"/>
                  </a:lnTo>
                  <a:lnTo>
                    <a:pt x="49179" y="229506"/>
                  </a:lnTo>
                  <a:lnTo>
                    <a:pt x="18214" y="222220"/>
                  </a:lnTo>
                  <a:lnTo>
                    <a:pt x="5464" y="211291"/>
                  </a:lnTo>
                  <a:lnTo>
                    <a:pt x="5464" y="207648"/>
                  </a:lnTo>
                  <a:lnTo>
                    <a:pt x="7286" y="202183"/>
                  </a:lnTo>
                  <a:lnTo>
                    <a:pt x="1821" y="185790"/>
                  </a:lnTo>
                  <a:lnTo>
                    <a:pt x="5464" y="176683"/>
                  </a:lnTo>
                  <a:lnTo>
                    <a:pt x="0" y="165754"/>
                  </a:lnTo>
                  <a:lnTo>
                    <a:pt x="0" y="118396"/>
                  </a:lnTo>
                  <a:lnTo>
                    <a:pt x="12750" y="118396"/>
                  </a:lnTo>
                  <a:lnTo>
                    <a:pt x="23679" y="105645"/>
                  </a:lnTo>
                  <a:lnTo>
                    <a:pt x="16393" y="94717"/>
                  </a:lnTo>
                  <a:lnTo>
                    <a:pt x="12750" y="92895"/>
                  </a:lnTo>
                  <a:lnTo>
                    <a:pt x="16393" y="92895"/>
                  </a:lnTo>
                  <a:lnTo>
                    <a:pt x="21857" y="87431"/>
                  </a:lnTo>
                  <a:lnTo>
                    <a:pt x="27322" y="67395"/>
                  </a:lnTo>
                  <a:lnTo>
                    <a:pt x="34608" y="67395"/>
                  </a:lnTo>
                  <a:lnTo>
                    <a:pt x="27322" y="61930"/>
                  </a:lnTo>
                  <a:lnTo>
                    <a:pt x="27322" y="60109"/>
                  </a:lnTo>
                  <a:lnTo>
                    <a:pt x="29143" y="51001"/>
                  </a:lnTo>
                  <a:lnTo>
                    <a:pt x="32786" y="51001"/>
                  </a:lnTo>
                  <a:lnTo>
                    <a:pt x="43715" y="49180"/>
                  </a:lnTo>
                  <a:lnTo>
                    <a:pt x="51001" y="51001"/>
                  </a:lnTo>
                  <a:lnTo>
                    <a:pt x="54644" y="60109"/>
                  </a:lnTo>
                  <a:lnTo>
                    <a:pt x="58287" y="56466"/>
                  </a:lnTo>
                  <a:lnTo>
                    <a:pt x="61930" y="56466"/>
                  </a:lnTo>
                  <a:lnTo>
                    <a:pt x="61930" y="45537"/>
                  </a:lnTo>
                  <a:lnTo>
                    <a:pt x="72859" y="43715"/>
                  </a:lnTo>
                  <a:lnTo>
                    <a:pt x="61930" y="23679"/>
                  </a:lnTo>
                  <a:lnTo>
                    <a:pt x="63751" y="23679"/>
                  </a:lnTo>
                  <a:lnTo>
                    <a:pt x="69216" y="16393"/>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0" name="Netherlands">
              <a:extLst>
                <a:ext uri="{FF2B5EF4-FFF2-40B4-BE49-F238E27FC236}">
                  <a16:creationId xmlns:a16="http://schemas.microsoft.com/office/drawing/2014/main" id="{F30D86C2-4CFE-EEB0-2300-2E1E7DC82928}"/>
                </a:ext>
              </a:extLst>
            </p:cNvPr>
            <p:cNvSpPr>
              <a:spLocks/>
            </p:cNvSpPr>
            <p:nvPr/>
          </p:nvSpPr>
          <p:spPr bwMode="auto">
            <a:xfrm>
              <a:off x="5907161" y="3094774"/>
              <a:ext cx="86739" cy="106617"/>
            </a:xfrm>
            <a:custGeom>
              <a:avLst/>
              <a:gdLst/>
              <a:ahLst/>
              <a:cxnLst/>
              <a:rect l="l" t="t" r="r" b="b"/>
              <a:pathLst>
                <a:path w="87430" h="107467">
                  <a:moveTo>
                    <a:pt x="38252" y="7286"/>
                  </a:moveTo>
                  <a:lnTo>
                    <a:pt x="43716" y="7286"/>
                  </a:lnTo>
                  <a:lnTo>
                    <a:pt x="43716" y="10929"/>
                  </a:lnTo>
                  <a:lnTo>
                    <a:pt x="32787" y="21858"/>
                  </a:lnTo>
                  <a:lnTo>
                    <a:pt x="30965" y="21858"/>
                  </a:lnTo>
                  <a:lnTo>
                    <a:pt x="38252" y="10929"/>
                  </a:lnTo>
                  <a:close/>
                  <a:moveTo>
                    <a:pt x="78323" y="0"/>
                  </a:moveTo>
                  <a:lnTo>
                    <a:pt x="87430" y="7286"/>
                  </a:lnTo>
                  <a:lnTo>
                    <a:pt x="87430" y="10929"/>
                  </a:lnTo>
                  <a:lnTo>
                    <a:pt x="83787" y="29144"/>
                  </a:lnTo>
                  <a:lnTo>
                    <a:pt x="78323" y="34608"/>
                  </a:lnTo>
                  <a:lnTo>
                    <a:pt x="87430" y="45537"/>
                  </a:lnTo>
                  <a:lnTo>
                    <a:pt x="76501" y="61930"/>
                  </a:lnTo>
                  <a:lnTo>
                    <a:pt x="61930" y="61930"/>
                  </a:lnTo>
                  <a:lnTo>
                    <a:pt x="61930" y="107467"/>
                  </a:lnTo>
                  <a:lnTo>
                    <a:pt x="60108" y="107467"/>
                  </a:lnTo>
                  <a:lnTo>
                    <a:pt x="54644" y="102003"/>
                  </a:lnTo>
                  <a:lnTo>
                    <a:pt x="51001" y="102003"/>
                  </a:lnTo>
                  <a:lnTo>
                    <a:pt x="51001" y="89252"/>
                  </a:lnTo>
                  <a:lnTo>
                    <a:pt x="38251" y="83788"/>
                  </a:lnTo>
                  <a:lnTo>
                    <a:pt x="32786" y="83788"/>
                  </a:lnTo>
                  <a:lnTo>
                    <a:pt x="27322" y="85609"/>
                  </a:lnTo>
                  <a:lnTo>
                    <a:pt x="21857" y="85609"/>
                  </a:lnTo>
                  <a:lnTo>
                    <a:pt x="16393" y="89252"/>
                  </a:lnTo>
                  <a:lnTo>
                    <a:pt x="10929" y="89252"/>
                  </a:lnTo>
                  <a:lnTo>
                    <a:pt x="0" y="83788"/>
                  </a:lnTo>
                  <a:lnTo>
                    <a:pt x="0" y="80145"/>
                  </a:lnTo>
                  <a:lnTo>
                    <a:pt x="16393" y="80145"/>
                  </a:lnTo>
                  <a:lnTo>
                    <a:pt x="14571" y="78324"/>
                  </a:lnTo>
                  <a:lnTo>
                    <a:pt x="10929" y="78324"/>
                  </a:lnTo>
                  <a:lnTo>
                    <a:pt x="10929" y="74681"/>
                  </a:lnTo>
                  <a:lnTo>
                    <a:pt x="14571" y="74681"/>
                  </a:lnTo>
                  <a:lnTo>
                    <a:pt x="30965" y="69216"/>
                  </a:lnTo>
                  <a:lnTo>
                    <a:pt x="21857" y="69216"/>
                  </a:lnTo>
                  <a:lnTo>
                    <a:pt x="20036" y="61930"/>
                  </a:lnTo>
                  <a:lnTo>
                    <a:pt x="16393" y="61930"/>
                  </a:lnTo>
                  <a:lnTo>
                    <a:pt x="20036" y="58287"/>
                  </a:lnTo>
                  <a:lnTo>
                    <a:pt x="38251" y="21858"/>
                  </a:lnTo>
                  <a:lnTo>
                    <a:pt x="41894" y="21858"/>
                  </a:lnTo>
                  <a:lnTo>
                    <a:pt x="43715" y="29144"/>
                  </a:lnTo>
                  <a:lnTo>
                    <a:pt x="41894" y="34608"/>
                  </a:lnTo>
                  <a:lnTo>
                    <a:pt x="41894" y="40073"/>
                  </a:lnTo>
                  <a:lnTo>
                    <a:pt x="45537" y="41894"/>
                  </a:lnTo>
                  <a:lnTo>
                    <a:pt x="45537" y="38251"/>
                  </a:lnTo>
                  <a:lnTo>
                    <a:pt x="49180" y="23679"/>
                  </a:lnTo>
                  <a:lnTo>
                    <a:pt x="45537" y="23679"/>
                  </a:lnTo>
                  <a:lnTo>
                    <a:pt x="45537" y="21858"/>
                  </a:lnTo>
                  <a:lnTo>
                    <a:pt x="49180" y="7286"/>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1" name="Norway Mainland">
              <a:extLst>
                <a:ext uri="{FF2B5EF4-FFF2-40B4-BE49-F238E27FC236}">
                  <a16:creationId xmlns:a16="http://schemas.microsoft.com/office/drawing/2014/main" id="{F92DC4A7-7F0E-32E3-1223-6E773892F0D2}"/>
                </a:ext>
              </a:extLst>
            </p:cNvPr>
            <p:cNvSpPr>
              <a:spLocks noEditPoints="1"/>
            </p:cNvSpPr>
            <p:nvPr/>
          </p:nvSpPr>
          <p:spPr bwMode="auto">
            <a:xfrm>
              <a:off x="5943304" y="2169558"/>
              <a:ext cx="614401" cy="731861"/>
            </a:xfrm>
            <a:custGeom>
              <a:avLst/>
              <a:gdLst>
                <a:gd name="T0" fmla="*/ 295 w 340"/>
                <a:gd name="T1" fmla="*/ 0 h 405"/>
                <a:gd name="T2" fmla="*/ 305 w 340"/>
                <a:gd name="T3" fmla="*/ 14 h 405"/>
                <a:gd name="T4" fmla="*/ 306 w 340"/>
                <a:gd name="T5" fmla="*/ 20 h 405"/>
                <a:gd name="T6" fmla="*/ 318 w 340"/>
                <a:gd name="T7" fmla="*/ 9 h 405"/>
                <a:gd name="T8" fmla="*/ 340 w 340"/>
                <a:gd name="T9" fmla="*/ 28 h 405"/>
                <a:gd name="T10" fmla="*/ 315 w 340"/>
                <a:gd name="T11" fmla="*/ 39 h 405"/>
                <a:gd name="T12" fmla="*/ 326 w 340"/>
                <a:gd name="T13" fmla="*/ 55 h 405"/>
                <a:gd name="T14" fmla="*/ 339 w 340"/>
                <a:gd name="T15" fmla="*/ 61 h 405"/>
                <a:gd name="T16" fmla="*/ 314 w 340"/>
                <a:gd name="T17" fmla="*/ 80 h 405"/>
                <a:gd name="T18" fmla="*/ 317 w 340"/>
                <a:gd name="T19" fmla="*/ 55 h 405"/>
                <a:gd name="T20" fmla="*/ 257 w 340"/>
                <a:gd name="T21" fmla="*/ 94 h 405"/>
                <a:gd name="T22" fmla="*/ 228 w 340"/>
                <a:gd name="T23" fmla="*/ 91 h 405"/>
                <a:gd name="T24" fmla="*/ 204 w 340"/>
                <a:gd name="T25" fmla="*/ 79 h 405"/>
                <a:gd name="T26" fmla="*/ 197 w 340"/>
                <a:gd name="T27" fmla="*/ 101 h 405"/>
                <a:gd name="T28" fmla="*/ 174 w 340"/>
                <a:gd name="T29" fmla="*/ 98 h 405"/>
                <a:gd name="T30" fmla="*/ 146 w 340"/>
                <a:gd name="T31" fmla="*/ 138 h 405"/>
                <a:gd name="T32" fmla="*/ 124 w 340"/>
                <a:gd name="T33" fmla="*/ 208 h 405"/>
                <a:gd name="T34" fmla="*/ 105 w 340"/>
                <a:gd name="T35" fmla="*/ 245 h 405"/>
                <a:gd name="T36" fmla="*/ 94 w 340"/>
                <a:gd name="T37" fmla="*/ 309 h 405"/>
                <a:gd name="T38" fmla="*/ 97 w 340"/>
                <a:gd name="T39" fmla="*/ 355 h 405"/>
                <a:gd name="T40" fmla="*/ 81 w 340"/>
                <a:gd name="T41" fmla="*/ 386 h 405"/>
                <a:gd name="T42" fmla="*/ 72 w 340"/>
                <a:gd name="T43" fmla="*/ 368 h 405"/>
                <a:gd name="T44" fmla="*/ 68 w 340"/>
                <a:gd name="T45" fmla="*/ 381 h 405"/>
                <a:gd name="T46" fmla="*/ 22 w 340"/>
                <a:gd name="T47" fmla="*/ 399 h 405"/>
                <a:gd name="T48" fmla="*/ 13 w 340"/>
                <a:gd name="T49" fmla="*/ 383 h 405"/>
                <a:gd name="T50" fmla="*/ 3 w 340"/>
                <a:gd name="T51" fmla="*/ 369 h 405"/>
                <a:gd name="T52" fmla="*/ 20 w 340"/>
                <a:gd name="T53" fmla="*/ 344 h 405"/>
                <a:gd name="T54" fmla="*/ 8 w 340"/>
                <a:gd name="T55" fmla="*/ 359 h 405"/>
                <a:gd name="T56" fmla="*/ 5 w 340"/>
                <a:gd name="T57" fmla="*/ 353 h 405"/>
                <a:gd name="T58" fmla="*/ 8 w 340"/>
                <a:gd name="T59" fmla="*/ 340 h 405"/>
                <a:gd name="T60" fmla="*/ 1 w 340"/>
                <a:gd name="T61" fmla="*/ 335 h 405"/>
                <a:gd name="T62" fmla="*/ 23 w 340"/>
                <a:gd name="T63" fmla="*/ 326 h 405"/>
                <a:gd name="T64" fmla="*/ 31 w 340"/>
                <a:gd name="T65" fmla="*/ 323 h 405"/>
                <a:gd name="T66" fmla="*/ 19 w 340"/>
                <a:gd name="T67" fmla="*/ 326 h 405"/>
                <a:gd name="T68" fmla="*/ 1 w 340"/>
                <a:gd name="T69" fmla="*/ 309 h 405"/>
                <a:gd name="T70" fmla="*/ 14 w 340"/>
                <a:gd name="T71" fmla="*/ 301 h 405"/>
                <a:gd name="T72" fmla="*/ 20 w 340"/>
                <a:gd name="T73" fmla="*/ 289 h 405"/>
                <a:gd name="T74" fmla="*/ 26 w 340"/>
                <a:gd name="T75" fmla="*/ 279 h 405"/>
                <a:gd name="T76" fmla="*/ 54 w 340"/>
                <a:gd name="T77" fmla="*/ 260 h 405"/>
                <a:gd name="T78" fmla="*/ 63 w 340"/>
                <a:gd name="T79" fmla="*/ 255 h 405"/>
                <a:gd name="T80" fmla="*/ 62 w 340"/>
                <a:gd name="T81" fmla="*/ 248 h 405"/>
                <a:gd name="T82" fmla="*/ 80 w 340"/>
                <a:gd name="T83" fmla="*/ 226 h 405"/>
                <a:gd name="T84" fmla="*/ 84 w 340"/>
                <a:gd name="T85" fmla="*/ 215 h 405"/>
                <a:gd name="T86" fmla="*/ 93 w 340"/>
                <a:gd name="T87" fmla="*/ 205 h 405"/>
                <a:gd name="T88" fmla="*/ 100 w 340"/>
                <a:gd name="T89" fmla="*/ 193 h 405"/>
                <a:gd name="T90" fmla="*/ 99 w 340"/>
                <a:gd name="T91" fmla="*/ 184 h 405"/>
                <a:gd name="T92" fmla="*/ 106 w 340"/>
                <a:gd name="T93" fmla="*/ 165 h 405"/>
                <a:gd name="T94" fmla="*/ 126 w 340"/>
                <a:gd name="T95" fmla="*/ 132 h 405"/>
                <a:gd name="T96" fmla="*/ 137 w 340"/>
                <a:gd name="T97" fmla="*/ 126 h 405"/>
                <a:gd name="T98" fmla="*/ 149 w 340"/>
                <a:gd name="T99" fmla="*/ 116 h 405"/>
                <a:gd name="T100" fmla="*/ 158 w 340"/>
                <a:gd name="T101" fmla="*/ 104 h 405"/>
                <a:gd name="T102" fmla="*/ 151 w 340"/>
                <a:gd name="T103" fmla="*/ 97 h 405"/>
                <a:gd name="T104" fmla="*/ 171 w 340"/>
                <a:gd name="T105" fmla="*/ 73 h 405"/>
                <a:gd name="T106" fmla="*/ 179 w 340"/>
                <a:gd name="T107" fmla="*/ 70 h 405"/>
                <a:gd name="T108" fmla="*/ 185 w 340"/>
                <a:gd name="T109" fmla="*/ 54 h 405"/>
                <a:gd name="T110" fmla="*/ 200 w 340"/>
                <a:gd name="T111" fmla="*/ 46 h 405"/>
                <a:gd name="T112" fmla="*/ 206 w 340"/>
                <a:gd name="T113" fmla="*/ 49 h 405"/>
                <a:gd name="T114" fmla="*/ 216 w 340"/>
                <a:gd name="T115" fmla="*/ 40 h 405"/>
                <a:gd name="T116" fmla="*/ 222 w 340"/>
                <a:gd name="T117" fmla="*/ 31 h 405"/>
                <a:gd name="T118" fmla="*/ 238 w 340"/>
                <a:gd name="T119" fmla="*/ 43 h 405"/>
                <a:gd name="T120" fmla="*/ 253 w 340"/>
                <a:gd name="T121" fmla="*/ 11 h 405"/>
                <a:gd name="T122" fmla="*/ 274 w 340"/>
                <a:gd name="T123" fmla="*/ 11 h 405"/>
                <a:gd name="T124" fmla="*/ 283 w 340"/>
                <a:gd name="T125" fmla="*/ 2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0" h="405">
                  <a:moveTo>
                    <a:pt x="105" y="183"/>
                  </a:moveTo>
                  <a:lnTo>
                    <a:pt x="103" y="184"/>
                  </a:lnTo>
                  <a:lnTo>
                    <a:pt x="106" y="186"/>
                  </a:lnTo>
                  <a:lnTo>
                    <a:pt x="105" y="183"/>
                  </a:lnTo>
                  <a:close/>
                  <a:moveTo>
                    <a:pt x="295" y="0"/>
                  </a:moveTo>
                  <a:lnTo>
                    <a:pt x="296" y="0"/>
                  </a:lnTo>
                  <a:lnTo>
                    <a:pt x="306" y="6"/>
                  </a:lnTo>
                  <a:lnTo>
                    <a:pt x="308" y="6"/>
                  </a:lnTo>
                  <a:lnTo>
                    <a:pt x="306" y="14"/>
                  </a:lnTo>
                  <a:lnTo>
                    <a:pt x="305" y="14"/>
                  </a:lnTo>
                  <a:lnTo>
                    <a:pt x="300" y="15"/>
                  </a:lnTo>
                  <a:lnTo>
                    <a:pt x="302" y="17"/>
                  </a:lnTo>
                  <a:lnTo>
                    <a:pt x="302" y="18"/>
                  </a:lnTo>
                  <a:lnTo>
                    <a:pt x="300" y="20"/>
                  </a:lnTo>
                  <a:lnTo>
                    <a:pt x="306" y="20"/>
                  </a:lnTo>
                  <a:lnTo>
                    <a:pt x="302" y="25"/>
                  </a:lnTo>
                  <a:lnTo>
                    <a:pt x="308" y="25"/>
                  </a:lnTo>
                  <a:lnTo>
                    <a:pt x="308" y="14"/>
                  </a:lnTo>
                  <a:lnTo>
                    <a:pt x="317" y="9"/>
                  </a:lnTo>
                  <a:lnTo>
                    <a:pt x="318" y="9"/>
                  </a:lnTo>
                  <a:lnTo>
                    <a:pt x="318" y="17"/>
                  </a:lnTo>
                  <a:lnTo>
                    <a:pt x="326" y="15"/>
                  </a:lnTo>
                  <a:lnTo>
                    <a:pt x="327" y="15"/>
                  </a:lnTo>
                  <a:lnTo>
                    <a:pt x="340" y="27"/>
                  </a:lnTo>
                  <a:lnTo>
                    <a:pt x="340" y="28"/>
                  </a:lnTo>
                  <a:lnTo>
                    <a:pt x="329" y="42"/>
                  </a:lnTo>
                  <a:lnTo>
                    <a:pt x="324" y="42"/>
                  </a:lnTo>
                  <a:lnTo>
                    <a:pt x="321" y="40"/>
                  </a:lnTo>
                  <a:lnTo>
                    <a:pt x="318" y="40"/>
                  </a:lnTo>
                  <a:lnTo>
                    <a:pt x="315" y="39"/>
                  </a:lnTo>
                  <a:lnTo>
                    <a:pt x="312" y="39"/>
                  </a:lnTo>
                  <a:lnTo>
                    <a:pt x="326" y="48"/>
                  </a:lnTo>
                  <a:lnTo>
                    <a:pt x="326" y="49"/>
                  </a:lnTo>
                  <a:lnTo>
                    <a:pt x="323" y="55"/>
                  </a:lnTo>
                  <a:lnTo>
                    <a:pt x="326" y="55"/>
                  </a:lnTo>
                  <a:lnTo>
                    <a:pt x="329" y="54"/>
                  </a:lnTo>
                  <a:lnTo>
                    <a:pt x="332" y="54"/>
                  </a:lnTo>
                  <a:lnTo>
                    <a:pt x="335" y="52"/>
                  </a:lnTo>
                  <a:lnTo>
                    <a:pt x="339" y="52"/>
                  </a:lnTo>
                  <a:lnTo>
                    <a:pt x="339" y="61"/>
                  </a:lnTo>
                  <a:lnTo>
                    <a:pt x="337" y="61"/>
                  </a:lnTo>
                  <a:lnTo>
                    <a:pt x="330" y="60"/>
                  </a:lnTo>
                  <a:lnTo>
                    <a:pt x="329" y="66"/>
                  </a:lnTo>
                  <a:lnTo>
                    <a:pt x="315" y="80"/>
                  </a:lnTo>
                  <a:lnTo>
                    <a:pt x="314" y="80"/>
                  </a:lnTo>
                  <a:lnTo>
                    <a:pt x="314" y="79"/>
                  </a:lnTo>
                  <a:lnTo>
                    <a:pt x="312" y="74"/>
                  </a:lnTo>
                  <a:lnTo>
                    <a:pt x="312" y="73"/>
                  </a:lnTo>
                  <a:lnTo>
                    <a:pt x="318" y="66"/>
                  </a:lnTo>
                  <a:lnTo>
                    <a:pt x="317" y="55"/>
                  </a:lnTo>
                  <a:lnTo>
                    <a:pt x="302" y="42"/>
                  </a:lnTo>
                  <a:lnTo>
                    <a:pt x="275" y="52"/>
                  </a:lnTo>
                  <a:lnTo>
                    <a:pt x="274" y="60"/>
                  </a:lnTo>
                  <a:lnTo>
                    <a:pt x="272" y="82"/>
                  </a:lnTo>
                  <a:lnTo>
                    <a:pt x="257" y="94"/>
                  </a:lnTo>
                  <a:lnTo>
                    <a:pt x="249" y="86"/>
                  </a:lnTo>
                  <a:lnTo>
                    <a:pt x="243" y="94"/>
                  </a:lnTo>
                  <a:lnTo>
                    <a:pt x="241" y="94"/>
                  </a:lnTo>
                  <a:lnTo>
                    <a:pt x="229" y="91"/>
                  </a:lnTo>
                  <a:lnTo>
                    <a:pt x="228" y="91"/>
                  </a:lnTo>
                  <a:lnTo>
                    <a:pt x="213" y="70"/>
                  </a:lnTo>
                  <a:lnTo>
                    <a:pt x="210" y="71"/>
                  </a:lnTo>
                  <a:lnTo>
                    <a:pt x="211" y="74"/>
                  </a:lnTo>
                  <a:lnTo>
                    <a:pt x="211" y="76"/>
                  </a:lnTo>
                  <a:lnTo>
                    <a:pt x="204" y="79"/>
                  </a:lnTo>
                  <a:lnTo>
                    <a:pt x="198" y="80"/>
                  </a:lnTo>
                  <a:lnTo>
                    <a:pt x="200" y="85"/>
                  </a:lnTo>
                  <a:lnTo>
                    <a:pt x="197" y="94"/>
                  </a:lnTo>
                  <a:lnTo>
                    <a:pt x="200" y="100"/>
                  </a:lnTo>
                  <a:lnTo>
                    <a:pt x="197" y="101"/>
                  </a:lnTo>
                  <a:lnTo>
                    <a:pt x="194" y="101"/>
                  </a:lnTo>
                  <a:lnTo>
                    <a:pt x="189" y="100"/>
                  </a:lnTo>
                  <a:lnTo>
                    <a:pt x="182" y="100"/>
                  </a:lnTo>
                  <a:lnTo>
                    <a:pt x="177" y="98"/>
                  </a:lnTo>
                  <a:lnTo>
                    <a:pt x="174" y="98"/>
                  </a:lnTo>
                  <a:lnTo>
                    <a:pt x="170" y="117"/>
                  </a:lnTo>
                  <a:lnTo>
                    <a:pt x="169" y="119"/>
                  </a:lnTo>
                  <a:lnTo>
                    <a:pt x="163" y="114"/>
                  </a:lnTo>
                  <a:lnTo>
                    <a:pt x="154" y="122"/>
                  </a:lnTo>
                  <a:lnTo>
                    <a:pt x="146" y="138"/>
                  </a:lnTo>
                  <a:lnTo>
                    <a:pt x="149" y="149"/>
                  </a:lnTo>
                  <a:lnTo>
                    <a:pt x="137" y="166"/>
                  </a:lnTo>
                  <a:lnTo>
                    <a:pt x="134" y="177"/>
                  </a:lnTo>
                  <a:lnTo>
                    <a:pt x="127" y="181"/>
                  </a:lnTo>
                  <a:lnTo>
                    <a:pt x="124" y="208"/>
                  </a:lnTo>
                  <a:lnTo>
                    <a:pt x="115" y="224"/>
                  </a:lnTo>
                  <a:lnTo>
                    <a:pt x="121" y="233"/>
                  </a:lnTo>
                  <a:lnTo>
                    <a:pt x="121" y="240"/>
                  </a:lnTo>
                  <a:lnTo>
                    <a:pt x="120" y="242"/>
                  </a:lnTo>
                  <a:lnTo>
                    <a:pt x="105" y="245"/>
                  </a:lnTo>
                  <a:lnTo>
                    <a:pt x="94" y="254"/>
                  </a:lnTo>
                  <a:lnTo>
                    <a:pt x="93" y="263"/>
                  </a:lnTo>
                  <a:lnTo>
                    <a:pt x="96" y="272"/>
                  </a:lnTo>
                  <a:lnTo>
                    <a:pt x="93" y="286"/>
                  </a:lnTo>
                  <a:lnTo>
                    <a:pt x="94" y="309"/>
                  </a:lnTo>
                  <a:lnTo>
                    <a:pt x="102" y="321"/>
                  </a:lnTo>
                  <a:lnTo>
                    <a:pt x="94" y="331"/>
                  </a:lnTo>
                  <a:lnTo>
                    <a:pt x="99" y="341"/>
                  </a:lnTo>
                  <a:lnTo>
                    <a:pt x="97" y="353"/>
                  </a:lnTo>
                  <a:lnTo>
                    <a:pt x="97" y="355"/>
                  </a:lnTo>
                  <a:lnTo>
                    <a:pt x="90" y="359"/>
                  </a:lnTo>
                  <a:lnTo>
                    <a:pt x="87" y="368"/>
                  </a:lnTo>
                  <a:lnTo>
                    <a:pt x="88" y="374"/>
                  </a:lnTo>
                  <a:lnTo>
                    <a:pt x="86" y="384"/>
                  </a:lnTo>
                  <a:lnTo>
                    <a:pt x="81" y="386"/>
                  </a:lnTo>
                  <a:lnTo>
                    <a:pt x="80" y="380"/>
                  </a:lnTo>
                  <a:lnTo>
                    <a:pt x="74" y="377"/>
                  </a:lnTo>
                  <a:lnTo>
                    <a:pt x="74" y="375"/>
                  </a:lnTo>
                  <a:lnTo>
                    <a:pt x="72" y="359"/>
                  </a:lnTo>
                  <a:lnTo>
                    <a:pt x="72" y="368"/>
                  </a:lnTo>
                  <a:lnTo>
                    <a:pt x="69" y="366"/>
                  </a:lnTo>
                  <a:lnTo>
                    <a:pt x="72" y="374"/>
                  </a:lnTo>
                  <a:lnTo>
                    <a:pt x="72" y="375"/>
                  </a:lnTo>
                  <a:lnTo>
                    <a:pt x="71" y="375"/>
                  </a:lnTo>
                  <a:lnTo>
                    <a:pt x="68" y="381"/>
                  </a:lnTo>
                  <a:lnTo>
                    <a:pt x="60" y="380"/>
                  </a:lnTo>
                  <a:lnTo>
                    <a:pt x="54" y="392"/>
                  </a:lnTo>
                  <a:lnTo>
                    <a:pt x="35" y="405"/>
                  </a:lnTo>
                  <a:lnTo>
                    <a:pt x="20" y="405"/>
                  </a:lnTo>
                  <a:lnTo>
                    <a:pt x="22" y="399"/>
                  </a:lnTo>
                  <a:lnTo>
                    <a:pt x="17" y="401"/>
                  </a:lnTo>
                  <a:lnTo>
                    <a:pt x="7" y="390"/>
                  </a:lnTo>
                  <a:lnTo>
                    <a:pt x="7" y="389"/>
                  </a:lnTo>
                  <a:lnTo>
                    <a:pt x="8" y="381"/>
                  </a:lnTo>
                  <a:lnTo>
                    <a:pt x="13" y="383"/>
                  </a:lnTo>
                  <a:lnTo>
                    <a:pt x="17" y="369"/>
                  </a:lnTo>
                  <a:lnTo>
                    <a:pt x="5" y="374"/>
                  </a:lnTo>
                  <a:lnTo>
                    <a:pt x="4" y="374"/>
                  </a:lnTo>
                  <a:lnTo>
                    <a:pt x="3" y="371"/>
                  </a:lnTo>
                  <a:lnTo>
                    <a:pt x="3" y="369"/>
                  </a:lnTo>
                  <a:lnTo>
                    <a:pt x="4" y="369"/>
                  </a:lnTo>
                  <a:lnTo>
                    <a:pt x="16" y="362"/>
                  </a:lnTo>
                  <a:lnTo>
                    <a:pt x="10" y="361"/>
                  </a:lnTo>
                  <a:lnTo>
                    <a:pt x="10" y="359"/>
                  </a:lnTo>
                  <a:lnTo>
                    <a:pt x="20" y="344"/>
                  </a:lnTo>
                  <a:lnTo>
                    <a:pt x="22" y="344"/>
                  </a:lnTo>
                  <a:lnTo>
                    <a:pt x="22" y="347"/>
                  </a:lnTo>
                  <a:lnTo>
                    <a:pt x="25" y="343"/>
                  </a:lnTo>
                  <a:lnTo>
                    <a:pt x="19" y="343"/>
                  </a:lnTo>
                  <a:lnTo>
                    <a:pt x="8" y="359"/>
                  </a:lnTo>
                  <a:lnTo>
                    <a:pt x="7" y="359"/>
                  </a:lnTo>
                  <a:lnTo>
                    <a:pt x="5" y="356"/>
                  </a:lnTo>
                  <a:lnTo>
                    <a:pt x="8" y="353"/>
                  </a:lnTo>
                  <a:lnTo>
                    <a:pt x="7" y="350"/>
                  </a:lnTo>
                  <a:lnTo>
                    <a:pt x="5" y="353"/>
                  </a:lnTo>
                  <a:lnTo>
                    <a:pt x="4" y="353"/>
                  </a:lnTo>
                  <a:lnTo>
                    <a:pt x="4" y="352"/>
                  </a:lnTo>
                  <a:lnTo>
                    <a:pt x="3" y="347"/>
                  </a:lnTo>
                  <a:lnTo>
                    <a:pt x="3" y="346"/>
                  </a:lnTo>
                  <a:lnTo>
                    <a:pt x="8" y="340"/>
                  </a:lnTo>
                  <a:lnTo>
                    <a:pt x="4" y="341"/>
                  </a:lnTo>
                  <a:lnTo>
                    <a:pt x="3" y="341"/>
                  </a:lnTo>
                  <a:lnTo>
                    <a:pt x="3" y="340"/>
                  </a:lnTo>
                  <a:lnTo>
                    <a:pt x="0" y="335"/>
                  </a:lnTo>
                  <a:lnTo>
                    <a:pt x="1" y="335"/>
                  </a:lnTo>
                  <a:lnTo>
                    <a:pt x="4" y="337"/>
                  </a:lnTo>
                  <a:lnTo>
                    <a:pt x="4" y="334"/>
                  </a:lnTo>
                  <a:lnTo>
                    <a:pt x="1" y="332"/>
                  </a:lnTo>
                  <a:lnTo>
                    <a:pt x="1" y="331"/>
                  </a:lnTo>
                  <a:lnTo>
                    <a:pt x="23" y="326"/>
                  </a:lnTo>
                  <a:lnTo>
                    <a:pt x="26" y="332"/>
                  </a:lnTo>
                  <a:lnTo>
                    <a:pt x="28" y="331"/>
                  </a:lnTo>
                  <a:lnTo>
                    <a:pt x="28" y="326"/>
                  </a:lnTo>
                  <a:lnTo>
                    <a:pt x="31" y="325"/>
                  </a:lnTo>
                  <a:lnTo>
                    <a:pt x="31" y="323"/>
                  </a:lnTo>
                  <a:lnTo>
                    <a:pt x="32" y="319"/>
                  </a:lnTo>
                  <a:lnTo>
                    <a:pt x="28" y="325"/>
                  </a:lnTo>
                  <a:lnTo>
                    <a:pt x="20" y="325"/>
                  </a:lnTo>
                  <a:lnTo>
                    <a:pt x="20" y="322"/>
                  </a:lnTo>
                  <a:lnTo>
                    <a:pt x="19" y="326"/>
                  </a:lnTo>
                  <a:lnTo>
                    <a:pt x="1" y="326"/>
                  </a:lnTo>
                  <a:lnTo>
                    <a:pt x="1" y="319"/>
                  </a:lnTo>
                  <a:lnTo>
                    <a:pt x="4" y="313"/>
                  </a:lnTo>
                  <a:lnTo>
                    <a:pt x="1" y="310"/>
                  </a:lnTo>
                  <a:lnTo>
                    <a:pt x="1" y="309"/>
                  </a:lnTo>
                  <a:lnTo>
                    <a:pt x="13" y="306"/>
                  </a:lnTo>
                  <a:lnTo>
                    <a:pt x="3" y="306"/>
                  </a:lnTo>
                  <a:lnTo>
                    <a:pt x="3" y="298"/>
                  </a:lnTo>
                  <a:lnTo>
                    <a:pt x="4" y="298"/>
                  </a:lnTo>
                  <a:lnTo>
                    <a:pt x="14" y="301"/>
                  </a:lnTo>
                  <a:lnTo>
                    <a:pt x="13" y="298"/>
                  </a:lnTo>
                  <a:lnTo>
                    <a:pt x="17" y="292"/>
                  </a:lnTo>
                  <a:lnTo>
                    <a:pt x="19" y="292"/>
                  </a:lnTo>
                  <a:lnTo>
                    <a:pt x="20" y="295"/>
                  </a:lnTo>
                  <a:lnTo>
                    <a:pt x="20" y="289"/>
                  </a:lnTo>
                  <a:lnTo>
                    <a:pt x="19" y="288"/>
                  </a:lnTo>
                  <a:lnTo>
                    <a:pt x="19" y="286"/>
                  </a:lnTo>
                  <a:lnTo>
                    <a:pt x="34" y="286"/>
                  </a:lnTo>
                  <a:lnTo>
                    <a:pt x="34" y="283"/>
                  </a:lnTo>
                  <a:lnTo>
                    <a:pt x="26" y="279"/>
                  </a:lnTo>
                  <a:lnTo>
                    <a:pt x="26" y="278"/>
                  </a:lnTo>
                  <a:lnTo>
                    <a:pt x="34" y="273"/>
                  </a:lnTo>
                  <a:lnTo>
                    <a:pt x="47" y="261"/>
                  </a:lnTo>
                  <a:lnTo>
                    <a:pt x="54" y="258"/>
                  </a:lnTo>
                  <a:lnTo>
                    <a:pt x="54" y="260"/>
                  </a:lnTo>
                  <a:lnTo>
                    <a:pt x="56" y="264"/>
                  </a:lnTo>
                  <a:lnTo>
                    <a:pt x="57" y="263"/>
                  </a:lnTo>
                  <a:lnTo>
                    <a:pt x="56" y="258"/>
                  </a:lnTo>
                  <a:lnTo>
                    <a:pt x="62" y="255"/>
                  </a:lnTo>
                  <a:lnTo>
                    <a:pt x="63" y="255"/>
                  </a:lnTo>
                  <a:lnTo>
                    <a:pt x="68" y="261"/>
                  </a:lnTo>
                  <a:lnTo>
                    <a:pt x="77" y="254"/>
                  </a:lnTo>
                  <a:lnTo>
                    <a:pt x="68" y="258"/>
                  </a:lnTo>
                  <a:lnTo>
                    <a:pt x="62" y="249"/>
                  </a:lnTo>
                  <a:lnTo>
                    <a:pt x="62" y="248"/>
                  </a:lnTo>
                  <a:lnTo>
                    <a:pt x="66" y="245"/>
                  </a:lnTo>
                  <a:lnTo>
                    <a:pt x="66" y="240"/>
                  </a:lnTo>
                  <a:lnTo>
                    <a:pt x="78" y="227"/>
                  </a:lnTo>
                  <a:lnTo>
                    <a:pt x="78" y="226"/>
                  </a:lnTo>
                  <a:lnTo>
                    <a:pt x="80" y="226"/>
                  </a:lnTo>
                  <a:lnTo>
                    <a:pt x="84" y="229"/>
                  </a:lnTo>
                  <a:lnTo>
                    <a:pt x="84" y="223"/>
                  </a:lnTo>
                  <a:lnTo>
                    <a:pt x="83" y="221"/>
                  </a:lnTo>
                  <a:lnTo>
                    <a:pt x="83" y="217"/>
                  </a:lnTo>
                  <a:lnTo>
                    <a:pt x="84" y="215"/>
                  </a:lnTo>
                  <a:lnTo>
                    <a:pt x="96" y="208"/>
                  </a:lnTo>
                  <a:lnTo>
                    <a:pt x="96" y="205"/>
                  </a:lnTo>
                  <a:lnTo>
                    <a:pt x="94" y="206"/>
                  </a:lnTo>
                  <a:lnTo>
                    <a:pt x="93" y="206"/>
                  </a:lnTo>
                  <a:lnTo>
                    <a:pt x="93" y="205"/>
                  </a:lnTo>
                  <a:lnTo>
                    <a:pt x="96" y="196"/>
                  </a:lnTo>
                  <a:lnTo>
                    <a:pt x="99" y="199"/>
                  </a:lnTo>
                  <a:lnTo>
                    <a:pt x="97" y="194"/>
                  </a:lnTo>
                  <a:lnTo>
                    <a:pt x="97" y="193"/>
                  </a:lnTo>
                  <a:lnTo>
                    <a:pt x="100" y="193"/>
                  </a:lnTo>
                  <a:lnTo>
                    <a:pt x="102" y="186"/>
                  </a:lnTo>
                  <a:lnTo>
                    <a:pt x="102" y="184"/>
                  </a:lnTo>
                  <a:lnTo>
                    <a:pt x="100" y="186"/>
                  </a:lnTo>
                  <a:lnTo>
                    <a:pt x="99" y="186"/>
                  </a:lnTo>
                  <a:lnTo>
                    <a:pt x="99" y="184"/>
                  </a:lnTo>
                  <a:lnTo>
                    <a:pt x="109" y="174"/>
                  </a:lnTo>
                  <a:lnTo>
                    <a:pt x="106" y="168"/>
                  </a:lnTo>
                  <a:lnTo>
                    <a:pt x="106" y="166"/>
                  </a:lnTo>
                  <a:lnTo>
                    <a:pt x="111" y="165"/>
                  </a:lnTo>
                  <a:lnTo>
                    <a:pt x="106" y="165"/>
                  </a:lnTo>
                  <a:lnTo>
                    <a:pt x="106" y="163"/>
                  </a:lnTo>
                  <a:lnTo>
                    <a:pt x="109" y="160"/>
                  </a:lnTo>
                  <a:lnTo>
                    <a:pt x="121" y="150"/>
                  </a:lnTo>
                  <a:lnTo>
                    <a:pt x="126" y="134"/>
                  </a:lnTo>
                  <a:lnTo>
                    <a:pt x="126" y="132"/>
                  </a:lnTo>
                  <a:lnTo>
                    <a:pt x="134" y="131"/>
                  </a:lnTo>
                  <a:lnTo>
                    <a:pt x="133" y="131"/>
                  </a:lnTo>
                  <a:lnTo>
                    <a:pt x="133" y="129"/>
                  </a:lnTo>
                  <a:lnTo>
                    <a:pt x="134" y="129"/>
                  </a:lnTo>
                  <a:lnTo>
                    <a:pt x="137" y="126"/>
                  </a:lnTo>
                  <a:lnTo>
                    <a:pt x="136" y="120"/>
                  </a:lnTo>
                  <a:lnTo>
                    <a:pt x="142" y="110"/>
                  </a:lnTo>
                  <a:lnTo>
                    <a:pt x="143" y="110"/>
                  </a:lnTo>
                  <a:lnTo>
                    <a:pt x="146" y="119"/>
                  </a:lnTo>
                  <a:lnTo>
                    <a:pt x="149" y="116"/>
                  </a:lnTo>
                  <a:lnTo>
                    <a:pt x="148" y="104"/>
                  </a:lnTo>
                  <a:lnTo>
                    <a:pt x="148" y="103"/>
                  </a:lnTo>
                  <a:lnTo>
                    <a:pt x="151" y="103"/>
                  </a:lnTo>
                  <a:lnTo>
                    <a:pt x="152" y="104"/>
                  </a:lnTo>
                  <a:lnTo>
                    <a:pt x="158" y="104"/>
                  </a:lnTo>
                  <a:lnTo>
                    <a:pt x="160" y="106"/>
                  </a:lnTo>
                  <a:lnTo>
                    <a:pt x="161" y="106"/>
                  </a:lnTo>
                  <a:lnTo>
                    <a:pt x="164" y="101"/>
                  </a:lnTo>
                  <a:lnTo>
                    <a:pt x="151" y="98"/>
                  </a:lnTo>
                  <a:lnTo>
                    <a:pt x="151" y="97"/>
                  </a:lnTo>
                  <a:lnTo>
                    <a:pt x="166" y="89"/>
                  </a:lnTo>
                  <a:lnTo>
                    <a:pt x="166" y="85"/>
                  </a:lnTo>
                  <a:lnTo>
                    <a:pt x="167" y="85"/>
                  </a:lnTo>
                  <a:lnTo>
                    <a:pt x="164" y="80"/>
                  </a:lnTo>
                  <a:lnTo>
                    <a:pt x="171" y="73"/>
                  </a:lnTo>
                  <a:lnTo>
                    <a:pt x="170" y="71"/>
                  </a:lnTo>
                  <a:lnTo>
                    <a:pt x="173" y="63"/>
                  </a:lnTo>
                  <a:lnTo>
                    <a:pt x="174" y="63"/>
                  </a:lnTo>
                  <a:lnTo>
                    <a:pt x="174" y="68"/>
                  </a:lnTo>
                  <a:lnTo>
                    <a:pt x="179" y="70"/>
                  </a:lnTo>
                  <a:lnTo>
                    <a:pt x="180" y="68"/>
                  </a:lnTo>
                  <a:lnTo>
                    <a:pt x="176" y="61"/>
                  </a:lnTo>
                  <a:lnTo>
                    <a:pt x="180" y="61"/>
                  </a:lnTo>
                  <a:lnTo>
                    <a:pt x="183" y="64"/>
                  </a:lnTo>
                  <a:lnTo>
                    <a:pt x="185" y="54"/>
                  </a:lnTo>
                  <a:lnTo>
                    <a:pt x="185" y="52"/>
                  </a:lnTo>
                  <a:lnTo>
                    <a:pt x="192" y="52"/>
                  </a:lnTo>
                  <a:lnTo>
                    <a:pt x="192" y="57"/>
                  </a:lnTo>
                  <a:lnTo>
                    <a:pt x="194" y="54"/>
                  </a:lnTo>
                  <a:lnTo>
                    <a:pt x="200" y="46"/>
                  </a:lnTo>
                  <a:lnTo>
                    <a:pt x="201" y="46"/>
                  </a:lnTo>
                  <a:lnTo>
                    <a:pt x="201" y="66"/>
                  </a:lnTo>
                  <a:lnTo>
                    <a:pt x="204" y="60"/>
                  </a:lnTo>
                  <a:lnTo>
                    <a:pt x="204" y="54"/>
                  </a:lnTo>
                  <a:lnTo>
                    <a:pt x="206" y="49"/>
                  </a:lnTo>
                  <a:lnTo>
                    <a:pt x="213" y="46"/>
                  </a:lnTo>
                  <a:lnTo>
                    <a:pt x="213" y="43"/>
                  </a:lnTo>
                  <a:lnTo>
                    <a:pt x="222" y="52"/>
                  </a:lnTo>
                  <a:lnTo>
                    <a:pt x="222" y="42"/>
                  </a:lnTo>
                  <a:lnTo>
                    <a:pt x="216" y="40"/>
                  </a:lnTo>
                  <a:lnTo>
                    <a:pt x="216" y="31"/>
                  </a:lnTo>
                  <a:lnTo>
                    <a:pt x="217" y="33"/>
                  </a:lnTo>
                  <a:lnTo>
                    <a:pt x="219" y="36"/>
                  </a:lnTo>
                  <a:lnTo>
                    <a:pt x="220" y="33"/>
                  </a:lnTo>
                  <a:lnTo>
                    <a:pt x="222" y="31"/>
                  </a:lnTo>
                  <a:lnTo>
                    <a:pt x="222" y="33"/>
                  </a:lnTo>
                  <a:lnTo>
                    <a:pt x="228" y="39"/>
                  </a:lnTo>
                  <a:lnTo>
                    <a:pt x="235" y="36"/>
                  </a:lnTo>
                  <a:lnTo>
                    <a:pt x="235" y="40"/>
                  </a:lnTo>
                  <a:lnTo>
                    <a:pt x="238" y="43"/>
                  </a:lnTo>
                  <a:lnTo>
                    <a:pt x="238" y="36"/>
                  </a:lnTo>
                  <a:lnTo>
                    <a:pt x="256" y="18"/>
                  </a:lnTo>
                  <a:lnTo>
                    <a:pt x="252" y="12"/>
                  </a:lnTo>
                  <a:lnTo>
                    <a:pt x="252" y="11"/>
                  </a:lnTo>
                  <a:lnTo>
                    <a:pt x="253" y="11"/>
                  </a:lnTo>
                  <a:lnTo>
                    <a:pt x="260" y="6"/>
                  </a:lnTo>
                  <a:lnTo>
                    <a:pt x="262" y="6"/>
                  </a:lnTo>
                  <a:lnTo>
                    <a:pt x="265" y="12"/>
                  </a:lnTo>
                  <a:lnTo>
                    <a:pt x="272" y="11"/>
                  </a:lnTo>
                  <a:lnTo>
                    <a:pt x="274" y="11"/>
                  </a:lnTo>
                  <a:lnTo>
                    <a:pt x="265" y="27"/>
                  </a:lnTo>
                  <a:lnTo>
                    <a:pt x="260" y="39"/>
                  </a:lnTo>
                  <a:lnTo>
                    <a:pt x="262" y="40"/>
                  </a:lnTo>
                  <a:lnTo>
                    <a:pt x="283" y="8"/>
                  </a:lnTo>
                  <a:lnTo>
                    <a:pt x="283" y="28"/>
                  </a:lnTo>
                  <a:lnTo>
                    <a:pt x="289" y="25"/>
                  </a:lnTo>
                  <a:lnTo>
                    <a:pt x="29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2" name="Norway Offshore">
              <a:extLst>
                <a:ext uri="{FF2B5EF4-FFF2-40B4-BE49-F238E27FC236}">
                  <a16:creationId xmlns:a16="http://schemas.microsoft.com/office/drawing/2014/main" id="{575969DB-3360-9D86-D8DD-346890626C3F}"/>
                </a:ext>
              </a:extLst>
            </p:cNvPr>
            <p:cNvSpPr>
              <a:spLocks/>
            </p:cNvSpPr>
            <p:nvPr/>
          </p:nvSpPr>
          <p:spPr bwMode="auto">
            <a:xfrm>
              <a:off x="5961374" y="2169558"/>
              <a:ext cx="482486" cy="536698"/>
            </a:xfrm>
            <a:custGeom>
              <a:avLst/>
              <a:gdLst/>
              <a:ahLst/>
              <a:cxnLst/>
              <a:rect l="l" t="t" r="r" b="b"/>
              <a:pathLst>
                <a:path w="486332" h="540976">
                  <a:moveTo>
                    <a:pt x="7286" y="530047"/>
                  </a:moveTo>
                  <a:lnTo>
                    <a:pt x="7286" y="531869"/>
                  </a:lnTo>
                  <a:lnTo>
                    <a:pt x="5464" y="537333"/>
                  </a:lnTo>
                  <a:lnTo>
                    <a:pt x="5464" y="540976"/>
                  </a:lnTo>
                  <a:lnTo>
                    <a:pt x="1821" y="540976"/>
                  </a:lnTo>
                  <a:lnTo>
                    <a:pt x="1821" y="537333"/>
                  </a:lnTo>
                  <a:lnTo>
                    <a:pt x="0" y="531869"/>
                  </a:lnTo>
                  <a:lnTo>
                    <a:pt x="1821" y="531869"/>
                  </a:lnTo>
                  <a:close/>
                  <a:moveTo>
                    <a:pt x="234968" y="151181"/>
                  </a:moveTo>
                  <a:lnTo>
                    <a:pt x="236790" y="151181"/>
                  </a:lnTo>
                  <a:lnTo>
                    <a:pt x="242254" y="165753"/>
                  </a:lnTo>
                  <a:lnTo>
                    <a:pt x="242254" y="167574"/>
                  </a:lnTo>
                  <a:lnTo>
                    <a:pt x="247719" y="154824"/>
                  </a:lnTo>
                  <a:lnTo>
                    <a:pt x="251362" y="154824"/>
                  </a:lnTo>
                  <a:lnTo>
                    <a:pt x="258648" y="160289"/>
                  </a:lnTo>
                  <a:lnTo>
                    <a:pt x="258648" y="173039"/>
                  </a:lnTo>
                  <a:lnTo>
                    <a:pt x="236790" y="193075"/>
                  </a:lnTo>
                  <a:lnTo>
                    <a:pt x="236790" y="194897"/>
                  </a:lnTo>
                  <a:lnTo>
                    <a:pt x="234968" y="194897"/>
                  </a:lnTo>
                  <a:lnTo>
                    <a:pt x="234968" y="193075"/>
                  </a:lnTo>
                  <a:lnTo>
                    <a:pt x="231325" y="183968"/>
                  </a:lnTo>
                  <a:lnTo>
                    <a:pt x="205825" y="200361"/>
                  </a:lnTo>
                  <a:lnTo>
                    <a:pt x="202182" y="200361"/>
                  </a:lnTo>
                  <a:lnTo>
                    <a:pt x="205825" y="196718"/>
                  </a:lnTo>
                  <a:lnTo>
                    <a:pt x="225861" y="178503"/>
                  </a:lnTo>
                  <a:close/>
                  <a:moveTo>
                    <a:pt x="218576" y="145717"/>
                  </a:moveTo>
                  <a:lnTo>
                    <a:pt x="220397" y="145717"/>
                  </a:lnTo>
                  <a:lnTo>
                    <a:pt x="225862" y="167575"/>
                  </a:lnTo>
                  <a:lnTo>
                    <a:pt x="225862" y="171218"/>
                  </a:lnTo>
                  <a:lnTo>
                    <a:pt x="205825" y="171218"/>
                  </a:lnTo>
                  <a:lnTo>
                    <a:pt x="205825" y="167575"/>
                  </a:lnTo>
                  <a:lnTo>
                    <a:pt x="218576" y="156646"/>
                  </a:lnTo>
                  <a:close/>
                  <a:moveTo>
                    <a:pt x="247720" y="127503"/>
                  </a:moveTo>
                  <a:lnTo>
                    <a:pt x="251363" y="127503"/>
                  </a:lnTo>
                  <a:lnTo>
                    <a:pt x="251363" y="129325"/>
                  </a:lnTo>
                  <a:lnTo>
                    <a:pt x="242255" y="145718"/>
                  </a:lnTo>
                  <a:lnTo>
                    <a:pt x="242255" y="149361"/>
                  </a:lnTo>
                  <a:lnTo>
                    <a:pt x="240433" y="149361"/>
                  </a:lnTo>
                  <a:lnTo>
                    <a:pt x="234969" y="145718"/>
                  </a:lnTo>
                  <a:lnTo>
                    <a:pt x="231326" y="145718"/>
                  </a:lnTo>
                  <a:lnTo>
                    <a:pt x="231326" y="143897"/>
                  </a:lnTo>
                  <a:lnTo>
                    <a:pt x="236790" y="132968"/>
                  </a:lnTo>
                  <a:close/>
                  <a:moveTo>
                    <a:pt x="278683" y="109288"/>
                  </a:moveTo>
                  <a:lnTo>
                    <a:pt x="280505" y="109288"/>
                  </a:lnTo>
                  <a:lnTo>
                    <a:pt x="291433" y="122038"/>
                  </a:lnTo>
                  <a:lnTo>
                    <a:pt x="293255" y="122038"/>
                  </a:lnTo>
                  <a:lnTo>
                    <a:pt x="291433" y="134788"/>
                  </a:lnTo>
                  <a:lnTo>
                    <a:pt x="289612" y="134788"/>
                  </a:lnTo>
                  <a:lnTo>
                    <a:pt x="289612" y="138431"/>
                  </a:lnTo>
                  <a:lnTo>
                    <a:pt x="267755" y="145717"/>
                  </a:lnTo>
                  <a:lnTo>
                    <a:pt x="264112" y="145717"/>
                  </a:lnTo>
                  <a:lnTo>
                    <a:pt x="267755" y="134788"/>
                  </a:lnTo>
                  <a:lnTo>
                    <a:pt x="264112" y="132967"/>
                  </a:lnTo>
                  <a:lnTo>
                    <a:pt x="267755" y="122038"/>
                  </a:lnTo>
                  <a:close/>
                  <a:moveTo>
                    <a:pt x="309649" y="94716"/>
                  </a:moveTo>
                  <a:lnTo>
                    <a:pt x="315114" y="94716"/>
                  </a:lnTo>
                  <a:lnTo>
                    <a:pt x="315114" y="98359"/>
                  </a:lnTo>
                  <a:lnTo>
                    <a:pt x="302363" y="111110"/>
                  </a:lnTo>
                  <a:lnTo>
                    <a:pt x="293256" y="111110"/>
                  </a:lnTo>
                  <a:lnTo>
                    <a:pt x="293256" y="109289"/>
                  </a:lnTo>
                  <a:lnTo>
                    <a:pt x="296899" y="100181"/>
                  </a:lnTo>
                  <a:lnTo>
                    <a:pt x="296899" y="98359"/>
                  </a:lnTo>
                  <a:lnTo>
                    <a:pt x="302363" y="98359"/>
                  </a:lnTo>
                  <a:close/>
                  <a:moveTo>
                    <a:pt x="313293" y="76502"/>
                  </a:moveTo>
                  <a:lnTo>
                    <a:pt x="318757" y="76502"/>
                  </a:lnTo>
                  <a:lnTo>
                    <a:pt x="324222" y="78324"/>
                  </a:lnTo>
                  <a:lnTo>
                    <a:pt x="331508" y="78324"/>
                  </a:lnTo>
                  <a:lnTo>
                    <a:pt x="331508" y="81967"/>
                  </a:lnTo>
                  <a:lnTo>
                    <a:pt x="324222" y="92896"/>
                  </a:lnTo>
                  <a:lnTo>
                    <a:pt x="320579" y="94717"/>
                  </a:lnTo>
                  <a:lnTo>
                    <a:pt x="320579" y="92896"/>
                  </a:lnTo>
                  <a:close/>
                  <a:moveTo>
                    <a:pt x="357007" y="61930"/>
                  </a:moveTo>
                  <a:lnTo>
                    <a:pt x="358829" y="61930"/>
                  </a:lnTo>
                  <a:lnTo>
                    <a:pt x="358829" y="76502"/>
                  </a:lnTo>
                  <a:lnTo>
                    <a:pt x="357007" y="76502"/>
                  </a:lnTo>
                  <a:lnTo>
                    <a:pt x="351543" y="72859"/>
                  </a:lnTo>
                  <a:close/>
                  <a:moveTo>
                    <a:pt x="329685" y="61930"/>
                  </a:moveTo>
                  <a:lnTo>
                    <a:pt x="331506" y="61930"/>
                  </a:lnTo>
                  <a:lnTo>
                    <a:pt x="335149" y="67395"/>
                  </a:lnTo>
                  <a:lnTo>
                    <a:pt x="342436" y="72859"/>
                  </a:lnTo>
                  <a:lnTo>
                    <a:pt x="342436" y="76502"/>
                  </a:lnTo>
                  <a:lnTo>
                    <a:pt x="331506" y="76502"/>
                  </a:lnTo>
                  <a:lnTo>
                    <a:pt x="331506" y="72859"/>
                  </a:lnTo>
                  <a:close/>
                  <a:moveTo>
                    <a:pt x="397080" y="54644"/>
                  </a:moveTo>
                  <a:lnTo>
                    <a:pt x="408009" y="54644"/>
                  </a:lnTo>
                  <a:lnTo>
                    <a:pt x="409831" y="61930"/>
                  </a:lnTo>
                  <a:lnTo>
                    <a:pt x="404366" y="65573"/>
                  </a:lnTo>
                  <a:lnTo>
                    <a:pt x="397080" y="56466"/>
                  </a:lnTo>
                  <a:close/>
                  <a:moveTo>
                    <a:pt x="420759" y="38250"/>
                  </a:moveTo>
                  <a:lnTo>
                    <a:pt x="424402" y="38250"/>
                  </a:lnTo>
                  <a:lnTo>
                    <a:pt x="426224" y="45536"/>
                  </a:lnTo>
                  <a:lnTo>
                    <a:pt x="429867" y="45536"/>
                  </a:lnTo>
                  <a:lnTo>
                    <a:pt x="429867" y="49179"/>
                  </a:lnTo>
                  <a:lnTo>
                    <a:pt x="426224" y="49179"/>
                  </a:lnTo>
                  <a:lnTo>
                    <a:pt x="420759" y="56465"/>
                  </a:lnTo>
                  <a:lnTo>
                    <a:pt x="413473" y="60108"/>
                  </a:lnTo>
                  <a:lnTo>
                    <a:pt x="409830" y="60108"/>
                  </a:lnTo>
                  <a:lnTo>
                    <a:pt x="408009" y="49179"/>
                  </a:lnTo>
                  <a:lnTo>
                    <a:pt x="408009" y="45536"/>
                  </a:lnTo>
                  <a:lnTo>
                    <a:pt x="409830" y="45536"/>
                  </a:lnTo>
                  <a:close/>
                  <a:moveTo>
                    <a:pt x="393437" y="32786"/>
                  </a:moveTo>
                  <a:lnTo>
                    <a:pt x="404365" y="32786"/>
                  </a:lnTo>
                  <a:lnTo>
                    <a:pt x="409829" y="36429"/>
                  </a:lnTo>
                  <a:lnTo>
                    <a:pt x="415294" y="36429"/>
                  </a:lnTo>
                  <a:lnTo>
                    <a:pt x="393437" y="49180"/>
                  </a:lnTo>
                  <a:lnTo>
                    <a:pt x="386151" y="38251"/>
                  </a:lnTo>
                  <a:close/>
                  <a:moveTo>
                    <a:pt x="426223" y="30964"/>
                  </a:moveTo>
                  <a:lnTo>
                    <a:pt x="429866" y="30964"/>
                  </a:lnTo>
                  <a:lnTo>
                    <a:pt x="435330" y="32786"/>
                  </a:lnTo>
                  <a:lnTo>
                    <a:pt x="437152" y="32786"/>
                  </a:lnTo>
                  <a:lnTo>
                    <a:pt x="435330" y="43715"/>
                  </a:lnTo>
                  <a:lnTo>
                    <a:pt x="431687" y="43715"/>
                  </a:lnTo>
                  <a:close/>
                  <a:moveTo>
                    <a:pt x="477225" y="0"/>
                  </a:moveTo>
                  <a:lnTo>
                    <a:pt x="480868" y="3643"/>
                  </a:lnTo>
                  <a:lnTo>
                    <a:pt x="486332" y="10929"/>
                  </a:lnTo>
                  <a:lnTo>
                    <a:pt x="486332" y="14572"/>
                  </a:lnTo>
                  <a:lnTo>
                    <a:pt x="482689" y="14572"/>
                  </a:lnTo>
                  <a:lnTo>
                    <a:pt x="464474" y="9108"/>
                  </a:lnTo>
                  <a:lnTo>
                    <a:pt x="464474" y="5465"/>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3" name="Jan Mayen">
              <a:extLst>
                <a:ext uri="{FF2B5EF4-FFF2-40B4-BE49-F238E27FC236}">
                  <a16:creationId xmlns:a16="http://schemas.microsoft.com/office/drawing/2014/main" id="{2846116D-2B71-B5E8-0C2C-B2F76C083F28}"/>
                </a:ext>
              </a:extLst>
            </p:cNvPr>
            <p:cNvSpPr>
              <a:spLocks/>
            </p:cNvSpPr>
            <p:nvPr/>
          </p:nvSpPr>
          <p:spPr bwMode="auto">
            <a:xfrm>
              <a:off x="5610805" y="2164136"/>
              <a:ext cx="28913" cy="27107"/>
            </a:xfrm>
            <a:custGeom>
              <a:avLst/>
              <a:gdLst>
                <a:gd name="T0" fmla="*/ 16 w 16"/>
                <a:gd name="T1" fmla="*/ 0 h 15"/>
                <a:gd name="T2" fmla="*/ 13 w 16"/>
                <a:gd name="T3" fmla="*/ 8 h 15"/>
                <a:gd name="T4" fmla="*/ 1 w 16"/>
                <a:gd name="T5" fmla="*/ 15 h 15"/>
                <a:gd name="T6" fmla="*/ 0 w 16"/>
                <a:gd name="T7" fmla="*/ 15 h 15"/>
                <a:gd name="T8" fmla="*/ 0 w 16"/>
                <a:gd name="T9" fmla="*/ 14 h 15"/>
                <a:gd name="T10" fmla="*/ 9 w 16"/>
                <a:gd name="T11" fmla="*/ 3 h 15"/>
                <a:gd name="T12" fmla="*/ 16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16" y="0"/>
                  </a:moveTo>
                  <a:lnTo>
                    <a:pt x="13" y="8"/>
                  </a:lnTo>
                  <a:lnTo>
                    <a:pt x="1" y="15"/>
                  </a:lnTo>
                  <a:lnTo>
                    <a:pt x="0" y="15"/>
                  </a:lnTo>
                  <a:lnTo>
                    <a:pt x="0" y="14"/>
                  </a:lnTo>
                  <a:lnTo>
                    <a:pt x="9" y="3"/>
                  </a:lnTo>
                  <a:lnTo>
                    <a:pt x="1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4" name="European Island">
              <a:extLst>
                <a:ext uri="{FF2B5EF4-FFF2-40B4-BE49-F238E27FC236}">
                  <a16:creationId xmlns:a16="http://schemas.microsoft.com/office/drawing/2014/main" id="{F1DC7D16-0045-3DB4-7E61-4851B8470E54}"/>
                </a:ext>
              </a:extLst>
            </p:cNvPr>
            <p:cNvSpPr>
              <a:spLocks/>
            </p:cNvSpPr>
            <p:nvPr/>
          </p:nvSpPr>
          <p:spPr bwMode="auto">
            <a:xfrm>
              <a:off x="6272189" y="1900305"/>
              <a:ext cx="10843" cy="14457"/>
            </a:xfrm>
            <a:custGeom>
              <a:avLst/>
              <a:gdLst>
                <a:gd name="T0" fmla="*/ 3 w 6"/>
                <a:gd name="T1" fmla="*/ 0 h 8"/>
                <a:gd name="T2" fmla="*/ 6 w 6"/>
                <a:gd name="T3" fmla="*/ 0 h 8"/>
                <a:gd name="T4" fmla="*/ 6 w 6"/>
                <a:gd name="T5" fmla="*/ 1 h 8"/>
                <a:gd name="T6" fmla="*/ 3 w 6"/>
                <a:gd name="T7" fmla="*/ 7 h 8"/>
                <a:gd name="T8" fmla="*/ 3 w 6"/>
                <a:gd name="T9" fmla="*/ 8 h 8"/>
                <a:gd name="T10" fmla="*/ 1 w 6"/>
                <a:gd name="T11" fmla="*/ 7 h 8"/>
                <a:gd name="T12" fmla="*/ 0 w 6"/>
                <a:gd name="T13" fmla="*/ 1 h 8"/>
                <a:gd name="T14" fmla="*/ 1 w 6"/>
                <a:gd name="T15" fmla="*/ 1 h 8"/>
                <a:gd name="T16" fmla="*/ 3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3" y="0"/>
                  </a:moveTo>
                  <a:lnTo>
                    <a:pt x="6" y="0"/>
                  </a:lnTo>
                  <a:lnTo>
                    <a:pt x="6" y="1"/>
                  </a:lnTo>
                  <a:lnTo>
                    <a:pt x="3" y="7"/>
                  </a:lnTo>
                  <a:lnTo>
                    <a:pt x="3" y="8"/>
                  </a:lnTo>
                  <a:lnTo>
                    <a:pt x="1" y="7"/>
                  </a:lnTo>
                  <a:lnTo>
                    <a:pt x="0" y="1"/>
                  </a:lnTo>
                  <a:lnTo>
                    <a:pt x="1" y="1"/>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5" name="Finland">
              <a:extLst>
                <a:ext uri="{FF2B5EF4-FFF2-40B4-BE49-F238E27FC236}">
                  <a16:creationId xmlns:a16="http://schemas.microsoft.com/office/drawing/2014/main" id="{79BD4289-0E4D-DAF3-FE9F-204EFDA3FF99}"/>
                </a:ext>
              </a:extLst>
            </p:cNvPr>
            <p:cNvSpPr>
              <a:spLocks/>
            </p:cNvSpPr>
            <p:nvPr/>
          </p:nvSpPr>
          <p:spPr bwMode="auto">
            <a:xfrm>
              <a:off x="6311944" y="2241840"/>
              <a:ext cx="256602" cy="574646"/>
            </a:xfrm>
            <a:custGeom>
              <a:avLst/>
              <a:gdLst/>
              <a:ahLst/>
              <a:cxnLst/>
              <a:rect l="l" t="t" r="r" b="b"/>
              <a:pathLst>
                <a:path w="258648" h="579227">
                  <a:moveTo>
                    <a:pt x="51001" y="559191"/>
                  </a:moveTo>
                  <a:lnTo>
                    <a:pt x="51001" y="562834"/>
                  </a:lnTo>
                  <a:lnTo>
                    <a:pt x="49180" y="573764"/>
                  </a:lnTo>
                  <a:lnTo>
                    <a:pt x="45537" y="575585"/>
                  </a:lnTo>
                  <a:lnTo>
                    <a:pt x="40072" y="575585"/>
                  </a:lnTo>
                  <a:lnTo>
                    <a:pt x="40072" y="573764"/>
                  </a:lnTo>
                  <a:close/>
                  <a:moveTo>
                    <a:pt x="178504" y="0"/>
                  </a:moveTo>
                  <a:lnTo>
                    <a:pt x="207647" y="25501"/>
                  </a:lnTo>
                  <a:lnTo>
                    <a:pt x="207647" y="27322"/>
                  </a:lnTo>
                  <a:lnTo>
                    <a:pt x="211290" y="47358"/>
                  </a:lnTo>
                  <a:lnTo>
                    <a:pt x="207647" y="49180"/>
                  </a:lnTo>
                  <a:lnTo>
                    <a:pt x="200361" y="61930"/>
                  </a:lnTo>
                  <a:lnTo>
                    <a:pt x="202183" y="71037"/>
                  </a:lnTo>
                  <a:lnTo>
                    <a:pt x="202183" y="72859"/>
                  </a:lnTo>
                  <a:lnTo>
                    <a:pt x="191254" y="83788"/>
                  </a:lnTo>
                  <a:lnTo>
                    <a:pt x="194897" y="83788"/>
                  </a:lnTo>
                  <a:lnTo>
                    <a:pt x="194897" y="87431"/>
                  </a:lnTo>
                  <a:lnTo>
                    <a:pt x="191254" y="114753"/>
                  </a:lnTo>
                  <a:lnTo>
                    <a:pt x="211290" y="132967"/>
                  </a:lnTo>
                  <a:lnTo>
                    <a:pt x="227683" y="165754"/>
                  </a:lnTo>
                  <a:lnTo>
                    <a:pt x="207647" y="205826"/>
                  </a:lnTo>
                  <a:lnTo>
                    <a:pt x="229505" y="273220"/>
                  </a:lnTo>
                  <a:lnTo>
                    <a:pt x="222219" y="302364"/>
                  </a:lnTo>
                  <a:lnTo>
                    <a:pt x="222219" y="324222"/>
                  </a:lnTo>
                  <a:lnTo>
                    <a:pt x="227683" y="327864"/>
                  </a:lnTo>
                  <a:lnTo>
                    <a:pt x="229505" y="346079"/>
                  </a:lnTo>
                  <a:lnTo>
                    <a:pt x="240434" y="357008"/>
                  </a:lnTo>
                  <a:lnTo>
                    <a:pt x="240434" y="358829"/>
                  </a:lnTo>
                  <a:lnTo>
                    <a:pt x="233148" y="389794"/>
                  </a:lnTo>
                  <a:lnTo>
                    <a:pt x="242255" y="406188"/>
                  </a:lnTo>
                  <a:lnTo>
                    <a:pt x="258648" y="422581"/>
                  </a:lnTo>
                  <a:lnTo>
                    <a:pt x="258648" y="440796"/>
                  </a:lnTo>
                  <a:lnTo>
                    <a:pt x="222219" y="497261"/>
                  </a:lnTo>
                  <a:lnTo>
                    <a:pt x="167575" y="548262"/>
                  </a:lnTo>
                  <a:lnTo>
                    <a:pt x="123860" y="553727"/>
                  </a:lnTo>
                  <a:lnTo>
                    <a:pt x="89252" y="573763"/>
                  </a:lnTo>
                  <a:lnTo>
                    <a:pt x="67394" y="579227"/>
                  </a:lnTo>
                  <a:lnTo>
                    <a:pt x="65573" y="573763"/>
                  </a:lnTo>
                  <a:lnTo>
                    <a:pt x="60109" y="575584"/>
                  </a:lnTo>
                  <a:lnTo>
                    <a:pt x="56466" y="575584"/>
                  </a:lnTo>
                  <a:lnTo>
                    <a:pt x="51001" y="559191"/>
                  </a:lnTo>
                  <a:lnTo>
                    <a:pt x="45537" y="562834"/>
                  </a:lnTo>
                  <a:lnTo>
                    <a:pt x="16393" y="546441"/>
                  </a:lnTo>
                  <a:lnTo>
                    <a:pt x="16393" y="542798"/>
                  </a:lnTo>
                  <a:lnTo>
                    <a:pt x="18215" y="537333"/>
                  </a:lnTo>
                  <a:lnTo>
                    <a:pt x="12751" y="526405"/>
                  </a:lnTo>
                  <a:lnTo>
                    <a:pt x="18215" y="515476"/>
                  </a:lnTo>
                  <a:lnTo>
                    <a:pt x="18215" y="500904"/>
                  </a:lnTo>
                  <a:lnTo>
                    <a:pt x="21858" y="500904"/>
                  </a:lnTo>
                  <a:lnTo>
                    <a:pt x="12751" y="475403"/>
                  </a:lnTo>
                  <a:lnTo>
                    <a:pt x="12751" y="464475"/>
                  </a:lnTo>
                  <a:lnTo>
                    <a:pt x="9108" y="442617"/>
                  </a:lnTo>
                  <a:lnTo>
                    <a:pt x="16393" y="424402"/>
                  </a:lnTo>
                  <a:lnTo>
                    <a:pt x="23679" y="424402"/>
                  </a:lnTo>
                  <a:lnTo>
                    <a:pt x="27322" y="413473"/>
                  </a:lnTo>
                  <a:lnTo>
                    <a:pt x="27322" y="411652"/>
                  </a:lnTo>
                  <a:lnTo>
                    <a:pt x="38251" y="411652"/>
                  </a:lnTo>
                  <a:lnTo>
                    <a:pt x="51001" y="397080"/>
                  </a:lnTo>
                  <a:lnTo>
                    <a:pt x="91073" y="344258"/>
                  </a:lnTo>
                  <a:lnTo>
                    <a:pt x="96538" y="327864"/>
                  </a:lnTo>
                  <a:lnTo>
                    <a:pt x="116574" y="318757"/>
                  </a:lnTo>
                  <a:lnTo>
                    <a:pt x="111110" y="291435"/>
                  </a:lnTo>
                  <a:lnTo>
                    <a:pt x="81966" y="265935"/>
                  </a:lnTo>
                  <a:lnTo>
                    <a:pt x="72859" y="240434"/>
                  </a:lnTo>
                  <a:lnTo>
                    <a:pt x="78323" y="216755"/>
                  </a:lnTo>
                  <a:lnTo>
                    <a:pt x="67394" y="193076"/>
                  </a:lnTo>
                  <a:lnTo>
                    <a:pt x="71037" y="140253"/>
                  </a:lnTo>
                  <a:lnTo>
                    <a:pt x="54644" y="116574"/>
                  </a:lnTo>
                  <a:lnTo>
                    <a:pt x="0" y="71037"/>
                  </a:lnTo>
                  <a:lnTo>
                    <a:pt x="0" y="67394"/>
                  </a:lnTo>
                  <a:lnTo>
                    <a:pt x="10929" y="61930"/>
                  </a:lnTo>
                  <a:lnTo>
                    <a:pt x="9108" y="56466"/>
                  </a:lnTo>
                  <a:lnTo>
                    <a:pt x="9108" y="54644"/>
                  </a:lnTo>
                  <a:lnTo>
                    <a:pt x="10929" y="54644"/>
                  </a:lnTo>
                  <a:lnTo>
                    <a:pt x="16393" y="51001"/>
                  </a:lnTo>
                  <a:lnTo>
                    <a:pt x="45537" y="89252"/>
                  </a:lnTo>
                  <a:lnTo>
                    <a:pt x="67394" y="94716"/>
                  </a:lnTo>
                  <a:lnTo>
                    <a:pt x="81966" y="81966"/>
                  </a:lnTo>
                  <a:lnTo>
                    <a:pt x="83788" y="81966"/>
                  </a:lnTo>
                  <a:lnTo>
                    <a:pt x="96538" y="94716"/>
                  </a:lnTo>
                  <a:lnTo>
                    <a:pt x="122038" y="72859"/>
                  </a:lnTo>
                  <a:lnTo>
                    <a:pt x="123860" y="36429"/>
                  </a:lnTo>
                  <a:lnTo>
                    <a:pt x="129324" y="20036"/>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6" name="Sweden Mainland">
              <a:extLst>
                <a:ext uri="{FF2B5EF4-FFF2-40B4-BE49-F238E27FC236}">
                  <a16:creationId xmlns:a16="http://schemas.microsoft.com/office/drawing/2014/main" id="{CB709A24-5A49-936E-0155-BBFCE814FB36}"/>
                </a:ext>
              </a:extLst>
            </p:cNvPr>
            <p:cNvSpPr>
              <a:spLocks noEditPoints="1"/>
            </p:cNvSpPr>
            <p:nvPr/>
          </p:nvSpPr>
          <p:spPr bwMode="auto">
            <a:xfrm>
              <a:off x="6087869" y="2308701"/>
              <a:ext cx="307200" cy="708369"/>
            </a:xfrm>
            <a:custGeom>
              <a:avLst/>
              <a:gdLst>
                <a:gd name="T0" fmla="*/ 74 w 170"/>
                <a:gd name="T1" fmla="*/ 273 h 392"/>
                <a:gd name="T2" fmla="*/ 126 w 170"/>
                <a:gd name="T3" fmla="*/ 0 h 392"/>
                <a:gd name="T4" fmla="*/ 163 w 170"/>
                <a:gd name="T5" fmla="*/ 69 h 392"/>
                <a:gd name="T6" fmla="*/ 170 w 170"/>
                <a:gd name="T7" fmla="*/ 109 h 392"/>
                <a:gd name="T8" fmla="*/ 167 w 170"/>
                <a:gd name="T9" fmla="*/ 115 h 392"/>
                <a:gd name="T10" fmla="*/ 157 w 170"/>
                <a:gd name="T11" fmla="*/ 112 h 392"/>
                <a:gd name="T12" fmla="*/ 149 w 170"/>
                <a:gd name="T13" fmla="*/ 110 h 392"/>
                <a:gd name="T14" fmla="*/ 142 w 170"/>
                <a:gd name="T15" fmla="*/ 117 h 392"/>
                <a:gd name="T16" fmla="*/ 137 w 170"/>
                <a:gd name="T17" fmla="*/ 134 h 392"/>
                <a:gd name="T18" fmla="*/ 123 w 170"/>
                <a:gd name="T19" fmla="*/ 175 h 392"/>
                <a:gd name="T20" fmla="*/ 90 w 170"/>
                <a:gd name="T21" fmla="*/ 203 h 392"/>
                <a:gd name="T22" fmla="*/ 87 w 170"/>
                <a:gd name="T23" fmla="*/ 208 h 392"/>
                <a:gd name="T24" fmla="*/ 81 w 170"/>
                <a:gd name="T25" fmla="*/ 211 h 392"/>
                <a:gd name="T26" fmla="*/ 78 w 170"/>
                <a:gd name="T27" fmla="*/ 235 h 392"/>
                <a:gd name="T28" fmla="*/ 84 w 170"/>
                <a:gd name="T29" fmla="*/ 261 h 392"/>
                <a:gd name="T30" fmla="*/ 94 w 170"/>
                <a:gd name="T31" fmla="*/ 272 h 392"/>
                <a:gd name="T32" fmla="*/ 97 w 170"/>
                <a:gd name="T33" fmla="*/ 291 h 392"/>
                <a:gd name="T34" fmla="*/ 77 w 170"/>
                <a:gd name="T35" fmla="*/ 291 h 392"/>
                <a:gd name="T36" fmla="*/ 86 w 170"/>
                <a:gd name="T37" fmla="*/ 297 h 392"/>
                <a:gd name="T38" fmla="*/ 97 w 170"/>
                <a:gd name="T39" fmla="*/ 297 h 392"/>
                <a:gd name="T40" fmla="*/ 89 w 170"/>
                <a:gd name="T41" fmla="*/ 307 h 392"/>
                <a:gd name="T42" fmla="*/ 77 w 170"/>
                <a:gd name="T43" fmla="*/ 313 h 392"/>
                <a:gd name="T44" fmla="*/ 74 w 170"/>
                <a:gd name="T45" fmla="*/ 315 h 392"/>
                <a:gd name="T46" fmla="*/ 74 w 170"/>
                <a:gd name="T47" fmla="*/ 321 h 392"/>
                <a:gd name="T48" fmla="*/ 71 w 170"/>
                <a:gd name="T49" fmla="*/ 332 h 392"/>
                <a:gd name="T50" fmla="*/ 62 w 170"/>
                <a:gd name="T51" fmla="*/ 374 h 392"/>
                <a:gd name="T52" fmla="*/ 20 w 170"/>
                <a:gd name="T53" fmla="*/ 392 h 392"/>
                <a:gd name="T54" fmla="*/ 16 w 170"/>
                <a:gd name="T55" fmla="*/ 374 h 392"/>
                <a:gd name="T56" fmla="*/ 20 w 170"/>
                <a:gd name="T57" fmla="*/ 371 h 392"/>
                <a:gd name="T58" fmla="*/ 22 w 170"/>
                <a:gd name="T59" fmla="*/ 364 h 392"/>
                <a:gd name="T60" fmla="*/ 7 w 170"/>
                <a:gd name="T61" fmla="*/ 335 h 392"/>
                <a:gd name="T62" fmla="*/ 3 w 170"/>
                <a:gd name="T63" fmla="*/ 327 h 392"/>
                <a:gd name="T64" fmla="*/ 0 w 170"/>
                <a:gd name="T65" fmla="*/ 318 h 392"/>
                <a:gd name="T66" fmla="*/ 1 w 170"/>
                <a:gd name="T67" fmla="*/ 303 h 392"/>
                <a:gd name="T68" fmla="*/ 7 w 170"/>
                <a:gd name="T69" fmla="*/ 297 h 392"/>
                <a:gd name="T70" fmla="*/ 16 w 170"/>
                <a:gd name="T71" fmla="*/ 276 h 392"/>
                <a:gd name="T72" fmla="*/ 20 w 170"/>
                <a:gd name="T73" fmla="*/ 244 h 392"/>
                <a:gd name="T74" fmla="*/ 16 w 170"/>
                <a:gd name="T75" fmla="*/ 195 h 392"/>
                <a:gd name="T76" fmla="*/ 25 w 170"/>
                <a:gd name="T77" fmla="*/ 168 h 392"/>
                <a:gd name="T78" fmla="*/ 34 w 170"/>
                <a:gd name="T79" fmla="*/ 149 h 392"/>
                <a:gd name="T80" fmla="*/ 46 w 170"/>
                <a:gd name="T81" fmla="*/ 104 h 392"/>
                <a:gd name="T82" fmla="*/ 56 w 170"/>
                <a:gd name="T83" fmla="*/ 88 h 392"/>
                <a:gd name="T84" fmla="*/ 72 w 170"/>
                <a:gd name="T85" fmla="*/ 43 h 392"/>
                <a:gd name="T86" fmla="*/ 93 w 170"/>
                <a:gd name="T87" fmla="*/ 21 h 392"/>
                <a:gd name="T88" fmla="*/ 102 w 170"/>
                <a:gd name="T89" fmla="*/ 21 h 392"/>
                <a:gd name="T90" fmla="*/ 118 w 170"/>
                <a:gd name="T91" fmla="*/ 23 h 392"/>
                <a:gd name="T92" fmla="*/ 118 w 170"/>
                <a:gd name="T93" fmla="*/ 8 h 392"/>
                <a:gd name="T94" fmla="*/ 121 w 170"/>
                <a:gd name="T95"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392">
                  <a:moveTo>
                    <a:pt x="77" y="269"/>
                  </a:moveTo>
                  <a:lnTo>
                    <a:pt x="69" y="273"/>
                  </a:lnTo>
                  <a:lnTo>
                    <a:pt x="74" y="273"/>
                  </a:lnTo>
                  <a:lnTo>
                    <a:pt x="77" y="269"/>
                  </a:lnTo>
                  <a:close/>
                  <a:moveTo>
                    <a:pt x="121" y="0"/>
                  </a:moveTo>
                  <a:lnTo>
                    <a:pt x="126" y="0"/>
                  </a:lnTo>
                  <a:lnTo>
                    <a:pt x="155" y="27"/>
                  </a:lnTo>
                  <a:lnTo>
                    <a:pt x="164" y="40"/>
                  </a:lnTo>
                  <a:lnTo>
                    <a:pt x="163" y="69"/>
                  </a:lnTo>
                  <a:lnTo>
                    <a:pt x="169" y="82"/>
                  </a:lnTo>
                  <a:lnTo>
                    <a:pt x="166" y="95"/>
                  </a:lnTo>
                  <a:lnTo>
                    <a:pt x="170" y="109"/>
                  </a:lnTo>
                  <a:lnTo>
                    <a:pt x="169" y="113"/>
                  </a:lnTo>
                  <a:lnTo>
                    <a:pt x="169" y="115"/>
                  </a:lnTo>
                  <a:lnTo>
                    <a:pt x="167" y="115"/>
                  </a:lnTo>
                  <a:lnTo>
                    <a:pt x="164" y="113"/>
                  </a:lnTo>
                  <a:lnTo>
                    <a:pt x="161" y="113"/>
                  </a:lnTo>
                  <a:lnTo>
                    <a:pt x="157" y="112"/>
                  </a:lnTo>
                  <a:lnTo>
                    <a:pt x="154" y="112"/>
                  </a:lnTo>
                  <a:lnTo>
                    <a:pt x="151" y="110"/>
                  </a:lnTo>
                  <a:lnTo>
                    <a:pt x="149" y="110"/>
                  </a:lnTo>
                  <a:lnTo>
                    <a:pt x="146" y="119"/>
                  </a:lnTo>
                  <a:lnTo>
                    <a:pt x="145" y="119"/>
                  </a:lnTo>
                  <a:lnTo>
                    <a:pt x="142" y="117"/>
                  </a:lnTo>
                  <a:lnTo>
                    <a:pt x="143" y="120"/>
                  </a:lnTo>
                  <a:lnTo>
                    <a:pt x="136" y="126"/>
                  </a:lnTo>
                  <a:lnTo>
                    <a:pt x="137" y="134"/>
                  </a:lnTo>
                  <a:lnTo>
                    <a:pt x="131" y="143"/>
                  </a:lnTo>
                  <a:lnTo>
                    <a:pt x="137" y="156"/>
                  </a:lnTo>
                  <a:lnTo>
                    <a:pt x="123" y="175"/>
                  </a:lnTo>
                  <a:lnTo>
                    <a:pt x="100" y="189"/>
                  </a:lnTo>
                  <a:lnTo>
                    <a:pt x="94" y="198"/>
                  </a:lnTo>
                  <a:lnTo>
                    <a:pt x="90" y="203"/>
                  </a:lnTo>
                  <a:lnTo>
                    <a:pt x="89" y="203"/>
                  </a:lnTo>
                  <a:lnTo>
                    <a:pt x="87" y="202"/>
                  </a:lnTo>
                  <a:lnTo>
                    <a:pt x="87" y="208"/>
                  </a:lnTo>
                  <a:lnTo>
                    <a:pt x="86" y="212"/>
                  </a:lnTo>
                  <a:lnTo>
                    <a:pt x="84" y="212"/>
                  </a:lnTo>
                  <a:lnTo>
                    <a:pt x="81" y="211"/>
                  </a:lnTo>
                  <a:lnTo>
                    <a:pt x="84" y="218"/>
                  </a:lnTo>
                  <a:lnTo>
                    <a:pt x="81" y="235"/>
                  </a:lnTo>
                  <a:lnTo>
                    <a:pt x="78" y="235"/>
                  </a:lnTo>
                  <a:lnTo>
                    <a:pt x="78" y="266"/>
                  </a:lnTo>
                  <a:lnTo>
                    <a:pt x="83" y="261"/>
                  </a:lnTo>
                  <a:lnTo>
                    <a:pt x="84" y="261"/>
                  </a:lnTo>
                  <a:lnTo>
                    <a:pt x="96" y="270"/>
                  </a:lnTo>
                  <a:lnTo>
                    <a:pt x="96" y="272"/>
                  </a:lnTo>
                  <a:lnTo>
                    <a:pt x="94" y="272"/>
                  </a:lnTo>
                  <a:lnTo>
                    <a:pt x="100" y="281"/>
                  </a:lnTo>
                  <a:lnTo>
                    <a:pt x="100" y="282"/>
                  </a:lnTo>
                  <a:lnTo>
                    <a:pt x="97" y="291"/>
                  </a:lnTo>
                  <a:lnTo>
                    <a:pt x="96" y="291"/>
                  </a:lnTo>
                  <a:lnTo>
                    <a:pt x="87" y="295"/>
                  </a:lnTo>
                  <a:lnTo>
                    <a:pt x="77" y="291"/>
                  </a:lnTo>
                  <a:lnTo>
                    <a:pt x="69" y="292"/>
                  </a:lnTo>
                  <a:lnTo>
                    <a:pt x="80" y="297"/>
                  </a:lnTo>
                  <a:lnTo>
                    <a:pt x="86" y="297"/>
                  </a:lnTo>
                  <a:lnTo>
                    <a:pt x="90" y="295"/>
                  </a:lnTo>
                  <a:lnTo>
                    <a:pt x="97" y="295"/>
                  </a:lnTo>
                  <a:lnTo>
                    <a:pt x="97" y="297"/>
                  </a:lnTo>
                  <a:lnTo>
                    <a:pt x="93" y="298"/>
                  </a:lnTo>
                  <a:lnTo>
                    <a:pt x="93" y="301"/>
                  </a:lnTo>
                  <a:lnTo>
                    <a:pt x="89" y="307"/>
                  </a:lnTo>
                  <a:lnTo>
                    <a:pt x="87" y="307"/>
                  </a:lnTo>
                  <a:lnTo>
                    <a:pt x="83" y="304"/>
                  </a:lnTo>
                  <a:lnTo>
                    <a:pt x="77" y="313"/>
                  </a:lnTo>
                  <a:lnTo>
                    <a:pt x="75" y="313"/>
                  </a:lnTo>
                  <a:lnTo>
                    <a:pt x="69" y="315"/>
                  </a:lnTo>
                  <a:lnTo>
                    <a:pt x="74" y="315"/>
                  </a:lnTo>
                  <a:lnTo>
                    <a:pt x="74" y="316"/>
                  </a:lnTo>
                  <a:lnTo>
                    <a:pt x="69" y="318"/>
                  </a:lnTo>
                  <a:lnTo>
                    <a:pt x="74" y="321"/>
                  </a:lnTo>
                  <a:lnTo>
                    <a:pt x="74" y="322"/>
                  </a:lnTo>
                  <a:lnTo>
                    <a:pt x="72" y="331"/>
                  </a:lnTo>
                  <a:lnTo>
                    <a:pt x="71" y="332"/>
                  </a:lnTo>
                  <a:lnTo>
                    <a:pt x="72" y="343"/>
                  </a:lnTo>
                  <a:lnTo>
                    <a:pt x="63" y="374"/>
                  </a:lnTo>
                  <a:lnTo>
                    <a:pt x="62" y="374"/>
                  </a:lnTo>
                  <a:lnTo>
                    <a:pt x="43" y="377"/>
                  </a:lnTo>
                  <a:lnTo>
                    <a:pt x="40" y="392"/>
                  </a:lnTo>
                  <a:lnTo>
                    <a:pt x="20" y="392"/>
                  </a:lnTo>
                  <a:lnTo>
                    <a:pt x="20" y="390"/>
                  </a:lnTo>
                  <a:lnTo>
                    <a:pt x="23" y="386"/>
                  </a:lnTo>
                  <a:lnTo>
                    <a:pt x="16" y="374"/>
                  </a:lnTo>
                  <a:lnTo>
                    <a:pt x="16" y="372"/>
                  </a:lnTo>
                  <a:lnTo>
                    <a:pt x="17" y="372"/>
                  </a:lnTo>
                  <a:lnTo>
                    <a:pt x="20" y="371"/>
                  </a:lnTo>
                  <a:lnTo>
                    <a:pt x="19" y="368"/>
                  </a:lnTo>
                  <a:lnTo>
                    <a:pt x="19" y="367"/>
                  </a:lnTo>
                  <a:lnTo>
                    <a:pt x="22" y="364"/>
                  </a:lnTo>
                  <a:lnTo>
                    <a:pt x="8" y="344"/>
                  </a:lnTo>
                  <a:lnTo>
                    <a:pt x="8" y="335"/>
                  </a:lnTo>
                  <a:lnTo>
                    <a:pt x="7" y="335"/>
                  </a:lnTo>
                  <a:lnTo>
                    <a:pt x="7" y="328"/>
                  </a:lnTo>
                  <a:lnTo>
                    <a:pt x="3" y="328"/>
                  </a:lnTo>
                  <a:lnTo>
                    <a:pt x="3" y="327"/>
                  </a:lnTo>
                  <a:lnTo>
                    <a:pt x="6" y="322"/>
                  </a:lnTo>
                  <a:lnTo>
                    <a:pt x="3" y="324"/>
                  </a:lnTo>
                  <a:lnTo>
                    <a:pt x="0" y="318"/>
                  </a:lnTo>
                  <a:lnTo>
                    <a:pt x="0" y="301"/>
                  </a:lnTo>
                  <a:lnTo>
                    <a:pt x="1" y="301"/>
                  </a:lnTo>
                  <a:lnTo>
                    <a:pt x="1" y="303"/>
                  </a:lnTo>
                  <a:lnTo>
                    <a:pt x="3" y="307"/>
                  </a:lnTo>
                  <a:lnTo>
                    <a:pt x="4" y="306"/>
                  </a:lnTo>
                  <a:lnTo>
                    <a:pt x="7" y="297"/>
                  </a:lnTo>
                  <a:lnTo>
                    <a:pt x="6" y="291"/>
                  </a:lnTo>
                  <a:lnTo>
                    <a:pt x="8" y="282"/>
                  </a:lnTo>
                  <a:lnTo>
                    <a:pt x="16" y="276"/>
                  </a:lnTo>
                  <a:lnTo>
                    <a:pt x="17" y="264"/>
                  </a:lnTo>
                  <a:lnTo>
                    <a:pt x="13" y="254"/>
                  </a:lnTo>
                  <a:lnTo>
                    <a:pt x="20" y="244"/>
                  </a:lnTo>
                  <a:lnTo>
                    <a:pt x="13" y="232"/>
                  </a:lnTo>
                  <a:lnTo>
                    <a:pt x="11" y="209"/>
                  </a:lnTo>
                  <a:lnTo>
                    <a:pt x="16" y="195"/>
                  </a:lnTo>
                  <a:lnTo>
                    <a:pt x="11" y="186"/>
                  </a:lnTo>
                  <a:lnTo>
                    <a:pt x="13" y="177"/>
                  </a:lnTo>
                  <a:lnTo>
                    <a:pt x="25" y="168"/>
                  </a:lnTo>
                  <a:lnTo>
                    <a:pt x="40" y="163"/>
                  </a:lnTo>
                  <a:lnTo>
                    <a:pt x="40" y="156"/>
                  </a:lnTo>
                  <a:lnTo>
                    <a:pt x="34" y="149"/>
                  </a:lnTo>
                  <a:lnTo>
                    <a:pt x="34" y="147"/>
                  </a:lnTo>
                  <a:lnTo>
                    <a:pt x="43" y="131"/>
                  </a:lnTo>
                  <a:lnTo>
                    <a:pt x="46" y="104"/>
                  </a:lnTo>
                  <a:lnTo>
                    <a:pt x="46" y="103"/>
                  </a:lnTo>
                  <a:lnTo>
                    <a:pt x="53" y="100"/>
                  </a:lnTo>
                  <a:lnTo>
                    <a:pt x="56" y="88"/>
                  </a:lnTo>
                  <a:lnTo>
                    <a:pt x="68" y="72"/>
                  </a:lnTo>
                  <a:lnTo>
                    <a:pt x="65" y="61"/>
                  </a:lnTo>
                  <a:lnTo>
                    <a:pt x="72" y="43"/>
                  </a:lnTo>
                  <a:lnTo>
                    <a:pt x="83" y="36"/>
                  </a:lnTo>
                  <a:lnTo>
                    <a:pt x="89" y="39"/>
                  </a:lnTo>
                  <a:lnTo>
                    <a:pt x="93" y="21"/>
                  </a:lnTo>
                  <a:lnTo>
                    <a:pt x="93" y="20"/>
                  </a:lnTo>
                  <a:lnTo>
                    <a:pt x="97" y="20"/>
                  </a:lnTo>
                  <a:lnTo>
                    <a:pt x="102" y="21"/>
                  </a:lnTo>
                  <a:lnTo>
                    <a:pt x="109" y="21"/>
                  </a:lnTo>
                  <a:lnTo>
                    <a:pt x="114" y="23"/>
                  </a:lnTo>
                  <a:lnTo>
                    <a:pt x="118" y="23"/>
                  </a:lnTo>
                  <a:lnTo>
                    <a:pt x="115" y="18"/>
                  </a:lnTo>
                  <a:lnTo>
                    <a:pt x="115" y="17"/>
                  </a:lnTo>
                  <a:lnTo>
                    <a:pt x="118" y="8"/>
                  </a:lnTo>
                  <a:lnTo>
                    <a:pt x="117" y="2"/>
                  </a:lnTo>
                  <a:lnTo>
                    <a:pt x="120" y="2"/>
                  </a:lnTo>
                  <a:lnTo>
                    <a:pt x="12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7" name="Sweden Offshore">
              <a:extLst>
                <a:ext uri="{FF2B5EF4-FFF2-40B4-BE49-F238E27FC236}">
                  <a16:creationId xmlns:a16="http://schemas.microsoft.com/office/drawing/2014/main" id="{8AC6EAA0-FAFB-DBD3-175E-CDBAE97DD48D}"/>
                </a:ext>
              </a:extLst>
            </p:cNvPr>
            <p:cNvSpPr>
              <a:spLocks/>
            </p:cNvSpPr>
            <p:nvPr/>
          </p:nvSpPr>
          <p:spPr bwMode="auto">
            <a:xfrm>
              <a:off x="6170992" y="2794801"/>
              <a:ext cx="128301" cy="238534"/>
            </a:xfrm>
            <a:custGeom>
              <a:avLst/>
              <a:gdLst/>
              <a:ahLst/>
              <a:cxnLst/>
              <a:rect l="l" t="t" r="r" b="b"/>
              <a:pathLst>
                <a:path w="129324" h="240435">
                  <a:moveTo>
                    <a:pt x="0" y="225863"/>
                  </a:moveTo>
                  <a:lnTo>
                    <a:pt x="1822" y="225863"/>
                  </a:lnTo>
                  <a:lnTo>
                    <a:pt x="9108" y="236792"/>
                  </a:lnTo>
                  <a:lnTo>
                    <a:pt x="12751" y="240435"/>
                  </a:lnTo>
                  <a:lnTo>
                    <a:pt x="9108" y="240435"/>
                  </a:lnTo>
                  <a:lnTo>
                    <a:pt x="0" y="236792"/>
                  </a:lnTo>
                  <a:close/>
                  <a:moveTo>
                    <a:pt x="51003" y="151182"/>
                  </a:moveTo>
                  <a:lnTo>
                    <a:pt x="52824" y="153003"/>
                  </a:lnTo>
                  <a:lnTo>
                    <a:pt x="40073" y="185789"/>
                  </a:lnTo>
                  <a:lnTo>
                    <a:pt x="40073" y="187611"/>
                  </a:lnTo>
                  <a:lnTo>
                    <a:pt x="36430" y="185789"/>
                  </a:lnTo>
                  <a:lnTo>
                    <a:pt x="40073" y="169396"/>
                  </a:lnTo>
                  <a:lnTo>
                    <a:pt x="51003" y="153003"/>
                  </a:lnTo>
                  <a:close/>
                  <a:moveTo>
                    <a:pt x="92896" y="112932"/>
                  </a:moveTo>
                  <a:lnTo>
                    <a:pt x="102004" y="112932"/>
                  </a:lnTo>
                  <a:lnTo>
                    <a:pt x="103825" y="114753"/>
                  </a:lnTo>
                  <a:lnTo>
                    <a:pt x="98361" y="123861"/>
                  </a:lnTo>
                  <a:lnTo>
                    <a:pt x="102004" y="136611"/>
                  </a:lnTo>
                  <a:lnTo>
                    <a:pt x="81967" y="156647"/>
                  </a:lnTo>
                  <a:lnTo>
                    <a:pt x="80145" y="156647"/>
                  </a:lnTo>
                  <a:lnTo>
                    <a:pt x="81967" y="129325"/>
                  </a:lnTo>
                  <a:close/>
                  <a:moveTo>
                    <a:pt x="120217" y="0"/>
                  </a:moveTo>
                  <a:lnTo>
                    <a:pt x="129324" y="0"/>
                  </a:lnTo>
                  <a:lnTo>
                    <a:pt x="129324" y="18215"/>
                  </a:lnTo>
                  <a:lnTo>
                    <a:pt x="120217" y="12750"/>
                  </a:lnTo>
                  <a:lnTo>
                    <a:pt x="118395" y="1275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8" name="Estonia">
              <a:extLst>
                <a:ext uri="{FF2B5EF4-FFF2-40B4-BE49-F238E27FC236}">
                  <a16:creationId xmlns:a16="http://schemas.microsoft.com/office/drawing/2014/main" id="{BF502623-4FF6-82BB-24AA-6342FC4F4B5D}"/>
                </a:ext>
              </a:extLst>
            </p:cNvPr>
            <p:cNvSpPr>
              <a:spLocks/>
            </p:cNvSpPr>
            <p:nvPr/>
          </p:nvSpPr>
          <p:spPr bwMode="auto">
            <a:xfrm>
              <a:off x="6340856" y="2823714"/>
              <a:ext cx="155409" cy="101195"/>
            </a:xfrm>
            <a:custGeom>
              <a:avLst/>
              <a:gdLst/>
              <a:ahLst/>
              <a:cxnLst/>
              <a:rect l="l" t="t" r="r" b="b"/>
              <a:pathLst>
                <a:path w="156648" h="102002">
                  <a:moveTo>
                    <a:pt x="27322" y="54644"/>
                  </a:moveTo>
                  <a:lnTo>
                    <a:pt x="32786" y="61930"/>
                  </a:lnTo>
                  <a:lnTo>
                    <a:pt x="10929" y="67394"/>
                  </a:lnTo>
                  <a:lnTo>
                    <a:pt x="5465" y="83787"/>
                  </a:lnTo>
                  <a:lnTo>
                    <a:pt x="5465" y="72859"/>
                  </a:lnTo>
                  <a:lnTo>
                    <a:pt x="0" y="67394"/>
                  </a:lnTo>
                  <a:lnTo>
                    <a:pt x="0" y="60108"/>
                  </a:lnTo>
                  <a:close/>
                  <a:moveTo>
                    <a:pt x="20037" y="34608"/>
                  </a:moveTo>
                  <a:lnTo>
                    <a:pt x="21858" y="34608"/>
                  </a:lnTo>
                  <a:lnTo>
                    <a:pt x="25501" y="43716"/>
                  </a:lnTo>
                  <a:lnTo>
                    <a:pt x="14572" y="51002"/>
                  </a:lnTo>
                  <a:lnTo>
                    <a:pt x="10929" y="51002"/>
                  </a:lnTo>
                  <a:lnTo>
                    <a:pt x="3643" y="40073"/>
                  </a:lnTo>
                  <a:close/>
                  <a:moveTo>
                    <a:pt x="145719" y="0"/>
                  </a:moveTo>
                  <a:lnTo>
                    <a:pt x="149362" y="0"/>
                  </a:lnTo>
                  <a:lnTo>
                    <a:pt x="154827" y="5464"/>
                  </a:lnTo>
                  <a:lnTo>
                    <a:pt x="156648" y="18215"/>
                  </a:lnTo>
                  <a:lnTo>
                    <a:pt x="145719" y="34608"/>
                  </a:lnTo>
                  <a:lnTo>
                    <a:pt x="127505" y="40072"/>
                  </a:lnTo>
                  <a:lnTo>
                    <a:pt x="132969" y="65573"/>
                  </a:lnTo>
                  <a:lnTo>
                    <a:pt x="136612" y="65573"/>
                  </a:lnTo>
                  <a:lnTo>
                    <a:pt x="138434" y="76502"/>
                  </a:lnTo>
                  <a:lnTo>
                    <a:pt x="143898" y="80145"/>
                  </a:lnTo>
                  <a:lnTo>
                    <a:pt x="145719" y="85609"/>
                  </a:lnTo>
                  <a:lnTo>
                    <a:pt x="145719" y="89252"/>
                  </a:lnTo>
                  <a:lnTo>
                    <a:pt x="138434" y="96538"/>
                  </a:lnTo>
                  <a:lnTo>
                    <a:pt x="138434" y="102002"/>
                  </a:lnTo>
                  <a:lnTo>
                    <a:pt x="136612" y="102002"/>
                  </a:lnTo>
                  <a:lnTo>
                    <a:pt x="127505" y="100181"/>
                  </a:lnTo>
                  <a:lnTo>
                    <a:pt x="122040" y="100181"/>
                  </a:lnTo>
                  <a:lnTo>
                    <a:pt x="120219" y="102002"/>
                  </a:lnTo>
                  <a:lnTo>
                    <a:pt x="114754" y="102002"/>
                  </a:lnTo>
                  <a:lnTo>
                    <a:pt x="103826" y="89252"/>
                  </a:lnTo>
                  <a:lnTo>
                    <a:pt x="83789" y="80145"/>
                  </a:lnTo>
                  <a:lnTo>
                    <a:pt x="60110" y="89252"/>
                  </a:lnTo>
                  <a:lnTo>
                    <a:pt x="61932" y="67394"/>
                  </a:lnTo>
                  <a:lnTo>
                    <a:pt x="43717" y="67394"/>
                  </a:lnTo>
                  <a:lnTo>
                    <a:pt x="38253" y="54644"/>
                  </a:lnTo>
                  <a:lnTo>
                    <a:pt x="38253" y="51001"/>
                  </a:lnTo>
                  <a:lnTo>
                    <a:pt x="43717" y="49180"/>
                  </a:lnTo>
                  <a:lnTo>
                    <a:pt x="36431" y="45537"/>
                  </a:lnTo>
                  <a:lnTo>
                    <a:pt x="36431" y="43715"/>
                  </a:lnTo>
                  <a:lnTo>
                    <a:pt x="38253" y="27322"/>
                  </a:lnTo>
                  <a:lnTo>
                    <a:pt x="89254" y="5464"/>
                  </a:lnTo>
                  <a:lnTo>
                    <a:pt x="140255" y="16393"/>
                  </a:lnTo>
                  <a:lnTo>
                    <a:pt x="143898" y="1275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19" name="Greece">
              <a:extLst>
                <a:ext uri="{FF2B5EF4-FFF2-40B4-BE49-F238E27FC236}">
                  <a16:creationId xmlns:a16="http://schemas.microsoft.com/office/drawing/2014/main" id="{9A2821A2-3FA3-D633-32FF-E19685C48AA0}"/>
                </a:ext>
              </a:extLst>
            </p:cNvPr>
            <p:cNvSpPr>
              <a:spLocks/>
            </p:cNvSpPr>
            <p:nvPr/>
          </p:nvSpPr>
          <p:spPr bwMode="auto">
            <a:xfrm>
              <a:off x="6290258" y="3504977"/>
              <a:ext cx="206006" cy="207813"/>
            </a:xfrm>
            <a:custGeom>
              <a:avLst/>
              <a:gdLst/>
              <a:ahLst/>
              <a:cxnLst/>
              <a:rect l="l" t="t" r="r" b="b"/>
              <a:pathLst>
                <a:path w="207648" h="209470">
                  <a:moveTo>
                    <a:pt x="98359" y="185790"/>
                  </a:moveTo>
                  <a:lnTo>
                    <a:pt x="109288" y="185790"/>
                  </a:lnTo>
                  <a:lnTo>
                    <a:pt x="109288" y="187612"/>
                  </a:lnTo>
                  <a:lnTo>
                    <a:pt x="112931" y="193076"/>
                  </a:lnTo>
                  <a:lnTo>
                    <a:pt x="129324" y="193076"/>
                  </a:lnTo>
                  <a:lnTo>
                    <a:pt x="151182" y="198541"/>
                  </a:lnTo>
                  <a:lnTo>
                    <a:pt x="156646" y="196719"/>
                  </a:lnTo>
                  <a:lnTo>
                    <a:pt x="160289" y="196719"/>
                  </a:lnTo>
                  <a:lnTo>
                    <a:pt x="160289" y="198541"/>
                  </a:lnTo>
                  <a:lnTo>
                    <a:pt x="156646" y="207649"/>
                  </a:lnTo>
                  <a:lnTo>
                    <a:pt x="140253" y="207649"/>
                  </a:lnTo>
                  <a:lnTo>
                    <a:pt x="134788" y="209470"/>
                  </a:lnTo>
                  <a:lnTo>
                    <a:pt x="122038" y="209470"/>
                  </a:lnTo>
                  <a:lnTo>
                    <a:pt x="112931" y="202184"/>
                  </a:lnTo>
                  <a:lnTo>
                    <a:pt x="92894" y="202184"/>
                  </a:lnTo>
                  <a:lnTo>
                    <a:pt x="92894" y="198541"/>
                  </a:lnTo>
                  <a:lnTo>
                    <a:pt x="98359" y="187612"/>
                  </a:lnTo>
                  <a:close/>
                  <a:moveTo>
                    <a:pt x="205827" y="162111"/>
                  </a:moveTo>
                  <a:lnTo>
                    <a:pt x="207648" y="162111"/>
                  </a:lnTo>
                  <a:lnTo>
                    <a:pt x="207648" y="163933"/>
                  </a:lnTo>
                  <a:lnTo>
                    <a:pt x="202184" y="174862"/>
                  </a:lnTo>
                  <a:lnTo>
                    <a:pt x="194897" y="180326"/>
                  </a:lnTo>
                  <a:lnTo>
                    <a:pt x="191254" y="180326"/>
                  </a:lnTo>
                  <a:lnTo>
                    <a:pt x="191254" y="169397"/>
                  </a:lnTo>
                  <a:close/>
                  <a:moveTo>
                    <a:pt x="122038" y="114753"/>
                  </a:moveTo>
                  <a:lnTo>
                    <a:pt x="123860" y="114753"/>
                  </a:lnTo>
                  <a:lnTo>
                    <a:pt x="129324" y="118396"/>
                  </a:lnTo>
                  <a:lnTo>
                    <a:pt x="129324" y="129325"/>
                  </a:lnTo>
                  <a:lnTo>
                    <a:pt x="127503" y="129325"/>
                  </a:lnTo>
                  <a:lnTo>
                    <a:pt x="122038" y="118396"/>
                  </a:lnTo>
                  <a:close/>
                  <a:moveTo>
                    <a:pt x="25500" y="102002"/>
                  </a:moveTo>
                  <a:lnTo>
                    <a:pt x="25500" y="103823"/>
                  </a:lnTo>
                  <a:lnTo>
                    <a:pt x="27322" y="114753"/>
                  </a:lnTo>
                  <a:lnTo>
                    <a:pt x="25500" y="114753"/>
                  </a:lnTo>
                  <a:lnTo>
                    <a:pt x="16393" y="109288"/>
                  </a:lnTo>
                  <a:lnTo>
                    <a:pt x="16393" y="107467"/>
                  </a:lnTo>
                  <a:lnTo>
                    <a:pt x="21857" y="103823"/>
                  </a:lnTo>
                  <a:close/>
                  <a:moveTo>
                    <a:pt x="145718" y="96538"/>
                  </a:moveTo>
                  <a:lnTo>
                    <a:pt x="149361" y="96538"/>
                  </a:lnTo>
                  <a:lnTo>
                    <a:pt x="156647" y="98359"/>
                  </a:lnTo>
                  <a:lnTo>
                    <a:pt x="156647" y="102003"/>
                  </a:lnTo>
                  <a:lnTo>
                    <a:pt x="151183" y="109289"/>
                  </a:lnTo>
                  <a:lnTo>
                    <a:pt x="149361" y="109289"/>
                  </a:lnTo>
                  <a:close/>
                  <a:moveTo>
                    <a:pt x="89252" y="83787"/>
                  </a:moveTo>
                  <a:lnTo>
                    <a:pt x="92895" y="83787"/>
                  </a:lnTo>
                  <a:lnTo>
                    <a:pt x="111109" y="96537"/>
                  </a:lnTo>
                  <a:lnTo>
                    <a:pt x="118395" y="112931"/>
                  </a:lnTo>
                  <a:lnTo>
                    <a:pt x="118395" y="118395"/>
                  </a:lnTo>
                  <a:lnTo>
                    <a:pt x="112931" y="118395"/>
                  </a:lnTo>
                  <a:lnTo>
                    <a:pt x="109288" y="109288"/>
                  </a:lnTo>
                  <a:lnTo>
                    <a:pt x="81966" y="91073"/>
                  </a:lnTo>
                  <a:close/>
                  <a:moveTo>
                    <a:pt x="160291" y="74681"/>
                  </a:moveTo>
                  <a:lnTo>
                    <a:pt x="165755" y="83788"/>
                  </a:lnTo>
                  <a:lnTo>
                    <a:pt x="165755" y="85610"/>
                  </a:lnTo>
                  <a:lnTo>
                    <a:pt x="149361" y="83788"/>
                  </a:lnTo>
                  <a:lnTo>
                    <a:pt x="145718" y="83788"/>
                  </a:lnTo>
                  <a:lnTo>
                    <a:pt x="145718" y="80145"/>
                  </a:lnTo>
                  <a:close/>
                  <a:moveTo>
                    <a:pt x="0" y="63752"/>
                  </a:moveTo>
                  <a:lnTo>
                    <a:pt x="5464" y="63752"/>
                  </a:lnTo>
                  <a:lnTo>
                    <a:pt x="10929" y="74681"/>
                  </a:lnTo>
                  <a:lnTo>
                    <a:pt x="9107" y="74681"/>
                  </a:lnTo>
                  <a:lnTo>
                    <a:pt x="0" y="67395"/>
                  </a:lnTo>
                  <a:close/>
                  <a:moveTo>
                    <a:pt x="127503" y="56466"/>
                  </a:moveTo>
                  <a:lnTo>
                    <a:pt x="138432" y="56466"/>
                  </a:lnTo>
                  <a:lnTo>
                    <a:pt x="138432" y="58288"/>
                  </a:lnTo>
                  <a:lnTo>
                    <a:pt x="134789" y="58288"/>
                  </a:lnTo>
                  <a:lnTo>
                    <a:pt x="127503" y="61931"/>
                  </a:lnTo>
                  <a:close/>
                  <a:moveTo>
                    <a:pt x="122039" y="29143"/>
                  </a:moveTo>
                  <a:lnTo>
                    <a:pt x="122039" y="36429"/>
                  </a:lnTo>
                  <a:lnTo>
                    <a:pt x="118396" y="36429"/>
                  </a:lnTo>
                  <a:lnTo>
                    <a:pt x="112931" y="34607"/>
                  </a:lnTo>
                  <a:lnTo>
                    <a:pt x="112931" y="30964"/>
                  </a:lnTo>
                  <a:close/>
                  <a:moveTo>
                    <a:pt x="154825" y="0"/>
                  </a:moveTo>
                  <a:lnTo>
                    <a:pt x="160290" y="0"/>
                  </a:lnTo>
                  <a:lnTo>
                    <a:pt x="165754" y="7286"/>
                  </a:lnTo>
                  <a:lnTo>
                    <a:pt x="165754" y="10929"/>
                  </a:lnTo>
                  <a:lnTo>
                    <a:pt x="154825" y="30965"/>
                  </a:lnTo>
                  <a:lnTo>
                    <a:pt x="154825" y="34608"/>
                  </a:lnTo>
                  <a:lnTo>
                    <a:pt x="151182" y="34608"/>
                  </a:lnTo>
                  <a:lnTo>
                    <a:pt x="127503" y="25501"/>
                  </a:lnTo>
                  <a:lnTo>
                    <a:pt x="112932" y="25501"/>
                  </a:lnTo>
                  <a:lnTo>
                    <a:pt x="98360" y="36429"/>
                  </a:lnTo>
                  <a:lnTo>
                    <a:pt x="111110" y="47358"/>
                  </a:lnTo>
                  <a:lnTo>
                    <a:pt x="111110" y="51001"/>
                  </a:lnTo>
                  <a:lnTo>
                    <a:pt x="100181" y="47358"/>
                  </a:lnTo>
                  <a:lnTo>
                    <a:pt x="105646" y="56466"/>
                  </a:lnTo>
                  <a:lnTo>
                    <a:pt x="103824" y="56466"/>
                  </a:lnTo>
                  <a:lnTo>
                    <a:pt x="103824" y="58287"/>
                  </a:lnTo>
                  <a:lnTo>
                    <a:pt x="92895" y="51001"/>
                  </a:lnTo>
                  <a:lnTo>
                    <a:pt x="94717" y="56466"/>
                  </a:lnTo>
                  <a:lnTo>
                    <a:pt x="94717" y="58287"/>
                  </a:lnTo>
                  <a:lnTo>
                    <a:pt x="92895" y="58287"/>
                  </a:lnTo>
                  <a:lnTo>
                    <a:pt x="76502" y="41894"/>
                  </a:lnTo>
                  <a:lnTo>
                    <a:pt x="72859" y="41894"/>
                  </a:lnTo>
                  <a:lnTo>
                    <a:pt x="76502" y="40072"/>
                  </a:lnTo>
                  <a:lnTo>
                    <a:pt x="72859" y="40072"/>
                  </a:lnTo>
                  <a:lnTo>
                    <a:pt x="72859" y="41894"/>
                  </a:lnTo>
                  <a:lnTo>
                    <a:pt x="72859" y="56466"/>
                  </a:lnTo>
                  <a:lnTo>
                    <a:pt x="87431" y="78323"/>
                  </a:lnTo>
                  <a:lnTo>
                    <a:pt x="87431" y="80145"/>
                  </a:lnTo>
                  <a:lnTo>
                    <a:pt x="83788" y="80145"/>
                  </a:lnTo>
                  <a:lnTo>
                    <a:pt x="78324" y="78323"/>
                  </a:lnTo>
                  <a:lnTo>
                    <a:pt x="81967" y="85609"/>
                  </a:lnTo>
                  <a:lnTo>
                    <a:pt x="81967" y="89252"/>
                  </a:lnTo>
                  <a:lnTo>
                    <a:pt x="72859" y="89252"/>
                  </a:lnTo>
                  <a:lnTo>
                    <a:pt x="103824" y="109289"/>
                  </a:lnTo>
                  <a:lnTo>
                    <a:pt x="105646" y="109289"/>
                  </a:lnTo>
                  <a:lnTo>
                    <a:pt x="105646" y="129325"/>
                  </a:lnTo>
                  <a:lnTo>
                    <a:pt x="94717" y="118396"/>
                  </a:lnTo>
                  <a:lnTo>
                    <a:pt x="83788" y="115968"/>
                  </a:lnTo>
                  <a:lnTo>
                    <a:pt x="83788" y="118396"/>
                  </a:lnTo>
                  <a:lnTo>
                    <a:pt x="92895" y="131146"/>
                  </a:lnTo>
                  <a:lnTo>
                    <a:pt x="92895" y="134789"/>
                  </a:lnTo>
                  <a:lnTo>
                    <a:pt x="83788" y="140254"/>
                  </a:lnTo>
                  <a:lnTo>
                    <a:pt x="81966" y="140254"/>
                  </a:lnTo>
                  <a:lnTo>
                    <a:pt x="76502" y="134789"/>
                  </a:lnTo>
                  <a:lnTo>
                    <a:pt x="83788" y="163933"/>
                  </a:lnTo>
                  <a:lnTo>
                    <a:pt x="81966" y="163933"/>
                  </a:lnTo>
                  <a:lnTo>
                    <a:pt x="72859" y="156647"/>
                  </a:lnTo>
                  <a:lnTo>
                    <a:pt x="65573" y="163933"/>
                  </a:lnTo>
                  <a:lnTo>
                    <a:pt x="61930" y="163933"/>
                  </a:lnTo>
                  <a:lnTo>
                    <a:pt x="56466" y="147540"/>
                  </a:lnTo>
                  <a:lnTo>
                    <a:pt x="51001" y="156647"/>
                  </a:lnTo>
                  <a:lnTo>
                    <a:pt x="45537" y="151183"/>
                  </a:lnTo>
                  <a:lnTo>
                    <a:pt x="45537" y="136611"/>
                  </a:lnTo>
                  <a:lnTo>
                    <a:pt x="34608" y="123860"/>
                  </a:lnTo>
                  <a:lnTo>
                    <a:pt x="34608" y="120218"/>
                  </a:lnTo>
                  <a:lnTo>
                    <a:pt x="40073" y="109289"/>
                  </a:lnTo>
                  <a:lnTo>
                    <a:pt x="56466" y="107467"/>
                  </a:lnTo>
                  <a:lnTo>
                    <a:pt x="79149" y="113516"/>
                  </a:lnTo>
                  <a:lnTo>
                    <a:pt x="81967" y="109289"/>
                  </a:lnTo>
                  <a:lnTo>
                    <a:pt x="71038" y="103824"/>
                  </a:lnTo>
                  <a:lnTo>
                    <a:pt x="56466" y="103824"/>
                  </a:lnTo>
                  <a:lnTo>
                    <a:pt x="49180" y="107467"/>
                  </a:lnTo>
                  <a:lnTo>
                    <a:pt x="34608" y="107467"/>
                  </a:lnTo>
                  <a:lnTo>
                    <a:pt x="25501" y="91074"/>
                  </a:lnTo>
                  <a:lnTo>
                    <a:pt x="25501" y="89252"/>
                  </a:lnTo>
                  <a:lnTo>
                    <a:pt x="32786" y="89252"/>
                  </a:lnTo>
                  <a:lnTo>
                    <a:pt x="25501" y="85609"/>
                  </a:lnTo>
                  <a:lnTo>
                    <a:pt x="10929" y="67395"/>
                  </a:lnTo>
                  <a:lnTo>
                    <a:pt x="10929" y="63752"/>
                  </a:lnTo>
                  <a:lnTo>
                    <a:pt x="32786" y="36429"/>
                  </a:lnTo>
                  <a:lnTo>
                    <a:pt x="30965" y="29144"/>
                  </a:lnTo>
                  <a:lnTo>
                    <a:pt x="30965" y="25501"/>
                  </a:lnTo>
                  <a:lnTo>
                    <a:pt x="32786" y="25501"/>
                  </a:lnTo>
                  <a:lnTo>
                    <a:pt x="78324" y="12750"/>
                  </a:lnTo>
                  <a:lnTo>
                    <a:pt x="112932" y="5464"/>
                  </a:lnTo>
                  <a:lnTo>
                    <a:pt x="140254" y="14572"/>
                  </a:lnTo>
                  <a:lnTo>
                    <a:pt x="145718" y="12750"/>
                  </a:lnTo>
                  <a:lnTo>
                    <a:pt x="154825" y="7286"/>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0" name="Ibiza">
              <a:extLst>
                <a:ext uri="{FF2B5EF4-FFF2-40B4-BE49-F238E27FC236}">
                  <a16:creationId xmlns:a16="http://schemas.microsoft.com/office/drawing/2014/main" id="{D247A58A-7AC3-B651-7E4E-8A7F1BF3BE5D}"/>
                </a:ext>
              </a:extLst>
            </p:cNvPr>
            <p:cNvSpPr>
              <a:spLocks/>
            </p:cNvSpPr>
            <p:nvPr/>
          </p:nvSpPr>
          <p:spPr bwMode="auto">
            <a:xfrm>
              <a:off x="5860179" y="3588101"/>
              <a:ext cx="7228" cy="7228"/>
            </a:xfrm>
            <a:custGeom>
              <a:avLst/>
              <a:gdLst>
                <a:gd name="T0" fmla="*/ 3 w 4"/>
                <a:gd name="T1" fmla="*/ 0 h 4"/>
                <a:gd name="T2" fmla="*/ 4 w 4"/>
                <a:gd name="T3" fmla="*/ 0 h 4"/>
                <a:gd name="T4" fmla="*/ 4 w 4"/>
                <a:gd name="T5" fmla="*/ 1 h 4"/>
                <a:gd name="T6" fmla="*/ 3 w 4"/>
                <a:gd name="T7" fmla="*/ 4 h 4"/>
                <a:gd name="T8" fmla="*/ 0 w 4"/>
                <a:gd name="T9" fmla="*/ 4 h 4"/>
                <a:gd name="T10" fmla="*/ 0 w 4"/>
                <a:gd name="T11" fmla="*/ 3 h 4"/>
                <a:gd name="T12" fmla="*/ 3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3" y="0"/>
                  </a:moveTo>
                  <a:lnTo>
                    <a:pt x="4" y="0"/>
                  </a:lnTo>
                  <a:lnTo>
                    <a:pt x="4" y="1"/>
                  </a:lnTo>
                  <a:lnTo>
                    <a:pt x="3" y="4"/>
                  </a:lnTo>
                  <a:lnTo>
                    <a:pt x="0" y="4"/>
                  </a:lnTo>
                  <a:lnTo>
                    <a:pt x="0" y="3"/>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1" name="Menorca">
              <a:extLst>
                <a:ext uri="{FF2B5EF4-FFF2-40B4-BE49-F238E27FC236}">
                  <a16:creationId xmlns:a16="http://schemas.microsoft.com/office/drawing/2014/main" id="{DC94F8E2-82AF-CD55-D1A7-5FDEABE5AF1E}"/>
                </a:ext>
              </a:extLst>
            </p:cNvPr>
            <p:cNvSpPr>
              <a:spLocks/>
            </p:cNvSpPr>
            <p:nvPr/>
          </p:nvSpPr>
          <p:spPr bwMode="auto">
            <a:xfrm>
              <a:off x="5918005" y="3557382"/>
              <a:ext cx="14457" cy="9036"/>
            </a:xfrm>
            <a:custGeom>
              <a:avLst/>
              <a:gdLst>
                <a:gd name="T0" fmla="*/ 0 w 8"/>
                <a:gd name="T1" fmla="*/ 0 h 5"/>
                <a:gd name="T2" fmla="*/ 6 w 8"/>
                <a:gd name="T3" fmla="*/ 0 h 5"/>
                <a:gd name="T4" fmla="*/ 8 w 8"/>
                <a:gd name="T5" fmla="*/ 3 h 5"/>
                <a:gd name="T6" fmla="*/ 8 w 8"/>
                <a:gd name="T7" fmla="*/ 5 h 5"/>
                <a:gd name="T8" fmla="*/ 6 w 8"/>
                <a:gd name="T9" fmla="*/ 5 h 5"/>
                <a:gd name="T10" fmla="*/ 2 w 8"/>
                <a:gd name="T11" fmla="*/ 2 h 5"/>
                <a:gd name="T12" fmla="*/ 0 w 8"/>
                <a:gd name="T13" fmla="*/ 2 h 5"/>
                <a:gd name="T14" fmla="*/ 0 w 8"/>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0" y="0"/>
                  </a:moveTo>
                  <a:lnTo>
                    <a:pt x="6" y="0"/>
                  </a:lnTo>
                  <a:lnTo>
                    <a:pt x="8" y="3"/>
                  </a:lnTo>
                  <a:lnTo>
                    <a:pt x="8" y="5"/>
                  </a:lnTo>
                  <a:lnTo>
                    <a:pt x="6" y="5"/>
                  </a:lnTo>
                  <a:lnTo>
                    <a:pt x="2" y="2"/>
                  </a:lnTo>
                  <a:lnTo>
                    <a:pt x="0" y="2"/>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2" name="Island">
              <a:extLst>
                <a:ext uri="{FF2B5EF4-FFF2-40B4-BE49-F238E27FC236}">
                  <a16:creationId xmlns:a16="http://schemas.microsoft.com/office/drawing/2014/main" id="{4F1E8A97-A577-3057-4F0A-2F8E70A1FA69}"/>
                </a:ext>
              </a:extLst>
            </p:cNvPr>
            <p:cNvSpPr>
              <a:spLocks/>
            </p:cNvSpPr>
            <p:nvPr/>
          </p:nvSpPr>
          <p:spPr bwMode="auto">
            <a:xfrm>
              <a:off x="5182530" y="3595329"/>
              <a:ext cx="7228" cy="7228"/>
            </a:xfrm>
            <a:custGeom>
              <a:avLst/>
              <a:gdLst>
                <a:gd name="T0" fmla="*/ 4 w 4"/>
                <a:gd name="T1" fmla="*/ 0 h 4"/>
                <a:gd name="T2" fmla="*/ 4 w 4"/>
                <a:gd name="T3" fmla="*/ 4 h 4"/>
                <a:gd name="T4" fmla="*/ 3 w 4"/>
                <a:gd name="T5" fmla="*/ 4 h 4"/>
                <a:gd name="T6" fmla="*/ 0 w 4"/>
                <a:gd name="T7" fmla="*/ 3 h 4"/>
                <a:gd name="T8" fmla="*/ 0 w 4"/>
                <a:gd name="T9" fmla="*/ 1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4"/>
                  </a:lnTo>
                  <a:lnTo>
                    <a:pt x="3" y="4"/>
                  </a:lnTo>
                  <a:lnTo>
                    <a:pt x="0" y="3"/>
                  </a:lnTo>
                  <a:lnTo>
                    <a:pt x="0" y="1"/>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3" name="Sao Miguel">
              <a:extLst>
                <a:ext uri="{FF2B5EF4-FFF2-40B4-BE49-F238E27FC236}">
                  <a16:creationId xmlns:a16="http://schemas.microsoft.com/office/drawing/2014/main" id="{2DA7B708-243F-78CB-112B-8DF3FEC688A9}"/>
                </a:ext>
              </a:extLst>
            </p:cNvPr>
            <p:cNvSpPr>
              <a:spLocks/>
            </p:cNvSpPr>
            <p:nvPr/>
          </p:nvSpPr>
          <p:spPr bwMode="auto">
            <a:xfrm>
              <a:off x="5218672" y="3624243"/>
              <a:ext cx="19879" cy="9036"/>
            </a:xfrm>
            <a:custGeom>
              <a:avLst/>
              <a:gdLst>
                <a:gd name="T0" fmla="*/ 0 w 11"/>
                <a:gd name="T1" fmla="*/ 0 h 5"/>
                <a:gd name="T2" fmla="*/ 11 w 11"/>
                <a:gd name="T3" fmla="*/ 0 h 5"/>
                <a:gd name="T4" fmla="*/ 11 w 11"/>
                <a:gd name="T5" fmla="*/ 2 h 5"/>
                <a:gd name="T6" fmla="*/ 6 w 11"/>
                <a:gd name="T7" fmla="*/ 3 h 5"/>
                <a:gd name="T8" fmla="*/ 6 w 11"/>
                <a:gd name="T9" fmla="*/ 5 h 5"/>
                <a:gd name="T10" fmla="*/ 5 w 11"/>
                <a:gd name="T11" fmla="*/ 5 h 5"/>
                <a:gd name="T12" fmla="*/ 5 w 11"/>
                <a:gd name="T13" fmla="*/ 3 h 5"/>
                <a:gd name="T14" fmla="*/ 0 w 11"/>
                <a:gd name="T15" fmla="*/ 2 h 5"/>
                <a:gd name="T16" fmla="*/ 0 w 11"/>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0" y="0"/>
                  </a:moveTo>
                  <a:lnTo>
                    <a:pt x="11" y="0"/>
                  </a:lnTo>
                  <a:lnTo>
                    <a:pt x="11" y="2"/>
                  </a:lnTo>
                  <a:lnTo>
                    <a:pt x="6" y="3"/>
                  </a:lnTo>
                  <a:lnTo>
                    <a:pt x="6" y="5"/>
                  </a:lnTo>
                  <a:lnTo>
                    <a:pt x="5" y="5"/>
                  </a:lnTo>
                  <a:lnTo>
                    <a:pt x="5" y="3"/>
                  </a:lnTo>
                  <a:lnTo>
                    <a:pt x="0" y="2"/>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4" name="United Kingdom">
              <a:extLst>
                <a:ext uri="{FF2B5EF4-FFF2-40B4-BE49-F238E27FC236}">
                  <a16:creationId xmlns:a16="http://schemas.microsoft.com/office/drawing/2014/main" id="{D9F38F3B-F5A7-6430-A7B4-F09098993217}"/>
                </a:ext>
              </a:extLst>
            </p:cNvPr>
            <p:cNvSpPr>
              <a:spLocks/>
            </p:cNvSpPr>
            <p:nvPr/>
          </p:nvSpPr>
          <p:spPr bwMode="auto">
            <a:xfrm>
              <a:off x="5637909" y="2780343"/>
              <a:ext cx="233112" cy="448152"/>
            </a:xfrm>
            <a:custGeom>
              <a:avLst/>
              <a:gdLst/>
              <a:ahLst/>
              <a:cxnLst/>
              <a:rect l="l" t="t" r="r" b="b"/>
              <a:pathLst>
                <a:path w="234970" h="451724">
                  <a:moveTo>
                    <a:pt x="85610" y="278685"/>
                  </a:moveTo>
                  <a:lnTo>
                    <a:pt x="87432" y="278685"/>
                  </a:lnTo>
                  <a:lnTo>
                    <a:pt x="87432" y="291436"/>
                  </a:lnTo>
                  <a:lnTo>
                    <a:pt x="80145" y="295079"/>
                  </a:lnTo>
                  <a:lnTo>
                    <a:pt x="78324" y="295079"/>
                  </a:lnTo>
                  <a:lnTo>
                    <a:pt x="78324" y="291436"/>
                  </a:lnTo>
                  <a:close/>
                  <a:moveTo>
                    <a:pt x="18215" y="240434"/>
                  </a:moveTo>
                  <a:lnTo>
                    <a:pt x="25501" y="244077"/>
                  </a:lnTo>
                  <a:lnTo>
                    <a:pt x="29144" y="244077"/>
                  </a:lnTo>
                  <a:lnTo>
                    <a:pt x="29144" y="245899"/>
                  </a:lnTo>
                  <a:lnTo>
                    <a:pt x="23679" y="251363"/>
                  </a:lnTo>
                  <a:lnTo>
                    <a:pt x="45537" y="245899"/>
                  </a:lnTo>
                  <a:lnTo>
                    <a:pt x="47359" y="245899"/>
                  </a:lnTo>
                  <a:lnTo>
                    <a:pt x="52823" y="256827"/>
                  </a:lnTo>
                  <a:lnTo>
                    <a:pt x="52823" y="267756"/>
                  </a:lnTo>
                  <a:lnTo>
                    <a:pt x="61930" y="276864"/>
                  </a:lnTo>
                  <a:lnTo>
                    <a:pt x="63752" y="276864"/>
                  </a:lnTo>
                  <a:lnTo>
                    <a:pt x="61930" y="280507"/>
                  </a:lnTo>
                  <a:lnTo>
                    <a:pt x="61930" y="284150"/>
                  </a:lnTo>
                  <a:lnTo>
                    <a:pt x="47359" y="296900"/>
                  </a:lnTo>
                  <a:lnTo>
                    <a:pt x="45537" y="296900"/>
                  </a:lnTo>
                  <a:lnTo>
                    <a:pt x="36430" y="278685"/>
                  </a:lnTo>
                  <a:lnTo>
                    <a:pt x="9107" y="289614"/>
                  </a:lnTo>
                  <a:lnTo>
                    <a:pt x="0" y="276864"/>
                  </a:lnTo>
                  <a:lnTo>
                    <a:pt x="12750" y="255006"/>
                  </a:lnTo>
                  <a:close/>
                  <a:moveTo>
                    <a:pt x="52822" y="207647"/>
                  </a:moveTo>
                  <a:lnTo>
                    <a:pt x="61930" y="207647"/>
                  </a:lnTo>
                  <a:lnTo>
                    <a:pt x="51001" y="222219"/>
                  </a:lnTo>
                  <a:lnTo>
                    <a:pt x="47722" y="222219"/>
                  </a:lnTo>
                  <a:lnTo>
                    <a:pt x="51001" y="227685"/>
                  </a:lnTo>
                  <a:lnTo>
                    <a:pt x="51001" y="229506"/>
                  </a:lnTo>
                  <a:lnTo>
                    <a:pt x="47358" y="229506"/>
                  </a:lnTo>
                  <a:lnTo>
                    <a:pt x="40072" y="227685"/>
                  </a:lnTo>
                  <a:lnTo>
                    <a:pt x="36429" y="227685"/>
                  </a:lnTo>
                  <a:lnTo>
                    <a:pt x="36429" y="224041"/>
                  </a:lnTo>
                  <a:lnTo>
                    <a:pt x="41893" y="216755"/>
                  </a:lnTo>
                  <a:lnTo>
                    <a:pt x="45536" y="216755"/>
                  </a:lnTo>
                  <a:lnTo>
                    <a:pt x="45536" y="218577"/>
                  </a:lnTo>
                  <a:lnTo>
                    <a:pt x="47358" y="221613"/>
                  </a:lnTo>
                  <a:lnTo>
                    <a:pt x="47358" y="218576"/>
                  </a:lnTo>
                  <a:close/>
                  <a:moveTo>
                    <a:pt x="41895" y="138431"/>
                  </a:moveTo>
                  <a:lnTo>
                    <a:pt x="41895" y="140253"/>
                  </a:lnTo>
                  <a:lnTo>
                    <a:pt x="51002" y="156646"/>
                  </a:lnTo>
                  <a:lnTo>
                    <a:pt x="56467" y="156646"/>
                  </a:lnTo>
                  <a:lnTo>
                    <a:pt x="56467" y="160290"/>
                  </a:lnTo>
                  <a:lnTo>
                    <a:pt x="52824" y="165754"/>
                  </a:lnTo>
                  <a:lnTo>
                    <a:pt x="30966" y="154825"/>
                  </a:lnTo>
                  <a:lnTo>
                    <a:pt x="30966" y="151182"/>
                  </a:lnTo>
                  <a:close/>
                  <a:moveTo>
                    <a:pt x="41895" y="103824"/>
                  </a:moveTo>
                  <a:lnTo>
                    <a:pt x="45538" y="103824"/>
                  </a:lnTo>
                  <a:lnTo>
                    <a:pt x="45538" y="116575"/>
                  </a:lnTo>
                  <a:lnTo>
                    <a:pt x="40073" y="120218"/>
                  </a:lnTo>
                  <a:lnTo>
                    <a:pt x="41895" y="123861"/>
                  </a:lnTo>
                  <a:lnTo>
                    <a:pt x="25501" y="134790"/>
                  </a:lnTo>
                  <a:lnTo>
                    <a:pt x="23680" y="134790"/>
                  </a:lnTo>
                  <a:lnTo>
                    <a:pt x="23680" y="114753"/>
                  </a:lnTo>
                  <a:close/>
                  <a:moveTo>
                    <a:pt x="112931" y="94716"/>
                  </a:moveTo>
                  <a:lnTo>
                    <a:pt x="118396" y="98359"/>
                  </a:lnTo>
                  <a:lnTo>
                    <a:pt x="118396" y="111109"/>
                  </a:lnTo>
                  <a:lnTo>
                    <a:pt x="96538" y="129324"/>
                  </a:lnTo>
                  <a:lnTo>
                    <a:pt x="102002" y="132967"/>
                  </a:lnTo>
                  <a:lnTo>
                    <a:pt x="102002" y="134788"/>
                  </a:lnTo>
                  <a:lnTo>
                    <a:pt x="91074" y="140253"/>
                  </a:lnTo>
                  <a:lnTo>
                    <a:pt x="92895" y="143896"/>
                  </a:lnTo>
                  <a:lnTo>
                    <a:pt x="98359" y="143896"/>
                  </a:lnTo>
                  <a:lnTo>
                    <a:pt x="112931" y="140253"/>
                  </a:lnTo>
                  <a:lnTo>
                    <a:pt x="129324" y="140253"/>
                  </a:lnTo>
                  <a:lnTo>
                    <a:pt x="142075" y="138431"/>
                  </a:lnTo>
                  <a:lnTo>
                    <a:pt x="147539" y="138431"/>
                  </a:lnTo>
                  <a:lnTo>
                    <a:pt x="147539" y="140253"/>
                  </a:lnTo>
                  <a:lnTo>
                    <a:pt x="151182" y="151182"/>
                  </a:lnTo>
                  <a:lnTo>
                    <a:pt x="140253" y="176682"/>
                  </a:lnTo>
                  <a:lnTo>
                    <a:pt x="131146" y="193075"/>
                  </a:lnTo>
                  <a:lnTo>
                    <a:pt x="129324" y="193075"/>
                  </a:lnTo>
                  <a:lnTo>
                    <a:pt x="123860" y="194897"/>
                  </a:lnTo>
                  <a:lnTo>
                    <a:pt x="131146" y="202183"/>
                  </a:lnTo>
                  <a:lnTo>
                    <a:pt x="131146" y="205826"/>
                  </a:lnTo>
                  <a:lnTo>
                    <a:pt x="129324" y="205826"/>
                  </a:lnTo>
                  <a:lnTo>
                    <a:pt x="120217" y="211290"/>
                  </a:lnTo>
                  <a:lnTo>
                    <a:pt x="131146" y="211290"/>
                  </a:lnTo>
                  <a:lnTo>
                    <a:pt x="156647" y="229505"/>
                  </a:lnTo>
                  <a:lnTo>
                    <a:pt x="165754" y="267756"/>
                  </a:lnTo>
                  <a:lnTo>
                    <a:pt x="176683" y="273220"/>
                  </a:lnTo>
                  <a:lnTo>
                    <a:pt x="196719" y="302364"/>
                  </a:lnTo>
                  <a:lnTo>
                    <a:pt x="196719" y="313292"/>
                  </a:lnTo>
                  <a:lnTo>
                    <a:pt x="187612" y="311471"/>
                  </a:lnTo>
                  <a:lnTo>
                    <a:pt x="202184" y="324221"/>
                  </a:lnTo>
                  <a:lnTo>
                    <a:pt x="196719" y="340614"/>
                  </a:lnTo>
                  <a:lnTo>
                    <a:pt x="202184" y="340614"/>
                  </a:lnTo>
                  <a:lnTo>
                    <a:pt x="207648" y="338793"/>
                  </a:lnTo>
                  <a:lnTo>
                    <a:pt x="213113" y="338793"/>
                  </a:lnTo>
                  <a:lnTo>
                    <a:pt x="218577" y="335150"/>
                  </a:lnTo>
                  <a:lnTo>
                    <a:pt x="224041" y="335150"/>
                  </a:lnTo>
                  <a:lnTo>
                    <a:pt x="224041" y="338793"/>
                  </a:lnTo>
                  <a:lnTo>
                    <a:pt x="231327" y="346079"/>
                  </a:lnTo>
                  <a:lnTo>
                    <a:pt x="234970" y="346079"/>
                  </a:lnTo>
                  <a:lnTo>
                    <a:pt x="231327" y="369758"/>
                  </a:lnTo>
                  <a:lnTo>
                    <a:pt x="207648" y="395259"/>
                  </a:lnTo>
                  <a:lnTo>
                    <a:pt x="209470" y="397080"/>
                  </a:lnTo>
                  <a:lnTo>
                    <a:pt x="225863" y="400723"/>
                  </a:lnTo>
                  <a:lnTo>
                    <a:pt x="214934" y="413473"/>
                  </a:lnTo>
                  <a:lnTo>
                    <a:pt x="174862" y="424402"/>
                  </a:lnTo>
                  <a:lnTo>
                    <a:pt x="158468" y="418938"/>
                  </a:lnTo>
                  <a:lnTo>
                    <a:pt x="156647" y="424402"/>
                  </a:lnTo>
                  <a:lnTo>
                    <a:pt x="134789" y="429867"/>
                  </a:lnTo>
                  <a:lnTo>
                    <a:pt x="125681" y="424402"/>
                  </a:lnTo>
                  <a:lnTo>
                    <a:pt x="112931" y="428045"/>
                  </a:lnTo>
                  <a:lnTo>
                    <a:pt x="107467" y="440795"/>
                  </a:lnTo>
                  <a:lnTo>
                    <a:pt x="98359" y="440795"/>
                  </a:lnTo>
                  <a:lnTo>
                    <a:pt x="91074" y="437152"/>
                  </a:lnTo>
                  <a:lnTo>
                    <a:pt x="80145" y="437152"/>
                  </a:lnTo>
                  <a:lnTo>
                    <a:pt x="72859" y="448081"/>
                  </a:lnTo>
                  <a:lnTo>
                    <a:pt x="69216" y="451724"/>
                  </a:lnTo>
                  <a:lnTo>
                    <a:pt x="58287" y="451724"/>
                  </a:lnTo>
                  <a:lnTo>
                    <a:pt x="58287" y="448081"/>
                  </a:lnTo>
                  <a:lnTo>
                    <a:pt x="92895" y="406187"/>
                  </a:lnTo>
                  <a:lnTo>
                    <a:pt x="120217" y="402544"/>
                  </a:lnTo>
                  <a:lnTo>
                    <a:pt x="129324" y="391616"/>
                  </a:lnTo>
                  <a:lnTo>
                    <a:pt x="112931" y="400723"/>
                  </a:lnTo>
                  <a:lnTo>
                    <a:pt x="109288" y="400723"/>
                  </a:lnTo>
                  <a:lnTo>
                    <a:pt x="102002" y="389794"/>
                  </a:lnTo>
                  <a:lnTo>
                    <a:pt x="91074" y="391616"/>
                  </a:lnTo>
                  <a:lnTo>
                    <a:pt x="87431" y="391616"/>
                  </a:lnTo>
                  <a:lnTo>
                    <a:pt x="87431" y="389794"/>
                  </a:lnTo>
                  <a:lnTo>
                    <a:pt x="85609" y="384330"/>
                  </a:lnTo>
                  <a:lnTo>
                    <a:pt x="74680" y="389794"/>
                  </a:lnTo>
                  <a:lnTo>
                    <a:pt x="72859" y="389794"/>
                  </a:lnTo>
                  <a:lnTo>
                    <a:pt x="67395" y="380687"/>
                  </a:lnTo>
                  <a:lnTo>
                    <a:pt x="67395" y="378865"/>
                  </a:lnTo>
                  <a:lnTo>
                    <a:pt x="92895" y="362472"/>
                  </a:lnTo>
                  <a:lnTo>
                    <a:pt x="96538" y="355186"/>
                  </a:lnTo>
                  <a:lnTo>
                    <a:pt x="92895" y="340614"/>
                  </a:lnTo>
                  <a:lnTo>
                    <a:pt x="80145" y="344257"/>
                  </a:lnTo>
                  <a:lnTo>
                    <a:pt x="80145" y="340614"/>
                  </a:lnTo>
                  <a:lnTo>
                    <a:pt x="95445" y="327864"/>
                  </a:lnTo>
                  <a:lnTo>
                    <a:pt x="91074" y="327864"/>
                  </a:lnTo>
                  <a:lnTo>
                    <a:pt x="85610" y="318757"/>
                  </a:lnTo>
                  <a:lnTo>
                    <a:pt x="85610" y="316935"/>
                  </a:lnTo>
                  <a:lnTo>
                    <a:pt x="96539" y="324221"/>
                  </a:lnTo>
                  <a:lnTo>
                    <a:pt x="98361" y="324221"/>
                  </a:lnTo>
                  <a:lnTo>
                    <a:pt x="98361" y="325434"/>
                  </a:lnTo>
                  <a:lnTo>
                    <a:pt x="102002" y="322400"/>
                  </a:lnTo>
                  <a:lnTo>
                    <a:pt x="120217" y="318757"/>
                  </a:lnTo>
                  <a:lnTo>
                    <a:pt x="120217" y="316935"/>
                  </a:lnTo>
                  <a:lnTo>
                    <a:pt x="123860" y="306007"/>
                  </a:lnTo>
                  <a:lnTo>
                    <a:pt x="120217" y="306007"/>
                  </a:lnTo>
                  <a:lnTo>
                    <a:pt x="120217" y="302364"/>
                  </a:lnTo>
                  <a:lnTo>
                    <a:pt x="125681" y="289613"/>
                  </a:lnTo>
                  <a:lnTo>
                    <a:pt x="114753" y="291435"/>
                  </a:lnTo>
                  <a:lnTo>
                    <a:pt x="103824" y="276863"/>
                  </a:lnTo>
                  <a:lnTo>
                    <a:pt x="114753" y="260470"/>
                  </a:lnTo>
                  <a:lnTo>
                    <a:pt x="91074" y="262291"/>
                  </a:lnTo>
                  <a:lnTo>
                    <a:pt x="87431" y="267756"/>
                  </a:lnTo>
                  <a:lnTo>
                    <a:pt x="87431" y="271399"/>
                  </a:lnTo>
                  <a:lnTo>
                    <a:pt x="85609" y="271399"/>
                  </a:lnTo>
                  <a:lnTo>
                    <a:pt x="85609" y="267756"/>
                  </a:lnTo>
                  <a:lnTo>
                    <a:pt x="78323" y="262291"/>
                  </a:lnTo>
                  <a:lnTo>
                    <a:pt x="74680" y="267756"/>
                  </a:lnTo>
                  <a:lnTo>
                    <a:pt x="74680" y="271399"/>
                  </a:lnTo>
                  <a:lnTo>
                    <a:pt x="72859" y="271399"/>
                  </a:lnTo>
                  <a:lnTo>
                    <a:pt x="72859" y="267756"/>
                  </a:lnTo>
                  <a:lnTo>
                    <a:pt x="67395" y="256827"/>
                  </a:lnTo>
                  <a:lnTo>
                    <a:pt x="72859" y="256827"/>
                  </a:lnTo>
                  <a:lnTo>
                    <a:pt x="80145" y="234969"/>
                  </a:lnTo>
                  <a:lnTo>
                    <a:pt x="74680" y="227683"/>
                  </a:lnTo>
                  <a:lnTo>
                    <a:pt x="74680" y="224040"/>
                  </a:lnTo>
                  <a:lnTo>
                    <a:pt x="80145" y="216755"/>
                  </a:lnTo>
                  <a:lnTo>
                    <a:pt x="74680" y="213112"/>
                  </a:lnTo>
                  <a:lnTo>
                    <a:pt x="69216" y="218576"/>
                  </a:lnTo>
                  <a:lnTo>
                    <a:pt x="67395" y="218576"/>
                  </a:lnTo>
                  <a:lnTo>
                    <a:pt x="67395" y="207647"/>
                  </a:lnTo>
                  <a:lnTo>
                    <a:pt x="63752" y="213112"/>
                  </a:lnTo>
                  <a:lnTo>
                    <a:pt x="67395" y="218576"/>
                  </a:lnTo>
                  <a:lnTo>
                    <a:pt x="67395" y="224040"/>
                  </a:lnTo>
                  <a:lnTo>
                    <a:pt x="67394" y="224041"/>
                  </a:lnTo>
                  <a:lnTo>
                    <a:pt x="72860" y="224041"/>
                  </a:lnTo>
                  <a:lnTo>
                    <a:pt x="69217" y="234970"/>
                  </a:lnTo>
                  <a:lnTo>
                    <a:pt x="69217" y="238613"/>
                  </a:lnTo>
                  <a:lnTo>
                    <a:pt x="67395" y="238613"/>
                  </a:lnTo>
                  <a:lnTo>
                    <a:pt x="64156" y="228898"/>
                  </a:lnTo>
                  <a:lnTo>
                    <a:pt x="56466" y="240434"/>
                  </a:lnTo>
                  <a:lnTo>
                    <a:pt x="56466" y="244077"/>
                  </a:lnTo>
                  <a:lnTo>
                    <a:pt x="52823" y="244077"/>
                  </a:lnTo>
                  <a:lnTo>
                    <a:pt x="52823" y="240434"/>
                  </a:lnTo>
                  <a:lnTo>
                    <a:pt x="67395" y="189433"/>
                  </a:lnTo>
                  <a:lnTo>
                    <a:pt x="58287" y="194897"/>
                  </a:lnTo>
                  <a:lnTo>
                    <a:pt x="56466" y="194897"/>
                  </a:lnTo>
                  <a:lnTo>
                    <a:pt x="56463" y="194894"/>
                  </a:lnTo>
                  <a:lnTo>
                    <a:pt x="56466" y="194898"/>
                  </a:lnTo>
                  <a:lnTo>
                    <a:pt x="56466" y="198541"/>
                  </a:lnTo>
                  <a:lnTo>
                    <a:pt x="47358" y="198541"/>
                  </a:lnTo>
                  <a:lnTo>
                    <a:pt x="41894" y="189434"/>
                  </a:lnTo>
                  <a:lnTo>
                    <a:pt x="41894" y="187612"/>
                  </a:lnTo>
                  <a:lnTo>
                    <a:pt x="49181" y="187612"/>
                  </a:lnTo>
                  <a:lnTo>
                    <a:pt x="45537" y="183968"/>
                  </a:lnTo>
                  <a:lnTo>
                    <a:pt x="45537" y="182147"/>
                  </a:lnTo>
                  <a:lnTo>
                    <a:pt x="52823" y="178504"/>
                  </a:lnTo>
                  <a:lnTo>
                    <a:pt x="61930" y="156646"/>
                  </a:lnTo>
                  <a:lnTo>
                    <a:pt x="52823" y="154825"/>
                  </a:lnTo>
                  <a:lnTo>
                    <a:pt x="52823" y="143896"/>
                  </a:lnTo>
                  <a:lnTo>
                    <a:pt x="56466" y="143896"/>
                  </a:lnTo>
                  <a:lnTo>
                    <a:pt x="52823" y="134788"/>
                  </a:lnTo>
                  <a:lnTo>
                    <a:pt x="52823" y="132967"/>
                  </a:lnTo>
                  <a:lnTo>
                    <a:pt x="56466" y="132967"/>
                  </a:lnTo>
                  <a:lnTo>
                    <a:pt x="67395" y="127503"/>
                  </a:lnTo>
                  <a:lnTo>
                    <a:pt x="61930" y="122038"/>
                  </a:lnTo>
                  <a:lnTo>
                    <a:pt x="63752" y="116574"/>
                  </a:lnTo>
                  <a:lnTo>
                    <a:pt x="63752" y="114752"/>
                  </a:lnTo>
                  <a:lnTo>
                    <a:pt x="69216" y="114752"/>
                  </a:lnTo>
                  <a:lnTo>
                    <a:pt x="74680" y="100181"/>
                  </a:lnTo>
                  <a:lnTo>
                    <a:pt x="74680" y="98359"/>
                  </a:lnTo>
                  <a:close/>
                  <a:moveTo>
                    <a:pt x="160290" y="0"/>
                  </a:moveTo>
                  <a:lnTo>
                    <a:pt x="163933" y="0"/>
                  </a:lnTo>
                  <a:lnTo>
                    <a:pt x="163933" y="3643"/>
                  </a:lnTo>
                  <a:lnTo>
                    <a:pt x="165754" y="14572"/>
                  </a:lnTo>
                  <a:lnTo>
                    <a:pt x="165754" y="32787"/>
                  </a:lnTo>
                  <a:lnTo>
                    <a:pt x="160290" y="38251"/>
                  </a:lnTo>
                  <a:lnTo>
                    <a:pt x="158468" y="38251"/>
                  </a:lnTo>
                  <a:lnTo>
                    <a:pt x="160290" y="25501"/>
                  </a:lnTo>
                  <a:lnTo>
                    <a:pt x="153003" y="21858"/>
                  </a:lnTo>
                  <a:lnTo>
                    <a:pt x="153003" y="20036"/>
                  </a:lnTo>
                  <a:lnTo>
                    <a:pt x="160290" y="3643"/>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5" name="Sri Lanka">
              <a:extLst>
                <a:ext uri="{FF2B5EF4-FFF2-40B4-BE49-F238E27FC236}">
                  <a16:creationId xmlns:a16="http://schemas.microsoft.com/office/drawing/2014/main" id="{7820DE56-E806-3F61-2CFC-B0D108BD6EE5}"/>
                </a:ext>
              </a:extLst>
            </p:cNvPr>
            <p:cNvSpPr>
              <a:spLocks/>
            </p:cNvSpPr>
            <p:nvPr/>
          </p:nvSpPr>
          <p:spPr bwMode="auto">
            <a:xfrm>
              <a:off x="7705188" y="4356102"/>
              <a:ext cx="54212" cy="93967"/>
            </a:xfrm>
            <a:custGeom>
              <a:avLst/>
              <a:gdLst>
                <a:gd name="T0" fmla="*/ 4 w 30"/>
                <a:gd name="T1" fmla="*/ 0 h 52"/>
                <a:gd name="T2" fmla="*/ 6 w 30"/>
                <a:gd name="T3" fmla="*/ 0 h 52"/>
                <a:gd name="T4" fmla="*/ 9 w 30"/>
                <a:gd name="T5" fmla="*/ 2 h 52"/>
                <a:gd name="T6" fmla="*/ 16 w 30"/>
                <a:gd name="T7" fmla="*/ 9 h 52"/>
                <a:gd name="T8" fmla="*/ 30 w 30"/>
                <a:gd name="T9" fmla="*/ 30 h 52"/>
                <a:gd name="T10" fmla="*/ 28 w 30"/>
                <a:gd name="T11" fmla="*/ 42 h 52"/>
                <a:gd name="T12" fmla="*/ 15 w 30"/>
                <a:gd name="T13" fmla="*/ 52 h 52"/>
                <a:gd name="T14" fmla="*/ 7 w 30"/>
                <a:gd name="T15" fmla="*/ 50 h 52"/>
                <a:gd name="T16" fmla="*/ 6 w 30"/>
                <a:gd name="T17" fmla="*/ 50 h 52"/>
                <a:gd name="T18" fmla="*/ 1 w 30"/>
                <a:gd name="T19" fmla="*/ 40 h 52"/>
                <a:gd name="T20" fmla="*/ 0 w 30"/>
                <a:gd name="T21" fmla="*/ 22 h 52"/>
                <a:gd name="T22" fmla="*/ 1 w 30"/>
                <a:gd name="T23" fmla="*/ 22 h 52"/>
                <a:gd name="T24" fmla="*/ 4 w 30"/>
                <a:gd name="T25" fmla="*/ 6 h 52"/>
                <a:gd name="T26" fmla="*/ 6 w 30"/>
                <a:gd name="T27" fmla="*/ 6 h 52"/>
                <a:gd name="T28" fmla="*/ 7 w 30"/>
                <a:gd name="T29" fmla="*/ 5 h 52"/>
                <a:gd name="T30" fmla="*/ 4 w 30"/>
                <a:gd name="T31" fmla="*/ 2 h 52"/>
                <a:gd name="T32" fmla="*/ 4 w 30"/>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52">
                  <a:moveTo>
                    <a:pt x="4" y="0"/>
                  </a:moveTo>
                  <a:lnTo>
                    <a:pt x="6" y="0"/>
                  </a:lnTo>
                  <a:lnTo>
                    <a:pt x="9" y="2"/>
                  </a:lnTo>
                  <a:lnTo>
                    <a:pt x="16" y="9"/>
                  </a:lnTo>
                  <a:lnTo>
                    <a:pt x="30" y="30"/>
                  </a:lnTo>
                  <a:lnTo>
                    <a:pt x="28" y="42"/>
                  </a:lnTo>
                  <a:lnTo>
                    <a:pt x="15" y="52"/>
                  </a:lnTo>
                  <a:lnTo>
                    <a:pt x="7" y="50"/>
                  </a:lnTo>
                  <a:lnTo>
                    <a:pt x="6" y="50"/>
                  </a:lnTo>
                  <a:lnTo>
                    <a:pt x="1" y="40"/>
                  </a:lnTo>
                  <a:lnTo>
                    <a:pt x="0" y="22"/>
                  </a:lnTo>
                  <a:lnTo>
                    <a:pt x="1" y="22"/>
                  </a:lnTo>
                  <a:lnTo>
                    <a:pt x="4" y="6"/>
                  </a:lnTo>
                  <a:lnTo>
                    <a:pt x="6" y="6"/>
                  </a:lnTo>
                  <a:lnTo>
                    <a:pt x="7" y="5"/>
                  </a:lnTo>
                  <a:lnTo>
                    <a:pt x="4" y="2"/>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6" name="Afghanistan">
              <a:extLst>
                <a:ext uri="{FF2B5EF4-FFF2-40B4-BE49-F238E27FC236}">
                  <a16:creationId xmlns:a16="http://schemas.microsoft.com/office/drawing/2014/main" id="{CD274801-E12A-DCFE-4C49-3BDF6622FF07}"/>
                </a:ext>
              </a:extLst>
            </p:cNvPr>
            <p:cNvSpPr>
              <a:spLocks noEditPoints="1"/>
            </p:cNvSpPr>
            <p:nvPr/>
          </p:nvSpPr>
          <p:spPr bwMode="auto">
            <a:xfrm>
              <a:off x="7251616" y="3607980"/>
              <a:ext cx="341535" cy="258410"/>
            </a:xfrm>
            <a:custGeom>
              <a:avLst/>
              <a:gdLst>
                <a:gd name="T0" fmla="*/ 12 w 189"/>
                <a:gd name="T1" fmla="*/ 46 h 143"/>
                <a:gd name="T2" fmla="*/ 12 w 189"/>
                <a:gd name="T3" fmla="*/ 43 h 143"/>
                <a:gd name="T4" fmla="*/ 143 w 189"/>
                <a:gd name="T5" fmla="*/ 3 h 143"/>
                <a:gd name="T6" fmla="*/ 146 w 189"/>
                <a:gd name="T7" fmla="*/ 9 h 143"/>
                <a:gd name="T8" fmla="*/ 147 w 189"/>
                <a:gd name="T9" fmla="*/ 30 h 143"/>
                <a:gd name="T10" fmla="*/ 174 w 189"/>
                <a:gd name="T11" fmla="*/ 17 h 143"/>
                <a:gd name="T12" fmla="*/ 184 w 189"/>
                <a:gd name="T13" fmla="*/ 18 h 143"/>
                <a:gd name="T14" fmla="*/ 184 w 189"/>
                <a:gd name="T15" fmla="*/ 23 h 143"/>
                <a:gd name="T16" fmla="*/ 174 w 189"/>
                <a:gd name="T17" fmla="*/ 26 h 143"/>
                <a:gd name="T18" fmla="*/ 143 w 189"/>
                <a:gd name="T19" fmla="*/ 37 h 143"/>
                <a:gd name="T20" fmla="*/ 147 w 189"/>
                <a:gd name="T21" fmla="*/ 49 h 143"/>
                <a:gd name="T22" fmla="*/ 138 w 189"/>
                <a:gd name="T23" fmla="*/ 64 h 143"/>
                <a:gd name="T24" fmla="*/ 138 w 189"/>
                <a:gd name="T25" fmla="*/ 72 h 143"/>
                <a:gd name="T26" fmla="*/ 129 w 189"/>
                <a:gd name="T27" fmla="*/ 82 h 143"/>
                <a:gd name="T28" fmla="*/ 114 w 189"/>
                <a:gd name="T29" fmla="*/ 98 h 143"/>
                <a:gd name="T30" fmla="*/ 112 w 189"/>
                <a:gd name="T31" fmla="*/ 110 h 143"/>
                <a:gd name="T32" fmla="*/ 101 w 189"/>
                <a:gd name="T33" fmla="*/ 106 h 143"/>
                <a:gd name="T34" fmla="*/ 97 w 189"/>
                <a:gd name="T35" fmla="*/ 113 h 143"/>
                <a:gd name="T36" fmla="*/ 79 w 189"/>
                <a:gd name="T37" fmla="*/ 121 h 143"/>
                <a:gd name="T38" fmla="*/ 76 w 189"/>
                <a:gd name="T39" fmla="*/ 137 h 143"/>
                <a:gd name="T40" fmla="*/ 52 w 189"/>
                <a:gd name="T41" fmla="*/ 140 h 143"/>
                <a:gd name="T42" fmla="*/ 39 w 189"/>
                <a:gd name="T43" fmla="*/ 140 h 143"/>
                <a:gd name="T44" fmla="*/ 6 w 189"/>
                <a:gd name="T45" fmla="*/ 137 h 143"/>
                <a:gd name="T46" fmla="*/ 17 w 189"/>
                <a:gd name="T47" fmla="*/ 116 h 143"/>
                <a:gd name="T48" fmla="*/ 5 w 189"/>
                <a:gd name="T49" fmla="*/ 106 h 143"/>
                <a:gd name="T50" fmla="*/ 5 w 189"/>
                <a:gd name="T51" fmla="*/ 79 h 143"/>
                <a:gd name="T52" fmla="*/ 0 w 189"/>
                <a:gd name="T53" fmla="*/ 69 h 143"/>
                <a:gd name="T54" fmla="*/ 9 w 189"/>
                <a:gd name="T55" fmla="*/ 58 h 143"/>
                <a:gd name="T56" fmla="*/ 15 w 189"/>
                <a:gd name="T57" fmla="*/ 49 h 143"/>
                <a:gd name="T58" fmla="*/ 34 w 189"/>
                <a:gd name="T59" fmla="*/ 49 h 143"/>
                <a:gd name="T60" fmla="*/ 36 w 189"/>
                <a:gd name="T61" fmla="*/ 43 h 143"/>
                <a:gd name="T62" fmla="*/ 60 w 189"/>
                <a:gd name="T63" fmla="*/ 20 h 143"/>
                <a:gd name="T64" fmla="*/ 70 w 189"/>
                <a:gd name="T65" fmla="*/ 15 h 143"/>
                <a:gd name="T66" fmla="*/ 95 w 189"/>
                <a:gd name="T67" fmla="*/ 20 h 143"/>
                <a:gd name="T68" fmla="*/ 112 w 189"/>
                <a:gd name="T69" fmla="*/ 18 h 143"/>
                <a:gd name="T70" fmla="*/ 119 w 189"/>
                <a:gd name="T71" fmla="*/ 14 h 143"/>
                <a:gd name="T72" fmla="*/ 129 w 189"/>
                <a:gd name="T73" fmla="*/ 12 h 143"/>
                <a:gd name="T74" fmla="*/ 137 w 189"/>
                <a:gd name="T7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143">
                  <a:moveTo>
                    <a:pt x="12" y="43"/>
                  </a:moveTo>
                  <a:lnTo>
                    <a:pt x="12" y="46"/>
                  </a:lnTo>
                  <a:lnTo>
                    <a:pt x="11" y="46"/>
                  </a:lnTo>
                  <a:lnTo>
                    <a:pt x="12" y="43"/>
                  </a:lnTo>
                  <a:close/>
                  <a:moveTo>
                    <a:pt x="137" y="0"/>
                  </a:moveTo>
                  <a:lnTo>
                    <a:pt x="143" y="3"/>
                  </a:lnTo>
                  <a:lnTo>
                    <a:pt x="141" y="8"/>
                  </a:lnTo>
                  <a:lnTo>
                    <a:pt x="146" y="9"/>
                  </a:lnTo>
                  <a:lnTo>
                    <a:pt x="144" y="23"/>
                  </a:lnTo>
                  <a:lnTo>
                    <a:pt x="147" y="30"/>
                  </a:lnTo>
                  <a:lnTo>
                    <a:pt x="171" y="17"/>
                  </a:lnTo>
                  <a:lnTo>
                    <a:pt x="174" y="17"/>
                  </a:lnTo>
                  <a:lnTo>
                    <a:pt x="175" y="20"/>
                  </a:lnTo>
                  <a:lnTo>
                    <a:pt x="184" y="18"/>
                  </a:lnTo>
                  <a:lnTo>
                    <a:pt x="189" y="18"/>
                  </a:lnTo>
                  <a:lnTo>
                    <a:pt x="184" y="23"/>
                  </a:lnTo>
                  <a:lnTo>
                    <a:pt x="186" y="24"/>
                  </a:lnTo>
                  <a:lnTo>
                    <a:pt x="174" y="26"/>
                  </a:lnTo>
                  <a:lnTo>
                    <a:pt x="160" y="27"/>
                  </a:lnTo>
                  <a:lnTo>
                    <a:pt x="143" y="37"/>
                  </a:lnTo>
                  <a:lnTo>
                    <a:pt x="141" y="39"/>
                  </a:lnTo>
                  <a:lnTo>
                    <a:pt x="147" y="49"/>
                  </a:lnTo>
                  <a:lnTo>
                    <a:pt x="147" y="54"/>
                  </a:lnTo>
                  <a:lnTo>
                    <a:pt x="138" y="64"/>
                  </a:lnTo>
                  <a:lnTo>
                    <a:pt x="141" y="67"/>
                  </a:lnTo>
                  <a:lnTo>
                    <a:pt x="138" y="72"/>
                  </a:lnTo>
                  <a:lnTo>
                    <a:pt x="125" y="72"/>
                  </a:lnTo>
                  <a:lnTo>
                    <a:pt x="129" y="82"/>
                  </a:lnTo>
                  <a:lnTo>
                    <a:pt x="119" y="86"/>
                  </a:lnTo>
                  <a:lnTo>
                    <a:pt x="114" y="98"/>
                  </a:lnTo>
                  <a:lnTo>
                    <a:pt x="116" y="106"/>
                  </a:lnTo>
                  <a:lnTo>
                    <a:pt x="112" y="110"/>
                  </a:lnTo>
                  <a:lnTo>
                    <a:pt x="107" y="106"/>
                  </a:lnTo>
                  <a:lnTo>
                    <a:pt x="101" y="106"/>
                  </a:lnTo>
                  <a:lnTo>
                    <a:pt x="94" y="112"/>
                  </a:lnTo>
                  <a:lnTo>
                    <a:pt x="97" y="113"/>
                  </a:lnTo>
                  <a:lnTo>
                    <a:pt x="83" y="115"/>
                  </a:lnTo>
                  <a:lnTo>
                    <a:pt x="79" y="121"/>
                  </a:lnTo>
                  <a:lnTo>
                    <a:pt x="77" y="135"/>
                  </a:lnTo>
                  <a:lnTo>
                    <a:pt x="76" y="137"/>
                  </a:lnTo>
                  <a:lnTo>
                    <a:pt x="61" y="140"/>
                  </a:lnTo>
                  <a:lnTo>
                    <a:pt x="52" y="140"/>
                  </a:lnTo>
                  <a:lnTo>
                    <a:pt x="48" y="143"/>
                  </a:lnTo>
                  <a:lnTo>
                    <a:pt x="39" y="140"/>
                  </a:lnTo>
                  <a:lnTo>
                    <a:pt x="26" y="143"/>
                  </a:lnTo>
                  <a:lnTo>
                    <a:pt x="6" y="137"/>
                  </a:lnTo>
                  <a:lnTo>
                    <a:pt x="15" y="123"/>
                  </a:lnTo>
                  <a:lnTo>
                    <a:pt x="17" y="116"/>
                  </a:lnTo>
                  <a:lnTo>
                    <a:pt x="12" y="110"/>
                  </a:lnTo>
                  <a:lnTo>
                    <a:pt x="5" y="106"/>
                  </a:lnTo>
                  <a:lnTo>
                    <a:pt x="2" y="88"/>
                  </a:lnTo>
                  <a:lnTo>
                    <a:pt x="5" y="79"/>
                  </a:lnTo>
                  <a:lnTo>
                    <a:pt x="0" y="76"/>
                  </a:lnTo>
                  <a:lnTo>
                    <a:pt x="0" y="69"/>
                  </a:lnTo>
                  <a:lnTo>
                    <a:pt x="6" y="67"/>
                  </a:lnTo>
                  <a:lnTo>
                    <a:pt x="9" y="58"/>
                  </a:lnTo>
                  <a:lnTo>
                    <a:pt x="12" y="46"/>
                  </a:lnTo>
                  <a:lnTo>
                    <a:pt x="15" y="49"/>
                  </a:lnTo>
                  <a:lnTo>
                    <a:pt x="30" y="52"/>
                  </a:lnTo>
                  <a:lnTo>
                    <a:pt x="34" y="49"/>
                  </a:lnTo>
                  <a:lnTo>
                    <a:pt x="37" y="45"/>
                  </a:lnTo>
                  <a:lnTo>
                    <a:pt x="36" y="43"/>
                  </a:lnTo>
                  <a:lnTo>
                    <a:pt x="54" y="35"/>
                  </a:lnTo>
                  <a:lnTo>
                    <a:pt x="60" y="20"/>
                  </a:lnTo>
                  <a:lnTo>
                    <a:pt x="66" y="20"/>
                  </a:lnTo>
                  <a:lnTo>
                    <a:pt x="70" y="15"/>
                  </a:lnTo>
                  <a:lnTo>
                    <a:pt x="80" y="17"/>
                  </a:lnTo>
                  <a:lnTo>
                    <a:pt x="95" y="20"/>
                  </a:lnTo>
                  <a:lnTo>
                    <a:pt x="100" y="24"/>
                  </a:lnTo>
                  <a:lnTo>
                    <a:pt x="112" y="18"/>
                  </a:lnTo>
                  <a:lnTo>
                    <a:pt x="117" y="23"/>
                  </a:lnTo>
                  <a:lnTo>
                    <a:pt x="119" y="14"/>
                  </a:lnTo>
                  <a:lnTo>
                    <a:pt x="128" y="15"/>
                  </a:lnTo>
                  <a:lnTo>
                    <a:pt x="129" y="12"/>
                  </a:lnTo>
                  <a:lnTo>
                    <a:pt x="128" y="9"/>
                  </a:lnTo>
                  <a:lnTo>
                    <a:pt x="13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7" name="Iraq">
              <a:extLst>
                <a:ext uri="{FF2B5EF4-FFF2-40B4-BE49-F238E27FC236}">
                  <a16:creationId xmlns:a16="http://schemas.microsoft.com/office/drawing/2014/main" id="{BD3DA3EE-D5F0-1FD0-D209-7AADED6C684F}"/>
                </a:ext>
              </a:extLst>
            </p:cNvPr>
            <p:cNvSpPr>
              <a:spLocks/>
            </p:cNvSpPr>
            <p:nvPr/>
          </p:nvSpPr>
          <p:spPr bwMode="auto">
            <a:xfrm>
              <a:off x="6738411" y="3635085"/>
              <a:ext cx="234918" cy="238532"/>
            </a:xfrm>
            <a:custGeom>
              <a:avLst/>
              <a:gdLst>
                <a:gd name="T0" fmla="*/ 56 w 130"/>
                <a:gd name="T1" fmla="*/ 0 h 132"/>
                <a:gd name="T2" fmla="*/ 59 w 130"/>
                <a:gd name="T3" fmla="*/ 0 h 132"/>
                <a:gd name="T4" fmla="*/ 62 w 130"/>
                <a:gd name="T5" fmla="*/ 2 h 132"/>
                <a:gd name="T6" fmla="*/ 66 w 130"/>
                <a:gd name="T7" fmla="*/ 2 h 132"/>
                <a:gd name="T8" fmla="*/ 69 w 130"/>
                <a:gd name="T9" fmla="*/ 3 h 132"/>
                <a:gd name="T10" fmla="*/ 74 w 130"/>
                <a:gd name="T11" fmla="*/ 3 h 132"/>
                <a:gd name="T12" fmla="*/ 75 w 130"/>
                <a:gd name="T13" fmla="*/ 5 h 132"/>
                <a:gd name="T14" fmla="*/ 78 w 130"/>
                <a:gd name="T15" fmla="*/ 3 h 132"/>
                <a:gd name="T16" fmla="*/ 81 w 130"/>
                <a:gd name="T17" fmla="*/ 3 h 132"/>
                <a:gd name="T18" fmla="*/ 81 w 130"/>
                <a:gd name="T19" fmla="*/ 12 h 132"/>
                <a:gd name="T20" fmla="*/ 90 w 130"/>
                <a:gd name="T21" fmla="*/ 24 h 132"/>
                <a:gd name="T22" fmla="*/ 99 w 130"/>
                <a:gd name="T23" fmla="*/ 27 h 132"/>
                <a:gd name="T24" fmla="*/ 101 w 130"/>
                <a:gd name="T25" fmla="*/ 27 h 132"/>
                <a:gd name="T26" fmla="*/ 101 w 130"/>
                <a:gd name="T27" fmla="*/ 28 h 132"/>
                <a:gd name="T28" fmla="*/ 98 w 130"/>
                <a:gd name="T29" fmla="*/ 33 h 132"/>
                <a:gd name="T30" fmla="*/ 98 w 130"/>
                <a:gd name="T31" fmla="*/ 37 h 132"/>
                <a:gd name="T32" fmla="*/ 90 w 130"/>
                <a:gd name="T33" fmla="*/ 49 h 132"/>
                <a:gd name="T34" fmla="*/ 89 w 130"/>
                <a:gd name="T35" fmla="*/ 57 h 132"/>
                <a:gd name="T36" fmla="*/ 96 w 130"/>
                <a:gd name="T37" fmla="*/ 70 h 132"/>
                <a:gd name="T38" fmla="*/ 112 w 130"/>
                <a:gd name="T39" fmla="*/ 80 h 132"/>
                <a:gd name="T40" fmla="*/ 118 w 130"/>
                <a:gd name="T41" fmla="*/ 91 h 132"/>
                <a:gd name="T42" fmla="*/ 117 w 130"/>
                <a:gd name="T43" fmla="*/ 103 h 132"/>
                <a:gd name="T44" fmla="*/ 120 w 130"/>
                <a:gd name="T45" fmla="*/ 104 h 132"/>
                <a:gd name="T46" fmla="*/ 121 w 130"/>
                <a:gd name="T47" fmla="*/ 104 h 132"/>
                <a:gd name="T48" fmla="*/ 123 w 130"/>
                <a:gd name="T49" fmla="*/ 111 h 132"/>
                <a:gd name="T50" fmla="*/ 130 w 130"/>
                <a:gd name="T51" fmla="*/ 117 h 132"/>
                <a:gd name="T52" fmla="*/ 130 w 130"/>
                <a:gd name="T53" fmla="*/ 119 h 132"/>
                <a:gd name="T54" fmla="*/ 127 w 130"/>
                <a:gd name="T55" fmla="*/ 120 h 132"/>
                <a:gd name="T56" fmla="*/ 121 w 130"/>
                <a:gd name="T57" fmla="*/ 119 h 132"/>
                <a:gd name="T58" fmla="*/ 112 w 130"/>
                <a:gd name="T59" fmla="*/ 119 h 132"/>
                <a:gd name="T60" fmla="*/ 104 w 130"/>
                <a:gd name="T61" fmla="*/ 132 h 132"/>
                <a:gd name="T62" fmla="*/ 90 w 130"/>
                <a:gd name="T63" fmla="*/ 128 h 132"/>
                <a:gd name="T64" fmla="*/ 81 w 130"/>
                <a:gd name="T65" fmla="*/ 131 h 132"/>
                <a:gd name="T66" fmla="*/ 80 w 130"/>
                <a:gd name="T67" fmla="*/ 131 h 132"/>
                <a:gd name="T68" fmla="*/ 65 w 130"/>
                <a:gd name="T69" fmla="*/ 125 h 132"/>
                <a:gd name="T70" fmla="*/ 65 w 130"/>
                <a:gd name="T71" fmla="*/ 123 h 132"/>
                <a:gd name="T72" fmla="*/ 64 w 130"/>
                <a:gd name="T73" fmla="*/ 114 h 132"/>
                <a:gd name="T74" fmla="*/ 58 w 130"/>
                <a:gd name="T75" fmla="*/ 113 h 132"/>
                <a:gd name="T76" fmla="*/ 56 w 130"/>
                <a:gd name="T77" fmla="*/ 113 h 132"/>
                <a:gd name="T78" fmla="*/ 53 w 130"/>
                <a:gd name="T79" fmla="*/ 107 h 132"/>
                <a:gd name="T80" fmla="*/ 40 w 130"/>
                <a:gd name="T81" fmla="*/ 103 h 132"/>
                <a:gd name="T82" fmla="*/ 25 w 130"/>
                <a:gd name="T83" fmla="*/ 91 h 132"/>
                <a:gd name="T84" fmla="*/ 6 w 130"/>
                <a:gd name="T85" fmla="*/ 85 h 132"/>
                <a:gd name="T86" fmla="*/ 4 w 130"/>
                <a:gd name="T87" fmla="*/ 85 h 132"/>
                <a:gd name="T88" fmla="*/ 0 w 130"/>
                <a:gd name="T89" fmla="*/ 68 h 132"/>
                <a:gd name="T90" fmla="*/ 0 w 130"/>
                <a:gd name="T91" fmla="*/ 67 h 132"/>
                <a:gd name="T92" fmla="*/ 31 w 130"/>
                <a:gd name="T93" fmla="*/ 49 h 132"/>
                <a:gd name="T94" fmla="*/ 32 w 130"/>
                <a:gd name="T95" fmla="*/ 43 h 132"/>
                <a:gd name="T96" fmla="*/ 34 w 130"/>
                <a:gd name="T97" fmla="*/ 18 h 132"/>
                <a:gd name="T98" fmla="*/ 34 w 130"/>
                <a:gd name="T99" fmla="*/ 17 h 132"/>
                <a:gd name="T100" fmla="*/ 43 w 130"/>
                <a:gd name="T101" fmla="*/ 15 h 132"/>
                <a:gd name="T102" fmla="*/ 50 w 130"/>
                <a:gd name="T103" fmla="*/ 5 h 132"/>
                <a:gd name="T104" fmla="*/ 56 w 130"/>
                <a:gd name="T10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 h="132">
                  <a:moveTo>
                    <a:pt x="56" y="0"/>
                  </a:moveTo>
                  <a:lnTo>
                    <a:pt x="59" y="0"/>
                  </a:lnTo>
                  <a:lnTo>
                    <a:pt x="62" y="2"/>
                  </a:lnTo>
                  <a:lnTo>
                    <a:pt x="66" y="2"/>
                  </a:lnTo>
                  <a:lnTo>
                    <a:pt x="69" y="3"/>
                  </a:lnTo>
                  <a:lnTo>
                    <a:pt x="74" y="3"/>
                  </a:lnTo>
                  <a:lnTo>
                    <a:pt x="75" y="5"/>
                  </a:lnTo>
                  <a:lnTo>
                    <a:pt x="78" y="3"/>
                  </a:lnTo>
                  <a:lnTo>
                    <a:pt x="81" y="3"/>
                  </a:lnTo>
                  <a:lnTo>
                    <a:pt x="81" y="12"/>
                  </a:lnTo>
                  <a:lnTo>
                    <a:pt x="90" y="24"/>
                  </a:lnTo>
                  <a:lnTo>
                    <a:pt x="99" y="27"/>
                  </a:lnTo>
                  <a:lnTo>
                    <a:pt x="101" y="27"/>
                  </a:lnTo>
                  <a:lnTo>
                    <a:pt x="101" y="28"/>
                  </a:lnTo>
                  <a:lnTo>
                    <a:pt x="98" y="33"/>
                  </a:lnTo>
                  <a:lnTo>
                    <a:pt x="98" y="37"/>
                  </a:lnTo>
                  <a:lnTo>
                    <a:pt x="90" y="49"/>
                  </a:lnTo>
                  <a:lnTo>
                    <a:pt x="89" y="57"/>
                  </a:lnTo>
                  <a:lnTo>
                    <a:pt x="96" y="70"/>
                  </a:lnTo>
                  <a:lnTo>
                    <a:pt x="112" y="80"/>
                  </a:lnTo>
                  <a:lnTo>
                    <a:pt x="118" y="91"/>
                  </a:lnTo>
                  <a:lnTo>
                    <a:pt x="117" y="103"/>
                  </a:lnTo>
                  <a:lnTo>
                    <a:pt x="120" y="104"/>
                  </a:lnTo>
                  <a:lnTo>
                    <a:pt x="121" y="104"/>
                  </a:lnTo>
                  <a:lnTo>
                    <a:pt x="123" y="111"/>
                  </a:lnTo>
                  <a:lnTo>
                    <a:pt x="130" y="117"/>
                  </a:lnTo>
                  <a:lnTo>
                    <a:pt x="130" y="119"/>
                  </a:lnTo>
                  <a:lnTo>
                    <a:pt x="127" y="120"/>
                  </a:lnTo>
                  <a:lnTo>
                    <a:pt x="121" y="119"/>
                  </a:lnTo>
                  <a:lnTo>
                    <a:pt x="112" y="119"/>
                  </a:lnTo>
                  <a:lnTo>
                    <a:pt x="104" y="132"/>
                  </a:lnTo>
                  <a:lnTo>
                    <a:pt x="90" y="128"/>
                  </a:lnTo>
                  <a:lnTo>
                    <a:pt x="81" y="131"/>
                  </a:lnTo>
                  <a:lnTo>
                    <a:pt x="80" y="131"/>
                  </a:lnTo>
                  <a:lnTo>
                    <a:pt x="65" y="125"/>
                  </a:lnTo>
                  <a:lnTo>
                    <a:pt x="65" y="123"/>
                  </a:lnTo>
                  <a:lnTo>
                    <a:pt x="64" y="114"/>
                  </a:lnTo>
                  <a:lnTo>
                    <a:pt x="58" y="113"/>
                  </a:lnTo>
                  <a:lnTo>
                    <a:pt x="56" y="113"/>
                  </a:lnTo>
                  <a:lnTo>
                    <a:pt x="53" y="107"/>
                  </a:lnTo>
                  <a:lnTo>
                    <a:pt x="40" y="103"/>
                  </a:lnTo>
                  <a:lnTo>
                    <a:pt x="25" y="91"/>
                  </a:lnTo>
                  <a:lnTo>
                    <a:pt x="6" y="85"/>
                  </a:lnTo>
                  <a:lnTo>
                    <a:pt x="4" y="85"/>
                  </a:lnTo>
                  <a:lnTo>
                    <a:pt x="0" y="68"/>
                  </a:lnTo>
                  <a:lnTo>
                    <a:pt x="0" y="67"/>
                  </a:lnTo>
                  <a:lnTo>
                    <a:pt x="31" y="49"/>
                  </a:lnTo>
                  <a:lnTo>
                    <a:pt x="32" y="43"/>
                  </a:lnTo>
                  <a:lnTo>
                    <a:pt x="34" y="18"/>
                  </a:lnTo>
                  <a:lnTo>
                    <a:pt x="34" y="17"/>
                  </a:lnTo>
                  <a:lnTo>
                    <a:pt x="43" y="15"/>
                  </a:lnTo>
                  <a:lnTo>
                    <a:pt x="50" y="5"/>
                  </a:lnTo>
                  <a:lnTo>
                    <a:pt x="5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8" name="Jordan">
              <a:extLst>
                <a:ext uri="{FF2B5EF4-FFF2-40B4-BE49-F238E27FC236}">
                  <a16:creationId xmlns:a16="http://schemas.microsoft.com/office/drawing/2014/main" id="{5FAB7EE6-D887-203F-43B5-BCB2CDF19CDA}"/>
                </a:ext>
              </a:extLst>
            </p:cNvPr>
            <p:cNvSpPr>
              <a:spLocks/>
            </p:cNvSpPr>
            <p:nvPr/>
          </p:nvSpPr>
          <p:spPr bwMode="auto">
            <a:xfrm>
              <a:off x="6646250" y="3756157"/>
              <a:ext cx="103003" cy="117460"/>
            </a:xfrm>
            <a:custGeom>
              <a:avLst/>
              <a:gdLst>
                <a:gd name="T0" fmla="*/ 51 w 57"/>
                <a:gd name="T1" fmla="*/ 0 h 65"/>
                <a:gd name="T2" fmla="*/ 52 w 57"/>
                <a:gd name="T3" fmla="*/ 0 h 65"/>
                <a:gd name="T4" fmla="*/ 52 w 57"/>
                <a:gd name="T5" fmla="*/ 1 h 65"/>
                <a:gd name="T6" fmla="*/ 57 w 57"/>
                <a:gd name="T7" fmla="*/ 18 h 65"/>
                <a:gd name="T8" fmla="*/ 54 w 57"/>
                <a:gd name="T9" fmla="*/ 24 h 65"/>
                <a:gd name="T10" fmla="*/ 52 w 57"/>
                <a:gd name="T11" fmla="*/ 24 h 65"/>
                <a:gd name="T12" fmla="*/ 30 w 57"/>
                <a:gd name="T13" fmla="*/ 28 h 65"/>
                <a:gd name="T14" fmla="*/ 42 w 57"/>
                <a:gd name="T15" fmla="*/ 43 h 65"/>
                <a:gd name="T16" fmla="*/ 37 w 57"/>
                <a:gd name="T17" fmla="*/ 47 h 65"/>
                <a:gd name="T18" fmla="*/ 36 w 57"/>
                <a:gd name="T19" fmla="*/ 52 h 65"/>
                <a:gd name="T20" fmla="*/ 34 w 57"/>
                <a:gd name="T21" fmla="*/ 52 h 65"/>
                <a:gd name="T22" fmla="*/ 26 w 57"/>
                <a:gd name="T23" fmla="*/ 55 h 65"/>
                <a:gd name="T24" fmla="*/ 17 w 57"/>
                <a:gd name="T25" fmla="*/ 65 h 65"/>
                <a:gd name="T26" fmla="*/ 2 w 57"/>
                <a:gd name="T27" fmla="*/ 64 h 65"/>
                <a:gd name="T28" fmla="*/ 2 w 57"/>
                <a:gd name="T29" fmla="*/ 61 h 65"/>
                <a:gd name="T30" fmla="*/ 8 w 57"/>
                <a:gd name="T31" fmla="*/ 31 h 65"/>
                <a:gd name="T32" fmla="*/ 0 w 57"/>
                <a:gd name="T33" fmla="*/ 31 h 65"/>
                <a:gd name="T34" fmla="*/ 3 w 57"/>
                <a:gd name="T35" fmla="*/ 25 h 65"/>
                <a:gd name="T36" fmla="*/ 2 w 57"/>
                <a:gd name="T37" fmla="*/ 24 h 65"/>
                <a:gd name="T38" fmla="*/ 0 w 57"/>
                <a:gd name="T39" fmla="*/ 24 h 65"/>
                <a:gd name="T40" fmla="*/ 0 w 57"/>
                <a:gd name="T41" fmla="*/ 18 h 65"/>
                <a:gd name="T42" fmla="*/ 5 w 57"/>
                <a:gd name="T43" fmla="*/ 13 h 65"/>
                <a:gd name="T44" fmla="*/ 5 w 57"/>
                <a:gd name="T45" fmla="*/ 12 h 65"/>
                <a:gd name="T46" fmla="*/ 9 w 57"/>
                <a:gd name="T47" fmla="*/ 15 h 65"/>
                <a:gd name="T48" fmla="*/ 9 w 57"/>
                <a:gd name="T49" fmla="*/ 10 h 65"/>
                <a:gd name="T50" fmla="*/ 12 w 57"/>
                <a:gd name="T51" fmla="*/ 10 h 65"/>
                <a:gd name="T52" fmla="*/ 23 w 57"/>
                <a:gd name="T53" fmla="*/ 16 h 65"/>
                <a:gd name="T54" fmla="*/ 51 w 57"/>
                <a:gd name="T5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 h="65">
                  <a:moveTo>
                    <a:pt x="51" y="0"/>
                  </a:moveTo>
                  <a:lnTo>
                    <a:pt x="52" y="0"/>
                  </a:lnTo>
                  <a:lnTo>
                    <a:pt x="52" y="1"/>
                  </a:lnTo>
                  <a:lnTo>
                    <a:pt x="57" y="18"/>
                  </a:lnTo>
                  <a:lnTo>
                    <a:pt x="54" y="24"/>
                  </a:lnTo>
                  <a:lnTo>
                    <a:pt x="52" y="24"/>
                  </a:lnTo>
                  <a:lnTo>
                    <a:pt x="30" y="28"/>
                  </a:lnTo>
                  <a:lnTo>
                    <a:pt x="42" y="43"/>
                  </a:lnTo>
                  <a:lnTo>
                    <a:pt x="37" y="47"/>
                  </a:lnTo>
                  <a:lnTo>
                    <a:pt x="36" y="52"/>
                  </a:lnTo>
                  <a:lnTo>
                    <a:pt x="34" y="52"/>
                  </a:lnTo>
                  <a:lnTo>
                    <a:pt x="26" y="55"/>
                  </a:lnTo>
                  <a:lnTo>
                    <a:pt x="17" y="65"/>
                  </a:lnTo>
                  <a:lnTo>
                    <a:pt x="2" y="64"/>
                  </a:lnTo>
                  <a:lnTo>
                    <a:pt x="2" y="61"/>
                  </a:lnTo>
                  <a:lnTo>
                    <a:pt x="8" y="31"/>
                  </a:lnTo>
                  <a:lnTo>
                    <a:pt x="0" y="31"/>
                  </a:lnTo>
                  <a:lnTo>
                    <a:pt x="3" y="25"/>
                  </a:lnTo>
                  <a:lnTo>
                    <a:pt x="2" y="24"/>
                  </a:lnTo>
                  <a:lnTo>
                    <a:pt x="0" y="24"/>
                  </a:lnTo>
                  <a:lnTo>
                    <a:pt x="0" y="18"/>
                  </a:lnTo>
                  <a:lnTo>
                    <a:pt x="5" y="13"/>
                  </a:lnTo>
                  <a:lnTo>
                    <a:pt x="5" y="12"/>
                  </a:lnTo>
                  <a:lnTo>
                    <a:pt x="9" y="15"/>
                  </a:lnTo>
                  <a:lnTo>
                    <a:pt x="9" y="10"/>
                  </a:lnTo>
                  <a:lnTo>
                    <a:pt x="12" y="10"/>
                  </a:lnTo>
                  <a:lnTo>
                    <a:pt x="23" y="16"/>
                  </a:lnTo>
                  <a:lnTo>
                    <a:pt x="5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9" name="Saudi Arabia">
              <a:extLst>
                <a:ext uri="{FF2B5EF4-FFF2-40B4-BE49-F238E27FC236}">
                  <a16:creationId xmlns:a16="http://schemas.microsoft.com/office/drawing/2014/main" id="{8AC0322D-FDF1-A2C4-0378-CEA98CBA4DD5}"/>
                </a:ext>
              </a:extLst>
            </p:cNvPr>
            <p:cNvSpPr>
              <a:spLocks/>
            </p:cNvSpPr>
            <p:nvPr/>
          </p:nvSpPr>
          <p:spPr bwMode="auto">
            <a:xfrm>
              <a:off x="6644443" y="3785071"/>
              <a:ext cx="498749" cy="433695"/>
            </a:xfrm>
            <a:custGeom>
              <a:avLst/>
              <a:gdLst>
                <a:gd name="T0" fmla="*/ 77 w 276"/>
                <a:gd name="T1" fmla="*/ 8 h 240"/>
                <a:gd name="T2" fmla="*/ 107 w 276"/>
                <a:gd name="T3" fmla="*/ 23 h 240"/>
                <a:gd name="T4" fmla="*/ 116 w 276"/>
                <a:gd name="T5" fmla="*/ 30 h 240"/>
                <a:gd name="T6" fmla="*/ 118 w 276"/>
                <a:gd name="T7" fmla="*/ 40 h 240"/>
                <a:gd name="T8" fmla="*/ 142 w 276"/>
                <a:gd name="T9" fmla="*/ 54 h 240"/>
                <a:gd name="T10" fmla="*/ 166 w 276"/>
                <a:gd name="T11" fmla="*/ 51 h 240"/>
                <a:gd name="T12" fmla="*/ 179 w 276"/>
                <a:gd name="T13" fmla="*/ 57 h 240"/>
                <a:gd name="T14" fmla="*/ 191 w 276"/>
                <a:gd name="T15" fmla="*/ 73 h 240"/>
                <a:gd name="T16" fmla="*/ 201 w 276"/>
                <a:gd name="T17" fmla="*/ 83 h 240"/>
                <a:gd name="T18" fmla="*/ 201 w 276"/>
                <a:gd name="T19" fmla="*/ 97 h 240"/>
                <a:gd name="T20" fmla="*/ 215 w 276"/>
                <a:gd name="T21" fmla="*/ 114 h 240"/>
                <a:gd name="T22" fmla="*/ 227 w 276"/>
                <a:gd name="T23" fmla="*/ 137 h 240"/>
                <a:gd name="T24" fmla="*/ 268 w 276"/>
                <a:gd name="T25" fmla="*/ 141 h 240"/>
                <a:gd name="T26" fmla="*/ 276 w 276"/>
                <a:gd name="T27" fmla="*/ 153 h 240"/>
                <a:gd name="T28" fmla="*/ 225 w 276"/>
                <a:gd name="T29" fmla="*/ 194 h 240"/>
                <a:gd name="T30" fmla="*/ 153 w 276"/>
                <a:gd name="T31" fmla="*/ 240 h 240"/>
                <a:gd name="T32" fmla="*/ 151 w 276"/>
                <a:gd name="T33" fmla="*/ 226 h 240"/>
                <a:gd name="T34" fmla="*/ 114 w 276"/>
                <a:gd name="T35" fmla="*/ 220 h 240"/>
                <a:gd name="T36" fmla="*/ 104 w 276"/>
                <a:gd name="T37" fmla="*/ 229 h 240"/>
                <a:gd name="T38" fmla="*/ 90 w 276"/>
                <a:gd name="T39" fmla="*/ 208 h 240"/>
                <a:gd name="T40" fmla="*/ 80 w 276"/>
                <a:gd name="T41" fmla="*/ 187 h 240"/>
                <a:gd name="T42" fmla="*/ 59 w 276"/>
                <a:gd name="T43" fmla="*/ 171 h 240"/>
                <a:gd name="T44" fmla="*/ 56 w 276"/>
                <a:gd name="T45" fmla="*/ 146 h 240"/>
                <a:gd name="T46" fmla="*/ 40 w 276"/>
                <a:gd name="T47" fmla="*/ 120 h 240"/>
                <a:gd name="T48" fmla="*/ 35 w 276"/>
                <a:gd name="T49" fmla="*/ 119 h 240"/>
                <a:gd name="T50" fmla="*/ 6 w 276"/>
                <a:gd name="T51" fmla="*/ 66 h 240"/>
                <a:gd name="T52" fmla="*/ 3 w 276"/>
                <a:gd name="T53" fmla="*/ 43 h 240"/>
                <a:gd name="T54" fmla="*/ 4 w 276"/>
                <a:gd name="T55" fmla="*/ 46 h 240"/>
                <a:gd name="T56" fmla="*/ 25 w 276"/>
                <a:gd name="T57" fmla="*/ 37 h 240"/>
                <a:gd name="T58" fmla="*/ 37 w 276"/>
                <a:gd name="T59" fmla="*/ 30 h 240"/>
                <a:gd name="T60" fmla="*/ 28 w 276"/>
                <a:gd name="T61" fmla="*/ 12 h 240"/>
                <a:gd name="T62" fmla="*/ 30 w 276"/>
                <a:gd name="T63" fmla="*/ 11 h 240"/>
                <a:gd name="T64" fmla="*/ 56 w 276"/>
                <a:gd name="T65" fmla="*/ 2 h 240"/>
                <a:gd name="T66" fmla="*/ 58 w 276"/>
                <a:gd name="T6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240">
                  <a:moveTo>
                    <a:pt x="58" y="0"/>
                  </a:moveTo>
                  <a:lnTo>
                    <a:pt x="77" y="8"/>
                  </a:lnTo>
                  <a:lnTo>
                    <a:pt x="93" y="18"/>
                  </a:lnTo>
                  <a:lnTo>
                    <a:pt x="107" y="23"/>
                  </a:lnTo>
                  <a:lnTo>
                    <a:pt x="110" y="28"/>
                  </a:lnTo>
                  <a:lnTo>
                    <a:pt x="116" y="30"/>
                  </a:lnTo>
                  <a:lnTo>
                    <a:pt x="117" y="30"/>
                  </a:lnTo>
                  <a:lnTo>
                    <a:pt x="118" y="40"/>
                  </a:lnTo>
                  <a:lnTo>
                    <a:pt x="133" y="46"/>
                  </a:lnTo>
                  <a:lnTo>
                    <a:pt x="142" y="54"/>
                  </a:lnTo>
                  <a:lnTo>
                    <a:pt x="156" y="48"/>
                  </a:lnTo>
                  <a:lnTo>
                    <a:pt x="166" y="51"/>
                  </a:lnTo>
                  <a:lnTo>
                    <a:pt x="170" y="57"/>
                  </a:lnTo>
                  <a:lnTo>
                    <a:pt x="179" y="57"/>
                  </a:lnTo>
                  <a:lnTo>
                    <a:pt x="184" y="67"/>
                  </a:lnTo>
                  <a:lnTo>
                    <a:pt x="191" y="73"/>
                  </a:lnTo>
                  <a:lnTo>
                    <a:pt x="193" y="77"/>
                  </a:lnTo>
                  <a:lnTo>
                    <a:pt x="201" y="83"/>
                  </a:lnTo>
                  <a:lnTo>
                    <a:pt x="203" y="91"/>
                  </a:lnTo>
                  <a:lnTo>
                    <a:pt x="201" y="97"/>
                  </a:lnTo>
                  <a:lnTo>
                    <a:pt x="210" y="111"/>
                  </a:lnTo>
                  <a:lnTo>
                    <a:pt x="215" y="114"/>
                  </a:lnTo>
                  <a:lnTo>
                    <a:pt x="222" y="126"/>
                  </a:lnTo>
                  <a:lnTo>
                    <a:pt x="227" y="137"/>
                  </a:lnTo>
                  <a:lnTo>
                    <a:pt x="265" y="143"/>
                  </a:lnTo>
                  <a:lnTo>
                    <a:pt x="268" y="141"/>
                  </a:lnTo>
                  <a:lnTo>
                    <a:pt x="276" y="151"/>
                  </a:lnTo>
                  <a:lnTo>
                    <a:pt x="276" y="153"/>
                  </a:lnTo>
                  <a:lnTo>
                    <a:pt x="265" y="180"/>
                  </a:lnTo>
                  <a:lnTo>
                    <a:pt x="225" y="194"/>
                  </a:lnTo>
                  <a:lnTo>
                    <a:pt x="185" y="203"/>
                  </a:lnTo>
                  <a:lnTo>
                    <a:pt x="153" y="240"/>
                  </a:lnTo>
                  <a:lnTo>
                    <a:pt x="151" y="240"/>
                  </a:lnTo>
                  <a:lnTo>
                    <a:pt x="151" y="226"/>
                  </a:lnTo>
                  <a:lnTo>
                    <a:pt x="127" y="217"/>
                  </a:lnTo>
                  <a:lnTo>
                    <a:pt x="114" y="220"/>
                  </a:lnTo>
                  <a:lnTo>
                    <a:pt x="104" y="230"/>
                  </a:lnTo>
                  <a:lnTo>
                    <a:pt x="104" y="229"/>
                  </a:lnTo>
                  <a:lnTo>
                    <a:pt x="98" y="214"/>
                  </a:lnTo>
                  <a:lnTo>
                    <a:pt x="90" y="208"/>
                  </a:lnTo>
                  <a:lnTo>
                    <a:pt x="83" y="197"/>
                  </a:lnTo>
                  <a:lnTo>
                    <a:pt x="80" y="187"/>
                  </a:lnTo>
                  <a:lnTo>
                    <a:pt x="73" y="180"/>
                  </a:lnTo>
                  <a:lnTo>
                    <a:pt x="59" y="171"/>
                  </a:lnTo>
                  <a:lnTo>
                    <a:pt x="55" y="153"/>
                  </a:lnTo>
                  <a:lnTo>
                    <a:pt x="56" y="146"/>
                  </a:lnTo>
                  <a:lnTo>
                    <a:pt x="47" y="126"/>
                  </a:lnTo>
                  <a:lnTo>
                    <a:pt x="40" y="120"/>
                  </a:lnTo>
                  <a:lnTo>
                    <a:pt x="35" y="120"/>
                  </a:lnTo>
                  <a:lnTo>
                    <a:pt x="35" y="119"/>
                  </a:lnTo>
                  <a:lnTo>
                    <a:pt x="30" y="103"/>
                  </a:lnTo>
                  <a:lnTo>
                    <a:pt x="6" y="66"/>
                  </a:lnTo>
                  <a:lnTo>
                    <a:pt x="0" y="64"/>
                  </a:lnTo>
                  <a:lnTo>
                    <a:pt x="3" y="43"/>
                  </a:lnTo>
                  <a:lnTo>
                    <a:pt x="4" y="43"/>
                  </a:lnTo>
                  <a:lnTo>
                    <a:pt x="4" y="46"/>
                  </a:lnTo>
                  <a:lnTo>
                    <a:pt x="18" y="48"/>
                  </a:lnTo>
                  <a:lnTo>
                    <a:pt x="25" y="37"/>
                  </a:lnTo>
                  <a:lnTo>
                    <a:pt x="35" y="34"/>
                  </a:lnTo>
                  <a:lnTo>
                    <a:pt x="37" y="30"/>
                  </a:lnTo>
                  <a:lnTo>
                    <a:pt x="41" y="27"/>
                  </a:lnTo>
                  <a:lnTo>
                    <a:pt x="28" y="12"/>
                  </a:lnTo>
                  <a:lnTo>
                    <a:pt x="28" y="11"/>
                  </a:lnTo>
                  <a:lnTo>
                    <a:pt x="30" y="11"/>
                  </a:lnTo>
                  <a:lnTo>
                    <a:pt x="53" y="6"/>
                  </a:lnTo>
                  <a:lnTo>
                    <a:pt x="56" y="2"/>
                  </a:lnTo>
                  <a:lnTo>
                    <a:pt x="58" y="2"/>
                  </a:lnTo>
                  <a:lnTo>
                    <a:pt x="5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0" name="Syria">
              <a:extLst>
                <a:ext uri="{FF2B5EF4-FFF2-40B4-BE49-F238E27FC236}">
                  <a16:creationId xmlns:a16="http://schemas.microsoft.com/office/drawing/2014/main" id="{25C9F4E3-BB93-3F6A-9F7E-5565389F5698}"/>
                </a:ext>
              </a:extLst>
            </p:cNvPr>
            <p:cNvSpPr>
              <a:spLocks/>
            </p:cNvSpPr>
            <p:nvPr/>
          </p:nvSpPr>
          <p:spPr bwMode="auto">
            <a:xfrm>
              <a:off x="6662514" y="3640505"/>
              <a:ext cx="169864" cy="148179"/>
            </a:xfrm>
            <a:custGeom>
              <a:avLst/>
              <a:gdLst>
                <a:gd name="T0" fmla="*/ 88 w 94"/>
                <a:gd name="T1" fmla="*/ 0 h 82"/>
                <a:gd name="T2" fmla="*/ 89 w 94"/>
                <a:gd name="T3" fmla="*/ 0 h 82"/>
                <a:gd name="T4" fmla="*/ 92 w 94"/>
                <a:gd name="T5" fmla="*/ 2 h 82"/>
                <a:gd name="T6" fmla="*/ 94 w 94"/>
                <a:gd name="T7" fmla="*/ 2 h 82"/>
                <a:gd name="T8" fmla="*/ 94 w 94"/>
                <a:gd name="T9" fmla="*/ 3 h 82"/>
                <a:gd name="T10" fmla="*/ 85 w 94"/>
                <a:gd name="T11" fmla="*/ 12 h 82"/>
                <a:gd name="T12" fmla="*/ 77 w 94"/>
                <a:gd name="T13" fmla="*/ 15 h 82"/>
                <a:gd name="T14" fmla="*/ 76 w 94"/>
                <a:gd name="T15" fmla="*/ 40 h 82"/>
                <a:gd name="T16" fmla="*/ 74 w 94"/>
                <a:gd name="T17" fmla="*/ 46 h 82"/>
                <a:gd name="T18" fmla="*/ 74 w 94"/>
                <a:gd name="T19" fmla="*/ 48 h 82"/>
                <a:gd name="T20" fmla="*/ 43 w 94"/>
                <a:gd name="T21" fmla="*/ 65 h 82"/>
                <a:gd name="T22" fmla="*/ 14 w 94"/>
                <a:gd name="T23" fmla="*/ 82 h 82"/>
                <a:gd name="T24" fmla="*/ 3 w 94"/>
                <a:gd name="T25" fmla="*/ 74 h 82"/>
                <a:gd name="T26" fmla="*/ 0 w 94"/>
                <a:gd name="T27" fmla="*/ 76 h 82"/>
                <a:gd name="T28" fmla="*/ 0 w 94"/>
                <a:gd name="T29" fmla="*/ 65 h 82"/>
                <a:gd name="T30" fmla="*/ 8 w 94"/>
                <a:gd name="T31" fmla="*/ 61 h 82"/>
                <a:gd name="T32" fmla="*/ 8 w 94"/>
                <a:gd name="T33" fmla="*/ 57 h 82"/>
                <a:gd name="T34" fmla="*/ 11 w 94"/>
                <a:gd name="T35" fmla="*/ 55 h 82"/>
                <a:gd name="T36" fmla="*/ 11 w 94"/>
                <a:gd name="T37" fmla="*/ 54 h 82"/>
                <a:gd name="T38" fmla="*/ 15 w 94"/>
                <a:gd name="T39" fmla="*/ 51 h 82"/>
                <a:gd name="T40" fmla="*/ 12 w 94"/>
                <a:gd name="T41" fmla="*/ 46 h 82"/>
                <a:gd name="T42" fmla="*/ 12 w 94"/>
                <a:gd name="T43" fmla="*/ 43 h 82"/>
                <a:gd name="T44" fmla="*/ 6 w 94"/>
                <a:gd name="T45" fmla="*/ 43 h 82"/>
                <a:gd name="T46" fmla="*/ 6 w 94"/>
                <a:gd name="T47" fmla="*/ 21 h 82"/>
                <a:gd name="T48" fmla="*/ 9 w 94"/>
                <a:gd name="T49" fmla="*/ 24 h 82"/>
                <a:gd name="T50" fmla="*/ 12 w 94"/>
                <a:gd name="T51" fmla="*/ 18 h 82"/>
                <a:gd name="T52" fmla="*/ 15 w 94"/>
                <a:gd name="T53" fmla="*/ 18 h 82"/>
                <a:gd name="T54" fmla="*/ 14 w 94"/>
                <a:gd name="T55" fmla="*/ 15 h 82"/>
                <a:gd name="T56" fmla="*/ 14 w 94"/>
                <a:gd name="T57" fmla="*/ 14 h 82"/>
                <a:gd name="T58" fmla="*/ 15 w 94"/>
                <a:gd name="T59" fmla="*/ 8 h 82"/>
                <a:gd name="T60" fmla="*/ 17 w 94"/>
                <a:gd name="T61" fmla="*/ 8 h 82"/>
                <a:gd name="T62" fmla="*/ 27 w 94"/>
                <a:gd name="T63" fmla="*/ 11 h 82"/>
                <a:gd name="T64" fmla="*/ 39 w 94"/>
                <a:gd name="T65" fmla="*/ 6 h 82"/>
                <a:gd name="T66" fmla="*/ 49 w 94"/>
                <a:gd name="T67" fmla="*/ 11 h 82"/>
                <a:gd name="T68" fmla="*/ 68 w 94"/>
                <a:gd name="T69" fmla="*/ 2 h 82"/>
                <a:gd name="T70" fmla="*/ 83 w 94"/>
                <a:gd name="T71" fmla="*/ 3 h 82"/>
                <a:gd name="T72" fmla="*/ 88 w 94"/>
                <a:gd name="T7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82">
                  <a:moveTo>
                    <a:pt x="88" y="0"/>
                  </a:moveTo>
                  <a:lnTo>
                    <a:pt x="89" y="0"/>
                  </a:lnTo>
                  <a:lnTo>
                    <a:pt x="92" y="2"/>
                  </a:lnTo>
                  <a:lnTo>
                    <a:pt x="94" y="2"/>
                  </a:lnTo>
                  <a:lnTo>
                    <a:pt x="94" y="3"/>
                  </a:lnTo>
                  <a:lnTo>
                    <a:pt x="85" y="12"/>
                  </a:lnTo>
                  <a:lnTo>
                    <a:pt x="77" y="15"/>
                  </a:lnTo>
                  <a:lnTo>
                    <a:pt x="76" y="40"/>
                  </a:lnTo>
                  <a:lnTo>
                    <a:pt x="74" y="46"/>
                  </a:lnTo>
                  <a:lnTo>
                    <a:pt x="74" y="48"/>
                  </a:lnTo>
                  <a:lnTo>
                    <a:pt x="43" y="65"/>
                  </a:lnTo>
                  <a:lnTo>
                    <a:pt x="14" y="82"/>
                  </a:lnTo>
                  <a:lnTo>
                    <a:pt x="3" y="74"/>
                  </a:lnTo>
                  <a:lnTo>
                    <a:pt x="0" y="76"/>
                  </a:lnTo>
                  <a:lnTo>
                    <a:pt x="0" y="65"/>
                  </a:lnTo>
                  <a:lnTo>
                    <a:pt x="8" y="61"/>
                  </a:lnTo>
                  <a:lnTo>
                    <a:pt x="8" y="57"/>
                  </a:lnTo>
                  <a:lnTo>
                    <a:pt x="11" y="55"/>
                  </a:lnTo>
                  <a:lnTo>
                    <a:pt x="11" y="54"/>
                  </a:lnTo>
                  <a:lnTo>
                    <a:pt x="15" y="51"/>
                  </a:lnTo>
                  <a:lnTo>
                    <a:pt x="12" y="46"/>
                  </a:lnTo>
                  <a:lnTo>
                    <a:pt x="12" y="43"/>
                  </a:lnTo>
                  <a:lnTo>
                    <a:pt x="6" y="43"/>
                  </a:lnTo>
                  <a:lnTo>
                    <a:pt x="6" y="21"/>
                  </a:lnTo>
                  <a:lnTo>
                    <a:pt x="9" y="24"/>
                  </a:lnTo>
                  <a:lnTo>
                    <a:pt x="12" y="18"/>
                  </a:lnTo>
                  <a:lnTo>
                    <a:pt x="15" y="18"/>
                  </a:lnTo>
                  <a:lnTo>
                    <a:pt x="14" y="15"/>
                  </a:lnTo>
                  <a:lnTo>
                    <a:pt x="14" y="14"/>
                  </a:lnTo>
                  <a:lnTo>
                    <a:pt x="15" y="8"/>
                  </a:lnTo>
                  <a:lnTo>
                    <a:pt x="17" y="8"/>
                  </a:lnTo>
                  <a:lnTo>
                    <a:pt x="27" y="11"/>
                  </a:lnTo>
                  <a:lnTo>
                    <a:pt x="39" y="6"/>
                  </a:lnTo>
                  <a:lnTo>
                    <a:pt x="49" y="11"/>
                  </a:lnTo>
                  <a:lnTo>
                    <a:pt x="68" y="2"/>
                  </a:lnTo>
                  <a:lnTo>
                    <a:pt x="83" y="3"/>
                  </a:lnTo>
                  <a:lnTo>
                    <a:pt x="8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1" name="United Arab Emirates">
              <a:extLst>
                <a:ext uri="{FF2B5EF4-FFF2-40B4-BE49-F238E27FC236}">
                  <a16:creationId xmlns:a16="http://schemas.microsoft.com/office/drawing/2014/main" id="{34D5997E-7370-D3B1-01C3-1CFAEF553D2A}"/>
                </a:ext>
              </a:extLst>
            </p:cNvPr>
            <p:cNvSpPr>
              <a:spLocks/>
            </p:cNvSpPr>
            <p:nvPr/>
          </p:nvSpPr>
          <p:spPr bwMode="auto">
            <a:xfrm>
              <a:off x="7029347" y="3954935"/>
              <a:ext cx="126495" cy="93967"/>
            </a:xfrm>
            <a:custGeom>
              <a:avLst/>
              <a:gdLst>
                <a:gd name="T0" fmla="*/ 66 w 70"/>
                <a:gd name="T1" fmla="*/ 0 h 52"/>
                <a:gd name="T2" fmla="*/ 67 w 70"/>
                <a:gd name="T3" fmla="*/ 0 h 52"/>
                <a:gd name="T4" fmla="*/ 67 w 70"/>
                <a:gd name="T5" fmla="*/ 4 h 52"/>
                <a:gd name="T6" fmla="*/ 69 w 70"/>
                <a:gd name="T7" fmla="*/ 6 h 52"/>
                <a:gd name="T8" fmla="*/ 70 w 70"/>
                <a:gd name="T9" fmla="*/ 16 h 52"/>
                <a:gd name="T10" fmla="*/ 70 w 70"/>
                <a:gd name="T11" fmla="*/ 17 h 52"/>
                <a:gd name="T12" fmla="*/ 63 w 70"/>
                <a:gd name="T13" fmla="*/ 17 h 52"/>
                <a:gd name="T14" fmla="*/ 66 w 70"/>
                <a:gd name="T15" fmla="*/ 28 h 52"/>
                <a:gd name="T16" fmla="*/ 58 w 70"/>
                <a:gd name="T17" fmla="*/ 31 h 52"/>
                <a:gd name="T18" fmla="*/ 55 w 70"/>
                <a:gd name="T19" fmla="*/ 47 h 52"/>
                <a:gd name="T20" fmla="*/ 52 w 70"/>
                <a:gd name="T21" fmla="*/ 50 h 52"/>
                <a:gd name="T22" fmla="*/ 52 w 70"/>
                <a:gd name="T23" fmla="*/ 52 h 52"/>
                <a:gd name="T24" fmla="*/ 12 w 70"/>
                <a:gd name="T25" fmla="*/ 44 h 52"/>
                <a:gd name="T26" fmla="*/ 8 w 70"/>
                <a:gd name="T27" fmla="*/ 32 h 52"/>
                <a:gd name="T28" fmla="*/ 0 w 70"/>
                <a:gd name="T29" fmla="*/ 22 h 52"/>
                <a:gd name="T30" fmla="*/ 0 w 70"/>
                <a:gd name="T31" fmla="*/ 20 h 52"/>
                <a:gd name="T32" fmla="*/ 5 w 70"/>
                <a:gd name="T33" fmla="*/ 19 h 52"/>
                <a:gd name="T34" fmla="*/ 6 w 70"/>
                <a:gd name="T35" fmla="*/ 19 h 52"/>
                <a:gd name="T36" fmla="*/ 6 w 70"/>
                <a:gd name="T37" fmla="*/ 25 h 52"/>
                <a:gd name="T38" fmla="*/ 9 w 70"/>
                <a:gd name="T39" fmla="*/ 25 h 52"/>
                <a:gd name="T40" fmla="*/ 11 w 70"/>
                <a:gd name="T41" fmla="*/ 28 h 52"/>
                <a:gd name="T42" fmla="*/ 17 w 70"/>
                <a:gd name="T43" fmla="*/ 28 h 52"/>
                <a:gd name="T44" fmla="*/ 21 w 70"/>
                <a:gd name="T45" fmla="*/ 25 h 52"/>
                <a:gd name="T46" fmla="*/ 39 w 70"/>
                <a:gd name="T47" fmla="*/ 26 h 52"/>
                <a:gd name="T48" fmla="*/ 43 w 70"/>
                <a:gd name="T49" fmla="*/ 25 h 52"/>
                <a:gd name="T50" fmla="*/ 43 w 70"/>
                <a:gd name="T51" fmla="*/ 22 h 52"/>
                <a:gd name="T52" fmla="*/ 66 w 70"/>
                <a:gd name="T5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52">
                  <a:moveTo>
                    <a:pt x="66" y="0"/>
                  </a:moveTo>
                  <a:lnTo>
                    <a:pt x="67" y="0"/>
                  </a:lnTo>
                  <a:lnTo>
                    <a:pt x="67" y="4"/>
                  </a:lnTo>
                  <a:lnTo>
                    <a:pt x="69" y="6"/>
                  </a:lnTo>
                  <a:lnTo>
                    <a:pt x="70" y="16"/>
                  </a:lnTo>
                  <a:lnTo>
                    <a:pt x="70" y="17"/>
                  </a:lnTo>
                  <a:lnTo>
                    <a:pt x="63" y="17"/>
                  </a:lnTo>
                  <a:lnTo>
                    <a:pt x="66" y="28"/>
                  </a:lnTo>
                  <a:lnTo>
                    <a:pt x="58" y="31"/>
                  </a:lnTo>
                  <a:lnTo>
                    <a:pt x="55" y="47"/>
                  </a:lnTo>
                  <a:lnTo>
                    <a:pt x="52" y="50"/>
                  </a:lnTo>
                  <a:lnTo>
                    <a:pt x="52" y="52"/>
                  </a:lnTo>
                  <a:lnTo>
                    <a:pt x="12" y="44"/>
                  </a:lnTo>
                  <a:lnTo>
                    <a:pt x="8" y="32"/>
                  </a:lnTo>
                  <a:lnTo>
                    <a:pt x="0" y="22"/>
                  </a:lnTo>
                  <a:lnTo>
                    <a:pt x="0" y="20"/>
                  </a:lnTo>
                  <a:lnTo>
                    <a:pt x="5" y="19"/>
                  </a:lnTo>
                  <a:lnTo>
                    <a:pt x="6" y="19"/>
                  </a:lnTo>
                  <a:lnTo>
                    <a:pt x="6" y="25"/>
                  </a:lnTo>
                  <a:lnTo>
                    <a:pt x="9" y="25"/>
                  </a:lnTo>
                  <a:lnTo>
                    <a:pt x="11" y="28"/>
                  </a:lnTo>
                  <a:lnTo>
                    <a:pt x="17" y="28"/>
                  </a:lnTo>
                  <a:lnTo>
                    <a:pt x="21" y="25"/>
                  </a:lnTo>
                  <a:lnTo>
                    <a:pt x="39" y="26"/>
                  </a:lnTo>
                  <a:lnTo>
                    <a:pt x="43" y="25"/>
                  </a:lnTo>
                  <a:lnTo>
                    <a:pt x="43" y="22"/>
                  </a:lnTo>
                  <a:lnTo>
                    <a:pt x="6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2" name="Yemen">
              <a:extLst>
                <a:ext uri="{FF2B5EF4-FFF2-40B4-BE49-F238E27FC236}">
                  <a16:creationId xmlns:a16="http://schemas.microsoft.com/office/drawing/2014/main" id="{DF2605F5-854B-DC7A-B75C-F65536566F4B}"/>
                </a:ext>
              </a:extLst>
            </p:cNvPr>
            <p:cNvSpPr>
              <a:spLocks/>
            </p:cNvSpPr>
            <p:nvPr/>
          </p:nvSpPr>
          <p:spPr bwMode="auto">
            <a:xfrm>
              <a:off x="6828764" y="4133834"/>
              <a:ext cx="249374" cy="155407"/>
            </a:xfrm>
            <a:custGeom>
              <a:avLst/>
              <a:gdLst>
                <a:gd name="T0" fmla="*/ 123 w 138"/>
                <a:gd name="T1" fmla="*/ 0 h 86"/>
                <a:gd name="T2" fmla="*/ 125 w 138"/>
                <a:gd name="T3" fmla="*/ 0 h 86"/>
                <a:gd name="T4" fmla="*/ 138 w 138"/>
                <a:gd name="T5" fmla="*/ 33 h 86"/>
                <a:gd name="T6" fmla="*/ 129 w 138"/>
                <a:gd name="T7" fmla="*/ 39 h 86"/>
                <a:gd name="T8" fmla="*/ 128 w 138"/>
                <a:gd name="T9" fmla="*/ 46 h 86"/>
                <a:gd name="T10" fmla="*/ 128 w 138"/>
                <a:gd name="T11" fmla="*/ 47 h 86"/>
                <a:gd name="T12" fmla="*/ 92 w 138"/>
                <a:gd name="T13" fmla="*/ 59 h 86"/>
                <a:gd name="T14" fmla="*/ 86 w 138"/>
                <a:gd name="T15" fmla="*/ 62 h 86"/>
                <a:gd name="T16" fmla="*/ 82 w 138"/>
                <a:gd name="T17" fmla="*/ 67 h 86"/>
                <a:gd name="T18" fmla="*/ 70 w 138"/>
                <a:gd name="T19" fmla="*/ 70 h 86"/>
                <a:gd name="T20" fmla="*/ 56 w 138"/>
                <a:gd name="T21" fmla="*/ 77 h 86"/>
                <a:gd name="T22" fmla="*/ 43 w 138"/>
                <a:gd name="T23" fmla="*/ 77 h 86"/>
                <a:gd name="T24" fmla="*/ 31 w 138"/>
                <a:gd name="T25" fmla="*/ 86 h 86"/>
                <a:gd name="T26" fmla="*/ 12 w 138"/>
                <a:gd name="T27" fmla="*/ 86 h 86"/>
                <a:gd name="T28" fmla="*/ 9 w 138"/>
                <a:gd name="T29" fmla="*/ 79 h 86"/>
                <a:gd name="T30" fmla="*/ 3 w 138"/>
                <a:gd name="T31" fmla="*/ 53 h 86"/>
                <a:gd name="T32" fmla="*/ 0 w 138"/>
                <a:gd name="T33" fmla="*/ 50 h 86"/>
                <a:gd name="T34" fmla="*/ 3 w 138"/>
                <a:gd name="T35" fmla="*/ 42 h 86"/>
                <a:gd name="T36" fmla="*/ 2 w 138"/>
                <a:gd name="T37" fmla="*/ 36 h 86"/>
                <a:gd name="T38" fmla="*/ 12 w 138"/>
                <a:gd name="T39" fmla="*/ 27 h 86"/>
                <a:gd name="T40" fmla="*/ 25 w 138"/>
                <a:gd name="T41" fmla="*/ 22 h 86"/>
                <a:gd name="T42" fmla="*/ 49 w 138"/>
                <a:gd name="T43" fmla="*/ 31 h 86"/>
                <a:gd name="T44" fmla="*/ 51 w 138"/>
                <a:gd name="T45" fmla="*/ 31 h 86"/>
                <a:gd name="T46" fmla="*/ 51 w 138"/>
                <a:gd name="T47" fmla="*/ 44 h 86"/>
                <a:gd name="T48" fmla="*/ 82 w 138"/>
                <a:gd name="T49" fmla="*/ 9 h 86"/>
                <a:gd name="T50" fmla="*/ 123 w 138"/>
                <a:gd name="T5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8" h="86">
                  <a:moveTo>
                    <a:pt x="123" y="0"/>
                  </a:moveTo>
                  <a:lnTo>
                    <a:pt x="125" y="0"/>
                  </a:lnTo>
                  <a:lnTo>
                    <a:pt x="138" y="33"/>
                  </a:lnTo>
                  <a:lnTo>
                    <a:pt x="129" y="39"/>
                  </a:lnTo>
                  <a:lnTo>
                    <a:pt x="128" y="46"/>
                  </a:lnTo>
                  <a:lnTo>
                    <a:pt x="128" y="47"/>
                  </a:lnTo>
                  <a:lnTo>
                    <a:pt x="92" y="59"/>
                  </a:lnTo>
                  <a:lnTo>
                    <a:pt x="86" y="62"/>
                  </a:lnTo>
                  <a:lnTo>
                    <a:pt x="82" y="67"/>
                  </a:lnTo>
                  <a:lnTo>
                    <a:pt x="70" y="70"/>
                  </a:lnTo>
                  <a:lnTo>
                    <a:pt x="56" y="77"/>
                  </a:lnTo>
                  <a:lnTo>
                    <a:pt x="43" y="77"/>
                  </a:lnTo>
                  <a:lnTo>
                    <a:pt x="31" y="86"/>
                  </a:lnTo>
                  <a:lnTo>
                    <a:pt x="12" y="86"/>
                  </a:lnTo>
                  <a:lnTo>
                    <a:pt x="9" y="79"/>
                  </a:lnTo>
                  <a:lnTo>
                    <a:pt x="3" y="53"/>
                  </a:lnTo>
                  <a:lnTo>
                    <a:pt x="0" y="50"/>
                  </a:lnTo>
                  <a:lnTo>
                    <a:pt x="3" y="42"/>
                  </a:lnTo>
                  <a:lnTo>
                    <a:pt x="2" y="36"/>
                  </a:lnTo>
                  <a:lnTo>
                    <a:pt x="12" y="27"/>
                  </a:lnTo>
                  <a:lnTo>
                    <a:pt x="25" y="22"/>
                  </a:lnTo>
                  <a:lnTo>
                    <a:pt x="49" y="31"/>
                  </a:lnTo>
                  <a:lnTo>
                    <a:pt x="51" y="31"/>
                  </a:lnTo>
                  <a:lnTo>
                    <a:pt x="51" y="44"/>
                  </a:lnTo>
                  <a:lnTo>
                    <a:pt x="82" y="9"/>
                  </a:lnTo>
                  <a:lnTo>
                    <a:pt x="12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3" name="Iran">
              <a:extLst>
                <a:ext uri="{FF2B5EF4-FFF2-40B4-BE49-F238E27FC236}">
                  <a16:creationId xmlns:a16="http://schemas.microsoft.com/office/drawing/2014/main" id="{DF09F2EF-A9E1-B545-3F7A-6A61C53EE3C8}"/>
                </a:ext>
              </a:extLst>
            </p:cNvPr>
            <p:cNvSpPr>
              <a:spLocks/>
            </p:cNvSpPr>
            <p:nvPr/>
          </p:nvSpPr>
          <p:spPr bwMode="auto">
            <a:xfrm>
              <a:off x="6866711" y="3562803"/>
              <a:ext cx="451766" cy="415624"/>
            </a:xfrm>
            <a:custGeom>
              <a:avLst/>
              <a:gdLst>
                <a:gd name="T0" fmla="*/ 7 w 250"/>
                <a:gd name="T1" fmla="*/ 0 h 230"/>
                <a:gd name="T2" fmla="*/ 9 w 250"/>
                <a:gd name="T3" fmla="*/ 3 h 230"/>
                <a:gd name="T4" fmla="*/ 34 w 250"/>
                <a:gd name="T5" fmla="*/ 17 h 230"/>
                <a:gd name="T6" fmla="*/ 49 w 250"/>
                <a:gd name="T7" fmla="*/ 5 h 230"/>
                <a:gd name="T8" fmla="*/ 56 w 250"/>
                <a:gd name="T9" fmla="*/ 15 h 230"/>
                <a:gd name="T10" fmla="*/ 52 w 250"/>
                <a:gd name="T11" fmla="*/ 18 h 230"/>
                <a:gd name="T12" fmla="*/ 64 w 250"/>
                <a:gd name="T13" fmla="*/ 24 h 230"/>
                <a:gd name="T14" fmla="*/ 78 w 250"/>
                <a:gd name="T15" fmla="*/ 42 h 230"/>
                <a:gd name="T16" fmla="*/ 99 w 250"/>
                <a:gd name="T17" fmla="*/ 55 h 230"/>
                <a:gd name="T18" fmla="*/ 129 w 250"/>
                <a:gd name="T19" fmla="*/ 49 h 230"/>
                <a:gd name="T20" fmla="*/ 127 w 250"/>
                <a:gd name="T21" fmla="*/ 40 h 230"/>
                <a:gd name="T22" fmla="*/ 136 w 250"/>
                <a:gd name="T23" fmla="*/ 39 h 230"/>
                <a:gd name="T24" fmla="*/ 151 w 250"/>
                <a:gd name="T25" fmla="*/ 30 h 230"/>
                <a:gd name="T26" fmla="*/ 167 w 250"/>
                <a:gd name="T27" fmla="*/ 25 h 230"/>
                <a:gd name="T28" fmla="*/ 175 w 250"/>
                <a:gd name="T29" fmla="*/ 31 h 230"/>
                <a:gd name="T30" fmla="*/ 199 w 250"/>
                <a:gd name="T31" fmla="*/ 39 h 230"/>
                <a:gd name="T32" fmla="*/ 216 w 250"/>
                <a:gd name="T33" fmla="*/ 55 h 230"/>
                <a:gd name="T34" fmla="*/ 225 w 250"/>
                <a:gd name="T35" fmla="*/ 68 h 230"/>
                <a:gd name="T36" fmla="*/ 219 w 250"/>
                <a:gd name="T37" fmla="*/ 92 h 230"/>
                <a:gd name="T38" fmla="*/ 215 w 250"/>
                <a:gd name="T39" fmla="*/ 101 h 230"/>
                <a:gd name="T40" fmla="*/ 215 w 250"/>
                <a:gd name="T41" fmla="*/ 114 h 230"/>
                <a:gd name="T42" fmla="*/ 225 w 250"/>
                <a:gd name="T43" fmla="*/ 134 h 230"/>
                <a:gd name="T44" fmla="*/ 231 w 250"/>
                <a:gd name="T45" fmla="*/ 141 h 230"/>
                <a:gd name="T46" fmla="*/ 221 w 250"/>
                <a:gd name="T47" fmla="*/ 162 h 230"/>
                <a:gd name="T48" fmla="*/ 244 w 250"/>
                <a:gd name="T49" fmla="*/ 186 h 230"/>
                <a:gd name="T50" fmla="*/ 250 w 250"/>
                <a:gd name="T51" fmla="*/ 200 h 230"/>
                <a:gd name="T52" fmla="*/ 247 w 250"/>
                <a:gd name="T53" fmla="*/ 208 h 230"/>
                <a:gd name="T54" fmla="*/ 233 w 250"/>
                <a:gd name="T55" fmla="*/ 217 h 230"/>
                <a:gd name="T56" fmla="*/ 228 w 250"/>
                <a:gd name="T57" fmla="*/ 230 h 230"/>
                <a:gd name="T58" fmla="*/ 167 w 250"/>
                <a:gd name="T59" fmla="*/ 205 h 230"/>
                <a:gd name="T60" fmla="*/ 138 w 250"/>
                <a:gd name="T61" fmla="*/ 211 h 230"/>
                <a:gd name="T62" fmla="*/ 123 w 250"/>
                <a:gd name="T63" fmla="*/ 208 h 230"/>
                <a:gd name="T64" fmla="*/ 113 w 250"/>
                <a:gd name="T65" fmla="*/ 202 h 230"/>
                <a:gd name="T66" fmla="*/ 96 w 250"/>
                <a:gd name="T67" fmla="*/ 191 h 230"/>
                <a:gd name="T68" fmla="*/ 95 w 250"/>
                <a:gd name="T69" fmla="*/ 190 h 230"/>
                <a:gd name="T70" fmla="*/ 84 w 250"/>
                <a:gd name="T71" fmla="*/ 172 h 230"/>
                <a:gd name="T72" fmla="*/ 71 w 250"/>
                <a:gd name="T73" fmla="*/ 160 h 230"/>
                <a:gd name="T74" fmla="*/ 59 w 250"/>
                <a:gd name="T75" fmla="*/ 159 h 230"/>
                <a:gd name="T76" fmla="*/ 49 w 250"/>
                <a:gd name="T77" fmla="*/ 146 h 230"/>
                <a:gd name="T78" fmla="*/ 44 w 250"/>
                <a:gd name="T79" fmla="*/ 144 h 230"/>
                <a:gd name="T80" fmla="*/ 46 w 250"/>
                <a:gd name="T81" fmla="*/ 131 h 230"/>
                <a:gd name="T82" fmla="*/ 25 w 250"/>
                <a:gd name="T83" fmla="*/ 111 h 230"/>
                <a:gd name="T84" fmla="*/ 19 w 250"/>
                <a:gd name="T85" fmla="*/ 88 h 230"/>
                <a:gd name="T86" fmla="*/ 25 w 250"/>
                <a:gd name="T87" fmla="*/ 73 h 230"/>
                <a:gd name="T88" fmla="*/ 18 w 250"/>
                <a:gd name="T89" fmla="*/ 64 h 230"/>
                <a:gd name="T90" fmla="*/ 9 w 250"/>
                <a:gd name="T91" fmla="*/ 40 h 230"/>
                <a:gd name="T92" fmla="*/ 1 w 250"/>
                <a:gd name="T93" fmla="*/ 36 h 230"/>
                <a:gd name="T94" fmla="*/ 0 w 250"/>
                <a:gd name="T95" fmla="*/ 9 h 230"/>
                <a:gd name="T96" fmla="*/ 6 w 250"/>
                <a:gd name="T97" fmla="*/ 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 h="230">
                  <a:moveTo>
                    <a:pt x="6" y="0"/>
                  </a:moveTo>
                  <a:lnTo>
                    <a:pt x="7" y="0"/>
                  </a:lnTo>
                  <a:lnTo>
                    <a:pt x="7" y="2"/>
                  </a:lnTo>
                  <a:lnTo>
                    <a:pt x="9" y="3"/>
                  </a:lnTo>
                  <a:lnTo>
                    <a:pt x="18" y="17"/>
                  </a:lnTo>
                  <a:lnTo>
                    <a:pt x="34" y="17"/>
                  </a:lnTo>
                  <a:lnTo>
                    <a:pt x="38" y="8"/>
                  </a:lnTo>
                  <a:lnTo>
                    <a:pt x="49" y="5"/>
                  </a:lnTo>
                  <a:lnTo>
                    <a:pt x="53" y="6"/>
                  </a:lnTo>
                  <a:lnTo>
                    <a:pt x="56" y="15"/>
                  </a:lnTo>
                  <a:lnTo>
                    <a:pt x="55" y="15"/>
                  </a:lnTo>
                  <a:lnTo>
                    <a:pt x="52" y="18"/>
                  </a:lnTo>
                  <a:lnTo>
                    <a:pt x="62" y="24"/>
                  </a:lnTo>
                  <a:lnTo>
                    <a:pt x="64" y="24"/>
                  </a:lnTo>
                  <a:lnTo>
                    <a:pt x="67" y="39"/>
                  </a:lnTo>
                  <a:lnTo>
                    <a:pt x="78" y="42"/>
                  </a:lnTo>
                  <a:lnTo>
                    <a:pt x="87" y="49"/>
                  </a:lnTo>
                  <a:lnTo>
                    <a:pt x="99" y="55"/>
                  </a:lnTo>
                  <a:lnTo>
                    <a:pt x="120" y="51"/>
                  </a:lnTo>
                  <a:lnTo>
                    <a:pt x="129" y="49"/>
                  </a:lnTo>
                  <a:lnTo>
                    <a:pt x="127" y="42"/>
                  </a:lnTo>
                  <a:lnTo>
                    <a:pt x="127" y="40"/>
                  </a:lnTo>
                  <a:lnTo>
                    <a:pt x="129" y="40"/>
                  </a:lnTo>
                  <a:lnTo>
                    <a:pt x="136" y="39"/>
                  </a:lnTo>
                  <a:lnTo>
                    <a:pt x="147" y="30"/>
                  </a:lnTo>
                  <a:lnTo>
                    <a:pt x="151" y="30"/>
                  </a:lnTo>
                  <a:lnTo>
                    <a:pt x="159" y="27"/>
                  </a:lnTo>
                  <a:lnTo>
                    <a:pt x="167" y="25"/>
                  </a:lnTo>
                  <a:lnTo>
                    <a:pt x="170" y="25"/>
                  </a:lnTo>
                  <a:lnTo>
                    <a:pt x="175" y="31"/>
                  </a:lnTo>
                  <a:lnTo>
                    <a:pt x="199" y="37"/>
                  </a:lnTo>
                  <a:lnTo>
                    <a:pt x="199" y="39"/>
                  </a:lnTo>
                  <a:lnTo>
                    <a:pt x="202" y="45"/>
                  </a:lnTo>
                  <a:lnTo>
                    <a:pt x="216" y="55"/>
                  </a:lnTo>
                  <a:lnTo>
                    <a:pt x="224" y="55"/>
                  </a:lnTo>
                  <a:lnTo>
                    <a:pt x="225" y="68"/>
                  </a:lnTo>
                  <a:lnTo>
                    <a:pt x="222" y="83"/>
                  </a:lnTo>
                  <a:lnTo>
                    <a:pt x="219" y="92"/>
                  </a:lnTo>
                  <a:lnTo>
                    <a:pt x="215" y="95"/>
                  </a:lnTo>
                  <a:lnTo>
                    <a:pt x="215" y="101"/>
                  </a:lnTo>
                  <a:lnTo>
                    <a:pt x="218" y="104"/>
                  </a:lnTo>
                  <a:lnTo>
                    <a:pt x="215" y="114"/>
                  </a:lnTo>
                  <a:lnTo>
                    <a:pt x="218" y="131"/>
                  </a:lnTo>
                  <a:lnTo>
                    <a:pt x="225" y="134"/>
                  </a:lnTo>
                  <a:lnTo>
                    <a:pt x="230" y="141"/>
                  </a:lnTo>
                  <a:lnTo>
                    <a:pt x="231" y="141"/>
                  </a:lnTo>
                  <a:lnTo>
                    <a:pt x="228" y="150"/>
                  </a:lnTo>
                  <a:lnTo>
                    <a:pt x="221" y="162"/>
                  </a:lnTo>
                  <a:lnTo>
                    <a:pt x="230" y="177"/>
                  </a:lnTo>
                  <a:lnTo>
                    <a:pt x="244" y="186"/>
                  </a:lnTo>
                  <a:lnTo>
                    <a:pt x="244" y="197"/>
                  </a:lnTo>
                  <a:lnTo>
                    <a:pt x="250" y="200"/>
                  </a:lnTo>
                  <a:lnTo>
                    <a:pt x="250" y="202"/>
                  </a:lnTo>
                  <a:lnTo>
                    <a:pt x="247" y="208"/>
                  </a:lnTo>
                  <a:lnTo>
                    <a:pt x="237" y="212"/>
                  </a:lnTo>
                  <a:lnTo>
                    <a:pt x="233" y="217"/>
                  </a:lnTo>
                  <a:lnTo>
                    <a:pt x="230" y="230"/>
                  </a:lnTo>
                  <a:lnTo>
                    <a:pt x="228" y="230"/>
                  </a:lnTo>
                  <a:lnTo>
                    <a:pt x="173" y="223"/>
                  </a:lnTo>
                  <a:lnTo>
                    <a:pt x="167" y="205"/>
                  </a:lnTo>
                  <a:lnTo>
                    <a:pt x="161" y="202"/>
                  </a:lnTo>
                  <a:lnTo>
                    <a:pt x="138" y="211"/>
                  </a:lnTo>
                  <a:lnTo>
                    <a:pt x="124" y="208"/>
                  </a:lnTo>
                  <a:lnTo>
                    <a:pt x="123" y="208"/>
                  </a:lnTo>
                  <a:lnTo>
                    <a:pt x="121" y="205"/>
                  </a:lnTo>
                  <a:lnTo>
                    <a:pt x="113" y="202"/>
                  </a:lnTo>
                  <a:lnTo>
                    <a:pt x="108" y="196"/>
                  </a:lnTo>
                  <a:lnTo>
                    <a:pt x="96" y="191"/>
                  </a:lnTo>
                  <a:lnTo>
                    <a:pt x="95" y="191"/>
                  </a:lnTo>
                  <a:lnTo>
                    <a:pt x="95" y="190"/>
                  </a:lnTo>
                  <a:lnTo>
                    <a:pt x="89" y="177"/>
                  </a:lnTo>
                  <a:lnTo>
                    <a:pt x="84" y="172"/>
                  </a:lnTo>
                  <a:lnTo>
                    <a:pt x="77" y="157"/>
                  </a:lnTo>
                  <a:lnTo>
                    <a:pt x="71" y="160"/>
                  </a:lnTo>
                  <a:lnTo>
                    <a:pt x="62" y="151"/>
                  </a:lnTo>
                  <a:lnTo>
                    <a:pt x="59" y="159"/>
                  </a:lnTo>
                  <a:lnTo>
                    <a:pt x="50" y="151"/>
                  </a:lnTo>
                  <a:lnTo>
                    <a:pt x="49" y="146"/>
                  </a:lnTo>
                  <a:lnTo>
                    <a:pt x="46" y="144"/>
                  </a:lnTo>
                  <a:lnTo>
                    <a:pt x="44" y="144"/>
                  </a:lnTo>
                  <a:lnTo>
                    <a:pt x="44" y="143"/>
                  </a:lnTo>
                  <a:lnTo>
                    <a:pt x="46" y="131"/>
                  </a:lnTo>
                  <a:lnTo>
                    <a:pt x="41" y="122"/>
                  </a:lnTo>
                  <a:lnTo>
                    <a:pt x="25" y="111"/>
                  </a:lnTo>
                  <a:lnTo>
                    <a:pt x="16" y="97"/>
                  </a:lnTo>
                  <a:lnTo>
                    <a:pt x="19" y="88"/>
                  </a:lnTo>
                  <a:lnTo>
                    <a:pt x="25" y="77"/>
                  </a:lnTo>
                  <a:lnTo>
                    <a:pt x="25" y="73"/>
                  </a:lnTo>
                  <a:lnTo>
                    <a:pt x="28" y="68"/>
                  </a:lnTo>
                  <a:lnTo>
                    <a:pt x="18" y="64"/>
                  </a:lnTo>
                  <a:lnTo>
                    <a:pt x="9" y="52"/>
                  </a:lnTo>
                  <a:lnTo>
                    <a:pt x="9" y="40"/>
                  </a:lnTo>
                  <a:lnTo>
                    <a:pt x="3" y="36"/>
                  </a:lnTo>
                  <a:lnTo>
                    <a:pt x="1" y="36"/>
                  </a:lnTo>
                  <a:lnTo>
                    <a:pt x="1" y="15"/>
                  </a:lnTo>
                  <a:lnTo>
                    <a:pt x="0" y="9"/>
                  </a:lnTo>
                  <a:lnTo>
                    <a:pt x="0" y="8"/>
                  </a:lnTo>
                  <a:lnTo>
                    <a:pt x="6" y="2"/>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4" name="Bangladesh">
              <a:extLst>
                <a:ext uri="{FF2B5EF4-FFF2-40B4-BE49-F238E27FC236}">
                  <a16:creationId xmlns:a16="http://schemas.microsoft.com/office/drawing/2014/main" id="{FCAE6911-668D-D0E2-5F00-5C5EBEA067D7}"/>
                </a:ext>
              </a:extLst>
            </p:cNvPr>
            <p:cNvSpPr>
              <a:spLocks/>
            </p:cNvSpPr>
            <p:nvPr/>
          </p:nvSpPr>
          <p:spPr bwMode="auto">
            <a:xfrm>
              <a:off x="7898543" y="3940479"/>
              <a:ext cx="113845" cy="148179"/>
            </a:xfrm>
            <a:custGeom>
              <a:avLst/>
              <a:gdLst>
                <a:gd name="T0" fmla="*/ 7 w 63"/>
                <a:gd name="T1" fmla="*/ 0 h 82"/>
                <a:gd name="T2" fmla="*/ 8 w 63"/>
                <a:gd name="T3" fmla="*/ 0 h 82"/>
                <a:gd name="T4" fmla="*/ 11 w 63"/>
                <a:gd name="T5" fmla="*/ 6 h 82"/>
                <a:gd name="T6" fmla="*/ 14 w 63"/>
                <a:gd name="T7" fmla="*/ 2 h 82"/>
                <a:gd name="T8" fmla="*/ 17 w 63"/>
                <a:gd name="T9" fmla="*/ 8 h 82"/>
                <a:gd name="T10" fmla="*/ 20 w 63"/>
                <a:gd name="T11" fmla="*/ 8 h 82"/>
                <a:gd name="T12" fmla="*/ 20 w 63"/>
                <a:gd name="T13" fmla="*/ 5 h 82"/>
                <a:gd name="T14" fmla="*/ 22 w 63"/>
                <a:gd name="T15" fmla="*/ 5 h 82"/>
                <a:gd name="T16" fmla="*/ 25 w 63"/>
                <a:gd name="T17" fmla="*/ 15 h 82"/>
                <a:gd name="T18" fmla="*/ 29 w 63"/>
                <a:gd name="T19" fmla="*/ 18 h 82"/>
                <a:gd name="T20" fmla="*/ 57 w 63"/>
                <a:gd name="T21" fmla="*/ 21 h 82"/>
                <a:gd name="T22" fmla="*/ 57 w 63"/>
                <a:gd name="T23" fmla="*/ 22 h 82"/>
                <a:gd name="T24" fmla="*/ 43 w 63"/>
                <a:gd name="T25" fmla="*/ 39 h 82"/>
                <a:gd name="T26" fmla="*/ 46 w 63"/>
                <a:gd name="T27" fmla="*/ 46 h 82"/>
                <a:gd name="T28" fmla="*/ 49 w 63"/>
                <a:gd name="T29" fmla="*/ 49 h 82"/>
                <a:gd name="T30" fmla="*/ 56 w 63"/>
                <a:gd name="T31" fmla="*/ 40 h 82"/>
                <a:gd name="T32" fmla="*/ 57 w 63"/>
                <a:gd name="T33" fmla="*/ 40 h 82"/>
                <a:gd name="T34" fmla="*/ 63 w 63"/>
                <a:gd name="T35" fmla="*/ 67 h 82"/>
                <a:gd name="T36" fmla="*/ 63 w 63"/>
                <a:gd name="T37" fmla="*/ 76 h 82"/>
                <a:gd name="T38" fmla="*/ 59 w 63"/>
                <a:gd name="T39" fmla="*/ 76 h 82"/>
                <a:gd name="T40" fmla="*/ 59 w 63"/>
                <a:gd name="T41" fmla="*/ 82 h 82"/>
                <a:gd name="T42" fmla="*/ 57 w 63"/>
                <a:gd name="T43" fmla="*/ 82 h 82"/>
                <a:gd name="T44" fmla="*/ 57 w 63"/>
                <a:gd name="T45" fmla="*/ 80 h 82"/>
                <a:gd name="T46" fmla="*/ 51 w 63"/>
                <a:gd name="T47" fmla="*/ 63 h 82"/>
                <a:gd name="T48" fmla="*/ 49 w 63"/>
                <a:gd name="T49" fmla="*/ 57 h 82"/>
                <a:gd name="T50" fmla="*/ 41 w 63"/>
                <a:gd name="T51" fmla="*/ 57 h 82"/>
                <a:gd name="T52" fmla="*/ 38 w 63"/>
                <a:gd name="T53" fmla="*/ 54 h 82"/>
                <a:gd name="T54" fmla="*/ 35 w 63"/>
                <a:gd name="T55" fmla="*/ 57 h 82"/>
                <a:gd name="T56" fmla="*/ 35 w 63"/>
                <a:gd name="T57" fmla="*/ 63 h 82"/>
                <a:gd name="T58" fmla="*/ 32 w 63"/>
                <a:gd name="T59" fmla="*/ 68 h 82"/>
                <a:gd name="T60" fmla="*/ 31 w 63"/>
                <a:gd name="T61" fmla="*/ 68 h 82"/>
                <a:gd name="T62" fmla="*/ 28 w 63"/>
                <a:gd name="T63" fmla="*/ 65 h 82"/>
                <a:gd name="T64" fmla="*/ 25 w 63"/>
                <a:gd name="T65" fmla="*/ 70 h 82"/>
                <a:gd name="T66" fmla="*/ 23 w 63"/>
                <a:gd name="T67" fmla="*/ 70 h 82"/>
                <a:gd name="T68" fmla="*/ 23 w 63"/>
                <a:gd name="T69" fmla="*/ 68 h 82"/>
                <a:gd name="T70" fmla="*/ 22 w 63"/>
                <a:gd name="T71" fmla="*/ 68 h 82"/>
                <a:gd name="T72" fmla="*/ 14 w 63"/>
                <a:gd name="T73" fmla="*/ 71 h 82"/>
                <a:gd name="T74" fmla="*/ 13 w 63"/>
                <a:gd name="T75" fmla="*/ 71 h 82"/>
                <a:gd name="T76" fmla="*/ 7 w 63"/>
                <a:gd name="T77" fmla="*/ 42 h 82"/>
                <a:gd name="T78" fmla="*/ 7 w 63"/>
                <a:gd name="T79" fmla="*/ 33 h 82"/>
                <a:gd name="T80" fmla="*/ 0 w 63"/>
                <a:gd name="T81" fmla="*/ 27 h 82"/>
                <a:gd name="T82" fmla="*/ 0 w 63"/>
                <a:gd name="T83" fmla="*/ 25 h 82"/>
                <a:gd name="T84" fmla="*/ 4 w 63"/>
                <a:gd name="T85" fmla="*/ 20 h 82"/>
                <a:gd name="T86" fmla="*/ 10 w 63"/>
                <a:gd name="T87" fmla="*/ 20 h 82"/>
                <a:gd name="T88" fmla="*/ 8 w 63"/>
                <a:gd name="T89" fmla="*/ 15 h 82"/>
                <a:gd name="T90" fmla="*/ 4 w 63"/>
                <a:gd name="T91" fmla="*/ 15 h 82"/>
                <a:gd name="T92" fmla="*/ 3 w 63"/>
                <a:gd name="T93" fmla="*/ 11 h 82"/>
                <a:gd name="T94" fmla="*/ 7 w 63"/>
                <a:gd name="T9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 h="82">
                  <a:moveTo>
                    <a:pt x="7" y="0"/>
                  </a:moveTo>
                  <a:lnTo>
                    <a:pt x="8" y="0"/>
                  </a:lnTo>
                  <a:lnTo>
                    <a:pt x="11" y="6"/>
                  </a:lnTo>
                  <a:lnTo>
                    <a:pt x="14" y="2"/>
                  </a:lnTo>
                  <a:lnTo>
                    <a:pt x="17" y="8"/>
                  </a:lnTo>
                  <a:lnTo>
                    <a:pt x="20" y="8"/>
                  </a:lnTo>
                  <a:lnTo>
                    <a:pt x="20" y="5"/>
                  </a:lnTo>
                  <a:lnTo>
                    <a:pt x="22" y="5"/>
                  </a:lnTo>
                  <a:lnTo>
                    <a:pt x="25" y="15"/>
                  </a:lnTo>
                  <a:lnTo>
                    <a:pt x="29" y="18"/>
                  </a:lnTo>
                  <a:lnTo>
                    <a:pt x="57" y="21"/>
                  </a:lnTo>
                  <a:lnTo>
                    <a:pt x="57" y="22"/>
                  </a:lnTo>
                  <a:lnTo>
                    <a:pt x="43" y="39"/>
                  </a:lnTo>
                  <a:lnTo>
                    <a:pt x="46" y="46"/>
                  </a:lnTo>
                  <a:lnTo>
                    <a:pt x="49" y="49"/>
                  </a:lnTo>
                  <a:lnTo>
                    <a:pt x="56" y="40"/>
                  </a:lnTo>
                  <a:lnTo>
                    <a:pt x="57" y="40"/>
                  </a:lnTo>
                  <a:lnTo>
                    <a:pt x="63" y="67"/>
                  </a:lnTo>
                  <a:lnTo>
                    <a:pt x="63" y="76"/>
                  </a:lnTo>
                  <a:lnTo>
                    <a:pt x="59" y="76"/>
                  </a:lnTo>
                  <a:lnTo>
                    <a:pt x="59" y="82"/>
                  </a:lnTo>
                  <a:lnTo>
                    <a:pt x="57" y="82"/>
                  </a:lnTo>
                  <a:lnTo>
                    <a:pt x="57" y="80"/>
                  </a:lnTo>
                  <a:lnTo>
                    <a:pt x="51" y="63"/>
                  </a:lnTo>
                  <a:lnTo>
                    <a:pt x="49" y="57"/>
                  </a:lnTo>
                  <a:lnTo>
                    <a:pt x="41" y="57"/>
                  </a:lnTo>
                  <a:lnTo>
                    <a:pt x="38" y="54"/>
                  </a:lnTo>
                  <a:lnTo>
                    <a:pt x="35" y="57"/>
                  </a:lnTo>
                  <a:lnTo>
                    <a:pt x="35" y="63"/>
                  </a:lnTo>
                  <a:lnTo>
                    <a:pt x="32" y="68"/>
                  </a:lnTo>
                  <a:lnTo>
                    <a:pt x="31" y="68"/>
                  </a:lnTo>
                  <a:lnTo>
                    <a:pt x="28" y="65"/>
                  </a:lnTo>
                  <a:lnTo>
                    <a:pt x="25" y="70"/>
                  </a:lnTo>
                  <a:lnTo>
                    <a:pt x="23" y="70"/>
                  </a:lnTo>
                  <a:lnTo>
                    <a:pt x="23" y="68"/>
                  </a:lnTo>
                  <a:lnTo>
                    <a:pt x="22" y="68"/>
                  </a:lnTo>
                  <a:lnTo>
                    <a:pt x="14" y="71"/>
                  </a:lnTo>
                  <a:lnTo>
                    <a:pt x="13" y="71"/>
                  </a:lnTo>
                  <a:lnTo>
                    <a:pt x="7" y="42"/>
                  </a:lnTo>
                  <a:lnTo>
                    <a:pt x="7" y="33"/>
                  </a:lnTo>
                  <a:lnTo>
                    <a:pt x="0" y="27"/>
                  </a:lnTo>
                  <a:lnTo>
                    <a:pt x="0" y="25"/>
                  </a:lnTo>
                  <a:lnTo>
                    <a:pt x="4" y="20"/>
                  </a:lnTo>
                  <a:lnTo>
                    <a:pt x="10" y="20"/>
                  </a:lnTo>
                  <a:lnTo>
                    <a:pt x="8" y="15"/>
                  </a:lnTo>
                  <a:lnTo>
                    <a:pt x="4" y="15"/>
                  </a:lnTo>
                  <a:lnTo>
                    <a:pt x="3" y="11"/>
                  </a:lnTo>
                  <a:lnTo>
                    <a:pt x="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5" name="Bhutan">
              <a:extLst>
                <a:ext uri="{FF2B5EF4-FFF2-40B4-BE49-F238E27FC236}">
                  <a16:creationId xmlns:a16="http://schemas.microsoft.com/office/drawing/2014/main" id="{5A7B27B0-2162-5A9B-DB19-A62C3AA5C1C5}"/>
                </a:ext>
              </a:extLst>
            </p:cNvPr>
            <p:cNvSpPr>
              <a:spLocks/>
            </p:cNvSpPr>
            <p:nvPr/>
          </p:nvSpPr>
          <p:spPr bwMode="auto">
            <a:xfrm>
              <a:off x="7918421" y="3895302"/>
              <a:ext cx="83124" cy="43369"/>
            </a:xfrm>
            <a:custGeom>
              <a:avLst/>
              <a:gdLst>
                <a:gd name="T0" fmla="*/ 17 w 46"/>
                <a:gd name="T1" fmla="*/ 0 h 24"/>
                <a:gd name="T2" fmla="*/ 36 w 46"/>
                <a:gd name="T3" fmla="*/ 5 h 24"/>
                <a:gd name="T4" fmla="*/ 40 w 46"/>
                <a:gd name="T5" fmla="*/ 7 h 24"/>
                <a:gd name="T6" fmla="*/ 40 w 46"/>
                <a:gd name="T7" fmla="*/ 10 h 24"/>
                <a:gd name="T8" fmla="*/ 46 w 46"/>
                <a:gd name="T9" fmla="*/ 13 h 24"/>
                <a:gd name="T10" fmla="*/ 46 w 46"/>
                <a:gd name="T11" fmla="*/ 15 h 24"/>
                <a:gd name="T12" fmla="*/ 43 w 46"/>
                <a:gd name="T13" fmla="*/ 21 h 24"/>
                <a:gd name="T14" fmla="*/ 40 w 46"/>
                <a:gd name="T15" fmla="*/ 21 h 24"/>
                <a:gd name="T16" fmla="*/ 33 w 46"/>
                <a:gd name="T17" fmla="*/ 22 h 24"/>
                <a:gd name="T18" fmla="*/ 23 w 46"/>
                <a:gd name="T19" fmla="*/ 22 h 24"/>
                <a:gd name="T20" fmla="*/ 15 w 46"/>
                <a:gd name="T21" fmla="*/ 24 h 24"/>
                <a:gd name="T22" fmla="*/ 12 w 46"/>
                <a:gd name="T23" fmla="*/ 24 h 24"/>
                <a:gd name="T24" fmla="*/ 2 w 46"/>
                <a:gd name="T25" fmla="*/ 21 h 24"/>
                <a:gd name="T26" fmla="*/ 0 w 46"/>
                <a:gd name="T27" fmla="*/ 18 h 24"/>
                <a:gd name="T28" fmla="*/ 0 w 46"/>
                <a:gd name="T29" fmla="*/ 16 h 24"/>
                <a:gd name="T30" fmla="*/ 17 w 46"/>
                <a:gd name="T3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24">
                  <a:moveTo>
                    <a:pt x="17" y="0"/>
                  </a:moveTo>
                  <a:lnTo>
                    <a:pt x="36" y="5"/>
                  </a:lnTo>
                  <a:lnTo>
                    <a:pt x="40" y="7"/>
                  </a:lnTo>
                  <a:lnTo>
                    <a:pt x="40" y="10"/>
                  </a:lnTo>
                  <a:lnTo>
                    <a:pt x="46" y="13"/>
                  </a:lnTo>
                  <a:lnTo>
                    <a:pt x="46" y="15"/>
                  </a:lnTo>
                  <a:lnTo>
                    <a:pt x="43" y="21"/>
                  </a:lnTo>
                  <a:lnTo>
                    <a:pt x="40" y="21"/>
                  </a:lnTo>
                  <a:lnTo>
                    <a:pt x="33" y="22"/>
                  </a:lnTo>
                  <a:lnTo>
                    <a:pt x="23" y="22"/>
                  </a:lnTo>
                  <a:lnTo>
                    <a:pt x="15" y="24"/>
                  </a:lnTo>
                  <a:lnTo>
                    <a:pt x="12" y="24"/>
                  </a:lnTo>
                  <a:lnTo>
                    <a:pt x="2" y="21"/>
                  </a:lnTo>
                  <a:lnTo>
                    <a:pt x="0" y="18"/>
                  </a:lnTo>
                  <a:lnTo>
                    <a:pt x="0" y="16"/>
                  </a:lnTo>
                  <a:lnTo>
                    <a:pt x="1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6" name="Myanmar">
              <a:extLst>
                <a:ext uri="{FF2B5EF4-FFF2-40B4-BE49-F238E27FC236}">
                  <a16:creationId xmlns:a16="http://schemas.microsoft.com/office/drawing/2014/main" id="{FE8C7997-E719-B384-FB46-D0210A5F033A}"/>
                </a:ext>
              </a:extLst>
            </p:cNvPr>
            <p:cNvSpPr>
              <a:spLocks/>
            </p:cNvSpPr>
            <p:nvPr/>
          </p:nvSpPr>
          <p:spPr bwMode="auto">
            <a:xfrm>
              <a:off x="8001547" y="3895302"/>
              <a:ext cx="211427" cy="455380"/>
            </a:xfrm>
            <a:custGeom>
              <a:avLst/>
              <a:gdLst>
                <a:gd name="T0" fmla="*/ 72 w 117"/>
                <a:gd name="T1" fmla="*/ 0 h 252"/>
                <a:gd name="T2" fmla="*/ 80 w 117"/>
                <a:gd name="T3" fmla="*/ 10 h 252"/>
                <a:gd name="T4" fmla="*/ 83 w 117"/>
                <a:gd name="T5" fmla="*/ 12 h 252"/>
                <a:gd name="T6" fmla="*/ 86 w 117"/>
                <a:gd name="T7" fmla="*/ 33 h 252"/>
                <a:gd name="T8" fmla="*/ 72 w 117"/>
                <a:gd name="T9" fmla="*/ 64 h 252"/>
                <a:gd name="T10" fmla="*/ 88 w 117"/>
                <a:gd name="T11" fmla="*/ 59 h 252"/>
                <a:gd name="T12" fmla="*/ 89 w 117"/>
                <a:gd name="T13" fmla="*/ 71 h 252"/>
                <a:gd name="T14" fmla="*/ 97 w 117"/>
                <a:gd name="T15" fmla="*/ 77 h 252"/>
                <a:gd name="T16" fmla="*/ 101 w 117"/>
                <a:gd name="T17" fmla="*/ 89 h 252"/>
                <a:gd name="T18" fmla="*/ 115 w 117"/>
                <a:gd name="T19" fmla="*/ 92 h 252"/>
                <a:gd name="T20" fmla="*/ 106 w 117"/>
                <a:gd name="T21" fmla="*/ 108 h 252"/>
                <a:gd name="T22" fmla="*/ 88 w 117"/>
                <a:gd name="T23" fmla="*/ 123 h 252"/>
                <a:gd name="T24" fmla="*/ 73 w 117"/>
                <a:gd name="T25" fmla="*/ 141 h 252"/>
                <a:gd name="T26" fmla="*/ 83 w 117"/>
                <a:gd name="T27" fmla="*/ 157 h 252"/>
                <a:gd name="T28" fmla="*/ 86 w 117"/>
                <a:gd name="T29" fmla="*/ 171 h 252"/>
                <a:gd name="T30" fmla="*/ 88 w 117"/>
                <a:gd name="T31" fmla="*/ 172 h 252"/>
                <a:gd name="T32" fmla="*/ 80 w 117"/>
                <a:gd name="T33" fmla="*/ 193 h 252"/>
                <a:gd name="T34" fmla="*/ 91 w 117"/>
                <a:gd name="T35" fmla="*/ 212 h 252"/>
                <a:gd name="T36" fmla="*/ 88 w 117"/>
                <a:gd name="T37" fmla="*/ 242 h 252"/>
                <a:gd name="T38" fmla="*/ 86 w 117"/>
                <a:gd name="T39" fmla="*/ 252 h 252"/>
                <a:gd name="T40" fmla="*/ 85 w 117"/>
                <a:gd name="T41" fmla="*/ 251 h 252"/>
                <a:gd name="T42" fmla="*/ 82 w 117"/>
                <a:gd name="T43" fmla="*/ 249 h 252"/>
                <a:gd name="T44" fmla="*/ 83 w 117"/>
                <a:gd name="T45" fmla="*/ 228 h 252"/>
                <a:gd name="T46" fmla="*/ 82 w 117"/>
                <a:gd name="T47" fmla="*/ 227 h 252"/>
                <a:gd name="T48" fmla="*/ 83 w 117"/>
                <a:gd name="T49" fmla="*/ 215 h 252"/>
                <a:gd name="T50" fmla="*/ 79 w 117"/>
                <a:gd name="T51" fmla="*/ 206 h 252"/>
                <a:gd name="T52" fmla="*/ 73 w 117"/>
                <a:gd name="T53" fmla="*/ 187 h 252"/>
                <a:gd name="T54" fmla="*/ 61 w 117"/>
                <a:gd name="T55" fmla="*/ 162 h 252"/>
                <a:gd name="T56" fmla="*/ 60 w 117"/>
                <a:gd name="T57" fmla="*/ 165 h 252"/>
                <a:gd name="T58" fmla="*/ 37 w 117"/>
                <a:gd name="T59" fmla="*/ 176 h 252"/>
                <a:gd name="T60" fmla="*/ 30 w 117"/>
                <a:gd name="T61" fmla="*/ 175 h 252"/>
                <a:gd name="T62" fmla="*/ 27 w 117"/>
                <a:gd name="T63" fmla="*/ 174 h 252"/>
                <a:gd name="T64" fmla="*/ 26 w 117"/>
                <a:gd name="T65" fmla="*/ 172 h 252"/>
                <a:gd name="T66" fmla="*/ 27 w 117"/>
                <a:gd name="T67" fmla="*/ 141 h 252"/>
                <a:gd name="T68" fmla="*/ 23 w 117"/>
                <a:gd name="T69" fmla="*/ 133 h 252"/>
                <a:gd name="T70" fmla="*/ 17 w 117"/>
                <a:gd name="T71" fmla="*/ 129 h 252"/>
                <a:gd name="T72" fmla="*/ 20 w 117"/>
                <a:gd name="T73" fmla="*/ 126 h 252"/>
                <a:gd name="T74" fmla="*/ 9 w 117"/>
                <a:gd name="T75" fmla="*/ 119 h 252"/>
                <a:gd name="T76" fmla="*/ 0 w 117"/>
                <a:gd name="T77" fmla="*/ 99 h 252"/>
                <a:gd name="T78" fmla="*/ 5 w 117"/>
                <a:gd name="T79" fmla="*/ 90 h 252"/>
                <a:gd name="T80" fmla="*/ 9 w 117"/>
                <a:gd name="T81" fmla="*/ 80 h 252"/>
                <a:gd name="T82" fmla="*/ 11 w 117"/>
                <a:gd name="T83" fmla="*/ 77 h 252"/>
                <a:gd name="T84" fmla="*/ 14 w 117"/>
                <a:gd name="T85" fmla="*/ 65 h 252"/>
                <a:gd name="T86" fmla="*/ 26 w 117"/>
                <a:gd name="T87" fmla="*/ 62 h 252"/>
                <a:gd name="T88" fmla="*/ 39 w 117"/>
                <a:gd name="T89" fmla="*/ 36 h 252"/>
                <a:gd name="T90" fmla="*/ 51 w 117"/>
                <a:gd name="T91" fmla="*/ 16 h 252"/>
                <a:gd name="T92" fmla="*/ 63 w 117"/>
                <a:gd name="T93" fmla="*/ 7 h 252"/>
                <a:gd name="T94" fmla="*/ 67 w 117"/>
                <a:gd name="T95" fmla="*/ 5 h 252"/>
                <a:gd name="T96" fmla="*/ 70 w 117"/>
                <a:gd name="T9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7" h="252">
                  <a:moveTo>
                    <a:pt x="70" y="0"/>
                  </a:moveTo>
                  <a:lnTo>
                    <a:pt x="72" y="0"/>
                  </a:lnTo>
                  <a:lnTo>
                    <a:pt x="75" y="2"/>
                  </a:lnTo>
                  <a:lnTo>
                    <a:pt x="80" y="10"/>
                  </a:lnTo>
                  <a:lnTo>
                    <a:pt x="83" y="10"/>
                  </a:lnTo>
                  <a:lnTo>
                    <a:pt x="83" y="12"/>
                  </a:lnTo>
                  <a:lnTo>
                    <a:pt x="86" y="24"/>
                  </a:lnTo>
                  <a:lnTo>
                    <a:pt x="86" y="33"/>
                  </a:lnTo>
                  <a:lnTo>
                    <a:pt x="75" y="47"/>
                  </a:lnTo>
                  <a:lnTo>
                    <a:pt x="72" y="64"/>
                  </a:lnTo>
                  <a:lnTo>
                    <a:pt x="80" y="59"/>
                  </a:lnTo>
                  <a:lnTo>
                    <a:pt x="88" y="59"/>
                  </a:lnTo>
                  <a:lnTo>
                    <a:pt x="88" y="61"/>
                  </a:lnTo>
                  <a:lnTo>
                    <a:pt x="89" y="71"/>
                  </a:lnTo>
                  <a:lnTo>
                    <a:pt x="97" y="76"/>
                  </a:lnTo>
                  <a:lnTo>
                    <a:pt x="97" y="77"/>
                  </a:lnTo>
                  <a:lnTo>
                    <a:pt x="94" y="86"/>
                  </a:lnTo>
                  <a:lnTo>
                    <a:pt x="101" y="89"/>
                  </a:lnTo>
                  <a:lnTo>
                    <a:pt x="106" y="95"/>
                  </a:lnTo>
                  <a:lnTo>
                    <a:pt x="115" y="92"/>
                  </a:lnTo>
                  <a:lnTo>
                    <a:pt x="117" y="95"/>
                  </a:lnTo>
                  <a:lnTo>
                    <a:pt x="106" y="108"/>
                  </a:lnTo>
                  <a:lnTo>
                    <a:pt x="101" y="114"/>
                  </a:lnTo>
                  <a:lnTo>
                    <a:pt x="88" y="123"/>
                  </a:lnTo>
                  <a:lnTo>
                    <a:pt x="77" y="125"/>
                  </a:lnTo>
                  <a:lnTo>
                    <a:pt x="73" y="141"/>
                  </a:lnTo>
                  <a:lnTo>
                    <a:pt x="76" y="151"/>
                  </a:lnTo>
                  <a:lnTo>
                    <a:pt x="83" y="157"/>
                  </a:lnTo>
                  <a:lnTo>
                    <a:pt x="83" y="168"/>
                  </a:lnTo>
                  <a:lnTo>
                    <a:pt x="86" y="171"/>
                  </a:lnTo>
                  <a:lnTo>
                    <a:pt x="88" y="171"/>
                  </a:lnTo>
                  <a:lnTo>
                    <a:pt x="88" y="172"/>
                  </a:lnTo>
                  <a:lnTo>
                    <a:pt x="80" y="188"/>
                  </a:lnTo>
                  <a:lnTo>
                    <a:pt x="80" y="193"/>
                  </a:lnTo>
                  <a:lnTo>
                    <a:pt x="91" y="200"/>
                  </a:lnTo>
                  <a:lnTo>
                    <a:pt x="91" y="212"/>
                  </a:lnTo>
                  <a:lnTo>
                    <a:pt x="98" y="228"/>
                  </a:lnTo>
                  <a:lnTo>
                    <a:pt x="88" y="242"/>
                  </a:lnTo>
                  <a:lnTo>
                    <a:pt x="86" y="251"/>
                  </a:lnTo>
                  <a:lnTo>
                    <a:pt x="86" y="252"/>
                  </a:lnTo>
                  <a:lnTo>
                    <a:pt x="85" y="252"/>
                  </a:lnTo>
                  <a:lnTo>
                    <a:pt x="85" y="251"/>
                  </a:lnTo>
                  <a:lnTo>
                    <a:pt x="83" y="249"/>
                  </a:lnTo>
                  <a:lnTo>
                    <a:pt x="82" y="249"/>
                  </a:lnTo>
                  <a:lnTo>
                    <a:pt x="86" y="230"/>
                  </a:lnTo>
                  <a:lnTo>
                    <a:pt x="83" y="228"/>
                  </a:lnTo>
                  <a:lnTo>
                    <a:pt x="82" y="228"/>
                  </a:lnTo>
                  <a:lnTo>
                    <a:pt x="82" y="227"/>
                  </a:lnTo>
                  <a:lnTo>
                    <a:pt x="85" y="225"/>
                  </a:lnTo>
                  <a:lnTo>
                    <a:pt x="83" y="215"/>
                  </a:lnTo>
                  <a:lnTo>
                    <a:pt x="80" y="205"/>
                  </a:lnTo>
                  <a:lnTo>
                    <a:pt x="79" y="206"/>
                  </a:lnTo>
                  <a:lnTo>
                    <a:pt x="79" y="205"/>
                  </a:lnTo>
                  <a:lnTo>
                    <a:pt x="73" y="187"/>
                  </a:lnTo>
                  <a:lnTo>
                    <a:pt x="72" y="166"/>
                  </a:lnTo>
                  <a:lnTo>
                    <a:pt x="61" y="162"/>
                  </a:lnTo>
                  <a:lnTo>
                    <a:pt x="60" y="159"/>
                  </a:lnTo>
                  <a:lnTo>
                    <a:pt x="60" y="165"/>
                  </a:lnTo>
                  <a:lnTo>
                    <a:pt x="40" y="176"/>
                  </a:lnTo>
                  <a:lnTo>
                    <a:pt x="37" y="176"/>
                  </a:lnTo>
                  <a:lnTo>
                    <a:pt x="33" y="175"/>
                  </a:lnTo>
                  <a:lnTo>
                    <a:pt x="30" y="175"/>
                  </a:lnTo>
                  <a:lnTo>
                    <a:pt x="30" y="172"/>
                  </a:lnTo>
                  <a:lnTo>
                    <a:pt x="27" y="174"/>
                  </a:lnTo>
                  <a:lnTo>
                    <a:pt x="26" y="174"/>
                  </a:lnTo>
                  <a:lnTo>
                    <a:pt x="26" y="172"/>
                  </a:lnTo>
                  <a:lnTo>
                    <a:pt x="30" y="157"/>
                  </a:lnTo>
                  <a:lnTo>
                    <a:pt x="27" y="141"/>
                  </a:lnTo>
                  <a:lnTo>
                    <a:pt x="23" y="132"/>
                  </a:lnTo>
                  <a:lnTo>
                    <a:pt x="23" y="133"/>
                  </a:lnTo>
                  <a:lnTo>
                    <a:pt x="21" y="133"/>
                  </a:lnTo>
                  <a:lnTo>
                    <a:pt x="17" y="129"/>
                  </a:lnTo>
                  <a:lnTo>
                    <a:pt x="18" y="126"/>
                  </a:lnTo>
                  <a:lnTo>
                    <a:pt x="20" y="126"/>
                  </a:lnTo>
                  <a:lnTo>
                    <a:pt x="18" y="123"/>
                  </a:lnTo>
                  <a:lnTo>
                    <a:pt x="9" y="119"/>
                  </a:lnTo>
                  <a:lnTo>
                    <a:pt x="0" y="105"/>
                  </a:lnTo>
                  <a:lnTo>
                    <a:pt x="0" y="99"/>
                  </a:lnTo>
                  <a:lnTo>
                    <a:pt x="5" y="99"/>
                  </a:lnTo>
                  <a:lnTo>
                    <a:pt x="5" y="90"/>
                  </a:lnTo>
                  <a:lnTo>
                    <a:pt x="11" y="88"/>
                  </a:lnTo>
                  <a:lnTo>
                    <a:pt x="9" y="80"/>
                  </a:lnTo>
                  <a:lnTo>
                    <a:pt x="11" y="79"/>
                  </a:lnTo>
                  <a:lnTo>
                    <a:pt x="11" y="77"/>
                  </a:lnTo>
                  <a:lnTo>
                    <a:pt x="14" y="77"/>
                  </a:lnTo>
                  <a:lnTo>
                    <a:pt x="14" y="65"/>
                  </a:lnTo>
                  <a:lnTo>
                    <a:pt x="15" y="65"/>
                  </a:lnTo>
                  <a:lnTo>
                    <a:pt x="26" y="62"/>
                  </a:lnTo>
                  <a:lnTo>
                    <a:pt x="32" y="45"/>
                  </a:lnTo>
                  <a:lnTo>
                    <a:pt x="39" y="36"/>
                  </a:lnTo>
                  <a:lnTo>
                    <a:pt x="39" y="27"/>
                  </a:lnTo>
                  <a:lnTo>
                    <a:pt x="51" y="16"/>
                  </a:lnTo>
                  <a:lnTo>
                    <a:pt x="63" y="15"/>
                  </a:lnTo>
                  <a:lnTo>
                    <a:pt x="63" y="7"/>
                  </a:lnTo>
                  <a:lnTo>
                    <a:pt x="64" y="7"/>
                  </a:lnTo>
                  <a:lnTo>
                    <a:pt x="67" y="5"/>
                  </a:lnTo>
                  <a:lnTo>
                    <a:pt x="67" y="2"/>
                  </a:lnTo>
                  <a:lnTo>
                    <a:pt x="7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7" name="Laos">
              <a:extLst>
                <a:ext uri="{FF2B5EF4-FFF2-40B4-BE49-F238E27FC236}">
                  <a16:creationId xmlns:a16="http://schemas.microsoft.com/office/drawing/2014/main" id="{12D6C254-0825-7741-1198-E78F16571E6A}"/>
                </a:ext>
              </a:extLst>
            </p:cNvPr>
            <p:cNvSpPr>
              <a:spLocks/>
            </p:cNvSpPr>
            <p:nvPr/>
          </p:nvSpPr>
          <p:spPr bwMode="auto">
            <a:xfrm>
              <a:off x="8189480" y="4045289"/>
              <a:ext cx="175286" cy="215041"/>
            </a:xfrm>
            <a:custGeom>
              <a:avLst/>
              <a:gdLst>
                <a:gd name="T0" fmla="*/ 21 w 97"/>
                <a:gd name="T1" fmla="*/ 0 h 119"/>
                <a:gd name="T2" fmla="*/ 22 w 97"/>
                <a:gd name="T3" fmla="*/ 0 h 119"/>
                <a:gd name="T4" fmla="*/ 28 w 97"/>
                <a:gd name="T5" fmla="*/ 2 h 119"/>
                <a:gd name="T6" fmla="*/ 36 w 97"/>
                <a:gd name="T7" fmla="*/ 12 h 119"/>
                <a:gd name="T8" fmla="*/ 37 w 97"/>
                <a:gd name="T9" fmla="*/ 19 h 119"/>
                <a:gd name="T10" fmla="*/ 40 w 97"/>
                <a:gd name="T11" fmla="*/ 22 h 119"/>
                <a:gd name="T12" fmla="*/ 54 w 97"/>
                <a:gd name="T13" fmla="*/ 22 h 119"/>
                <a:gd name="T14" fmla="*/ 56 w 97"/>
                <a:gd name="T15" fmla="*/ 25 h 119"/>
                <a:gd name="T16" fmla="*/ 61 w 97"/>
                <a:gd name="T17" fmla="*/ 36 h 119"/>
                <a:gd name="T18" fmla="*/ 56 w 97"/>
                <a:gd name="T19" fmla="*/ 40 h 119"/>
                <a:gd name="T20" fmla="*/ 52 w 97"/>
                <a:gd name="T21" fmla="*/ 40 h 119"/>
                <a:gd name="T22" fmla="*/ 51 w 97"/>
                <a:gd name="T23" fmla="*/ 45 h 119"/>
                <a:gd name="T24" fmla="*/ 65 w 97"/>
                <a:gd name="T25" fmla="*/ 53 h 119"/>
                <a:gd name="T26" fmla="*/ 76 w 97"/>
                <a:gd name="T27" fmla="*/ 68 h 119"/>
                <a:gd name="T28" fmla="*/ 82 w 97"/>
                <a:gd name="T29" fmla="*/ 71 h 119"/>
                <a:gd name="T30" fmla="*/ 82 w 97"/>
                <a:gd name="T31" fmla="*/ 73 h 119"/>
                <a:gd name="T32" fmla="*/ 83 w 97"/>
                <a:gd name="T33" fmla="*/ 82 h 119"/>
                <a:gd name="T34" fmla="*/ 92 w 97"/>
                <a:gd name="T35" fmla="*/ 86 h 119"/>
                <a:gd name="T36" fmla="*/ 97 w 97"/>
                <a:gd name="T37" fmla="*/ 99 h 119"/>
                <a:gd name="T38" fmla="*/ 95 w 97"/>
                <a:gd name="T39" fmla="*/ 107 h 119"/>
                <a:gd name="T40" fmla="*/ 95 w 97"/>
                <a:gd name="T41" fmla="*/ 108 h 119"/>
                <a:gd name="T42" fmla="*/ 89 w 97"/>
                <a:gd name="T43" fmla="*/ 113 h 119"/>
                <a:gd name="T44" fmla="*/ 86 w 97"/>
                <a:gd name="T45" fmla="*/ 113 h 119"/>
                <a:gd name="T46" fmla="*/ 85 w 97"/>
                <a:gd name="T47" fmla="*/ 111 h 119"/>
                <a:gd name="T48" fmla="*/ 82 w 97"/>
                <a:gd name="T49" fmla="*/ 111 h 119"/>
                <a:gd name="T50" fmla="*/ 76 w 97"/>
                <a:gd name="T51" fmla="*/ 117 h 119"/>
                <a:gd name="T52" fmla="*/ 76 w 97"/>
                <a:gd name="T53" fmla="*/ 119 h 119"/>
                <a:gd name="T54" fmla="*/ 74 w 97"/>
                <a:gd name="T55" fmla="*/ 119 h 119"/>
                <a:gd name="T56" fmla="*/ 65 w 97"/>
                <a:gd name="T57" fmla="*/ 113 h 119"/>
                <a:gd name="T58" fmla="*/ 68 w 97"/>
                <a:gd name="T59" fmla="*/ 110 h 119"/>
                <a:gd name="T60" fmla="*/ 68 w 97"/>
                <a:gd name="T61" fmla="*/ 95 h 119"/>
                <a:gd name="T62" fmla="*/ 59 w 97"/>
                <a:gd name="T63" fmla="*/ 86 h 119"/>
                <a:gd name="T64" fmla="*/ 56 w 97"/>
                <a:gd name="T65" fmla="*/ 68 h 119"/>
                <a:gd name="T66" fmla="*/ 48 w 97"/>
                <a:gd name="T67" fmla="*/ 58 h 119"/>
                <a:gd name="T68" fmla="*/ 43 w 97"/>
                <a:gd name="T69" fmla="*/ 58 h 119"/>
                <a:gd name="T70" fmla="*/ 39 w 97"/>
                <a:gd name="T71" fmla="*/ 59 h 119"/>
                <a:gd name="T72" fmla="*/ 37 w 97"/>
                <a:gd name="T73" fmla="*/ 62 h 119"/>
                <a:gd name="T74" fmla="*/ 33 w 97"/>
                <a:gd name="T75" fmla="*/ 64 h 119"/>
                <a:gd name="T76" fmla="*/ 31 w 97"/>
                <a:gd name="T77" fmla="*/ 64 h 119"/>
                <a:gd name="T78" fmla="*/ 22 w 97"/>
                <a:gd name="T79" fmla="*/ 61 h 119"/>
                <a:gd name="T80" fmla="*/ 11 w 97"/>
                <a:gd name="T81" fmla="*/ 68 h 119"/>
                <a:gd name="T82" fmla="*/ 9 w 97"/>
                <a:gd name="T83" fmla="*/ 68 h 119"/>
                <a:gd name="T84" fmla="*/ 12 w 97"/>
                <a:gd name="T85" fmla="*/ 42 h 119"/>
                <a:gd name="T86" fmla="*/ 6 w 97"/>
                <a:gd name="T87" fmla="*/ 40 h 119"/>
                <a:gd name="T88" fmla="*/ 5 w 97"/>
                <a:gd name="T89" fmla="*/ 40 h 119"/>
                <a:gd name="T90" fmla="*/ 5 w 97"/>
                <a:gd name="T91" fmla="*/ 31 h 119"/>
                <a:gd name="T92" fmla="*/ 0 w 97"/>
                <a:gd name="T93" fmla="*/ 30 h 119"/>
                <a:gd name="T94" fmla="*/ 0 w 97"/>
                <a:gd name="T95" fmla="*/ 28 h 119"/>
                <a:gd name="T96" fmla="*/ 2 w 97"/>
                <a:gd name="T97" fmla="*/ 25 h 119"/>
                <a:gd name="T98" fmla="*/ 12 w 97"/>
                <a:gd name="T99" fmla="*/ 12 h 119"/>
                <a:gd name="T100" fmla="*/ 13 w 97"/>
                <a:gd name="T101" fmla="*/ 12 h 119"/>
                <a:gd name="T102" fmla="*/ 15 w 97"/>
                <a:gd name="T103" fmla="*/ 18 h 119"/>
                <a:gd name="T104" fmla="*/ 19 w 97"/>
                <a:gd name="T105" fmla="*/ 16 h 119"/>
                <a:gd name="T106" fmla="*/ 18 w 97"/>
                <a:gd name="T107" fmla="*/ 2 h 119"/>
                <a:gd name="T108" fmla="*/ 21 w 9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119">
                  <a:moveTo>
                    <a:pt x="21" y="0"/>
                  </a:moveTo>
                  <a:lnTo>
                    <a:pt x="22" y="0"/>
                  </a:lnTo>
                  <a:lnTo>
                    <a:pt x="28" y="2"/>
                  </a:lnTo>
                  <a:lnTo>
                    <a:pt x="36" y="12"/>
                  </a:lnTo>
                  <a:lnTo>
                    <a:pt x="37" y="19"/>
                  </a:lnTo>
                  <a:lnTo>
                    <a:pt x="40" y="22"/>
                  </a:lnTo>
                  <a:lnTo>
                    <a:pt x="54" y="22"/>
                  </a:lnTo>
                  <a:lnTo>
                    <a:pt x="56" y="25"/>
                  </a:lnTo>
                  <a:lnTo>
                    <a:pt x="61" y="36"/>
                  </a:lnTo>
                  <a:lnTo>
                    <a:pt x="56" y="40"/>
                  </a:lnTo>
                  <a:lnTo>
                    <a:pt x="52" y="40"/>
                  </a:lnTo>
                  <a:lnTo>
                    <a:pt x="51" y="45"/>
                  </a:lnTo>
                  <a:lnTo>
                    <a:pt x="65" y="53"/>
                  </a:lnTo>
                  <a:lnTo>
                    <a:pt x="76" y="68"/>
                  </a:lnTo>
                  <a:lnTo>
                    <a:pt x="82" y="71"/>
                  </a:lnTo>
                  <a:lnTo>
                    <a:pt x="82" y="73"/>
                  </a:lnTo>
                  <a:lnTo>
                    <a:pt x="83" y="82"/>
                  </a:lnTo>
                  <a:lnTo>
                    <a:pt x="92" y="86"/>
                  </a:lnTo>
                  <a:lnTo>
                    <a:pt x="97" y="99"/>
                  </a:lnTo>
                  <a:lnTo>
                    <a:pt x="95" y="107"/>
                  </a:lnTo>
                  <a:lnTo>
                    <a:pt x="95" y="108"/>
                  </a:lnTo>
                  <a:lnTo>
                    <a:pt x="89" y="113"/>
                  </a:lnTo>
                  <a:lnTo>
                    <a:pt x="86" y="113"/>
                  </a:lnTo>
                  <a:lnTo>
                    <a:pt x="85" y="111"/>
                  </a:lnTo>
                  <a:lnTo>
                    <a:pt x="82" y="111"/>
                  </a:lnTo>
                  <a:lnTo>
                    <a:pt x="76" y="117"/>
                  </a:lnTo>
                  <a:lnTo>
                    <a:pt x="76" y="119"/>
                  </a:lnTo>
                  <a:lnTo>
                    <a:pt x="74" y="119"/>
                  </a:lnTo>
                  <a:lnTo>
                    <a:pt x="65" y="113"/>
                  </a:lnTo>
                  <a:lnTo>
                    <a:pt x="68" y="110"/>
                  </a:lnTo>
                  <a:lnTo>
                    <a:pt x="68" y="95"/>
                  </a:lnTo>
                  <a:lnTo>
                    <a:pt x="59" y="86"/>
                  </a:lnTo>
                  <a:lnTo>
                    <a:pt x="56" y="68"/>
                  </a:lnTo>
                  <a:lnTo>
                    <a:pt x="48" y="58"/>
                  </a:lnTo>
                  <a:lnTo>
                    <a:pt x="43" y="58"/>
                  </a:lnTo>
                  <a:lnTo>
                    <a:pt x="39" y="59"/>
                  </a:lnTo>
                  <a:lnTo>
                    <a:pt x="37" y="62"/>
                  </a:lnTo>
                  <a:lnTo>
                    <a:pt x="33" y="64"/>
                  </a:lnTo>
                  <a:lnTo>
                    <a:pt x="31" y="64"/>
                  </a:lnTo>
                  <a:lnTo>
                    <a:pt x="22" y="61"/>
                  </a:lnTo>
                  <a:lnTo>
                    <a:pt x="11" y="68"/>
                  </a:lnTo>
                  <a:lnTo>
                    <a:pt x="9" y="68"/>
                  </a:lnTo>
                  <a:lnTo>
                    <a:pt x="12" y="42"/>
                  </a:lnTo>
                  <a:lnTo>
                    <a:pt x="6" y="40"/>
                  </a:lnTo>
                  <a:lnTo>
                    <a:pt x="5" y="40"/>
                  </a:lnTo>
                  <a:lnTo>
                    <a:pt x="5" y="31"/>
                  </a:lnTo>
                  <a:lnTo>
                    <a:pt x="0" y="30"/>
                  </a:lnTo>
                  <a:lnTo>
                    <a:pt x="0" y="28"/>
                  </a:lnTo>
                  <a:lnTo>
                    <a:pt x="2" y="25"/>
                  </a:lnTo>
                  <a:lnTo>
                    <a:pt x="12" y="12"/>
                  </a:lnTo>
                  <a:lnTo>
                    <a:pt x="13" y="12"/>
                  </a:lnTo>
                  <a:lnTo>
                    <a:pt x="15" y="18"/>
                  </a:lnTo>
                  <a:lnTo>
                    <a:pt x="19" y="16"/>
                  </a:lnTo>
                  <a:lnTo>
                    <a:pt x="18" y="2"/>
                  </a:lnTo>
                  <a:lnTo>
                    <a:pt x="2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8" name="Malaysia - East">
              <a:extLst>
                <a:ext uri="{FF2B5EF4-FFF2-40B4-BE49-F238E27FC236}">
                  <a16:creationId xmlns:a16="http://schemas.microsoft.com/office/drawing/2014/main" id="{138B7F16-2FFB-E707-F3DB-4AA7A514D3EF}"/>
                </a:ext>
              </a:extLst>
            </p:cNvPr>
            <p:cNvSpPr>
              <a:spLocks/>
            </p:cNvSpPr>
            <p:nvPr/>
          </p:nvSpPr>
          <p:spPr bwMode="auto">
            <a:xfrm>
              <a:off x="8411748" y="4426578"/>
              <a:ext cx="231304" cy="140950"/>
            </a:xfrm>
            <a:custGeom>
              <a:avLst/>
              <a:gdLst>
                <a:gd name="T0" fmla="*/ 94 w 128"/>
                <a:gd name="T1" fmla="*/ 0 h 78"/>
                <a:gd name="T2" fmla="*/ 95 w 128"/>
                <a:gd name="T3" fmla="*/ 0 h 78"/>
                <a:gd name="T4" fmla="*/ 95 w 128"/>
                <a:gd name="T5" fmla="*/ 3 h 78"/>
                <a:gd name="T6" fmla="*/ 98 w 128"/>
                <a:gd name="T7" fmla="*/ 0 h 78"/>
                <a:gd name="T8" fmla="*/ 99 w 128"/>
                <a:gd name="T9" fmla="*/ 0 h 78"/>
                <a:gd name="T10" fmla="*/ 102 w 128"/>
                <a:gd name="T11" fmla="*/ 4 h 78"/>
                <a:gd name="T12" fmla="*/ 105 w 128"/>
                <a:gd name="T13" fmla="*/ 6 h 78"/>
                <a:gd name="T14" fmla="*/ 107 w 128"/>
                <a:gd name="T15" fmla="*/ 6 h 78"/>
                <a:gd name="T16" fmla="*/ 107 w 128"/>
                <a:gd name="T17" fmla="*/ 11 h 78"/>
                <a:gd name="T18" fmla="*/ 111 w 128"/>
                <a:gd name="T19" fmla="*/ 11 h 78"/>
                <a:gd name="T20" fmla="*/ 111 w 128"/>
                <a:gd name="T21" fmla="*/ 16 h 78"/>
                <a:gd name="T22" fmla="*/ 114 w 128"/>
                <a:gd name="T23" fmla="*/ 14 h 78"/>
                <a:gd name="T24" fmla="*/ 128 w 128"/>
                <a:gd name="T25" fmla="*/ 22 h 78"/>
                <a:gd name="T26" fmla="*/ 128 w 128"/>
                <a:gd name="T27" fmla="*/ 23 h 78"/>
                <a:gd name="T28" fmla="*/ 120 w 128"/>
                <a:gd name="T29" fmla="*/ 26 h 78"/>
                <a:gd name="T30" fmla="*/ 114 w 128"/>
                <a:gd name="T31" fmla="*/ 26 h 78"/>
                <a:gd name="T32" fmla="*/ 119 w 128"/>
                <a:gd name="T33" fmla="*/ 32 h 78"/>
                <a:gd name="T34" fmla="*/ 119 w 128"/>
                <a:gd name="T35" fmla="*/ 34 h 78"/>
                <a:gd name="T36" fmla="*/ 117 w 128"/>
                <a:gd name="T37" fmla="*/ 34 h 78"/>
                <a:gd name="T38" fmla="*/ 111 w 128"/>
                <a:gd name="T39" fmla="*/ 37 h 78"/>
                <a:gd name="T40" fmla="*/ 107 w 128"/>
                <a:gd name="T41" fmla="*/ 34 h 78"/>
                <a:gd name="T42" fmla="*/ 105 w 128"/>
                <a:gd name="T43" fmla="*/ 37 h 78"/>
                <a:gd name="T44" fmla="*/ 98 w 128"/>
                <a:gd name="T45" fmla="*/ 34 h 78"/>
                <a:gd name="T46" fmla="*/ 82 w 128"/>
                <a:gd name="T47" fmla="*/ 34 h 78"/>
                <a:gd name="T48" fmla="*/ 68 w 128"/>
                <a:gd name="T49" fmla="*/ 65 h 78"/>
                <a:gd name="T50" fmla="*/ 65 w 128"/>
                <a:gd name="T51" fmla="*/ 69 h 78"/>
                <a:gd name="T52" fmla="*/ 61 w 128"/>
                <a:gd name="T53" fmla="*/ 72 h 78"/>
                <a:gd name="T54" fmla="*/ 51 w 128"/>
                <a:gd name="T55" fmla="*/ 75 h 78"/>
                <a:gd name="T56" fmla="*/ 43 w 128"/>
                <a:gd name="T57" fmla="*/ 71 h 78"/>
                <a:gd name="T58" fmla="*/ 37 w 128"/>
                <a:gd name="T59" fmla="*/ 71 h 78"/>
                <a:gd name="T60" fmla="*/ 28 w 128"/>
                <a:gd name="T61" fmla="*/ 78 h 78"/>
                <a:gd name="T62" fmla="*/ 14 w 128"/>
                <a:gd name="T63" fmla="*/ 78 h 78"/>
                <a:gd name="T64" fmla="*/ 6 w 128"/>
                <a:gd name="T65" fmla="*/ 75 h 78"/>
                <a:gd name="T66" fmla="*/ 0 w 128"/>
                <a:gd name="T67" fmla="*/ 63 h 78"/>
                <a:gd name="T68" fmla="*/ 2 w 128"/>
                <a:gd name="T69" fmla="*/ 62 h 78"/>
                <a:gd name="T70" fmla="*/ 8 w 128"/>
                <a:gd name="T71" fmla="*/ 66 h 78"/>
                <a:gd name="T72" fmla="*/ 19 w 128"/>
                <a:gd name="T73" fmla="*/ 68 h 78"/>
                <a:gd name="T74" fmla="*/ 21 w 128"/>
                <a:gd name="T75" fmla="*/ 60 h 78"/>
                <a:gd name="T76" fmla="*/ 21 w 128"/>
                <a:gd name="T77" fmla="*/ 59 h 78"/>
                <a:gd name="T78" fmla="*/ 24 w 128"/>
                <a:gd name="T79" fmla="*/ 59 h 78"/>
                <a:gd name="T80" fmla="*/ 27 w 128"/>
                <a:gd name="T81" fmla="*/ 53 h 78"/>
                <a:gd name="T82" fmla="*/ 27 w 128"/>
                <a:gd name="T83" fmla="*/ 51 h 78"/>
                <a:gd name="T84" fmla="*/ 43 w 128"/>
                <a:gd name="T85" fmla="*/ 50 h 78"/>
                <a:gd name="T86" fmla="*/ 55 w 128"/>
                <a:gd name="T87" fmla="*/ 35 h 78"/>
                <a:gd name="T88" fmla="*/ 58 w 128"/>
                <a:gd name="T89" fmla="*/ 29 h 78"/>
                <a:gd name="T90" fmla="*/ 65 w 128"/>
                <a:gd name="T91" fmla="*/ 37 h 78"/>
                <a:gd name="T92" fmla="*/ 70 w 128"/>
                <a:gd name="T93" fmla="*/ 28 h 78"/>
                <a:gd name="T94" fmla="*/ 70 w 128"/>
                <a:gd name="T95" fmla="*/ 26 h 78"/>
                <a:gd name="T96" fmla="*/ 71 w 128"/>
                <a:gd name="T97" fmla="*/ 26 h 78"/>
                <a:gd name="T98" fmla="*/ 74 w 128"/>
                <a:gd name="T99" fmla="*/ 31 h 78"/>
                <a:gd name="T100" fmla="*/ 73 w 128"/>
                <a:gd name="T101" fmla="*/ 26 h 78"/>
                <a:gd name="T102" fmla="*/ 77 w 128"/>
                <a:gd name="T103" fmla="*/ 22 h 78"/>
                <a:gd name="T104" fmla="*/ 77 w 128"/>
                <a:gd name="T105" fmla="*/ 19 h 78"/>
                <a:gd name="T106" fmla="*/ 82 w 128"/>
                <a:gd name="T107" fmla="*/ 17 h 78"/>
                <a:gd name="T108" fmla="*/ 94 w 128"/>
                <a:gd name="T10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78">
                  <a:moveTo>
                    <a:pt x="94" y="0"/>
                  </a:moveTo>
                  <a:lnTo>
                    <a:pt x="95" y="0"/>
                  </a:lnTo>
                  <a:lnTo>
                    <a:pt x="95" y="3"/>
                  </a:lnTo>
                  <a:lnTo>
                    <a:pt x="98" y="0"/>
                  </a:lnTo>
                  <a:lnTo>
                    <a:pt x="99" y="0"/>
                  </a:lnTo>
                  <a:lnTo>
                    <a:pt x="102" y="4"/>
                  </a:lnTo>
                  <a:lnTo>
                    <a:pt x="105" y="6"/>
                  </a:lnTo>
                  <a:lnTo>
                    <a:pt x="107" y="6"/>
                  </a:lnTo>
                  <a:lnTo>
                    <a:pt x="107" y="11"/>
                  </a:lnTo>
                  <a:lnTo>
                    <a:pt x="111" y="11"/>
                  </a:lnTo>
                  <a:lnTo>
                    <a:pt x="111" y="16"/>
                  </a:lnTo>
                  <a:lnTo>
                    <a:pt x="114" y="14"/>
                  </a:lnTo>
                  <a:lnTo>
                    <a:pt x="128" y="22"/>
                  </a:lnTo>
                  <a:lnTo>
                    <a:pt x="128" y="23"/>
                  </a:lnTo>
                  <a:lnTo>
                    <a:pt x="120" y="26"/>
                  </a:lnTo>
                  <a:lnTo>
                    <a:pt x="114" y="26"/>
                  </a:lnTo>
                  <a:lnTo>
                    <a:pt x="119" y="32"/>
                  </a:lnTo>
                  <a:lnTo>
                    <a:pt x="119" y="34"/>
                  </a:lnTo>
                  <a:lnTo>
                    <a:pt x="117" y="34"/>
                  </a:lnTo>
                  <a:lnTo>
                    <a:pt x="111" y="37"/>
                  </a:lnTo>
                  <a:lnTo>
                    <a:pt x="107" y="34"/>
                  </a:lnTo>
                  <a:lnTo>
                    <a:pt x="105" y="37"/>
                  </a:lnTo>
                  <a:lnTo>
                    <a:pt x="98" y="34"/>
                  </a:lnTo>
                  <a:lnTo>
                    <a:pt x="82" y="34"/>
                  </a:lnTo>
                  <a:lnTo>
                    <a:pt x="68" y="65"/>
                  </a:lnTo>
                  <a:lnTo>
                    <a:pt x="65" y="69"/>
                  </a:lnTo>
                  <a:lnTo>
                    <a:pt x="61" y="72"/>
                  </a:lnTo>
                  <a:lnTo>
                    <a:pt x="51" y="75"/>
                  </a:lnTo>
                  <a:lnTo>
                    <a:pt x="43" y="71"/>
                  </a:lnTo>
                  <a:lnTo>
                    <a:pt x="37" y="71"/>
                  </a:lnTo>
                  <a:lnTo>
                    <a:pt x="28" y="78"/>
                  </a:lnTo>
                  <a:lnTo>
                    <a:pt x="14" y="78"/>
                  </a:lnTo>
                  <a:lnTo>
                    <a:pt x="6" y="75"/>
                  </a:lnTo>
                  <a:lnTo>
                    <a:pt x="0" y="63"/>
                  </a:lnTo>
                  <a:lnTo>
                    <a:pt x="2" y="62"/>
                  </a:lnTo>
                  <a:lnTo>
                    <a:pt x="8" y="66"/>
                  </a:lnTo>
                  <a:lnTo>
                    <a:pt x="19" y="68"/>
                  </a:lnTo>
                  <a:lnTo>
                    <a:pt x="21" y="60"/>
                  </a:lnTo>
                  <a:lnTo>
                    <a:pt x="21" y="59"/>
                  </a:lnTo>
                  <a:lnTo>
                    <a:pt x="24" y="59"/>
                  </a:lnTo>
                  <a:lnTo>
                    <a:pt x="27" y="53"/>
                  </a:lnTo>
                  <a:lnTo>
                    <a:pt x="27" y="51"/>
                  </a:lnTo>
                  <a:lnTo>
                    <a:pt x="43" y="50"/>
                  </a:lnTo>
                  <a:lnTo>
                    <a:pt x="55" y="35"/>
                  </a:lnTo>
                  <a:lnTo>
                    <a:pt x="58" y="29"/>
                  </a:lnTo>
                  <a:lnTo>
                    <a:pt x="65" y="37"/>
                  </a:lnTo>
                  <a:lnTo>
                    <a:pt x="70" y="28"/>
                  </a:lnTo>
                  <a:lnTo>
                    <a:pt x="70" y="26"/>
                  </a:lnTo>
                  <a:lnTo>
                    <a:pt x="71" y="26"/>
                  </a:lnTo>
                  <a:lnTo>
                    <a:pt x="74" y="31"/>
                  </a:lnTo>
                  <a:lnTo>
                    <a:pt x="73" y="26"/>
                  </a:lnTo>
                  <a:lnTo>
                    <a:pt x="77" y="22"/>
                  </a:lnTo>
                  <a:lnTo>
                    <a:pt x="77" y="19"/>
                  </a:lnTo>
                  <a:lnTo>
                    <a:pt x="82" y="17"/>
                  </a:lnTo>
                  <a:lnTo>
                    <a:pt x="9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9" name="Malaysia - West">
              <a:extLst>
                <a:ext uri="{FF2B5EF4-FFF2-40B4-BE49-F238E27FC236}">
                  <a16:creationId xmlns:a16="http://schemas.microsoft.com/office/drawing/2014/main" id="{A05C4F48-6613-038A-FC68-DD35D47ADB5C}"/>
                </a:ext>
              </a:extLst>
            </p:cNvPr>
            <p:cNvSpPr>
              <a:spLocks/>
            </p:cNvSpPr>
            <p:nvPr/>
          </p:nvSpPr>
          <p:spPr bwMode="auto">
            <a:xfrm>
              <a:off x="8189480" y="4428386"/>
              <a:ext cx="99389" cy="126494"/>
            </a:xfrm>
            <a:custGeom>
              <a:avLst/>
              <a:gdLst>
                <a:gd name="T0" fmla="*/ 0 w 55"/>
                <a:gd name="T1" fmla="*/ 0 h 70"/>
                <a:gd name="T2" fmla="*/ 2 w 55"/>
                <a:gd name="T3" fmla="*/ 0 h 70"/>
                <a:gd name="T4" fmla="*/ 12 w 55"/>
                <a:gd name="T5" fmla="*/ 5 h 70"/>
                <a:gd name="T6" fmla="*/ 15 w 55"/>
                <a:gd name="T7" fmla="*/ 13 h 70"/>
                <a:gd name="T8" fmla="*/ 19 w 55"/>
                <a:gd name="T9" fmla="*/ 10 h 70"/>
                <a:gd name="T10" fmla="*/ 24 w 55"/>
                <a:gd name="T11" fmla="*/ 10 h 70"/>
                <a:gd name="T12" fmla="*/ 27 w 55"/>
                <a:gd name="T13" fmla="*/ 8 h 70"/>
                <a:gd name="T14" fmla="*/ 30 w 55"/>
                <a:gd name="T15" fmla="*/ 8 h 70"/>
                <a:gd name="T16" fmla="*/ 39 w 55"/>
                <a:gd name="T17" fmla="*/ 15 h 70"/>
                <a:gd name="T18" fmla="*/ 45 w 55"/>
                <a:gd name="T19" fmla="*/ 22 h 70"/>
                <a:gd name="T20" fmla="*/ 45 w 55"/>
                <a:gd name="T21" fmla="*/ 46 h 70"/>
                <a:gd name="T22" fmla="*/ 55 w 55"/>
                <a:gd name="T23" fmla="*/ 64 h 70"/>
                <a:gd name="T24" fmla="*/ 54 w 55"/>
                <a:gd name="T25" fmla="*/ 70 h 70"/>
                <a:gd name="T26" fmla="*/ 52 w 55"/>
                <a:gd name="T27" fmla="*/ 70 h 70"/>
                <a:gd name="T28" fmla="*/ 48 w 55"/>
                <a:gd name="T29" fmla="*/ 68 h 70"/>
                <a:gd name="T30" fmla="*/ 43 w 55"/>
                <a:gd name="T31" fmla="*/ 70 h 70"/>
                <a:gd name="T32" fmla="*/ 16 w 55"/>
                <a:gd name="T33" fmla="*/ 52 h 70"/>
                <a:gd name="T34" fmla="*/ 6 w 55"/>
                <a:gd name="T35" fmla="*/ 33 h 70"/>
                <a:gd name="T36" fmla="*/ 0 w 55"/>
                <a:gd name="T37" fmla="*/ 5 h 70"/>
                <a:gd name="T38" fmla="*/ 0 w 55"/>
                <a:gd name="T3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70">
                  <a:moveTo>
                    <a:pt x="0" y="0"/>
                  </a:moveTo>
                  <a:lnTo>
                    <a:pt x="2" y="0"/>
                  </a:lnTo>
                  <a:lnTo>
                    <a:pt x="12" y="5"/>
                  </a:lnTo>
                  <a:lnTo>
                    <a:pt x="15" y="13"/>
                  </a:lnTo>
                  <a:lnTo>
                    <a:pt x="19" y="10"/>
                  </a:lnTo>
                  <a:lnTo>
                    <a:pt x="24" y="10"/>
                  </a:lnTo>
                  <a:lnTo>
                    <a:pt x="27" y="8"/>
                  </a:lnTo>
                  <a:lnTo>
                    <a:pt x="30" y="8"/>
                  </a:lnTo>
                  <a:lnTo>
                    <a:pt x="39" y="15"/>
                  </a:lnTo>
                  <a:lnTo>
                    <a:pt x="45" y="22"/>
                  </a:lnTo>
                  <a:lnTo>
                    <a:pt x="45" y="46"/>
                  </a:lnTo>
                  <a:lnTo>
                    <a:pt x="55" y="64"/>
                  </a:lnTo>
                  <a:lnTo>
                    <a:pt x="54" y="70"/>
                  </a:lnTo>
                  <a:lnTo>
                    <a:pt x="52" y="70"/>
                  </a:lnTo>
                  <a:lnTo>
                    <a:pt x="48" y="68"/>
                  </a:lnTo>
                  <a:lnTo>
                    <a:pt x="43" y="70"/>
                  </a:lnTo>
                  <a:lnTo>
                    <a:pt x="16" y="52"/>
                  </a:lnTo>
                  <a:lnTo>
                    <a:pt x="6" y="33"/>
                  </a:lnTo>
                  <a:lnTo>
                    <a:pt x="0" y="5"/>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0" name="Nepal">
              <a:extLst>
                <a:ext uri="{FF2B5EF4-FFF2-40B4-BE49-F238E27FC236}">
                  <a16:creationId xmlns:a16="http://schemas.microsoft.com/office/drawing/2014/main" id="{BE0DC4D6-5DBF-78E6-10AA-2C51B44B37DE}"/>
                </a:ext>
              </a:extLst>
            </p:cNvPr>
            <p:cNvSpPr>
              <a:spLocks/>
            </p:cNvSpPr>
            <p:nvPr/>
          </p:nvSpPr>
          <p:spPr bwMode="auto">
            <a:xfrm>
              <a:off x="7712416" y="3841090"/>
              <a:ext cx="193357" cy="108424"/>
            </a:xfrm>
            <a:custGeom>
              <a:avLst/>
              <a:gdLst>
                <a:gd name="T0" fmla="*/ 15 w 107"/>
                <a:gd name="T1" fmla="*/ 0 h 60"/>
                <a:gd name="T2" fmla="*/ 15 w 107"/>
                <a:gd name="T3" fmla="*/ 2 h 60"/>
                <a:gd name="T4" fmla="*/ 18 w 107"/>
                <a:gd name="T5" fmla="*/ 3 h 60"/>
                <a:gd name="T6" fmla="*/ 18 w 107"/>
                <a:gd name="T7" fmla="*/ 0 h 60"/>
                <a:gd name="T8" fmla="*/ 26 w 107"/>
                <a:gd name="T9" fmla="*/ 0 h 60"/>
                <a:gd name="T10" fmla="*/ 28 w 107"/>
                <a:gd name="T11" fmla="*/ 2 h 60"/>
                <a:gd name="T12" fmla="*/ 31 w 107"/>
                <a:gd name="T13" fmla="*/ 2 h 60"/>
                <a:gd name="T14" fmla="*/ 43 w 107"/>
                <a:gd name="T15" fmla="*/ 11 h 60"/>
                <a:gd name="T16" fmla="*/ 48 w 107"/>
                <a:gd name="T17" fmla="*/ 18 h 60"/>
                <a:gd name="T18" fmla="*/ 55 w 107"/>
                <a:gd name="T19" fmla="*/ 15 h 60"/>
                <a:gd name="T20" fmla="*/ 57 w 107"/>
                <a:gd name="T21" fmla="*/ 15 h 60"/>
                <a:gd name="T22" fmla="*/ 55 w 107"/>
                <a:gd name="T23" fmla="*/ 23 h 60"/>
                <a:gd name="T24" fmla="*/ 68 w 107"/>
                <a:gd name="T25" fmla="*/ 26 h 60"/>
                <a:gd name="T26" fmla="*/ 68 w 107"/>
                <a:gd name="T27" fmla="*/ 29 h 60"/>
                <a:gd name="T28" fmla="*/ 76 w 107"/>
                <a:gd name="T29" fmla="*/ 32 h 60"/>
                <a:gd name="T30" fmla="*/ 79 w 107"/>
                <a:gd name="T31" fmla="*/ 36 h 60"/>
                <a:gd name="T32" fmla="*/ 88 w 107"/>
                <a:gd name="T33" fmla="*/ 35 h 60"/>
                <a:gd name="T34" fmla="*/ 97 w 107"/>
                <a:gd name="T35" fmla="*/ 37 h 60"/>
                <a:gd name="T36" fmla="*/ 100 w 107"/>
                <a:gd name="T37" fmla="*/ 37 h 60"/>
                <a:gd name="T38" fmla="*/ 104 w 107"/>
                <a:gd name="T39" fmla="*/ 36 h 60"/>
                <a:gd name="T40" fmla="*/ 107 w 107"/>
                <a:gd name="T41" fmla="*/ 36 h 60"/>
                <a:gd name="T42" fmla="*/ 106 w 107"/>
                <a:gd name="T43" fmla="*/ 46 h 60"/>
                <a:gd name="T44" fmla="*/ 104 w 107"/>
                <a:gd name="T45" fmla="*/ 49 h 60"/>
                <a:gd name="T46" fmla="*/ 107 w 107"/>
                <a:gd name="T47" fmla="*/ 52 h 60"/>
                <a:gd name="T48" fmla="*/ 107 w 107"/>
                <a:gd name="T49" fmla="*/ 54 h 60"/>
                <a:gd name="T50" fmla="*/ 106 w 107"/>
                <a:gd name="T51" fmla="*/ 58 h 60"/>
                <a:gd name="T52" fmla="*/ 103 w 107"/>
                <a:gd name="T53" fmla="*/ 58 h 60"/>
                <a:gd name="T54" fmla="*/ 100 w 107"/>
                <a:gd name="T55" fmla="*/ 60 h 60"/>
                <a:gd name="T56" fmla="*/ 94 w 107"/>
                <a:gd name="T57" fmla="*/ 60 h 60"/>
                <a:gd name="T58" fmla="*/ 66 w 107"/>
                <a:gd name="T59" fmla="*/ 52 h 60"/>
                <a:gd name="T60" fmla="*/ 57 w 107"/>
                <a:gd name="T61" fmla="*/ 45 h 60"/>
                <a:gd name="T62" fmla="*/ 37 w 107"/>
                <a:gd name="T63" fmla="*/ 45 h 60"/>
                <a:gd name="T64" fmla="*/ 2 w 107"/>
                <a:gd name="T65" fmla="*/ 24 h 60"/>
                <a:gd name="T66" fmla="*/ 0 w 107"/>
                <a:gd name="T67" fmla="*/ 24 h 60"/>
                <a:gd name="T68" fmla="*/ 0 w 107"/>
                <a:gd name="T69" fmla="*/ 23 h 60"/>
                <a:gd name="T70" fmla="*/ 5 w 107"/>
                <a:gd name="T71" fmla="*/ 8 h 60"/>
                <a:gd name="T72" fmla="*/ 14 w 107"/>
                <a:gd name="T73" fmla="*/ 2 h 60"/>
                <a:gd name="T74" fmla="*/ 15 w 107"/>
                <a:gd name="T7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60">
                  <a:moveTo>
                    <a:pt x="15" y="0"/>
                  </a:moveTo>
                  <a:lnTo>
                    <a:pt x="15" y="2"/>
                  </a:lnTo>
                  <a:lnTo>
                    <a:pt x="18" y="3"/>
                  </a:lnTo>
                  <a:lnTo>
                    <a:pt x="18" y="0"/>
                  </a:lnTo>
                  <a:lnTo>
                    <a:pt x="26" y="0"/>
                  </a:lnTo>
                  <a:lnTo>
                    <a:pt x="28" y="2"/>
                  </a:lnTo>
                  <a:lnTo>
                    <a:pt x="31" y="2"/>
                  </a:lnTo>
                  <a:lnTo>
                    <a:pt x="43" y="11"/>
                  </a:lnTo>
                  <a:lnTo>
                    <a:pt x="48" y="18"/>
                  </a:lnTo>
                  <a:lnTo>
                    <a:pt x="55" y="15"/>
                  </a:lnTo>
                  <a:lnTo>
                    <a:pt x="57" y="15"/>
                  </a:lnTo>
                  <a:lnTo>
                    <a:pt x="55" y="23"/>
                  </a:lnTo>
                  <a:lnTo>
                    <a:pt x="68" y="26"/>
                  </a:lnTo>
                  <a:lnTo>
                    <a:pt x="68" y="29"/>
                  </a:lnTo>
                  <a:lnTo>
                    <a:pt x="76" y="32"/>
                  </a:lnTo>
                  <a:lnTo>
                    <a:pt x="79" y="36"/>
                  </a:lnTo>
                  <a:lnTo>
                    <a:pt x="88" y="35"/>
                  </a:lnTo>
                  <a:lnTo>
                    <a:pt x="97" y="37"/>
                  </a:lnTo>
                  <a:lnTo>
                    <a:pt x="100" y="37"/>
                  </a:lnTo>
                  <a:lnTo>
                    <a:pt x="104" y="36"/>
                  </a:lnTo>
                  <a:lnTo>
                    <a:pt x="107" y="36"/>
                  </a:lnTo>
                  <a:lnTo>
                    <a:pt x="106" y="46"/>
                  </a:lnTo>
                  <a:lnTo>
                    <a:pt x="104" y="49"/>
                  </a:lnTo>
                  <a:lnTo>
                    <a:pt x="107" y="52"/>
                  </a:lnTo>
                  <a:lnTo>
                    <a:pt x="107" y="54"/>
                  </a:lnTo>
                  <a:lnTo>
                    <a:pt x="106" y="58"/>
                  </a:lnTo>
                  <a:lnTo>
                    <a:pt x="103" y="58"/>
                  </a:lnTo>
                  <a:lnTo>
                    <a:pt x="100" y="60"/>
                  </a:lnTo>
                  <a:lnTo>
                    <a:pt x="94" y="60"/>
                  </a:lnTo>
                  <a:lnTo>
                    <a:pt x="66" y="52"/>
                  </a:lnTo>
                  <a:lnTo>
                    <a:pt x="57" y="45"/>
                  </a:lnTo>
                  <a:lnTo>
                    <a:pt x="37" y="45"/>
                  </a:lnTo>
                  <a:lnTo>
                    <a:pt x="2" y="24"/>
                  </a:lnTo>
                  <a:lnTo>
                    <a:pt x="0" y="24"/>
                  </a:lnTo>
                  <a:lnTo>
                    <a:pt x="0" y="23"/>
                  </a:lnTo>
                  <a:lnTo>
                    <a:pt x="5" y="8"/>
                  </a:lnTo>
                  <a:lnTo>
                    <a:pt x="14" y="2"/>
                  </a:lnTo>
                  <a:lnTo>
                    <a:pt x="1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1" name="Vietnam">
              <a:extLst>
                <a:ext uri="{FF2B5EF4-FFF2-40B4-BE49-F238E27FC236}">
                  <a16:creationId xmlns:a16="http://schemas.microsoft.com/office/drawing/2014/main" id="{142FEFCA-BE0D-263A-42A9-6219A9645F7C}"/>
                </a:ext>
              </a:extLst>
            </p:cNvPr>
            <p:cNvSpPr>
              <a:spLocks/>
            </p:cNvSpPr>
            <p:nvPr/>
          </p:nvSpPr>
          <p:spPr bwMode="auto">
            <a:xfrm>
              <a:off x="8238270" y="4027218"/>
              <a:ext cx="168057" cy="357799"/>
            </a:xfrm>
            <a:custGeom>
              <a:avLst/>
              <a:gdLst>
                <a:gd name="T0" fmla="*/ 56 w 93"/>
                <a:gd name="T1" fmla="*/ 6 h 198"/>
                <a:gd name="T2" fmla="*/ 61 w 93"/>
                <a:gd name="T3" fmla="*/ 19 h 198"/>
                <a:gd name="T4" fmla="*/ 75 w 93"/>
                <a:gd name="T5" fmla="*/ 25 h 198"/>
                <a:gd name="T6" fmla="*/ 68 w 93"/>
                <a:gd name="T7" fmla="*/ 28 h 198"/>
                <a:gd name="T8" fmla="*/ 49 w 93"/>
                <a:gd name="T9" fmla="*/ 47 h 198"/>
                <a:gd name="T10" fmla="*/ 46 w 93"/>
                <a:gd name="T11" fmla="*/ 65 h 198"/>
                <a:gd name="T12" fmla="*/ 56 w 93"/>
                <a:gd name="T13" fmla="*/ 77 h 198"/>
                <a:gd name="T14" fmla="*/ 72 w 93"/>
                <a:gd name="T15" fmla="*/ 95 h 198"/>
                <a:gd name="T16" fmla="*/ 80 w 93"/>
                <a:gd name="T17" fmla="*/ 98 h 198"/>
                <a:gd name="T18" fmla="*/ 87 w 93"/>
                <a:gd name="T19" fmla="*/ 108 h 198"/>
                <a:gd name="T20" fmla="*/ 92 w 93"/>
                <a:gd name="T21" fmla="*/ 148 h 198"/>
                <a:gd name="T22" fmla="*/ 89 w 93"/>
                <a:gd name="T23" fmla="*/ 163 h 198"/>
                <a:gd name="T24" fmla="*/ 67 w 93"/>
                <a:gd name="T25" fmla="*/ 175 h 198"/>
                <a:gd name="T26" fmla="*/ 56 w 93"/>
                <a:gd name="T27" fmla="*/ 181 h 198"/>
                <a:gd name="T28" fmla="*/ 55 w 93"/>
                <a:gd name="T29" fmla="*/ 187 h 198"/>
                <a:gd name="T30" fmla="*/ 52 w 93"/>
                <a:gd name="T31" fmla="*/ 188 h 198"/>
                <a:gd name="T32" fmla="*/ 34 w 93"/>
                <a:gd name="T33" fmla="*/ 198 h 198"/>
                <a:gd name="T34" fmla="*/ 37 w 93"/>
                <a:gd name="T35" fmla="*/ 179 h 198"/>
                <a:gd name="T36" fmla="*/ 29 w 93"/>
                <a:gd name="T37" fmla="*/ 173 h 198"/>
                <a:gd name="T38" fmla="*/ 35 w 93"/>
                <a:gd name="T39" fmla="*/ 169 h 198"/>
                <a:gd name="T40" fmla="*/ 47 w 93"/>
                <a:gd name="T41" fmla="*/ 164 h 198"/>
                <a:gd name="T42" fmla="*/ 55 w 93"/>
                <a:gd name="T43" fmla="*/ 157 h 198"/>
                <a:gd name="T44" fmla="*/ 68 w 93"/>
                <a:gd name="T45" fmla="*/ 148 h 198"/>
                <a:gd name="T46" fmla="*/ 68 w 93"/>
                <a:gd name="T47" fmla="*/ 109 h 198"/>
                <a:gd name="T48" fmla="*/ 56 w 93"/>
                <a:gd name="T49" fmla="*/ 93 h 198"/>
                <a:gd name="T50" fmla="*/ 55 w 93"/>
                <a:gd name="T51" fmla="*/ 92 h 198"/>
                <a:gd name="T52" fmla="*/ 47 w 93"/>
                <a:gd name="T53" fmla="*/ 80 h 198"/>
                <a:gd name="T54" fmla="*/ 22 w 93"/>
                <a:gd name="T55" fmla="*/ 56 h 198"/>
                <a:gd name="T56" fmla="*/ 24 w 93"/>
                <a:gd name="T57" fmla="*/ 50 h 198"/>
                <a:gd name="T58" fmla="*/ 29 w 93"/>
                <a:gd name="T59" fmla="*/ 49 h 198"/>
                <a:gd name="T60" fmla="*/ 28 w 93"/>
                <a:gd name="T61" fmla="*/ 35 h 198"/>
                <a:gd name="T62" fmla="*/ 12 w 93"/>
                <a:gd name="T63" fmla="*/ 34 h 198"/>
                <a:gd name="T64" fmla="*/ 7 w 93"/>
                <a:gd name="T65" fmla="*/ 22 h 198"/>
                <a:gd name="T66" fmla="*/ 0 w 93"/>
                <a:gd name="T67" fmla="*/ 12 h 198"/>
                <a:gd name="T68" fmla="*/ 3 w 93"/>
                <a:gd name="T69" fmla="*/ 6 h 198"/>
                <a:gd name="T70" fmla="*/ 15 w 93"/>
                <a:gd name="T71" fmla="*/ 7 h 198"/>
                <a:gd name="T72" fmla="*/ 21 w 93"/>
                <a:gd name="T73" fmla="*/ 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 h="198">
                  <a:moveTo>
                    <a:pt x="38" y="0"/>
                  </a:moveTo>
                  <a:lnTo>
                    <a:pt x="56" y="6"/>
                  </a:lnTo>
                  <a:lnTo>
                    <a:pt x="56" y="7"/>
                  </a:lnTo>
                  <a:lnTo>
                    <a:pt x="61" y="19"/>
                  </a:lnTo>
                  <a:lnTo>
                    <a:pt x="67" y="23"/>
                  </a:lnTo>
                  <a:lnTo>
                    <a:pt x="75" y="25"/>
                  </a:lnTo>
                  <a:lnTo>
                    <a:pt x="75" y="26"/>
                  </a:lnTo>
                  <a:lnTo>
                    <a:pt x="68" y="28"/>
                  </a:lnTo>
                  <a:lnTo>
                    <a:pt x="58" y="37"/>
                  </a:lnTo>
                  <a:lnTo>
                    <a:pt x="49" y="47"/>
                  </a:lnTo>
                  <a:lnTo>
                    <a:pt x="46" y="59"/>
                  </a:lnTo>
                  <a:lnTo>
                    <a:pt x="46" y="65"/>
                  </a:lnTo>
                  <a:lnTo>
                    <a:pt x="53" y="71"/>
                  </a:lnTo>
                  <a:lnTo>
                    <a:pt x="56" y="77"/>
                  </a:lnTo>
                  <a:lnTo>
                    <a:pt x="64" y="86"/>
                  </a:lnTo>
                  <a:lnTo>
                    <a:pt x="72" y="95"/>
                  </a:lnTo>
                  <a:lnTo>
                    <a:pt x="78" y="98"/>
                  </a:lnTo>
                  <a:lnTo>
                    <a:pt x="80" y="98"/>
                  </a:lnTo>
                  <a:lnTo>
                    <a:pt x="81" y="103"/>
                  </a:lnTo>
                  <a:lnTo>
                    <a:pt x="87" y="108"/>
                  </a:lnTo>
                  <a:lnTo>
                    <a:pt x="93" y="142"/>
                  </a:lnTo>
                  <a:lnTo>
                    <a:pt x="92" y="148"/>
                  </a:lnTo>
                  <a:lnTo>
                    <a:pt x="92" y="158"/>
                  </a:lnTo>
                  <a:lnTo>
                    <a:pt x="89" y="163"/>
                  </a:lnTo>
                  <a:lnTo>
                    <a:pt x="75" y="172"/>
                  </a:lnTo>
                  <a:lnTo>
                    <a:pt x="67" y="175"/>
                  </a:lnTo>
                  <a:lnTo>
                    <a:pt x="61" y="175"/>
                  </a:lnTo>
                  <a:lnTo>
                    <a:pt x="56" y="181"/>
                  </a:lnTo>
                  <a:lnTo>
                    <a:pt x="56" y="187"/>
                  </a:lnTo>
                  <a:lnTo>
                    <a:pt x="55" y="187"/>
                  </a:lnTo>
                  <a:lnTo>
                    <a:pt x="50" y="184"/>
                  </a:lnTo>
                  <a:lnTo>
                    <a:pt x="52" y="188"/>
                  </a:lnTo>
                  <a:lnTo>
                    <a:pt x="38" y="198"/>
                  </a:lnTo>
                  <a:lnTo>
                    <a:pt x="34" y="198"/>
                  </a:lnTo>
                  <a:lnTo>
                    <a:pt x="34" y="188"/>
                  </a:lnTo>
                  <a:lnTo>
                    <a:pt x="37" y="179"/>
                  </a:lnTo>
                  <a:lnTo>
                    <a:pt x="29" y="175"/>
                  </a:lnTo>
                  <a:lnTo>
                    <a:pt x="29" y="173"/>
                  </a:lnTo>
                  <a:lnTo>
                    <a:pt x="34" y="172"/>
                  </a:lnTo>
                  <a:lnTo>
                    <a:pt x="35" y="169"/>
                  </a:lnTo>
                  <a:lnTo>
                    <a:pt x="35" y="167"/>
                  </a:lnTo>
                  <a:lnTo>
                    <a:pt x="47" y="164"/>
                  </a:lnTo>
                  <a:lnTo>
                    <a:pt x="47" y="157"/>
                  </a:lnTo>
                  <a:lnTo>
                    <a:pt x="55" y="157"/>
                  </a:lnTo>
                  <a:lnTo>
                    <a:pt x="55" y="154"/>
                  </a:lnTo>
                  <a:lnTo>
                    <a:pt x="68" y="148"/>
                  </a:lnTo>
                  <a:lnTo>
                    <a:pt x="67" y="117"/>
                  </a:lnTo>
                  <a:lnTo>
                    <a:pt x="68" y="109"/>
                  </a:lnTo>
                  <a:lnTo>
                    <a:pt x="64" y="96"/>
                  </a:lnTo>
                  <a:lnTo>
                    <a:pt x="56" y="93"/>
                  </a:lnTo>
                  <a:lnTo>
                    <a:pt x="55" y="93"/>
                  </a:lnTo>
                  <a:lnTo>
                    <a:pt x="55" y="92"/>
                  </a:lnTo>
                  <a:lnTo>
                    <a:pt x="53" y="83"/>
                  </a:lnTo>
                  <a:lnTo>
                    <a:pt x="47" y="80"/>
                  </a:lnTo>
                  <a:lnTo>
                    <a:pt x="37" y="65"/>
                  </a:lnTo>
                  <a:lnTo>
                    <a:pt x="22" y="56"/>
                  </a:lnTo>
                  <a:lnTo>
                    <a:pt x="22" y="55"/>
                  </a:lnTo>
                  <a:lnTo>
                    <a:pt x="24" y="50"/>
                  </a:lnTo>
                  <a:lnTo>
                    <a:pt x="24" y="49"/>
                  </a:lnTo>
                  <a:lnTo>
                    <a:pt x="29" y="49"/>
                  </a:lnTo>
                  <a:lnTo>
                    <a:pt x="32" y="46"/>
                  </a:lnTo>
                  <a:lnTo>
                    <a:pt x="28" y="35"/>
                  </a:lnTo>
                  <a:lnTo>
                    <a:pt x="25" y="34"/>
                  </a:lnTo>
                  <a:lnTo>
                    <a:pt x="12" y="34"/>
                  </a:lnTo>
                  <a:lnTo>
                    <a:pt x="9" y="29"/>
                  </a:lnTo>
                  <a:lnTo>
                    <a:pt x="7" y="22"/>
                  </a:lnTo>
                  <a:lnTo>
                    <a:pt x="0" y="13"/>
                  </a:lnTo>
                  <a:lnTo>
                    <a:pt x="0" y="12"/>
                  </a:lnTo>
                  <a:lnTo>
                    <a:pt x="3" y="7"/>
                  </a:lnTo>
                  <a:lnTo>
                    <a:pt x="3" y="6"/>
                  </a:lnTo>
                  <a:lnTo>
                    <a:pt x="12" y="9"/>
                  </a:lnTo>
                  <a:lnTo>
                    <a:pt x="15" y="7"/>
                  </a:lnTo>
                  <a:lnTo>
                    <a:pt x="16" y="7"/>
                  </a:lnTo>
                  <a:lnTo>
                    <a:pt x="21" y="9"/>
                  </a:lnTo>
                  <a:lnTo>
                    <a:pt x="3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2" name="India">
              <a:extLst>
                <a:ext uri="{FF2B5EF4-FFF2-40B4-BE49-F238E27FC236}">
                  <a16:creationId xmlns:a16="http://schemas.microsoft.com/office/drawing/2014/main" id="{4B74356A-48D3-CB15-06A9-CBC65CF770F2}"/>
                </a:ext>
              </a:extLst>
            </p:cNvPr>
            <p:cNvSpPr>
              <a:spLocks/>
            </p:cNvSpPr>
            <p:nvPr/>
          </p:nvSpPr>
          <p:spPr bwMode="auto">
            <a:xfrm>
              <a:off x="7428708" y="3680262"/>
              <a:ext cx="697525" cy="719211"/>
            </a:xfrm>
            <a:custGeom>
              <a:avLst/>
              <a:gdLst>
                <a:gd name="T0" fmla="*/ 162 w 386"/>
                <a:gd name="T1" fmla="*/ 8 h 398"/>
                <a:gd name="T2" fmla="*/ 153 w 386"/>
                <a:gd name="T3" fmla="*/ 26 h 398"/>
                <a:gd name="T4" fmla="*/ 145 w 386"/>
                <a:gd name="T5" fmla="*/ 42 h 398"/>
                <a:gd name="T6" fmla="*/ 145 w 386"/>
                <a:gd name="T7" fmla="*/ 60 h 398"/>
                <a:gd name="T8" fmla="*/ 140 w 386"/>
                <a:gd name="T9" fmla="*/ 55 h 398"/>
                <a:gd name="T10" fmla="*/ 151 w 386"/>
                <a:gd name="T11" fmla="*/ 78 h 398"/>
                <a:gd name="T12" fmla="*/ 194 w 386"/>
                <a:gd name="T13" fmla="*/ 132 h 398"/>
                <a:gd name="T14" fmla="*/ 261 w 386"/>
                <a:gd name="T15" fmla="*/ 146 h 398"/>
                <a:gd name="T16" fmla="*/ 263 w 386"/>
                <a:gd name="T17" fmla="*/ 125 h 398"/>
                <a:gd name="T18" fmla="*/ 273 w 386"/>
                <a:gd name="T19" fmla="*/ 131 h 398"/>
                <a:gd name="T20" fmla="*/ 274 w 386"/>
                <a:gd name="T21" fmla="*/ 140 h 398"/>
                <a:gd name="T22" fmla="*/ 310 w 386"/>
                <a:gd name="T23" fmla="*/ 131 h 398"/>
                <a:gd name="T24" fmla="*/ 357 w 386"/>
                <a:gd name="T25" fmla="*/ 104 h 398"/>
                <a:gd name="T26" fmla="*/ 372 w 386"/>
                <a:gd name="T27" fmla="*/ 109 h 398"/>
                <a:gd name="T28" fmla="*/ 386 w 386"/>
                <a:gd name="T29" fmla="*/ 121 h 398"/>
                <a:gd name="T30" fmla="*/ 380 w 386"/>
                <a:gd name="T31" fmla="*/ 135 h 398"/>
                <a:gd name="T32" fmla="*/ 350 w 386"/>
                <a:gd name="T33" fmla="*/ 165 h 398"/>
                <a:gd name="T34" fmla="*/ 332 w 386"/>
                <a:gd name="T35" fmla="*/ 198 h 398"/>
                <a:gd name="T36" fmla="*/ 329 w 386"/>
                <a:gd name="T37" fmla="*/ 208 h 398"/>
                <a:gd name="T38" fmla="*/ 310 w 386"/>
                <a:gd name="T39" fmla="*/ 195 h 398"/>
                <a:gd name="T40" fmla="*/ 304 w 386"/>
                <a:gd name="T41" fmla="*/ 192 h 398"/>
                <a:gd name="T42" fmla="*/ 288 w 386"/>
                <a:gd name="T43" fmla="*/ 164 h 398"/>
                <a:gd name="T44" fmla="*/ 276 w 386"/>
                <a:gd name="T45" fmla="*/ 153 h 398"/>
                <a:gd name="T46" fmla="*/ 268 w 386"/>
                <a:gd name="T47" fmla="*/ 147 h 398"/>
                <a:gd name="T48" fmla="*/ 270 w 386"/>
                <a:gd name="T49" fmla="*/ 159 h 398"/>
                <a:gd name="T50" fmla="*/ 261 w 386"/>
                <a:gd name="T51" fmla="*/ 169 h 398"/>
                <a:gd name="T52" fmla="*/ 274 w 386"/>
                <a:gd name="T53" fmla="*/ 215 h 398"/>
                <a:gd name="T54" fmla="*/ 263 w 386"/>
                <a:gd name="T55" fmla="*/ 209 h 398"/>
                <a:gd name="T56" fmla="*/ 240 w 386"/>
                <a:gd name="T57" fmla="*/ 238 h 398"/>
                <a:gd name="T58" fmla="*/ 185 w 386"/>
                <a:gd name="T59" fmla="*/ 285 h 398"/>
                <a:gd name="T60" fmla="*/ 159 w 386"/>
                <a:gd name="T61" fmla="*/ 301 h 398"/>
                <a:gd name="T62" fmla="*/ 156 w 386"/>
                <a:gd name="T63" fmla="*/ 368 h 398"/>
                <a:gd name="T64" fmla="*/ 134 w 386"/>
                <a:gd name="T65" fmla="*/ 384 h 398"/>
                <a:gd name="T66" fmla="*/ 113 w 386"/>
                <a:gd name="T67" fmla="*/ 386 h 398"/>
                <a:gd name="T68" fmla="*/ 79 w 386"/>
                <a:gd name="T69" fmla="*/ 306 h 398"/>
                <a:gd name="T70" fmla="*/ 68 w 386"/>
                <a:gd name="T71" fmla="*/ 285 h 398"/>
                <a:gd name="T72" fmla="*/ 59 w 386"/>
                <a:gd name="T73" fmla="*/ 241 h 398"/>
                <a:gd name="T74" fmla="*/ 61 w 386"/>
                <a:gd name="T75" fmla="*/ 207 h 398"/>
                <a:gd name="T76" fmla="*/ 31 w 386"/>
                <a:gd name="T77" fmla="*/ 226 h 398"/>
                <a:gd name="T78" fmla="*/ 25 w 386"/>
                <a:gd name="T79" fmla="*/ 202 h 398"/>
                <a:gd name="T80" fmla="*/ 12 w 386"/>
                <a:gd name="T81" fmla="*/ 198 h 398"/>
                <a:gd name="T82" fmla="*/ 12 w 386"/>
                <a:gd name="T83" fmla="*/ 175 h 398"/>
                <a:gd name="T84" fmla="*/ 37 w 386"/>
                <a:gd name="T85" fmla="*/ 177 h 398"/>
                <a:gd name="T86" fmla="*/ 30 w 386"/>
                <a:gd name="T87" fmla="*/ 146 h 398"/>
                <a:gd name="T88" fmla="*/ 33 w 386"/>
                <a:gd name="T89" fmla="*/ 122 h 398"/>
                <a:gd name="T90" fmla="*/ 57 w 386"/>
                <a:gd name="T91" fmla="*/ 113 h 398"/>
                <a:gd name="T92" fmla="*/ 82 w 386"/>
                <a:gd name="T93" fmla="*/ 81 h 398"/>
                <a:gd name="T94" fmla="*/ 88 w 386"/>
                <a:gd name="T95" fmla="*/ 72 h 398"/>
                <a:gd name="T96" fmla="*/ 97 w 386"/>
                <a:gd name="T97" fmla="*/ 60 h 398"/>
                <a:gd name="T98" fmla="*/ 83 w 386"/>
                <a:gd name="T99" fmla="*/ 51 h 398"/>
                <a:gd name="T100" fmla="*/ 79 w 386"/>
                <a:gd name="T101" fmla="*/ 36 h 398"/>
                <a:gd name="T102" fmla="*/ 76 w 386"/>
                <a:gd name="T103" fmla="*/ 27 h 398"/>
                <a:gd name="T104" fmla="*/ 83 w 386"/>
                <a:gd name="T105" fmla="*/ 18 h 398"/>
                <a:gd name="T106" fmla="*/ 119 w 386"/>
                <a:gd name="T107" fmla="*/ 1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6" h="398">
                  <a:moveTo>
                    <a:pt x="148" y="0"/>
                  </a:moveTo>
                  <a:lnTo>
                    <a:pt x="159" y="6"/>
                  </a:lnTo>
                  <a:lnTo>
                    <a:pt x="159" y="9"/>
                  </a:lnTo>
                  <a:lnTo>
                    <a:pt x="162" y="8"/>
                  </a:lnTo>
                  <a:lnTo>
                    <a:pt x="163" y="8"/>
                  </a:lnTo>
                  <a:lnTo>
                    <a:pt x="163" y="9"/>
                  </a:lnTo>
                  <a:lnTo>
                    <a:pt x="159" y="21"/>
                  </a:lnTo>
                  <a:lnTo>
                    <a:pt x="153" y="26"/>
                  </a:lnTo>
                  <a:lnTo>
                    <a:pt x="153" y="32"/>
                  </a:lnTo>
                  <a:lnTo>
                    <a:pt x="151" y="32"/>
                  </a:lnTo>
                  <a:lnTo>
                    <a:pt x="144" y="33"/>
                  </a:lnTo>
                  <a:lnTo>
                    <a:pt x="145" y="42"/>
                  </a:lnTo>
                  <a:lnTo>
                    <a:pt x="151" y="45"/>
                  </a:lnTo>
                  <a:lnTo>
                    <a:pt x="153" y="52"/>
                  </a:lnTo>
                  <a:lnTo>
                    <a:pt x="145" y="58"/>
                  </a:lnTo>
                  <a:lnTo>
                    <a:pt x="145" y="60"/>
                  </a:lnTo>
                  <a:lnTo>
                    <a:pt x="144" y="60"/>
                  </a:lnTo>
                  <a:lnTo>
                    <a:pt x="144" y="58"/>
                  </a:lnTo>
                  <a:lnTo>
                    <a:pt x="141" y="54"/>
                  </a:lnTo>
                  <a:lnTo>
                    <a:pt x="140" y="55"/>
                  </a:lnTo>
                  <a:lnTo>
                    <a:pt x="142" y="64"/>
                  </a:lnTo>
                  <a:lnTo>
                    <a:pt x="142" y="72"/>
                  </a:lnTo>
                  <a:lnTo>
                    <a:pt x="145" y="78"/>
                  </a:lnTo>
                  <a:lnTo>
                    <a:pt x="151" y="78"/>
                  </a:lnTo>
                  <a:lnTo>
                    <a:pt x="172" y="91"/>
                  </a:lnTo>
                  <a:lnTo>
                    <a:pt x="163" y="98"/>
                  </a:lnTo>
                  <a:lnTo>
                    <a:pt x="159" y="112"/>
                  </a:lnTo>
                  <a:lnTo>
                    <a:pt x="194" y="132"/>
                  </a:lnTo>
                  <a:lnTo>
                    <a:pt x="215" y="132"/>
                  </a:lnTo>
                  <a:lnTo>
                    <a:pt x="223" y="141"/>
                  </a:lnTo>
                  <a:lnTo>
                    <a:pt x="251" y="147"/>
                  </a:lnTo>
                  <a:lnTo>
                    <a:pt x="261" y="146"/>
                  </a:lnTo>
                  <a:lnTo>
                    <a:pt x="263" y="141"/>
                  </a:lnTo>
                  <a:lnTo>
                    <a:pt x="260" y="138"/>
                  </a:lnTo>
                  <a:lnTo>
                    <a:pt x="261" y="135"/>
                  </a:lnTo>
                  <a:lnTo>
                    <a:pt x="263" y="125"/>
                  </a:lnTo>
                  <a:lnTo>
                    <a:pt x="264" y="125"/>
                  </a:lnTo>
                  <a:lnTo>
                    <a:pt x="271" y="122"/>
                  </a:lnTo>
                  <a:lnTo>
                    <a:pt x="273" y="122"/>
                  </a:lnTo>
                  <a:lnTo>
                    <a:pt x="273" y="131"/>
                  </a:lnTo>
                  <a:lnTo>
                    <a:pt x="274" y="132"/>
                  </a:lnTo>
                  <a:lnTo>
                    <a:pt x="274" y="134"/>
                  </a:lnTo>
                  <a:lnTo>
                    <a:pt x="273" y="135"/>
                  </a:lnTo>
                  <a:lnTo>
                    <a:pt x="274" y="140"/>
                  </a:lnTo>
                  <a:lnTo>
                    <a:pt x="283" y="141"/>
                  </a:lnTo>
                  <a:lnTo>
                    <a:pt x="313" y="138"/>
                  </a:lnTo>
                  <a:lnTo>
                    <a:pt x="316" y="134"/>
                  </a:lnTo>
                  <a:lnTo>
                    <a:pt x="310" y="131"/>
                  </a:lnTo>
                  <a:lnTo>
                    <a:pt x="310" y="126"/>
                  </a:lnTo>
                  <a:lnTo>
                    <a:pt x="328" y="119"/>
                  </a:lnTo>
                  <a:lnTo>
                    <a:pt x="347" y="104"/>
                  </a:lnTo>
                  <a:lnTo>
                    <a:pt x="357" y="104"/>
                  </a:lnTo>
                  <a:lnTo>
                    <a:pt x="366" y="101"/>
                  </a:lnTo>
                  <a:lnTo>
                    <a:pt x="368" y="101"/>
                  </a:lnTo>
                  <a:lnTo>
                    <a:pt x="371" y="109"/>
                  </a:lnTo>
                  <a:lnTo>
                    <a:pt x="372" y="109"/>
                  </a:lnTo>
                  <a:lnTo>
                    <a:pt x="372" y="116"/>
                  </a:lnTo>
                  <a:lnTo>
                    <a:pt x="381" y="118"/>
                  </a:lnTo>
                  <a:lnTo>
                    <a:pt x="384" y="121"/>
                  </a:lnTo>
                  <a:lnTo>
                    <a:pt x="386" y="121"/>
                  </a:lnTo>
                  <a:lnTo>
                    <a:pt x="386" y="125"/>
                  </a:lnTo>
                  <a:lnTo>
                    <a:pt x="384" y="125"/>
                  </a:lnTo>
                  <a:lnTo>
                    <a:pt x="381" y="126"/>
                  </a:lnTo>
                  <a:lnTo>
                    <a:pt x="380" y="135"/>
                  </a:lnTo>
                  <a:lnTo>
                    <a:pt x="369" y="137"/>
                  </a:lnTo>
                  <a:lnTo>
                    <a:pt x="357" y="146"/>
                  </a:lnTo>
                  <a:lnTo>
                    <a:pt x="357" y="156"/>
                  </a:lnTo>
                  <a:lnTo>
                    <a:pt x="350" y="165"/>
                  </a:lnTo>
                  <a:lnTo>
                    <a:pt x="344" y="181"/>
                  </a:lnTo>
                  <a:lnTo>
                    <a:pt x="344" y="183"/>
                  </a:lnTo>
                  <a:lnTo>
                    <a:pt x="332" y="186"/>
                  </a:lnTo>
                  <a:lnTo>
                    <a:pt x="332" y="198"/>
                  </a:lnTo>
                  <a:lnTo>
                    <a:pt x="328" y="198"/>
                  </a:lnTo>
                  <a:lnTo>
                    <a:pt x="328" y="199"/>
                  </a:lnTo>
                  <a:lnTo>
                    <a:pt x="329" y="207"/>
                  </a:lnTo>
                  <a:lnTo>
                    <a:pt x="329" y="208"/>
                  </a:lnTo>
                  <a:lnTo>
                    <a:pt x="323" y="211"/>
                  </a:lnTo>
                  <a:lnTo>
                    <a:pt x="322" y="211"/>
                  </a:lnTo>
                  <a:lnTo>
                    <a:pt x="316" y="187"/>
                  </a:lnTo>
                  <a:lnTo>
                    <a:pt x="310" y="195"/>
                  </a:lnTo>
                  <a:lnTo>
                    <a:pt x="310" y="196"/>
                  </a:lnTo>
                  <a:lnTo>
                    <a:pt x="309" y="196"/>
                  </a:lnTo>
                  <a:lnTo>
                    <a:pt x="309" y="195"/>
                  </a:lnTo>
                  <a:lnTo>
                    <a:pt x="304" y="192"/>
                  </a:lnTo>
                  <a:lnTo>
                    <a:pt x="301" y="183"/>
                  </a:lnTo>
                  <a:lnTo>
                    <a:pt x="301" y="181"/>
                  </a:lnTo>
                  <a:lnTo>
                    <a:pt x="316" y="166"/>
                  </a:lnTo>
                  <a:lnTo>
                    <a:pt x="288" y="164"/>
                  </a:lnTo>
                  <a:lnTo>
                    <a:pt x="283" y="159"/>
                  </a:lnTo>
                  <a:lnTo>
                    <a:pt x="282" y="152"/>
                  </a:lnTo>
                  <a:lnTo>
                    <a:pt x="280" y="153"/>
                  </a:lnTo>
                  <a:lnTo>
                    <a:pt x="276" y="153"/>
                  </a:lnTo>
                  <a:lnTo>
                    <a:pt x="274" y="149"/>
                  </a:lnTo>
                  <a:lnTo>
                    <a:pt x="273" y="152"/>
                  </a:lnTo>
                  <a:lnTo>
                    <a:pt x="271" y="152"/>
                  </a:lnTo>
                  <a:lnTo>
                    <a:pt x="268" y="147"/>
                  </a:lnTo>
                  <a:lnTo>
                    <a:pt x="264" y="155"/>
                  </a:lnTo>
                  <a:lnTo>
                    <a:pt x="266" y="158"/>
                  </a:lnTo>
                  <a:lnTo>
                    <a:pt x="270" y="158"/>
                  </a:lnTo>
                  <a:lnTo>
                    <a:pt x="270" y="159"/>
                  </a:lnTo>
                  <a:lnTo>
                    <a:pt x="271" y="164"/>
                  </a:lnTo>
                  <a:lnTo>
                    <a:pt x="271" y="165"/>
                  </a:lnTo>
                  <a:lnTo>
                    <a:pt x="266" y="165"/>
                  </a:lnTo>
                  <a:lnTo>
                    <a:pt x="261" y="169"/>
                  </a:lnTo>
                  <a:lnTo>
                    <a:pt x="268" y="177"/>
                  </a:lnTo>
                  <a:lnTo>
                    <a:pt x="268" y="186"/>
                  </a:lnTo>
                  <a:lnTo>
                    <a:pt x="274" y="214"/>
                  </a:lnTo>
                  <a:lnTo>
                    <a:pt x="274" y="215"/>
                  </a:lnTo>
                  <a:lnTo>
                    <a:pt x="270" y="215"/>
                  </a:lnTo>
                  <a:lnTo>
                    <a:pt x="266" y="217"/>
                  </a:lnTo>
                  <a:lnTo>
                    <a:pt x="264" y="217"/>
                  </a:lnTo>
                  <a:lnTo>
                    <a:pt x="263" y="209"/>
                  </a:lnTo>
                  <a:lnTo>
                    <a:pt x="261" y="212"/>
                  </a:lnTo>
                  <a:lnTo>
                    <a:pt x="249" y="218"/>
                  </a:lnTo>
                  <a:lnTo>
                    <a:pt x="249" y="229"/>
                  </a:lnTo>
                  <a:lnTo>
                    <a:pt x="240" y="238"/>
                  </a:lnTo>
                  <a:lnTo>
                    <a:pt x="223" y="248"/>
                  </a:lnTo>
                  <a:lnTo>
                    <a:pt x="212" y="261"/>
                  </a:lnTo>
                  <a:lnTo>
                    <a:pt x="188" y="279"/>
                  </a:lnTo>
                  <a:lnTo>
                    <a:pt x="185" y="285"/>
                  </a:lnTo>
                  <a:lnTo>
                    <a:pt x="174" y="288"/>
                  </a:lnTo>
                  <a:lnTo>
                    <a:pt x="169" y="297"/>
                  </a:lnTo>
                  <a:lnTo>
                    <a:pt x="162" y="297"/>
                  </a:lnTo>
                  <a:lnTo>
                    <a:pt x="159" y="301"/>
                  </a:lnTo>
                  <a:lnTo>
                    <a:pt x="159" y="324"/>
                  </a:lnTo>
                  <a:lnTo>
                    <a:pt x="162" y="330"/>
                  </a:lnTo>
                  <a:lnTo>
                    <a:pt x="156" y="350"/>
                  </a:lnTo>
                  <a:lnTo>
                    <a:pt x="156" y="368"/>
                  </a:lnTo>
                  <a:lnTo>
                    <a:pt x="148" y="368"/>
                  </a:lnTo>
                  <a:lnTo>
                    <a:pt x="144" y="377"/>
                  </a:lnTo>
                  <a:lnTo>
                    <a:pt x="144" y="381"/>
                  </a:lnTo>
                  <a:lnTo>
                    <a:pt x="134" y="384"/>
                  </a:lnTo>
                  <a:lnTo>
                    <a:pt x="132" y="392"/>
                  </a:lnTo>
                  <a:lnTo>
                    <a:pt x="128" y="398"/>
                  </a:lnTo>
                  <a:lnTo>
                    <a:pt x="122" y="398"/>
                  </a:lnTo>
                  <a:lnTo>
                    <a:pt x="113" y="386"/>
                  </a:lnTo>
                  <a:lnTo>
                    <a:pt x="101" y="353"/>
                  </a:lnTo>
                  <a:lnTo>
                    <a:pt x="92" y="341"/>
                  </a:lnTo>
                  <a:lnTo>
                    <a:pt x="88" y="324"/>
                  </a:lnTo>
                  <a:lnTo>
                    <a:pt x="79" y="306"/>
                  </a:lnTo>
                  <a:lnTo>
                    <a:pt x="77" y="300"/>
                  </a:lnTo>
                  <a:lnTo>
                    <a:pt x="74" y="300"/>
                  </a:lnTo>
                  <a:lnTo>
                    <a:pt x="73" y="295"/>
                  </a:lnTo>
                  <a:lnTo>
                    <a:pt x="68" y="285"/>
                  </a:lnTo>
                  <a:lnTo>
                    <a:pt x="62" y="260"/>
                  </a:lnTo>
                  <a:lnTo>
                    <a:pt x="64" y="251"/>
                  </a:lnTo>
                  <a:lnTo>
                    <a:pt x="62" y="251"/>
                  </a:lnTo>
                  <a:lnTo>
                    <a:pt x="59" y="241"/>
                  </a:lnTo>
                  <a:lnTo>
                    <a:pt x="62" y="230"/>
                  </a:lnTo>
                  <a:lnTo>
                    <a:pt x="58" y="211"/>
                  </a:lnTo>
                  <a:lnTo>
                    <a:pt x="58" y="209"/>
                  </a:lnTo>
                  <a:lnTo>
                    <a:pt x="61" y="207"/>
                  </a:lnTo>
                  <a:lnTo>
                    <a:pt x="55" y="205"/>
                  </a:lnTo>
                  <a:lnTo>
                    <a:pt x="52" y="221"/>
                  </a:lnTo>
                  <a:lnTo>
                    <a:pt x="42" y="226"/>
                  </a:lnTo>
                  <a:lnTo>
                    <a:pt x="31" y="226"/>
                  </a:lnTo>
                  <a:lnTo>
                    <a:pt x="14" y="208"/>
                  </a:lnTo>
                  <a:lnTo>
                    <a:pt x="12" y="205"/>
                  </a:lnTo>
                  <a:lnTo>
                    <a:pt x="12" y="204"/>
                  </a:lnTo>
                  <a:lnTo>
                    <a:pt x="25" y="202"/>
                  </a:lnTo>
                  <a:lnTo>
                    <a:pt x="30" y="199"/>
                  </a:lnTo>
                  <a:lnTo>
                    <a:pt x="30" y="195"/>
                  </a:lnTo>
                  <a:lnTo>
                    <a:pt x="22" y="198"/>
                  </a:lnTo>
                  <a:lnTo>
                    <a:pt x="12" y="198"/>
                  </a:lnTo>
                  <a:lnTo>
                    <a:pt x="0" y="184"/>
                  </a:lnTo>
                  <a:lnTo>
                    <a:pt x="5" y="181"/>
                  </a:lnTo>
                  <a:lnTo>
                    <a:pt x="11" y="181"/>
                  </a:lnTo>
                  <a:lnTo>
                    <a:pt x="12" y="175"/>
                  </a:lnTo>
                  <a:lnTo>
                    <a:pt x="27" y="178"/>
                  </a:lnTo>
                  <a:lnTo>
                    <a:pt x="33" y="174"/>
                  </a:lnTo>
                  <a:lnTo>
                    <a:pt x="34" y="174"/>
                  </a:lnTo>
                  <a:lnTo>
                    <a:pt x="37" y="177"/>
                  </a:lnTo>
                  <a:lnTo>
                    <a:pt x="42" y="175"/>
                  </a:lnTo>
                  <a:lnTo>
                    <a:pt x="34" y="158"/>
                  </a:lnTo>
                  <a:lnTo>
                    <a:pt x="28" y="155"/>
                  </a:lnTo>
                  <a:lnTo>
                    <a:pt x="30" y="146"/>
                  </a:lnTo>
                  <a:lnTo>
                    <a:pt x="21" y="144"/>
                  </a:lnTo>
                  <a:lnTo>
                    <a:pt x="19" y="143"/>
                  </a:lnTo>
                  <a:lnTo>
                    <a:pt x="21" y="137"/>
                  </a:lnTo>
                  <a:lnTo>
                    <a:pt x="33" y="122"/>
                  </a:lnTo>
                  <a:lnTo>
                    <a:pt x="34" y="122"/>
                  </a:lnTo>
                  <a:lnTo>
                    <a:pt x="39" y="126"/>
                  </a:lnTo>
                  <a:lnTo>
                    <a:pt x="51" y="124"/>
                  </a:lnTo>
                  <a:lnTo>
                    <a:pt x="57" y="113"/>
                  </a:lnTo>
                  <a:lnTo>
                    <a:pt x="64" y="109"/>
                  </a:lnTo>
                  <a:lnTo>
                    <a:pt x="71" y="95"/>
                  </a:lnTo>
                  <a:lnTo>
                    <a:pt x="76" y="92"/>
                  </a:lnTo>
                  <a:lnTo>
                    <a:pt x="82" y="81"/>
                  </a:lnTo>
                  <a:lnTo>
                    <a:pt x="89" y="78"/>
                  </a:lnTo>
                  <a:lnTo>
                    <a:pt x="86" y="76"/>
                  </a:lnTo>
                  <a:lnTo>
                    <a:pt x="86" y="75"/>
                  </a:lnTo>
                  <a:lnTo>
                    <a:pt x="88" y="72"/>
                  </a:lnTo>
                  <a:lnTo>
                    <a:pt x="86" y="70"/>
                  </a:lnTo>
                  <a:lnTo>
                    <a:pt x="86" y="69"/>
                  </a:lnTo>
                  <a:lnTo>
                    <a:pt x="88" y="64"/>
                  </a:lnTo>
                  <a:lnTo>
                    <a:pt x="97" y="60"/>
                  </a:lnTo>
                  <a:lnTo>
                    <a:pt x="95" y="57"/>
                  </a:lnTo>
                  <a:lnTo>
                    <a:pt x="88" y="57"/>
                  </a:lnTo>
                  <a:lnTo>
                    <a:pt x="88" y="52"/>
                  </a:lnTo>
                  <a:lnTo>
                    <a:pt x="83" y="51"/>
                  </a:lnTo>
                  <a:lnTo>
                    <a:pt x="77" y="45"/>
                  </a:lnTo>
                  <a:lnTo>
                    <a:pt x="77" y="43"/>
                  </a:lnTo>
                  <a:lnTo>
                    <a:pt x="82" y="40"/>
                  </a:lnTo>
                  <a:lnTo>
                    <a:pt x="79" y="36"/>
                  </a:lnTo>
                  <a:lnTo>
                    <a:pt x="82" y="33"/>
                  </a:lnTo>
                  <a:lnTo>
                    <a:pt x="77" y="30"/>
                  </a:lnTo>
                  <a:lnTo>
                    <a:pt x="79" y="27"/>
                  </a:lnTo>
                  <a:lnTo>
                    <a:pt x="76" y="27"/>
                  </a:lnTo>
                  <a:lnTo>
                    <a:pt x="76" y="26"/>
                  </a:lnTo>
                  <a:lnTo>
                    <a:pt x="77" y="20"/>
                  </a:lnTo>
                  <a:lnTo>
                    <a:pt x="79" y="20"/>
                  </a:lnTo>
                  <a:lnTo>
                    <a:pt x="83" y="18"/>
                  </a:lnTo>
                  <a:lnTo>
                    <a:pt x="100" y="23"/>
                  </a:lnTo>
                  <a:lnTo>
                    <a:pt x="110" y="20"/>
                  </a:lnTo>
                  <a:lnTo>
                    <a:pt x="116" y="20"/>
                  </a:lnTo>
                  <a:lnTo>
                    <a:pt x="119" y="15"/>
                  </a:lnTo>
                  <a:lnTo>
                    <a:pt x="126" y="9"/>
                  </a:lnTo>
                  <a:lnTo>
                    <a:pt x="14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3" name="Mongolia">
              <a:extLst>
                <a:ext uri="{FF2B5EF4-FFF2-40B4-BE49-F238E27FC236}">
                  <a16:creationId xmlns:a16="http://schemas.microsoft.com/office/drawing/2014/main" id="{BDCD2A95-59BE-996D-27BE-A4BF5A7123CD}"/>
                </a:ext>
              </a:extLst>
            </p:cNvPr>
            <p:cNvSpPr>
              <a:spLocks/>
            </p:cNvSpPr>
            <p:nvPr/>
          </p:nvSpPr>
          <p:spPr bwMode="auto">
            <a:xfrm>
              <a:off x="7894931" y="3145371"/>
              <a:ext cx="749931" cy="366834"/>
            </a:xfrm>
            <a:custGeom>
              <a:avLst/>
              <a:gdLst>
                <a:gd name="T0" fmla="*/ 151 w 415"/>
                <a:gd name="T1" fmla="*/ 0 h 203"/>
                <a:gd name="T2" fmla="*/ 187 w 415"/>
                <a:gd name="T3" fmla="*/ 15 h 203"/>
                <a:gd name="T4" fmla="*/ 200 w 415"/>
                <a:gd name="T5" fmla="*/ 37 h 203"/>
                <a:gd name="T6" fmla="*/ 225 w 415"/>
                <a:gd name="T7" fmla="*/ 31 h 203"/>
                <a:gd name="T8" fmla="*/ 265 w 415"/>
                <a:gd name="T9" fmla="*/ 49 h 203"/>
                <a:gd name="T10" fmla="*/ 292 w 415"/>
                <a:gd name="T11" fmla="*/ 59 h 203"/>
                <a:gd name="T12" fmla="*/ 331 w 415"/>
                <a:gd name="T13" fmla="*/ 53 h 203"/>
                <a:gd name="T14" fmla="*/ 351 w 415"/>
                <a:gd name="T15" fmla="*/ 40 h 203"/>
                <a:gd name="T16" fmla="*/ 369 w 415"/>
                <a:gd name="T17" fmla="*/ 47 h 203"/>
                <a:gd name="T18" fmla="*/ 375 w 415"/>
                <a:gd name="T19" fmla="*/ 46 h 203"/>
                <a:gd name="T20" fmla="*/ 365 w 415"/>
                <a:gd name="T21" fmla="*/ 62 h 203"/>
                <a:gd name="T22" fmla="*/ 366 w 415"/>
                <a:gd name="T23" fmla="*/ 90 h 203"/>
                <a:gd name="T24" fmla="*/ 397 w 415"/>
                <a:gd name="T25" fmla="*/ 83 h 203"/>
                <a:gd name="T26" fmla="*/ 411 w 415"/>
                <a:gd name="T27" fmla="*/ 96 h 203"/>
                <a:gd name="T28" fmla="*/ 415 w 415"/>
                <a:gd name="T29" fmla="*/ 110 h 203"/>
                <a:gd name="T30" fmla="*/ 381 w 415"/>
                <a:gd name="T31" fmla="*/ 114 h 203"/>
                <a:gd name="T32" fmla="*/ 354 w 415"/>
                <a:gd name="T33" fmla="*/ 133 h 203"/>
                <a:gd name="T34" fmla="*/ 337 w 415"/>
                <a:gd name="T35" fmla="*/ 147 h 203"/>
                <a:gd name="T36" fmla="*/ 317 w 415"/>
                <a:gd name="T37" fmla="*/ 144 h 203"/>
                <a:gd name="T38" fmla="*/ 317 w 415"/>
                <a:gd name="T39" fmla="*/ 164 h 203"/>
                <a:gd name="T40" fmla="*/ 279 w 415"/>
                <a:gd name="T41" fmla="*/ 190 h 203"/>
                <a:gd name="T42" fmla="*/ 224 w 415"/>
                <a:gd name="T43" fmla="*/ 203 h 203"/>
                <a:gd name="T44" fmla="*/ 171 w 415"/>
                <a:gd name="T45" fmla="*/ 182 h 203"/>
                <a:gd name="T46" fmla="*/ 135 w 415"/>
                <a:gd name="T47" fmla="*/ 184 h 203"/>
                <a:gd name="T48" fmla="*/ 108 w 415"/>
                <a:gd name="T49" fmla="*/ 172 h 203"/>
                <a:gd name="T50" fmla="*/ 68 w 415"/>
                <a:gd name="T51" fmla="*/ 142 h 203"/>
                <a:gd name="T52" fmla="*/ 39 w 415"/>
                <a:gd name="T53" fmla="*/ 136 h 203"/>
                <a:gd name="T54" fmla="*/ 40 w 415"/>
                <a:gd name="T55" fmla="*/ 113 h 203"/>
                <a:gd name="T56" fmla="*/ 31 w 415"/>
                <a:gd name="T57" fmla="*/ 90 h 203"/>
                <a:gd name="T58" fmla="*/ 5 w 415"/>
                <a:gd name="T59" fmla="*/ 76 h 203"/>
                <a:gd name="T60" fmla="*/ 0 w 415"/>
                <a:gd name="T61" fmla="*/ 65 h 203"/>
                <a:gd name="T62" fmla="*/ 39 w 415"/>
                <a:gd name="T63" fmla="*/ 38 h 203"/>
                <a:gd name="T64" fmla="*/ 86 w 415"/>
                <a:gd name="T65" fmla="*/ 36 h 203"/>
                <a:gd name="T66" fmla="*/ 132 w 415"/>
                <a:gd name="T67" fmla="*/ 44 h 203"/>
                <a:gd name="T68" fmla="*/ 134 w 415"/>
                <a:gd name="T69" fmla="*/ 36 h 203"/>
                <a:gd name="T70" fmla="*/ 132 w 415"/>
                <a:gd name="T71" fmla="*/ 16 h 203"/>
                <a:gd name="T72" fmla="*/ 150 w 415"/>
                <a:gd name="T73"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5" h="203">
                  <a:moveTo>
                    <a:pt x="150" y="0"/>
                  </a:moveTo>
                  <a:lnTo>
                    <a:pt x="151" y="0"/>
                  </a:lnTo>
                  <a:lnTo>
                    <a:pt x="185" y="13"/>
                  </a:lnTo>
                  <a:lnTo>
                    <a:pt x="187" y="15"/>
                  </a:lnTo>
                  <a:lnTo>
                    <a:pt x="190" y="30"/>
                  </a:lnTo>
                  <a:lnTo>
                    <a:pt x="200" y="37"/>
                  </a:lnTo>
                  <a:lnTo>
                    <a:pt x="208" y="40"/>
                  </a:lnTo>
                  <a:lnTo>
                    <a:pt x="225" y="31"/>
                  </a:lnTo>
                  <a:lnTo>
                    <a:pt x="234" y="33"/>
                  </a:lnTo>
                  <a:lnTo>
                    <a:pt x="265" y="49"/>
                  </a:lnTo>
                  <a:lnTo>
                    <a:pt x="274" y="56"/>
                  </a:lnTo>
                  <a:lnTo>
                    <a:pt x="292" y="59"/>
                  </a:lnTo>
                  <a:lnTo>
                    <a:pt x="302" y="62"/>
                  </a:lnTo>
                  <a:lnTo>
                    <a:pt x="331" y="53"/>
                  </a:lnTo>
                  <a:lnTo>
                    <a:pt x="350" y="40"/>
                  </a:lnTo>
                  <a:lnTo>
                    <a:pt x="351" y="40"/>
                  </a:lnTo>
                  <a:lnTo>
                    <a:pt x="366" y="47"/>
                  </a:lnTo>
                  <a:lnTo>
                    <a:pt x="369" y="47"/>
                  </a:lnTo>
                  <a:lnTo>
                    <a:pt x="372" y="46"/>
                  </a:lnTo>
                  <a:lnTo>
                    <a:pt x="375" y="46"/>
                  </a:lnTo>
                  <a:lnTo>
                    <a:pt x="375" y="47"/>
                  </a:lnTo>
                  <a:lnTo>
                    <a:pt x="365" y="62"/>
                  </a:lnTo>
                  <a:lnTo>
                    <a:pt x="363" y="83"/>
                  </a:lnTo>
                  <a:lnTo>
                    <a:pt x="366" y="90"/>
                  </a:lnTo>
                  <a:lnTo>
                    <a:pt x="383" y="93"/>
                  </a:lnTo>
                  <a:lnTo>
                    <a:pt x="397" y="83"/>
                  </a:lnTo>
                  <a:lnTo>
                    <a:pt x="399" y="83"/>
                  </a:lnTo>
                  <a:lnTo>
                    <a:pt x="411" y="96"/>
                  </a:lnTo>
                  <a:lnTo>
                    <a:pt x="412" y="105"/>
                  </a:lnTo>
                  <a:lnTo>
                    <a:pt x="415" y="110"/>
                  </a:lnTo>
                  <a:lnTo>
                    <a:pt x="415" y="111"/>
                  </a:lnTo>
                  <a:lnTo>
                    <a:pt x="381" y="114"/>
                  </a:lnTo>
                  <a:lnTo>
                    <a:pt x="365" y="130"/>
                  </a:lnTo>
                  <a:lnTo>
                    <a:pt x="354" y="133"/>
                  </a:lnTo>
                  <a:lnTo>
                    <a:pt x="338" y="147"/>
                  </a:lnTo>
                  <a:lnTo>
                    <a:pt x="337" y="147"/>
                  </a:lnTo>
                  <a:lnTo>
                    <a:pt x="322" y="141"/>
                  </a:lnTo>
                  <a:lnTo>
                    <a:pt x="317" y="144"/>
                  </a:lnTo>
                  <a:lnTo>
                    <a:pt x="311" y="156"/>
                  </a:lnTo>
                  <a:lnTo>
                    <a:pt x="317" y="164"/>
                  </a:lnTo>
                  <a:lnTo>
                    <a:pt x="294" y="187"/>
                  </a:lnTo>
                  <a:lnTo>
                    <a:pt x="279" y="190"/>
                  </a:lnTo>
                  <a:lnTo>
                    <a:pt x="261" y="190"/>
                  </a:lnTo>
                  <a:lnTo>
                    <a:pt x="224" y="203"/>
                  </a:lnTo>
                  <a:lnTo>
                    <a:pt x="193" y="194"/>
                  </a:lnTo>
                  <a:lnTo>
                    <a:pt x="171" y="182"/>
                  </a:lnTo>
                  <a:lnTo>
                    <a:pt x="147" y="182"/>
                  </a:lnTo>
                  <a:lnTo>
                    <a:pt x="135" y="184"/>
                  </a:lnTo>
                  <a:lnTo>
                    <a:pt x="122" y="184"/>
                  </a:lnTo>
                  <a:lnTo>
                    <a:pt x="108" y="172"/>
                  </a:lnTo>
                  <a:lnTo>
                    <a:pt x="98" y="156"/>
                  </a:lnTo>
                  <a:lnTo>
                    <a:pt x="68" y="142"/>
                  </a:lnTo>
                  <a:lnTo>
                    <a:pt x="59" y="144"/>
                  </a:lnTo>
                  <a:lnTo>
                    <a:pt x="39" y="136"/>
                  </a:lnTo>
                  <a:lnTo>
                    <a:pt x="40" y="129"/>
                  </a:lnTo>
                  <a:lnTo>
                    <a:pt x="40" y="113"/>
                  </a:lnTo>
                  <a:lnTo>
                    <a:pt x="33" y="93"/>
                  </a:lnTo>
                  <a:lnTo>
                    <a:pt x="31" y="90"/>
                  </a:lnTo>
                  <a:lnTo>
                    <a:pt x="15" y="87"/>
                  </a:lnTo>
                  <a:lnTo>
                    <a:pt x="5" y="76"/>
                  </a:lnTo>
                  <a:lnTo>
                    <a:pt x="0" y="67"/>
                  </a:lnTo>
                  <a:lnTo>
                    <a:pt x="0" y="65"/>
                  </a:lnTo>
                  <a:lnTo>
                    <a:pt x="8" y="56"/>
                  </a:lnTo>
                  <a:lnTo>
                    <a:pt x="39" y="38"/>
                  </a:lnTo>
                  <a:lnTo>
                    <a:pt x="53" y="33"/>
                  </a:lnTo>
                  <a:lnTo>
                    <a:pt x="86" y="36"/>
                  </a:lnTo>
                  <a:lnTo>
                    <a:pt x="93" y="44"/>
                  </a:lnTo>
                  <a:lnTo>
                    <a:pt x="132" y="44"/>
                  </a:lnTo>
                  <a:lnTo>
                    <a:pt x="134" y="43"/>
                  </a:lnTo>
                  <a:lnTo>
                    <a:pt x="134" y="36"/>
                  </a:lnTo>
                  <a:lnTo>
                    <a:pt x="135" y="31"/>
                  </a:lnTo>
                  <a:lnTo>
                    <a:pt x="132" y="16"/>
                  </a:lnTo>
                  <a:lnTo>
                    <a:pt x="132" y="15"/>
                  </a:lnTo>
                  <a:lnTo>
                    <a:pt x="15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4" name="Georgia">
              <a:extLst>
                <a:ext uri="{FF2B5EF4-FFF2-40B4-BE49-F238E27FC236}">
                  <a16:creationId xmlns:a16="http://schemas.microsoft.com/office/drawing/2014/main" id="{444F16C6-8F9D-AE12-30E5-3E69DE73FC98}"/>
                </a:ext>
              </a:extLst>
            </p:cNvPr>
            <p:cNvSpPr>
              <a:spLocks/>
            </p:cNvSpPr>
            <p:nvPr/>
          </p:nvSpPr>
          <p:spPr bwMode="auto">
            <a:xfrm>
              <a:off x="6765516" y="3445344"/>
              <a:ext cx="162635" cy="84933"/>
            </a:xfrm>
            <a:custGeom>
              <a:avLst/>
              <a:gdLst>
                <a:gd name="T0" fmla="*/ 11 w 90"/>
                <a:gd name="T1" fmla="*/ 0 h 47"/>
                <a:gd name="T2" fmla="*/ 26 w 90"/>
                <a:gd name="T3" fmla="*/ 6 h 47"/>
                <a:gd name="T4" fmla="*/ 41 w 90"/>
                <a:gd name="T5" fmla="*/ 6 h 47"/>
                <a:gd name="T6" fmla="*/ 56 w 90"/>
                <a:gd name="T7" fmla="*/ 16 h 47"/>
                <a:gd name="T8" fmla="*/ 65 w 90"/>
                <a:gd name="T9" fmla="*/ 13 h 47"/>
                <a:gd name="T10" fmla="*/ 71 w 90"/>
                <a:gd name="T11" fmla="*/ 15 h 47"/>
                <a:gd name="T12" fmla="*/ 78 w 90"/>
                <a:gd name="T13" fmla="*/ 18 h 47"/>
                <a:gd name="T14" fmla="*/ 78 w 90"/>
                <a:gd name="T15" fmla="*/ 24 h 47"/>
                <a:gd name="T16" fmla="*/ 87 w 90"/>
                <a:gd name="T17" fmla="*/ 28 h 47"/>
                <a:gd name="T18" fmla="*/ 87 w 90"/>
                <a:gd name="T19" fmla="*/ 30 h 47"/>
                <a:gd name="T20" fmla="*/ 89 w 90"/>
                <a:gd name="T21" fmla="*/ 30 h 47"/>
                <a:gd name="T22" fmla="*/ 86 w 90"/>
                <a:gd name="T23" fmla="*/ 34 h 47"/>
                <a:gd name="T24" fmla="*/ 90 w 90"/>
                <a:gd name="T25" fmla="*/ 39 h 47"/>
                <a:gd name="T26" fmla="*/ 90 w 90"/>
                <a:gd name="T27" fmla="*/ 43 h 47"/>
                <a:gd name="T28" fmla="*/ 89 w 90"/>
                <a:gd name="T29" fmla="*/ 43 h 47"/>
                <a:gd name="T30" fmla="*/ 74 w 90"/>
                <a:gd name="T31" fmla="*/ 39 h 47"/>
                <a:gd name="T32" fmla="*/ 69 w 90"/>
                <a:gd name="T33" fmla="*/ 40 h 47"/>
                <a:gd name="T34" fmla="*/ 66 w 90"/>
                <a:gd name="T35" fmla="*/ 41 h 47"/>
                <a:gd name="T36" fmla="*/ 49 w 90"/>
                <a:gd name="T37" fmla="*/ 47 h 47"/>
                <a:gd name="T38" fmla="*/ 38 w 90"/>
                <a:gd name="T39" fmla="*/ 37 h 47"/>
                <a:gd name="T40" fmla="*/ 34 w 90"/>
                <a:gd name="T41" fmla="*/ 39 h 47"/>
                <a:gd name="T42" fmla="*/ 22 w 90"/>
                <a:gd name="T43" fmla="*/ 37 h 47"/>
                <a:gd name="T44" fmla="*/ 22 w 90"/>
                <a:gd name="T45" fmla="*/ 36 h 47"/>
                <a:gd name="T46" fmla="*/ 25 w 90"/>
                <a:gd name="T47" fmla="*/ 34 h 47"/>
                <a:gd name="T48" fmla="*/ 25 w 90"/>
                <a:gd name="T49" fmla="*/ 28 h 47"/>
                <a:gd name="T50" fmla="*/ 19 w 90"/>
                <a:gd name="T51" fmla="*/ 16 h 47"/>
                <a:gd name="T52" fmla="*/ 6 w 90"/>
                <a:gd name="T53" fmla="*/ 9 h 47"/>
                <a:gd name="T54" fmla="*/ 0 w 90"/>
                <a:gd name="T55" fmla="*/ 3 h 47"/>
                <a:gd name="T56" fmla="*/ 0 w 90"/>
                <a:gd name="T57" fmla="*/ 1 h 47"/>
                <a:gd name="T58" fmla="*/ 11 w 90"/>
                <a:gd name="T5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47">
                  <a:moveTo>
                    <a:pt x="11" y="0"/>
                  </a:moveTo>
                  <a:lnTo>
                    <a:pt x="26" y="6"/>
                  </a:lnTo>
                  <a:lnTo>
                    <a:pt x="41" y="6"/>
                  </a:lnTo>
                  <a:lnTo>
                    <a:pt x="56" y="16"/>
                  </a:lnTo>
                  <a:lnTo>
                    <a:pt x="65" y="13"/>
                  </a:lnTo>
                  <a:lnTo>
                    <a:pt x="71" y="15"/>
                  </a:lnTo>
                  <a:lnTo>
                    <a:pt x="78" y="18"/>
                  </a:lnTo>
                  <a:lnTo>
                    <a:pt x="78" y="24"/>
                  </a:lnTo>
                  <a:lnTo>
                    <a:pt x="87" y="28"/>
                  </a:lnTo>
                  <a:lnTo>
                    <a:pt x="87" y="30"/>
                  </a:lnTo>
                  <a:lnTo>
                    <a:pt x="89" y="30"/>
                  </a:lnTo>
                  <a:lnTo>
                    <a:pt x="86" y="34"/>
                  </a:lnTo>
                  <a:lnTo>
                    <a:pt x="90" y="39"/>
                  </a:lnTo>
                  <a:lnTo>
                    <a:pt x="90" y="43"/>
                  </a:lnTo>
                  <a:lnTo>
                    <a:pt x="89" y="43"/>
                  </a:lnTo>
                  <a:lnTo>
                    <a:pt x="74" y="39"/>
                  </a:lnTo>
                  <a:lnTo>
                    <a:pt x="69" y="40"/>
                  </a:lnTo>
                  <a:lnTo>
                    <a:pt x="66" y="41"/>
                  </a:lnTo>
                  <a:lnTo>
                    <a:pt x="49" y="47"/>
                  </a:lnTo>
                  <a:lnTo>
                    <a:pt x="38" y="37"/>
                  </a:lnTo>
                  <a:lnTo>
                    <a:pt x="34" y="39"/>
                  </a:lnTo>
                  <a:lnTo>
                    <a:pt x="22" y="37"/>
                  </a:lnTo>
                  <a:lnTo>
                    <a:pt x="22" y="36"/>
                  </a:lnTo>
                  <a:lnTo>
                    <a:pt x="25" y="34"/>
                  </a:lnTo>
                  <a:lnTo>
                    <a:pt x="25" y="28"/>
                  </a:lnTo>
                  <a:lnTo>
                    <a:pt x="19" y="16"/>
                  </a:lnTo>
                  <a:lnTo>
                    <a:pt x="6" y="9"/>
                  </a:lnTo>
                  <a:lnTo>
                    <a:pt x="0" y="3"/>
                  </a:lnTo>
                  <a:lnTo>
                    <a:pt x="0" y="1"/>
                  </a:lnTo>
                  <a:lnTo>
                    <a:pt x="1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5" name="Turkmenistan">
              <a:extLst>
                <a:ext uri="{FF2B5EF4-FFF2-40B4-BE49-F238E27FC236}">
                  <a16:creationId xmlns:a16="http://schemas.microsoft.com/office/drawing/2014/main" id="{7CBFB3CD-16E5-00C9-6BD9-1B6E9D570A17}"/>
                </a:ext>
              </a:extLst>
            </p:cNvPr>
            <p:cNvSpPr>
              <a:spLocks/>
            </p:cNvSpPr>
            <p:nvPr/>
          </p:nvSpPr>
          <p:spPr bwMode="auto">
            <a:xfrm>
              <a:off x="7061874" y="3468835"/>
              <a:ext cx="339728" cy="236726"/>
            </a:xfrm>
            <a:custGeom>
              <a:avLst/>
              <a:gdLst>
                <a:gd name="T0" fmla="*/ 83 w 188"/>
                <a:gd name="T1" fmla="*/ 0 h 131"/>
                <a:gd name="T2" fmla="*/ 101 w 188"/>
                <a:gd name="T3" fmla="*/ 9 h 131"/>
                <a:gd name="T4" fmla="*/ 104 w 188"/>
                <a:gd name="T5" fmla="*/ 18 h 131"/>
                <a:gd name="T6" fmla="*/ 102 w 188"/>
                <a:gd name="T7" fmla="*/ 20 h 131"/>
                <a:gd name="T8" fmla="*/ 117 w 188"/>
                <a:gd name="T9" fmla="*/ 28 h 131"/>
                <a:gd name="T10" fmla="*/ 126 w 188"/>
                <a:gd name="T11" fmla="*/ 30 h 131"/>
                <a:gd name="T12" fmla="*/ 148 w 188"/>
                <a:gd name="T13" fmla="*/ 58 h 131"/>
                <a:gd name="T14" fmla="*/ 162 w 188"/>
                <a:gd name="T15" fmla="*/ 69 h 131"/>
                <a:gd name="T16" fmla="*/ 178 w 188"/>
                <a:gd name="T17" fmla="*/ 77 h 131"/>
                <a:gd name="T18" fmla="*/ 187 w 188"/>
                <a:gd name="T19" fmla="*/ 88 h 131"/>
                <a:gd name="T20" fmla="*/ 182 w 188"/>
                <a:gd name="T21" fmla="*/ 95 h 131"/>
                <a:gd name="T22" fmla="*/ 175 w 188"/>
                <a:gd name="T23" fmla="*/ 94 h 131"/>
                <a:gd name="T24" fmla="*/ 165 w 188"/>
                <a:gd name="T25" fmla="*/ 97 h 131"/>
                <a:gd name="T26" fmla="*/ 159 w 188"/>
                <a:gd name="T27" fmla="*/ 112 h 131"/>
                <a:gd name="T28" fmla="*/ 142 w 188"/>
                <a:gd name="T29" fmla="*/ 122 h 131"/>
                <a:gd name="T30" fmla="*/ 141 w 188"/>
                <a:gd name="T31" fmla="*/ 126 h 131"/>
                <a:gd name="T32" fmla="*/ 135 w 188"/>
                <a:gd name="T33" fmla="*/ 131 h 131"/>
                <a:gd name="T34" fmla="*/ 116 w 188"/>
                <a:gd name="T35" fmla="*/ 123 h 131"/>
                <a:gd name="T36" fmla="*/ 114 w 188"/>
                <a:gd name="T37" fmla="*/ 109 h 131"/>
                <a:gd name="T38" fmla="*/ 94 w 188"/>
                <a:gd name="T39" fmla="*/ 98 h 131"/>
                <a:gd name="T40" fmla="*/ 67 w 188"/>
                <a:gd name="T41" fmla="*/ 85 h 131"/>
                <a:gd name="T42" fmla="*/ 40 w 188"/>
                <a:gd name="T43" fmla="*/ 83 h 131"/>
                <a:gd name="T44" fmla="*/ 21 w 188"/>
                <a:gd name="T45" fmla="*/ 94 h 131"/>
                <a:gd name="T46" fmla="*/ 18 w 188"/>
                <a:gd name="T47" fmla="*/ 76 h 131"/>
                <a:gd name="T48" fmla="*/ 13 w 188"/>
                <a:gd name="T49" fmla="*/ 63 h 131"/>
                <a:gd name="T50" fmla="*/ 12 w 188"/>
                <a:gd name="T51" fmla="*/ 61 h 131"/>
                <a:gd name="T52" fmla="*/ 18 w 188"/>
                <a:gd name="T53" fmla="*/ 58 h 131"/>
                <a:gd name="T54" fmla="*/ 12 w 188"/>
                <a:gd name="T55" fmla="*/ 55 h 131"/>
                <a:gd name="T56" fmla="*/ 15 w 188"/>
                <a:gd name="T57" fmla="*/ 52 h 131"/>
                <a:gd name="T58" fmla="*/ 6 w 188"/>
                <a:gd name="T59" fmla="*/ 52 h 131"/>
                <a:gd name="T60" fmla="*/ 6 w 188"/>
                <a:gd name="T61" fmla="*/ 31 h 131"/>
                <a:gd name="T62" fmla="*/ 9 w 188"/>
                <a:gd name="T63" fmla="*/ 37 h 131"/>
                <a:gd name="T64" fmla="*/ 25 w 188"/>
                <a:gd name="T65" fmla="*/ 39 h 131"/>
                <a:gd name="T66" fmla="*/ 24 w 188"/>
                <a:gd name="T67" fmla="*/ 36 h 131"/>
                <a:gd name="T68" fmla="*/ 22 w 188"/>
                <a:gd name="T69" fmla="*/ 24 h 131"/>
                <a:gd name="T70" fmla="*/ 15 w 188"/>
                <a:gd name="T71" fmla="*/ 17 h 131"/>
                <a:gd name="T72" fmla="*/ 6 w 188"/>
                <a:gd name="T73" fmla="*/ 31 h 131"/>
                <a:gd name="T74" fmla="*/ 5 w 188"/>
                <a:gd name="T75" fmla="*/ 30 h 131"/>
                <a:gd name="T76" fmla="*/ 9 w 188"/>
                <a:gd name="T77" fmla="*/ 12 h 131"/>
                <a:gd name="T78" fmla="*/ 25 w 188"/>
                <a:gd name="T79" fmla="*/ 8 h 131"/>
                <a:gd name="T80" fmla="*/ 42 w 188"/>
                <a:gd name="T81" fmla="*/ 27 h 131"/>
                <a:gd name="T82" fmla="*/ 61 w 188"/>
                <a:gd name="T83" fmla="*/ 27 h 131"/>
                <a:gd name="T84" fmla="*/ 61 w 188"/>
                <a:gd name="T85" fmla="*/ 17 h 131"/>
                <a:gd name="T86" fmla="*/ 73 w 188"/>
                <a:gd name="T87" fmla="*/ 11 h 131"/>
                <a:gd name="T88" fmla="*/ 76 w 188"/>
                <a:gd name="T89" fmla="*/ 6 h 131"/>
                <a:gd name="T90" fmla="*/ 77 w 188"/>
                <a:gd name="T91" fmla="*/ 5 h 131"/>
                <a:gd name="T92" fmla="*/ 80 w 188"/>
                <a:gd name="T93" fmla="*/ 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8" h="131">
                  <a:moveTo>
                    <a:pt x="82" y="0"/>
                  </a:moveTo>
                  <a:lnTo>
                    <a:pt x="83" y="0"/>
                  </a:lnTo>
                  <a:lnTo>
                    <a:pt x="92" y="9"/>
                  </a:lnTo>
                  <a:lnTo>
                    <a:pt x="101" y="9"/>
                  </a:lnTo>
                  <a:lnTo>
                    <a:pt x="101" y="15"/>
                  </a:lnTo>
                  <a:lnTo>
                    <a:pt x="104" y="18"/>
                  </a:lnTo>
                  <a:lnTo>
                    <a:pt x="104" y="20"/>
                  </a:lnTo>
                  <a:lnTo>
                    <a:pt x="102" y="20"/>
                  </a:lnTo>
                  <a:lnTo>
                    <a:pt x="104" y="26"/>
                  </a:lnTo>
                  <a:lnTo>
                    <a:pt x="117" y="28"/>
                  </a:lnTo>
                  <a:lnTo>
                    <a:pt x="122" y="26"/>
                  </a:lnTo>
                  <a:lnTo>
                    <a:pt x="126" y="30"/>
                  </a:lnTo>
                  <a:lnTo>
                    <a:pt x="136" y="52"/>
                  </a:lnTo>
                  <a:lnTo>
                    <a:pt x="148" y="58"/>
                  </a:lnTo>
                  <a:lnTo>
                    <a:pt x="154" y="66"/>
                  </a:lnTo>
                  <a:lnTo>
                    <a:pt x="162" y="69"/>
                  </a:lnTo>
                  <a:lnTo>
                    <a:pt x="174" y="77"/>
                  </a:lnTo>
                  <a:lnTo>
                    <a:pt x="178" y="77"/>
                  </a:lnTo>
                  <a:lnTo>
                    <a:pt x="188" y="83"/>
                  </a:lnTo>
                  <a:lnTo>
                    <a:pt x="187" y="88"/>
                  </a:lnTo>
                  <a:lnTo>
                    <a:pt x="187" y="95"/>
                  </a:lnTo>
                  <a:lnTo>
                    <a:pt x="182" y="95"/>
                  </a:lnTo>
                  <a:lnTo>
                    <a:pt x="178" y="94"/>
                  </a:lnTo>
                  <a:lnTo>
                    <a:pt x="175" y="94"/>
                  </a:lnTo>
                  <a:lnTo>
                    <a:pt x="171" y="97"/>
                  </a:lnTo>
                  <a:lnTo>
                    <a:pt x="165" y="97"/>
                  </a:lnTo>
                  <a:lnTo>
                    <a:pt x="160" y="112"/>
                  </a:lnTo>
                  <a:lnTo>
                    <a:pt x="159" y="112"/>
                  </a:lnTo>
                  <a:lnTo>
                    <a:pt x="141" y="120"/>
                  </a:lnTo>
                  <a:lnTo>
                    <a:pt x="142" y="122"/>
                  </a:lnTo>
                  <a:lnTo>
                    <a:pt x="142" y="123"/>
                  </a:lnTo>
                  <a:lnTo>
                    <a:pt x="141" y="126"/>
                  </a:lnTo>
                  <a:lnTo>
                    <a:pt x="136" y="131"/>
                  </a:lnTo>
                  <a:lnTo>
                    <a:pt x="135" y="131"/>
                  </a:lnTo>
                  <a:lnTo>
                    <a:pt x="120" y="126"/>
                  </a:lnTo>
                  <a:lnTo>
                    <a:pt x="116" y="123"/>
                  </a:lnTo>
                  <a:lnTo>
                    <a:pt x="116" y="119"/>
                  </a:lnTo>
                  <a:lnTo>
                    <a:pt x="114" y="109"/>
                  </a:lnTo>
                  <a:lnTo>
                    <a:pt x="108" y="109"/>
                  </a:lnTo>
                  <a:lnTo>
                    <a:pt x="94" y="98"/>
                  </a:lnTo>
                  <a:lnTo>
                    <a:pt x="89" y="91"/>
                  </a:lnTo>
                  <a:lnTo>
                    <a:pt x="67" y="85"/>
                  </a:lnTo>
                  <a:lnTo>
                    <a:pt x="62" y="79"/>
                  </a:lnTo>
                  <a:lnTo>
                    <a:pt x="40" y="83"/>
                  </a:lnTo>
                  <a:lnTo>
                    <a:pt x="28" y="92"/>
                  </a:lnTo>
                  <a:lnTo>
                    <a:pt x="21" y="94"/>
                  </a:lnTo>
                  <a:lnTo>
                    <a:pt x="19" y="94"/>
                  </a:lnTo>
                  <a:lnTo>
                    <a:pt x="18" y="76"/>
                  </a:lnTo>
                  <a:lnTo>
                    <a:pt x="21" y="67"/>
                  </a:lnTo>
                  <a:lnTo>
                    <a:pt x="13" y="63"/>
                  </a:lnTo>
                  <a:lnTo>
                    <a:pt x="12" y="63"/>
                  </a:lnTo>
                  <a:lnTo>
                    <a:pt x="12" y="61"/>
                  </a:lnTo>
                  <a:lnTo>
                    <a:pt x="13" y="61"/>
                  </a:lnTo>
                  <a:lnTo>
                    <a:pt x="18" y="58"/>
                  </a:lnTo>
                  <a:lnTo>
                    <a:pt x="13" y="55"/>
                  </a:lnTo>
                  <a:lnTo>
                    <a:pt x="12" y="55"/>
                  </a:lnTo>
                  <a:lnTo>
                    <a:pt x="12" y="54"/>
                  </a:lnTo>
                  <a:lnTo>
                    <a:pt x="15" y="52"/>
                  </a:lnTo>
                  <a:lnTo>
                    <a:pt x="13" y="51"/>
                  </a:lnTo>
                  <a:lnTo>
                    <a:pt x="6" y="52"/>
                  </a:lnTo>
                  <a:lnTo>
                    <a:pt x="5" y="45"/>
                  </a:lnTo>
                  <a:lnTo>
                    <a:pt x="6" y="31"/>
                  </a:lnTo>
                  <a:lnTo>
                    <a:pt x="8" y="31"/>
                  </a:lnTo>
                  <a:lnTo>
                    <a:pt x="9" y="37"/>
                  </a:lnTo>
                  <a:lnTo>
                    <a:pt x="24" y="39"/>
                  </a:lnTo>
                  <a:lnTo>
                    <a:pt x="25" y="39"/>
                  </a:lnTo>
                  <a:lnTo>
                    <a:pt x="24" y="37"/>
                  </a:lnTo>
                  <a:lnTo>
                    <a:pt x="24" y="36"/>
                  </a:lnTo>
                  <a:lnTo>
                    <a:pt x="30" y="31"/>
                  </a:lnTo>
                  <a:lnTo>
                    <a:pt x="22" y="24"/>
                  </a:lnTo>
                  <a:lnTo>
                    <a:pt x="18" y="17"/>
                  </a:lnTo>
                  <a:lnTo>
                    <a:pt x="15" y="17"/>
                  </a:lnTo>
                  <a:lnTo>
                    <a:pt x="6" y="21"/>
                  </a:lnTo>
                  <a:lnTo>
                    <a:pt x="6" y="31"/>
                  </a:lnTo>
                  <a:lnTo>
                    <a:pt x="5" y="31"/>
                  </a:lnTo>
                  <a:lnTo>
                    <a:pt x="5" y="30"/>
                  </a:lnTo>
                  <a:lnTo>
                    <a:pt x="0" y="18"/>
                  </a:lnTo>
                  <a:lnTo>
                    <a:pt x="9" y="12"/>
                  </a:lnTo>
                  <a:lnTo>
                    <a:pt x="24" y="8"/>
                  </a:lnTo>
                  <a:lnTo>
                    <a:pt x="25" y="8"/>
                  </a:lnTo>
                  <a:lnTo>
                    <a:pt x="33" y="12"/>
                  </a:lnTo>
                  <a:lnTo>
                    <a:pt x="42" y="27"/>
                  </a:lnTo>
                  <a:lnTo>
                    <a:pt x="49" y="26"/>
                  </a:lnTo>
                  <a:lnTo>
                    <a:pt x="61" y="27"/>
                  </a:lnTo>
                  <a:lnTo>
                    <a:pt x="62" y="27"/>
                  </a:lnTo>
                  <a:lnTo>
                    <a:pt x="61" y="17"/>
                  </a:lnTo>
                  <a:lnTo>
                    <a:pt x="65" y="12"/>
                  </a:lnTo>
                  <a:lnTo>
                    <a:pt x="73" y="11"/>
                  </a:lnTo>
                  <a:lnTo>
                    <a:pt x="74" y="6"/>
                  </a:lnTo>
                  <a:lnTo>
                    <a:pt x="76" y="6"/>
                  </a:lnTo>
                  <a:lnTo>
                    <a:pt x="79" y="8"/>
                  </a:lnTo>
                  <a:lnTo>
                    <a:pt x="77" y="5"/>
                  </a:lnTo>
                  <a:lnTo>
                    <a:pt x="77" y="3"/>
                  </a:lnTo>
                  <a:lnTo>
                    <a:pt x="80" y="3"/>
                  </a:lnTo>
                  <a:lnTo>
                    <a:pt x="8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6" name="Uzbekistan">
              <a:extLst>
                <a:ext uri="{FF2B5EF4-FFF2-40B4-BE49-F238E27FC236}">
                  <a16:creationId xmlns:a16="http://schemas.microsoft.com/office/drawing/2014/main" id="{37C807CC-50D4-8DB0-FFBD-B5CD06417DA6}"/>
                </a:ext>
              </a:extLst>
            </p:cNvPr>
            <p:cNvSpPr>
              <a:spLocks/>
            </p:cNvSpPr>
            <p:nvPr/>
          </p:nvSpPr>
          <p:spPr bwMode="auto">
            <a:xfrm>
              <a:off x="7148613" y="3378482"/>
              <a:ext cx="406590" cy="265638"/>
            </a:xfrm>
            <a:custGeom>
              <a:avLst/>
              <a:gdLst>
                <a:gd name="T0" fmla="*/ 41 w 225"/>
                <a:gd name="T1" fmla="*/ 3 h 147"/>
                <a:gd name="T2" fmla="*/ 80 w 225"/>
                <a:gd name="T3" fmla="*/ 38 h 147"/>
                <a:gd name="T4" fmla="*/ 127 w 225"/>
                <a:gd name="T5" fmla="*/ 41 h 147"/>
                <a:gd name="T6" fmla="*/ 134 w 225"/>
                <a:gd name="T7" fmla="*/ 49 h 147"/>
                <a:gd name="T8" fmla="*/ 140 w 225"/>
                <a:gd name="T9" fmla="*/ 68 h 147"/>
                <a:gd name="T10" fmla="*/ 155 w 225"/>
                <a:gd name="T11" fmla="*/ 77 h 147"/>
                <a:gd name="T12" fmla="*/ 176 w 225"/>
                <a:gd name="T13" fmla="*/ 73 h 147"/>
                <a:gd name="T14" fmla="*/ 188 w 225"/>
                <a:gd name="T15" fmla="*/ 64 h 147"/>
                <a:gd name="T16" fmla="*/ 195 w 225"/>
                <a:gd name="T17" fmla="*/ 59 h 147"/>
                <a:gd name="T18" fmla="*/ 200 w 225"/>
                <a:gd name="T19" fmla="*/ 62 h 147"/>
                <a:gd name="T20" fmla="*/ 186 w 225"/>
                <a:gd name="T21" fmla="*/ 74 h 147"/>
                <a:gd name="T22" fmla="*/ 194 w 225"/>
                <a:gd name="T23" fmla="*/ 77 h 147"/>
                <a:gd name="T24" fmla="*/ 206 w 225"/>
                <a:gd name="T25" fmla="*/ 74 h 147"/>
                <a:gd name="T26" fmla="*/ 225 w 225"/>
                <a:gd name="T27" fmla="*/ 86 h 147"/>
                <a:gd name="T28" fmla="*/ 191 w 225"/>
                <a:gd name="T29" fmla="*/ 96 h 147"/>
                <a:gd name="T30" fmla="*/ 192 w 225"/>
                <a:gd name="T31" fmla="*/ 87 h 147"/>
                <a:gd name="T32" fmla="*/ 189 w 225"/>
                <a:gd name="T33" fmla="*/ 81 h 147"/>
                <a:gd name="T34" fmla="*/ 176 w 225"/>
                <a:gd name="T35" fmla="*/ 87 h 147"/>
                <a:gd name="T36" fmla="*/ 174 w 225"/>
                <a:gd name="T37" fmla="*/ 96 h 147"/>
                <a:gd name="T38" fmla="*/ 164 w 225"/>
                <a:gd name="T39" fmla="*/ 107 h 147"/>
                <a:gd name="T40" fmla="*/ 149 w 225"/>
                <a:gd name="T41" fmla="*/ 111 h 147"/>
                <a:gd name="T42" fmla="*/ 158 w 225"/>
                <a:gd name="T43" fmla="*/ 117 h 147"/>
                <a:gd name="T44" fmla="*/ 161 w 225"/>
                <a:gd name="T45" fmla="*/ 130 h 147"/>
                <a:gd name="T46" fmla="*/ 152 w 225"/>
                <a:gd name="T47" fmla="*/ 147 h 147"/>
                <a:gd name="T48" fmla="*/ 137 w 225"/>
                <a:gd name="T49" fmla="*/ 138 h 147"/>
                <a:gd name="T50" fmla="*/ 130 w 225"/>
                <a:gd name="T51" fmla="*/ 127 h 147"/>
                <a:gd name="T52" fmla="*/ 114 w 225"/>
                <a:gd name="T53" fmla="*/ 119 h 147"/>
                <a:gd name="T54" fmla="*/ 99 w 225"/>
                <a:gd name="T55" fmla="*/ 110 h 147"/>
                <a:gd name="T56" fmla="*/ 78 w 225"/>
                <a:gd name="T57" fmla="*/ 80 h 147"/>
                <a:gd name="T58" fmla="*/ 69 w 225"/>
                <a:gd name="T59" fmla="*/ 80 h 147"/>
                <a:gd name="T60" fmla="*/ 54 w 225"/>
                <a:gd name="T61" fmla="*/ 70 h 147"/>
                <a:gd name="T62" fmla="*/ 53 w 225"/>
                <a:gd name="T63" fmla="*/ 65 h 147"/>
                <a:gd name="T64" fmla="*/ 44 w 225"/>
                <a:gd name="T65" fmla="*/ 59 h 147"/>
                <a:gd name="T66" fmla="*/ 29 w 225"/>
                <a:gd name="T67" fmla="*/ 55 h 147"/>
                <a:gd name="T68" fmla="*/ 28 w 225"/>
                <a:gd name="T69" fmla="*/ 56 h 147"/>
                <a:gd name="T70" fmla="*/ 17 w 225"/>
                <a:gd name="T71" fmla="*/ 62 h 147"/>
                <a:gd name="T72" fmla="*/ 16 w 225"/>
                <a:gd name="T73" fmla="*/ 77 h 147"/>
                <a:gd name="T74" fmla="*/ 1 w 225"/>
                <a:gd name="T75" fmla="*/ 77 h 147"/>
                <a:gd name="T76" fmla="*/ 34 w 225"/>
                <a:gd name="T7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5" h="147">
                  <a:moveTo>
                    <a:pt x="34" y="0"/>
                  </a:moveTo>
                  <a:lnTo>
                    <a:pt x="41" y="3"/>
                  </a:lnTo>
                  <a:lnTo>
                    <a:pt x="54" y="13"/>
                  </a:lnTo>
                  <a:lnTo>
                    <a:pt x="80" y="38"/>
                  </a:lnTo>
                  <a:lnTo>
                    <a:pt x="118" y="34"/>
                  </a:lnTo>
                  <a:lnTo>
                    <a:pt x="127" y="41"/>
                  </a:lnTo>
                  <a:lnTo>
                    <a:pt x="130" y="49"/>
                  </a:lnTo>
                  <a:lnTo>
                    <a:pt x="134" y="49"/>
                  </a:lnTo>
                  <a:lnTo>
                    <a:pt x="133" y="67"/>
                  </a:lnTo>
                  <a:lnTo>
                    <a:pt x="140" y="68"/>
                  </a:lnTo>
                  <a:lnTo>
                    <a:pt x="143" y="78"/>
                  </a:lnTo>
                  <a:lnTo>
                    <a:pt x="155" y="77"/>
                  </a:lnTo>
                  <a:lnTo>
                    <a:pt x="167" y="81"/>
                  </a:lnTo>
                  <a:lnTo>
                    <a:pt x="176" y="73"/>
                  </a:lnTo>
                  <a:lnTo>
                    <a:pt x="185" y="68"/>
                  </a:lnTo>
                  <a:lnTo>
                    <a:pt x="188" y="64"/>
                  </a:lnTo>
                  <a:lnTo>
                    <a:pt x="192" y="64"/>
                  </a:lnTo>
                  <a:lnTo>
                    <a:pt x="195" y="59"/>
                  </a:lnTo>
                  <a:lnTo>
                    <a:pt x="198" y="61"/>
                  </a:lnTo>
                  <a:lnTo>
                    <a:pt x="200" y="62"/>
                  </a:lnTo>
                  <a:lnTo>
                    <a:pt x="186" y="71"/>
                  </a:lnTo>
                  <a:lnTo>
                    <a:pt x="186" y="74"/>
                  </a:lnTo>
                  <a:lnTo>
                    <a:pt x="192" y="74"/>
                  </a:lnTo>
                  <a:lnTo>
                    <a:pt x="194" y="77"/>
                  </a:lnTo>
                  <a:lnTo>
                    <a:pt x="201" y="80"/>
                  </a:lnTo>
                  <a:lnTo>
                    <a:pt x="206" y="74"/>
                  </a:lnTo>
                  <a:lnTo>
                    <a:pt x="212" y="81"/>
                  </a:lnTo>
                  <a:lnTo>
                    <a:pt x="225" y="86"/>
                  </a:lnTo>
                  <a:lnTo>
                    <a:pt x="209" y="96"/>
                  </a:lnTo>
                  <a:lnTo>
                    <a:pt x="191" y="96"/>
                  </a:lnTo>
                  <a:lnTo>
                    <a:pt x="189" y="90"/>
                  </a:lnTo>
                  <a:lnTo>
                    <a:pt x="192" y="87"/>
                  </a:lnTo>
                  <a:lnTo>
                    <a:pt x="192" y="81"/>
                  </a:lnTo>
                  <a:lnTo>
                    <a:pt x="189" y="81"/>
                  </a:lnTo>
                  <a:lnTo>
                    <a:pt x="180" y="89"/>
                  </a:lnTo>
                  <a:lnTo>
                    <a:pt x="176" y="87"/>
                  </a:lnTo>
                  <a:lnTo>
                    <a:pt x="174" y="90"/>
                  </a:lnTo>
                  <a:lnTo>
                    <a:pt x="174" y="96"/>
                  </a:lnTo>
                  <a:lnTo>
                    <a:pt x="167" y="99"/>
                  </a:lnTo>
                  <a:lnTo>
                    <a:pt x="164" y="107"/>
                  </a:lnTo>
                  <a:lnTo>
                    <a:pt x="152" y="107"/>
                  </a:lnTo>
                  <a:lnTo>
                    <a:pt x="149" y="111"/>
                  </a:lnTo>
                  <a:lnTo>
                    <a:pt x="154" y="116"/>
                  </a:lnTo>
                  <a:lnTo>
                    <a:pt x="158" y="117"/>
                  </a:lnTo>
                  <a:lnTo>
                    <a:pt x="158" y="121"/>
                  </a:lnTo>
                  <a:lnTo>
                    <a:pt x="161" y="130"/>
                  </a:lnTo>
                  <a:lnTo>
                    <a:pt x="155" y="139"/>
                  </a:lnTo>
                  <a:lnTo>
                    <a:pt x="152" y="147"/>
                  </a:lnTo>
                  <a:lnTo>
                    <a:pt x="137" y="144"/>
                  </a:lnTo>
                  <a:lnTo>
                    <a:pt x="137" y="138"/>
                  </a:lnTo>
                  <a:lnTo>
                    <a:pt x="140" y="133"/>
                  </a:lnTo>
                  <a:lnTo>
                    <a:pt x="130" y="127"/>
                  </a:lnTo>
                  <a:lnTo>
                    <a:pt x="124" y="129"/>
                  </a:lnTo>
                  <a:lnTo>
                    <a:pt x="114" y="119"/>
                  </a:lnTo>
                  <a:lnTo>
                    <a:pt x="106" y="116"/>
                  </a:lnTo>
                  <a:lnTo>
                    <a:pt x="99" y="110"/>
                  </a:lnTo>
                  <a:lnTo>
                    <a:pt x="87" y="102"/>
                  </a:lnTo>
                  <a:lnTo>
                    <a:pt x="78" y="80"/>
                  </a:lnTo>
                  <a:lnTo>
                    <a:pt x="74" y="77"/>
                  </a:lnTo>
                  <a:lnTo>
                    <a:pt x="69" y="80"/>
                  </a:lnTo>
                  <a:lnTo>
                    <a:pt x="54" y="77"/>
                  </a:lnTo>
                  <a:lnTo>
                    <a:pt x="54" y="70"/>
                  </a:lnTo>
                  <a:lnTo>
                    <a:pt x="56" y="68"/>
                  </a:lnTo>
                  <a:lnTo>
                    <a:pt x="53" y="65"/>
                  </a:lnTo>
                  <a:lnTo>
                    <a:pt x="51" y="61"/>
                  </a:lnTo>
                  <a:lnTo>
                    <a:pt x="44" y="59"/>
                  </a:lnTo>
                  <a:lnTo>
                    <a:pt x="35" y="52"/>
                  </a:lnTo>
                  <a:lnTo>
                    <a:pt x="29" y="55"/>
                  </a:lnTo>
                  <a:lnTo>
                    <a:pt x="32" y="59"/>
                  </a:lnTo>
                  <a:lnTo>
                    <a:pt x="28" y="56"/>
                  </a:lnTo>
                  <a:lnTo>
                    <a:pt x="25" y="61"/>
                  </a:lnTo>
                  <a:lnTo>
                    <a:pt x="17" y="62"/>
                  </a:lnTo>
                  <a:lnTo>
                    <a:pt x="14" y="67"/>
                  </a:lnTo>
                  <a:lnTo>
                    <a:pt x="16" y="77"/>
                  </a:lnTo>
                  <a:lnTo>
                    <a:pt x="13" y="78"/>
                  </a:lnTo>
                  <a:lnTo>
                    <a:pt x="1" y="77"/>
                  </a:lnTo>
                  <a:lnTo>
                    <a:pt x="0" y="12"/>
                  </a:lnTo>
                  <a:lnTo>
                    <a:pt x="3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7" name="Kazakhstan">
              <a:extLst>
                <a:ext uri="{FF2B5EF4-FFF2-40B4-BE49-F238E27FC236}">
                  <a16:creationId xmlns:a16="http://schemas.microsoft.com/office/drawing/2014/main" id="{0812BCD5-CB07-0544-729D-84CD3C9DD1FC}"/>
                </a:ext>
              </a:extLst>
            </p:cNvPr>
            <p:cNvSpPr>
              <a:spLocks/>
            </p:cNvSpPr>
            <p:nvPr/>
          </p:nvSpPr>
          <p:spPr bwMode="auto">
            <a:xfrm>
              <a:off x="6926344" y="3013456"/>
              <a:ext cx="961356" cy="515013"/>
            </a:xfrm>
            <a:custGeom>
              <a:avLst/>
              <a:gdLst>
                <a:gd name="T0" fmla="*/ 309 w 532"/>
                <a:gd name="T1" fmla="*/ 6 h 285"/>
                <a:gd name="T2" fmla="*/ 323 w 532"/>
                <a:gd name="T3" fmla="*/ 24 h 285"/>
                <a:gd name="T4" fmla="*/ 336 w 532"/>
                <a:gd name="T5" fmla="*/ 24 h 285"/>
                <a:gd name="T6" fmla="*/ 339 w 532"/>
                <a:gd name="T7" fmla="*/ 31 h 285"/>
                <a:gd name="T8" fmla="*/ 355 w 532"/>
                <a:gd name="T9" fmla="*/ 31 h 285"/>
                <a:gd name="T10" fmla="*/ 357 w 532"/>
                <a:gd name="T11" fmla="*/ 40 h 285"/>
                <a:gd name="T12" fmla="*/ 379 w 532"/>
                <a:gd name="T13" fmla="*/ 28 h 285"/>
                <a:gd name="T14" fmla="*/ 397 w 532"/>
                <a:gd name="T15" fmla="*/ 28 h 285"/>
                <a:gd name="T16" fmla="*/ 441 w 532"/>
                <a:gd name="T17" fmla="*/ 98 h 285"/>
                <a:gd name="T18" fmla="*/ 456 w 532"/>
                <a:gd name="T19" fmla="*/ 103 h 285"/>
                <a:gd name="T20" fmla="*/ 478 w 532"/>
                <a:gd name="T21" fmla="*/ 97 h 285"/>
                <a:gd name="T22" fmla="*/ 501 w 532"/>
                <a:gd name="T23" fmla="*/ 114 h 285"/>
                <a:gd name="T24" fmla="*/ 520 w 532"/>
                <a:gd name="T25" fmla="*/ 125 h 285"/>
                <a:gd name="T26" fmla="*/ 521 w 532"/>
                <a:gd name="T27" fmla="*/ 150 h 285"/>
                <a:gd name="T28" fmla="*/ 495 w 532"/>
                <a:gd name="T29" fmla="*/ 177 h 285"/>
                <a:gd name="T30" fmla="*/ 440 w 532"/>
                <a:gd name="T31" fmla="*/ 223 h 285"/>
                <a:gd name="T32" fmla="*/ 426 w 532"/>
                <a:gd name="T33" fmla="*/ 255 h 285"/>
                <a:gd name="T34" fmla="*/ 360 w 532"/>
                <a:gd name="T35" fmla="*/ 246 h 285"/>
                <a:gd name="T36" fmla="*/ 326 w 532"/>
                <a:gd name="T37" fmla="*/ 254 h 285"/>
                <a:gd name="T38" fmla="*/ 315 w 532"/>
                <a:gd name="T39" fmla="*/ 267 h 285"/>
                <a:gd name="T40" fmla="*/ 278 w 532"/>
                <a:gd name="T41" fmla="*/ 280 h 285"/>
                <a:gd name="T42" fmla="*/ 263 w 532"/>
                <a:gd name="T43" fmla="*/ 270 h 285"/>
                <a:gd name="T44" fmla="*/ 253 w 532"/>
                <a:gd name="T45" fmla="*/ 251 h 285"/>
                <a:gd name="T46" fmla="*/ 216 w 532"/>
                <a:gd name="T47" fmla="*/ 240 h 285"/>
                <a:gd name="T48" fmla="*/ 164 w 532"/>
                <a:gd name="T49" fmla="*/ 206 h 285"/>
                <a:gd name="T50" fmla="*/ 120 w 532"/>
                <a:gd name="T51" fmla="*/ 280 h 285"/>
                <a:gd name="T52" fmla="*/ 77 w 532"/>
                <a:gd name="T53" fmla="*/ 272 h 285"/>
                <a:gd name="T54" fmla="*/ 60 w 532"/>
                <a:gd name="T55" fmla="*/ 248 h 285"/>
                <a:gd name="T56" fmla="*/ 60 w 532"/>
                <a:gd name="T57" fmla="*/ 214 h 285"/>
                <a:gd name="T58" fmla="*/ 84 w 532"/>
                <a:gd name="T59" fmla="*/ 208 h 285"/>
                <a:gd name="T60" fmla="*/ 106 w 532"/>
                <a:gd name="T61" fmla="*/ 208 h 285"/>
                <a:gd name="T62" fmla="*/ 69 w 532"/>
                <a:gd name="T63" fmla="*/ 177 h 285"/>
                <a:gd name="T64" fmla="*/ 23 w 532"/>
                <a:gd name="T65" fmla="*/ 181 h 285"/>
                <a:gd name="T66" fmla="*/ 22 w 532"/>
                <a:gd name="T67" fmla="*/ 162 h 285"/>
                <a:gd name="T68" fmla="*/ 0 w 532"/>
                <a:gd name="T69" fmla="*/ 149 h 285"/>
                <a:gd name="T70" fmla="*/ 10 w 532"/>
                <a:gd name="T71" fmla="*/ 116 h 285"/>
                <a:gd name="T72" fmla="*/ 29 w 532"/>
                <a:gd name="T73" fmla="*/ 117 h 285"/>
                <a:gd name="T74" fmla="*/ 37 w 532"/>
                <a:gd name="T75" fmla="*/ 95 h 285"/>
                <a:gd name="T76" fmla="*/ 59 w 532"/>
                <a:gd name="T77" fmla="*/ 82 h 285"/>
                <a:gd name="T78" fmla="*/ 69 w 532"/>
                <a:gd name="T79" fmla="*/ 82 h 285"/>
                <a:gd name="T80" fmla="*/ 103 w 532"/>
                <a:gd name="T81" fmla="*/ 100 h 285"/>
                <a:gd name="T82" fmla="*/ 114 w 532"/>
                <a:gd name="T83" fmla="*/ 101 h 285"/>
                <a:gd name="T84" fmla="*/ 139 w 532"/>
                <a:gd name="T85" fmla="*/ 95 h 285"/>
                <a:gd name="T86" fmla="*/ 161 w 532"/>
                <a:gd name="T87" fmla="*/ 104 h 285"/>
                <a:gd name="T88" fmla="*/ 177 w 532"/>
                <a:gd name="T89" fmla="*/ 100 h 285"/>
                <a:gd name="T90" fmla="*/ 188 w 532"/>
                <a:gd name="T91" fmla="*/ 88 h 285"/>
                <a:gd name="T92" fmla="*/ 176 w 532"/>
                <a:gd name="T93" fmla="*/ 76 h 285"/>
                <a:gd name="T94" fmla="*/ 189 w 532"/>
                <a:gd name="T95" fmla="*/ 55 h 285"/>
                <a:gd name="T96" fmla="*/ 191 w 532"/>
                <a:gd name="T97" fmla="*/ 43 h 285"/>
                <a:gd name="T98" fmla="*/ 189 w 532"/>
                <a:gd name="T99" fmla="*/ 42 h 285"/>
                <a:gd name="T100" fmla="*/ 195 w 532"/>
                <a:gd name="T101" fmla="*/ 31 h 285"/>
                <a:gd name="T102" fmla="*/ 210 w 532"/>
                <a:gd name="T103" fmla="*/ 31 h 285"/>
                <a:gd name="T104" fmla="*/ 229 w 532"/>
                <a:gd name="T105" fmla="*/ 27 h 285"/>
                <a:gd name="T106" fmla="*/ 283 w 532"/>
                <a:gd name="T107" fmla="*/ 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2" h="285">
                  <a:moveTo>
                    <a:pt x="293" y="0"/>
                  </a:moveTo>
                  <a:lnTo>
                    <a:pt x="296" y="0"/>
                  </a:lnTo>
                  <a:lnTo>
                    <a:pt x="299" y="2"/>
                  </a:lnTo>
                  <a:lnTo>
                    <a:pt x="302" y="2"/>
                  </a:lnTo>
                  <a:lnTo>
                    <a:pt x="309" y="6"/>
                  </a:lnTo>
                  <a:lnTo>
                    <a:pt x="315" y="3"/>
                  </a:lnTo>
                  <a:lnTo>
                    <a:pt x="320" y="6"/>
                  </a:lnTo>
                  <a:lnTo>
                    <a:pt x="321" y="15"/>
                  </a:lnTo>
                  <a:lnTo>
                    <a:pt x="324" y="18"/>
                  </a:lnTo>
                  <a:lnTo>
                    <a:pt x="323" y="24"/>
                  </a:lnTo>
                  <a:lnTo>
                    <a:pt x="321" y="27"/>
                  </a:lnTo>
                  <a:lnTo>
                    <a:pt x="323" y="30"/>
                  </a:lnTo>
                  <a:lnTo>
                    <a:pt x="333" y="28"/>
                  </a:lnTo>
                  <a:lnTo>
                    <a:pt x="333" y="24"/>
                  </a:lnTo>
                  <a:lnTo>
                    <a:pt x="336" y="24"/>
                  </a:lnTo>
                  <a:lnTo>
                    <a:pt x="336" y="25"/>
                  </a:lnTo>
                  <a:lnTo>
                    <a:pt x="339" y="30"/>
                  </a:lnTo>
                  <a:lnTo>
                    <a:pt x="339" y="33"/>
                  </a:lnTo>
                  <a:lnTo>
                    <a:pt x="340" y="33"/>
                  </a:lnTo>
                  <a:lnTo>
                    <a:pt x="339" y="31"/>
                  </a:lnTo>
                  <a:lnTo>
                    <a:pt x="340" y="30"/>
                  </a:lnTo>
                  <a:lnTo>
                    <a:pt x="342" y="30"/>
                  </a:lnTo>
                  <a:lnTo>
                    <a:pt x="349" y="34"/>
                  </a:lnTo>
                  <a:lnTo>
                    <a:pt x="354" y="31"/>
                  </a:lnTo>
                  <a:lnTo>
                    <a:pt x="355" y="31"/>
                  </a:lnTo>
                  <a:lnTo>
                    <a:pt x="355" y="37"/>
                  </a:lnTo>
                  <a:lnTo>
                    <a:pt x="352" y="37"/>
                  </a:lnTo>
                  <a:lnTo>
                    <a:pt x="351" y="42"/>
                  </a:lnTo>
                  <a:lnTo>
                    <a:pt x="351" y="43"/>
                  </a:lnTo>
                  <a:lnTo>
                    <a:pt x="357" y="40"/>
                  </a:lnTo>
                  <a:lnTo>
                    <a:pt x="358" y="40"/>
                  </a:lnTo>
                  <a:lnTo>
                    <a:pt x="364" y="42"/>
                  </a:lnTo>
                  <a:lnTo>
                    <a:pt x="364" y="39"/>
                  </a:lnTo>
                  <a:lnTo>
                    <a:pt x="373" y="36"/>
                  </a:lnTo>
                  <a:lnTo>
                    <a:pt x="379" y="28"/>
                  </a:lnTo>
                  <a:lnTo>
                    <a:pt x="385" y="28"/>
                  </a:lnTo>
                  <a:lnTo>
                    <a:pt x="394" y="24"/>
                  </a:lnTo>
                  <a:lnTo>
                    <a:pt x="395" y="24"/>
                  </a:lnTo>
                  <a:lnTo>
                    <a:pt x="397" y="27"/>
                  </a:lnTo>
                  <a:lnTo>
                    <a:pt x="397" y="28"/>
                  </a:lnTo>
                  <a:lnTo>
                    <a:pt x="392" y="30"/>
                  </a:lnTo>
                  <a:lnTo>
                    <a:pt x="392" y="33"/>
                  </a:lnTo>
                  <a:lnTo>
                    <a:pt x="410" y="49"/>
                  </a:lnTo>
                  <a:lnTo>
                    <a:pt x="438" y="101"/>
                  </a:lnTo>
                  <a:lnTo>
                    <a:pt x="441" y="98"/>
                  </a:lnTo>
                  <a:lnTo>
                    <a:pt x="444" y="92"/>
                  </a:lnTo>
                  <a:lnTo>
                    <a:pt x="447" y="91"/>
                  </a:lnTo>
                  <a:lnTo>
                    <a:pt x="453" y="95"/>
                  </a:lnTo>
                  <a:lnTo>
                    <a:pt x="453" y="98"/>
                  </a:lnTo>
                  <a:lnTo>
                    <a:pt x="456" y="103"/>
                  </a:lnTo>
                  <a:lnTo>
                    <a:pt x="471" y="103"/>
                  </a:lnTo>
                  <a:lnTo>
                    <a:pt x="472" y="100"/>
                  </a:lnTo>
                  <a:lnTo>
                    <a:pt x="474" y="98"/>
                  </a:lnTo>
                  <a:lnTo>
                    <a:pt x="477" y="98"/>
                  </a:lnTo>
                  <a:lnTo>
                    <a:pt x="478" y="97"/>
                  </a:lnTo>
                  <a:lnTo>
                    <a:pt x="480" y="97"/>
                  </a:lnTo>
                  <a:lnTo>
                    <a:pt x="483" y="98"/>
                  </a:lnTo>
                  <a:lnTo>
                    <a:pt x="493" y="104"/>
                  </a:lnTo>
                  <a:lnTo>
                    <a:pt x="495" y="113"/>
                  </a:lnTo>
                  <a:lnTo>
                    <a:pt x="501" y="114"/>
                  </a:lnTo>
                  <a:lnTo>
                    <a:pt x="501" y="116"/>
                  </a:lnTo>
                  <a:lnTo>
                    <a:pt x="502" y="119"/>
                  </a:lnTo>
                  <a:lnTo>
                    <a:pt x="506" y="125"/>
                  </a:lnTo>
                  <a:lnTo>
                    <a:pt x="518" y="128"/>
                  </a:lnTo>
                  <a:lnTo>
                    <a:pt x="520" y="125"/>
                  </a:lnTo>
                  <a:lnTo>
                    <a:pt x="524" y="123"/>
                  </a:lnTo>
                  <a:lnTo>
                    <a:pt x="532" y="134"/>
                  </a:lnTo>
                  <a:lnTo>
                    <a:pt x="532" y="135"/>
                  </a:lnTo>
                  <a:lnTo>
                    <a:pt x="527" y="141"/>
                  </a:lnTo>
                  <a:lnTo>
                    <a:pt x="521" y="150"/>
                  </a:lnTo>
                  <a:lnTo>
                    <a:pt x="512" y="152"/>
                  </a:lnTo>
                  <a:lnTo>
                    <a:pt x="509" y="162"/>
                  </a:lnTo>
                  <a:lnTo>
                    <a:pt x="509" y="177"/>
                  </a:lnTo>
                  <a:lnTo>
                    <a:pt x="499" y="181"/>
                  </a:lnTo>
                  <a:lnTo>
                    <a:pt x="495" y="177"/>
                  </a:lnTo>
                  <a:lnTo>
                    <a:pt x="475" y="175"/>
                  </a:lnTo>
                  <a:lnTo>
                    <a:pt x="466" y="197"/>
                  </a:lnTo>
                  <a:lnTo>
                    <a:pt x="466" y="211"/>
                  </a:lnTo>
                  <a:lnTo>
                    <a:pt x="437" y="218"/>
                  </a:lnTo>
                  <a:lnTo>
                    <a:pt x="440" y="223"/>
                  </a:lnTo>
                  <a:lnTo>
                    <a:pt x="446" y="245"/>
                  </a:lnTo>
                  <a:lnTo>
                    <a:pt x="441" y="261"/>
                  </a:lnTo>
                  <a:lnTo>
                    <a:pt x="440" y="261"/>
                  </a:lnTo>
                  <a:lnTo>
                    <a:pt x="431" y="260"/>
                  </a:lnTo>
                  <a:lnTo>
                    <a:pt x="426" y="255"/>
                  </a:lnTo>
                  <a:lnTo>
                    <a:pt x="398" y="251"/>
                  </a:lnTo>
                  <a:lnTo>
                    <a:pt x="394" y="252"/>
                  </a:lnTo>
                  <a:lnTo>
                    <a:pt x="376" y="252"/>
                  </a:lnTo>
                  <a:lnTo>
                    <a:pt x="367" y="251"/>
                  </a:lnTo>
                  <a:lnTo>
                    <a:pt x="360" y="246"/>
                  </a:lnTo>
                  <a:lnTo>
                    <a:pt x="352" y="251"/>
                  </a:lnTo>
                  <a:lnTo>
                    <a:pt x="351" y="260"/>
                  </a:lnTo>
                  <a:lnTo>
                    <a:pt x="349" y="260"/>
                  </a:lnTo>
                  <a:lnTo>
                    <a:pt x="335" y="255"/>
                  </a:lnTo>
                  <a:lnTo>
                    <a:pt x="326" y="254"/>
                  </a:lnTo>
                  <a:lnTo>
                    <a:pt x="321" y="254"/>
                  </a:lnTo>
                  <a:lnTo>
                    <a:pt x="321" y="258"/>
                  </a:lnTo>
                  <a:lnTo>
                    <a:pt x="318" y="263"/>
                  </a:lnTo>
                  <a:lnTo>
                    <a:pt x="315" y="266"/>
                  </a:lnTo>
                  <a:lnTo>
                    <a:pt x="315" y="267"/>
                  </a:lnTo>
                  <a:lnTo>
                    <a:pt x="312" y="267"/>
                  </a:lnTo>
                  <a:lnTo>
                    <a:pt x="309" y="272"/>
                  </a:lnTo>
                  <a:lnTo>
                    <a:pt x="300" y="276"/>
                  </a:lnTo>
                  <a:lnTo>
                    <a:pt x="290" y="285"/>
                  </a:lnTo>
                  <a:lnTo>
                    <a:pt x="278" y="280"/>
                  </a:lnTo>
                  <a:lnTo>
                    <a:pt x="272" y="280"/>
                  </a:lnTo>
                  <a:lnTo>
                    <a:pt x="269" y="282"/>
                  </a:lnTo>
                  <a:lnTo>
                    <a:pt x="265" y="282"/>
                  </a:lnTo>
                  <a:lnTo>
                    <a:pt x="265" y="280"/>
                  </a:lnTo>
                  <a:lnTo>
                    <a:pt x="263" y="270"/>
                  </a:lnTo>
                  <a:lnTo>
                    <a:pt x="256" y="269"/>
                  </a:lnTo>
                  <a:lnTo>
                    <a:pt x="254" y="269"/>
                  </a:lnTo>
                  <a:lnTo>
                    <a:pt x="256" y="252"/>
                  </a:lnTo>
                  <a:lnTo>
                    <a:pt x="253" y="252"/>
                  </a:lnTo>
                  <a:lnTo>
                    <a:pt x="253" y="251"/>
                  </a:lnTo>
                  <a:lnTo>
                    <a:pt x="249" y="243"/>
                  </a:lnTo>
                  <a:lnTo>
                    <a:pt x="240" y="237"/>
                  </a:lnTo>
                  <a:lnTo>
                    <a:pt x="235" y="237"/>
                  </a:lnTo>
                  <a:lnTo>
                    <a:pt x="226" y="239"/>
                  </a:lnTo>
                  <a:lnTo>
                    <a:pt x="216" y="240"/>
                  </a:lnTo>
                  <a:lnTo>
                    <a:pt x="207" y="242"/>
                  </a:lnTo>
                  <a:lnTo>
                    <a:pt x="203" y="242"/>
                  </a:lnTo>
                  <a:lnTo>
                    <a:pt x="203" y="240"/>
                  </a:lnTo>
                  <a:lnTo>
                    <a:pt x="176" y="215"/>
                  </a:lnTo>
                  <a:lnTo>
                    <a:pt x="164" y="206"/>
                  </a:lnTo>
                  <a:lnTo>
                    <a:pt x="157" y="203"/>
                  </a:lnTo>
                  <a:lnTo>
                    <a:pt x="124" y="214"/>
                  </a:lnTo>
                  <a:lnTo>
                    <a:pt x="124" y="279"/>
                  </a:lnTo>
                  <a:lnTo>
                    <a:pt x="121" y="279"/>
                  </a:lnTo>
                  <a:lnTo>
                    <a:pt x="120" y="280"/>
                  </a:lnTo>
                  <a:lnTo>
                    <a:pt x="115" y="280"/>
                  </a:lnTo>
                  <a:lnTo>
                    <a:pt x="106" y="264"/>
                  </a:lnTo>
                  <a:lnTo>
                    <a:pt x="99" y="261"/>
                  </a:lnTo>
                  <a:lnTo>
                    <a:pt x="85" y="266"/>
                  </a:lnTo>
                  <a:lnTo>
                    <a:pt x="77" y="272"/>
                  </a:lnTo>
                  <a:lnTo>
                    <a:pt x="75" y="272"/>
                  </a:lnTo>
                  <a:lnTo>
                    <a:pt x="75" y="270"/>
                  </a:lnTo>
                  <a:lnTo>
                    <a:pt x="78" y="255"/>
                  </a:lnTo>
                  <a:lnTo>
                    <a:pt x="62" y="248"/>
                  </a:lnTo>
                  <a:lnTo>
                    <a:pt x="60" y="248"/>
                  </a:lnTo>
                  <a:lnTo>
                    <a:pt x="57" y="233"/>
                  </a:lnTo>
                  <a:lnTo>
                    <a:pt x="45" y="223"/>
                  </a:lnTo>
                  <a:lnTo>
                    <a:pt x="63" y="223"/>
                  </a:lnTo>
                  <a:lnTo>
                    <a:pt x="60" y="215"/>
                  </a:lnTo>
                  <a:lnTo>
                    <a:pt x="60" y="214"/>
                  </a:lnTo>
                  <a:lnTo>
                    <a:pt x="62" y="211"/>
                  </a:lnTo>
                  <a:lnTo>
                    <a:pt x="69" y="211"/>
                  </a:lnTo>
                  <a:lnTo>
                    <a:pt x="72" y="206"/>
                  </a:lnTo>
                  <a:lnTo>
                    <a:pt x="77" y="206"/>
                  </a:lnTo>
                  <a:lnTo>
                    <a:pt x="84" y="208"/>
                  </a:lnTo>
                  <a:lnTo>
                    <a:pt x="94" y="211"/>
                  </a:lnTo>
                  <a:lnTo>
                    <a:pt x="102" y="212"/>
                  </a:lnTo>
                  <a:lnTo>
                    <a:pt x="105" y="212"/>
                  </a:lnTo>
                  <a:lnTo>
                    <a:pt x="103" y="208"/>
                  </a:lnTo>
                  <a:lnTo>
                    <a:pt x="106" y="208"/>
                  </a:lnTo>
                  <a:lnTo>
                    <a:pt x="105" y="205"/>
                  </a:lnTo>
                  <a:lnTo>
                    <a:pt x="96" y="197"/>
                  </a:lnTo>
                  <a:lnTo>
                    <a:pt x="85" y="180"/>
                  </a:lnTo>
                  <a:lnTo>
                    <a:pt x="78" y="175"/>
                  </a:lnTo>
                  <a:lnTo>
                    <a:pt x="69" y="177"/>
                  </a:lnTo>
                  <a:lnTo>
                    <a:pt x="57" y="174"/>
                  </a:lnTo>
                  <a:lnTo>
                    <a:pt x="48" y="181"/>
                  </a:lnTo>
                  <a:lnTo>
                    <a:pt x="26" y="186"/>
                  </a:lnTo>
                  <a:lnTo>
                    <a:pt x="23" y="186"/>
                  </a:lnTo>
                  <a:lnTo>
                    <a:pt x="23" y="181"/>
                  </a:lnTo>
                  <a:lnTo>
                    <a:pt x="25" y="181"/>
                  </a:lnTo>
                  <a:lnTo>
                    <a:pt x="25" y="180"/>
                  </a:lnTo>
                  <a:lnTo>
                    <a:pt x="31" y="180"/>
                  </a:lnTo>
                  <a:lnTo>
                    <a:pt x="26" y="168"/>
                  </a:lnTo>
                  <a:lnTo>
                    <a:pt x="22" y="162"/>
                  </a:lnTo>
                  <a:lnTo>
                    <a:pt x="11" y="162"/>
                  </a:lnTo>
                  <a:lnTo>
                    <a:pt x="11" y="163"/>
                  </a:lnTo>
                  <a:lnTo>
                    <a:pt x="8" y="160"/>
                  </a:lnTo>
                  <a:lnTo>
                    <a:pt x="5" y="152"/>
                  </a:lnTo>
                  <a:lnTo>
                    <a:pt x="0" y="149"/>
                  </a:lnTo>
                  <a:lnTo>
                    <a:pt x="2" y="138"/>
                  </a:lnTo>
                  <a:lnTo>
                    <a:pt x="7" y="135"/>
                  </a:lnTo>
                  <a:lnTo>
                    <a:pt x="4" y="131"/>
                  </a:lnTo>
                  <a:lnTo>
                    <a:pt x="5" y="119"/>
                  </a:lnTo>
                  <a:lnTo>
                    <a:pt x="10" y="116"/>
                  </a:lnTo>
                  <a:lnTo>
                    <a:pt x="11" y="107"/>
                  </a:lnTo>
                  <a:lnTo>
                    <a:pt x="13" y="106"/>
                  </a:lnTo>
                  <a:lnTo>
                    <a:pt x="13" y="107"/>
                  </a:lnTo>
                  <a:lnTo>
                    <a:pt x="25" y="120"/>
                  </a:lnTo>
                  <a:lnTo>
                    <a:pt x="29" y="117"/>
                  </a:lnTo>
                  <a:lnTo>
                    <a:pt x="26" y="106"/>
                  </a:lnTo>
                  <a:lnTo>
                    <a:pt x="26" y="104"/>
                  </a:lnTo>
                  <a:lnTo>
                    <a:pt x="29" y="104"/>
                  </a:lnTo>
                  <a:lnTo>
                    <a:pt x="37" y="100"/>
                  </a:lnTo>
                  <a:lnTo>
                    <a:pt x="37" y="95"/>
                  </a:lnTo>
                  <a:lnTo>
                    <a:pt x="38" y="94"/>
                  </a:lnTo>
                  <a:lnTo>
                    <a:pt x="48" y="91"/>
                  </a:lnTo>
                  <a:lnTo>
                    <a:pt x="53" y="83"/>
                  </a:lnTo>
                  <a:lnTo>
                    <a:pt x="57" y="83"/>
                  </a:lnTo>
                  <a:lnTo>
                    <a:pt x="59" y="82"/>
                  </a:lnTo>
                  <a:lnTo>
                    <a:pt x="62" y="82"/>
                  </a:lnTo>
                  <a:lnTo>
                    <a:pt x="63" y="85"/>
                  </a:lnTo>
                  <a:lnTo>
                    <a:pt x="66" y="85"/>
                  </a:lnTo>
                  <a:lnTo>
                    <a:pt x="68" y="86"/>
                  </a:lnTo>
                  <a:lnTo>
                    <a:pt x="69" y="82"/>
                  </a:lnTo>
                  <a:lnTo>
                    <a:pt x="71" y="80"/>
                  </a:lnTo>
                  <a:lnTo>
                    <a:pt x="77" y="80"/>
                  </a:lnTo>
                  <a:lnTo>
                    <a:pt x="80" y="86"/>
                  </a:lnTo>
                  <a:lnTo>
                    <a:pt x="91" y="86"/>
                  </a:lnTo>
                  <a:lnTo>
                    <a:pt x="103" y="100"/>
                  </a:lnTo>
                  <a:lnTo>
                    <a:pt x="105" y="106"/>
                  </a:lnTo>
                  <a:lnTo>
                    <a:pt x="106" y="106"/>
                  </a:lnTo>
                  <a:lnTo>
                    <a:pt x="106" y="97"/>
                  </a:lnTo>
                  <a:lnTo>
                    <a:pt x="109" y="95"/>
                  </a:lnTo>
                  <a:lnTo>
                    <a:pt x="114" y="101"/>
                  </a:lnTo>
                  <a:lnTo>
                    <a:pt x="120" y="104"/>
                  </a:lnTo>
                  <a:lnTo>
                    <a:pt x="128" y="97"/>
                  </a:lnTo>
                  <a:lnTo>
                    <a:pt x="133" y="97"/>
                  </a:lnTo>
                  <a:lnTo>
                    <a:pt x="133" y="95"/>
                  </a:lnTo>
                  <a:lnTo>
                    <a:pt x="139" y="95"/>
                  </a:lnTo>
                  <a:lnTo>
                    <a:pt x="143" y="98"/>
                  </a:lnTo>
                  <a:lnTo>
                    <a:pt x="148" y="95"/>
                  </a:lnTo>
                  <a:lnTo>
                    <a:pt x="154" y="94"/>
                  </a:lnTo>
                  <a:lnTo>
                    <a:pt x="157" y="95"/>
                  </a:lnTo>
                  <a:lnTo>
                    <a:pt x="161" y="104"/>
                  </a:lnTo>
                  <a:lnTo>
                    <a:pt x="169" y="104"/>
                  </a:lnTo>
                  <a:lnTo>
                    <a:pt x="170" y="106"/>
                  </a:lnTo>
                  <a:lnTo>
                    <a:pt x="173" y="106"/>
                  </a:lnTo>
                  <a:lnTo>
                    <a:pt x="176" y="100"/>
                  </a:lnTo>
                  <a:lnTo>
                    <a:pt x="177" y="100"/>
                  </a:lnTo>
                  <a:lnTo>
                    <a:pt x="183" y="104"/>
                  </a:lnTo>
                  <a:lnTo>
                    <a:pt x="194" y="101"/>
                  </a:lnTo>
                  <a:lnTo>
                    <a:pt x="197" y="91"/>
                  </a:lnTo>
                  <a:lnTo>
                    <a:pt x="189" y="88"/>
                  </a:lnTo>
                  <a:lnTo>
                    <a:pt x="188" y="88"/>
                  </a:lnTo>
                  <a:lnTo>
                    <a:pt x="186" y="85"/>
                  </a:lnTo>
                  <a:lnTo>
                    <a:pt x="180" y="83"/>
                  </a:lnTo>
                  <a:lnTo>
                    <a:pt x="179" y="80"/>
                  </a:lnTo>
                  <a:lnTo>
                    <a:pt x="176" y="79"/>
                  </a:lnTo>
                  <a:lnTo>
                    <a:pt x="176" y="76"/>
                  </a:lnTo>
                  <a:lnTo>
                    <a:pt x="188" y="70"/>
                  </a:lnTo>
                  <a:lnTo>
                    <a:pt x="189" y="67"/>
                  </a:lnTo>
                  <a:lnTo>
                    <a:pt x="185" y="61"/>
                  </a:lnTo>
                  <a:lnTo>
                    <a:pt x="185" y="60"/>
                  </a:lnTo>
                  <a:lnTo>
                    <a:pt x="189" y="55"/>
                  </a:lnTo>
                  <a:lnTo>
                    <a:pt x="203" y="55"/>
                  </a:lnTo>
                  <a:lnTo>
                    <a:pt x="204" y="54"/>
                  </a:lnTo>
                  <a:lnTo>
                    <a:pt x="200" y="49"/>
                  </a:lnTo>
                  <a:lnTo>
                    <a:pt x="191" y="49"/>
                  </a:lnTo>
                  <a:lnTo>
                    <a:pt x="191" y="43"/>
                  </a:lnTo>
                  <a:lnTo>
                    <a:pt x="195" y="42"/>
                  </a:lnTo>
                  <a:lnTo>
                    <a:pt x="192" y="42"/>
                  </a:lnTo>
                  <a:lnTo>
                    <a:pt x="191" y="43"/>
                  </a:lnTo>
                  <a:lnTo>
                    <a:pt x="189" y="43"/>
                  </a:lnTo>
                  <a:lnTo>
                    <a:pt x="189" y="42"/>
                  </a:lnTo>
                  <a:lnTo>
                    <a:pt x="191" y="37"/>
                  </a:lnTo>
                  <a:lnTo>
                    <a:pt x="188" y="34"/>
                  </a:lnTo>
                  <a:lnTo>
                    <a:pt x="188" y="33"/>
                  </a:lnTo>
                  <a:lnTo>
                    <a:pt x="189" y="33"/>
                  </a:lnTo>
                  <a:lnTo>
                    <a:pt x="195" y="31"/>
                  </a:lnTo>
                  <a:lnTo>
                    <a:pt x="197" y="31"/>
                  </a:lnTo>
                  <a:lnTo>
                    <a:pt x="197" y="33"/>
                  </a:lnTo>
                  <a:lnTo>
                    <a:pt x="209" y="33"/>
                  </a:lnTo>
                  <a:lnTo>
                    <a:pt x="210" y="34"/>
                  </a:lnTo>
                  <a:lnTo>
                    <a:pt x="210" y="31"/>
                  </a:lnTo>
                  <a:lnTo>
                    <a:pt x="217" y="31"/>
                  </a:lnTo>
                  <a:lnTo>
                    <a:pt x="223" y="27"/>
                  </a:lnTo>
                  <a:lnTo>
                    <a:pt x="225" y="27"/>
                  </a:lnTo>
                  <a:lnTo>
                    <a:pt x="229" y="28"/>
                  </a:lnTo>
                  <a:lnTo>
                    <a:pt x="229" y="27"/>
                  </a:lnTo>
                  <a:lnTo>
                    <a:pt x="235" y="24"/>
                  </a:lnTo>
                  <a:lnTo>
                    <a:pt x="243" y="24"/>
                  </a:lnTo>
                  <a:lnTo>
                    <a:pt x="244" y="20"/>
                  </a:lnTo>
                  <a:lnTo>
                    <a:pt x="254" y="18"/>
                  </a:lnTo>
                  <a:lnTo>
                    <a:pt x="283" y="11"/>
                  </a:lnTo>
                  <a:lnTo>
                    <a:pt x="284" y="6"/>
                  </a:lnTo>
                  <a:lnTo>
                    <a:pt x="287" y="5"/>
                  </a:lnTo>
                  <a:lnTo>
                    <a:pt x="29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8" name="Kyrgyzstan">
              <a:extLst>
                <a:ext uri="{FF2B5EF4-FFF2-40B4-BE49-F238E27FC236}">
                  <a16:creationId xmlns:a16="http://schemas.microsoft.com/office/drawing/2014/main" id="{671594C5-013B-ED8A-981C-32DFBFCCD0DA}"/>
                </a:ext>
              </a:extLst>
            </p:cNvPr>
            <p:cNvSpPr>
              <a:spLocks/>
            </p:cNvSpPr>
            <p:nvPr/>
          </p:nvSpPr>
          <p:spPr bwMode="auto">
            <a:xfrm>
              <a:off x="7461234" y="3456186"/>
              <a:ext cx="262024" cy="126495"/>
            </a:xfrm>
            <a:custGeom>
              <a:avLst/>
              <a:gdLst>
                <a:gd name="T0" fmla="*/ 65 w 145"/>
                <a:gd name="T1" fmla="*/ 0 h 70"/>
                <a:gd name="T2" fmla="*/ 80 w 145"/>
                <a:gd name="T3" fmla="*/ 6 h 70"/>
                <a:gd name="T4" fmla="*/ 102 w 145"/>
                <a:gd name="T5" fmla="*/ 4 h 70"/>
                <a:gd name="T6" fmla="*/ 135 w 145"/>
                <a:gd name="T7" fmla="*/ 13 h 70"/>
                <a:gd name="T8" fmla="*/ 145 w 145"/>
                <a:gd name="T9" fmla="*/ 16 h 70"/>
                <a:gd name="T10" fmla="*/ 142 w 145"/>
                <a:gd name="T11" fmla="*/ 25 h 70"/>
                <a:gd name="T12" fmla="*/ 117 w 145"/>
                <a:gd name="T13" fmla="*/ 40 h 70"/>
                <a:gd name="T14" fmla="*/ 99 w 145"/>
                <a:gd name="T15" fmla="*/ 44 h 70"/>
                <a:gd name="T16" fmla="*/ 92 w 145"/>
                <a:gd name="T17" fmla="*/ 53 h 70"/>
                <a:gd name="T18" fmla="*/ 84 w 145"/>
                <a:gd name="T19" fmla="*/ 52 h 70"/>
                <a:gd name="T20" fmla="*/ 77 w 145"/>
                <a:gd name="T21" fmla="*/ 50 h 70"/>
                <a:gd name="T22" fmla="*/ 73 w 145"/>
                <a:gd name="T23" fmla="*/ 53 h 70"/>
                <a:gd name="T24" fmla="*/ 61 w 145"/>
                <a:gd name="T25" fmla="*/ 67 h 70"/>
                <a:gd name="T26" fmla="*/ 52 w 145"/>
                <a:gd name="T27" fmla="*/ 68 h 70"/>
                <a:gd name="T28" fmla="*/ 44 w 145"/>
                <a:gd name="T29" fmla="*/ 70 h 70"/>
                <a:gd name="T30" fmla="*/ 33 w 145"/>
                <a:gd name="T31" fmla="*/ 65 h 70"/>
                <a:gd name="T32" fmla="*/ 22 w 145"/>
                <a:gd name="T33" fmla="*/ 67 h 70"/>
                <a:gd name="T34" fmla="*/ 1 w 145"/>
                <a:gd name="T35" fmla="*/ 65 h 70"/>
                <a:gd name="T36" fmla="*/ 0 w 145"/>
                <a:gd name="T37" fmla="*/ 58 h 70"/>
                <a:gd name="T38" fmla="*/ 12 w 145"/>
                <a:gd name="T39" fmla="*/ 53 h 70"/>
                <a:gd name="T40" fmla="*/ 22 w 145"/>
                <a:gd name="T41" fmla="*/ 52 h 70"/>
                <a:gd name="T42" fmla="*/ 50 w 145"/>
                <a:gd name="T43" fmla="*/ 43 h 70"/>
                <a:gd name="T44" fmla="*/ 33 w 145"/>
                <a:gd name="T45" fmla="*/ 33 h 70"/>
                <a:gd name="T46" fmla="*/ 30 w 145"/>
                <a:gd name="T47" fmla="*/ 38 h 70"/>
                <a:gd name="T48" fmla="*/ 21 w 145"/>
                <a:gd name="T49" fmla="*/ 35 h 70"/>
                <a:gd name="T50" fmla="*/ 13 w 145"/>
                <a:gd name="T51" fmla="*/ 31 h 70"/>
                <a:gd name="T52" fmla="*/ 25 w 145"/>
                <a:gd name="T53" fmla="*/ 19 h 70"/>
                <a:gd name="T54" fmla="*/ 21 w 145"/>
                <a:gd name="T55" fmla="*/ 18 h 70"/>
                <a:gd name="T56" fmla="*/ 24 w 145"/>
                <a:gd name="T57" fmla="*/ 13 h 70"/>
                <a:gd name="T58" fmla="*/ 30 w 145"/>
                <a:gd name="T59" fmla="*/ 7 h 70"/>
                <a:gd name="T60" fmla="*/ 53 w 145"/>
                <a:gd name="T61" fmla="*/ 13 h 70"/>
                <a:gd name="T62" fmla="*/ 64 w 145"/>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5" h="70">
                  <a:moveTo>
                    <a:pt x="64" y="0"/>
                  </a:moveTo>
                  <a:lnTo>
                    <a:pt x="65" y="0"/>
                  </a:lnTo>
                  <a:lnTo>
                    <a:pt x="71" y="4"/>
                  </a:lnTo>
                  <a:lnTo>
                    <a:pt x="80" y="6"/>
                  </a:lnTo>
                  <a:lnTo>
                    <a:pt x="98" y="6"/>
                  </a:lnTo>
                  <a:lnTo>
                    <a:pt x="102" y="4"/>
                  </a:lnTo>
                  <a:lnTo>
                    <a:pt x="132" y="9"/>
                  </a:lnTo>
                  <a:lnTo>
                    <a:pt x="135" y="13"/>
                  </a:lnTo>
                  <a:lnTo>
                    <a:pt x="145" y="15"/>
                  </a:lnTo>
                  <a:lnTo>
                    <a:pt x="145" y="16"/>
                  </a:lnTo>
                  <a:lnTo>
                    <a:pt x="142" y="24"/>
                  </a:lnTo>
                  <a:lnTo>
                    <a:pt x="142" y="25"/>
                  </a:lnTo>
                  <a:lnTo>
                    <a:pt x="122" y="34"/>
                  </a:lnTo>
                  <a:lnTo>
                    <a:pt x="117" y="40"/>
                  </a:lnTo>
                  <a:lnTo>
                    <a:pt x="117" y="41"/>
                  </a:lnTo>
                  <a:lnTo>
                    <a:pt x="99" y="44"/>
                  </a:lnTo>
                  <a:lnTo>
                    <a:pt x="92" y="52"/>
                  </a:lnTo>
                  <a:lnTo>
                    <a:pt x="92" y="53"/>
                  </a:lnTo>
                  <a:lnTo>
                    <a:pt x="89" y="53"/>
                  </a:lnTo>
                  <a:lnTo>
                    <a:pt x="84" y="52"/>
                  </a:lnTo>
                  <a:lnTo>
                    <a:pt x="82" y="52"/>
                  </a:lnTo>
                  <a:lnTo>
                    <a:pt x="77" y="50"/>
                  </a:lnTo>
                  <a:lnTo>
                    <a:pt x="74" y="50"/>
                  </a:lnTo>
                  <a:lnTo>
                    <a:pt x="73" y="53"/>
                  </a:lnTo>
                  <a:lnTo>
                    <a:pt x="62" y="58"/>
                  </a:lnTo>
                  <a:lnTo>
                    <a:pt x="61" y="67"/>
                  </a:lnTo>
                  <a:lnTo>
                    <a:pt x="55" y="67"/>
                  </a:lnTo>
                  <a:lnTo>
                    <a:pt x="52" y="68"/>
                  </a:lnTo>
                  <a:lnTo>
                    <a:pt x="47" y="68"/>
                  </a:lnTo>
                  <a:lnTo>
                    <a:pt x="44" y="70"/>
                  </a:lnTo>
                  <a:lnTo>
                    <a:pt x="33" y="70"/>
                  </a:lnTo>
                  <a:lnTo>
                    <a:pt x="33" y="65"/>
                  </a:lnTo>
                  <a:lnTo>
                    <a:pt x="30" y="65"/>
                  </a:lnTo>
                  <a:lnTo>
                    <a:pt x="22" y="67"/>
                  </a:lnTo>
                  <a:lnTo>
                    <a:pt x="16" y="65"/>
                  </a:lnTo>
                  <a:lnTo>
                    <a:pt x="1" y="65"/>
                  </a:lnTo>
                  <a:lnTo>
                    <a:pt x="1" y="64"/>
                  </a:lnTo>
                  <a:lnTo>
                    <a:pt x="0" y="58"/>
                  </a:lnTo>
                  <a:lnTo>
                    <a:pt x="0" y="56"/>
                  </a:lnTo>
                  <a:lnTo>
                    <a:pt x="12" y="53"/>
                  </a:lnTo>
                  <a:lnTo>
                    <a:pt x="18" y="56"/>
                  </a:lnTo>
                  <a:lnTo>
                    <a:pt x="22" y="52"/>
                  </a:lnTo>
                  <a:lnTo>
                    <a:pt x="36" y="52"/>
                  </a:lnTo>
                  <a:lnTo>
                    <a:pt x="50" y="43"/>
                  </a:lnTo>
                  <a:lnTo>
                    <a:pt x="39" y="40"/>
                  </a:lnTo>
                  <a:lnTo>
                    <a:pt x="33" y="33"/>
                  </a:lnTo>
                  <a:lnTo>
                    <a:pt x="30" y="37"/>
                  </a:lnTo>
                  <a:lnTo>
                    <a:pt x="30" y="38"/>
                  </a:lnTo>
                  <a:lnTo>
                    <a:pt x="28" y="38"/>
                  </a:lnTo>
                  <a:lnTo>
                    <a:pt x="21" y="35"/>
                  </a:lnTo>
                  <a:lnTo>
                    <a:pt x="18" y="33"/>
                  </a:lnTo>
                  <a:lnTo>
                    <a:pt x="13" y="31"/>
                  </a:lnTo>
                  <a:lnTo>
                    <a:pt x="13" y="28"/>
                  </a:lnTo>
                  <a:lnTo>
                    <a:pt x="25" y="19"/>
                  </a:lnTo>
                  <a:lnTo>
                    <a:pt x="25" y="18"/>
                  </a:lnTo>
                  <a:lnTo>
                    <a:pt x="21" y="18"/>
                  </a:lnTo>
                  <a:lnTo>
                    <a:pt x="21" y="16"/>
                  </a:lnTo>
                  <a:lnTo>
                    <a:pt x="24" y="13"/>
                  </a:lnTo>
                  <a:lnTo>
                    <a:pt x="24" y="9"/>
                  </a:lnTo>
                  <a:lnTo>
                    <a:pt x="30" y="7"/>
                  </a:lnTo>
                  <a:lnTo>
                    <a:pt x="39" y="9"/>
                  </a:lnTo>
                  <a:lnTo>
                    <a:pt x="53" y="13"/>
                  </a:lnTo>
                  <a:lnTo>
                    <a:pt x="56" y="4"/>
                  </a:lnTo>
                  <a:lnTo>
                    <a:pt x="6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49" name="Tajikistan">
              <a:extLst>
                <a:ext uri="{FF2B5EF4-FFF2-40B4-BE49-F238E27FC236}">
                  <a16:creationId xmlns:a16="http://schemas.microsoft.com/office/drawing/2014/main" id="{8F7B66D7-423D-4081-47DD-9642B829CF3F}"/>
                </a:ext>
              </a:extLst>
            </p:cNvPr>
            <p:cNvSpPr>
              <a:spLocks/>
            </p:cNvSpPr>
            <p:nvPr/>
          </p:nvSpPr>
          <p:spPr bwMode="auto">
            <a:xfrm>
              <a:off x="7417865" y="3524853"/>
              <a:ext cx="180706" cy="137337"/>
            </a:xfrm>
            <a:custGeom>
              <a:avLst/>
              <a:gdLst>
                <a:gd name="T0" fmla="*/ 43 w 100"/>
                <a:gd name="T1" fmla="*/ 0 h 76"/>
                <a:gd name="T2" fmla="*/ 40 w 100"/>
                <a:gd name="T3" fmla="*/ 9 h 76"/>
                <a:gd name="T4" fmla="*/ 48 w 100"/>
                <a:gd name="T5" fmla="*/ 14 h 76"/>
                <a:gd name="T6" fmla="*/ 42 w 100"/>
                <a:gd name="T7" fmla="*/ 20 h 76"/>
                <a:gd name="T8" fmla="*/ 25 w 100"/>
                <a:gd name="T9" fmla="*/ 20 h 76"/>
                <a:gd name="T10" fmla="*/ 42 w 100"/>
                <a:gd name="T11" fmla="*/ 26 h 76"/>
                <a:gd name="T12" fmla="*/ 54 w 100"/>
                <a:gd name="T13" fmla="*/ 26 h 76"/>
                <a:gd name="T14" fmla="*/ 58 w 100"/>
                <a:gd name="T15" fmla="*/ 30 h 76"/>
                <a:gd name="T16" fmla="*/ 71 w 100"/>
                <a:gd name="T17" fmla="*/ 29 h 76"/>
                <a:gd name="T18" fmla="*/ 79 w 100"/>
                <a:gd name="T19" fmla="*/ 27 h 76"/>
                <a:gd name="T20" fmla="*/ 85 w 100"/>
                <a:gd name="T21" fmla="*/ 29 h 76"/>
                <a:gd name="T22" fmla="*/ 85 w 100"/>
                <a:gd name="T23" fmla="*/ 45 h 76"/>
                <a:gd name="T24" fmla="*/ 97 w 100"/>
                <a:gd name="T25" fmla="*/ 46 h 76"/>
                <a:gd name="T26" fmla="*/ 100 w 100"/>
                <a:gd name="T27" fmla="*/ 67 h 76"/>
                <a:gd name="T28" fmla="*/ 95 w 100"/>
                <a:gd name="T29" fmla="*/ 66 h 76"/>
                <a:gd name="T30" fmla="*/ 83 w 100"/>
                <a:gd name="T31" fmla="*/ 67 h 76"/>
                <a:gd name="T32" fmla="*/ 79 w 100"/>
                <a:gd name="T33" fmla="*/ 63 h 76"/>
                <a:gd name="T34" fmla="*/ 51 w 100"/>
                <a:gd name="T35" fmla="*/ 69 h 76"/>
                <a:gd name="T36" fmla="*/ 49 w 100"/>
                <a:gd name="T37" fmla="*/ 54 h 76"/>
                <a:gd name="T38" fmla="*/ 45 w 100"/>
                <a:gd name="T39" fmla="*/ 46 h 76"/>
                <a:gd name="T40" fmla="*/ 37 w 100"/>
                <a:gd name="T41" fmla="*/ 58 h 76"/>
                <a:gd name="T42" fmla="*/ 27 w 100"/>
                <a:gd name="T43" fmla="*/ 60 h 76"/>
                <a:gd name="T44" fmla="*/ 24 w 100"/>
                <a:gd name="T45" fmla="*/ 69 h 76"/>
                <a:gd name="T46" fmla="*/ 9 w 100"/>
                <a:gd name="T47" fmla="*/ 72 h 76"/>
                <a:gd name="T48" fmla="*/ 2 w 100"/>
                <a:gd name="T49" fmla="*/ 66 h 76"/>
                <a:gd name="T50" fmla="*/ 12 w 100"/>
                <a:gd name="T51" fmla="*/ 49 h 76"/>
                <a:gd name="T52" fmla="*/ 9 w 100"/>
                <a:gd name="T53" fmla="*/ 36 h 76"/>
                <a:gd name="T54" fmla="*/ 0 w 100"/>
                <a:gd name="T55" fmla="*/ 30 h 76"/>
                <a:gd name="T56" fmla="*/ 3 w 100"/>
                <a:gd name="T57" fmla="*/ 26 h 76"/>
                <a:gd name="T58" fmla="*/ 18 w 100"/>
                <a:gd name="T59" fmla="*/ 18 h 76"/>
                <a:gd name="T60" fmla="*/ 24 w 100"/>
                <a:gd name="T61" fmla="*/ 15 h 76"/>
                <a:gd name="T62" fmla="*/ 25 w 100"/>
                <a:gd name="T63" fmla="*/ 6 h 76"/>
                <a:gd name="T64" fmla="*/ 40 w 100"/>
                <a:gd name="T6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76">
                  <a:moveTo>
                    <a:pt x="40" y="0"/>
                  </a:moveTo>
                  <a:lnTo>
                    <a:pt x="43" y="0"/>
                  </a:lnTo>
                  <a:lnTo>
                    <a:pt x="45" y="6"/>
                  </a:lnTo>
                  <a:lnTo>
                    <a:pt x="40" y="9"/>
                  </a:lnTo>
                  <a:lnTo>
                    <a:pt x="42" y="14"/>
                  </a:lnTo>
                  <a:lnTo>
                    <a:pt x="48" y="14"/>
                  </a:lnTo>
                  <a:lnTo>
                    <a:pt x="48" y="15"/>
                  </a:lnTo>
                  <a:lnTo>
                    <a:pt x="42" y="20"/>
                  </a:lnTo>
                  <a:lnTo>
                    <a:pt x="36" y="17"/>
                  </a:lnTo>
                  <a:lnTo>
                    <a:pt x="25" y="20"/>
                  </a:lnTo>
                  <a:lnTo>
                    <a:pt x="27" y="26"/>
                  </a:lnTo>
                  <a:lnTo>
                    <a:pt x="42" y="26"/>
                  </a:lnTo>
                  <a:lnTo>
                    <a:pt x="46" y="27"/>
                  </a:lnTo>
                  <a:lnTo>
                    <a:pt x="54" y="26"/>
                  </a:lnTo>
                  <a:lnTo>
                    <a:pt x="58" y="27"/>
                  </a:lnTo>
                  <a:lnTo>
                    <a:pt x="58" y="30"/>
                  </a:lnTo>
                  <a:lnTo>
                    <a:pt x="68" y="30"/>
                  </a:lnTo>
                  <a:lnTo>
                    <a:pt x="71" y="29"/>
                  </a:lnTo>
                  <a:lnTo>
                    <a:pt x="76" y="29"/>
                  </a:lnTo>
                  <a:lnTo>
                    <a:pt x="79" y="27"/>
                  </a:lnTo>
                  <a:lnTo>
                    <a:pt x="85" y="27"/>
                  </a:lnTo>
                  <a:lnTo>
                    <a:pt x="85" y="29"/>
                  </a:lnTo>
                  <a:lnTo>
                    <a:pt x="82" y="39"/>
                  </a:lnTo>
                  <a:lnTo>
                    <a:pt x="85" y="45"/>
                  </a:lnTo>
                  <a:lnTo>
                    <a:pt x="95" y="45"/>
                  </a:lnTo>
                  <a:lnTo>
                    <a:pt x="97" y="46"/>
                  </a:lnTo>
                  <a:lnTo>
                    <a:pt x="100" y="66"/>
                  </a:lnTo>
                  <a:lnTo>
                    <a:pt x="100" y="67"/>
                  </a:lnTo>
                  <a:lnTo>
                    <a:pt x="95" y="67"/>
                  </a:lnTo>
                  <a:lnTo>
                    <a:pt x="95" y="66"/>
                  </a:lnTo>
                  <a:lnTo>
                    <a:pt x="92" y="66"/>
                  </a:lnTo>
                  <a:lnTo>
                    <a:pt x="83" y="67"/>
                  </a:lnTo>
                  <a:lnTo>
                    <a:pt x="82" y="64"/>
                  </a:lnTo>
                  <a:lnTo>
                    <a:pt x="79" y="63"/>
                  </a:lnTo>
                  <a:lnTo>
                    <a:pt x="55" y="76"/>
                  </a:lnTo>
                  <a:lnTo>
                    <a:pt x="51" y="69"/>
                  </a:lnTo>
                  <a:lnTo>
                    <a:pt x="52" y="57"/>
                  </a:lnTo>
                  <a:lnTo>
                    <a:pt x="49" y="54"/>
                  </a:lnTo>
                  <a:lnTo>
                    <a:pt x="49" y="49"/>
                  </a:lnTo>
                  <a:lnTo>
                    <a:pt x="45" y="46"/>
                  </a:lnTo>
                  <a:lnTo>
                    <a:pt x="37" y="55"/>
                  </a:lnTo>
                  <a:lnTo>
                    <a:pt x="37" y="58"/>
                  </a:lnTo>
                  <a:lnTo>
                    <a:pt x="36" y="63"/>
                  </a:lnTo>
                  <a:lnTo>
                    <a:pt x="27" y="60"/>
                  </a:lnTo>
                  <a:lnTo>
                    <a:pt x="25" y="69"/>
                  </a:lnTo>
                  <a:lnTo>
                    <a:pt x="24" y="69"/>
                  </a:lnTo>
                  <a:lnTo>
                    <a:pt x="20" y="66"/>
                  </a:lnTo>
                  <a:lnTo>
                    <a:pt x="9" y="72"/>
                  </a:lnTo>
                  <a:lnTo>
                    <a:pt x="8" y="72"/>
                  </a:lnTo>
                  <a:lnTo>
                    <a:pt x="2" y="66"/>
                  </a:lnTo>
                  <a:lnTo>
                    <a:pt x="6" y="58"/>
                  </a:lnTo>
                  <a:lnTo>
                    <a:pt x="12" y="49"/>
                  </a:lnTo>
                  <a:lnTo>
                    <a:pt x="8" y="42"/>
                  </a:lnTo>
                  <a:lnTo>
                    <a:pt x="9" y="36"/>
                  </a:lnTo>
                  <a:lnTo>
                    <a:pt x="5" y="35"/>
                  </a:lnTo>
                  <a:lnTo>
                    <a:pt x="0" y="30"/>
                  </a:lnTo>
                  <a:lnTo>
                    <a:pt x="2" y="26"/>
                  </a:lnTo>
                  <a:lnTo>
                    <a:pt x="3" y="26"/>
                  </a:lnTo>
                  <a:lnTo>
                    <a:pt x="15" y="24"/>
                  </a:lnTo>
                  <a:lnTo>
                    <a:pt x="18" y="18"/>
                  </a:lnTo>
                  <a:lnTo>
                    <a:pt x="18" y="17"/>
                  </a:lnTo>
                  <a:lnTo>
                    <a:pt x="24" y="15"/>
                  </a:lnTo>
                  <a:lnTo>
                    <a:pt x="24" y="9"/>
                  </a:lnTo>
                  <a:lnTo>
                    <a:pt x="25" y="6"/>
                  </a:lnTo>
                  <a:lnTo>
                    <a:pt x="31" y="6"/>
                  </a:lnTo>
                  <a:lnTo>
                    <a:pt x="4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0" name="Israel">
              <a:extLst>
                <a:ext uri="{FF2B5EF4-FFF2-40B4-BE49-F238E27FC236}">
                  <a16:creationId xmlns:a16="http://schemas.microsoft.com/office/drawing/2014/main" id="{B8789C0C-B127-1DF8-7823-8B9B74970339}"/>
                </a:ext>
              </a:extLst>
            </p:cNvPr>
            <p:cNvSpPr>
              <a:spLocks/>
            </p:cNvSpPr>
            <p:nvPr/>
          </p:nvSpPr>
          <p:spPr bwMode="auto">
            <a:xfrm>
              <a:off x="6629987" y="3757965"/>
              <a:ext cx="36141" cy="110231"/>
            </a:xfrm>
            <a:custGeom>
              <a:avLst/>
              <a:gdLst>
                <a:gd name="T0" fmla="*/ 18 w 20"/>
                <a:gd name="T1" fmla="*/ 0 h 61"/>
                <a:gd name="T2" fmla="*/ 20 w 20"/>
                <a:gd name="T3" fmla="*/ 0 h 61"/>
                <a:gd name="T4" fmla="*/ 20 w 20"/>
                <a:gd name="T5" fmla="*/ 15 h 61"/>
                <a:gd name="T6" fmla="*/ 18 w 20"/>
                <a:gd name="T7" fmla="*/ 15 h 61"/>
                <a:gd name="T8" fmla="*/ 14 w 20"/>
                <a:gd name="T9" fmla="*/ 12 h 61"/>
                <a:gd name="T10" fmla="*/ 11 w 20"/>
                <a:gd name="T11" fmla="*/ 17 h 61"/>
                <a:gd name="T12" fmla="*/ 11 w 20"/>
                <a:gd name="T13" fmla="*/ 23 h 61"/>
                <a:gd name="T14" fmla="*/ 15 w 20"/>
                <a:gd name="T15" fmla="*/ 23 h 61"/>
                <a:gd name="T16" fmla="*/ 15 w 20"/>
                <a:gd name="T17" fmla="*/ 24 h 61"/>
                <a:gd name="T18" fmla="*/ 14 w 20"/>
                <a:gd name="T19" fmla="*/ 24 h 61"/>
                <a:gd name="T20" fmla="*/ 11 w 20"/>
                <a:gd name="T21" fmla="*/ 29 h 61"/>
                <a:gd name="T22" fmla="*/ 18 w 20"/>
                <a:gd name="T23" fmla="*/ 29 h 61"/>
                <a:gd name="T24" fmla="*/ 12 w 20"/>
                <a:gd name="T25" fmla="*/ 60 h 61"/>
                <a:gd name="T26" fmla="*/ 11 w 20"/>
                <a:gd name="T27" fmla="*/ 61 h 61"/>
                <a:gd name="T28" fmla="*/ 9 w 20"/>
                <a:gd name="T29" fmla="*/ 61 h 61"/>
                <a:gd name="T30" fmla="*/ 0 w 20"/>
                <a:gd name="T31" fmla="*/ 32 h 61"/>
                <a:gd name="T32" fmla="*/ 5 w 20"/>
                <a:gd name="T33" fmla="*/ 24 h 61"/>
                <a:gd name="T34" fmla="*/ 11 w 20"/>
                <a:gd name="T35" fmla="*/ 2 h 61"/>
                <a:gd name="T36" fmla="*/ 15 w 20"/>
                <a:gd name="T37" fmla="*/ 2 h 61"/>
                <a:gd name="T38" fmla="*/ 17 w 20"/>
                <a:gd name="T39" fmla="*/ 3 h 61"/>
                <a:gd name="T40" fmla="*/ 18 w 20"/>
                <a:gd name="T4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61">
                  <a:moveTo>
                    <a:pt x="18" y="0"/>
                  </a:moveTo>
                  <a:lnTo>
                    <a:pt x="20" y="0"/>
                  </a:lnTo>
                  <a:lnTo>
                    <a:pt x="20" y="15"/>
                  </a:lnTo>
                  <a:lnTo>
                    <a:pt x="18" y="15"/>
                  </a:lnTo>
                  <a:lnTo>
                    <a:pt x="14" y="12"/>
                  </a:lnTo>
                  <a:lnTo>
                    <a:pt x="11" y="17"/>
                  </a:lnTo>
                  <a:lnTo>
                    <a:pt x="11" y="23"/>
                  </a:lnTo>
                  <a:lnTo>
                    <a:pt x="15" y="23"/>
                  </a:lnTo>
                  <a:lnTo>
                    <a:pt x="15" y="24"/>
                  </a:lnTo>
                  <a:lnTo>
                    <a:pt x="14" y="24"/>
                  </a:lnTo>
                  <a:lnTo>
                    <a:pt x="11" y="29"/>
                  </a:lnTo>
                  <a:lnTo>
                    <a:pt x="18" y="29"/>
                  </a:lnTo>
                  <a:lnTo>
                    <a:pt x="12" y="60"/>
                  </a:lnTo>
                  <a:lnTo>
                    <a:pt x="11" y="61"/>
                  </a:lnTo>
                  <a:lnTo>
                    <a:pt x="9" y="61"/>
                  </a:lnTo>
                  <a:lnTo>
                    <a:pt x="0" y="32"/>
                  </a:lnTo>
                  <a:lnTo>
                    <a:pt x="5" y="24"/>
                  </a:lnTo>
                  <a:lnTo>
                    <a:pt x="11" y="2"/>
                  </a:lnTo>
                  <a:lnTo>
                    <a:pt x="15" y="2"/>
                  </a:lnTo>
                  <a:lnTo>
                    <a:pt x="17" y="3"/>
                  </a:lnTo>
                  <a:lnTo>
                    <a:pt x="1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1" name="Lebanon">
              <a:extLst>
                <a:ext uri="{FF2B5EF4-FFF2-40B4-BE49-F238E27FC236}">
                  <a16:creationId xmlns:a16="http://schemas.microsoft.com/office/drawing/2014/main" id="{C73931AE-AC9C-F24B-22A3-9F392BC5C851}"/>
                </a:ext>
              </a:extLst>
            </p:cNvPr>
            <p:cNvSpPr>
              <a:spLocks/>
            </p:cNvSpPr>
            <p:nvPr/>
          </p:nvSpPr>
          <p:spPr bwMode="auto">
            <a:xfrm>
              <a:off x="6649864" y="3716402"/>
              <a:ext cx="43369" cy="50598"/>
            </a:xfrm>
            <a:custGeom>
              <a:avLst/>
              <a:gdLst>
                <a:gd name="T0" fmla="*/ 13 w 24"/>
                <a:gd name="T1" fmla="*/ 0 h 28"/>
                <a:gd name="T2" fmla="*/ 22 w 24"/>
                <a:gd name="T3" fmla="*/ 0 h 28"/>
                <a:gd name="T4" fmla="*/ 22 w 24"/>
                <a:gd name="T5" fmla="*/ 1 h 28"/>
                <a:gd name="T6" fmla="*/ 21 w 24"/>
                <a:gd name="T7" fmla="*/ 3 h 28"/>
                <a:gd name="T8" fmla="*/ 24 w 24"/>
                <a:gd name="T9" fmla="*/ 9 h 28"/>
                <a:gd name="T10" fmla="*/ 19 w 24"/>
                <a:gd name="T11" fmla="*/ 13 h 28"/>
                <a:gd name="T12" fmla="*/ 21 w 24"/>
                <a:gd name="T13" fmla="*/ 13 h 28"/>
                <a:gd name="T14" fmla="*/ 21 w 24"/>
                <a:gd name="T15" fmla="*/ 15 h 28"/>
                <a:gd name="T16" fmla="*/ 19 w 24"/>
                <a:gd name="T17" fmla="*/ 15 h 28"/>
                <a:gd name="T18" fmla="*/ 16 w 24"/>
                <a:gd name="T19" fmla="*/ 16 h 28"/>
                <a:gd name="T20" fmla="*/ 16 w 24"/>
                <a:gd name="T21" fmla="*/ 19 h 28"/>
                <a:gd name="T22" fmla="*/ 15 w 24"/>
                <a:gd name="T23" fmla="*/ 19 h 28"/>
                <a:gd name="T24" fmla="*/ 15 w 24"/>
                <a:gd name="T25" fmla="*/ 20 h 28"/>
                <a:gd name="T26" fmla="*/ 9 w 24"/>
                <a:gd name="T27" fmla="*/ 25 h 28"/>
                <a:gd name="T28" fmla="*/ 7 w 24"/>
                <a:gd name="T29" fmla="*/ 26 h 28"/>
                <a:gd name="T30" fmla="*/ 7 w 24"/>
                <a:gd name="T31" fmla="*/ 28 h 28"/>
                <a:gd name="T32" fmla="*/ 1 w 24"/>
                <a:gd name="T33" fmla="*/ 26 h 28"/>
                <a:gd name="T34" fmla="*/ 0 w 24"/>
                <a:gd name="T35" fmla="*/ 26 h 28"/>
                <a:gd name="T36" fmla="*/ 0 w 24"/>
                <a:gd name="T37" fmla="*/ 25 h 28"/>
                <a:gd name="T38" fmla="*/ 13 w 24"/>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8">
                  <a:moveTo>
                    <a:pt x="13" y="0"/>
                  </a:moveTo>
                  <a:lnTo>
                    <a:pt x="22" y="0"/>
                  </a:lnTo>
                  <a:lnTo>
                    <a:pt x="22" y="1"/>
                  </a:lnTo>
                  <a:lnTo>
                    <a:pt x="21" y="3"/>
                  </a:lnTo>
                  <a:lnTo>
                    <a:pt x="24" y="9"/>
                  </a:lnTo>
                  <a:lnTo>
                    <a:pt x="19" y="13"/>
                  </a:lnTo>
                  <a:lnTo>
                    <a:pt x="21" y="13"/>
                  </a:lnTo>
                  <a:lnTo>
                    <a:pt x="21" y="15"/>
                  </a:lnTo>
                  <a:lnTo>
                    <a:pt x="19" y="15"/>
                  </a:lnTo>
                  <a:lnTo>
                    <a:pt x="16" y="16"/>
                  </a:lnTo>
                  <a:lnTo>
                    <a:pt x="16" y="19"/>
                  </a:lnTo>
                  <a:lnTo>
                    <a:pt x="15" y="19"/>
                  </a:lnTo>
                  <a:lnTo>
                    <a:pt x="15" y="20"/>
                  </a:lnTo>
                  <a:lnTo>
                    <a:pt x="9" y="25"/>
                  </a:lnTo>
                  <a:lnTo>
                    <a:pt x="7" y="26"/>
                  </a:lnTo>
                  <a:lnTo>
                    <a:pt x="7" y="28"/>
                  </a:lnTo>
                  <a:lnTo>
                    <a:pt x="1" y="26"/>
                  </a:lnTo>
                  <a:lnTo>
                    <a:pt x="0" y="26"/>
                  </a:lnTo>
                  <a:lnTo>
                    <a:pt x="0" y="25"/>
                  </a:lnTo>
                  <a:lnTo>
                    <a:pt x="1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2" name="Pakistan">
              <a:extLst>
                <a:ext uri="{FF2B5EF4-FFF2-40B4-BE49-F238E27FC236}">
                  <a16:creationId xmlns:a16="http://schemas.microsoft.com/office/drawing/2014/main" id="{D4D0BC31-9909-6812-E3E1-75DF4A676E9B}"/>
                </a:ext>
              </a:extLst>
            </p:cNvPr>
            <p:cNvSpPr>
              <a:spLocks/>
            </p:cNvSpPr>
            <p:nvPr/>
          </p:nvSpPr>
          <p:spPr bwMode="auto">
            <a:xfrm>
              <a:off x="7260651" y="3649541"/>
              <a:ext cx="399361" cy="363221"/>
            </a:xfrm>
            <a:custGeom>
              <a:avLst/>
              <a:gdLst>
                <a:gd name="T0" fmla="*/ 191 w 221"/>
                <a:gd name="T1" fmla="*/ 3 h 201"/>
                <a:gd name="T2" fmla="*/ 198 w 221"/>
                <a:gd name="T3" fmla="*/ 10 h 201"/>
                <a:gd name="T4" fmla="*/ 201 w 221"/>
                <a:gd name="T5" fmla="*/ 19 h 201"/>
                <a:gd name="T6" fmla="*/ 219 w 221"/>
                <a:gd name="T7" fmla="*/ 26 h 201"/>
                <a:gd name="T8" fmla="*/ 210 w 221"/>
                <a:gd name="T9" fmla="*/ 38 h 201"/>
                <a:gd name="T10" fmla="*/ 176 w 221"/>
                <a:gd name="T11" fmla="*/ 37 h 201"/>
                <a:gd name="T12" fmla="*/ 172 w 221"/>
                <a:gd name="T13" fmla="*/ 44 h 201"/>
                <a:gd name="T14" fmla="*/ 176 w 221"/>
                <a:gd name="T15" fmla="*/ 49 h 201"/>
                <a:gd name="T16" fmla="*/ 176 w 221"/>
                <a:gd name="T17" fmla="*/ 56 h 201"/>
                <a:gd name="T18" fmla="*/ 176 w 221"/>
                <a:gd name="T19" fmla="*/ 66 h 201"/>
                <a:gd name="T20" fmla="*/ 190 w 221"/>
                <a:gd name="T21" fmla="*/ 72 h 201"/>
                <a:gd name="T22" fmla="*/ 191 w 221"/>
                <a:gd name="T23" fmla="*/ 78 h 201"/>
                <a:gd name="T24" fmla="*/ 182 w 221"/>
                <a:gd name="T25" fmla="*/ 89 h 201"/>
                <a:gd name="T26" fmla="*/ 184 w 221"/>
                <a:gd name="T27" fmla="*/ 95 h 201"/>
                <a:gd name="T28" fmla="*/ 184 w 221"/>
                <a:gd name="T29" fmla="*/ 96 h 201"/>
                <a:gd name="T30" fmla="*/ 170 w 221"/>
                <a:gd name="T31" fmla="*/ 111 h 201"/>
                <a:gd name="T32" fmla="*/ 151 w 221"/>
                <a:gd name="T33" fmla="*/ 132 h 201"/>
                <a:gd name="T34" fmla="*/ 126 w 221"/>
                <a:gd name="T35" fmla="*/ 141 h 201"/>
                <a:gd name="T36" fmla="*/ 123 w 221"/>
                <a:gd name="T37" fmla="*/ 163 h 201"/>
                <a:gd name="T38" fmla="*/ 129 w 221"/>
                <a:gd name="T39" fmla="*/ 175 h 201"/>
                <a:gd name="T40" fmla="*/ 130 w 221"/>
                <a:gd name="T41" fmla="*/ 195 h 201"/>
                <a:gd name="T42" fmla="*/ 121 w 221"/>
                <a:gd name="T43" fmla="*/ 197 h 201"/>
                <a:gd name="T44" fmla="*/ 105 w 221"/>
                <a:gd name="T45" fmla="*/ 200 h 201"/>
                <a:gd name="T46" fmla="*/ 93 w 221"/>
                <a:gd name="T47" fmla="*/ 201 h 201"/>
                <a:gd name="T48" fmla="*/ 78 w 221"/>
                <a:gd name="T49" fmla="*/ 186 h 201"/>
                <a:gd name="T50" fmla="*/ 52 w 221"/>
                <a:gd name="T51" fmla="*/ 179 h 201"/>
                <a:gd name="T52" fmla="*/ 43 w 221"/>
                <a:gd name="T53" fmla="*/ 179 h 201"/>
                <a:gd name="T54" fmla="*/ 12 w 221"/>
                <a:gd name="T55" fmla="*/ 183 h 201"/>
                <a:gd name="T56" fmla="*/ 19 w 221"/>
                <a:gd name="T57" fmla="*/ 163 h 201"/>
                <a:gd name="T58" fmla="*/ 26 w 221"/>
                <a:gd name="T59" fmla="*/ 151 h 201"/>
                <a:gd name="T60" fmla="*/ 10 w 221"/>
                <a:gd name="T61" fmla="*/ 130 h 201"/>
                <a:gd name="T62" fmla="*/ 1 w 221"/>
                <a:gd name="T63" fmla="*/ 112 h 201"/>
                <a:gd name="T64" fmla="*/ 43 w 221"/>
                <a:gd name="T65" fmla="*/ 118 h 201"/>
                <a:gd name="T66" fmla="*/ 53 w 221"/>
                <a:gd name="T67" fmla="*/ 117 h 201"/>
                <a:gd name="T68" fmla="*/ 72 w 221"/>
                <a:gd name="T69" fmla="*/ 111 h 201"/>
                <a:gd name="T70" fmla="*/ 90 w 221"/>
                <a:gd name="T71" fmla="*/ 90 h 201"/>
                <a:gd name="T72" fmla="*/ 102 w 221"/>
                <a:gd name="T73" fmla="*/ 83 h 201"/>
                <a:gd name="T74" fmla="*/ 109 w 221"/>
                <a:gd name="T75" fmla="*/ 75 h 201"/>
                <a:gd name="T76" fmla="*/ 124 w 221"/>
                <a:gd name="T77" fmla="*/ 59 h 201"/>
                <a:gd name="T78" fmla="*/ 135 w 221"/>
                <a:gd name="T79" fmla="*/ 44 h 201"/>
                <a:gd name="T80" fmla="*/ 141 w 221"/>
                <a:gd name="T81" fmla="*/ 31 h 201"/>
                <a:gd name="T82" fmla="*/ 136 w 221"/>
                <a:gd name="T83" fmla="*/ 16 h 201"/>
                <a:gd name="T84" fmla="*/ 169 w 221"/>
                <a:gd name="T85"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01">
                  <a:moveTo>
                    <a:pt x="181" y="0"/>
                  </a:moveTo>
                  <a:lnTo>
                    <a:pt x="191" y="1"/>
                  </a:lnTo>
                  <a:lnTo>
                    <a:pt x="191" y="3"/>
                  </a:lnTo>
                  <a:lnTo>
                    <a:pt x="193" y="6"/>
                  </a:lnTo>
                  <a:lnTo>
                    <a:pt x="197" y="6"/>
                  </a:lnTo>
                  <a:lnTo>
                    <a:pt x="198" y="10"/>
                  </a:lnTo>
                  <a:lnTo>
                    <a:pt x="200" y="10"/>
                  </a:lnTo>
                  <a:lnTo>
                    <a:pt x="198" y="16"/>
                  </a:lnTo>
                  <a:lnTo>
                    <a:pt x="201" y="19"/>
                  </a:lnTo>
                  <a:lnTo>
                    <a:pt x="206" y="19"/>
                  </a:lnTo>
                  <a:lnTo>
                    <a:pt x="209" y="22"/>
                  </a:lnTo>
                  <a:lnTo>
                    <a:pt x="219" y="26"/>
                  </a:lnTo>
                  <a:lnTo>
                    <a:pt x="221" y="26"/>
                  </a:lnTo>
                  <a:lnTo>
                    <a:pt x="212" y="32"/>
                  </a:lnTo>
                  <a:lnTo>
                    <a:pt x="210" y="38"/>
                  </a:lnTo>
                  <a:lnTo>
                    <a:pt x="204" y="38"/>
                  </a:lnTo>
                  <a:lnTo>
                    <a:pt x="193" y="41"/>
                  </a:lnTo>
                  <a:lnTo>
                    <a:pt x="176" y="37"/>
                  </a:lnTo>
                  <a:lnTo>
                    <a:pt x="172" y="38"/>
                  </a:lnTo>
                  <a:lnTo>
                    <a:pt x="170" y="43"/>
                  </a:lnTo>
                  <a:lnTo>
                    <a:pt x="172" y="44"/>
                  </a:lnTo>
                  <a:lnTo>
                    <a:pt x="173" y="44"/>
                  </a:lnTo>
                  <a:lnTo>
                    <a:pt x="172" y="47"/>
                  </a:lnTo>
                  <a:lnTo>
                    <a:pt x="176" y="49"/>
                  </a:lnTo>
                  <a:lnTo>
                    <a:pt x="176" y="50"/>
                  </a:lnTo>
                  <a:lnTo>
                    <a:pt x="173" y="53"/>
                  </a:lnTo>
                  <a:lnTo>
                    <a:pt x="176" y="56"/>
                  </a:lnTo>
                  <a:lnTo>
                    <a:pt x="176" y="57"/>
                  </a:lnTo>
                  <a:lnTo>
                    <a:pt x="172" y="62"/>
                  </a:lnTo>
                  <a:lnTo>
                    <a:pt x="176" y="66"/>
                  </a:lnTo>
                  <a:lnTo>
                    <a:pt x="182" y="68"/>
                  </a:lnTo>
                  <a:lnTo>
                    <a:pt x="182" y="72"/>
                  </a:lnTo>
                  <a:lnTo>
                    <a:pt x="190" y="72"/>
                  </a:lnTo>
                  <a:lnTo>
                    <a:pt x="190" y="74"/>
                  </a:lnTo>
                  <a:lnTo>
                    <a:pt x="191" y="77"/>
                  </a:lnTo>
                  <a:lnTo>
                    <a:pt x="191" y="78"/>
                  </a:lnTo>
                  <a:lnTo>
                    <a:pt x="182" y="83"/>
                  </a:lnTo>
                  <a:lnTo>
                    <a:pt x="181" y="86"/>
                  </a:lnTo>
                  <a:lnTo>
                    <a:pt x="182" y="89"/>
                  </a:lnTo>
                  <a:lnTo>
                    <a:pt x="182" y="90"/>
                  </a:lnTo>
                  <a:lnTo>
                    <a:pt x="181" y="93"/>
                  </a:lnTo>
                  <a:lnTo>
                    <a:pt x="184" y="95"/>
                  </a:lnTo>
                  <a:lnTo>
                    <a:pt x="185" y="95"/>
                  </a:lnTo>
                  <a:lnTo>
                    <a:pt x="185" y="96"/>
                  </a:lnTo>
                  <a:lnTo>
                    <a:pt x="184" y="96"/>
                  </a:lnTo>
                  <a:lnTo>
                    <a:pt x="176" y="99"/>
                  </a:lnTo>
                  <a:lnTo>
                    <a:pt x="172" y="106"/>
                  </a:lnTo>
                  <a:lnTo>
                    <a:pt x="170" y="111"/>
                  </a:lnTo>
                  <a:lnTo>
                    <a:pt x="164" y="114"/>
                  </a:lnTo>
                  <a:lnTo>
                    <a:pt x="158" y="126"/>
                  </a:lnTo>
                  <a:lnTo>
                    <a:pt x="151" y="132"/>
                  </a:lnTo>
                  <a:lnTo>
                    <a:pt x="145" y="142"/>
                  </a:lnTo>
                  <a:lnTo>
                    <a:pt x="132" y="145"/>
                  </a:lnTo>
                  <a:lnTo>
                    <a:pt x="126" y="141"/>
                  </a:lnTo>
                  <a:lnTo>
                    <a:pt x="115" y="155"/>
                  </a:lnTo>
                  <a:lnTo>
                    <a:pt x="114" y="160"/>
                  </a:lnTo>
                  <a:lnTo>
                    <a:pt x="123" y="163"/>
                  </a:lnTo>
                  <a:lnTo>
                    <a:pt x="124" y="163"/>
                  </a:lnTo>
                  <a:lnTo>
                    <a:pt x="123" y="172"/>
                  </a:lnTo>
                  <a:lnTo>
                    <a:pt x="129" y="175"/>
                  </a:lnTo>
                  <a:lnTo>
                    <a:pt x="136" y="192"/>
                  </a:lnTo>
                  <a:lnTo>
                    <a:pt x="135" y="194"/>
                  </a:lnTo>
                  <a:lnTo>
                    <a:pt x="130" y="195"/>
                  </a:lnTo>
                  <a:lnTo>
                    <a:pt x="129" y="195"/>
                  </a:lnTo>
                  <a:lnTo>
                    <a:pt x="126" y="192"/>
                  </a:lnTo>
                  <a:lnTo>
                    <a:pt x="121" y="197"/>
                  </a:lnTo>
                  <a:lnTo>
                    <a:pt x="120" y="197"/>
                  </a:lnTo>
                  <a:lnTo>
                    <a:pt x="105" y="194"/>
                  </a:lnTo>
                  <a:lnTo>
                    <a:pt x="105" y="200"/>
                  </a:lnTo>
                  <a:lnTo>
                    <a:pt x="98" y="200"/>
                  </a:lnTo>
                  <a:lnTo>
                    <a:pt x="95" y="201"/>
                  </a:lnTo>
                  <a:lnTo>
                    <a:pt x="93" y="201"/>
                  </a:lnTo>
                  <a:lnTo>
                    <a:pt x="87" y="200"/>
                  </a:lnTo>
                  <a:lnTo>
                    <a:pt x="81" y="188"/>
                  </a:lnTo>
                  <a:lnTo>
                    <a:pt x="78" y="186"/>
                  </a:lnTo>
                  <a:lnTo>
                    <a:pt x="74" y="179"/>
                  </a:lnTo>
                  <a:lnTo>
                    <a:pt x="55" y="181"/>
                  </a:lnTo>
                  <a:lnTo>
                    <a:pt x="52" y="179"/>
                  </a:lnTo>
                  <a:lnTo>
                    <a:pt x="50" y="182"/>
                  </a:lnTo>
                  <a:lnTo>
                    <a:pt x="49" y="182"/>
                  </a:lnTo>
                  <a:lnTo>
                    <a:pt x="43" y="179"/>
                  </a:lnTo>
                  <a:lnTo>
                    <a:pt x="18" y="182"/>
                  </a:lnTo>
                  <a:lnTo>
                    <a:pt x="13" y="183"/>
                  </a:lnTo>
                  <a:lnTo>
                    <a:pt x="12" y="183"/>
                  </a:lnTo>
                  <a:lnTo>
                    <a:pt x="10" y="182"/>
                  </a:lnTo>
                  <a:lnTo>
                    <a:pt x="13" y="167"/>
                  </a:lnTo>
                  <a:lnTo>
                    <a:pt x="19" y="163"/>
                  </a:lnTo>
                  <a:lnTo>
                    <a:pt x="28" y="158"/>
                  </a:lnTo>
                  <a:lnTo>
                    <a:pt x="31" y="154"/>
                  </a:lnTo>
                  <a:lnTo>
                    <a:pt x="26" y="151"/>
                  </a:lnTo>
                  <a:lnTo>
                    <a:pt x="25" y="151"/>
                  </a:lnTo>
                  <a:lnTo>
                    <a:pt x="25" y="139"/>
                  </a:lnTo>
                  <a:lnTo>
                    <a:pt x="10" y="130"/>
                  </a:lnTo>
                  <a:lnTo>
                    <a:pt x="0" y="114"/>
                  </a:lnTo>
                  <a:lnTo>
                    <a:pt x="0" y="112"/>
                  </a:lnTo>
                  <a:lnTo>
                    <a:pt x="1" y="112"/>
                  </a:lnTo>
                  <a:lnTo>
                    <a:pt x="21" y="120"/>
                  </a:lnTo>
                  <a:lnTo>
                    <a:pt x="34" y="117"/>
                  </a:lnTo>
                  <a:lnTo>
                    <a:pt x="43" y="118"/>
                  </a:lnTo>
                  <a:lnTo>
                    <a:pt x="46" y="115"/>
                  </a:lnTo>
                  <a:lnTo>
                    <a:pt x="50" y="115"/>
                  </a:lnTo>
                  <a:lnTo>
                    <a:pt x="53" y="117"/>
                  </a:lnTo>
                  <a:lnTo>
                    <a:pt x="56" y="117"/>
                  </a:lnTo>
                  <a:lnTo>
                    <a:pt x="71" y="112"/>
                  </a:lnTo>
                  <a:lnTo>
                    <a:pt x="72" y="111"/>
                  </a:lnTo>
                  <a:lnTo>
                    <a:pt x="72" y="96"/>
                  </a:lnTo>
                  <a:lnTo>
                    <a:pt x="78" y="92"/>
                  </a:lnTo>
                  <a:lnTo>
                    <a:pt x="90" y="90"/>
                  </a:lnTo>
                  <a:lnTo>
                    <a:pt x="89" y="89"/>
                  </a:lnTo>
                  <a:lnTo>
                    <a:pt x="95" y="83"/>
                  </a:lnTo>
                  <a:lnTo>
                    <a:pt x="102" y="83"/>
                  </a:lnTo>
                  <a:lnTo>
                    <a:pt x="105" y="86"/>
                  </a:lnTo>
                  <a:lnTo>
                    <a:pt x="111" y="81"/>
                  </a:lnTo>
                  <a:lnTo>
                    <a:pt x="109" y="75"/>
                  </a:lnTo>
                  <a:lnTo>
                    <a:pt x="112" y="63"/>
                  </a:lnTo>
                  <a:lnTo>
                    <a:pt x="114" y="63"/>
                  </a:lnTo>
                  <a:lnTo>
                    <a:pt x="124" y="59"/>
                  </a:lnTo>
                  <a:lnTo>
                    <a:pt x="118" y="49"/>
                  </a:lnTo>
                  <a:lnTo>
                    <a:pt x="133" y="49"/>
                  </a:lnTo>
                  <a:lnTo>
                    <a:pt x="135" y="44"/>
                  </a:lnTo>
                  <a:lnTo>
                    <a:pt x="133" y="43"/>
                  </a:lnTo>
                  <a:lnTo>
                    <a:pt x="133" y="41"/>
                  </a:lnTo>
                  <a:lnTo>
                    <a:pt x="141" y="31"/>
                  </a:lnTo>
                  <a:lnTo>
                    <a:pt x="142" y="26"/>
                  </a:lnTo>
                  <a:lnTo>
                    <a:pt x="136" y="17"/>
                  </a:lnTo>
                  <a:lnTo>
                    <a:pt x="136" y="16"/>
                  </a:lnTo>
                  <a:lnTo>
                    <a:pt x="138" y="14"/>
                  </a:lnTo>
                  <a:lnTo>
                    <a:pt x="154" y="3"/>
                  </a:lnTo>
                  <a:lnTo>
                    <a:pt x="169" y="3"/>
                  </a:lnTo>
                  <a:lnTo>
                    <a:pt x="18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3" name="Cambodia">
              <a:extLst>
                <a:ext uri="{FF2B5EF4-FFF2-40B4-BE49-F238E27FC236}">
                  <a16:creationId xmlns:a16="http://schemas.microsoft.com/office/drawing/2014/main" id="{36AB8E70-F149-437B-F669-7E91F0C7255D}"/>
                </a:ext>
              </a:extLst>
            </p:cNvPr>
            <p:cNvSpPr>
              <a:spLocks/>
            </p:cNvSpPr>
            <p:nvPr/>
          </p:nvSpPr>
          <p:spPr bwMode="auto">
            <a:xfrm>
              <a:off x="8238270" y="4238644"/>
              <a:ext cx="126495" cy="104809"/>
            </a:xfrm>
            <a:custGeom>
              <a:avLst/>
              <a:gdLst>
                <a:gd name="T0" fmla="*/ 68 w 70"/>
                <a:gd name="T1" fmla="*/ 0 h 58"/>
                <a:gd name="T2" fmla="*/ 70 w 70"/>
                <a:gd name="T3" fmla="*/ 31 h 58"/>
                <a:gd name="T4" fmla="*/ 56 w 70"/>
                <a:gd name="T5" fmla="*/ 38 h 58"/>
                <a:gd name="T6" fmla="*/ 56 w 70"/>
                <a:gd name="T7" fmla="*/ 40 h 58"/>
                <a:gd name="T8" fmla="*/ 55 w 70"/>
                <a:gd name="T9" fmla="*/ 40 h 58"/>
                <a:gd name="T10" fmla="*/ 55 w 70"/>
                <a:gd name="T11" fmla="*/ 41 h 58"/>
                <a:gd name="T12" fmla="*/ 49 w 70"/>
                <a:gd name="T13" fmla="*/ 41 h 58"/>
                <a:gd name="T14" fmla="*/ 49 w 70"/>
                <a:gd name="T15" fmla="*/ 49 h 58"/>
                <a:gd name="T16" fmla="*/ 37 w 70"/>
                <a:gd name="T17" fmla="*/ 52 h 58"/>
                <a:gd name="T18" fmla="*/ 35 w 70"/>
                <a:gd name="T19" fmla="*/ 55 h 58"/>
                <a:gd name="T20" fmla="*/ 29 w 70"/>
                <a:gd name="T21" fmla="*/ 58 h 58"/>
                <a:gd name="T22" fmla="*/ 18 w 70"/>
                <a:gd name="T23" fmla="*/ 56 h 58"/>
                <a:gd name="T24" fmla="*/ 18 w 70"/>
                <a:gd name="T25" fmla="*/ 50 h 58"/>
                <a:gd name="T26" fmla="*/ 13 w 70"/>
                <a:gd name="T27" fmla="*/ 52 h 58"/>
                <a:gd name="T28" fmla="*/ 12 w 70"/>
                <a:gd name="T29" fmla="*/ 52 h 58"/>
                <a:gd name="T30" fmla="*/ 9 w 70"/>
                <a:gd name="T31" fmla="*/ 41 h 58"/>
                <a:gd name="T32" fmla="*/ 7 w 70"/>
                <a:gd name="T33" fmla="*/ 34 h 58"/>
                <a:gd name="T34" fmla="*/ 3 w 70"/>
                <a:gd name="T35" fmla="*/ 28 h 58"/>
                <a:gd name="T36" fmla="*/ 0 w 70"/>
                <a:gd name="T37" fmla="*/ 21 h 58"/>
                <a:gd name="T38" fmla="*/ 4 w 70"/>
                <a:gd name="T39" fmla="*/ 12 h 58"/>
                <a:gd name="T40" fmla="*/ 13 w 70"/>
                <a:gd name="T41" fmla="*/ 4 h 58"/>
                <a:gd name="T42" fmla="*/ 38 w 70"/>
                <a:gd name="T43" fmla="*/ 4 h 58"/>
                <a:gd name="T44" fmla="*/ 47 w 70"/>
                <a:gd name="T45" fmla="*/ 9 h 58"/>
                <a:gd name="T46" fmla="*/ 53 w 70"/>
                <a:gd name="T47" fmla="*/ 3 h 58"/>
                <a:gd name="T48" fmla="*/ 58 w 70"/>
                <a:gd name="T49" fmla="*/ 3 h 58"/>
                <a:gd name="T50" fmla="*/ 59 w 70"/>
                <a:gd name="T51" fmla="*/ 4 h 58"/>
                <a:gd name="T52" fmla="*/ 62 w 70"/>
                <a:gd name="T53" fmla="*/ 4 h 58"/>
                <a:gd name="T54" fmla="*/ 68 w 70"/>
                <a:gd name="T5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58">
                  <a:moveTo>
                    <a:pt x="68" y="0"/>
                  </a:moveTo>
                  <a:lnTo>
                    <a:pt x="70" y="31"/>
                  </a:lnTo>
                  <a:lnTo>
                    <a:pt x="56" y="38"/>
                  </a:lnTo>
                  <a:lnTo>
                    <a:pt x="56" y="40"/>
                  </a:lnTo>
                  <a:lnTo>
                    <a:pt x="55" y="40"/>
                  </a:lnTo>
                  <a:lnTo>
                    <a:pt x="55" y="41"/>
                  </a:lnTo>
                  <a:lnTo>
                    <a:pt x="49" y="41"/>
                  </a:lnTo>
                  <a:lnTo>
                    <a:pt x="49" y="49"/>
                  </a:lnTo>
                  <a:lnTo>
                    <a:pt x="37" y="52"/>
                  </a:lnTo>
                  <a:lnTo>
                    <a:pt x="35" y="55"/>
                  </a:lnTo>
                  <a:lnTo>
                    <a:pt x="29" y="58"/>
                  </a:lnTo>
                  <a:lnTo>
                    <a:pt x="18" y="56"/>
                  </a:lnTo>
                  <a:lnTo>
                    <a:pt x="18" y="50"/>
                  </a:lnTo>
                  <a:lnTo>
                    <a:pt x="13" y="52"/>
                  </a:lnTo>
                  <a:lnTo>
                    <a:pt x="12" y="52"/>
                  </a:lnTo>
                  <a:lnTo>
                    <a:pt x="9" y="41"/>
                  </a:lnTo>
                  <a:lnTo>
                    <a:pt x="7" y="34"/>
                  </a:lnTo>
                  <a:lnTo>
                    <a:pt x="3" y="28"/>
                  </a:lnTo>
                  <a:lnTo>
                    <a:pt x="0" y="21"/>
                  </a:lnTo>
                  <a:lnTo>
                    <a:pt x="4" y="12"/>
                  </a:lnTo>
                  <a:lnTo>
                    <a:pt x="13" y="4"/>
                  </a:lnTo>
                  <a:lnTo>
                    <a:pt x="38" y="4"/>
                  </a:lnTo>
                  <a:lnTo>
                    <a:pt x="47" y="9"/>
                  </a:lnTo>
                  <a:lnTo>
                    <a:pt x="53" y="3"/>
                  </a:lnTo>
                  <a:lnTo>
                    <a:pt x="58" y="3"/>
                  </a:lnTo>
                  <a:lnTo>
                    <a:pt x="59" y="4"/>
                  </a:lnTo>
                  <a:lnTo>
                    <a:pt x="62" y="4"/>
                  </a:lnTo>
                  <a:lnTo>
                    <a:pt x="6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4" name="Taiwan">
              <a:extLst>
                <a:ext uri="{FF2B5EF4-FFF2-40B4-BE49-F238E27FC236}">
                  <a16:creationId xmlns:a16="http://schemas.microsoft.com/office/drawing/2014/main" id="{5D37E948-E78D-6E4F-49DB-FB3424A93134}"/>
                </a:ext>
              </a:extLst>
            </p:cNvPr>
            <p:cNvSpPr>
              <a:spLocks/>
            </p:cNvSpPr>
            <p:nvPr/>
          </p:nvSpPr>
          <p:spPr bwMode="auto">
            <a:xfrm>
              <a:off x="8659317" y="3976620"/>
              <a:ext cx="41563" cy="84933"/>
            </a:xfrm>
            <a:custGeom>
              <a:avLst/>
              <a:gdLst>
                <a:gd name="T0" fmla="*/ 17 w 23"/>
                <a:gd name="T1" fmla="*/ 0 h 47"/>
                <a:gd name="T2" fmla="*/ 23 w 23"/>
                <a:gd name="T3" fmla="*/ 1 h 47"/>
                <a:gd name="T4" fmla="*/ 23 w 23"/>
                <a:gd name="T5" fmla="*/ 8 h 47"/>
                <a:gd name="T6" fmla="*/ 10 w 23"/>
                <a:gd name="T7" fmla="*/ 47 h 47"/>
                <a:gd name="T8" fmla="*/ 8 w 23"/>
                <a:gd name="T9" fmla="*/ 47 h 47"/>
                <a:gd name="T10" fmla="*/ 1 w 23"/>
                <a:gd name="T11" fmla="*/ 35 h 47"/>
                <a:gd name="T12" fmla="*/ 0 w 23"/>
                <a:gd name="T13" fmla="*/ 23 h 47"/>
                <a:gd name="T14" fmla="*/ 10 w 23"/>
                <a:gd name="T15" fmla="*/ 2 h 47"/>
                <a:gd name="T16" fmla="*/ 10 w 23"/>
                <a:gd name="T17" fmla="*/ 1 h 47"/>
                <a:gd name="T18" fmla="*/ 11 w 23"/>
                <a:gd name="T19" fmla="*/ 1 h 47"/>
                <a:gd name="T20" fmla="*/ 17 w 23"/>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47">
                  <a:moveTo>
                    <a:pt x="17" y="0"/>
                  </a:moveTo>
                  <a:lnTo>
                    <a:pt x="23" y="1"/>
                  </a:lnTo>
                  <a:lnTo>
                    <a:pt x="23" y="8"/>
                  </a:lnTo>
                  <a:lnTo>
                    <a:pt x="10" y="47"/>
                  </a:lnTo>
                  <a:lnTo>
                    <a:pt x="8" y="47"/>
                  </a:lnTo>
                  <a:lnTo>
                    <a:pt x="1" y="35"/>
                  </a:lnTo>
                  <a:lnTo>
                    <a:pt x="0" y="23"/>
                  </a:lnTo>
                  <a:lnTo>
                    <a:pt x="10" y="2"/>
                  </a:lnTo>
                  <a:lnTo>
                    <a:pt x="10" y="1"/>
                  </a:lnTo>
                  <a:lnTo>
                    <a:pt x="11" y="1"/>
                  </a:lnTo>
                  <a:lnTo>
                    <a:pt x="1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5" name="Unknown">
              <a:extLst>
                <a:ext uri="{FF2B5EF4-FFF2-40B4-BE49-F238E27FC236}">
                  <a16:creationId xmlns:a16="http://schemas.microsoft.com/office/drawing/2014/main" id="{037344A0-5A99-8F97-344D-0D0B5B5025C1}"/>
                </a:ext>
              </a:extLst>
            </p:cNvPr>
            <p:cNvSpPr>
              <a:spLocks/>
            </p:cNvSpPr>
            <p:nvPr/>
          </p:nvSpPr>
          <p:spPr bwMode="auto">
            <a:xfrm>
              <a:off x="6882976" y="3862775"/>
              <a:ext cx="43369" cy="21685"/>
            </a:xfrm>
            <a:custGeom>
              <a:avLst/>
              <a:gdLst>
                <a:gd name="T0" fmla="*/ 10 w 24"/>
                <a:gd name="T1" fmla="*/ 0 h 12"/>
                <a:gd name="T2" fmla="*/ 24 w 24"/>
                <a:gd name="T3" fmla="*/ 5 h 12"/>
                <a:gd name="T4" fmla="*/ 24 w 24"/>
                <a:gd name="T5" fmla="*/ 6 h 12"/>
                <a:gd name="T6" fmla="*/ 10 w 24"/>
                <a:gd name="T7" fmla="*/ 12 h 12"/>
                <a:gd name="T8" fmla="*/ 0 w 24"/>
                <a:gd name="T9" fmla="*/ 5 h 12"/>
                <a:gd name="T10" fmla="*/ 0 w 24"/>
                <a:gd name="T11" fmla="*/ 3 h 12"/>
                <a:gd name="T12" fmla="*/ 10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0" y="0"/>
                  </a:moveTo>
                  <a:lnTo>
                    <a:pt x="24" y="5"/>
                  </a:lnTo>
                  <a:lnTo>
                    <a:pt x="24" y="6"/>
                  </a:lnTo>
                  <a:lnTo>
                    <a:pt x="10" y="12"/>
                  </a:lnTo>
                  <a:lnTo>
                    <a:pt x="0" y="5"/>
                  </a:lnTo>
                  <a:lnTo>
                    <a:pt x="0" y="3"/>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6" name="Kuwait">
              <a:extLst>
                <a:ext uri="{FF2B5EF4-FFF2-40B4-BE49-F238E27FC236}">
                  <a16:creationId xmlns:a16="http://schemas.microsoft.com/office/drawing/2014/main" id="{0494A13C-45A8-9C9B-55FA-D03883B7143A}"/>
                </a:ext>
              </a:extLst>
            </p:cNvPr>
            <p:cNvSpPr>
              <a:spLocks/>
            </p:cNvSpPr>
            <p:nvPr/>
          </p:nvSpPr>
          <p:spPr bwMode="auto">
            <a:xfrm>
              <a:off x="6922731" y="3846511"/>
              <a:ext cx="45177" cy="43369"/>
            </a:xfrm>
            <a:custGeom>
              <a:avLst/>
              <a:gdLst>
                <a:gd name="T0" fmla="*/ 10 w 25"/>
                <a:gd name="T1" fmla="*/ 0 h 24"/>
                <a:gd name="T2" fmla="*/ 21 w 25"/>
                <a:gd name="T3" fmla="*/ 0 h 24"/>
                <a:gd name="T4" fmla="*/ 21 w 25"/>
                <a:gd name="T5" fmla="*/ 2 h 24"/>
                <a:gd name="T6" fmla="*/ 24 w 25"/>
                <a:gd name="T7" fmla="*/ 6 h 24"/>
                <a:gd name="T8" fmla="*/ 24 w 25"/>
                <a:gd name="T9" fmla="*/ 8 h 24"/>
                <a:gd name="T10" fmla="*/ 18 w 25"/>
                <a:gd name="T11" fmla="*/ 12 h 24"/>
                <a:gd name="T12" fmla="*/ 21 w 25"/>
                <a:gd name="T13" fmla="*/ 12 h 24"/>
                <a:gd name="T14" fmla="*/ 25 w 25"/>
                <a:gd name="T15" fmla="*/ 23 h 24"/>
                <a:gd name="T16" fmla="*/ 25 w 25"/>
                <a:gd name="T17" fmla="*/ 24 h 24"/>
                <a:gd name="T18" fmla="*/ 15 w 25"/>
                <a:gd name="T19" fmla="*/ 24 h 24"/>
                <a:gd name="T20" fmla="*/ 12 w 25"/>
                <a:gd name="T21" fmla="*/ 18 h 24"/>
                <a:gd name="T22" fmla="*/ 2 w 25"/>
                <a:gd name="T23" fmla="*/ 15 h 24"/>
                <a:gd name="T24" fmla="*/ 0 w 25"/>
                <a:gd name="T25" fmla="*/ 14 h 24"/>
                <a:gd name="T26" fmla="*/ 2 w 25"/>
                <a:gd name="T27" fmla="*/ 14 h 24"/>
                <a:gd name="T28" fmla="*/ 10 w 25"/>
                <a:gd name="T2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4">
                  <a:moveTo>
                    <a:pt x="10" y="0"/>
                  </a:moveTo>
                  <a:lnTo>
                    <a:pt x="21" y="0"/>
                  </a:lnTo>
                  <a:lnTo>
                    <a:pt x="21" y="2"/>
                  </a:lnTo>
                  <a:lnTo>
                    <a:pt x="24" y="6"/>
                  </a:lnTo>
                  <a:lnTo>
                    <a:pt x="24" y="8"/>
                  </a:lnTo>
                  <a:lnTo>
                    <a:pt x="18" y="12"/>
                  </a:lnTo>
                  <a:lnTo>
                    <a:pt x="21" y="12"/>
                  </a:lnTo>
                  <a:lnTo>
                    <a:pt x="25" y="23"/>
                  </a:lnTo>
                  <a:lnTo>
                    <a:pt x="25" y="24"/>
                  </a:lnTo>
                  <a:lnTo>
                    <a:pt x="15" y="24"/>
                  </a:lnTo>
                  <a:lnTo>
                    <a:pt x="12" y="18"/>
                  </a:lnTo>
                  <a:lnTo>
                    <a:pt x="2" y="15"/>
                  </a:lnTo>
                  <a:lnTo>
                    <a:pt x="0" y="14"/>
                  </a:lnTo>
                  <a:lnTo>
                    <a:pt x="2" y="14"/>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7" name="Qatar">
              <a:extLst>
                <a:ext uri="{FF2B5EF4-FFF2-40B4-BE49-F238E27FC236}">
                  <a16:creationId xmlns:a16="http://schemas.microsoft.com/office/drawing/2014/main" id="{5104353A-8723-9F30-E6DE-88F001E63120}"/>
                </a:ext>
              </a:extLst>
            </p:cNvPr>
            <p:cNvSpPr>
              <a:spLocks/>
            </p:cNvSpPr>
            <p:nvPr/>
          </p:nvSpPr>
          <p:spPr bwMode="auto">
            <a:xfrm>
              <a:off x="7022118" y="3951321"/>
              <a:ext cx="21685" cy="43369"/>
            </a:xfrm>
            <a:custGeom>
              <a:avLst/>
              <a:gdLst>
                <a:gd name="T0" fmla="*/ 6 w 12"/>
                <a:gd name="T1" fmla="*/ 0 h 24"/>
                <a:gd name="T2" fmla="*/ 12 w 12"/>
                <a:gd name="T3" fmla="*/ 3 h 24"/>
                <a:gd name="T4" fmla="*/ 12 w 12"/>
                <a:gd name="T5" fmla="*/ 5 h 24"/>
                <a:gd name="T6" fmla="*/ 10 w 12"/>
                <a:gd name="T7" fmla="*/ 22 h 24"/>
                <a:gd name="T8" fmla="*/ 4 w 12"/>
                <a:gd name="T9" fmla="*/ 24 h 24"/>
                <a:gd name="T10" fmla="*/ 0 w 12"/>
                <a:gd name="T11" fmla="*/ 21 h 24"/>
                <a:gd name="T12" fmla="*/ 0 w 12"/>
                <a:gd name="T13" fmla="*/ 9 h 24"/>
                <a:gd name="T14" fmla="*/ 6 w 12"/>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4">
                  <a:moveTo>
                    <a:pt x="6" y="0"/>
                  </a:moveTo>
                  <a:lnTo>
                    <a:pt x="12" y="3"/>
                  </a:lnTo>
                  <a:lnTo>
                    <a:pt x="12" y="5"/>
                  </a:lnTo>
                  <a:lnTo>
                    <a:pt x="10" y="22"/>
                  </a:lnTo>
                  <a:lnTo>
                    <a:pt x="4" y="24"/>
                  </a:lnTo>
                  <a:lnTo>
                    <a:pt x="0" y="21"/>
                  </a:lnTo>
                  <a:lnTo>
                    <a:pt x="0" y="9"/>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8" name="Asian Island">
              <a:extLst>
                <a:ext uri="{FF2B5EF4-FFF2-40B4-BE49-F238E27FC236}">
                  <a16:creationId xmlns:a16="http://schemas.microsoft.com/office/drawing/2014/main" id="{16D37F50-C3D2-28DA-6F1B-85A9F572FC96}"/>
                </a:ext>
              </a:extLst>
            </p:cNvPr>
            <p:cNvSpPr>
              <a:spLocks/>
            </p:cNvSpPr>
            <p:nvPr/>
          </p:nvSpPr>
          <p:spPr bwMode="auto">
            <a:xfrm>
              <a:off x="9855591" y="4377787"/>
              <a:ext cx="10843" cy="12650"/>
            </a:xfrm>
            <a:custGeom>
              <a:avLst/>
              <a:gdLst>
                <a:gd name="T0" fmla="*/ 0 w 6"/>
                <a:gd name="T1" fmla="*/ 0 h 7"/>
                <a:gd name="T2" fmla="*/ 2 w 6"/>
                <a:gd name="T3" fmla="*/ 0 h 7"/>
                <a:gd name="T4" fmla="*/ 6 w 6"/>
                <a:gd name="T5" fmla="*/ 3 h 7"/>
                <a:gd name="T6" fmla="*/ 6 w 6"/>
                <a:gd name="T7" fmla="*/ 4 h 7"/>
                <a:gd name="T8" fmla="*/ 5 w 6"/>
                <a:gd name="T9" fmla="*/ 7 h 7"/>
                <a:gd name="T10" fmla="*/ 0 w 6"/>
                <a:gd name="T11" fmla="*/ 1 h 7"/>
                <a:gd name="T12" fmla="*/ 0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0" y="0"/>
                  </a:moveTo>
                  <a:lnTo>
                    <a:pt x="2" y="0"/>
                  </a:lnTo>
                  <a:lnTo>
                    <a:pt x="6" y="3"/>
                  </a:lnTo>
                  <a:lnTo>
                    <a:pt x="6" y="4"/>
                  </a:lnTo>
                  <a:lnTo>
                    <a:pt x="5" y="7"/>
                  </a:lnTo>
                  <a:lnTo>
                    <a:pt x="0" y="1"/>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9" name="Asian Island">
              <a:extLst>
                <a:ext uri="{FF2B5EF4-FFF2-40B4-BE49-F238E27FC236}">
                  <a16:creationId xmlns:a16="http://schemas.microsoft.com/office/drawing/2014/main" id="{2EB10301-87C6-DD3C-E48D-46B3A822CD0C}"/>
                </a:ext>
              </a:extLst>
            </p:cNvPr>
            <p:cNvSpPr>
              <a:spLocks/>
            </p:cNvSpPr>
            <p:nvPr/>
          </p:nvSpPr>
          <p:spPr bwMode="auto">
            <a:xfrm>
              <a:off x="9759816" y="4318154"/>
              <a:ext cx="10843" cy="9036"/>
            </a:xfrm>
            <a:custGeom>
              <a:avLst/>
              <a:gdLst>
                <a:gd name="T0" fmla="*/ 0 w 6"/>
                <a:gd name="T1" fmla="*/ 0 h 5"/>
                <a:gd name="T2" fmla="*/ 6 w 6"/>
                <a:gd name="T3" fmla="*/ 0 h 5"/>
                <a:gd name="T4" fmla="*/ 6 w 6"/>
                <a:gd name="T5" fmla="*/ 2 h 5"/>
                <a:gd name="T6" fmla="*/ 1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1" y="5"/>
                  </a:lnTo>
                  <a:lnTo>
                    <a:pt x="0" y="5"/>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0" name="Asian Island">
              <a:extLst>
                <a:ext uri="{FF2B5EF4-FFF2-40B4-BE49-F238E27FC236}">
                  <a16:creationId xmlns:a16="http://schemas.microsoft.com/office/drawing/2014/main" id="{F0DDBEE8-CD2C-A653-0DD6-31497B21ADB3}"/>
                </a:ext>
              </a:extLst>
            </p:cNvPr>
            <p:cNvSpPr>
              <a:spLocks/>
            </p:cNvSpPr>
            <p:nvPr/>
          </p:nvSpPr>
          <p:spPr bwMode="auto">
            <a:xfrm>
              <a:off x="9765238" y="4368752"/>
              <a:ext cx="18071" cy="16264"/>
            </a:xfrm>
            <a:custGeom>
              <a:avLst/>
              <a:gdLst>
                <a:gd name="T0" fmla="*/ 0 w 10"/>
                <a:gd name="T1" fmla="*/ 0 h 9"/>
                <a:gd name="T2" fmla="*/ 7 w 10"/>
                <a:gd name="T3" fmla="*/ 0 h 9"/>
                <a:gd name="T4" fmla="*/ 10 w 10"/>
                <a:gd name="T5" fmla="*/ 8 h 9"/>
                <a:gd name="T6" fmla="*/ 10 w 10"/>
                <a:gd name="T7" fmla="*/ 9 h 9"/>
                <a:gd name="T8" fmla="*/ 9 w 10"/>
                <a:gd name="T9" fmla="*/ 9 h 9"/>
                <a:gd name="T10" fmla="*/ 6 w 10"/>
                <a:gd name="T11" fmla="*/ 3 h 9"/>
                <a:gd name="T12" fmla="*/ 0 w 10"/>
                <a:gd name="T13" fmla="*/ 2 h 9"/>
                <a:gd name="T14" fmla="*/ 0 w 10"/>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0" y="0"/>
                  </a:moveTo>
                  <a:lnTo>
                    <a:pt x="7" y="0"/>
                  </a:lnTo>
                  <a:lnTo>
                    <a:pt x="10" y="8"/>
                  </a:lnTo>
                  <a:lnTo>
                    <a:pt x="10" y="9"/>
                  </a:lnTo>
                  <a:lnTo>
                    <a:pt x="9" y="9"/>
                  </a:lnTo>
                  <a:lnTo>
                    <a:pt x="6" y="3"/>
                  </a:lnTo>
                  <a:lnTo>
                    <a:pt x="0" y="2"/>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1" name="Asian Island">
              <a:extLst>
                <a:ext uri="{FF2B5EF4-FFF2-40B4-BE49-F238E27FC236}">
                  <a16:creationId xmlns:a16="http://schemas.microsoft.com/office/drawing/2014/main" id="{DFB12EDD-EDE5-DAC6-300B-FF65E910611A}"/>
                </a:ext>
              </a:extLst>
            </p:cNvPr>
            <p:cNvSpPr>
              <a:spLocks/>
            </p:cNvSpPr>
            <p:nvPr/>
          </p:nvSpPr>
          <p:spPr bwMode="auto">
            <a:xfrm>
              <a:off x="7455814" y="5893913"/>
              <a:ext cx="23493" cy="18071"/>
            </a:xfrm>
            <a:custGeom>
              <a:avLst/>
              <a:gdLst>
                <a:gd name="T0" fmla="*/ 4 w 13"/>
                <a:gd name="T1" fmla="*/ 0 h 10"/>
                <a:gd name="T2" fmla="*/ 7 w 13"/>
                <a:gd name="T3" fmla="*/ 3 h 10"/>
                <a:gd name="T4" fmla="*/ 6 w 13"/>
                <a:gd name="T5" fmla="*/ 7 h 10"/>
                <a:gd name="T6" fmla="*/ 13 w 13"/>
                <a:gd name="T7" fmla="*/ 7 h 10"/>
                <a:gd name="T8" fmla="*/ 10 w 13"/>
                <a:gd name="T9" fmla="*/ 10 h 10"/>
                <a:gd name="T10" fmla="*/ 3 w 13"/>
                <a:gd name="T11" fmla="*/ 10 h 10"/>
                <a:gd name="T12" fmla="*/ 0 w 13"/>
                <a:gd name="T13" fmla="*/ 5 h 10"/>
                <a:gd name="T14" fmla="*/ 4 w 13"/>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4" y="0"/>
                  </a:moveTo>
                  <a:lnTo>
                    <a:pt x="7" y="3"/>
                  </a:lnTo>
                  <a:lnTo>
                    <a:pt x="6" y="7"/>
                  </a:lnTo>
                  <a:lnTo>
                    <a:pt x="13" y="7"/>
                  </a:lnTo>
                  <a:lnTo>
                    <a:pt x="10" y="10"/>
                  </a:lnTo>
                  <a:lnTo>
                    <a:pt x="3" y="10"/>
                  </a:lnTo>
                  <a:lnTo>
                    <a:pt x="0" y="5"/>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2" name="Asian Island">
              <a:extLst>
                <a:ext uri="{FF2B5EF4-FFF2-40B4-BE49-F238E27FC236}">
                  <a16:creationId xmlns:a16="http://schemas.microsoft.com/office/drawing/2014/main" id="{73195E73-1E88-ED43-0AC0-0EF214ED23DC}"/>
                </a:ext>
              </a:extLst>
            </p:cNvPr>
            <p:cNvSpPr>
              <a:spLocks/>
            </p:cNvSpPr>
            <p:nvPr/>
          </p:nvSpPr>
          <p:spPr bwMode="auto">
            <a:xfrm>
              <a:off x="7461235" y="5910176"/>
              <a:ext cx="39755" cy="23493"/>
            </a:xfrm>
            <a:custGeom>
              <a:avLst/>
              <a:gdLst>
                <a:gd name="T0" fmla="*/ 18 w 22"/>
                <a:gd name="T1" fmla="*/ 0 h 13"/>
                <a:gd name="T2" fmla="*/ 22 w 22"/>
                <a:gd name="T3" fmla="*/ 0 h 13"/>
                <a:gd name="T4" fmla="*/ 22 w 22"/>
                <a:gd name="T5" fmla="*/ 1 h 13"/>
                <a:gd name="T6" fmla="*/ 19 w 22"/>
                <a:gd name="T7" fmla="*/ 7 h 13"/>
                <a:gd name="T8" fmla="*/ 15 w 22"/>
                <a:gd name="T9" fmla="*/ 7 h 13"/>
                <a:gd name="T10" fmla="*/ 19 w 22"/>
                <a:gd name="T11" fmla="*/ 12 h 13"/>
                <a:gd name="T12" fmla="*/ 18 w 22"/>
                <a:gd name="T13" fmla="*/ 12 h 13"/>
                <a:gd name="T14" fmla="*/ 10 w 22"/>
                <a:gd name="T15" fmla="*/ 10 h 13"/>
                <a:gd name="T16" fmla="*/ 9 w 22"/>
                <a:gd name="T17" fmla="*/ 12 h 13"/>
                <a:gd name="T18" fmla="*/ 7 w 22"/>
                <a:gd name="T19" fmla="*/ 12 h 13"/>
                <a:gd name="T20" fmla="*/ 6 w 22"/>
                <a:gd name="T21" fmla="*/ 10 h 13"/>
                <a:gd name="T22" fmla="*/ 3 w 22"/>
                <a:gd name="T23" fmla="*/ 13 h 13"/>
                <a:gd name="T24" fmla="*/ 1 w 22"/>
                <a:gd name="T25" fmla="*/ 13 h 13"/>
                <a:gd name="T26" fmla="*/ 0 w 22"/>
                <a:gd name="T27" fmla="*/ 10 h 13"/>
                <a:gd name="T28" fmla="*/ 1 w 22"/>
                <a:gd name="T29" fmla="*/ 3 h 13"/>
                <a:gd name="T30" fmla="*/ 3 w 22"/>
                <a:gd name="T31" fmla="*/ 3 h 13"/>
                <a:gd name="T32" fmla="*/ 13 w 22"/>
                <a:gd name="T33" fmla="*/ 1 h 13"/>
                <a:gd name="T34" fmla="*/ 16 w 22"/>
                <a:gd name="T35" fmla="*/ 1 h 13"/>
                <a:gd name="T36" fmla="*/ 18 w 22"/>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3">
                  <a:moveTo>
                    <a:pt x="18" y="0"/>
                  </a:moveTo>
                  <a:lnTo>
                    <a:pt x="22" y="0"/>
                  </a:lnTo>
                  <a:lnTo>
                    <a:pt x="22" y="1"/>
                  </a:lnTo>
                  <a:lnTo>
                    <a:pt x="19" y="7"/>
                  </a:lnTo>
                  <a:lnTo>
                    <a:pt x="15" y="7"/>
                  </a:lnTo>
                  <a:lnTo>
                    <a:pt x="19" y="12"/>
                  </a:lnTo>
                  <a:lnTo>
                    <a:pt x="18" y="12"/>
                  </a:lnTo>
                  <a:lnTo>
                    <a:pt x="10" y="10"/>
                  </a:lnTo>
                  <a:lnTo>
                    <a:pt x="9" y="12"/>
                  </a:lnTo>
                  <a:lnTo>
                    <a:pt x="7" y="12"/>
                  </a:lnTo>
                  <a:lnTo>
                    <a:pt x="6" y="10"/>
                  </a:lnTo>
                  <a:lnTo>
                    <a:pt x="3" y="13"/>
                  </a:lnTo>
                  <a:lnTo>
                    <a:pt x="1" y="13"/>
                  </a:lnTo>
                  <a:lnTo>
                    <a:pt x="0" y="10"/>
                  </a:lnTo>
                  <a:lnTo>
                    <a:pt x="1" y="3"/>
                  </a:lnTo>
                  <a:lnTo>
                    <a:pt x="3" y="3"/>
                  </a:lnTo>
                  <a:lnTo>
                    <a:pt x="13" y="1"/>
                  </a:lnTo>
                  <a:lnTo>
                    <a:pt x="16" y="1"/>
                  </a:lnTo>
                  <a:lnTo>
                    <a:pt x="1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3" name="Brunei">
              <a:extLst>
                <a:ext uri="{FF2B5EF4-FFF2-40B4-BE49-F238E27FC236}">
                  <a16:creationId xmlns:a16="http://schemas.microsoft.com/office/drawing/2014/main" id="{A4E4F2FB-9462-3F24-7796-62D578055894}"/>
                </a:ext>
              </a:extLst>
            </p:cNvPr>
            <p:cNvSpPr>
              <a:spLocks/>
            </p:cNvSpPr>
            <p:nvPr/>
          </p:nvSpPr>
          <p:spPr bwMode="auto">
            <a:xfrm>
              <a:off x="8516558" y="4468141"/>
              <a:ext cx="34334" cy="27107"/>
            </a:xfrm>
            <a:custGeom>
              <a:avLst/>
              <a:gdLst>
                <a:gd name="T0" fmla="*/ 12 w 19"/>
                <a:gd name="T1" fmla="*/ 0 h 15"/>
                <a:gd name="T2" fmla="*/ 13 w 19"/>
                <a:gd name="T3" fmla="*/ 0 h 15"/>
                <a:gd name="T4" fmla="*/ 16 w 19"/>
                <a:gd name="T5" fmla="*/ 3 h 15"/>
                <a:gd name="T6" fmla="*/ 19 w 19"/>
                <a:gd name="T7" fmla="*/ 9 h 15"/>
                <a:gd name="T8" fmla="*/ 19 w 19"/>
                <a:gd name="T9" fmla="*/ 11 h 15"/>
                <a:gd name="T10" fmla="*/ 18 w 19"/>
                <a:gd name="T11" fmla="*/ 11 h 15"/>
                <a:gd name="T12" fmla="*/ 13 w 19"/>
                <a:gd name="T13" fmla="*/ 6 h 15"/>
                <a:gd name="T14" fmla="*/ 9 w 19"/>
                <a:gd name="T15" fmla="*/ 15 h 15"/>
                <a:gd name="T16" fmla="*/ 7 w 19"/>
                <a:gd name="T17" fmla="*/ 15 h 15"/>
                <a:gd name="T18" fmla="*/ 0 w 19"/>
                <a:gd name="T19" fmla="*/ 8 h 15"/>
                <a:gd name="T20" fmla="*/ 0 w 19"/>
                <a:gd name="T21" fmla="*/ 6 h 15"/>
                <a:gd name="T22" fmla="*/ 12 w 19"/>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5">
                  <a:moveTo>
                    <a:pt x="12" y="0"/>
                  </a:moveTo>
                  <a:lnTo>
                    <a:pt x="13" y="0"/>
                  </a:lnTo>
                  <a:lnTo>
                    <a:pt x="16" y="3"/>
                  </a:lnTo>
                  <a:lnTo>
                    <a:pt x="19" y="9"/>
                  </a:lnTo>
                  <a:lnTo>
                    <a:pt x="19" y="11"/>
                  </a:lnTo>
                  <a:lnTo>
                    <a:pt x="18" y="11"/>
                  </a:lnTo>
                  <a:lnTo>
                    <a:pt x="13" y="6"/>
                  </a:lnTo>
                  <a:lnTo>
                    <a:pt x="9" y="15"/>
                  </a:lnTo>
                  <a:lnTo>
                    <a:pt x="7" y="15"/>
                  </a:lnTo>
                  <a:lnTo>
                    <a:pt x="0" y="8"/>
                  </a:lnTo>
                  <a:lnTo>
                    <a:pt x="0" y="6"/>
                  </a:lnTo>
                  <a:lnTo>
                    <a:pt x="1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4" name="Philippines">
              <a:extLst>
                <a:ext uri="{FF2B5EF4-FFF2-40B4-BE49-F238E27FC236}">
                  <a16:creationId xmlns:a16="http://schemas.microsoft.com/office/drawing/2014/main" id="{9640865E-805B-3F3F-C87B-4F5E5ECE381F}"/>
                </a:ext>
              </a:extLst>
            </p:cNvPr>
            <p:cNvSpPr>
              <a:spLocks/>
            </p:cNvSpPr>
            <p:nvPr/>
          </p:nvSpPr>
          <p:spPr bwMode="auto">
            <a:xfrm>
              <a:off x="8590647" y="4144676"/>
              <a:ext cx="224076" cy="328885"/>
            </a:xfrm>
            <a:custGeom>
              <a:avLst/>
              <a:gdLst/>
              <a:ahLst/>
              <a:cxnLst/>
              <a:rect l="l" t="t" r="r" b="b"/>
              <a:pathLst>
                <a:path w="225862" h="331507">
                  <a:moveTo>
                    <a:pt x="65572" y="324221"/>
                  </a:moveTo>
                  <a:lnTo>
                    <a:pt x="74680" y="324221"/>
                  </a:lnTo>
                  <a:lnTo>
                    <a:pt x="74680" y="326043"/>
                  </a:lnTo>
                  <a:lnTo>
                    <a:pt x="65572" y="331507"/>
                  </a:lnTo>
                  <a:lnTo>
                    <a:pt x="63751" y="331507"/>
                  </a:lnTo>
                  <a:lnTo>
                    <a:pt x="63751" y="329686"/>
                  </a:lnTo>
                  <a:close/>
                  <a:moveTo>
                    <a:pt x="92894" y="302364"/>
                  </a:moveTo>
                  <a:lnTo>
                    <a:pt x="94715" y="302364"/>
                  </a:lnTo>
                  <a:lnTo>
                    <a:pt x="100180" y="307829"/>
                  </a:lnTo>
                  <a:lnTo>
                    <a:pt x="103823" y="307829"/>
                  </a:lnTo>
                  <a:lnTo>
                    <a:pt x="100180" y="309650"/>
                  </a:lnTo>
                  <a:lnTo>
                    <a:pt x="89251" y="309650"/>
                  </a:lnTo>
                  <a:lnTo>
                    <a:pt x="89251" y="307829"/>
                  </a:lnTo>
                  <a:close/>
                  <a:moveTo>
                    <a:pt x="109288" y="289614"/>
                  </a:moveTo>
                  <a:lnTo>
                    <a:pt x="125682" y="289614"/>
                  </a:lnTo>
                  <a:lnTo>
                    <a:pt x="125682" y="291436"/>
                  </a:lnTo>
                  <a:lnTo>
                    <a:pt x="114753" y="296900"/>
                  </a:lnTo>
                  <a:lnTo>
                    <a:pt x="109288" y="291436"/>
                  </a:lnTo>
                  <a:close/>
                  <a:moveTo>
                    <a:pt x="200361" y="200362"/>
                  </a:moveTo>
                  <a:lnTo>
                    <a:pt x="204004" y="200362"/>
                  </a:lnTo>
                  <a:lnTo>
                    <a:pt x="204004" y="216755"/>
                  </a:lnTo>
                  <a:lnTo>
                    <a:pt x="204005" y="216755"/>
                  </a:lnTo>
                  <a:lnTo>
                    <a:pt x="216755" y="229505"/>
                  </a:lnTo>
                  <a:lnTo>
                    <a:pt x="220398" y="240434"/>
                  </a:lnTo>
                  <a:lnTo>
                    <a:pt x="216755" y="242256"/>
                  </a:lnTo>
                  <a:lnTo>
                    <a:pt x="220398" y="245899"/>
                  </a:lnTo>
                  <a:lnTo>
                    <a:pt x="225862" y="269578"/>
                  </a:lnTo>
                  <a:lnTo>
                    <a:pt x="216755" y="296900"/>
                  </a:lnTo>
                  <a:lnTo>
                    <a:pt x="214933" y="296900"/>
                  </a:lnTo>
                  <a:lnTo>
                    <a:pt x="209469" y="275042"/>
                  </a:lnTo>
                  <a:lnTo>
                    <a:pt x="198540" y="285971"/>
                  </a:lnTo>
                  <a:lnTo>
                    <a:pt x="198540" y="291435"/>
                  </a:lnTo>
                  <a:lnTo>
                    <a:pt x="205826" y="302364"/>
                  </a:lnTo>
                  <a:lnTo>
                    <a:pt x="198540" y="315114"/>
                  </a:lnTo>
                  <a:lnTo>
                    <a:pt x="193076" y="304185"/>
                  </a:lnTo>
                  <a:lnTo>
                    <a:pt x="183968" y="309650"/>
                  </a:lnTo>
                  <a:lnTo>
                    <a:pt x="167575" y="300543"/>
                  </a:lnTo>
                  <a:lnTo>
                    <a:pt x="165754" y="300543"/>
                  </a:lnTo>
                  <a:lnTo>
                    <a:pt x="162111" y="284149"/>
                  </a:lnTo>
                  <a:lnTo>
                    <a:pt x="162111" y="280506"/>
                  </a:lnTo>
                  <a:lnTo>
                    <a:pt x="165754" y="273221"/>
                  </a:lnTo>
                  <a:lnTo>
                    <a:pt x="154825" y="262292"/>
                  </a:lnTo>
                  <a:lnTo>
                    <a:pt x="149360" y="273221"/>
                  </a:lnTo>
                  <a:lnTo>
                    <a:pt x="147539" y="273221"/>
                  </a:lnTo>
                  <a:lnTo>
                    <a:pt x="143896" y="267756"/>
                  </a:lnTo>
                  <a:lnTo>
                    <a:pt x="138431" y="275042"/>
                  </a:lnTo>
                  <a:lnTo>
                    <a:pt x="136610" y="275042"/>
                  </a:lnTo>
                  <a:lnTo>
                    <a:pt x="132967" y="267756"/>
                  </a:lnTo>
                  <a:lnTo>
                    <a:pt x="131145" y="267756"/>
                  </a:lnTo>
                  <a:lnTo>
                    <a:pt x="122038" y="284149"/>
                  </a:lnTo>
                  <a:lnTo>
                    <a:pt x="122038" y="285971"/>
                  </a:lnTo>
                  <a:lnTo>
                    <a:pt x="114752" y="285971"/>
                  </a:lnTo>
                  <a:lnTo>
                    <a:pt x="114752" y="284149"/>
                  </a:lnTo>
                  <a:lnTo>
                    <a:pt x="111109" y="278685"/>
                  </a:lnTo>
                  <a:lnTo>
                    <a:pt x="122038" y="256827"/>
                  </a:lnTo>
                  <a:lnTo>
                    <a:pt x="136610" y="251363"/>
                  </a:lnTo>
                  <a:lnTo>
                    <a:pt x="147539" y="240434"/>
                  </a:lnTo>
                  <a:lnTo>
                    <a:pt x="149360" y="240434"/>
                  </a:lnTo>
                  <a:lnTo>
                    <a:pt x="156646" y="242256"/>
                  </a:lnTo>
                  <a:lnTo>
                    <a:pt x="156646" y="256827"/>
                  </a:lnTo>
                  <a:lnTo>
                    <a:pt x="165754" y="253185"/>
                  </a:lnTo>
                  <a:lnTo>
                    <a:pt x="167575" y="245899"/>
                  </a:lnTo>
                  <a:lnTo>
                    <a:pt x="176682" y="245899"/>
                  </a:lnTo>
                  <a:lnTo>
                    <a:pt x="178504" y="234970"/>
                  </a:lnTo>
                  <a:lnTo>
                    <a:pt x="182147" y="234970"/>
                  </a:lnTo>
                  <a:lnTo>
                    <a:pt x="194897" y="231327"/>
                  </a:lnTo>
                  <a:lnTo>
                    <a:pt x="194897" y="216755"/>
                  </a:lnTo>
                  <a:lnTo>
                    <a:pt x="200361" y="216755"/>
                  </a:lnTo>
                  <a:lnTo>
                    <a:pt x="200361" y="213113"/>
                  </a:lnTo>
                  <a:lnTo>
                    <a:pt x="198539" y="207648"/>
                  </a:lnTo>
                  <a:lnTo>
                    <a:pt x="198539" y="205826"/>
                  </a:lnTo>
                  <a:close/>
                  <a:moveTo>
                    <a:pt x="142074" y="185790"/>
                  </a:moveTo>
                  <a:lnTo>
                    <a:pt x="143896" y="185790"/>
                  </a:lnTo>
                  <a:lnTo>
                    <a:pt x="153003" y="189433"/>
                  </a:lnTo>
                  <a:lnTo>
                    <a:pt x="153003" y="194897"/>
                  </a:lnTo>
                  <a:lnTo>
                    <a:pt x="143896" y="213112"/>
                  </a:lnTo>
                  <a:lnTo>
                    <a:pt x="143896" y="229506"/>
                  </a:lnTo>
                  <a:lnTo>
                    <a:pt x="142074" y="234970"/>
                  </a:lnTo>
                  <a:lnTo>
                    <a:pt x="125680" y="218577"/>
                  </a:lnTo>
                  <a:lnTo>
                    <a:pt x="125680" y="211290"/>
                  </a:lnTo>
                  <a:lnTo>
                    <a:pt x="127502" y="211290"/>
                  </a:lnTo>
                  <a:lnTo>
                    <a:pt x="131145" y="207648"/>
                  </a:lnTo>
                  <a:lnTo>
                    <a:pt x="136609" y="189433"/>
                  </a:lnTo>
                  <a:close/>
                  <a:moveTo>
                    <a:pt x="162110" y="180326"/>
                  </a:moveTo>
                  <a:lnTo>
                    <a:pt x="165753" y="180326"/>
                  </a:lnTo>
                  <a:lnTo>
                    <a:pt x="165753" y="200362"/>
                  </a:lnTo>
                  <a:lnTo>
                    <a:pt x="157272" y="212612"/>
                  </a:lnTo>
                  <a:lnTo>
                    <a:pt x="165754" y="205827"/>
                  </a:lnTo>
                  <a:lnTo>
                    <a:pt x="178504" y="205827"/>
                  </a:lnTo>
                  <a:lnTo>
                    <a:pt x="178504" y="207648"/>
                  </a:lnTo>
                  <a:lnTo>
                    <a:pt x="176683" y="218578"/>
                  </a:lnTo>
                  <a:lnTo>
                    <a:pt x="171218" y="218578"/>
                  </a:lnTo>
                  <a:lnTo>
                    <a:pt x="167575" y="222221"/>
                  </a:lnTo>
                  <a:lnTo>
                    <a:pt x="160289" y="222221"/>
                  </a:lnTo>
                  <a:lnTo>
                    <a:pt x="156748" y="213368"/>
                  </a:lnTo>
                  <a:lnTo>
                    <a:pt x="149360" y="224041"/>
                  </a:lnTo>
                  <a:lnTo>
                    <a:pt x="147538" y="224041"/>
                  </a:lnTo>
                  <a:lnTo>
                    <a:pt x="147538" y="213112"/>
                  </a:lnTo>
                  <a:close/>
                  <a:moveTo>
                    <a:pt x="52823" y="174861"/>
                  </a:moveTo>
                  <a:lnTo>
                    <a:pt x="54644" y="174861"/>
                  </a:lnTo>
                  <a:lnTo>
                    <a:pt x="54644" y="178504"/>
                  </a:lnTo>
                  <a:lnTo>
                    <a:pt x="60109" y="200361"/>
                  </a:lnTo>
                  <a:lnTo>
                    <a:pt x="60109" y="202183"/>
                  </a:lnTo>
                  <a:lnTo>
                    <a:pt x="58287" y="202183"/>
                  </a:lnTo>
                  <a:lnTo>
                    <a:pt x="41894" y="213112"/>
                  </a:lnTo>
                  <a:lnTo>
                    <a:pt x="41894" y="218577"/>
                  </a:lnTo>
                  <a:lnTo>
                    <a:pt x="20036" y="236791"/>
                  </a:lnTo>
                  <a:lnTo>
                    <a:pt x="3643" y="247720"/>
                  </a:lnTo>
                  <a:lnTo>
                    <a:pt x="0" y="247720"/>
                  </a:lnTo>
                  <a:lnTo>
                    <a:pt x="0" y="245899"/>
                  </a:lnTo>
                  <a:lnTo>
                    <a:pt x="5464" y="234970"/>
                  </a:lnTo>
                  <a:lnTo>
                    <a:pt x="47358" y="200361"/>
                  </a:lnTo>
                  <a:lnTo>
                    <a:pt x="52823" y="178504"/>
                  </a:lnTo>
                  <a:close/>
                  <a:moveTo>
                    <a:pt x="111109" y="163932"/>
                  </a:moveTo>
                  <a:lnTo>
                    <a:pt x="114752" y="163932"/>
                  </a:lnTo>
                  <a:lnTo>
                    <a:pt x="125681" y="169396"/>
                  </a:lnTo>
                  <a:lnTo>
                    <a:pt x="142075" y="173039"/>
                  </a:lnTo>
                  <a:lnTo>
                    <a:pt x="142075" y="183968"/>
                  </a:lnTo>
                  <a:lnTo>
                    <a:pt x="138432" y="183968"/>
                  </a:lnTo>
                  <a:lnTo>
                    <a:pt x="114752" y="202183"/>
                  </a:lnTo>
                  <a:lnTo>
                    <a:pt x="114752" y="200361"/>
                  </a:lnTo>
                  <a:close/>
                  <a:moveTo>
                    <a:pt x="171218" y="147540"/>
                  </a:moveTo>
                  <a:lnTo>
                    <a:pt x="193076" y="147540"/>
                  </a:lnTo>
                  <a:lnTo>
                    <a:pt x="193076" y="151183"/>
                  </a:lnTo>
                  <a:lnTo>
                    <a:pt x="198540" y="156647"/>
                  </a:lnTo>
                  <a:lnTo>
                    <a:pt x="198540" y="173040"/>
                  </a:lnTo>
                  <a:lnTo>
                    <a:pt x="205826" y="185791"/>
                  </a:lnTo>
                  <a:lnTo>
                    <a:pt x="204005" y="185791"/>
                  </a:lnTo>
                  <a:lnTo>
                    <a:pt x="193076" y="183969"/>
                  </a:lnTo>
                  <a:lnTo>
                    <a:pt x="189433" y="183969"/>
                  </a:lnTo>
                  <a:lnTo>
                    <a:pt x="187739" y="180921"/>
                  </a:lnTo>
                  <a:lnTo>
                    <a:pt x="193076" y="205826"/>
                  </a:lnTo>
                  <a:lnTo>
                    <a:pt x="193076" y="207648"/>
                  </a:lnTo>
                  <a:lnTo>
                    <a:pt x="187612" y="207648"/>
                  </a:lnTo>
                  <a:lnTo>
                    <a:pt x="187612" y="211291"/>
                  </a:lnTo>
                  <a:lnTo>
                    <a:pt x="183969" y="211291"/>
                  </a:lnTo>
                  <a:lnTo>
                    <a:pt x="178504" y="205826"/>
                  </a:lnTo>
                  <a:lnTo>
                    <a:pt x="176683" y="189433"/>
                  </a:lnTo>
                  <a:lnTo>
                    <a:pt x="173040" y="191255"/>
                  </a:lnTo>
                  <a:lnTo>
                    <a:pt x="173040" y="189433"/>
                  </a:lnTo>
                  <a:lnTo>
                    <a:pt x="171218" y="174861"/>
                  </a:lnTo>
                  <a:lnTo>
                    <a:pt x="171218" y="173040"/>
                  </a:lnTo>
                  <a:lnTo>
                    <a:pt x="187342" y="180206"/>
                  </a:lnTo>
                  <a:lnTo>
                    <a:pt x="171218" y="151183"/>
                  </a:lnTo>
                  <a:close/>
                  <a:moveTo>
                    <a:pt x="143896" y="145718"/>
                  </a:moveTo>
                  <a:lnTo>
                    <a:pt x="147539" y="145718"/>
                  </a:lnTo>
                  <a:lnTo>
                    <a:pt x="162111" y="162112"/>
                  </a:lnTo>
                  <a:lnTo>
                    <a:pt x="165754" y="167576"/>
                  </a:lnTo>
                  <a:lnTo>
                    <a:pt x="162111" y="167576"/>
                  </a:lnTo>
                  <a:lnTo>
                    <a:pt x="162111" y="169398"/>
                  </a:lnTo>
                  <a:lnTo>
                    <a:pt x="153003" y="158469"/>
                  </a:lnTo>
                  <a:lnTo>
                    <a:pt x="143896" y="162112"/>
                  </a:lnTo>
                  <a:lnTo>
                    <a:pt x="142074" y="162112"/>
                  </a:lnTo>
                  <a:lnTo>
                    <a:pt x="143896" y="147539"/>
                  </a:lnTo>
                  <a:close/>
                  <a:moveTo>
                    <a:pt x="116574" y="145718"/>
                  </a:moveTo>
                  <a:lnTo>
                    <a:pt x="120217" y="145718"/>
                  </a:lnTo>
                  <a:lnTo>
                    <a:pt x="120217" y="147539"/>
                  </a:lnTo>
                  <a:lnTo>
                    <a:pt x="116574" y="158469"/>
                  </a:lnTo>
                  <a:lnTo>
                    <a:pt x="114752" y="158469"/>
                  </a:lnTo>
                  <a:lnTo>
                    <a:pt x="114752" y="151182"/>
                  </a:lnTo>
                  <a:close/>
                  <a:moveTo>
                    <a:pt x="109288" y="123860"/>
                  </a:moveTo>
                  <a:lnTo>
                    <a:pt x="116574" y="123860"/>
                  </a:lnTo>
                  <a:lnTo>
                    <a:pt x="116574" y="127503"/>
                  </a:lnTo>
                  <a:lnTo>
                    <a:pt x="120217" y="127503"/>
                  </a:lnTo>
                  <a:lnTo>
                    <a:pt x="120217" y="132967"/>
                  </a:lnTo>
                  <a:lnTo>
                    <a:pt x="116574" y="134789"/>
                  </a:lnTo>
                  <a:lnTo>
                    <a:pt x="109288" y="127503"/>
                  </a:lnTo>
                  <a:close/>
                  <a:moveTo>
                    <a:pt x="87429" y="123860"/>
                  </a:moveTo>
                  <a:lnTo>
                    <a:pt x="92893" y="123860"/>
                  </a:lnTo>
                  <a:lnTo>
                    <a:pt x="92893" y="127503"/>
                  </a:lnTo>
                  <a:lnTo>
                    <a:pt x="103822" y="132967"/>
                  </a:lnTo>
                  <a:lnTo>
                    <a:pt x="103822" y="153003"/>
                  </a:lnTo>
                  <a:lnTo>
                    <a:pt x="98357" y="158468"/>
                  </a:lnTo>
                  <a:lnTo>
                    <a:pt x="94715" y="158468"/>
                  </a:lnTo>
                  <a:lnTo>
                    <a:pt x="94715" y="156646"/>
                  </a:lnTo>
                  <a:lnTo>
                    <a:pt x="81965" y="132967"/>
                  </a:lnTo>
                  <a:lnTo>
                    <a:pt x="76500" y="129324"/>
                  </a:lnTo>
                  <a:lnTo>
                    <a:pt x="74679" y="129324"/>
                  </a:lnTo>
                  <a:lnTo>
                    <a:pt x="74679" y="127503"/>
                  </a:lnTo>
                  <a:lnTo>
                    <a:pt x="81965" y="127503"/>
                  </a:lnTo>
                  <a:close/>
                  <a:moveTo>
                    <a:pt x="114753" y="85610"/>
                  </a:moveTo>
                  <a:lnTo>
                    <a:pt x="116574" y="85610"/>
                  </a:lnTo>
                  <a:lnTo>
                    <a:pt x="116574" y="96539"/>
                  </a:lnTo>
                  <a:lnTo>
                    <a:pt x="114753" y="96539"/>
                  </a:lnTo>
                  <a:lnTo>
                    <a:pt x="111109" y="89253"/>
                  </a:lnTo>
                  <a:close/>
                  <a:moveTo>
                    <a:pt x="83787" y="0"/>
                  </a:moveTo>
                  <a:lnTo>
                    <a:pt x="109287" y="5464"/>
                  </a:lnTo>
                  <a:lnTo>
                    <a:pt x="114752" y="5464"/>
                  </a:lnTo>
                  <a:lnTo>
                    <a:pt x="116574" y="0"/>
                  </a:lnTo>
                  <a:lnTo>
                    <a:pt x="122038" y="1821"/>
                  </a:lnTo>
                  <a:lnTo>
                    <a:pt x="120217" y="27322"/>
                  </a:lnTo>
                  <a:lnTo>
                    <a:pt x="127502" y="40072"/>
                  </a:lnTo>
                  <a:lnTo>
                    <a:pt x="127502" y="43715"/>
                  </a:lnTo>
                  <a:lnTo>
                    <a:pt x="120217" y="61930"/>
                  </a:lnTo>
                  <a:lnTo>
                    <a:pt x="109287" y="69216"/>
                  </a:lnTo>
                  <a:lnTo>
                    <a:pt x="103823" y="80144"/>
                  </a:lnTo>
                  <a:lnTo>
                    <a:pt x="109287" y="102002"/>
                  </a:lnTo>
                  <a:lnTo>
                    <a:pt x="114752" y="112931"/>
                  </a:lnTo>
                  <a:lnTo>
                    <a:pt x="120217" y="112931"/>
                  </a:lnTo>
                  <a:lnTo>
                    <a:pt x="120217" y="107466"/>
                  </a:lnTo>
                  <a:lnTo>
                    <a:pt x="131145" y="102002"/>
                  </a:lnTo>
                  <a:lnTo>
                    <a:pt x="132967" y="102002"/>
                  </a:lnTo>
                  <a:lnTo>
                    <a:pt x="132967" y="105645"/>
                  </a:lnTo>
                  <a:lnTo>
                    <a:pt x="142074" y="118395"/>
                  </a:lnTo>
                  <a:lnTo>
                    <a:pt x="143896" y="112931"/>
                  </a:lnTo>
                  <a:lnTo>
                    <a:pt x="147539" y="112931"/>
                  </a:lnTo>
                  <a:lnTo>
                    <a:pt x="160289" y="118395"/>
                  </a:lnTo>
                  <a:lnTo>
                    <a:pt x="160289" y="122038"/>
                  </a:lnTo>
                  <a:lnTo>
                    <a:pt x="154824" y="123860"/>
                  </a:lnTo>
                  <a:lnTo>
                    <a:pt x="160289" y="129324"/>
                  </a:lnTo>
                  <a:lnTo>
                    <a:pt x="160289" y="134789"/>
                  </a:lnTo>
                  <a:lnTo>
                    <a:pt x="165753" y="138431"/>
                  </a:lnTo>
                  <a:lnTo>
                    <a:pt x="165753" y="151182"/>
                  </a:lnTo>
                  <a:lnTo>
                    <a:pt x="162110" y="151182"/>
                  </a:lnTo>
                  <a:lnTo>
                    <a:pt x="156646" y="143896"/>
                  </a:lnTo>
                  <a:lnTo>
                    <a:pt x="160289" y="143896"/>
                  </a:lnTo>
                  <a:lnTo>
                    <a:pt x="147539" y="138431"/>
                  </a:lnTo>
                  <a:lnTo>
                    <a:pt x="131145" y="118395"/>
                  </a:lnTo>
                  <a:lnTo>
                    <a:pt x="127502" y="118395"/>
                  </a:lnTo>
                  <a:lnTo>
                    <a:pt x="132967" y="132967"/>
                  </a:lnTo>
                  <a:lnTo>
                    <a:pt x="132967" y="134789"/>
                  </a:lnTo>
                  <a:lnTo>
                    <a:pt x="131145" y="134789"/>
                  </a:lnTo>
                  <a:lnTo>
                    <a:pt x="114752" y="116574"/>
                  </a:lnTo>
                  <a:lnTo>
                    <a:pt x="105644" y="116574"/>
                  </a:lnTo>
                  <a:lnTo>
                    <a:pt x="100180" y="123860"/>
                  </a:lnTo>
                  <a:lnTo>
                    <a:pt x="94716" y="123860"/>
                  </a:lnTo>
                  <a:lnTo>
                    <a:pt x="89251" y="122038"/>
                  </a:lnTo>
                  <a:lnTo>
                    <a:pt x="83787" y="122038"/>
                  </a:lnTo>
                  <a:lnTo>
                    <a:pt x="83787" y="118395"/>
                  </a:lnTo>
                  <a:lnTo>
                    <a:pt x="81965" y="111109"/>
                  </a:lnTo>
                  <a:lnTo>
                    <a:pt x="87430" y="100181"/>
                  </a:lnTo>
                  <a:lnTo>
                    <a:pt x="83787" y="96538"/>
                  </a:lnTo>
                  <a:lnTo>
                    <a:pt x="81965" y="105645"/>
                  </a:lnTo>
                  <a:lnTo>
                    <a:pt x="78322" y="105645"/>
                  </a:lnTo>
                  <a:lnTo>
                    <a:pt x="69215" y="89252"/>
                  </a:lnTo>
                  <a:lnTo>
                    <a:pt x="60108" y="61930"/>
                  </a:lnTo>
                  <a:lnTo>
                    <a:pt x="60108" y="60108"/>
                  </a:lnTo>
                  <a:lnTo>
                    <a:pt x="74679" y="60108"/>
                  </a:lnTo>
                  <a:lnTo>
                    <a:pt x="81965" y="182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5" name="Thailand">
              <a:extLst>
                <a:ext uri="{FF2B5EF4-FFF2-40B4-BE49-F238E27FC236}">
                  <a16:creationId xmlns:a16="http://schemas.microsoft.com/office/drawing/2014/main" id="{4A4B339A-3FDE-7C23-FC38-22A94C3537DD}"/>
                </a:ext>
              </a:extLst>
            </p:cNvPr>
            <p:cNvSpPr>
              <a:spLocks/>
            </p:cNvSpPr>
            <p:nvPr/>
          </p:nvSpPr>
          <p:spPr bwMode="auto">
            <a:xfrm>
              <a:off x="8131654" y="4090464"/>
              <a:ext cx="184321" cy="365026"/>
            </a:xfrm>
            <a:custGeom>
              <a:avLst/>
              <a:gdLst/>
              <a:ahLst/>
              <a:cxnLst/>
              <a:rect l="l" t="t" r="r" b="b"/>
              <a:pathLst>
                <a:path w="185790" h="367936">
                  <a:moveTo>
                    <a:pt x="18215" y="218576"/>
                  </a:moveTo>
                  <a:lnTo>
                    <a:pt x="20036" y="218576"/>
                  </a:lnTo>
                  <a:lnTo>
                    <a:pt x="20036" y="227684"/>
                  </a:lnTo>
                  <a:lnTo>
                    <a:pt x="12750" y="227684"/>
                  </a:lnTo>
                  <a:lnTo>
                    <a:pt x="12750" y="224041"/>
                  </a:lnTo>
                  <a:close/>
                  <a:moveTo>
                    <a:pt x="61930" y="0"/>
                  </a:moveTo>
                  <a:lnTo>
                    <a:pt x="61930" y="5465"/>
                  </a:lnTo>
                  <a:lnTo>
                    <a:pt x="67395" y="9107"/>
                  </a:lnTo>
                  <a:lnTo>
                    <a:pt x="69216" y="9107"/>
                  </a:lnTo>
                  <a:lnTo>
                    <a:pt x="69216" y="25501"/>
                  </a:lnTo>
                  <a:lnTo>
                    <a:pt x="81966" y="27322"/>
                  </a:lnTo>
                  <a:lnTo>
                    <a:pt x="81966" y="30965"/>
                  </a:lnTo>
                  <a:lnTo>
                    <a:pt x="78323" y="76502"/>
                  </a:lnTo>
                  <a:lnTo>
                    <a:pt x="98360" y="61930"/>
                  </a:lnTo>
                  <a:lnTo>
                    <a:pt x="118396" y="67394"/>
                  </a:lnTo>
                  <a:lnTo>
                    <a:pt x="123860" y="65573"/>
                  </a:lnTo>
                  <a:lnTo>
                    <a:pt x="129325" y="60108"/>
                  </a:lnTo>
                  <a:lnTo>
                    <a:pt x="136611" y="56466"/>
                  </a:lnTo>
                  <a:lnTo>
                    <a:pt x="145718" y="56466"/>
                  </a:lnTo>
                  <a:lnTo>
                    <a:pt x="160290" y="78323"/>
                  </a:lnTo>
                  <a:lnTo>
                    <a:pt x="169397" y="111110"/>
                  </a:lnTo>
                  <a:lnTo>
                    <a:pt x="185790" y="127503"/>
                  </a:lnTo>
                  <a:lnTo>
                    <a:pt x="185790" y="154825"/>
                  </a:lnTo>
                  <a:lnTo>
                    <a:pt x="180326" y="160289"/>
                  </a:lnTo>
                  <a:lnTo>
                    <a:pt x="134789" y="160289"/>
                  </a:lnTo>
                  <a:lnTo>
                    <a:pt x="114753" y="173039"/>
                  </a:lnTo>
                  <a:lnTo>
                    <a:pt x="109288" y="187611"/>
                  </a:lnTo>
                  <a:lnTo>
                    <a:pt x="114753" y="200361"/>
                  </a:lnTo>
                  <a:lnTo>
                    <a:pt x="123860" y="211290"/>
                  </a:lnTo>
                  <a:lnTo>
                    <a:pt x="125682" y="224040"/>
                  </a:lnTo>
                  <a:lnTo>
                    <a:pt x="123860" y="227683"/>
                  </a:lnTo>
                  <a:lnTo>
                    <a:pt x="123860" y="224040"/>
                  </a:lnTo>
                  <a:lnTo>
                    <a:pt x="118396" y="213112"/>
                  </a:lnTo>
                  <a:lnTo>
                    <a:pt x="98360" y="202183"/>
                  </a:lnTo>
                  <a:lnTo>
                    <a:pt x="78323" y="202183"/>
                  </a:lnTo>
                  <a:lnTo>
                    <a:pt x="74681" y="200361"/>
                  </a:lnTo>
                  <a:lnTo>
                    <a:pt x="74681" y="182147"/>
                  </a:lnTo>
                  <a:lnTo>
                    <a:pt x="61930" y="178504"/>
                  </a:lnTo>
                  <a:lnTo>
                    <a:pt x="56466" y="182147"/>
                  </a:lnTo>
                  <a:lnTo>
                    <a:pt x="52823" y="211290"/>
                  </a:lnTo>
                  <a:lnTo>
                    <a:pt x="36430" y="260470"/>
                  </a:lnTo>
                  <a:lnTo>
                    <a:pt x="40073" y="280506"/>
                  </a:lnTo>
                  <a:lnTo>
                    <a:pt x="52823" y="280506"/>
                  </a:lnTo>
                  <a:lnTo>
                    <a:pt x="69216" y="327864"/>
                  </a:lnTo>
                  <a:lnTo>
                    <a:pt x="78323" y="335150"/>
                  </a:lnTo>
                  <a:lnTo>
                    <a:pt x="92895" y="338793"/>
                  </a:lnTo>
                  <a:lnTo>
                    <a:pt x="109288" y="355186"/>
                  </a:lnTo>
                  <a:lnTo>
                    <a:pt x="109288" y="357007"/>
                  </a:lnTo>
                  <a:lnTo>
                    <a:pt x="103824" y="362472"/>
                  </a:lnTo>
                  <a:lnTo>
                    <a:pt x="92895" y="362472"/>
                  </a:lnTo>
                  <a:lnTo>
                    <a:pt x="85609" y="367936"/>
                  </a:lnTo>
                  <a:lnTo>
                    <a:pt x="81966" y="367936"/>
                  </a:lnTo>
                  <a:lnTo>
                    <a:pt x="78323" y="349722"/>
                  </a:lnTo>
                  <a:lnTo>
                    <a:pt x="61930" y="346079"/>
                  </a:lnTo>
                  <a:lnTo>
                    <a:pt x="61930" y="349722"/>
                  </a:lnTo>
                  <a:lnTo>
                    <a:pt x="23679" y="306006"/>
                  </a:lnTo>
                  <a:lnTo>
                    <a:pt x="14572" y="307828"/>
                  </a:lnTo>
                  <a:lnTo>
                    <a:pt x="14572" y="289613"/>
                  </a:lnTo>
                  <a:lnTo>
                    <a:pt x="23679" y="260470"/>
                  </a:lnTo>
                  <a:lnTo>
                    <a:pt x="25501" y="244077"/>
                  </a:lnTo>
                  <a:lnTo>
                    <a:pt x="45537" y="218576"/>
                  </a:lnTo>
                  <a:lnTo>
                    <a:pt x="30965" y="189433"/>
                  </a:lnTo>
                  <a:lnTo>
                    <a:pt x="30965" y="167575"/>
                  </a:lnTo>
                  <a:lnTo>
                    <a:pt x="14572" y="154825"/>
                  </a:lnTo>
                  <a:lnTo>
                    <a:pt x="12751" y="145717"/>
                  </a:lnTo>
                  <a:lnTo>
                    <a:pt x="23679" y="116574"/>
                  </a:lnTo>
                  <a:lnTo>
                    <a:pt x="18215" y="111110"/>
                  </a:lnTo>
                  <a:lnTo>
                    <a:pt x="18215" y="92895"/>
                  </a:lnTo>
                  <a:lnTo>
                    <a:pt x="7286" y="78323"/>
                  </a:lnTo>
                  <a:lnTo>
                    <a:pt x="0" y="60108"/>
                  </a:lnTo>
                  <a:lnTo>
                    <a:pt x="7286" y="30965"/>
                  </a:lnTo>
                  <a:lnTo>
                    <a:pt x="7286" y="27322"/>
                  </a:lnTo>
                  <a:lnTo>
                    <a:pt x="25501" y="25501"/>
                  </a:lnTo>
                  <a:lnTo>
                    <a:pt x="52823" y="9107"/>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6" name="Andaman &amp; Nicobar Islands">
              <a:extLst>
                <a:ext uri="{FF2B5EF4-FFF2-40B4-BE49-F238E27FC236}">
                  <a16:creationId xmlns:a16="http://schemas.microsoft.com/office/drawing/2014/main" id="{23485435-081F-D90A-3FAA-57701E9B9098}"/>
                </a:ext>
              </a:extLst>
            </p:cNvPr>
            <p:cNvSpPr>
              <a:spLocks/>
            </p:cNvSpPr>
            <p:nvPr/>
          </p:nvSpPr>
          <p:spPr bwMode="auto">
            <a:xfrm>
              <a:off x="8006968" y="4265750"/>
              <a:ext cx="14457" cy="50598"/>
            </a:xfrm>
            <a:custGeom>
              <a:avLst/>
              <a:gdLst>
                <a:gd name="T0" fmla="*/ 6 w 8"/>
                <a:gd name="T1" fmla="*/ 0 h 28"/>
                <a:gd name="T2" fmla="*/ 8 w 8"/>
                <a:gd name="T3" fmla="*/ 0 h 28"/>
                <a:gd name="T4" fmla="*/ 8 w 8"/>
                <a:gd name="T5" fmla="*/ 1 h 28"/>
                <a:gd name="T6" fmla="*/ 3 w 8"/>
                <a:gd name="T7" fmla="*/ 28 h 28"/>
                <a:gd name="T8" fmla="*/ 0 w 8"/>
                <a:gd name="T9" fmla="*/ 23 h 28"/>
                <a:gd name="T10" fmla="*/ 6 w 8"/>
                <a:gd name="T11" fmla="*/ 1 h 28"/>
                <a:gd name="T12" fmla="*/ 6 w 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8" h="28">
                  <a:moveTo>
                    <a:pt x="6" y="0"/>
                  </a:moveTo>
                  <a:lnTo>
                    <a:pt x="8" y="0"/>
                  </a:lnTo>
                  <a:lnTo>
                    <a:pt x="8" y="1"/>
                  </a:lnTo>
                  <a:lnTo>
                    <a:pt x="3" y="28"/>
                  </a:lnTo>
                  <a:lnTo>
                    <a:pt x="0" y="23"/>
                  </a:lnTo>
                  <a:lnTo>
                    <a:pt x="6" y="1"/>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7" name="Indonesia">
              <a:extLst>
                <a:ext uri="{FF2B5EF4-FFF2-40B4-BE49-F238E27FC236}">
                  <a16:creationId xmlns:a16="http://schemas.microsoft.com/office/drawing/2014/main" id="{35B0938E-9416-E6C0-48BB-3C0C257DB28D}"/>
                </a:ext>
              </a:extLst>
            </p:cNvPr>
            <p:cNvSpPr>
              <a:spLocks/>
            </p:cNvSpPr>
            <p:nvPr/>
          </p:nvSpPr>
          <p:spPr bwMode="auto">
            <a:xfrm>
              <a:off x="8034073" y="4415735"/>
              <a:ext cx="1127607" cy="430083"/>
            </a:xfrm>
            <a:custGeom>
              <a:avLst/>
              <a:gdLst/>
              <a:ahLst/>
              <a:cxnLst/>
              <a:rect l="l" t="t" r="r" b="b"/>
              <a:pathLst>
                <a:path w="1136596" h="433511">
                  <a:moveTo>
                    <a:pt x="708552" y="420760"/>
                  </a:moveTo>
                  <a:lnTo>
                    <a:pt x="710373" y="420760"/>
                  </a:lnTo>
                  <a:lnTo>
                    <a:pt x="710373" y="422582"/>
                  </a:lnTo>
                  <a:lnTo>
                    <a:pt x="708552" y="431690"/>
                  </a:lnTo>
                  <a:lnTo>
                    <a:pt x="704909" y="431690"/>
                  </a:lnTo>
                  <a:lnTo>
                    <a:pt x="697622" y="433511"/>
                  </a:lnTo>
                  <a:lnTo>
                    <a:pt x="697622" y="431690"/>
                  </a:lnTo>
                  <a:close/>
                  <a:moveTo>
                    <a:pt x="621121" y="393437"/>
                  </a:moveTo>
                  <a:lnTo>
                    <a:pt x="630228" y="393437"/>
                  </a:lnTo>
                  <a:lnTo>
                    <a:pt x="642978" y="404366"/>
                  </a:lnTo>
                  <a:lnTo>
                    <a:pt x="650264" y="413474"/>
                  </a:lnTo>
                  <a:lnTo>
                    <a:pt x="650264" y="415296"/>
                  </a:lnTo>
                  <a:lnTo>
                    <a:pt x="637514" y="420760"/>
                  </a:lnTo>
                  <a:lnTo>
                    <a:pt x="621121" y="408010"/>
                  </a:lnTo>
                  <a:lnTo>
                    <a:pt x="608370" y="408010"/>
                  </a:lnTo>
                  <a:lnTo>
                    <a:pt x="604727" y="398902"/>
                  </a:lnTo>
                  <a:lnTo>
                    <a:pt x="604727" y="397080"/>
                  </a:lnTo>
                  <a:lnTo>
                    <a:pt x="613835" y="397080"/>
                  </a:lnTo>
                  <a:close/>
                  <a:moveTo>
                    <a:pt x="790516" y="371580"/>
                  </a:moveTo>
                  <a:lnTo>
                    <a:pt x="801445" y="371580"/>
                  </a:lnTo>
                  <a:lnTo>
                    <a:pt x="801445" y="375223"/>
                  </a:lnTo>
                  <a:lnTo>
                    <a:pt x="799624" y="380688"/>
                  </a:lnTo>
                  <a:lnTo>
                    <a:pt x="799624" y="382509"/>
                  </a:lnTo>
                  <a:lnTo>
                    <a:pt x="750444" y="398902"/>
                  </a:lnTo>
                  <a:lnTo>
                    <a:pt x="743159" y="413474"/>
                  </a:lnTo>
                  <a:lnTo>
                    <a:pt x="723123" y="420760"/>
                  </a:lnTo>
                  <a:lnTo>
                    <a:pt x="714015" y="420760"/>
                  </a:lnTo>
                  <a:lnTo>
                    <a:pt x="714015" y="417117"/>
                  </a:lnTo>
                  <a:lnTo>
                    <a:pt x="717658" y="402545"/>
                  </a:lnTo>
                  <a:lnTo>
                    <a:pt x="717658" y="398902"/>
                  </a:lnTo>
                  <a:lnTo>
                    <a:pt x="743159" y="387974"/>
                  </a:lnTo>
                  <a:lnTo>
                    <a:pt x="748623" y="377045"/>
                  </a:lnTo>
                  <a:lnTo>
                    <a:pt x="759552" y="377045"/>
                  </a:lnTo>
                  <a:close/>
                  <a:moveTo>
                    <a:pt x="734052" y="366116"/>
                  </a:moveTo>
                  <a:lnTo>
                    <a:pt x="739517" y="366116"/>
                  </a:lnTo>
                  <a:lnTo>
                    <a:pt x="744982" y="369759"/>
                  </a:lnTo>
                  <a:lnTo>
                    <a:pt x="750446" y="369759"/>
                  </a:lnTo>
                  <a:lnTo>
                    <a:pt x="750446" y="371581"/>
                  </a:lnTo>
                  <a:lnTo>
                    <a:pt x="739517" y="375224"/>
                  </a:lnTo>
                  <a:lnTo>
                    <a:pt x="737695" y="375224"/>
                  </a:lnTo>
                  <a:lnTo>
                    <a:pt x="734052" y="369759"/>
                  </a:lnTo>
                  <a:close/>
                  <a:moveTo>
                    <a:pt x="728588" y="366116"/>
                  </a:moveTo>
                  <a:lnTo>
                    <a:pt x="732231" y="366116"/>
                  </a:lnTo>
                  <a:lnTo>
                    <a:pt x="732231" y="369759"/>
                  </a:lnTo>
                  <a:lnTo>
                    <a:pt x="728588" y="377045"/>
                  </a:lnTo>
                  <a:lnTo>
                    <a:pt x="728588" y="380688"/>
                  </a:lnTo>
                  <a:lnTo>
                    <a:pt x="726766" y="380688"/>
                  </a:lnTo>
                  <a:lnTo>
                    <a:pt x="723123" y="375224"/>
                  </a:lnTo>
                  <a:close/>
                  <a:moveTo>
                    <a:pt x="710373" y="366116"/>
                  </a:moveTo>
                  <a:lnTo>
                    <a:pt x="714016" y="369759"/>
                  </a:lnTo>
                  <a:lnTo>
                    <a:pt x="715838" y="366116"/>
                  </a:lnTo>
                  <a:lnTo>
                    <a:pt x="717659" y="366116"/>
                  </a:lnTo>
                  <a:lnTo>
                    <a:pt x="717659" y="369759"/>
                  </a:lnTo>
                  <a:lnTo>
                    <a:pt x="715838" y="377045"/>
                  </a:lnTo>
                  <a:lnTo>
                    <a:pt x="708551" y="377045"/>
                  </a:lnTo>
                  <a:lnTo>
                    <a:pt x="710373" y="369759"/>
                  </a:lnTo>
                  <a:close/>
                  <a:moveTo>
                    <a:pt x="697624" y="364294"/>
                  </a:moveTo>
                  <a:lnTo>
                    <a:pt x="699445" y="364294"/>
                  </a:lnTo>
                  <a:lnTo>
                    <a:pt x="703088" y="371580"/>
                  </a:lnTo>
                  <a:lnTo>
                    <a:pt x="699445" y="371580"/>
                  </a:lnTo>
                  <a:lnTo>
                    <a:pt x="692159" y="382510"/>
                  </a:lnTo>
                  <a:lnTo>
                    <a:pt x="683052" y="382510"/>
                  </a:lnTo>
                  <a:lnTo>
                    <a:pt x="677587" y="386153"/>
                  </a:lnTo>
                  <a:lnTo>
                    <a:pt x="670301" y="386153"/>
                  </a:lnTo>
                  <a:lnTo>
                    <a:pt x="664837" y="387974"/>
                  </a:lnTo>
                  <a:lnTo>
                    <a:pt x="655730" y="387974"/>
                  </a:lnTo>
                  <a:lnTo>
                    <a:pt x="626586" y="386153"/>
                  </a:lnTo>
                  <a:lnTo>
                    <a:pt x="626586" y="382510"/>
                  </a:lnTo>
                  <a:lnTo>
                    <a:pt x="624764" y="382510"/>
                  </a:lnTo>
                  <a:lnTo>
                    <a:pt x="626586" y="375223"/>
                  </a:lnTo>
                  <a:lnTo>
                    <a:pt x="626586" y="371580"/>
                  </a:lnTo>
                  <a:lnTo>
                    <a:pt x="642979" y="366116"/>
                  </a:lnTo>
                  <a:lnTo>
                    <a:pt x="644801" y="366116"/>
                  </a:lnTo>
                  <a:lnTo>
                    <a:pt x="664837" y="377045"/>
                  </a:lnTo>
                  <a:lnTo>
                    <a:pt x="677587" y="371580"/>
                  </a:lnTo>
                  <a:lnTo>
                    <a:pt x="686695" y="377045"/>
                  </a:lnTo>
                  <a:lnTo>
                    <a:pt x="697624" y="369759"/>
                  </a:lnTo>
                  <a:close/>
                  <a:moveTo>
                    <a:pt x="581049" y="364294"/>
                  </a:moveTo>
                  <a:lnTo>
                    <a:pt x="582870" y="364294"/>
                  </a:lnTo>
                  <a:lnTo>
                    <a:pt x="588335" y="371580"/>
                  </a:lnTo>
                  <a:lnTo>
                    <a:pt x="591978" y="371580"/>
                  </a:lnTo>
                  <a:lnTo>
                    <a:pt x="593799" y="369759"/>
                  </a:lnTo>
                  <a:lnTo>
                    <a:pt x="597442" y="369759"/>
                  </a:lnTo>
                  <a:lnTo>
                    <a:pt x="597442" y="375223"/>
                  </a:lnTo>
                  <a:lnTo>
                    <a:pt x="602906" y="369759"/>
                  </a:lnTo>
                  <a:lnTo>
                    <a:pt x="604728" y="369759"/>
                  </a:lnTo>
                  <a:lnTo>
                    <a:pt x="610192" y="380688"/>
                  </a:lnTo>
                  <a:lnTo>
                    <a:pt x="610192" y="382510"/>
                  </a:lnTo>
                  <a:lnTo>
                    <a:pt x="597442" y="386153"/>
                  </a:lnTo>
                  <a:lnTo>
                    <a:pt x="593799" y="382510"/>
                  </a:lnTo>
                  <a:lnTo>
                    <a:pt x="559191" y="391617"/>
                  </a:lnTo>
                  <a:lnTo>
                    <a:pt x="557370" y="391617"/>
                  </a:lnTo>
                  <a:lnTo>
                    <a:pt x="552451" y="381780"/>
                  </a:lnTo>
                  <a:lnTo>
                    <a:pt x="551905" y="386153"/>
                  </a:lnTo>
                  <a:lnTo>
                    <a:pt x="531868" y="386153"/>
                  </a:lnTo>
                  <a:lnTo>
                    <a:pt x="535511" y="375224"/>
                  </a:lnTo>
                  <a:lnTo>
                    <a:pt x="540976" y="366116"/>
                  </a:lnTo>
                  <a:lnTo>
                    <a:pt x="542797" y="366116"/>
                  </a:lnTo>
                  <a:lnTo>
                    <a:pt x="551905" y="371581"/>
                  </a:lnTo>
                  <a:lnTo>
                    <a:pt x="553726" y="371581"/>
                  </a:lnTo>
                  <a:lnTo>
                    <a:pt x="553161" y="376103"/>
                  </a:lnTo>
                  <a:lnTo>
                    <a:pt x="559191" y="371580"/>
                  </a:lnTo>
                  <a:lnTo>
                    <a:pt x="571941" y="371580"/>
                  </a:lnTo>
                  <a:lnTo>
                    <a:pt x="581049" y="380688"/>
                  </a:lnTo>
                  <a:lnTo>
                    <a:pt x="582870" y="377045"/>
                  </a:lnTo>
                  <a:lnTo>
                    <a:pt x="577406" y="371580"/>
                  </a:lnTo>
                  <a:lnTo>
                    <a:pt x="581049" y="366116"/>
                  </a:lnTo>
                  <a:close/>
                  <a:moveTo>
                    <a:pt x="786875" y="349722"/>
                  </a:moveTo>
                  <a:lnTo>
                    <a:pt x="788697" y="349722"/>
                  </a:lnTo>
                  <a:lnTo>
                    <a:pt x="794161" y="355187"/>
                  </a:lnTo>
                  <a:lnTo>
                    <a:pt x="794161" y="358830"/>
                  </a:lnTo>
                  <a:lnTo>
                    <a:pt x="783232" y="364295"/>
                  </a:lnTo>
                  <a:lnTo>
                    <a:pt x="777767" y="364295"/>
                  </a:lnTo>
                  <a:lnTo>
                    <a:pt x="775946" y="366116"/>
                  </a:lnTo>
                  <a:lnTo>
                    <a:pt x="770481" y="366116"/>
                  </a:lnTo>
                  <a:lnTo>
                    <a:pt x="770481" y="355187"/>
                  </a:lnTo>
                  <a:close/>
                  <a:moveTo>
                    <a:pt x="901628" y="342436"/>
                  </a:moveTo>
                  <a:lnTo>
                    <a:pt x="907092" y="342436"/>
                  </a:lnTo>
                  <a:lnTo>
                    <a:pt x="907092" y="353365"/>
                  </a:lnTo>
                  <a:lnTo>
                    <a:pt x="899806" y="366116"/>
                  </a:lnTo>
                  <a:lnTo>
                    <a:pt x="896163" y="366116"/>
                  </a:lnTo>
                  <a:lnTo>
                    <a:pt x="894341" y="358830"/>
                  </a:lnTo>
                  <a:close/>
                  <a:moveTo>
                    <a:pt x="457189" y="336972"/>
                  </a:moveTo>
                  <a:lnTo>
                    <a:pt x="486334" y="336972"/>
                  </a:lnTo>
                  <a:lnTo>
                    <a:pt x="488155" y="342437"/>
                  </a:lnTo>
                  <a:lnTo>
                    <a:pt x="484512" y="342437"/>
                  </a:lnTo>
                  <a:lnTo>
                    <a:pt x="480869" y="344258"/>
                  </a:lnTo>
                  <a:lnTo>
                    <a:pt x="459011" y="344258"/>
                  </a:lnTo>
                  <a:lnTo>
                    <a:pt x="457189" y="338794"/>
                  </a:lnTo>
                  <a:close/>
                  <a:moveTo>
                    <a:pt x="515476" y="335150"/>
                  </a:moveTo>
                  <a:lnTo>
                    <a:pt x="520941" y="336972"/>
                  </a:lnTo>
                  <a:lnTo>
                    <a:pt x="524584" y="336972"/>
                  </a:lnTo>
                  <a:lnTo>
                    <a:pt x="520941" y="342436"/>
                  </a:lnTo>
                  <a:lnTo>
                    <a:pt x="519119" y="342436"/>
                  </a:lnTo>
                  <a:lnTo>
                    <a:pt x="515476" y="336972"/>
                  </a:lnTo>
                  <a:close/>
                  <a:moveTo>
                    <a:pt x="302364" y="313293"/>
                  </a:moveTo>
                  <a:lnTo>
                    <a:pt x="318758" y="315115"/>
                  </a:lnTo>
                  <a:lnTo>
                    <a:pt x="329686" y="313293"/>
                  </a:lnTo>
                  <a:lnTo>
                    <a:pt x="333329" y="318758"/>
                  </a:lnTo>
                  <a:lnTo>
                    <a:pt x="351544" y="320579"/>
                  </a:lnTo>
                  <a:lnTo>
                    <a:pt x="367937" y="335151"/>
                  </a:lnTo>
                  <a:lnTo>
                    <a:pt x="400724" y="336972"/>
                  </a:lnTo>
                  <a:lnTo>
                    <a:pt x="413474" y="324222"/>
                  </a:lnTo>
                  <a:lnTo>
                    <a:pt x="415296" y="324222"/>
                  </a:lnTo>
                  <a:lnTo>
                    <a:pt x="420760" y="331508"/>
                  </a:lnTo>
                  <a:lnTo>
                    <a:pt x="426224" y="329687"/>
                  </a:lnTo>
                  <a:lnTo>
                    <a:pt x="451725" y="336972"/>
                  </a:lnTo>
                  <a:lnTo>
                    <a:pt x="464475" y="353366"/>
                  </a:lnTo>
                  <a:lnTo>
                    <a:pt x="497262" y="358830"/>
                  </a:lnTo>
                  <a:lnTo>
                    <a:pt x="499083" y="358830"/>
                  </a:lnTo>
                  <a:lnTo>
                    <a:pt x="498400" y="364977"/>
                  </a:lnTo>
                  <a:lnTo>
                    <a:pt x="499083" y="364294"/>
                  </a:lnTo>
                  <a:lnTo>
                    <a:pt x="520940" y="364294"/>
                  </a:lnTo>
                  <a:lnTo>
                    <a:pt x="526404" y="369759"/>
                  </a:lnTo>
                  <a:lnTo>
                    <a:pt x="526404" y="371580"/>
                  </a:lnTo>
                  <a:lnTo>
                    <a:pt x="519118" y="386152"/>
                  </a:lnTo>
                  <a:lnTo>
                    <a:pt x="515476" y="386152"/>
                  </a:lnTo>
                  <a:lnTo>
                    <a:pt x="508190" y="375223"/>
                  </a:lnTo>
                  <a:lnTo>
                    <a:pt x="499083" y="371580"/>
                  </a:lnTo>
                  <a:lnTo>
                    <a:pt x="497667" y="371580"/>
                  </a:lnTo>
                  <a:lnTo>
                    <a:pt x="497262" y="375223"/>
                  </a:lnTo>
                  <a:lnTo>
                    <a:pt x="499083" y="382509"/>
                  </a:lnTo>
                  <a:lnTo>
                    <a:pt x="499083" y="386152"/>
                  </a:lnTo>
                  <a:lnTo>
                    <a:pt x="468118" y="371580"/>
                  </a:lnTo>
                  <a:lnTo>
                    <a:pt x="457189" y="375223"/>
                  </a:lnTo>
                  <a:lnTo>
                    <a:pt x="442618" y="371580"/>
                  </a:lnTo>
                  <a:lnTo>
                    <a:pt x="431689" y="375223"/>
                  </a:lnTo>
                  <a:lnTo>
                    <a:pt x="409831" y="369759"/>
                  </a:lnTo>
                  <a:lnTo>
                    <a:pt x="384331" y="358830"/>
                  </a:lnTo>
                  <a:lnTo>
                    <a:pt x="362473" y="355187"/>
                  </a:lnTo>
                  <a:lnTo>
                    <a:pt x="357009" y="360652"/>
                  </a:lnTo>
                  <a:lnTo>
                    <a:pt x="318758" y="349723"/>
                  </a:lnTo>
                  <a:lnTo>
                    <a:pt x="306007" y="344258"/>
                  </a:lnTo>
                  <a:lnTo>
                    <a:pt x="306007" y="342437"/>
                  </a:lnTo>
                  <a:lnTo>
                    <a:pt x="307829" y="342437"/>
                  </a:lnTo>
                  <a:lnTo>
                    <a:pt x="280507" y="336972"/>
                  </a:lnTo>
                  <a:lnTo>
                    <a:pt x="280507" y="335151"/>
                  </a:lnTo>
                  <a:lnTo>
                    <a:pt x="278685" y="331508"/>
                  </a:lnTo>
                  <a:lnTo>
                    <a:pt x="278685" y="329687"/>
                  </a:lnTo>
                  <a:lnTo>
                    <a:pt x="289614" y="329687"/>
                  </a:lnTo>
                  <a:lnTo>
                    <a:pt x="296900" y="315115"/>
                  </a:lnTo>
                  <a:close/>
                  <a:moveTo>
                    <a:pt x="972664" y="302364"/>
                  </a:moveTo>
                  <a:lnTo>
                    <a:pt x="974485" y="302364"/>
                  </a:lnTo>
                  <a:lnTo>
                    <a:pt x="978128" y="304186"/>
                  </a:lnTo>
                  <a:lnTo>
                    <a:pt x="978128" y="326044"/>
                  </a:lnTo>
                  <a:lnTo>
                    <a:pt x="975326" y="325484"/>
                  </a:lnTo>
                  <a:lnTo>
                    <a:pt x="978128" y="329688"/>
                  </a:lnTo>
                  <a:lnTo>
                    <a:pt x="978128" y="331509"/>
                  </a:lnTo>
                  <a:lnTo>
                    <a:pt x="974485" y="331509"/>
                  </a:lnTo>
                  <a:lnTo>
                    <a:pt x="969022" y="338794"/>
                  </a:lnTo>
                  <a:lnTo>
                    <a:pt x="967200" y="338794"/>
                  </a:lnTo>
                  <a:lnTo>
                    <a:pt x="963557" y="331508"/>
                  </a:lnTo>
                  <a:lnTo>
                    <a:pt x="963557" y="329687"/>
                  </a:lnTo>
                  <a:lnTo>
                    <a:pt x="967200" y="331508"/>
                  </a:lnTo>
                  <a:lnTo>
                    <a:pt x="963557" y="324222"/>
                  </a:lnTo>
                  <a:lnTo>
                    <a:pt x="963557" y="320579"/>
                  </a:lnTo>
                  <a:lnTo>
                    <a:pt x="967199" y="320579"/>
                  </a:lnTo>
                  <a:lnTo>
                    <a:pt x="967199" y="315115"/>
                  </a:lnTo>
                  <a:lnTo>
                    <a:pt x="969021" y="317392"/>
                  </a:lnTo>
                  <a:lnTo>
                    <a:pt x="969021" y="313293"/>
                  </a:lnTo>
                  <a:lnTo>
                    <a:pt x="967199" y="313293"/>
                  </a:lnTo>
                  <a:lnTo>
                    <a:pt x="967199" y="309650"/>
                  </a:lnTo>
                  <a:close/>
                  <a:moveTo>
                    <a:pt x="945342" y="298721"/>
                  </a:moveTo>
                  <a:lnTo>
                    <a:pt x="945342" y="302364"/>
                  </a:lnTo>
                  <a:lnTo>
                    <a:pt x="939878" y="313294"/>
                  </a:lnTo>
                  <a:lnTo>
                    <a:pt x="939878" y="315115"/>
                  </a:lnTo>
                  <a:lnTo>
                    <a:pt x="938056" y="315115"/>
                  </a:lnTo>
                  <a:lnTo>
                    <a:pt x="938056" y="302364"/>
                  </a:lnTo>
                  <a:lnTo>
                    <a:pt x="939878" y="302364"/>
                  </a:lnTo>
                  <a:close/>
                  <a:moveTo>
                    <a:pt x="699444" y="275042"/>
                  </a:moveTo>
                  <a:lnTo>
                    <a:pt x="703087" y="276864"/>
                  </a:lnTo>
                  <a:lnTo>
                    <a:pt x="704908" y="287793"/>
                  </a:lnTo>
                  <a:lnTo>
                    <a:pt x="703087" y="293257"/>
                  </a:lnTo>
                  <a:lnTo>
                    <a:pt x="704908" y="302364"/>
                  </a:lnTo>
                  <a:lnTo>
                    <a:pt x="697622" y="309650"/>
                  </a:lnTo>
                  <a:lnTo>
                    <a:pt x="693979" y="309650"/>
                  </a:lnTo>
                  <a:lnTo>
                    <a:pt x="692158" y="302368"/>
                  </a:lnTo>
                  <a:lnTo>
                    <a:pt x="692158" y="304186"/>
                  </a:lnTo>
                  <a:lnTo>
                    <a:pt x="681230" y="302365"/>
                  </a:lnTo>
                  <a:lnTo>
                    <a:pt x="681230" y="304186"/>
                  </a:lnTo>
                  <a:lnTo>
                    <a:pt x="677587" y="304186"/>
                  </a:lnTo>
                  <a:lnTo>
                    <a:pt x="672122" y="298722"/>
                  </a:lnTo>
                  <a:lnTo>
                    <a:pt x="675765" y="293257"/>
                  </a:lnTo>
                  <a:lnTo>
                    <a:pt x="677587" y="293257"/>
                  </a:lnTo>
                  <a:lnTo>
                    <a:pt x="681229" y="302363"/>
                  </a:lnTo>
                  <a:lnTo>
                    <a:pt x="683051" y="287793"/>
                  </a:lnTo>
                  <a:lnTo>
                    <a:pt x="683051" y="285971"/>
                  </a:lnTo>
                  <a:lnTo>
                    <a:pt x="692158" y="285971"/>
                  </a:lnTo>
                  <a:lnTo>
                    <a:pt x="692158" y="302358"/>
                  </a:lnTo>
                  <a:lnTo>
                    <a:pt x="693979" y="291436"/>
                  </a:lnTo>
                  <a:lnTo>
                    <a:pt x="699444" y="276864"/>
                  </a:lnTo>
                  <a:close/>
                  <a:moveTo>
                    <a:pt x="699443" y="269577"/>
                  </a:moveTo>
                  <a:lnTo>
                    <a:pt x="704908" y="269577"/>
                  </a:lnTo>
                  <a:lnTo>
                    <a:pt x="704908" y="275042"/>
                  </a:lnTo>
                  <a:close/>
                  <a:moveTo>
                    <a:pt x="540976" y="251363"/>
                  </a:moveTo>
                  <a:lnTo>
                    <a:pt x="542797" y="253185"/>
                  </a:lnTo>
                  <a:lnTo>
                    <a:pt x="546440" y="265936"/>
                  </a:lnTo>
                  <a:lnTo>
                    <a:pt x="540976" y="271400"/>
                  </a:lnTo>
                  <a:lnTo>
                    <a:pt x="537333" y="271400"/>
                  </a:lnTo>
                  <a:lnTo>
                    <a:pt x="535511" y="258649"/>
                  </a:lnTo>
                  <a:lnTo>
                    <a:pt x="540976" y="253185"/>
                  </a:lnTo>
                  <a:close/>
                  <a:moveTo>
                    <a:pt x="770480" y="245899"/>
                  </a:moveTo>
                  <a:lnTo>
                    <a:pt x="788696" y="245899"/>
                  </a:lnTo>
                  <a:lnTo>
                    <a:pt x="799625" y="251364"/>
                  </a:lnTo>
                  <a:lnTo>
                    <a:pt x="801446" y="251364"/>
                  </a:lnTo>
                  <a:lnTo>
                    <a:pt x="801446" y="258650"/>
                  </a:lnTo>
                  <a:lnTo>
                    <a:pt x="790517" y="265936"/>
                  </a:lnTo>
                  <a:lnTo>
                    <a:pt x="783231" y="265936"/>
                  </a:lnTo>
                  <a:lnTo>
                    <a:pt x="775945" y="258650"/>
                  </a:lnTo>
                  <a:lnTo>
                    <a:pt x="770480" y="247721"/>
                  </a:lnTo>
                  <a:close/>
                  <a:moveTo>
                    <a:pt x="823303" y="240434"/>
                  </a:moveTo>
                  <a:lnTo>
                    <a:pt x="856090" y="240434"/>
                  </a:lnTo>
                  <a:lnTo>
                    <a:pt x="877947" y="245899"/>
                  </a:lnTo>
                  <a:lnTo>
                    <a:pt x="879769" y="245899"/>
                  </a:lnTo>
                  <a:lnTo>
                    <a:pt x="888876" y="260471"/>
                  </a:lnTo>
                  <a:lnTo>
                    <a:pt x="888876" y="264114"/>
                  </a:lnTo>
                  <a:lnTo>
                    <a:pt x="885233" y="265935"/>
                  </a:lnTo>
                  <a:lnTo>
                    <a:pt x="859733" y="256828"/>
                  </a:lnTo>
                  <a:lnTo>
                    <a:pt x="848804" y="258649"/>
                  </a:lnTo>
                  <a:lnTo>
                    <a:pt x="839696" y="253185"/>
                  </a:lnTo>
                  <a:lnTo>
                    <a:pt x="832411" y="258649"/>
                  </a:lnTo>
                  <a:lnTo>
                    <a:pt x="828768" y="258649"/>
                  </a:lnTo>
                  <a:lnTo>
                    <a:pt x="828768" y="258650"/>
                  </a:lnTo>
                  <a:lnTo>
                    <a:pt x="826947" y="258650"/>
                  </a:lnTo>
                  <a:lnTo>
                    <a:pt x="821482" y="265936"/>
                  </a:lnTo>
                  <a:lnTo>
                    <a:pt x="817839" y="265936"/>
                  </a:lnTo>
                  <a:lnTo>
                    <a:pt x="817839" y="258650"/>
                  </a:lnTo>
                  <a:lnTo>
                    <a:pt x="821482" y="258650"/>
                  </a:lnTo>
                  <a:lnTo>
                    <a:pt x="826947" y="256828"/>
                  </a:lnTo>
                  <a:lnTo>
                    <a:pt x="823303" y="253185"/>
                  </a:lnTo>
                  <a:lnTo>
                    <a:pt x="817839" y="258649"/>
                  </a:lnTo>
                  <a:lnTo>
                    <a:pt x="816017" y="258649"/>
                  </a:lnTo>
                  <a:lnTo>
                    <a:pt x="816017" y="251363"/>
                  </a:lnTo>
                  <a:lnTo>
                    <a:pt x="823303" y="242256"/>
                  </a:lnTo>
                  <a:close/>
                  <a:moveTo>
                    <a:pt x="336972" y="234970"/>
                  </a:moveTo>
                  <a:lnTo>
                    <a:pt x="340615" y="234970"/>
                  </a:lnTo>
                  <a:lnTo>
                    <a:pt x="351544" y="236792"/>
                  </a:lnTo>
                  <a:lnTo>
                    <a:pt x="351544" y="247721"/>
                  </a:lnTo>
                  <a:lnTo>
                    <a:pt x="347901" y="251364"/>
                  </a:lnTo>
                  <a:lnTo>
                    <a:pt x="336972" y="247721"/>
                  </a:lnTo>
                  <a:lnTo>
                    <a:pt x="335150" y="247721"/>
                  </a:lnTo>
                  <a:lnTo>
                    <a:pt x="335150" y="245900"/>
                  </a:lnTo>
                  <a:close/>
                  <a:moveTo>
                    <a:pt x="868841" y="213113"/>
                  </a:moveTo>
                  <a:lnTo>
                    <a:pt x="874305" y="213113"/>
                  </a:lnTo>
                  <a:lnTo>
                    <a:pt x="874305" y="224043"/>
                  </a:lnTo>
                  <a:lnTo>
                    <a:pt x="867019" y="225864"/>
                  </a:lnTo>
                  <a:lnTo>
                    <a:pt x="867019" y="224043"/>
                  </a:lnTo>
                  <a:lnTo>
                    <a:pt x="861554" y="218578"/>
                  </a:lnTo>
                  <a:lnTo>
                    <a:pt x="861554" y="214935"/>
                  </a:lnTo>
                  <a:lnTo>
                    <a:pt x="867019" y="214935"/>
                  </a:lnTo>
                  <a:close/>
                  <a:moveTo>
                    <a:pt x="732230" y="213113"/>
                  </a:moveTo>
                  <a:lnTo>
                    <a:pt x="739516" y="213113"/>
                  </a:lnTo>
                  <a:lnTo>
                    <a:pt x="748624" y="214935"/>
                  </a:lnTo>
                  <a:lnTo>
                    <a:pt x="755909" y="214935"/>
                  </a:lnTo>
                  <a:lnTo>
                    <a:pt x="755909" y="214933"/>
                  </a:lnTo>
                  <a:lnTo>
                    <a:pt x="781410" y="214933"/>
                  </a:lnTo>
                  <a:lnTo>
                    <a:pt x="781410" y="218576"/>
                  </a:lnTo>
                  <a:lnTo>
                    <a:pt x="777767" y="218576"/>
                  </a:lnTo>
                  <a:lnTo>
                    <a:pt x="761374" y="224041"/>
                  </a:lnTo>
                  <a:lnTo>
                    <a:pt x="759552" y="224041"/>
                  </a:lnTo>
                  <a:lnTo>
                    <a:pt x="759552" y="220398"/>
                  </a:lnTo>
                  <a:lnTo>
                    <a:pt x="755910" y="218577"/>
                  </a:lnTo>
                  <a:lnTo>
                    <a:pt x="755910" y="218578"/>
                  </a:lnTo>
                  <a:lnTo>
                    <a:pt x="754089" y="218578"/>
                  </a:lnTo>
                  <a:lnTo>
                    <a:pt x="739516" y="224042"/>
                  </a:lnTo>
                  <a:lnTo>
                    <a:pt x="737695" y="224042"/>
                  </a:lnTo>
                  <a:lnTo>
                    <a:pt x="732230" y="214935"/>
                  </a:lnTo>
                  <a:close/>
                  <a:moveTo>
                    <a:pt x="1007272" y="209470"/>
                  </a:moveTo>
                  <a:lnTo>
                    <a:pt x="1029131" y="213113"/>
                  </a:lnTo>
                  <a:lnTo>
                    <a:pt x="1030952" y="218578"/>
                  </a:lnTo>
                  <a:lnTo>
                    <a:pt x="1029131" y="218578"/>
                  </a:lnTo>
                  <a:lnTo>
                    <a:pt x="999986" y="214935"/>
                  </a:lnTo>
                  <a:lnTo>
                    <a:pt x="999986" y="213113"/>
                  </a:lnTo>
                  <a:close/>
                  <a:moveTo>
                    <a:pt x="805088" y="207648"/>
                  </a:moveTo>
                  <a:lnTo>
                    <a:pt x="812374" y="207648"/>
                  </a:lnTo>
                  <a:lnTo>
                    <a:pt x="823303" y="209470"/>
                  </a:lnTo>
                  <a:lnTo>
                    <a:pt x="823303" y="213113"/>
                  </a:lnTo>
                  <a:lnTo>
                    <a:pt x="806910" y="214934"/>
                  </a:lnTo>
                  <a:lnTo>
                    <a:pt x="805088" y="214934"/>
                  </a:lnTo>
                  <a:lnTo>
                    <a:pt x="805088" y="209470"/>
                  </a:lnTo>
                  <a:lnTo>
                    <a:pt x="801445" y="209470"/>
                  </a:lnTo>
                  <a:close/>
                  <a:moveTo>
                    <a:pt x="295079" y="207648"/>
                  </a:moveTo>
                  <a:lnTo>
                    <a:pt x="296900" y="207648"/>
                  </a:lnTo>
                  <a:lnTo>
                    <a:pt x="296900" y="209470"/>
                  </a:lnTo>
                  <a:lnTo>
                    <a:pt x="306007" y="231327"/>
                  </a:lnTo>
                  <a:lnTo>
                    <a:pt x="316936" y="231327"/>
                  </a:lnTo>
                  <a:lnTo>
                    <a:pt x="316936" y="247720"/>
                  </a:lnTo>
                  <a:lnTo>
                    <a:pt x="313293" y="247720"/>
                  </a:lnTo>
                  <a:lnTo>
                    <a:pt x="300543" y="242256"/>
                  </a:lnTo>
                  <a:lnTo>
                    <a:pt x="291436" y="225863"/>
                  </a:lnTo>
                  <a:lnTo>
                    <a:pt x="278685" y="220398"/>
                  </a:lnTo>
                  <a:lnTo>
                    <a:pt x="284150" y="209470"/>
                  </a:lnTo>
                  <a:lnTo>
                    <a:pt x="291436" y="213113"/>
                  </a:lnTo>
                  <a:close/>
                  <a:moveTo>
                    <a:pt x="703087" y="202184"/>
                  </a:moveTo>
                  <a:lnTo>
                    <a:pt x="704908" y="204006"/>
                  </a:lnTo>
                  <a:lnTo>
                    <a:pt x="704908" y="207648"/>
                  </a:lnTo>
                  <a:lnTo>
                    <a:pt x="710372" y="204005"/>
                  </a:lnTo>
                  <a:lnTo>
                    <a:pt x="714015" y="204005"/>
                  </a:lnTo>
                  <a:lnTo>
                    <a:pt x="714015" y="209470"/>
                  </a:lnTo>
                  <a:lnTo>
                    <a:pt x="710372" y="213113"/>
                  </a:lnTo>
                  <a:lnTo>
                    <a:pt x="704908" y="213113"/>
                  </a:lnTo>
                  <a:lnTo>
                    <a:pt x="703542" y="209015"/>
                  </a:lnTo>
                  <a:lnTo>
                    <a:pt x="699444" y="213113"/>
                  </a:lnTo>
                  <a:lnTo>
                    <a:pt x="697622" y="213113"/>
                  </a:lnTo>
                  <a:lnTo>
                    <a:pt x="697622" y="204006"/>
                  </a:lnTo>
                  <a:close/>
                  <a:moveTo>
                    <a:pt x="123860" y="196719"/>
                  </a:moveTo>
                  <a:lnTo>
                    <a:pt x="132968" y="196719"/>
                  </a:lnTo>
                  <a:lnTo>
                    <a:pt x="138432" y="214934"/>
                  </a:lnTo>
                  <a:lnTo>
                    <a:pt x="127503" y="209470"/>
                  </a:lnTo>
                  <a:lnTo>
                    <a:pt x="123860" y="209470"/>
                  </a:lnTo>
                  <a:close/>
                  <a:moveTo>
                    <a:pt x="996343" y="191255"/>
                  </a:moveTo>
                  <a:lnTo>
                    <a:pt x="1007272" y="191255"/>
                  </a:lnTo>
                  <a:lnTo>
                    <a:pt x="1018201" y="202185"/>
                  </a:lnTo>
                  <a:lnTo>
                    <a:pt x="1018201" y="204006"/>
                  </a:lnTo>
                  <a:lnTo>
                    <a:pt x="1010915" y="204006"/>
                  </a:lnTo>
                  <a:lnTo>
                    <a:pt x="996343" y="193077"/>
                  </a:lnTo>
                  <a:close/>
                  <a:moveTo>
                    <a:pt x="923484" y="182147"/>
                  </a:moveTo>
                  <a:lnTo>
                    <a:pt x="934413" y="182147"/>
                  </a:lnTo>
                  <a:lnTo>
                    <a:pt x="947163" y="191255"/>
                  </a:lnTo>
                  <a:lnTo>
                    <a:pt x="963557" y="191255"/>
                  </a:lnTo>
                  <a:lnTo>
                    <a:pt x="969021" y="204005"/>
                  </a:lnTo>
                  <a:lnTo>
                    <a:pt x="969021" y="231327"/>
                  </a:lnTo>
                  <a:lnTo>
                    <a:pt x="972664" y="236791"/>
                  </a:lnTo>
                  <a:lnTo>
                    <a:pt x="972664" y="234970"/>
                  </a:lnTo>
                  <a:lnTo>
                    <a:pt x="978128" y="234970"/>
                  </a:lnTo>
                  <a:lnTo>
                    <a:pt x="983593" y="251363"/>
                  </a:lnTo>
                  <a:lnTo>
                    <a:pt x="990879" y="253184"/>
                  </a:lnTo>
                  <a:lnTo>
                    <a:pt x="999986" y="253184"/>
                  </a:lnTo>
                  <a:lnTo>
                    <a:pt x="1018201" y="225862"/>
                  </a:lnTo>
                  <a:lnTo>
                    <a:pt x="1034594" y="225862"/>
                  </a:lnTo>
                  <a:lnTo>
                    <a:pt x="1040058" y="214934"/>
                  </a:lnTo>
                  <a:lnTo>
                    <a:pt x="1052809" y="207648"/>
                  </a:lnTo>
                  <a:lnTo>
                    <a:pt x="1056452" y="207648"/>
                  </a:lnTo>
                  <a:lnTo>
                    <a:pt x="1096524" y="225862"/>
                  </a:lnTo>
                  <a:lnTo>
                    <a:pt x="1131132" y="234970"/>
                  </a:lnTo>
                  <a:lnTo>
                    <a:pt x="1134775" y="234970"/>
                  </a:lnTo>
                  <a:lnTo>
                    <a:pt x="1134775" y="293257"/>
                  </a:lnTo>
                  <a:lnTo>
                    <a:pt x="1131132" y="336972"/>
                  </a:lnTo>
                  <a:lnTo>
                    <a:pt x="1136596" y="391616"/>
                  </a:lnTo>
                  <a:lnTo>
                    <a:pt x="1136596" y="393437"/>
                  </a:lnTo>
                  <a:lnTo>
                    <a:pt x="1134775" y="393437"/>
                  </a:lnTo>
                  <a:lnTo>
                    <a:pt x="1103810" y="366115"/>
                  </a:lnTo>
                  <a:lnTo>
                    <a:pt x="1083774" y="369758"/>
                  </a:lnTo>
                  <a:lnTo>
                    <a:pt x="1080131" y="371580"/>
                  </a:lnTo>
                  <a:lnTo>
                    <a:pt x="1080131" y="375223"/>
                  </a:lnTo>
                  <a:lnTo>
                    <a:pt x="1050987" y="375223"/>
                  </a:lnTo>
                  <a:lnTo>
                    <a:pt x="1050987" y="371580"/>
                  </a:lnTo>
                  <a:lnTo>
                    <a:pt x="1052809" y="371580"/>
                  </a:lnTo>
                  <a:lnTo>
                    <a:pt x="1063737" y="349722"/>
                  </a:lnTo>
                  <a:lnTo>
                    <a:pt x="1074666" y="347901"/>
                  </a:lnTo>
                  <a:lnTo>
                    <a:pt x="1078309" y="349722"/>
                  </a:lnTo>
                  <a:lnTo>
                    <a:pt x="1078309" y="347901"/>
                  </a:lnTo>
                  <a:lnTo>
                    <a:pt x="1074666" y="347901"/>
                  </a:lnTo>
                  <a:lnTo>
                    <a:pt x="1074666" y="344258"/>
                  </a:lnTo>
                  <a:lnTo>
                    <a:pt x="1080131" y="344258"/>
                  </a:lnTo>
                  <a:lnTo>
                    <a:pt x="1069202" y="338793"/>
                  </a:lnTo>
                  <a:lnTo>
                    <a:pt x="1069202" y="336972"/>
                  </a:lnTo>
                  <a:lnTo>
                    <a:pt x="1074666" y="331507"/>
                  </a:lnTo>
                  <a:lnTo>
                    <a:pt x="1058273" y="302364"/>
                  </a:lnTo>
                  <a:lnTo>
                    <a:pt x="1025487" y="287792"/>
                  </a:lnTo>
                  <a:lnTo>
                    <a:pt x="989057" y="282328"/>
                  </a:lnTo>
                  <a:lnTo>
                    <a:pt x="979950" y="271399"/>
                  </a:lnTo>
                  <a:lnTo>
                    <a:pt x="969021" y="271399"/>
                  </a:lnTo>
                  <a:lnTo>
                    <a:pt x="956271" y="260470"/>
                  </a:lnTo>
                  <a:lnTo>
                    <a:pt x="956271" y="253184"/>
                  </a:lnTo>
                  <a:lnTo>
                    <a:pt x="950806" y="269578"/>
                  </a:lnTo>
                  <a:lnTo>
                    <a:pt x="945342" y="269578"/>
                  </a:lnTo>
                  <a:lnTo>
                    <a:pt x="941699" y="271399"/>
                  </a:lnTo>
                  <a:lnTo>
                    <a:pt x="938056" y="271399"/>
                  </a:lnTo>
                  <a:lnTo>
                    <a:pt x="932592" y="253184"/>
                  </a:lnTo>
                  <a:lnTo>
                    <a:pt x="916198" y="245899"/>
                  </a:lnTo>
                  <a:lnTo>
                    <a:pt x="912555" y="245899"/>
                  </a:lnTo>
                  <a:lnTo>
                    <a:pt x="912555" y="240434"/>
                  </a:lnTo>
                  <a:lnTo>
                    <a:pt x="916198" y="240434"/>
                  </a:lnTo>
                  <a:lnTo>
                    <a:pt x="932592" y="236791"/>
                  </a:lnTo>
                  <a:lnTo>
                    <a:pt x="941699" y="231327"/>
                  </a:lnTo>
                  <a:lnTo>
                    <a:pt x="952628" y="234970"/>
                  </a:lnTo>
                  <a:lnTo>
                    <a:pt x="956271" y="231327"/>
                  </a:lnTo>
                  <a:lnTo>
                    <a:pt x="956271" y="224041"/>
                  </a:lnTo>
                  <a:lnTo>
                    <a:pt x="923484" y="229505"/>
                  </a:lnTo>
                  <a:lnTo>
                    <a:pt x="916198" y="225862"/>
                  </a:lnTo>
                  <a:lnTo>
                    <a:pt x="907091" y="213112"/>
                  </a:lnTo>
                  <a:lnTo>
                    <a:pt x="888876" y="209469"/>
                  </a:lnTo>
                  <a:lnTo>
                    <a:pt x="888876" y="207648"/>
                  </a:lnTo>
                  <a:lnTo>
                    <a:pt x="890698" y="204005"/>
                  </a:lnTo>
                  <a:lnTo>
                    <a:pt x="883412" y="204005"/>
                  </a:lnTo>
                  <a:lnTo>
                    <a:pt x="883412" y="196719"/>
                  </a:lnTo>
                  <a:lnTo>
                    <a:pt x="890698" y="196719"/>
                  </a:lnTo>
                  <a:lnTo>
                    <a:pt x="890698" y="204004"/>
                  </a:lnTo>
                  <a:lnTo>
                    <a:pt x="894341" y="196719"/>
                  </a:lnTo>
                  <a:close/>
                  <a:moveTo>
                    <a:pt x="801445" y="182147"/>
                  </a:moveTo>
                  <a:lnTo>
                    <a:pt x="806910" y="182147"/>
                  </a:lnTo>
                  <a:lnTo>
                    <a:pt x="816017" y="196719"/>
                  </a:lnTo>
                  <a:lnTo>
                    <a:pt x="812374" y="196719"/>
                  </a:lnTo>
                  <a:lnTo>
                    <a:pt x="806910" y="193076"/>
                  </a:lnTo>
                  <a:lnTo>
                    <a:pt x="805088" y="193076"/>
                  </a:lnTo>
                  <a:lnTo>
                    <a:pt x="801445" y="185790"/>
                  </a:lnTo>
                  <a:close/>
                  <a:moveTo>
                    <a:pt x="262292" y="180326"/>
                  </a:moveTo>
                  <a:lnTo>
                    <a:pt x="264113" y="187612"/>
                  </a:lnTo>
                  <a:lnTo>
                    <a:pt x="256827" y="187612"/>
                  </a:lnTo>
                  <a:lnTo>
                    <a:pt x="256827" y="185791"/>
                  </a:lnTo>
                  <a:close/>
                  <a:moveTo>
                    <a:pt x="883412" y="174861"/>
                  </a:moveTo>
                  <a:lnTo>
                    <a:pt x="896162" y="180326"/>
                  </a:lnTo>
                  <a:lnTo>
                    <a:pt x="896162" y="182147"/>
                  </a:lnTo>
                  <a:lnTo>
                    <a:pt x="888876" y="185790"/>
                  </a:lnTo>
                  <a:lnTo>
                    <a:pt x="885233" y="185790"/>
                  </a:lnTo>
                  <a:lnTo>
                    <a:pt x="874304" y="180326"/>
                  </a:lnTo>
                  <a:lnTo>
                    <a:pt x="874304" y="178504"/>
                  </a:lnTo>
                  <a:lnTo>
                    <a:pt x="877947" y="178504"/>
                  </a:lnTo>
                  <a:close/>
                  <a:moveTo>
                    <a:pt x="256827" y="145718"/>
                  </a:moveTo>
                  <a:lnTo>
                    <a:pt x="258649" y="145718"/>
                  </a:lnTo>
                  <a:lnTo>
                    <a:pt x="264113" y="147540"/>
                  </a:lnTo>
                  <a:lnTo>
                    <a:pt x="264113" y="156647"/>
                  </a:lnTo>
                  <a:lnTo>
                    <a:pt x="262292" y="156647"/>
                  </a:lnTo>
                  <a:lnTo>
                    <a:pt x="262292" y="153004"/>
                  </a:lnTo>
                  <a:close/>
                  <a:moveTo>
                    <a:pt x="245899" y="136611"/>
                  </a:moveTo>
                  <a:lnTo>
                    <a:pt x="251363" y="136611"/>
                  </a:lnTo>
                  <a:lnTo>
                    <a:pt x="251363" y="140255"/>
                  </a:lnTo>
                  <a:lnTo>
                    <a:pt x="244077" y="142076"/>
                  </a:lnTo>
                  <a:lnTo>
                    <a:pt x="240434" y="142076"/>
                  </a:lnTo>
                  <a:lnTo>
                    <a:pt x="240434" y="140255"/>
                  </a:lnTo>
                  <a:close/>
                  <a:moveTo>
                    <a:pt x="94716" y="136611"/>
                  </a:moveTo>
                  <a:lnTo>
                    <a:pt x="107467" y="151183"/>
                  </a:lnTo>
                  <a:lnTo>
                    <a:pt x="107467" y="162112"/>
                  </a:lnTo>
                  <a:lnTo>
                    <a:pt x="105646" y="162112"/>
                  </a:lnTo>
                  <a:lnTo>
                    <a:pt x="87430" y="142076"/>
                  </a:lnTo>
                  <a:lnTo>
                    <a:pt x="87430" y="140254"/>
                  </a:lnTo>
                  <a:close/>
                  <a:moveTo>
                    <a:pt x="202183" y="134789"/>
                  </a:moveTo>
                  <a:lnTo>
                    <a:pt x="213112" y="134789"/>
                  </a:lnTo>
                  <a:lnTo>
                    <a:pt x="216755" y="136611"/>
                  </a:lnTo>
                  <a:lnTo>
                    <a:pt x="216755" y="142075"/>
                  </a:lnTo>
                  <a:lnTo>
                    <a:pt x="213112" y="142075"/>
                  </a:lnTo>
                  <a:lnTo>
                    <a:pt x="202183" y="136611"/>
                  </a:lnTo>
                  <a:close/>
                  <a:moveTo>
                    <a:pt x="748624" y="131146"/>
                  </a:moveTo>
                  <a:lnTo>
                    <a:pt x="754088" y="142075"/>
                  </a:lnTo>
                  <a:lnTo>
                    <a:pt x="732231" y="167576"/>
                  </a:lnTo>
                  <a:lnTo>
                    <a:pt x="704909" y="167576"/>
                  </a:lnTo>
                  <a:lnTo>
                    <a:pt x="686694" y="163933"/>
                  </a:lnTo>
                  <a:lnTo>
                    <a:pt x="639336" y="163933"/>
                  </a:lnTo>
                  <a:lnTo>
                    <a:pt x="637514" y="169397"/>
                  </a:lnTo>
                  <a:lnTo>
                    <a:pt x="635693" y="191255"/>
                  </a:lnTo>
                  <a:lnTo>
                    <a:pt x="644800" y="207648"/>
                  </a:lnTo>
                  <a:lnTo>
                    <a:pt x="653907" y="207648"/>
                  </a:lnTo>
                  <a:lnTo>
                    <a:pt x="666658" y="193076"/>
                  </a:lnTo>
                  <a:lnTo>
                    <a:pt x="670301" y="193076"/>
                  </a:lnTo>
                  <a:lnTo>
                    <a:pt x="672122" y="196719"/>
                  </a:lnTo>
                  <a:lnTo>
                    <a:pt x="677587" y="196719"/>
                  </a:lnTo>
                  <a:lnTo>
                    <a:pt x="677587" y="191255"/>
                  </a:lnTo>
                  <a:lnTo>
                    <a:pt x="697623" y="191255"/>
                  </a:lnTo>
                  <a:lnTo>
                    <a:pt x="703087" y="185790"/>
                  </a:lnTo>
                  <a:lnTo>
                    <a:pt x="710373" y="185790"/>
                  </a:lnTo>
                  <a:lnTo>
                    <a:pt x="710373" y="187612"/>
                  </a:lnTo>
                  <a:lnTo>
                    <a:pt x="714016" y="196719"/>
                  </a:lnTo>
                  <a:lnTo>
                    <a:pt x="710373" y="196719"/>
                  </a:lnTo>
                  <a:lnTo>
                    <a:pt x="697623" y="198541"/>
                  </a:lnTo>
                  <a:lnTo>
                    <a:pt x="686694" y="213112"/>
                  </a:lnTo>
                  <a:lnTo>
                    <a:pt x="670301" y="218577"/>
                  </a:lnTo>
                  <a:lnTo>
                    <a:pt x="664836" y="218577"/>
                  </a:lnTo>
                  <a:lnTo>
                    <a:pt x="688515" y="251363"/>
                  </a:lnTo>
                  <a:lnTo>
                    <a:pt x="686694" y="258649"/>
                  </a:lnTo>
                  <a:lnTo>
                    <a:pt x="692158" y="269578"/>
                  </a:lnTo>
                  <a:lnTo>
                    <a:pt x="697623" y="269578"/>
                  </a:lnTo>
                  <a:lnTo>
                    <a:pt x="697623" y="276864"/>
                  </a:lnTo>
                  <a:lnTo>
                    <a:pt x="683051" y="282328"/>
                  </a:lnTo>
                  <a:lnTo>
                    <a:pt x="675765" y="291436"/>
                  </a:lnTo>
                  <a:lnTo>
                    <a:pt x="666658" y="291436"/>
                  </a:lnTo>
                  <a:lnTo>
                    <a:pt x="666658" y="271399"/>
                  </a:lnTo>
                  <a:lnTo>
                    <a:pt x="653907" y="260471"/>
                  </a:lnTo>
                  <a:lnTo>
                    <a:pt x="650264" y="256828"/>
                  </a:lnTo>
                  <a:lnTo>
                    <a:pt x="650264" y="253185"/>
                  </a:lnTo>
                  <a:lnTo>
                    <a:pt x="653907" y="240434"/>
                  </a:lnTo>
                  <a:lnTo>
                    <a:pt x="648443" y="236791"/>
                  </a:lnTo>
                  <a:lnTo>
                    <a:pt x="637514" y="247720"/>
                  </a:lnTo>
                  <a:lnTo>
                    <a:pt x="639336" y="253185"/>
                  </a:lnTo>
                  <a:lnTo>
                    <a:pt x="639336" y="307829"/>
                  </a:lnTo>
                  <a:lnTo>
                    <a:pt x="635693" y="307829"/>
                  </a:lnTo>
                  <a:lnTo>
                    <a:pt x="626585" y="309650"/>
                  </a:lnTo>
                  <a:lnTo>
                    <a:pt x="621121" y="309650"/>
                  </a:lnTo>
                  <a:lnTo>
                    <a:pt x="613835" y="302364"/>
                  </a:lnTo>
                  <a:lnTo>
                    <a:pt x="613835" y="298721"/>
                  </a:lnTo>
                  <a:lnTo>
                    <a:pt x="621121" y="269578"/>
                  </a:lnTo>
                  <a:lnTo>
                    <a:pt x="615657" y="258649"/>
                  </a:lnTo>
                  <a:lnTo>
                    <a:pt x="604728" y="258649"/>
                  </a:lnTo>
                  <a:lnTo>
                    <a:pt x="602906" y="240434"/>
                  </a:lnTo>
                  <a:lnTo>
                    <a:pt x="613835" y="218577"/>
                  </a:lnTo>
                  <a:lnTo>
                    <a:pt x="613835" y="204005"/>
                  </a:lnTo>
                  <a:lnTo>
                    <a:pt x="621121" y="187612"/>
                  </a:lnTo>
                  <a:lnTo>
                    <a:pt x="621121" y="174862"/>
                  </a:lnTo>
                  <a:lnTo>
                    <a:pt x="630228" y="156647"/>
                  </a:lnTo>
                  <a:lnTo>
                    <a:pt x="635693" y="153004"/>
                  </a:lnTo>
                  <a:lnTo>
                    <a:pt x="642979" y="153004"/>
                  </a:lnTo>
                  <a:lnTo>
                    <a:pt x="644800" y="145718"/>
                  </a:lnTo>
                  <a:lnTo>
                    <a:pt x="648443" y="145718"/>
                  </a:lnTo>
                  <a:lnTo>
                    <a:pt x="653907" y="142075"/>
                  </a:lnTo>
                  <a:lnTo>
                    <a:pt x="697623" y="153004"/>
                  </a:lnTo>
                  <a:lnTo>
                    <a:pt x="721302" y="153004"/>
                  </a:lnTo>
                  <a:close/>
                  <a:moveTo>
                    <a:pt x="817839" y="120217"/>
                  </a:moveTo>
                  <a:lnTo>
                    <a:pt x="821254" y="144124"/>
                  </a:lnTo>
                  <a:lnTo>
                    <a:pt x="812374" y="153004"/>
                  </a:lnTo>
                  <a:lnTo>
                    <a:pt x="821481" y="145718"/>
                  </a:lnTo>
                  <a:lnTo>
                    <a:pt x="821254" y="144124"/>
                  </a:lnTo>
                  <a:lnTo>
                    <a:pt x="828767" y="136611"/>
                  </a:lnTo>
                  <a:lnTo>
                    <a:pt x="837875" y="142075"/>
                  </a:lnTo>
                  <a:lnTo>
                    <a:pt x="837875" y="151182"/>
                  </a:lnTo>
                  <a:lnTo>
                    <a:pt x="828767" y="156647"/>
                  </a:lnTo>
                  <a:lnTo>
                    <a:pt x="839696" y="167576"/>
                  </a:lnTo>
                  <a:lnTo>
                    <a:pt x="839696" y="169397"/>
                  </a:lnTo>
                  <a:lnTo>
                    <a:pt x="837875" y="169397"/>
                  </a:lnTo>
                  <a:lnTo>
                    <a:pt x="821481" y="163933"/>
                  </a:lnTo>
                  <a:lnTo>
                    <a:pt x="817839" y="167576"/>
                  </a:lnTo>
                  <a:lnTo>
                    <a:pt x="817839" y="180326"/>
                  </a:lnTo>
                  <a:lnTo>
                    <a:pt x="826946" y="196719"/>
                  </a:lnTo>
                  <a:lnTo>
                    <a:pt x="823303" y="196719"/>
                  </a:lnTo>
                  <a:lnTo>
                    <a:pt x="812374" y="180326"/>
                  </a:lnTo>
                  <a:lnTo>
                    <a:pt x="801445" y="147539"/>
                  </a:lnTo>
                  <a:lnTo>
                    <a:pt x="806910" y="131146"/>
                  </a:lnTo>
                  <a:close/>
                  <a:moveTo>
                    <a:pt x="832411" y="109288"/>
                  </a:moveTo>
                  <a:lnTo>
                    <a:pt x="834232" y="109288"/>
                  </a:lnTo>
                  <a:lnTo>
                    <a:pt x="837875" y="120218"/>
                  </a:lnTo>
                  <a:lnTo>
                    <a:pt x="834232" y="120218"/>
                  </a:lnTo>
                  <a:lnTo>
                    <a:pt x="826946" y="125682"/>
                  </a:lnTo>
                  <a:lnTo>
                    <a:pt x="823303" y="118396"/>
                  </a:lnTo>
                  <a:lnTo>
                    <a:pt x="823303" y="114753"/>
                  </a:lnTo>
                  <a:close/>
                  <a:moveTo>
                    <a:pt x="56466" y="103825"/>
                  </a:moveTo>
                  <a:lnTo>
                    <a:pt x="71038" y="118398"/>
                  </a:lnTo>
                  <a:lnTo>
                    <a:pt x="71038" y="120219"/>
                  </a:lnTo>
                  <a:lnTo>
                    <a:pt x="54644" y="109290"/>
                  </a:lnTo>
                  <a:lnTo>
                    <a:pt x="54644" y="107468"/>
                  </a:lnTo>
                  <a:close/>
                  <a:moveTo>
                    <a:pt x="530047" y="69216"/>
                  </a:moveTo>
                  <a:lnTo>
                    <a:pt x="559191" y="69216"/>
                  </a:lnTo>
                  <a:lnTo>
                    <a:pt x="571941" y="74681"/>
                  </a:lnTo>
                  <a:lnTo>
                    <a:pt x="571941" y="78324"/>
                  </a:lnTo>
                  <a:lnTo>
                    <a:pt x="570119" y="78324"/>
                  </a:lnTo>
                  <a:lnTo>
                    <a:pt x="577405" y="85609"/>
                  </a:lnTo>
                  <a:lnTo>
                    <a:pt x="577405" y="89252"/>
                  </a:lnTo>
                  <a:lnTo>
                    <a:pt x="564655" y="91074"/>
                  </a:lnTo>
                  <a:lnTo>
                    <a:pt x="582870" y="118396"/>
                  </a:lnTo>
                  <a:lnTo>
                    <a:pt x="582870" y="120217"/>
                  </a:lnTo>
                  <a:lnTo>
                    <a:pt x="581048" y="129325"/>
                  </a:lnTo>
                  <a:lnTo>
                    <a:pt x="604727" y="153004"/>
                  </a:lnTo>
                  <a:lnTo>
                    <a:pt x="604727" y="156647"/>
                  </a:lnTo>
                  <a:lnTo>
                    <a:pt x="591977" y="156647"/>
                  </a:lnTo>
                  <a:lnTo>
                    <a:pt x="582870" y="151182"/>
                  </a:lnTo>
                  <a:lnTo>
                    <a:pt x="582870" y="156647"/>
                  </a:lnTo>
                  <a:lnTo>
                    <a:pt x="571941" y="167576"/>
                  </a:lnTo>
                  <a:lnTo>
                    <a:pt x="570119" y="185790"/>
                  </a:lnTo>
                  <a:lnTo>
                    <a:pt x="561012" y="202183"/>
                  </a:lnTo>
                  <a:lnTo>
                    <a:pt x="542797" y="218577"/>
                  </a:lnTo>
                  <a:lnTo>
                    <a:pt x="551905" y="225863"/>
                  </a:lnTo>
                  <a:lnTo>
                    <a:pt x="551905" y="229505"/>
                  </a:lnTo>
                  <a:lnTo>
                    <a:pt x="535511" y="258649"/>
                  </a:lnTo>
                  <a:lnTo>
                    <a:pt x="508189" y="271399"/>
                  </a:lnTo>
                  <a:lnTo>
                    <a:pt x="502725" y="271399"/>
                  </a:lnTo>
                  <a:lnTo>
                    <a:pt x="497261" y="258649"/>
                  </a:lnTo>
                  <a:lnTo>
                    <a:pt x="493618" y="256827"/>
                  </a:lnTo>
                  <a:lnTo>
                    <a:pt x="488153" y="256827"/>
                  </a:lnTo>
                  <a:lnTo>
                    <a:pt x="486332" y="258649"/>
                  </a:lnTo>
                  <a:lnTo>
                    <a:pt x="479046" y="258649"/>
                  </a:lnTo>
                  <a:lnTo>
                    <a:pt x="479046" y="251363"/>
                  </a:lnTo>
                  <a:lnTo>
                    <a:pt x="464474" y="247720"/>
                  </a:lnTo>
                  <a:lnTo>
                    <a:pt x="453545" y="256827"/>
                  </a:lnTo>
                  <a:lnTo>
                    <a:pt x="437152" y="258649"/>
                  </a:lnTo>
                  <a:lnTo>
                    <a:pt x="435331" y="258649"/>
                  </a:lnTo>
                  <a:lnTo>
                    <a:pt x="431688" y="242256"/>
                  </a:lnTo>
                  <a:lnTo>
                    <a:pt x="418937" y="247720"/>
                  </a:lnTo>
                  <a:lnTo>
                    <a:pt x="400723" y="245899"/>
                  </a:lnTo>
                  <a:lnTo>
                    <a:pt x="397080" y="245899"/>
                  </a:lnTo>
                  <a:lnTo>
                    <a:pt x="389794" y="204005"/>
                  </a:lnTo>
                  <a:lnTo>
                    <a:pt x="384329" y="191255"/>
                  </a:lnTo>
                  <a:lnTo>
                    <a:pt x="373401" y="185790"/>
                  </a:lnTo>
                  <a:lnTo>
                    <a:pt x="364293" y="162111"/>
                  </a:lnTo>
                  <a:lnTo>
                    <a:pt x="369758" y="136611"/>
                  </a:lnTo>
                  <a:lnTo>
                    <a:pt x="378865" y="125682"/>
                  </a:lnTo>
                  <a:lnTo>
                    <a:pt x="380686" y="123860"/>
                  </a:lnTo>
                  <a:lnTo>
                    <a:pt x="384329" y="123860"/>
                  </a:lnTo>
                  <a:lnTo>
                    <a:pt x="384329" y="125682"/>
                  </a:lnTo>
                  <a:lnTo>
                    <a:pt x="395258" y="145718"/>
                  </a:lnTo>
                  <a:lnTo>
                    <a:pt x="406187" y="151182"/>
                  </a:lnTo>
                  <a:lnTo>
                    <a:pt x="429866" y="151182"/>
                  </a:lnTo>
                  <a:lnTo>
                    <a:pt x="446259" y="136611"/>
                  </a:lnTo>
                  <a:lnTo>
                    <a:pt x="459010" y="136611"/>
                  </a:lnTo>
                  <a:lnTo>
                    <a:pt x="473581" y="145718"/>
                  </a:lnTo>
                  <a:lnTo>
                    <a:pt x="491796" y="140254"/>
                  </a:lnTo>
                  <a:lnTo>
                    <a:pt x="497261" y="136611"/>
                  </a:lnTo>
                  <a:lnTo>
                    <a:pt x="502725" y="129325"/>
                  </a:lnTo>
                  <a:lnTo>
                    <a:pt x="530047" y="72859"/>
                  </a:lnTo>
                  <a:close/>
                  <a:moveTo>
                    <a:pt x="40072" y="40073"/>
                  </a:moveTo>
                  <a:lnTo>
                    <a:pt x="54644" y="40073"/>
                  </a:lnTo>
                  <a:lnTo>
                    <a:pt x="71037" y="47359"/>
                  </a:lnTo>
                  <a:lnTo>
                    <a:pt x="98359" y="51002"/>
                  </a:lnTo>
                  <a:lnTo>
                    <a:pt x="100181" y="51002"/>
                  </a:lnTo>
                  <a:lnTo>
                    <a:pt x="116574" y="74681"/>
                  </a:lnTo>
                  <a:lnTo>
                    <a:pt x="143896" y="91074"/>
                  </a:lnTo>
                  <a:lnTo>
                    <a:pt x="171218" y="120218"/>
                  </a:lnTo>
                  <a:lnTo>
                    <a:pt x="176682" y="123861"/>
                  </a:lnTo>
                  <a:lnTo>
                    <a:pt x="178504" y="120218"/>
                  </a:lnTo>
                  <a:lnTo>
                    <a:pt x="180325" y="120218"/>
                  </a:lnTo>
                  <a:lnTo>
                    <a:pt x="189433" y="131147"/>
                  </a:lnTo>
                  <a:lnTo>
                    <a:pt x="196087" y="133999"/>
                  </a:lnTo>
                  <a:lnTo>
                    <a:pt x="189433" y="125682"/>
                  </a:lnTo>
                  <a:lnTo>
                    <a:pt x="189433" y="123860"/>
                  </a:lnTo>
                  <a:lnTo>
                    <a:pt x="200362" y="123860"/>
                  </a:lnTo>
                  <a:lnTo>
                    <a:pt x="200362" y="125682"/>
                  </a:lnTo>
                  <a:lnTo>
                    <a:pt x="196719" y="131146"/>
                  </a:lnTo>
                  <a:lnTo>
                    <a:pt x="196719" y="134270"/>
                  </a:lnTo>
                  <a:lnTo>
                    <a:pt x="202183" y="136611"/>
                  </a:lnTo>
                  <a:lnTo>
                    <a:pt x="207647" y="142076"/>
                  </a:lnTo>
                  <a:lnTo>
                    <a:pt x="211290" y="142076"/>
                  </a:lnTo>
                  <a:lnTo>
                    <a:pt x="216755" y="147540"/>
                  </a:lnTo>
                  <a:lnTo>
                    <a:pt x="229505" y="147540"/>
                  </a:lnTo>
                  <a:lnTo>
                    <a:pt x="229505" y="163933"/>
                  </a:lnTo>
                  <a:lnTo>
                    <a:pt x="234969" y="162112"/>
                  </a:lnTo>
                  <a:lnTo>
                    <a:pt x="244077" y="167576"/>
                  </a:lnTo>
                  <a:lnTo>
                    <a:pt x="245898" y="173041"/>
                  </a:lnTo>
                  <a:lnTo>
                    <a:pt x="245898" y="174862"/>
                  </a:lnTo>
                  <a:lnTo>
                    <a:pt x="240434" y="178505"/>
                  </a:lnTo>
                  <a:lnTo>
                    <a:pt x="244077" y="180326"/>
                  </a:lnTo>
                  <a:lnTo>
                    <a:pt x="240434" y="191255"/>
                  </a:lnTo>
                  <a:lnTo>
                    <a:pt x="240434" y="193077"/>
                  </a:lnTo>
                  <a:lnTo>
                    <a:pt x="258648" y="198541"/>
                  </a:lnTo>
                  <a:lnTo>
                    <a:pt x="264113" y="218577"/>
                  </a:lnTo>
                  <a:lnTo>
                    <a:pt x="273220" y="220399"/>
                  </a:lnTo>
                  <a:lnTo>
                    <a:pt x="273220" y="224042"/>
                  </a:lnTo>
                  <a:lnTo>
                    <a:pt x="269577" y="229506"/>
                  </a:lnTo>
                  <a:lnTo>
                    <a:pt x="289613" y="231328"/>
                  </a:lnTo>
                  <a:lnTo>
                    <a:pt x="300542" y="245899"/>
                  </a:lnTo>
                  <a:lnTo>
                    <a:pt x="295078" y="313294"/>
                  </a:lnTo>
                  <a:lnTo>
                    <a:pt x="291435" y="313294"/>
                  </a:lnTo>
                  <a:lnTo>
                    <a:pt x="284149" y="307829"/>
                  </a:lnTo>
                  <a:lnTo>
                    <a:pt x="278685" y="313294"/>
                  </a:lnTo>
                  <a:lnTo>
                    <a:pt x="275042" y="313294"/>
                  </a:lnTo>
                  <a:lnTo>
                    <a:pt x="269577" y="307829"/>
                  </a:lnTo>
                  <a:lnTo>
                    <a:pt x="267756" y="307829"/>
                  </a:lnTo>
                  <a:lnTo>
                    <a:pt x="267756" y="315115"/>
                  </a:lnTo>
                  <a:lnTo>
                    <a:pt x="264113" y="315115"/>
                  </a:lnTo>
                  <a:lnTo>
                    <a:pt x="244077" y="293258"/>
                  </a:lnTo>
                  <a:lnTo>
                    <a:pt x="213112" y="271400"/>
                  </a:lnTo>
                  <a:lnTo>
                    <a:pt x="205826" y="258650"/>
                  </a:lnTo>
                  <a:lnTo>
                    <a:pt x="178504" y="229506"/>
                  </a:lnTo>
                  <a:lnTo>
                    <a:pt x="160289" y="191255"/>
                  </a:lnTo>
                  <a:lnTo>
                    <a:pt x="149360" y="174862"/>
                  </a:lnTo>
                  <a:lnTo>
                    <a:pt x="138432" y="169398"/>
                  </a:lnTo>
                  <a:lnTo>
                    <a:pt x="138432" y="167576"/>
                  </a:lnTo>
                  <a:lnTo>
                    <a:pt x="134789" y="167576"/>
                  </a:lnTo>
                  <a:lnTo>
                    <a:pt x="123860" y="134790"/>
                  </a:lnTo>
                  <a:lnTo>
                    <a:pt x="118395" y="125682"/>
                  </a:lnTo>
                  <a:lnTo>
                    <a:pt x="100181" y="120218"/>
                  </a:lnTo>
                  <a:lnTo>
                    <a:pt x="100181" y="118396"/>
                  </a:lnTo>
                  <a:lnTo>
                    <a:pt x="98359" y="107468"/>
                  </a:lnTo>
                  <a:lnTo>
                    <a:pt x="87430" y="91074"/>
                  </a:lnTo>
                  <a:lnTo>
                    <a:pt x="76502" y="85610"/>
                  </a:lnTo>
                  <a:lnTo>
                    <a:pt x="49180" y="61931"/>
                  </a:lnTo>
                  <a:lnTo>
                    <a:pt x="40072" y="41895"/>
                  </a:lnTo>
                  <a:close/>
                  <a:moveTo>
                    <a:pt x="5465" y="0"/>
                  </a:moveTo>
                  <a:lnTo>
                    <a:pt x="9108" y="0"/>
                  </a:lnTo>
                  <a:lnTo>
                    <a:pt x="9108" y="1821"/>
                  </a:lnTo>
                  <a:lnTo>
                    <a:pt x="5465" y="12751"/>
                  </a:lnTo>
                  <a:lnTo>
                    <a:pt x="3643" y="12751"/>
                  </a:lnTo>
                  <a:lnTo>
                    <a:pt x="0" y="1821"/>
                  </a:lnTo>
                  <a:lnTo>
                    <a:pt x="3643" y="182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8" name="Socotra">
              <a:extLst>
                <a:ext uri="{FF2B5EF4-FFF2-40B4-BE49-F238E27FC236}">
                  <a16:creationId xmlns:a16="http://schemas.microsoft.com/office/drawing/2014/main" id="{8DA5CD5A-1B65-F357-FEA7-A633427D4742}"/>
                </a:ext>
              </a:extLst>
            </p:cNvPr>
            <p:cNvSpPr>
              <a:spLocks/>
            </p:cNvSpPr>
            <p:nvPr/>
          </p:nvSpPr>
          <p:spPr bwMode="auto">
            <a:xfrm>
              <a:off x="7085366" y="4287434"/>
              <a:ext cx="27107" cy="14457"/>
            </a:xfrm>
            <a:custGeom>
              <a:avLst/>
              <a:gdLst>
                <a:gd name="T0" fmla="*/ 3 w 15"/>
                <a:gd name="T1" fmla="*/ 0 h 8"/>
                <a:gd name="T2" fmla="*/ 6 w 15"/>
                <a:gd name="T3" fmla="*/ 0 h 8"/>
                <a:gd name="T4" fmla="*/ 11 w 15"/>
                <a:gd name="T5" fmla="*/ 1 h 8"/>
                <a:gd name="T6" fmla="*/ 15 w 15"/>
                <a:gd name="T7" fmla="*/ 1 h 8"/>
                <a:gd name="T8" fmla="*/ 15 w 15"/>
                <a:gd name="T9" fmla="*/ 2 h 8"/>
                <a:gd name="T10" fmla="*/ 14 w 15"/>
                <a:gd name="T11" fmla="*/ 4 h 8"/>
                <a:gd name="T12" fmla="*/ 14 w 15"/>
                <a:gd name="T13" fmla="*/ 5 h 8"/>
                <a:gd name="T14" fmla="*/ 9 w 15"/>
                <a:gd name="T15" fmla="*/ 8 h 8"/>
                <a:gd name="T16" fmla="*/ 2 w 15"/>
                <a:gd name="T17" fmla="*/ 4 h 8"/>
                <a:gd name="T18" fmla="*/ 0 w 15"/>
                <a:gd name="T19" fmla="*/ 4 h 8"/>
                <a:gd name="T20" fmla="*/ 3 w 15"/>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8">
                  <a:moveTo>
                    <a:pt x="3" y="0"/>
                  </a:moveTo>
                  <a:lnTo>
                    <a:pt x="6" y="0"/>
                  </a:lnTo>
                  <a:lnTo>
                    <a:pt x="11" y="1"/>
                  </a:lnTo>
                  <a:lnTo>
                    <a:pt x="15" y="1"/>
                  </a:lnTo>
                  <a:lnTo>
                    <a:pt x="15" y="2"/>
                  </a:lnTo>
                  <a:lnTo>
                    <a:pt x="14" y="4"/>
                  </a:lnTo>
                  <a:lnTo>
                    <a:pt x="14" y="5"/>
                  </a:lnTo>
                  <a:lnTo>
                    <a:pt x="9" y="8"/>
                  </a:lnTo>
                  <a:lnTo>
                    <a:pt x="2" y="4"/>
                  </a:lnTo>
                  <a:lnTo>
                    <a:pt x="0" y="4"/>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69" name="Bahrain">
              <a:extLst>
                <a:ext uri="{FF2B5EF4-FFF2-40B4-BE49-F238E27FC236}">
                  <a16:creationId xmlns:a16="http://schemas.microsoft.com/office/drawing/2014/main" id="{EDBB49D9-37FF-6240-B8DE-A3034D764403}"/>
                </a:ext>
              </a:extLst>
            </p:cNvPr>
            <p:cNvSpPr>
              <a:spLocks/>
            </p:cNvSpPr>
            <p:nvPr/>
          </p:nvSpPr>
          <p:spPr bwMode="auto">
            <a:xfrm>
              <a:off x="7013084" y="3945900"/>
              <a:ext cx="9036" cy="10843"/>
            </a:xfrm>
            <a:custGeom>
              <a:avLst/>
              <a:gdLst>
                <a:gd name="T0" fmla="*/ 0 w 5"/>
                <a:gd name="T1" fmla="*/ 0 h 6"/>
                <a:gd name="T2" fmla="*/ 2 w 5"/>
                <a:gd name="T3" fmla="*/ 0 h 6"/>
                <a:gd name="T4" fmla="*/ 3 w 5"/>
                <a:gd name="T5" fmla="*/ 2 h 6"/>
                <a:gd name="T6" fmla="*/ 5 w 5"/>
                <a:gd name="T7" fmla="*/ 2 h 6"/>
                <a:gd name="T8" fmla="*/ 2 w 5"/>
                <a:gd name="T9" fmla="*/ 6 h 6"/>
                <a:gd name="T10" fmla="*/ 0 w 5"/>
                <a:gd name="T11" fmla="*/ 6 h 6"/>
                <a:gd name="T12" fmla="*/ 0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0" y="0"/>
                  </a:moveTo>
                  <a:lnTo>
                    <a:pt x="2" y="0"/>
                  </a:lnTo>
                  <a:lnTo>
                    <a:pt x="3" y="2"/>
                  </a:lnTo>
                  <a:lnTo>
                    <a:pt x="5" y="2"/>
                  </a:lnTo>
                  <a:lnTo>
                    <a:pt x="2" y="6"/>
                  </a:lnTo>
                  <a:lnTo>
                    <a:pt x="0" y="6"/>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0" name="Oman">
              <a:extLst>
                <a:ext uri="{FF2B5EF4-FFF2-40B4-BE49-F238E27FC236}">
                  <a16:creationId xmlns:a16="http://schemas.microsoft.com/office/drawing/2014/main" id="{BA11E3A7-236F-3F47-BFFD-8F5EED14C867}"/>
                </a:ext>
              </a:extLst>
            </p:cNvPr>
            <p:cNvSpPr>
              <a:spLocks/>
            </p:cNvSpPr>
            <p:nvPr/>
          </p:nvSpPr>
          <p:spPr bwMode="auto">
            <a:xfrm>
              <a:off x="7051032" y="3983847"/>
              <a:ext cx="187935" cy="209619"/>
            </a:xfrm>
            <a:custGeom>
              <a:avLst/>
              <a:gdLst>
                <a:gd name="T0" fmla="*/ 49 w 104"/>
                <a:gd name="T1" fmla="*/ 0 h 116"/>
                <a:gd name="T2" fmla="*/ 58 w 104"/>
                <a:gd name="T3" fmla="*/ 0 h 116"/>
                <a:gd name="T4" fmla="*/ 65 w 104"/>
                <a:gd name="T5" fmla="*/ 10 h 116"/>
                <a:gd name="T6" fmla="*/ 88 w 104"/>
                <a:gd name="T7" fmla="*/ 19 h 116"/>
                <a:gd name="T8" fmla="*/ 97 w 104"/>
                <a:gd name="T9" fmla="*/ 30 h 116"/>
                <a:gd name="T10" fmla="*/ 102 w 104"/>
                <a:gd name="T11" fmla="*/ 34 h 116"/>
                <a:gd name="T12" fmla="*/ 104 w 104"/>
                <a:gd name="T13" fmla="*/ 36 h 116"/>
                <a:gd name="T14" fmla="*/ 101 w 104"/>
                <a:gd name="T15" fmla="*/ 43 h 116"/>
                <a:gd name="T16" fmla="*/ 86 w 104"/>
                <a:gd name="T17" fmla="*/ 64 h 116"/>
                <a:gd name="T18" fmla="*/ 85 w 104"/>
                <a:gd name="T19" fmla="*/ 64 h 116"/>
                <a:gd name="T20" fmla="*/ 82 w 104"/>
                <a:gd name="T21" fmla="*/ 62 h 116"/>
                <a:gd name="T22" fmla="*/ 79 w 104"/>
                <a:gd name="T23" fmla="*/ 64 h 116"/>
                <a:gd name="T24" fmla="*/ 76 w 104"/>
                <a:gd name="T25" fmla="*/ 70 h 116"/>
                <a:gd name="T26" fmla="*/ 77 w 104"/>
                <a:gd name="T27" fmla="*/ 83 h 116"/>
                <a:gd name="T28" fmla="*/ 76 w 104"/>
                <a:gd name="T29" fmla="*/ 83 h 116"/>
                <a:gd name="T30" fmla="*/ 64 w 104"/>
                <a:gd name="T31" fmla="*/ 87 h 116"/>
                <a:gd name="T32" fmla="*/ 58 w 104"/>
                <a:gd name="T33" fmla="*/ 98 h 116"/>
                <a:gd name="T34" fmla="*/ 48 w 104"/>
                <a:gd name="T35" fmla="*/ 101 h 116"/>
                <a:gd name="T36" fmla="*/ 40 w 104"/>
                <a:gd name="T37" fmla="*/ 111 h 116"/>
                <a:gd name="T38" fmla="*/ 28 w 104"/>
                <a:gd name="T39" fmla="*/ 111 h 116"/>
                <a:gd name="T40" fmla="*/ 14 w 104"/>
                <a:gd name="T41" fmla="*/ 116 h 116"/>
                <a:gd name="T42" fmla="*/ 0 w 104"/>
                <a:gd name="T43" fmla="*/ 83 h 116"/>
                <a:gd name="T44" fmla="*/ 39 w 104"/>
                <a:gd name="T45" fmla="*/ 68 h 116"/>
                <a:gd name="T46" fmla="*/ 49 w 104"/>
                <a:gd name="T47" fmla="*/ 41 h 116"/>
                <a:gd name="T48" fmla="*/ 42 w 104"/>
                <a:gd name="T49" fmla="*/ 31 h 116"/>
                <a:gd name="T50" fmla="*/ 45 w 104"/>
                <a:gd name="T51" fmla="*/ 15 h 116"/>
                <a:gd name="T52" fmla="*/ 45 w 104"/>
                <a:gd name="T53" fmla="*/ 13 h 116"/>
                <a:gd name="T54" fmla="*/ 46 w 104"/>
                <a:gd name="T55" fmla="*/ 13 h 116"/>
                <a:gd name="T56" fmla="*/ 52 w 104"/>
                <a:gd name="T57" fmla="*/ 12 h 116"/>
                <a:gd name="T58" fmla="*/ 49 w 104"/>
                <a:gd name="T59" fmla="*/ 1 h 116"/>
                <a:gd name="T60" fmla="*/ 49 w 104"/>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116">
                  <a:moveTo>
                    <a:pt x="49" y="0"/>
                  </a:moveTo>
                  <a:lnTo>
                    <a:pt x="58" y="0"/>
                  </a:lnTo>
                  <a:lnTo>
                    <a:pt x="65" y="10"/>
                  </a:lnTo>
                  <a:lnTo>
                    <a:pt x="88" y="19"/>
                  </a:lnTo>
                  <a:lnTo>
                    <a:pt x="97" y="30"/>
                  </a:lnTo>
                  <a:lnTo>
                    <a:pt x="102" y="34"/>
                  </a:lnTo>
                  <a:lnTo>
                    <a:pt x="104" y="36"/>
                  </a:lnTo>
                  <a:lnTo>
                    <a:pt x="101" y="43"/>
                  </a:lnTo>
                  <a:lnTo>
                    <a:pt x="86" y="64"/>
                  </a:lnTo>
                  <a:lnTo>
                    <a:pt x="85" y="64"/>
                  </a:lnTo>
                  <a:lnTo>
                    <a:pt x="82" y="62"/>
                  </a:lnTo>
                  <a:lnTo>
                    <a:pt x="79" y="64"/>
                  </a:lnTo>
                  <a:lnTo>
                    <a:pt x="76" y="70"/>
                  </a:lnTo>
                  <a:lnTo>
                    <a:pt x="77" y="83"/>
                  </a:lnTo>
                  <a:lnTo>
                    <a:pt x="76" y="83"/>
                  </a:lnTo>
                  <a:lnTo>
                    <a:pt x="64" y="87"/>
                  </a:lnTo>
                  <a:lnTo>
                    <a:pt x="58" y="98"/>
                  </a:lnTo>
                  <a:lnTo>
                    <a:pt x="48" y="101"/>
                  </a:lnTo>
                  <a:lnTo>
                    <a:pt x="40" y="111"/>
                  </a:lnTo>
                  <a:lnTo>
                    <a:pt x="28" y="111"/>
                  </a:lnTo>
                  <a:lnTo>
                    <a:pt x="14" y="116"/>
                  </a:lnTo>
                  <a:lnTo>
                    <a:pt x="0" y="83"/>
                  </a:lnTo>
                  <a:lnTo>
                    <a:pt x="39" y="68"/>
                  </a:lnTo>
                  <a:lnTo>
                    <a:pt x="49" y="41"/>
                  </a:lnTo>
                  <a:lnTo>
                    <a:pt x="42" y="31"/>
                  </a:lnTo>
                  <a:lnTo>
                    <a:pt x="45" y="15"/>
                  </a:lnTo>
                  <a:lnTo>
                    <a:pt x="45" y="13"/>
                  </a:lnTo>
                  <a:lnTo>
                    <a:pt x="46" y="13"/>
                  </a:lnTo>
                  <a:lnTo>
                    <a:pt x="52" y="12"/>
                  </a:lnTo>
                  <a:lnTo>
                    <a:pt x="49" y="1"/>
                  </a:lnTo>
                  <a:lnTo>
                    <a:pt x="4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1" name="Musandam Peninsula">
              <a:extLst>
                <a:ext uri="{FF2B5EF4-FFF2-40B4-BE49-F238E27FC236}">
                  <a16:creationId xmlns:a16="http://schemas.microsoft.com/office/drawing/2014/main" id="{7F13D213-FB8A-2EBC-1908-89E5E27C3CC9}"/>
                </a:ext>
              </a:extLst>
            </p:cNvPr>
            <p:cNvSpPr>
              <a:spLocks/>
            </p:cNvSpPr>
            <p:nvPr/>
          </p:nvSpPr>
          <p:spPr bwMode="auto">
            <a:xfrm>
              <a:off x="7148613" y="3945900"/>
              <a:ext cx="7228" cy="21685"/>
            </a:xfrm>
            <a:custGeom>
              <a:avLst/>
              <a:gdLst>
                <a:gd name="T0" fmla="*/ 3 w 4"/>
                <a:gd name="T1" fmla="*/ 0 h 12"/>
                <a:gd name="T2" fmla="*/ 4 w 4"/>
                <a:gd name="T3" fmla="*/ 0 h 12"/>
                <a:gd name="T4" fmla="*/ 4 w 4"/>
                <a:gd name="T5" fmla="*/ 2 h 12"/>
                <a:gd name="T6" fmla="*/ 3 w 4"/>
                <a:gd name="T7" fmla="*/ 11 h 12"/>
                <a:gd name="T8" fmla="*/ 3 w 4"/>
                <a:gd name="T9" fmla="*/ 12 h 12"/>
                <a:gd name="T10" fmla="*/ 0 w 4"/>
                <a:gd name="T11" fmla="*/ 11 h 12"/>
                <a:gd name="T12" fmla="*/ 0 w 4"/>
                <a:gd name="T13" fmla="*/ 5 h 12"/>
                <a:gd name="T14" fmla="*/ 3 w 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3" y="0"/>
                  </a:moveTo>
                  <a:lnTo>
                    <a:pt x="4" y="0"/>
                  </a:lnTo>
                  <a:lnTo>
                    <a:pt x="4" y="2"/>
                  </a:lnTo>
                  <a:lnTo>
                    <a:pt x="3" y="11"/>
                  </a:lnTo>
                  <a:lnTo>
                    <a:pt x="3" y="12"/>
                  </a:lnTo>
                  <a:lnTo>
                    <a:pt x="0" y="11"/>
                  </a:lnTo>
                  <a:lnTo>
                    <a:pt x="0" y="5"/>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2" name="Qeshm Island">
              <a:extLst>
                <a:ext uri="{FF2B5EF4-FFF2-40B4-BE49-F238E27FC236}">
                  <a16:creationId xmlns:a16="http://schemas.microsoft.com/office/drawing/2014/main" id="{9342D250-3E60-A62A-29E4-4795CD976986}"/>
                </a:ext>
              </a:extLst>
            </p:cNvPr>
            <p:cNvSpPr>
              <a:spLocks/>
            </p:cNvSpPr>
            <p:nvPr/>
          </p:nvSpPr>
          <p:spPr bwMode="auto">
            <a:xfrm>
              <a:off x="7128736" y="3933250"/>
              <a:ext cx="25299" cy="12650"/>
            </a:xfrm>
            <a:custGeom>
              <a:avLst/>
              <a:gdLst>
                <a:gd name="T0" fmla="*/ 8 w 14"/>
                <a:gd name="T1" fmla="*/ 0 h 7"/>
                <a:gd name="T2" fmla="*/ 14 w 14"/>
                <a:gd name="T3" fmla="*/ 0 h 7"/>
                <a:gd name="T4" fmla="*/ 2 w 14"/>
                <a:gd name="T5" fmla="*/ 6 h 7"/>
                <a:gd name="T6" fmla="*/ 2 w 14"/>
                <a:gd name="T7" fmla="*/ 7 h 7"/>
                <a:gd name="T8" fmla="*/ 0 w 14"/>
                <a:gd name="T9" fmla="*/ 6 h 7"/>
                <a:gd name="T10" fmla="*/ 8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8" y="0"/>
                  </a:moveTo>
                  <a:lnTo>
                    <a:pt x="14" y="0"/>
                  </a:lnTo>
                  <a:lnTo>
                    <a:pt x="2" y="6"/>
                  </a:lnTo>
                  <a:lnTo>
                    <a:pt x="2" y="7"/>
                  </a:lnTo>
                  <a:lnTo>
                    <a:pt x="0" y="6"/>
                  </a:lnTo>
                  <a:lnTo>
                    <a:pt x="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3" name="China">
              <a:extLst>
                <a:ext uri="{FF2B5EF4-FFF2-40B4-BE49-F238E27FC236}">
                  <a16:creationId xmlns:a16="http://schemas.microsoft.com/office/drawing/2014/main" id="{025DB667-1DC0-A907-1B1E-453A4EBFD5A5}"/>
                </a:ext>
              </a:extLst>
            </p:cNvPr>
            <p:cNvSpPr>
              <a:spLocks/>
            </p:cNvSpPr>
            <p:nvPr/>
          </p:nvSpPr>
          <p:spPr bwMode="auto">
            <a:xfrm>
              <a:off x="7562428" y="3096580"/>
              <a:ext cx="1447457" cy="1058939"/>
            </a:xfrm>
            <a:custGeom>
              <a:avLst/>
              <a:gdLst/>
              <a:ahLst/>
              <a:cxnLst/>
              <a:rect l="l" t="t" r="r" b="b"/>
              <a:pathLst>
                <a:path w="1458996" h="1067381">
                  <a:moveTo>
                    <a:pt x="877948" y="1018201"/>
                  </a:moveTo>
                  <a:lnTo>
                    <a:pt x="888877" y="1018201"/>
                  </a:lnTo>
                  <a:lnTo>
                    <a:pt x="888877" y="1021844"/>
                  </a:lnTo>
                  <a:lnTo>
                    <a:pt x="890698" y="1029130"/>
                  </a:lnTo>
                  <a:lnTo>
                    <a:pt x="877948" y="1050988"/>
                  </a:lnTo>
                  <a:lnTo>
                    <a:pt x="859733" y="1067381"/>
                  </a:lnTo>
                  <a:lnTo>
                    <a:pt x="837876" y="1058274"/>
                  </a:lnTo>
                  <a:lnTo>
                    <a:pt x="832411" y="1038237"/>
                  </a:lnTo>
                  <a:lnTo>
                    <a:pt x="854269" y="1021844"/>
                  </a:lnTo>
                  <a:close/>
                  <a:moveTo>
                    <a:pt x="1191240" y="905270"/>
                  </a:moveTo>
                  <a:lnTo>
                    <a:pt x="1193062" y="905270"/>
                  </a:lnTo>
                  <a:lnTo>
                    <a:pt x="1196705" y="910734"/>
                  </a:lnTo>
                  <a:lnTo>
                    <a:pt x="1196705" y="912556"/>
                  </a:lnTo>
                  <a:lnTo>
                    <a:pt x="1191240" y="912556"/>
                  </a:lnTo>
                  <a:close/>
                  <a:moveTo>
                    <a:pt x="1183954" y="0"/>
                  </a:moveTo>
                  <a:lnTo>
                    <a:pt x="1191240" y="0"/>
                  </a:lnTo>
                  <a:lnTo>
                    <a:pt x="1209455" y="14572"/>
                  </a:lnTo>
                  <a:lnTo>
                    <a:pt x="1236777" y="20036"/>
                  </a:lnTo>
                  <a:lnTo>
                    <a:pt x="1240420" y="20036"/>
                  </a:lnTo>
                  <a:lnTo>
                    <a:pt x="1256813" y="43715"/>
                  </a:lnTo>
                  <a:lnTo>
                    <a:pt x="1262278" y="67394"/>
                  </a:lnTo>
                  <a:lnTo>
                    <a:pt x="1275028" y="100181"/>
                  </a:lnTo>
                  <a:lnTo>
                    <a:pt x="1282314" y="143896"/>
                  </a:lnTo>
                  <a:lnTo>
                    <a:pt x="1324208" y="151182"/>
                  </a:lnTo>
                  <a:lnTo>
                    <a:pt x="1355172" y="171218"/>
                  </a:lnTo>
                  <a:lnTo>
                    <a:pt x="1360637" y="187611"/>
                  </a:lnTo>
                  <a:lnTo>
                    <a:pt x="1360637" y="202183"/>
                  </a:lnTo>
                  <a:lnTo>
                    <a:pt x="1369744" y="213112"/>
                  </a:lnTo>
                  <a:lnTo>
                    <a:pt x="1391602" y="213112"/>
                  </a:lnTo>
                  <a:lnTo>
                    <a:pt x="1455353" y="187611"/>
                  </a:lnTo>
                  <a:lnTo>
                    <a:pt x="1458996" y="187611"/>
                  </a:lnTo>
                  <a:lnTo>
                    <a:pt x="1458996" y="189433"/>
                  </a:lnTo>
                  <a:lnTo>
                    <a:pt x="1453532" y="194897"/>
                  </a:lnTo>
                  <a:lnTo>
                    <a:pt x="1455353" y="218576"/>
                  </a:lnTo>
                  <a:lnTo>
                    <a:pt x="1444424" y="229505"/>
                  </a:lnTo>
                  <a:lnTo>
                    <a:pt x="1433496" y="271399"/>
                  </a:lnTo>
                  <a:lnTo>
                    <a:pt x="1417102" y="306006"/>
                  </a:lnTo>
                  <a:lnTo>
                    <a:pt x="1413459" y="311471"/>
                  </a:lnTo>
                  <a:lnTo>
                    <a:pt x="1409817" y="311471"/>
                  </a:lnTo>
                  <a:lnTo>
                    <a:pt x="1386137" y="302364"/>
                  </a:lnTo>
                  <a:lnTo>
                    <a:pt x="1366101" y="318757"/>
                  </a:lnTo>
                  <a:lnTo>
                    <a:pt x="1371566" y="335150"/>
                  </a:lnTo>
                  <a:lnTo>
                    <a:pt x="1371566" y="364293"/>
                  </a:lnTo>
                  <a:lnTo>
                    <a:pt x="1358815" y="380687"/>
                  </a:lnTo>
                  <a:lnTo>
                    <a:pt x="1358815" y="389794"/>
                  </a:lnTo>
                  <a:lnTo>
                    <a:pt x="1355172" y="389794"/>
                  </a:lnTo>
                  <a:lnTo>
                    <a:pt x="1344244" y="378865"/>
                  </a:lnTo>
                  <a:lnTo>
                    <a:pt x="1335136" y="397080"/>
                  </a:lnTo>
                  <a:lnTo>
                    <a:pt x="1320565" y="408009"/>
                  </a:lnTo>
                  <a:lnTo>
                    <a:pt x="1302350" y="408009"/>
                  </a:lnTo>
                  <a:lnTo>
                    <a:pt x="1302350" y="426223"/>
                  </a:lnTo>
                  <a:lnTo>
                    <a:pt x="1282314" y="429866"/>
                  </a:lnTo>
                  <a:lnTo>
                    <a:pt x="1269563" y="422580"/>
                  </a:lnTo>
                  <a:lnTo>
                    <a:pt x="1245884" y="446259"/>
                  </a:lnTo>
                  <a:lnTo>
                    <a:pt x="1220384" y="457188"/>
                  </a:lnTo>
                  <a:lnTo>
                    <a:pt x="1209455" y="473581"/>
                  </a:lnTo>
                  <a:lnTo>
                    <a:pt x="1185776" y="479046"/>
                  </a:lnTo>
                  <a:lnTo>
                    <a:pt x="1136596" y="510011"/>
                  </a:lnTo>
                  <a:lnTo>
                    <a:pt x="1134775" y="510011"/>
                  </a:lnTo>
                  <a:lnTo>
                    <a:pt x="1131132" y="508189"/>
                  </a:lnTo>
                  <a:lnTo>
                    <a:pt x="1131132" y="504546"/>
                  </a:lnTo>
                  <a:lnTo>
                    <a:pt x="1142061" y="500903"/>
                  </a:lnTo>
                  <a:lnTo>
                    <a:pt x="1142061" y="491796"/>
                  </a:lnTo>
                  <a:lnTo>
                    <a:pt x="1134775" y="486332"/>
                  </a:lnTo>
                  <a:lnTo>
                    <a:pt x="1134775" y="484510"/>
                  </a:lnTo>
                  <a:lnTo>
                    <a:pt x="1156632" y="457188"/>
                  </a:lnTo>
                  <a:lnTo>
                    <a:pt x="1147525" y="440795"/>
                  </a:lnTo>
                  <a:lnTo>
                    <a:pt x="1131132" y="442617"/>
                  </a:lnTo>
                  <a:lnTo>
                    <a:pt x="1114739" y="468117"/>
                  </a:lnTo>
                  <a:lnTo>
                    <a:pt x="1094703" y="479046"/>
                  </a:lnTo>
                  <a:lnTo>
                    <a:pt x="1085595" y="491796"/>
                  </a:lnTo>
                  <a:lnTo>
                    <a:pt x="1069202" y="500903"/>
                  </a:lnTo>
                  <a:lnTo>
                    <a:pt x="1058273" y="497261"/>
                  </a:lnTo>
                  <a:lnTo>
                    <a:pt x="1050987" y="510011"/>
                  </a:lnTo>
                  <a:lnTo>
                    <a:pt x="1047344" y="515475"/>
                  </a:lnTo>
                  <a:lnTo>
                    <a:pt x="1058273" y="526404"/>
                  </a:lnTo>
                  <a:lnTo>
                    <a:pt x="1074666" y="537333"/>
                  </a:lnTo>
                  <a:lnTo>
                    <a:pt x="1083774" y="551905"/>
                  </a:lnTo>
                  <a:lnTo>
                    <a:pt x="1094703" y="557369"/>
                  </a:lnTo>
                  <a:lnTo>
                    <a:pt x="1123846" y="537333"/>
                  </a:lnTo>
                  <a:lnTo>
                    <a:pt x="1125667" y="537333"/>
                  </a:lnTo>
                  <a:lnTo>
                    <a:pt x="1142061" y="548262"/>
                  </a:lnTo>
                  <a:lnTo>
                    <a:pt x="1167561" y="548262"/>
                  </a:lnTo>
                  <a:lnTo>
                    <a:pt x="1167561" y="551905"/>
                  </a:lnTo>
                  <a:lnTo>
                    <a:pt x="1162097" y="568298"/>
                  </a:lnTo>
                  <a:lnTo>
                    <a:pt x="1162097" y="570119"/>
                  </a:lnTo>
                  <a:lnTo>
                    <a:pt x="1158454" y="570119"/>
                  </a:lnTo>
                  <a:lnTo>
                    <a:pt x="1158454" y="568298"/>
                  </a:lnTo>
                  <a:lnTo>
                    <a:pt x="1156632" y="562833"/>
                  </a:lnTo>
                  <a:lnTo>
                    <a:pt x="1151168" y="562833"/>
                  </a:lnTo>
                  <a:lnTo>
                    <a:pt x="1145704" y="570119"/>
                  </a:lnTo>
                  <a:lnTo>
                    <a:pt x="1125667" y="573762"/>
                  </a:lnTo>
                  <a:lnTo>
                    <a:pt x="1125667" y="579227"/>
                  </a:lnTo>
                  <a:lnTo>
                    <a:pt x="1120203" y="588334"/>
                  </a:lnTo>
                  <a:lnTo>
                    <a:pt x="1118382" y="588334"/>
                  </a:lnTo>
                  <a:lnTo>
                    <a:pt x="1111096" y="586512"/>
                  </a:lnTo>
                  <a:lnTo>
                    <a:pt x="1111096" y="593798"/>
                  </a:lnTo>
                  <a:lnTo>
                    <a:pt x="1107453" y="593798"/>
                  </a:lnTo>
                  <a:lnTo>
                    <a:pt x="1096524" y="604727"/>
                  </a:lnTo>
                  <a:lnTo>
                    <a:pt x="1085595" y="624763"/>
                  </a:lnTo>
                  <a:lnTo>
                    <a:pt x="1111096" y="637514"/>
                  </a:lnTo>
                  <a:lnTo>
                    <a:pt x="1125667" y="683050"/>
                  </a:lnTo>
                  <a:lnTo>
                    <a:pt x="1151168" y="710372"/>
                  </a:lnTo>
                  <a:lnTo>
                    <a:pt x="1151168" y="714015"/>
                  </a:lnTo>
                  <a:lnTo>
                    <a:pt x="1118382" y="704908"/>
                  </a:lnTo>
                  <a:lnTo>
                    <a:pt x="1131132" y="714015"/>
                  </a:lnTo>
                  <a:lnTo>
                    <a:pt x="1151168" y="732230"/>
                  </a:lnTo>
                  <a:lnTo>
                    <a:pt x="1151168" y="735873"/>
                  </a:lnTo>
                  <a:lnTo>
                    <a:pt x="1118382" y="754088"/>
                  </a:lnTo>
                  <a:lnTo>
                    <a:pt x="1131132" y="750445"/>
                  </a:lnTo>
                  <a:lnTo>
                    <a:pt x="1151168" y="761373"/>
                  </a:lnTo>
                  <a:lnTo>
                    <a:pt x="1145704" y="766838"/>
                  </a:lnTo>
                  <a:lnTo>
                    <a:pt x="1147525" y="766838"/>
                  </a:lnTo>
                  <a:lnTo>
                    <a:pt x="1147525" y="781410"/>
                  </a:lnTo>
                  <a:lnTo>
                    <a:pt x="1140239" y="783231"/>
                  </a:lnTo>
                  <a:lnTo>
                    <a:pt x="1142061" y="786874"/>
                  </a:lnTo>
                  <a:lnTo>
                    <a:pt x="1136596" y="810553"/>
                  </a:lnTo>
                  <a:lnTo>
                    <a:pt x="1134775" y="810553"/>
                  </a:lnTo>
                  <a:lnTo>
                    <a:pt x="1129310" y="808732"/>
                  </a:lnTo>
                  <a:lnTo>
                    <a:pt x="1101988" y="854268"/>
                  </a:lnTo>
                  <a:lnTo>
                    <a:pt x="1100167" y="854268"/>
                  </a:lnTo>
                  <a:lnTo>
                    <a:pt x="1100167" y="848804"/>
                  </a:lnTo>
                  <a:lnTo>
                    <a:pt x="1094703" y="848804"/>
                  </a:lnTo>
                  <a:lnTo>
                    <a:pt x="1100167" y="859733"/>
                  </a:lnTo>
                  <a:lnTo>
                    <a:pt x="1091060" y="881590"/>
                  </a:lnTo>
                  <a:lnTo>
                    <a:pt x="1091060" y="883412"/>
                  </a:lnTo>
                  <a:lnTo>
                    <a:pt x="1089238" y="883412"/>
                  </a:lnTo>
                  <a:lnTo>
                    <a:pt x="1085595" y="881590"/>
                  </a:lnTo>
                  <a:lnTo>
                    <a:pt x="1072845" y="901626"/>
                  </a:lnTo>
                  <a:lnTo>
                    <a:pt x="1069202" y="901626"/>
                  </a:lnTo>
                  <a:lnTo>
                    <a:pt x="1058273" y="907091"/>
                  </a:lnTo>
                  <a:lnTo>
                    <a:pt x="1058273" y="916198"/>
                  </a:lnTo>
                  <a:lnTo>
                    <a:pt x="1047344" y="927127"/>
                  </a:lnTo>
                  <a:lnTo>
                    <a:pt x="1045523" y="927127"/>
                  </a:lnTo>
                  <a:lnTo>
                    <a:pt x="1032773" y="932591"/>
                  </a:lnTo>
                  <a:lnTo>
                    <a:pt x="1018201" y="945342"/>
                  </a:lnTo>
                  <a:lnTo>
                    <a:pt x="996343" y="954449"/>
                  </a:lnTo>
                  <a:lnTo>
                    <a:pt x="994522" y="954449"/>
                  </a:lnTo>
                  <a:lnTo>
                    <a:pt x="989057" y="948985"/>
                  </a:lnTo>
                  <a:lnTo>
                    <a:pt x="979950" y="956270"/>
                  </a:lnTo>
                  <a:lnTo>
                    <a:pt x="978129" y="956270"/>
                  </a:lnTo>
                  <a:lnTo>
                    <a:pt x="978129" y="954449"/>
                  </a:lnTo>
                  <a:lnTo>
                    <a:pt x="972664" y="959913"/>
                  </a:lnTo>
                  <a:lnTo>
                    <a:pt x="969021" y="956270"/>
                  </a:lnTo>
                  <a:lnTo>
                    <a:pt x="969021" y="961735"/>
                  </a:lnTo>
                  <a:lnTo>
                    <a:pt x="959914" y="961735"/>
                  </a:lnTo>
                  <a:lnTo>
                    <a:pt x="950807" y="950806"/>
                  </a:lnTo>
                  <a:lnTo>
                    <a:pt x="950807" y="965378"/>
                  </a:lnTo>
                  <a:lnTo>
                    <a:pt x="948985" y="965378"/>
                  </a:lnTo>
                  <a:lnTo>
                    <a:pt x="939878" y="956270"/>
                  </a:lnTo>
                  <a:lnTo>
                    <a:pt x="938056" y="972664"/>
                  </a:lnTo>
                  <a:lnTo>
                    <a:pt x="934413" y="972664"/>
                  </a:lnTo>
                  <a:lnTo>
                    <a:pt x="877948" y="985414"/>
                  </a:lnTo>
                  <a:lnTo>
                    <a:pt x="872483" y="996343"/>
                  </a:lnTo>
                  <a:lnTo>
                    <a:pt x="877948" y="1010914"/>
                  </a:lnTo>
                  <a:lnTo>
                    <a:pt x="877948" y="1012736"/>
                  </a:lnTo>
                  <a:lnTo>
                    <a:pt x="867019" y="1016379"/>
                  </a:lnTo>
                  <a:lnTo>
                    <a:pt x="856090" y="996343"/>
                  </a:lnTo>
                  <a:lnTo>
                    <a:pt x="856090" y="983592"/>
                  </a:lnTo>
                  <a:lnTo>
                    <a:pt x="845161" y="985414"/>
                  </a:lnTo>
                  <a:lnTo>
                    <a:pt x="832411" y="978128"/>
                  </a:lnTo>
                  <a:lnTo>
                    <a:pt x="823303" y="985414"/>
                  </a:lnTo>
                  <a:lnTo>
                    <a:pt x="823303" y="983592"/>
                  </a:lnTo>
                  <a:lnTo>
                    <a:pt x="821482" y="979950"/>
                  </a:lnTo>
                  <a:lnTo>
                    <a:pt x="817839" y="985414"/>
                  </a:lnTo>
                  <a:lnTo>
                    <a:pt x="816018" y="985414"/>
                  </a:lnTo>
                  <a:lnTo>
                    <a:pt x="803267" y="979950"/>
                  </a:lnTo>
                  <a:lnTo>
                    <a:pt x="788695" y="972664"/>
                  </a:lnTo>
                  <a:lnTo>
                    <a:pt x="783231" y="950806"/>
                  </a:lnTo>
                  <a:lnTo>
                    <a:pt x="750445" y="939877"/>
                  </a:lnTo>
                  <a:lnTo>
                    <a:pt x="719480" y="956270"/>
                  </a:lnTo>
                  <a:lnTo>
                    <a:pt x="710372" y="954449"/>
                  </a:lnTo>
                  <a:lnTo>
                    <a:pt x="703086" y="956270"/>
                  </a:lnTo>
                  <a:lnTo>
                    <a:pt x="699444" y="956270"/>
                  </a:lnTo>
                  <a:lnTo>
                    <a:pt x="686693" y="950806"/>
                  </a:lnTo>
                  <a:lnTo>
                    <a:pt x="683050" y="961735"/>
                  </a:lnTo>
                  <a:lnTo>
                    <a:pt x="681229" y="961735"/>
                  </a:lnTo>
                  <a:lnTo>
                    <a:pt x="670300" y="959913"/>
                  </a:lnTo>
                  <a:lnTo>
                    <a:pt x="666657" y="961735"/>
                  </a:lnTo>
                  <a:lnTo>
                    <a:pt x="670300" y="985414"/>
                  </a:lnTo>
                  <a:lnTo>
                    <a:pt x="666657" y="989057"/>
                  </a:lnTo>
                  <a:lnTo>
                    <a:pt x="659371" y="990878"/>
                  </a:lnTo>
                  <a:lnTo>
                    <a:pt x="655728" y="990878"/>
                  </a:lnTo>
                  <a:lnTo>
                    <a:pt x="653907" y="978128"/>
                  </a:lnTo>
                  <a:lnTo>
                    <a:pt x="652085" y="974485"/>
                  </a:lnTo>
                  <a:lnTo>
                    <a:pt x="635692" y="979950"/>
                  </a:lnTo>
                  <a:lnTo>
                    <a:pt x="624763" y="969021"/>
                  </a:lnTo>
                  <a:lnTo>
                    <a:pt x="610192" y="965378"/>
                  </a:lnTo>
                  <a:lnTo>
                    <a:pt x="615656" y="945342"/>
                  </a:lnTo>
                  <a:lnTo>
                    <a:pt x="604727" y="938056"/>
                  </a:lnTo>
                  <a:lnTo>
                    <a:pt x="602906" y="938056"/>
                  </a:lnTo>
                  <a:lnTo>
                    <a:pt x="599263" y="916198"/>
                  </a:lnTo>
                  <a:lnTo>
                    <a:pt x="588334" y="916198"/>
                  </a:lnTo>
                  <a:lnTo>
                    <a:pt x="573762" y="923484"/>
                  </a:lnTo>
                  <a:lnTo>
                    <a:pt x="570119" y="923484"/>
                  </a:lnTo>
                  <a:lnTo>
                    <a:pt x="579227" y="890698"/>
                  </a:lnTo>
                  <a:lnTo>
                    <a:pt x="597441" y="865197"/>
                  </a:lnTo>
                  <a:lnTo>
                    <a:pt x="597441" y="848804"/>
                  </a:lnTo>
                  <a:lnTo>
                    <a:pt x="591977" y="826946"/>
                  </a:lnTo>
                  <a:lnTo>
                    <a:pt x="586513" y="826946"/>
                  </a:lnTo>
                  <a:lnTo>
                    <a:pt x="579227" y="810553"/>
                  </a:lnTo>
                  <a:lnTo>
                    <a:pt x="570119" y="808732"/>
                  </a:lnTo>
                  <a:lnTo>
                    <a:pt x="564655" y="810553"/>
                  </a:lnTo>
                  <a:lnTo>
                    <a:pt x="559191" y="805089"/>
                  </a:lnTo>
                  <a:lnTo>
                    <a:pt x="540976" y="799624"/>
                  </a:lnTo>
                  <a:lnTo>
                    <a:pt x="540976" y="788695"/>
                  </a:lnTo>
                  <a:lnTo>
                    <a:pt x="537333" y="786874"/>
                  </a:lnTo>
                  <a:lnTo>
                    <a:pt x="531868" y="775945"/>
                  </a:lnTo>
                  <a:lnTo>
                    <a:pt x="515475" y="781410"/>
                  </a:lnTo>
                  <a:lnTo>
                    <a:pt x="500904" y="781410"/>
                  </a:lnTo>
                  <a:lnTo>
                    <a:pt x="462653" y="808732"/>
                  </a:lnTo>
                  <a:lnTo>
                    <a:pt x="431688" y="821482"/>
                  </a:lnTo>
                  <a:lnTo>
                    <a:pt x="429866" y="821482"/>
                  </a:lnTo>
                  <a:lnTo>
                    <a:pt x="429866" y="817839"/>
                  </a:lnTo>
                  <a:lnTo>
                    <a:pt x="424402" y="816017"/>
                  </a:lnTo>
                  <a:lnTo>
                    <a:pt x="389794" y="808732"/>
                  </a:lnTo>
                  <a:lnTo>
                    <a:pt x="364293" y="832411"/>
                  </a:lnTo>
                  <a:lnTo>
                    <a:pt x="358829" y="828768"/>
                  </a:lnTo>
                  <a:lnTo>
                    <a:pt x="358829" y="814196"/>
                  </a:lnTo>
                  <a:lnTo>
                    <a:pt x="346079" y="817839"/>
                  </a:lnTo>
                  <a:lnTo>
                    <a:pt x="327864" y="821482"/>
                  </a:lnTo>
                  <a:lnTo>
                    <a:pt x="311471" y="816017"/>
                  </a:lnTo>
                  <a:lnTo>
                    <a:pt x="306006" y="816017"/>
                  </a:lnTo>
                  <a:lnTo>
                    <a:pt x="300542" y="817839"/>
                  </a:lnTo>
                  <a:lnTo>
                    <a:pt x="291435" y="817839"/>
                  </a:lnTo>
                  <a:lnTo>
                    <a:pt x="285970" y="810553"/>
                  </a:lnTo>
                  <a:lnTo>
                    <a:pt x="273220" y="805089"/>
                  </a:lnTo>
                  <a:lnTo>
                    <a:pt x="273220" y="797803"/>
                  </a:lnTo>
                  <a:lnTo>
                    <a:pt x="251362" y="794160"/>
                  </a:lnTo>
                  <a:lnTo>
                    <a:pt x="249541" y="792338"/>
                  </a:lnTo>
                  <a:lnTo>
                    <a:pt x="251362" y="781410"/>
                  </a:lnTo>
                  <a:lnTo>
                    <a:pt x="238612" y="786874"/>
                  </a:lnTo>
                  <a:lnTo>
                    <a:pt x="234969" y="786874"/>
                  </a:lnTo>
                  <a:lnTo>
                    <a:pt x="227683" y="770481"/>
                  </a:lnTo>
                  <a:lnTo>
                    <a:pt x="207647" y="755909"/>
                  </a:lnTo>
                  <a:lnTo>
                    <a:pt x="187611" y="754088"/>
                  </a:lnTo>
                  <a:lnTo>
                    <a:pt x="183968" y="759552"/>
                  </a:lnTo>
                  <a:lnTo>
                    <a:pt x="176682" y="754088"/>
                  </a:lnTo>
                  <a:lnTo>
                    <a:pt x="140253" y="732230"/>
                  </a:lnTo>
                  <a:lnTo>
                    <a:pt x="127503" y="732230"/>
                  </a:lnTo>
                  <a:lnTo>
                    <a:pt x="122038" y="721301"/>
                  </a:lnTo>
                  <a:lnTo>
                    <a:pt x="122038" y="704908"/>
                  </a:lnTo>
                  <a:lnTo>
                    <a:pt x="114752" y="688515"/>
                  </a:lnTo>
                  <a:lnTo>
                    <a:pt x="116574" y="688515"/>
                  </a:lnTo>
                  <a:lnTo>
                    <a:pt x="122038" y="683050"/>
                  </a:lnTo>
                  <a:lnTo>
                    <a:pt x="123860" y="683050"/>
                  </a:lnTo>
                  <a:lnTo>
                    <a:pt x="129324" y="692158"/>
                  </a:lnTo>
                  <a:lnTo>
                    <a:pt x="140253" y="683050"/>
                  </a:lnTo>
                  <a:lnTo>
                    <a:pt x="138431" y="672121"/>
                  </a:lnTo>
                  <a:lnTo>
                    <a:pt x="127503" y="666657"/>
                  </a:lnTo>
                  <a:lnTo>
                    <a:pt x="127503" y="664836"/>
                  </a:lnTo>
                  <a:lnTo>
                    <a:pt x="123860" y="648442"/>
                  </a:lnTo>
                  <a:lnTo>
                    <a:pt x="123860" y="646621"/>
                  </a:lnTo>
                  <a:lnTo>
                    <a:pt x="127503" y="646621"/>
                  </a:lnTo>
                  <a:lnTo>
                    <a:pt x="140253" y="642978"/>
                  </a:lnTo>
                  <a:lnTo>
                    <a:pt x="140253" y="635692"/>
                  </a:lnTo>
                  <a:lnTo>
                    <a:pt x="151182" y="624763"/>
                  </a:lnTo>
                  <a:lnTo>
                    <a:pt x="160289" y="604727"/>
                  </a:lnTo>
                  <a:lnTo>
                    <a:pt x="154825" y="608370"/>
                  </a:lnTo>
                  <a:lnTo>
                    <a:pt x="151182" y="608370"/>
                  </a:lnTo>
                  <a:lnTo>
                    <a:pt x="151182" y="602906"/>
                  </a:lnTo>
                  <a:lnTo>
                    <a:pt x="134788" y="591977"/>
                  </a:lnTo>
                  <a:lnTo>
                    <a:pt x="98359" y="604727"/>
                  </a:lnTo>
                  <a:lnTo>
                    <a:pt x="94716" y="608370"/>
                  </a:lnTo>
                  <a:lnTo>
                    <a:pt x="94716" y="604727"/>
                  </a:lnTo>
                  <a:lnTo>
                    <a:pt x="76501" y="599263"/>
                  </a:lnTo>
                  <a:lnTo>
                    <a:pt x="71037" y="593798"/>
                  </a:lnTo>
                  <a:lnTo>
                    <a:pt x="60108" y="593798"/>
                  </a:lnTo>
                  <a:lnTo>
                    <a:pt x="54644" y="588334"/>
                  </a:lnTo>
                  <a:lnTo>
                    <a:pt x="54644" y="586512"/>
                  </a:lnTo>
                  <a:lnTo>
                    <a:pt x="56465" y="575584"/>
                  </a:lnTo>
                  <a:lnTo>
                    <a:pt x="51001" y="570119"/>
                  </a:lnTo>
                  <a:lnTo>
                    <a:pt x="43715" y="570119"/>
                  </a:lnTo>
                  <a:lnTo>
                    <a:pt x="41894" y="562833"/>
                  </a:lnTo>
                  <a:lnTo>
                    <a:pt x="25500" y="559190"/>
                  </a:lnTo>
                  <a:lnTo>
                    <a:pt x="20036" y="557369"/>
                  </a:lnTo>
                  <a:lnTo>
                    <a:pt x="20036" y="553726"/>
                  </a:lnTo>
                  <a:lnTo>
                    <a:pt x="27322" y="551905"/>
                  </a:lnTo>
                  <a:lnTo>
                    <a:pt x="32786" y="551905"/>
                  </a:lnTo>
                  <a:lnTo>
                    <a:pt x="27322" y="515475"/>
                  </a:lnTo>
                  <a:lnTo>
                    <a:pt x="9107" y="515475"/>
                  </a:lnTo>
                  <a:lnTo>
                    <a:pt x="0" y="504546"/>
                  </a:lnTo>
                  <a:lnTo>
                    <a:pt x="0" y="502725"/>
                  </a:lnTo>
                  <a:lnTo>
                    <a:pt x="5464" y="480867"/>
                  </a:lnTo>
                  <a:lnTo>
                    <a:pt x="9107" y="468117"/>
                  </a:lnTo>
                  <a:lnTo>
                    <a:pt x="27322" y="459010"/>
                  </a:lnTo>
                  <a:lnTo>
                    <a:pt x="30965" y="451724"/>
                  </a:lnTo>
                  <a:lnTo>
                    <a:pt x="38251" y="451724"/>
                  </a:lnTo>
                  <a:lnTo>
                    <a:pt x="47358" y="453545"/>
                  </a:lnTo>
                  <a:lnTo>
                    <a:pt x="51001" y="453545"/>
                  </a:lnTo>
                  <a:lnTo>
                    <a:pt x="60108" y="457188"/>
                  </a:lnTo>
                  <a:lnTo>
                    <a:pt x="65573" y="457188"/>
                  </a:lnTo>
                  <a:lnTo>
                    <a:pt x="78323" y="440795"/>
                  </a:lnTo>
                  <a:lnTo>
                    <a:pt x="109288" y="435331"/>
                  </a:lnTo>
                  <a:lnTo>
                    <a:pt x="120217" y="422580"/>
                  </a:lnTo>
                  <a:lnTo>
                    <a:pt x="154825" y="406187"/>
                  </a:lnTo>
                  <a:lnTo>
                    <a:pt x="160289" y="391615"/>
                  </a:lnTo>
                  <a:lnTo>
                    <a:pt x="167575" y="362472"/>
                  </a:lnTo>
                  <a:lnTo>
                    <a:pt x="156646" y="322400"/>
                  </a:lnTo>
                  <a:lnTo>
                    <a:pt x="149360" y="313292"/>
                  </a:lnTo>
                  <a:lnTo>
                    <a:pt x="149360" y="311471"/>
                  </a:lnTo>
                  <a:lnTo>
                    <a:pt x="151182" y="311471"/>
                  </a:lnTo>
                  <a:lnTo>
                    <a:pt x="205826" y="296899"/>
                  </a:lnTo>
                  <a:lnTo>
                    <a:pt x="205826" y="275041"/>
                  </a:lnTo>
                  <a:lnTo>
                    <a:pt x="222219" y="233148"/>
                  </a:lnTo>
                  <a:lnTo>
                    <a:pt x="240434" y="233148"/>
                  </a:lnTo>
                  <a:lnTo>
                    <a:pt x="245898" y="234969"/>
                  </a:lnTo>
                  <a:lnTo>
                    <a:pt x="262291" y="234969"/>
                  </a:lnTo>
                  <a:lnTo>
                    <a:pt x="267756" y="244077"/>
                  </a:lnTo>
                  <a:lnTo>
                    <a:pt x="284149" y="234969"/>
                  </a:lnTo>
                  <a:lnTo>
                    <a:pt x="284149" y="211290"/>
                  </a:lnTo>
                  <a:lnTo>
                    <a:pt x="289613" y="189433"/>
                  </a:lnTo>
                  <a:lnTo>
                    <a:pt x="291435" y="189433"/>
                  </a:lnTo>
                  <a:lnTo>
                    <a:pt x="307828" y="187611"/>
                  </a:lnTo>
                  <a:lnTo>
                    <a:pt x="316935" y="171218"/>
                  </a:lnTo>
                  <a:lnTo>
                    <a:pt x="318757" y="171218"/>
                  </a:lnTo>
                  <a:lnTo>
                    <a:pt x="327864" y="173039"/>
                  </a:lnTo>
                  <a:lnTo>
                    <a:pt x="335150" y="167575"/>
                  </a:lnTo>
                  <a:lnTo>
                    <a:pt x="338793" y="167575"/>
                  </a:lnTo>
                  <a:lnTo>
                    <a:pt x="338793" y="171218"/>
                  </a:lnTo>
                  <a:lnTo>
                    <a:pt x="346079" y="187611"/>
                  </a:lnTo>
                  <a:lnTo>
                    <a:pt x="362472" y="205826"/>
                  </a:lnTo>
                  <a:lnTo>
                    <a:pt x="391615" y="211290"/>
                  </a:lnTo>
                  <a:lnTo>
                    <a:pt x="395258" y="211290"/>
                  </a:lnTo>
                  <a:lnTo>
                    <a:pt x="397080" y="218576"/>
                  </a:lnTo>
                  <a:lnTo>
                    <a:pt x="408009" y="255005"/>
                  </a:lnTo>
                  <a:lnTo>
                    <a:pt x="411652" y="284149"/>
                  </a:lnTo>
                  <a:lnTo>
                    <a:pt x="408009" y="295078"/>
                  </a:lnTo>
                  <a:lnTo>
                    <a:pt x="446259" y="307828"/>
                  </a:lnTo>
                  <a:lnTo>
                    <a:pt x="459010" y="306006"/>
                  </a:lnTo>
                  <a:lnTo>
                    <a:pt x="515475" y="329686"/>
                  </a:lnTo>
                  <a:lnTo>
                    <a:pt x="535511" y="358829"/>
                  </a:lnTo>
                  <a:lnTo>
                    <a:pt x="559191" y="380687"/>
                  </a:lnTo>
                  <a:lnTo>
                    <a:pt x="646621" y="378865"/>
                  </a:lnTo>
                  <a:lnTo>
                    <a:pt x="686693" y="400723"/>
                  </a:lnTo>
                  <a:lnTo>
                    <a:pt x="743159" y="417116"/>
                  </a:lnTo>
                  <a:lnTo>
                    <a:pt x="810553" y="391615"/>
                  </a:lnTo>
                  <a:lnTo>
                    <a:pt x="839697" y="391615"/>
                  </a:lnTo>
                  <a:lnTo>
                    <a:pt x="867019" y="386151"/>
                  </a:lnTo>
                  <a:lnTo>
                    <a:pt x="910734" y="347900"/>
                  </a:lnTo>
                  <a:lnTo>
                    <a:pt x="899805" y="333328"/>
                  </a:lnTo>
                  <a:lnTo>
                    <a:pt x="899805" y="329686"/>
                  </a:lnTo>
                  <a:lnTo>
                    <a:pt x="910734" y="307828"/>
                  </a:lnTo>
                  <a:lnTo>
                    <a:pt x="912556" y="307828"/>
                  </a:lnTo>
                  <a:lnTo>
                    <a:pt x="921663" y="302364"/>
                  </a:lnTo>
                  <a:lnTo>
                    <a:pt x="948985" y="313292"/>
                  </a:lnTo>
                  <a:lnTo>
                    <a:pt x="978129" y="289613"/>
                  </a:lnTo>
                  <a:lnTo>
                    <a:pt x="999986" y="284149"/>
                  </a:lnTo>
                  <a:lnTo>
                    <a:pt x="1027308" y="255005"/>
                  </a:lnTo>
                  <a:lnTo>
                    <a:pt x="1029130" y="255005"/>
                  </a:lnTo>
                  <a:lnTo>
                    <a:pt x="1089238" y="249541"/>
                  </a:lnTo>
                  <a:lnTo>
                    <a:pt x="1083774" y="240434"/>
                  </a:lnTo>
                  <a:lnTo>
                    <a:pt x="1080131" y="224040"/>
                  </a:lnTo>
                  <a:lnTo>
                    <a:pt x="1061916" y="202183"/>
                  </a:lnTo>
                  <a:lnTo>
                    <a:pt x="1032773" y="222219"/>
                  </a:lnTo>
                  <a:lnTo>
                    <a:pt x="999986" y="216755"/>
                  </a:lnTo>
                  <a:lnTo>
                    <a:pt x="996343" y="202183"/>
                  </a:lnTo>
                  <a:lnTo>
                    <a:pt x="996343" y="162110"/>
                  </a:lnTo>
                  <a:lnTo>
                    <a:pt x="1016379" y="132967"/>
                  </a:lnTo>
                  <a:lnTo>
                    <a:pt x="1018201" y="132967"/>
                  </a:lnTo>
                  <a:lnTo>
                    <a:pt x="1052809" y="145717"/>
                  </a:lnTo>
                  <a:lnTo>
                    <a:pt x="1083774" y="127503"/>
                  </a:lnTo>
                  <a:lnTo>
                    <a:pt x="1085595" y="116574"/>
                  </a:lnTo>
                  <a:lnTo>
                    <a:pt x="1100167" y="72859"/>
                  </a:lnTo>
                  <a:lnTo>
                    <a:pt x="1118382" y="56465"/>
                  </a:lnTo>
                  <a:lnTo>
                    <a:pt x="1118382" y="40072"/>
                  </a:lnTo>
                  <a:lnTo>
                    <a:pt x="1101988" y="40072"/>
                  </a:lnTo>
                  <a:lnTo>
                    <a:pt x="1101988" y="38251"/>
                  </a:lnTo>
                  <a:lnTo>
                    <a:pt x="1105631" y="32786"/>
                  </a:lnTo>
                  <a:lnTo>
                    <a:pt x="1123846" y="9107"/>
                  </a:lnTo>
                  <a:lnTo>
                    <a:pt x="1129310" y="9107"/>
                  </a:lnTo>
                  <a:lnTo>
                    <a:pt x="1145704" y="5464"/>
                  </a:lnTo>
                  <a:lnTo>
                    <a:pt x="1167561" y="3643"/>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4" name="Japan - Offshore">
              <a:extLst>
                <a:ext uri="{FF2B5EF4-FFF2-40B4-BE49-F238E27FC236}">
                  <a16:creationId xmlns:a16="http://schemas.microsoft.com/office/drawing/2014/main" id="{49E4289B-8BFF-54C2-B892-AD6798017E19}"/>
                </a:ext>
              </a:extLst>
            </p:cNvPr>
            <p:cNvSpPr>
              <a:spLocks/>
            </p:cNvSpPr>
            <p:nvPr/>
          </p:nvSpPr>
          <p:spPr bwMode="auto">
            <a:xfrm>
              <a:off x="8838215" y="3362218"/>
              <a:ext cx="540313" cy="592718"/>
            </a:xfrm>
            <a:custGeom>
              <a:avLst/>
              <a:gdLst/>
              <a:ahLst/>
              <a:cxnLst/>
              <a:rect l="l" t="t" r="r" b="b"/>
              <a:pathLst>
                <a:path w="544620" h="597443">
                  <a:moveTo>
                    <a:pt x="10929" y="575585"/>
                  </a:moveTo>
                  <a:lnTo>
                    <a:pt x="12751" y="575585"/>
                  </a:lnTo>
                  <a:lnTo>
                    <a:pt x="1821" y="593800"/>
                  </a:lnTo>
                  <a:lnTo>
                    <a:pt x="1821" y="597443"/>
                  </a:lnTo>
                  <a:lnTo>
                    <a:pt x="0" y="597443"/>
                  </a:lnTo>
                  <a:lnTo>
                    <a:pt x="0" y="593800"/>
                  </a:lnTo>
                  <a:lnTo>
                    <a:pt x="1821" y="586514"/>
                  </a:lnTo>
                  <a:close/>
                  <a:moveTo>
                    <a:pt x="45538" y="530048"/>
                  </a:moveTo>
                  <a:lnTo>
                    <a:pt x="45538" y="531870"/>
                  </a:lnTo>
                  <a:lnTo>
                    <a:pt x="49181" y="531870"/>
                  </a:lnTo>
                  <a:lnTo>
                    <a:pt x="40073" y="540977"/>
                  </a:lnTo>
                  <a:lnTo>
                    <a:pt x="38252" y="540977"/>
                  </a:lnTo>
                  <a:lnTo>
                    <a:pt x="38252" y="535513"/>
                  </a:lnTo>
                  <a:lnTo>
                    <a:pt x="40073" y="531870"/>
                  </a:lnTo>
                  <a:close/>
                  <a:moveTo>
                    <a:pt x="67395" y="480869"/>
                  </a:moveTo>
                  <a:lnTo>
                    <a:pt x="69216" y="480869"/>
                  </a:lnTo>
                  <a:lnTo>
                    <a:pt x="72860" y="486334"/>
                  </a:lnTo>
                  <a:lnTo>
                    <a:pt x="67395" y="486334"/>
                  </a:lnTo>
                  <a:close/>
                  <a:moveTo>
                    <a:pt x="32787" y="404367"/>
                  </a:moveTo>
                  <a:lnTo>
                    <a:pt x="34608" y="404367"/>
                  </a:lnTo>
                  <a:lnTo>
                    <a:pt x="38251" y="408010"/>
                  </a:lnTo>
                  <a:lnTo>
                    <a:pt x="40073" y="408010"/>
                  </a:lnTo>
                  <a:lnTo>
                    <a:pt x="40073" y="409832"/>
                  </a:lnTo>
                  <a:lnTo>
                    <a:pt x="38251" y="409832"/>
                  </a:lnTo>
                  <a:lnTo>
                    <a:pt x="34608" y="413475"/>
                  </a:lnTo>
                  <a:lnTo>
                    <a:pt x="34608" y="415296"/>
                  </a:lnTo>
                  <a:lnTo>
                    <a:pt x="32787" y="415296"/>
                  </a:lnTo>
                  <a:close/>
                  <a:moveTo>
                    <a:pt x="74681" y="380688"/>
                  </a:moveTo>
                  <a:lnTo>
                    <a:pt x="78323" y="380688"/>
                  </a:lnTo>
                  <a:lnTo>
                    <a:pt x="85609" y="391617"/>
                  </a:lnTo>
                  <a:lnTo>
                    <a:pt x="89252" y="391617"/>
                  </a:lnTo>
                  <a:lnTo>
                    <a:pt x="91074" y="389795"/>
                  </a:lnTo>
                  <a:lnTo>
                    <a:pt x="96538" y="389795"/>
                  </a:lnTo>
                  <a:lnTo>
                    <a:pt x="96538" y="398903"/>
                  </a:lnTo>
                  <a:lnTo>
                    <a:pt x="100181" y="402546"/>
                  </a:lnTo>
                  <a:lnTo>
                    <a:pt x="102003" y="402546"/>
                  </a:lnTo>
                  <a:lnTo>
                    <a:pt x="105646" y="413474"/>
                  </a:lnTo>
                  <a:lnTo>
                    <a:pt x="89252" y="453546"/>
                  </a:lnTo>
                  <a:lnTo>
                    <a:pt x="74681" y="464475"/>
                  </a:lnTo>
                  <a:lnTo>
                    <a:pt x="72859" y="464475"/>
                  </a:lnTo>
                  <a:lnTo>
                    <a:pt x="72859" y="459011"/>
                  </a:lnTo>
                  <a:lnTo>
                    <a:pt x="69216" y="462654"/>
                  </a:lnTo>
                  <a:lnTo>
                    <a:pt x="61930" y="457189"/>
                  </a:lnTo>
                  <a:lnTo>
                    <a:pt x="61930" y="437153"/>
                  </a:lnTo>
                  <a:lnTo>
                    <a:pt x="69216" y="424403"/>
                  </a:lnTo>
                  <a:lnTo>
                    <a:pt x="63752" y="408010"/>
                  </a:lnTo>
                  <a:lnTo>
                    <a:pt x="63752" y="418939"/>
                  </a:lnTo>
                  <a:lnTo>
                    <a:pt x="58287" y="418939"/>
                  </a:lnTo>
                  <a:lnTo>
                    <a:pt x="56466" y="420760"/>
                  </a:lnTo>
                  <a:lnTo>
                    <a:pt x="49180" y="420760"/>
                  </a:lnTo>
                  <a:lnTo>
                    <a:pt x="49180" y="408010"/>
                  </a:lnTo>
                  <a:lnTo>
                    <a:pt x="51001" y="408010"/>
                  </a:lnTo>
                  <a:lnTo>
                    <a:pt x="54644" y="409831"/>
                  </a:lnTo>
                  <a:lnTo>
                    <a:pt x="49180" y="402546"/>
                  </a:lnTo>
                  <a:close/>
                  <a:moveTo>
                    <a:pt x="174861" y="362473"/>
                  </a:moveTo>
                  <a:lnTo>
                    <a:pt x="178504" y="362473"/>
                  </a:lnTo>
                  <a:lnTo>
                    <a:pt x="174861" y="373403"/>
                  </a:lnTo>
                  <a:lnTo>
                    <a:pt x="173039" y="373403"/>
                  </a:lnTo>
                  <a:lnTo>
                    <a:pt x="169396" y="375224"/>
                  </a:lnTo>
                  <a:lnTo>
                    <a:pt x="167835" y="375224"/>
                  </a:lnTo>
                  <a:lnTo>
                    <a:pt x="169397" y="386153"/>
                  </a:lnTo>
                  <a:lnTo>
                    <a:pt x="158468" y="402546"/>
                  </a:lnTo>
                  <a:lnTo>
                    <a:pt x="156646" y="402546"/>
                  </a:lnTo>
                  <a:lnTo>
                    <a:pt x="140253" y="397082"/>
                  </a:lnTo>
                  <a:lnTo>
                    <a:pt x="129324" y="415296"/>
                  </a:lnTo>
                  <a:lnTo>
                    <a:pt x="129324" y="418939"/>
                  </a:lnTo>
                  <a:lnTo>
                    <a:pt x="123860" y="418939"/>
                  </a:lnTo>
                  <a:lnTo>
                    <a:pt x="123860" y="415296"/>
                  </a:lnTo>
                  <a:lnTo>
                    <a:pt x="116574" y="398903"/>
                  </a:lnTo>
                  <a:lnTo>
                    <a:pt x="107467" y="398903"/>
                  </a:lnTo>
                  <a:lnTo>
                    <a:pt x="107467" y="397082"/>
                  </a:lnTo>
                  <a:lnTo>
                    <a:pt x="123860" y="378867"/>
                  </a:lnTo>
                  <a:lnTo>
                    <a:pt x="129324" y="378867"/>
                  </a:lnTo>
                  <a:lnTo>
                    <a:pt x="131146" y="380688"/>
                  </a:lnTo>
                  <a:lnTo>
                    <a:pt x="136610" y="380688"/>
                  </a:lnTo>
                  <a:lnTo>
                    <a:pt x="151182" y="367938"/>
                  </a:lnTo>
                  <a:lnTo>
                    <a:pt x="153004" y="367938"/>
                  </a:lnTo>
                  <a:lnTo>
                    <a:pt x="167575" y="373402"/>
                  </a:lnTo>
                  <a:close/>
                  <a:moveTo>
                    <a:pt x="258650" y="253185"/>
                  </a:moveTo>
                  <a:lnTo>
                    <a:pt x="262293" y="253185"/>
                  </a:lnTo>
                  <a:lnTo>
                    <a:pt x="258650" y="269579"/>
                  </a:lnTo>
                  <a:lnTo>
                    <a:pt x="253185" y="269579"/>
                  </a:lnTo>
                  <a:lnTo>
                    <a:pt x="253185" y="267758"/>
                  </a:lnTo>
                  <a:close/>
                  <a:moveTo>
                    <a:pt x="442619" y="60109"/>
                  </a:moveTo>
                  <a:lnTo>
                    <a:pt x="444440" y="65574"/>
                  </a:lnTo>
                  <a:lnTo>
                    <a:pt x="426225" y="83789"/>
                  </a:lnTo>
                  <a:lnTo>
                    <a:pt x="424403" y="78325"/>
                  </a:lnTo>
                  <a:close/>
                  <a:moveTo>
                    <a:pt x="320578" y="32788"/>
                  </a:moveTo>
                  <a:lnTo>
                    <a:pt x="324222" y="32788"/>
                  </a:lnTo>
                  <a:lnTo>
                    <a:pt x="326043" y="38253"/>
                  </a:lnTo>
                  <a:lnTo>
                    <a:pt x="320578" y="34610"/>
                  </a:lnTo>
                  <a:close/>
                  <a:moveTo>
                    <a:pt x="336972" y="23680"/>
                  </a:moveTo>
                  <a:lnTo>
                    <a:pt x="340615" y="23680"/>
                  </a:lnTo>
                  <a:lnTo>
                    <a:pt x="377044" y="65574"/>
                  </a:lnTo>
                  <a:lnTo>
                    <a:pt x="404366" y="76503"/>
                  </a:lnTo>
                  <a:lnTo>
                    <a:pt x="413473" y="71039"/>
                  </a:lnTo>
                  <a:lnTo>
                    <a:pt x="424402" y="65574"/>
                  </a:lnTo>
                  <a:lnTo>
                    <a:pt x="424402" y="67396"/>
                  </a:lnTo>
                  <a:lnTo>
                    <a:pt x="418938" y="80146"/>
                  </a:lnTo>
                  <a:lnTo>
                    <a:pt x="424402" y="94718"/>
                  </a:lnTo>
                  <a:lnTo>
                    <a:pt x="426223" y="94718"/>
                  </a:lnTo>
                  <a:lnTo>
                    <a:pt x="429866" y="91075"/>
                  </a:lnTo>
                  <a:lnTo>
                    <a:pt x="437152" y="91075"/>
                  </a:lnTo>
                  <a:lnTo>
                    <a:pt x="431688" y="96539"/>
                  </a:lnTo>
                  <a:lnTo>
                    <a:pt x="387973" y="112933"/>
                  </a:lnTo>
                  <a:lnTo>
                    <a:pt x="371580" y="140255"/>
                  </a:lnTo>
                  <a:lnTo>
                    <a:pt x="371580" y="143898"/>
                  </a:lnTo>
                  <a:lnTo>
                    <a:pt x="340615" y="123862"/>
                  </a:lnTo>
                  <a:lnTo>
                    <a:pt x="324222" y="127504"/>
                  </a:lnTo>
                  <a:lnTo>
                    <a:pt x="307828" y="123862"/>
                  </a:lnTo>
                  <a:lnTo>
                    <a:pt x="304185" y="127504"/>
                  </a:lnTo>
                  <a:lnTo>
                    <a:pt x="307828" y="132969"/>
                  </a:lnTo>
                  <a:lnTo>
                    <a:pt x="324222" y="143898"/>
                  </a:lnTo>
                  <a:lnTo>
                    <a:pt x="324222" y="145719"/>
                  </a:lnTo>
                  <a:lnTo>
                    <a:pt x="296900" y="156648"/>
                  </a:lnTo>
                  <a:lnTo>
                    <a:pt x="296900" y="140255"/>
                  </a:lnTo>
                  <a:lnTo>
                    <a:pt x="287792" y="132969"/>
                  </a:lnTo>
                  <a:lnTo>
                    <a:pt x="291435" y="122040"/>
                  </a:lnTo>
                  <a:lnTo>
                    <a:pt x="304185" y="107468"/>
                  </a:lnTo>
                  <a:lnTo>
                    <a:pt x="304185" y="96539"/>
                  </a:lnTo>
                  <a:lnTo>
                    <a:pt x="309650" y="96539"/>
                  </a:lnTo>
                  <a:lnTo>
                    <a:pt x="318757" y="100182"/>
                  </a:lnTo>
                  <a:lnTo>
                    <a:pt x="324222" y="100182"/>
                  </a:lnTo>
                  <a:lnTo>
                    <a:pt x="326043" y="91075"/>
                  </a:lnTo>
                  <a:lnTo>
                    <a:pt x="326043" y="83789"/>
                  </a:lnTo>
                  <a:lnTo>
                    <a:pt x="331507" y="72860"/>
                  </a:lnTo>
                  <a:lnTo>
                    <a:pt x="336972" y="49181"/>
                  </a:lnTo>
                  <a:lnTo>
                    <a:pt x="331507" y="32788"/>
                  </a:lnTo>
                  <a:lnTo>
                    <a:pt x="331507" y="29145"/>
                  </a:lnTo>
                  <a:lnTo>
                    <a:pt x="335150" y="29145"/>
                  </a:lnTo>
                  <a:close/>
                  <a:moveTo>
                    <a:pt x="504547" y="21858"/>
                  </a:moveTo>
                  <a:lnTo>
                    <a:pt x="508190" y="27323"/>
                  </a:lnTo>
                  <a:lnTo>
                    <a:pt x="460832" y="60109"/>
                  </a:lnTo>
                  <a:lnTo>
                    <a:pt x="482690" y="29144"/>
                  </a:lnTo>
                  <a:lnTo>
                    <a:pt x="491797" y="32787"/>
                  </a:lnTo>
                  <a:close/>
                  <a:moveTo>
                    <a:pt x="544620" y="0"/>
                  </a:moveTo>
                  <a:lnTo>
                    <a:pt x="522762" y="21858"/>
                  </a:lnTo>
                  <a:lnTo>
                    <a:pt x="533691" y="5464"/>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5" name="Japan - Mainland">
              <a:extLst>
                <a:ext uri="{FF2B5EF4-FFF2-40B4-BE49-F238E27FC236}">
                  <a16:creationId xmlns:a16="http://schemas.microsoft.com/office/drawing/2014/main" id="{8F5DDAE5-010C-487A-B994-D4EB221A530B}"/>
                </a:ext>
              </a:extLst>
            </p:cNvPr>
            <p:cNvSpPr>
              <a:spLocks noEditPoints="1"/>
            </p:cNvSpPr>
            <p:nvPr/>
          </p:nvSpPr>
          <p:spPr bwMode="auto">
            <a:xfrm>
              <a:off x="8917726" y="3515820"/>
              <a:ext cx="263831" cy="240340"/>
            </a:xfrm>
            <a:custGeom>
              <a:avLst/>
              <a:gdLst>
                <a:gd name="T0" fmla="*/ 112 w 146"/>
                <a:gd name="T1" fmla="*/ 103 h 133"/>
                <a:gd name="T2" fmla="*/ 117 w 146"/>
                <a:gd name="T3" fmla="*/ 97 h 133"/>
                <a:gd name="T4" fmla="*/ 137 w 146"/>
                <a:gd name="T5" fmla="*/ 2 h 133"/>
                <a:gd name="T6" fmla="*/ 138 w 146"/>
                <a:gd name="T7" fmla="*/ 14 h 133"/>
                <a:gd name="T8" fmla="*/ 144 w 146"/>
                <a:gd name="T9" fmla="*/ 41 h 133"/>
                <a:gd name="T10" fmla="*/ 138 w 146"/>
                <a:gd name="T11" fmla="*/ 56 h 133"/>
                <a:gd name="T12" fmla="*/ 129 w 146"/>
                <a:gd name="T13" fmla="*/ 59 h 133"/>
                <a:gd name="T14" fmla="*/ 132 w 146"/>
                <a:gd name="T15" fmla="*/ 77 h 133"/>
                <a:gd name="T16" fmla="*/ 131 w 146"/>
                <a:gd name="T17" fmla="*/ 97 h 133"/>
                <a:gd name="T18" fmla="*/ 125 w 146"/>
                <a:gd name="T19" fmla="*/ 105 h 133"/>
                <a:gd name="T20" fmla="*/ 109 w 146"/>
                <a:gd name="T21" fmla="*/ 109 h 133"/>
                <a:gd name="T22" fmla="*/ 107 w 146"/>
                <a:gd name="T23" fmla="*/ 109 h 133"/>
                <a:gd name="T24" fmla="*/ 101 w 146"/>
                <a:gd name="T25" fmla="*/ 114 h 133"/>
                <a:gd name="T26" fmla="*/ 98 w 146"/>
                <a:gd name="T27" fmla="*/ 108 h 133"/>
                <a:gd name="T28" fmla="*/ 95 w 146"/>
                <a:gd name="T29" fmla="*/ 117 h 133"/>
                <a:gd name="T30" fmla="*/ 76 w 146"/>
                <a:gd name="T31" fmla="*/ 112 h 133"/>
                <a:gd name="T32" fmla="*/ 74 w 146"/>
                <a:gd name="T33" fmla="*/ 112 h 133"/>
                <a:gd name="T34" fmla="*/ 79 w 146"/>
                <a:gd name="T35" fmla="*/ 120 h 133"/>
                <a:gd name="T36" fmla="*/ 67 w 146"/>
                <a:gd name="T37" fmla="*/ 131 h 133"/>
                <a:gd name="T38" fmla="*/ 58 w 146"/>
                <a:gd name="T39" fmla="*/ 131 h 133"/>
                <a:gd name="T40" fmla="*/ 51 w 146"/>
                <a:gd name="T41" fmla="*/ 123 h 133"/>
                <a:gd name="T42" fmla="*/ 58 w 146"/>
                <a:gd name="T43" fmla="*/ 115 h 133"/>
                <a:gd name="T44" fmla="*/ 54 w 146"/>
                <a:gd name="T45" fmla="*/ 115 h 133"/>
                <a:gd name="T46" fmla="*/ 49 w 146"/>
                <a:gd name="T47" fmla="*/ 112 h 133"/>
                <a:gd name="T48" fmla="*/ 40 w 146"/>
                <a:gd name="T49" fmla="*/ 118 h 133"/>
                <a:gd name="T50" fmla="*/ 36 w 146"/>
                <a:gd name="T51" fmla="*/ 117 h 133"/>
                <a:gd name="T52" fmla="*/ 23 w 146"/>
                <a:gd name="T53" fmla="*/ 121 h 133"/>
                <a:gd name="T54" fmla="*/ 18 w 146"/>
                <a:gd name="T55" fmla="*/ 127 h 133"/>
                <a:gd name="T56" fmla="*/ 0 w 146"/>
                <a:gd name="T57" fmla="*/ 123 h 133"/>
                <a:gd name="T58" fmla="*/ 8 w 146"/>
                <a:gd name="T59" fmla="*/ 117 h 133"/>
                <a:gd name="T60" fmla="*/ 23 w 146"/>
                <a:gd name="T61" fmla="*/ 97 h 133"/>
                <a:gd name="T62" fmla="*/ 28 w 146"/>
                <a:gd name="T63" fmla="*/ 94 h 133"/>
                <a:gd name="T64" fmla="*/ 30 w 146"/>
                <a:gd name="T65" fmla="*/ 99 h 133"/>
                <a:gd name="T66" fmla="*/ 55 w 146"/>
                <a:gd name="T67" fmla="*/ 96 h 133"/>
                <a:gd name="T68" fmla="*/ 66 w 146"/>
                <a:gd name="T69" fmla="*/ 97 h 133"/>
                <a:gd name="T70" fmla="*/ 67 w 146"/>
                <a:gd name="T71" fmla="*/ 84 h 133"/>
                <a:gd name="T72" fmla="*/ 74 w 146"/>
                <a:gd name="T73" fmla="*/ 71 h 133"/>
                <a:gd name="T74" fmla="*/ 83 w 146"/>
                <a:gd name="T75" fmla="*/ 66 h 133"/>
                <a:gd name="T76" fmla="*/ 85 w 146"/>
                <a:gd name="T77" fmla="*/ 69 h 133"/>
                <a:gd name="T78" fmla="*/ 80 w 146"/>
                <a:gd name="T79" fmla="*/ 72 h 133"/>
                <a:gd name="T80" fmla="*/ 98 w 146"/>
                <a:gd name="T81" fmla="*/ 71 h 133"/>
                <a:gd name="T82" fmla="*/ 103 w 146"/>
                <a:gd name="T83" fmla="*/ 60 h 133"/>
                <a:gd name="T84" fmla="*/ 119 w 146"/>
                <a:gd name="T85" fmla="*/ 32 h 133"/>
                <a:gd name="T86" fmla="*/ 114 w 146"/>
                <a:gd name="T87" fmla="*/ 29 h 133"/>
                <a:gd name="T88" fmla="*/ 117 w 146"/>
                <a:gd name="T89" fmla="*/ 25 h 133"/>
                <a:gd name="T90" fmla="*/ 120 w 146"/>
                <a:gd name="T91" fmla="*/ 13 h 133"/>
                <a:gd name="T92" fmla="*/ 132 w 146"/>
                <a:gd name="T9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33">
                  <a:moveTo>
                    <a:pt x="117" y="97"/>
                  </a:moveTo>
                  <a:lnTo>
                    <a:pt x="112" y="103"/>
                  </a:lnTo>
                  <a:lnTo>
                    <a:pt x="117" y="100"/>
                  </a:lnTo>
                  <a:lnTo>
                    <a:pt x="117" y="97"/>
                  </a:lnTo>
                  <a:close/>
                  <a:moveTo>
                    <a:pt x="132" y="0"/>
                  </a:moveTo>
                  <a:lnTo>
                    <a:pt x="137" y="2"/>
                  </a:lnTo>
                  <a:lnTo>
                    <a:pt x="138" y="2"/>
                  </a:lnTo>
                  <a:lnTo>
                    <a:pt x="138" y="14"/>
                  </a:lnTo>
                  <a:lnTo>
                    <a:pt x="146" y="31"/>
                  </a:lnTo>
                  <a:lnTo>
                    <a:pt x="144" y="41"/>
                  </a:lnTo>
                  <a:lnTo>
                    <a:pt x="138" y="47"/>
                  </a:lnTo>
                  <a:lnTo>
                    <a:pt x="138" y="56"/>
                  </a:lnTo>
                  <a:lnTo>
                    <a:pt x="135" y="53"/>
                  </a:lnTo>
                  <a:lnTo>
                    <a:pt x="129" y="59"/>
                  </a:lnTo>
                  <a:lnTo>
                    <a:pt x="132" y="65"/>
                  </a:lnTo>
                  <a:lnTo>
                    <a:pt x="132" y="77"/>
                  </a:lnTo>
                  <a:lnTo>
                    <a:pt x="126" y="86"/>
                  </a:lnTo>
                  <a:lnTo>
                    <a:pt x="131" y="97"/>
                  </a:lnTo>
                  <a:lnTo>
                    <a:pt x="125" y="100"/>
                  </a:lnTo>
                  <a:lnTo>
                    <a:pt x="125" y="105"/>
                  </a:lnTo>
                  <a:lnTo>
                    <a:pt x="119" y="109"/>
                  </a:lnTo>
                  <a:lnTo>
                    <a:pt x="109" y="109"/>
                  </a:lnTo>
                  <a:lnTo>
                    <a:pt x="109" y="106"/>
                  </a:lnTo>
                  <a:lnTo>
                    <a:pt x="107" y="109"/>
                  </a:lnTo>
                  <a:lnTo>
                    <a:pt x="103" y="114"/>
                  </a:lnTo>
                  <a:lnTo>
                    <a:pt x="101" y="114"/>
                  </a:lnTo>
                  <a:lnTo>
                    <a:pt x="103" y="108"/>
                  </a:lnTo>
                  <a:lnTo>
                    <a:pt x="98" y="108"/>
                  </a:lnTo>
                  <a:lnTo>
                    <a:pt x="95" y="115"/>
                  </a:lnTo>
                  <a:lnTo>
                    <a:pt x="95" y="117"/>
                  </a:lnTo>
                  <a:lnTo>
                    <a:pt x="83" y="112"/>
                  </a:lnTo>
                  <a:lnTo>
                    <a:pt x="76" y="112"/>
                  </a:lnTo>
                  <a:lnTo>
                    <a:pt x="76" y="109"/>
                  </a:lnTo>
                  <a:lnTo>
                    <a:pt x="74" y="112"/>
                  </a:lnTo>
                  <a:lnTo>
                    <a:pt x="79" y="118"/>
                  </a:lnTo>
                  <a:lnTo>
                    <a:pt x="79" y="120"/>
                  </a:lnTo>
                  <a:lnTo>
                    <a:pt x="70" y="121"/>
                  </a:lnTo>
                  <a:lnTo>
                    <a:pt x="67" y="131"/>
                  </a:lnTo>
                  <a:lnTo>
                    <a:pt x="67" y="133"/>
                  </a:lnTo>
                  <a:lnTo>
                    <a:pt x="58" y="131"/>
                  </a:lnTo>
                  <a:lnTo>
                    <a:pt x="52" y="124"/>
                  </a:lnTo>
                  <a:lnTo>
                    <a:pt x="51" y="123"/>
                  </a:lnTo>
                  <a:lnTo>
                    <a:pt x="52" y="123"/>
                  </a:lnTo>
                  <a:lnTo>
                    <a:pt x="58" y="115"/>
                  </a:lnTo>
                  <a:lnTo>
                    <a:pt x="58" y="112"/>
                  </a:lnTo>
                  <a:lnTo>
                    <a:pt x="54" y="115"/>
                  </a:lnTo>
                  <a:lnTo>
                    <a:pt x="52" y="115"/>
                  </a:lnTo>
                  <a:lnTo>
                    <a:pt x="49" y="112"/>
                  </a:lnTo>
                  <a:lnTo>
                    <a:pt x="46" y="112"/>
                  </a:lnTo>
                  <a:lnTo>
                    <a:pt x="40" y="118"/>
                  </a:lnTo>
                  <a:lnTo>
                    <a:pt x="39" y="118"/>
                  </a:lnTo>
                  <a:lnTo>
                    <a:pt x="36" y="117"/>
                  </a:lnTo>
                  <a:lnTo>
                    <a:pt x="23" y="123"/>
                  </a:lnTo>
                  <a:lnTo>
                    <a:pt x="23" y="121"/>
                  </a:lnTo>
                  <a:lnTo>
                    <a:pt x="20" y="120"/>
                  </a:lnTo>
                  <a:lnTo>
                    <a:pt x="18" y="127"/>
                  </a:lnTo>
                  <a:lnTo>
                    <a:pt x="17" y="127"/>
                  </a:lnTo>
                  <a:lnTo>
                    <a:pt x="0" y="123"/>
                  </a:lnTo>
                  <a:lnTo>
                    <a:pt x="0" y="117"/>
                  </a:lnTo>
                  <a:lnTo>
                    <a:pt x="8" y="117"/>
                  </a:lnTo>
                  <a:lnTo>
                    <a:pt x="23" y="102"/>
                  </a:lnTo>
                  <a:lnTo>
                    <a:pt x="23" y="97"/>
                  </a:lnTo>
                  <a:lnTo>
                    <a:pt x="24" y="97"/>
                  </a:lnTo>
                  <a:lnTo>
                    <a:pt x="28" y="94"/>
                  </a:lnTo>
                  <a:lnTo>
                    <a:pt x="30" y="94"/>
                  </a:lnTo>
                  <a:lnTo>
                    <a:pt x="30" y="99"/>
                  </a:lnTo>
                  <a:lnTo>
                    <a:pt x="42" y="96"/>
                  </a:lnTo>
                  <a:lnTo>
                    <a:pt x="55" y="96"/>
                  </a:lnTo>
                  <a:lnTo>
                    <a:pt x="61" y="102"/>
                  </a:lnTo>
                  <a:lnTo>
                    <a:pt x="66" y="97"/>
                  </a:lnTo>
                  <a:lnTo>
                    <a:pt x="66" y="84"/>
                  </a:lnTo>
                  <a:lnTo>
                    <a:pt x="67" y="84"/>
                  </a:lnTo>
                  <a:lnTo>
                    <a:pt x="74" y="83"/>
                  </a:lnTo>
                  <a:lnTo>
                    <a:pt x="74" y="71"/>
                  </a:lnTo>
                  <a:lnTo>
                    <a:pt x="76" y="71"/>
                  </a:lnTo>
                  <a:lnTo>
                    <a:pt x="83" y="66"/>
                  </a:lnTo>
                  <a:lnTo>
                    <a:pt x="85" y="66"/>
                  </a:lnTo>
                  <a:lnTo>
                    <a:pt x="85" y="69"/>
                  </a:lnTo>
                  <a:lnTo>
                    <a:pt x="83" y="71"/>
                  </a:lnTo>
                  <a:lnTo>
                    <a:pt x="80" y="72"/>
                  </a:lnTo>
                  <a:lnTo>
                    <a:pt x="80" y="78"/>
                  </a:lnTo>
                  <a:lnTo>
                    <a:pt x="98" y="71"/>
                  </a:lnTo>
                  <a:lnTo>
                    <a:pt x="103" y="62"/>
                  </a:lnTo>
                  <a:lnTo>
                    <a:pt x="103" y="60"/>
                  </a:lnTo>
                  <a:lnTo>
                    <a:pt x="110" y="57"/>
                  </a:lnTo>
                  <a:lnTo>
                    <a:pt x="119" y="32"/>
                  </a:lnTo>
                  <a:lnTo>
                    <a:pt x="116" y="29"/>
                  </a:lnTo>
                  <a:lnTo>
                    <a:pt x="114" y="29"/>
                  </a:lnTo>
                  <a:lnTo>
                    <a:pt x="114" y="25"/>
                  </a:lnTo>
                  <a:lnTo>
                    <a:pt x="117" y="25"/>
                  </a:lnTo>
                  <a:lnTo>
                    <a:pt x="117" y="13"/>
                  </a:lnTo>
                  <a:lnTo>
                    <a:pt x="120" y="13"/>
                  </a:lnTo>
                  <a:lnTo>
                    <a:pt x="122" y="4"/>
                  </a:lnTo>
                  <a:lnTo>
                    <a:pt x="13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6" name="Korea - South">
              <a:extLst>
                <a:ext uri="{FF2B5EF4-FFF2-40B4-BE49-F238E27FC236}">
                  <a16:creationId xmlns:a16="http://schemas.microsoft.com/office/drawing/2014/main" id="{912B13A6-E1BF-95ED-7D87-B697077D6DFD}"/>
                </a:ext>
              </a:extLst>
            </p:cNvPr>
            <p:cNvSpPr>
              <a:spLocks/>
            </p:cNvSpPr>
            <p:nvPr/>
          </p:nvSpPr>
          <p:spPr bwMode="auto">
            <a:xfrm>
              <a:off x="8800267" y="3606172"/>
              <a:ext cx="86739" cy="157215"/>
            </a:xfrm>
            <a:custGeom>
              <a:avLst/>
              <a:gdLst/>
              <a:ahLst/>
              <a:cxnLst/>
              <a:rect l="l" t="t" r="r" b="b"/>
              <a:pathLst>
                <a:path w="87430" h="158468">
                  <a:moveTo>
                    <a:pt x="5465" y="151182"/>
                  </a:moveTo>
                  <a:lnTo>
                    <a:pt x="21858" y="151182"/>
                  </a:lnTo>
                  <a:lnTo>
                    <a:pt x="21858" y="153004"/>
                  </a:lnTo>
                  <a:lnTo>
                    <a:pt x="10929" y="158468"/>
                  </a:lnTo>
                  <a:lnTo>
                    <a:pt x="3643" y="158468"/>
                  </a:lnTo>
                  <a:lnTo>
                    <a:pt x="3643" y="156647"/>
                  </a:lnTo>
                  <a:close/>
                  <a:moveTo>
                    <a:pt x="56465" y="0"/>
                  </a:moveTo>
                  <a:lnTo>
                    <a:pt x="78323" y="32787"/>
                  </a:lnTo>
                  <a:lnTo>
                    <a:pt x="87430" y="74680"/>
                  </a:lnTo>
                  <a:lnTo>
                    <a:pt x="78323" y="96538"/>
                  </a:lnTo>
                  <a:lnTo>
                    <a:pt x="71037" y="102002"/>
                  </a:lnTo>
                  <a:lnTo>
                    <a:pt x="71037" y="105645"/>
                  </a:lnTo>
                  <a:lnTo>
                    <a:pt x="67394" y="105645"/>
                  </a:lnTo>
                  <a:lnTo>
                    <a:pt x="60108" y="102002"/>
                  </a:lnTo>
                  <a:lnTo>
                    <a:pt x="54644" y="111110"/>
                  </a:lnTo>
                  <a:lnTo>
                    <a:pt x="45537" y="107467"/>
                  </a:lnTo>
                  <a:lnTo>
                    <a:pt x="38251" y="116574"/>
                  </a:lnTo>
                  <a:lnTo>
                    <a:pt x="34608" y="116574"/>
                  </a:lnTo>
                  <a:lnTo>
                    <a:pt x="32786" y="112931"/>
                  </a:lnTo>
                  <a:lnTo>
                    <a:pt x="32786" y="118396"/>
                  </a:lnTo>
                  <a:lnTo>
                    <a:pt x="29144" y="122039"/>
                  </a:lnTo>
                  <a:lnTo>
                    <a:pt x="27322" y="118396"/>
                  </a:lnTo>
                  <a:lnTo>
                    <a:pt x="27322" y="116574"/>
                  </a:lnTo>
                  <a:lnTo>
                    <a:pt x="21858" y="122039"/>
                  </a:lnTo>
                  <a:lnTo>
                    <a:pt x="16393" y="122039"/>
                  </a:lnTo>
                  <a:lnTo>
                    <a:pt x="10929" y="123860"/>
                  </a:lnTo>
                  <a:lnTo>
                    <a:pt x="3643" y="123860"/>
                  </a:lnTo>
                  <a:lnTo>
                    <a:pt x="5465" y="112931"/>
                  </a:lnTo>
                  <a:lnTo>
                    <a:pt x="10929" y="116574"/>
                  </a:lnTo>
                  <a:lnTo>
                    <a:pt x="10929" y="111110"/>
                  </a:lnTo>
                  <a:lnTo>
                    <a:pt x="5465" y="111110"/>
                  </a:lnTo>
                  <a:lnTo>
                    <a:pt x="5465" y="107467"/>
                  </a:lnTo>
                  <a:lnTo>
                    <a:pt x="16393" y="80145"/>
                  </a:lnTo>
                  <a:lnTo>
                    <a:pt x="10929" y="60109"/>
                  </a:lnTo>
                  <a:lnTo>
                    <a:pt x="9108" y="65573"/>
                  </a:lnTo>
                  <a:lnTo>
                    <a:pt x="5465" y="65573"/>
                  </a:lnTo>
                  <a:lnTo>
                    <a:pt x="5465" y="61930"/>
                  </a:lnTo>
                  <a:lnTo>
                    <a:pt x="0" y="54644"/>
                  </a:lnTo>
                  <a:lnTo>
                    <a:pt x="3643" y="54644"/>
                  </a:lnTo>
                  <a:lnTo>
                    <a:pt x="16393" y="45537"/>
                  </a:lnTo>
                  <a:lnTo>
                    <a:pt x="16393" y="49180"/>
                  </a:lnTo>
                  <a:lnTo>
                    <a:pt x="18215" y="49180"/>
                  </a:lnTo>
                  <a:lnTo>
                    <a:pt x="10929" y="27322"/>
                  </a:lnTo>
                  <a:lnTo>
                    <a:pt x="10929" y="23679"/>
                  </a:lnTo>
                  <a:lnTo>
                    <a:pt x="27322" y="10929"/>
                  </a:lnTo>
                  <a:lnTo>
                    <a:pt x="43715" y="10929"/>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7" name="Korea - North">
              <a:extLst>
                <a:ext uri="{FF2B5EF4-FFF2-40B4-BE49-F238E27FC236}">
                  <a16:creationId xmlns:a16="http://schemas.microsoft.com/office/drawing/2014/main" id="{CB5E7259-CD89-E169-1659-09BD3C367AA0}"/>
                </a:ext>
              </a:extLst>
            </p:cNvPr>
            <p:cNvSpPr>
              <a:spLocks/>
            </p:cNvSpPr>
            <p:nvPr/>
          </p:nvSpPr>
          <p:spPr bwMode="auto">
            <a:xfrm>
              <a:off x="8760512" y="3468835"/>
              <a:ext cx="149986" cy="164443"/>
            </a:xfrm>
            <a:custGeom>
              <a:avLst/>
              <a:gdLst>
                <a:gd name="T0" fmla="*/ 74 w 83"/>
                <a:gd name="T1" fmla="*/ 0 h 91"/>
                <a:gd name="T2" fmla="*/ 75 w 83"/>
                <a:gd name="T3" fmla="*/ 0 h 91"/>
                <a:gd name="T4" fmla="*/ 81 w 83"/>
                <a:gd name="T5" fmla="*/ 6 h 91"/>
                <a:gd name="T6" fmla="*/ 83 w 83"/>
                <a:gd name="T7" fmla="*/ 11 h 91"/>
                <a:gd name="T8" fmla="*/ 71 w 83"/>
                <a:gd name="T9" fmla="*/ 24 h 91"/>
                <a:gd name="T10" fmla="*/ 71 w 83"/>
                <a:gd name="T11" fmla="*/ 37 h 91"/>
                <a:gd name="T12" fmla="*/ 53 w 83"/>
                <a:gd name="T13" fmla="*/ 51 h 91"/>
                <a:gd name="T14" fmla="*/ 41 w 83"/>
                <a:gd name="T15" fmla="*/ 57 h 91"/>
                <a:gd name="T16" fmla="*/ 41 w 83"/>
                <a:gd name="T17" fmla="*/ 66 h 91"/>
                <a:gd name="T18" fmla="*/ 53 w 83"/>
                <a:gd name="T19" fmla="*/ 76 h 91"/>
                <a:gd name="T20" fmla="*/ 53 w 83"/>
                <a:gd name="T21" fmla="*/ 77 h 91"/>
                <a:gd name="T22" fmla="*/ 46 w 83"/>
                <a:gd name="T23" fmla="*/ 83 h 91"/>
                <a:gd name="T24" fmla="*/ 37 w 83"/>
                <a:gd name="T25" fmla="*/ 83 h 91"/>
                <a:gd name="T26" fmla="*/ 30 w 83"/>
                <a:gd name="T27" fmla="*/ 91 h 91"/>
                <a:gd name="T28" fmla="*/ 28 w 83"/>
                <a:gd name="T29" fmla="*/ 91 h 91"/>
                <a:gd name="T30" fmla="*/ 18 w 83"/>
                <a:gd name="T31" fmla="*/ 86 h 91"/>
                <a:gd name="T32" fmla="*/ 18 w 83"/>
                <a:gd name="T33" fmla="*/ 89 h 91"/>
                <a:gd name="T34" fmla="*/ 16 w 83"/>
                <a:gd name="T35" fmla="*/ 89 h 91"/>
                <a:gd name="T36" fmla="*/ 12 w 83"/>
                <a:gd name="T37" fmla="*/ 91 h 91"/>
                <a:gd name="T38" fmla="*/ 9 w 83"/>
                <a:gd name="T39" fmla="*/ 86 h 91"/>
                <a:gd name="T40" fmla="*/ 10 w 83"/>
                <a:gd name="T41" fmla="*/ 85 h 91"/>
                <a:gd name="T42" fmla="*/ 4 w 83"/>
                <a:gd name="T43" fmla="*/ 85 h 91"/>
                <a:gd name="T44" fmla="*/ 9 w 83"/>
                <a:gd name="T45" fmla="*/ 77 h 91"/>
                <a:gd name="T46" fmla="*/ 13 w 83"/>
                <a:gd name="T47" fmla="*/ 74 h 91"/>
                <a:gd name="T48" fmla="*/ 12 w 83"/>
                <a:gd name="T49" fmla="*/ 73 h 91"/>
                <a:gd name="T50" fmla="*/ 10 w 83"/>
                <a:gd name="T51" fmla="*/ 73 h 91"/>
                <a:gd name="T52" fmla="*/ 13 w 83"/>
                <a:gd name="T53" fmla="*/ 61 h 91"/>
                <a:gd name="T54" fmla="*/ 4 w 83"/>
                <a:gd name="T55" fmla="*/ 60 h 91"/>
                <a:gd name="T56" fmla="*/ 3 w 83"/>
                <a:gd name="T57" fmla="*/ 60 h 91"/>
                <a:gd name="T58" fmla="*/ 0 w 83"/>
                <a:gd name="T59" fmla="*/ 54 h 91"/>
                <a:gd name="T60" fmla="*/ 7 w 83"/>
                <a:gd name="T61" fmla="*/ 43 h 91"/>
                <a:gd name="T62" fmla="*/ 19 w 83"/>
                <a:gd name="T63" fmla="*/ 37 h 91"/>
                <a:gd name="T64" fmla="*/ 32 w 83"/>
                <a:gd name="T65" fmla="*/ 24 h 91"/>
                <a:gd name="T66" fmla="*/ 34 w 83"/>
                <a:gd name="T67" fmla="*/ 24 h 91"/>
                <a:gd name="T68" fmla="*/ 41 w 83"/>
                <a:gd name="T69" fmla="*/ 28 h 91"/>
                <a:gd name="T70" fmla="*/ 50 w 83"/>
                <a:gd name="T71" fmla="*/ 27 h 91"/>
                <a:gd name="T72" fmla="*/ 50 w 83"/>
                <a:gd name="T73" fmla="*/ 17 h 91"/>
                <a:gd name="T74" fmla="*/ 61 w 83"/>
                <a:gd name="T75" fmla="*/ 17 h 91"/>
                <a:gd name="T76" fmla="*/ 68 w 83"/>
                <a:gd name="T77" fmla="*/ 11 h 91"/>
                <a:gd name="T78" fmla="*/ 74 w 83"/>
                <a:gd name="T7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3" h="91">
                  <a:moveTo>
                    <a:pt x="74" y="0"/>
                  </a:moveTo>
                  <a:lnTo>
                    <a:pt x="75" y="0"/>
                  </a:lnTo>
                  <a:lnTo>
                    <a:pt x="81" y="6"/>
                  </a:lnTo>
                  <a:lnTo>
                    <a:pt x="83" y="11"/>
                  </a:lnTo>
                  <a:lnTo>
                    <a:pt x="71" y="24"/>
                  </a:lnTo>
                  <a:lnTo>
                    <a:pt x="71" y="37"/>
                  </a:lnTo>
                  <a:lnTo>
                    <a:pt x="53" y="51"/>
                  </a:lnTo>
                  <a:lnTo>
                    <a:pt x="41" y="57"/>
                  </a:lnTo>
                  <a:lnTo>
                    <a:pt x="41" y="66"/>
                  </a:lnTo>
                  <a:lnTo>
                    <a:pt x="53" y="76"/>
                  </a:lnTo>
                  <a:lnTo>
                    <a:pt x="53" y="77"/>
                  </a:lnTo>
                  <a:lnTo>
                    <a:pt x="46" y="83"/>
                  </a:lnTo>
                  <a:lnTo>
                    <a:pt x="37" y="83"/>
                  </a:lnTo>
                  <a:lnTo>
                    <a:pt x="30" y="91"/>
                  </a:lnTo>
                  <a:lnTo>
                    <a:pt x="28" y="91"/>
                  </a:lnTo>
                  <a:lnTo>
                    <a:pt x="18" y="86"/>
                  </a:lnTo>
                  <a:lnTo>
                    <a:pt x="18" y="89"/>
                  </a:lnTo>
                  <a:lnTo>
                    <a:pt x="16" y="89"/>
                  </a:lnTo>
                  <a:lnTo>
                    <a:pt x="12" y="91"/>
                  </a:lnTo>
                  <a:lnTo>
                    <a:pt x="9" y="86"/>
                  </a:lnTo>
                  <a:lnTo>
                    <a:pt x="10" y="85"/>
                  </a:lnTo>
                  <a:lnTo>
                    <a:pt x="4" y="85"/>
                  </a:lnTo>
                  <a:lnTo>
                    <a:pt x="9" y="77"/>
                  </a:lnTo>
                  <a:lnTo>
                    <a:pt x="13" y="74"/>
                  </a:lnTo>
                  <a:lnTo>
                    <a:pt x="12" y="73"/>
                  </a:lnTo>
                  <a:lnTo>
                    <a:pt x="10" y="73"/>
                  </a:lnTo>
                  <a:lnTo>
                    <a:pt x="13" y="61"/>
                  </a:lnTo>
                  <a:lnTo>
                    <a:pt x="4" y="60"/>
                  </a:lnTo>
                  <a:lnTo>
                    <a:pt x="3" y="60"/>
                  </a:lnTo>
                  <a:lnTo>
                    <a:pt x="0" y="54"/>
                  </a:lnTo>
                  <a:lnTo>
                    <a:pt x="7" y="43"/>
                  </a:lnTo>
                  <a:lnTo>
                    <a:pt x="19" y="37"/>
                  </a:lnTo>
                  <a:lnTo>
                    <a:pt x="32" y="24"/>
                  </a:lnTo>
                  <a:lnTo>
                    <a:pt x="34" y="24"/>
                  </a:lnTo>
                  <a:lnTo>
                    <a:pt x="41" y="28"/>
                  </a:lnTo>
                  <a:lnTo>
                    <a:pt x="50" y="27"/>
                  </a:lnTo>
                  <a:lnTo>
                    <a:pt x="50" y="17"/>
                  </a:lnTo>
                  <a:lnTo>
                    <a:pt x="61" y="17"/>
                  </a:lnTo>
                  <a:lnTo>
                    <a:pt x="68" y="11"/>
                  </a:lnTo>
                  <a:lnTo>
                    <a:pt x="7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8" name="Russia - Offshore">
              <a:extLst>
                <a:ext uri="{FF2B5EF4-FFF2-40B4-BE49-F238E27FC236}">
                  <a16:creationId xmlns:a16="http://schemas.microsoft.com/office/drawing/2014/main" id="{F2D36EC9-879D-D797-B32A-1E020BA614A1}"/>
                </a:ext>
              </a:extLst>
            </p:cNvPr>
            <p:cNvSpPr>
              <a:spLocks/>
            </p:cNvSpPr>
            <p:nvPr/>
          </p:nvSpPr>
          <p:spPr bwMode="auto">
            <a:xfrm>
              <a:off x="6962485" y="1109715"/>
              <a:ext cx="3371978" cy="2259732"/>
            </a:xfrm>
            <a:custGeom>
              <a:avLst/>
              <a:gdLst/>
              <a:ahLst/>
              <a:cxnLst/>
              <a:rect l="l" t="t" r="r" b="b"/>
              <a:pathLst>
                <a:path w="3398859" h="2277745">
                  <a:moveTo>
                    <a:pt x="2568269" y="2108349"/>
                  </a:moveTo>
                  <a:lnTo>
                    <a:pt x="2568269" y="2117457"/>
                  </a:lnTo>
                  <a:lnTo>
                    <a:pt x="2564626" y="2121100"/>
                  </a:lnTo>
                  <a:lnTo>
                    <a:pt x="2550054" y="2132029"/>
                  </a:lnTo>
                  <a:lnTo>
                    <a:pt x="2550054" y="2124743"/>
                  </a:lnTo>
                  <a:close/>
                  <a:moveTo>
                    <a:pt x="3172996" y="2062812"/>
                  </a:moveTo>
                  <a:lnTo>
                    <a:pt x="3178461" y="2062812"/>
                  </a:lnTo>
                  <a:lnTo>
                    <a:pt x="3180282" y="2064634"/>
                  </a:lnTo>
                  <a:lnTo>
                    <a:pt x="3189390" y="2064634"/>
                  </a:lnTo>
                  <a:lnTo>
                    <a:pt x="3186111" y="2070098"/>
                  </a:lnTo>
                  <a:lnTo>
                    <a:pt x="3189390" y="2070098"/>
                  </a:lnTo>
                  <a:lnTo>
                    <a:pt x="3200319" y="2062812"/>
                  </a:lnTo>
                  <a:lnTo>
                    <a:pt x="3202141" y="2062812"/>
                  </a:lnTo>
                  <a:lnTo>
                    <a:pt x="3202141" y="2064634"/>
                  </a:lnTo>
                  <a:lnTo>
                    <a:pt x="3200319" y="2070098"/>
                  </a:lnTo>
                  <a:lnTo>
                    <a:pt x="3189390" y="2073741"/>
                  </a:lnTo>
                  <a:lnTo>
                    <a:pt x="3185747" y="2073741"/>
                  </a:lnTo>
                  <a:lnTo>
                    <a:pt x="3185747" y="2070705"/>
                  </a:lnTo>
                  <a:lnTo>
                    <a:pt x="3183925" y="2073742"/>
                  </a:lnTo>
                  <a:lnTo>
                    <a:pt x="3183925" y="2075563"/>
                  </a:lnTo>
                  <a:lnTo>
                    <a:pt x="3180282" y="2075563"/>
                  </a:lnTo>
                  <a:lnTo>
                    <a:pt x="3172996" y="2064634"/>
                  </a:lnTo>
                  <a:close/>
                  <a:moveTo>
                    <a:pt x="3211247" y="2059169"/>
                  </a:moveTo>
                  <a:lnTo>
                    <a:pt x="3213068" y="2059169"/>
                  </a:lnTo>
                  <a:lnTo>
                    <a:pt x="3218533" y="2068277"/>
                  </a:lnTo>
                  <a:lnTo>
                    <a:pt x="3218533" y="2070098"/>
                  </a:lnTo>
                  <a:lnTo>
                    <a:pt x="3211247" y="2075563"/>
                  </a:lnTo>
                  <a:lnTo>
                    <a:pt x="3207604" y="2075563"/>
                  </a:lnTo>
                  <a:lnTo>
                    <a:pt x="3207604" y="2073742"/>
                  </a:lnTo>
                  <a:lnTo>
                    <a:pt x="3205782" y="2070098"/>
                  </a:lnTo>
                  <a:lnTo>
                    <a:pt x="3205782" y="2068277"/>
                  </a:lnTo>
                  <a:close/>
                  <a:moveTo>
                    <a:pt x="3121995" y="2057348"/>
                  </a:moveTo>
                  <a:lnTo>
                    <a:pt x="3123817" y="2057348"/>
                  </a:lnTo>
                  <a:lnTo>
                    <a:pt x="3123817" y="2059170"/>
                  </a:lnTo>
                  <a:lnTo>
                    <a:pt x="3127460" y="2059170"/>
                  </a:lnTo>
                  <a:lnTo>
                    <a:pt x="3127460" y="2062813"/>
                  </a:lnTo>
                  <a:lnTo>
                    <a:pt x="3123817" y="2062813"/>
                  </a:lnTo>
                  <a:lnTo>
                    <a:pt x="3123817" y="2064634"/>
                  </a:lnTo>
                  <a:lnTo>
                    <a:pt x="3121995" y="2064634"/>
                  </a:lnTo>
                  <a:close/>
                  <a:moveTo>
                    <a:pt x="3072816" y="2053705"/>
                  </a:moveTo>
                  <a:lnTo>
                    <a:pt x="3076458" y="2053705"/>
                  </a:lnTo>
                  <a:lnTo>
                    <a:pt x="3078280" y="2062813"/>
                  </a:lnTo>
                  <a:lnTo>
                    <a:pt x="3067351" y="2068277"/>
                  </a:lnTo>
                  <a:lnTo>
                    <a:pt x="3067351" y="2064634"/>
                  </a:lnTo>
                  <a:close/>
                  <a:moveTo>
                    <a:pt x="3307785" y="2042776"/>
                  </a:moveTo>
                  <a:lnTo>
                    <a:pt x="3311428" y="2042776"/>
                  </a:lnTo>
                  <a:lnTo>
                    <a:pt x="3316893" y="2046419"/>
                  </a:lnTo>
                  <a:lnTo>
                    <a:pt x="3316893" y="2048241"/>
                  </a:lnTo>
                  <a:lnTo>
                    <a:pt x="3307785" y="2048241"/>
                  </a:lnTo>
                  <a:close/>
                  <a:moveTo>
                    <a:pt x="3267713" y="2042776"/>
                  </a:moveTo>
                  <a:lnTo>
                    <a:pt x="3269534" y="2042776"/>
                  </a:lnTo>
                  <a:lnTo>
                    <a:pt x="3274999" y="2048241"/>
                  </a:lnTo>
                  <a:lnTo>
                    <a:pt x="3274999" y="2051884"/>
                  </a:lnTo>
                  <a:lnTo>
                    <a:pt x="3258605" y="2057348"/>
                  </a:lnTo>
                  <a:lnTo>
                    <a:pt x="3267713" y="2046419"/>
                  </a:lnTo>
                  <a:close/>
                  <a:moveTo>
                    <a:pt x="2950777" y="2022740"/>
                  </a:moveTo>
                  <a:lnTo>
                    <a:pt x="2959884" y="2022740"/>
                  </a:lnTo>
                  <a:lnTo>
                    <a:pt x="2967170" y="2024562"/>
                  </a:lnTo>
                  <a:lnTo>
                    <a:pt x="2972635" y="2024562"/>
                  </a:lnTo>
                  <a:lnTo>
                    <a:pt x="2972635" y="2028205"/>
                  </a:lnTo>
                  <a:lnTo>
                    <a:pt x="2965349" y="2030026"/>
                  </a:lnTo>
                  <a:lnTo>
                    <a:pt x="2965349" y="2033669"/>
                  </a:lnTo>
                  <a:lnTo>
                    <a:pt x="2961706" y="2033669"/>
                  </a:lnTo>
                  <a:lnTo>
                    <a:pt x="2950777" y="2024562"/>
                  </a:lnTo>
                  <a:close/>
                  <a:moveTo>
                    <a:pt x="3397037" y="2011811"/>
                  </a:moveTo>
                  <a:lnTo>
                    <a:pt x="3398859" y="2011811"/>
                  </a:lnTo>
                  <a:lnTo>
                    <a:pt x="3398859" y="2024562"/>
                  </a:lnTo>
                  <a:lnTo>
                    <a:pt x="3389751" y="2030026"/>
                  </a:lnTo>
                  <a:lnTo>
                    <a:pt x="3386108" y="2030026"/>
                  </a:lnTo>
                  <a:lnTo>
                    <a:pt x="3389751" y="2028205"/>
                  </a:lnTo>
                  <a:lnTo>
                    <a:pt x="3397037" y="2013633"/>
                  </a:lnTo>
                  <a:close/>
                  <a:moveTo>
                    <a:pt x="2247691" y="1968096"/>
                  </a:moveTo>
                  <a:lnTo>
                    <a:pt x="2254977" y="1975382"/>
                  </a:lnTo>
                  <a:lnTo>
                    <a:pt x="2265906" y="2028204"/>
                  </a:lnTo>
                  <a:lnTo>
                    <a:pt x="2260441" y="2048241"/>
                  </a:lnTo>
                  <a:lnTo>
                    <a:pt x="2262263" y="2075563"/>
                  </a:lnTo>
                  <a:lnTo>
                    <a:pt x="2287763" y="2157528"/>
                  </a:lnTo>
                  <a:lnTo>
                    <a:pt x="2298692" y="2181208"/>
                  </a:lnTo>
                  <a:lnTo>
                    <a:pt x="2276835" y="2159350"/>
                  </a:lnTo>
                  <a:lnTo>
                    <a:pt x="2256798" y="2164814"/>
                  </a:lnTo>
                  <a:lnTo>
                    <a:pt x="2247691" y="2221280"/>
                  </a:lnTo>
                  <a:lnTo>
                    <a:pt x="2260441" y="2246780"/>
                  </a:lnTo>
                  <a:lnTo>
                    <a:pt x="2267727" y="2252245"/>
                  </a:lnTo>
                  <a:lnTo>
                    <a:pt x="2271370" y="2270459"/>
                  </a:lnTo>
                  <a:lnTo>
                    <a:pt x="2267727" y="2275924"/>
                  </a:lnTo>
                  <a:lnTo>
                    <a:pt x="2265906" y="2257709"/>
                  </a:lnTo>
                  <a:lnTo>
                    <a:pt x="2247691" y="2254066"/>
                  </a:lnTo>
                  <a:lnTo>
                    <a:pt x="2236762" y="2277745"/>
                  </a:lnTo>
                  <a:lnTo>
                    <a:pt x="2233119" y="2275924"/>
                  </a:lnTo>
                  <a:lnTo>
                    <a:pt x="2231298" y="2254066"/>
                  </a:lnTo>
                  <a:lnTo>
                    <a:pt x="2238584" y="2204887"/>
                  </a:lnTo>
                  <a:lnTo>
                    <a:pt x="2231298" y="2181208"/>
                  </a:lnTo>
                  <a:lnTo>
                    <a:pt x="2238584" y="2135671"/>
                  </a:lnTo>
                  <a:lnTo>
                    <a:pt x="2236762" y="2108349"/>
                  </a:lnTo>
                  <a:lnTo>
                    <a:pt x="2236762" y="2090134"/>
                  </a:lnTo>
                  <a:lnTo>
                    <a:pt x="2225833" y="2070098"/>
                  </a:lnTo>
                  <a:lnTo>
                    <a:pt x="2225833" y="2046419"/>
                  </a:lnTo>
                  <a:lnTo>
                    <a:pt x="2231298" y="2000882"/>
                  </a:lnTo>
                  <a:lnTo>
                    <a:pt x="2244048" y="2002704"/>
                  </a:lnTo>
                  <a:lnTo>
                    <a:pt x="2249512" y="1991775"/>
                  </a:lnTo>
                  <a:lnTo>
                    <a:pt x="2242227" y="1969918"/>
                  </a:lnTo>
                  <a:close/>
                  <a:moveTo>
                    <a:pt x="2127474" y="1929845"/>
                  </a:moveTo>
                  <a:lnTo>
                    <a:pt x="2142046" y="1938953"/>
                  </a:lnTo>
                  <a:lnTo>
                    <a:pt x="2131117" y="1957168"/>
                  </a:lnTo>
                  <a:lnTo>
                    <a:pt x="2127474" y="1957168"/>
                  </a:lnTo>
                  <a:lnTo>
                    <a:pt x="2120188" y="1955347"/>
                  </a:lnTo>
                  <a:lnTo>
                    <a:pt x="2120188" y="1949882"/>
                  </a:lnTo>
                  <a:lnTo>
                    <a:pt x="2127474" y="1933488"/>
                  </a:lnTo>
                  <a:close/>
                  <a:moveTo>
                    <a:pt x="2803240" y="1928023"/>
                  </a:moveTo>
                  <a:lnTo>
                    <a:pt x="2808704" y="1928023"/>
                  </a:lnTo>
                  <a:lnTo>
                    <a:pt x="2815990" y="1951703"/>
                  </a:lnTo>
                  <a:lnTo>
                    <a:pt x="2808704" y="1946239"/>
                  </a:lnTo>
                  <a:lnTo>
                    <a:pt x="2797775" y="1929845"/>
                  </a:lnTo>
                  <a:close/>
                  <a:moveTo>
                    <a:pt x="2763168" y="1756806"/>
                  </a:moveTo>
                  <a:lnTo>
                    <a:pt x="2768632" y="1767735"/>
                  </a:lnTo>
                  <a:lnTo>
                    <a:pt x="2737666" y="1793235"/>
                  </a:lnTo>
                  <a:lnTo>
                    <a:pt x="2748595" y="1767735"/>
                  </a:lnTo>
                  <a:lnTo>
                    <a:pt x="2746774" y="1767735"/>
                  </a:lnTo>
                  <a:close/>
                  <a:moveTo>
                    <a:pt x="3329642" y="1527301"/>
                  </a:moveTo>
                  <a:lnTo>
                    <a:pt x="3351500" y="1536409"/>
                  </a:lnTo>
                  <a:lnTo>
                    <a:pt x="3364250" y="1532766"/>
                  </a:lnTo>
                  <a:lnTo>
                    <a:pt x="3367893" y="1532766"/>
                  </a:lnTo>
                  <a:lnTo>
                    <a:pt x="3386108" y="1549159"/>
                  </a:lnTo>
                  <a:lnTo>
                    <a:pt x="3398858" y="1552802"/>
                  </a:lnTo>
                  <a:lnTo>
                    <a:pt x="3398858" y="1558266"/>
                  </a:lnTo>
                  <a:lnTo>
                    <a:pt x="3378822" y="1569195"/>
                  </a:lnTo>
                  <a:lnTo>
                    <a:pt x="3325999" y="1543694"/>
                  </a:lnTo>
                  <a:close/>
                  <a:moveTo>
                    <a:pt x="25500" y="1184865"/>
                  </a:moveTo>
                  <a:lnTo>
                    <a:pt x="51001" y="1212187"/>
                  </a:lnTo>
                  <a:lnTo>
                    <a:pt x="20036" y="1239509"/>
                  </a:lnTo>
                  <a:lnTo>
                    <a:pt x="3643" y="1228580"/>
                  </a:lnTo>
                  <a:lnTo>
                    <a:pt x="3643" y="1239509"/>
                  </a:lnTo>
                  <a:lnTo>
                    <a:pt x="0" y="1228580"/>
                  </a:lnTo>
                  <a:lnTo>
                    <a:pt x="0" y="1206723"/>
                  </a:lnTo>
                  <a:lnTo>
                    <a:pt x="10929" y="1188508"/>
                  </a:lnTo>
                  <a:close/>
                  <a:moveTo>
                    <a:pt x="2852419" y="1150257"/>
                  </a:moveTo>
                  <a:lnTo>
                    <a:pt x="2881562" y="1163007"/>
                  </a:lnTo>
                  <a:lnTo>
                    <a:pt x="2877919" y="1179400"/>
                  </a:lnTo>
                  <a:lnTo>
                    <a:pt x="2861526" y="1177579"/>
                  </a:lnTo>
                  <a:lnTo>
                    <a:pt x="2846954" y="1155721"/>
                  </a:lnTo>
                  <a:close/>
                  <a:moveTo>
                    <a:pt x="256828" y="1117471"/>
                  </a:moveTo>
                  <a:lnTo>
                    <a:pt x="295079" y="1166651"/>
                  </a:lnTo>
                  <a:lnTo>
                    <a:pt x="278686" y="1172115"/>
                  </a:lnTo>
                  <a:lnTo>
                    <a:pt x="256828" y="1155722"/>
                  </a:lnTo>
                  <a:lnTo>
                    <a:pt x="260471" y="1163008"/>
                  </a:lnTo>
                  <a:lnTo>
                    <a:pt x="245899" y="1135686"/>
                  </a:lnTo>
                  <a:lnTo>
                    <a:pt x="255007" y="1135686"/>
                  </a:lnTo>
                  <a:lnTo>
                    <a:pt x="249542" y="1130221"/>
                  </a:lnTo>
                  <a:close/>
                  <a:moveTo>
                    <a:pt x="98361" y="1057362"/>
                  </a:moveTo>
                  <a:lnTo>
                    <a:pt x="114755" y="1057362"/>
                  </a:lnTo>
                  <a:lnTo>
                    <a:pt x="118398" y="1062827"/>
                  </a:lnTo>
                  <a:lnTo>
                    <a:pt x="118398" y="1084685"/>
                  </a:lnTo>
                  <a:close/>
                  <a:moveTo>
                    <a:pt x="3156602" y="1035504"/>
                  </a:moveTo>
                  <a:lnTo>
                    <a:pt x="3191210" y="1057362"/>
                  </a:lnTo>
                  <a:lnTo>
                    <a:pt x="3185746" y="1071933"/>
                  </a:lnTo>
                  <a:lnTo>
                    <a:pt x="3156602" y="1084684"/>
                  </a:lnTo>
                  <a:lnTo>
                    <a:pt x="3132923" y="1079219"/>
                  </a:lnTo>
                  <a:lnTo>
                    <a:pt x="3105601" y="1090148"/>
                  </a:lnTo>
                  <a:lnTo>
                    <a:pt x="3100137" y="1077398"/>
                  </a:lnTo>
                  <a:lnTo>
                    <a:pt x="3129280" y="1039147"/>
                  </a:lnTo>
                  <a:lnTo>
                    <a:pt x="3138388" y="1039147"/>
                  </a:lnTo>
                  <a:close/>
                  <a:moveTo>
                    <a:pt x="2111081" y="1031862"/>
                  </a:moveTo>
                  <a:lnTo>
                    <a:pt x="2132939" y="1035505"/>
                  </a:lnTo>
                  <a:lnTo>
                    <a:pt x="2122010" y="1044613"/>
                  </a:lnTo>
                  <a:lnTo>
                    <a:pt x="2105616" y="1035505"/>
                  </a:lnTo>
                  <a:close/>
                  <a:moveTo>
                    <a:pt x="2152976" y="1028219"/>
                  </a:moveTo>
                  <a:lnTo>
                    <a:pt x="2158440" y="1040970"/>
                  </a:lnTo>
                  <a:lnTo>
                    <a:pt x="2138404" y="1051899"/>
                  </a:lnTo>
                  <a:lnTo>
                    <a:pt x="2132939" y="1051899"/>
                  </a:lnTo>
                  <a:lnTo>
                    <a:pt x="2138404" y="1039148"/>
                  </a:lnTo>
                  <a:close/>
                  <a:moveTo>
                    <a:pt x="2165725" y="962646"/>
                  </a:moveTo>
                  <a:lnTo>
                    <a:pt x="2194868" y="962646"/>
                  </a:lnTo>
                  <a:lnTo>
                    <a:pt x="2189404" y="979040"/>
                  </a:lnTo>
                  <a:lnTo>
                    <a:pt x="2158439" y="979040"/>
                  </a:lnTo>
                  <a:close/>
                  <a:moveTo>
                    <a:pt x="2203976" y="849715"/>
                  </a:moveTo>
                  <a:lnTo>
                    <a:pt x="2216726" y="849715"/>
                  </a:lnTo>
                  <a:lnTo>
                    <a:pt x="2244048" y="855180"/>
                  </a:lnTo>
                  <a:lnTo>
                    <a:pt x="2265906" y="878859"/>
                  </a:lnTo>
                  <a:lnTo>
                    <a:pt x="2267727" y="906181"/>
                  </a:lnTo>
                  <a:lnTo>
                    <a:pt x="2178476" y="893431"/>
                  </a:lnTo>
                  <a:lnTo>
                    <a:pt x="2176654" y="887966"/>
                  </a:lnTo>
                  <a:lnTo>
                    <a:pt x="2193047" y="882502"/>
                  </a:lnTo>
                  <a:close/>
                  <a:moveTo>
                    <a:pt x="2076473" y="820571"/>
                  </a:moveTo>
                  <a:lnTo>
                    <a:pt x="2091046" y="833321"/>
                  </a:lnTo>
                  <a:lnTo>
                    <a:pt x="2096510" y="844250"/>
                  </a:lnTo>
                  <a:lnTo>
                    <a:pt x="2091046" y="849714"/>
                  </a:lnTo>
                  <a:close/>
                  <a:moveTo>
                    <a:pt x="2194869" y="815107"/>
                  </a:moveTo>
                  <a:lnTo>
                    <a:pt x="2205798" y="827857"/>
                  </a:lnTo>
                  <a:lnTo>
                    <a:pt x="2194869" y="849715"/>
                  </a:lnTo>
                  <a:lnTo>
                    <a:pt x="2187583" y="844251"/>
                  </a:lnTo>
                  <a:lnTo>
                    <a:pt x="2187583" y="826036"/>
                  </a:lnTo>
                  <a:close/>
                  <a:moveTo>
                    <a:pt x="2333300" y="698534"/>
                  </a:moveTo>
                  <a:lnTo>
                    <a:pt x="2387944" y="714927"/>
                  </a:lnTo>
                  <a:lnTo>
                    <a:pt x="2378837" y="727678"/>
                  </a:lnTo>
                  <a:lnTo>
                    <a:pt x="2449874" y="742249"/>
                  </a:lnTo>
                  <a:lnTo>
                    <a:pt x="2438945" y="765929"/>
                  </a:lnTo>
                  <a:lnTo>
                    <a:pt x="2400695" y="775036"/>
                  </a:lnTo>
                  <a:lnTo>
                    <a:pt x="2351515" y="744071"/>
                  </a:lnTo>
                  <a:close/>
                  <a:moveTo>
                    <a:pt x="2076474" y="671211"/>
                  </a:moveTo>
                  <a:lnTo>
                    <a:pt x="2087403" y="693069"/>
                  </a:lnTo>
                  <a:lnTo>
                    <a:pt x="2085582" y="698533"/>
                  </a:lnTo>
                  <a:lnTo>
                    <a:pt x="2081939" y="720391"/>
                  </a:lnTo>
                  <a:lnTo>
                    <a:pt x="2074652" y="709462"/>
                  </a:lnTo>
                  <a:close/>
                  <a:moveTo>
                    <a:pt x="2216726" y="642068"/>
                  </a:moveTo>
                  <a:lnTo>
                    <a:pt x="2315085" y="707641"/>
                  </a:lnTo>
                  <a:lnTo>
                    <a:pt x="2295049" y="709463"/>
                  </a:lnTo>
                  <a:lnTo>
                    <a:pt x="2298692" y="725856"/>
                  </a:lnTo>
                  <a:lnTo>
                    <a:pt x="2287763" y="742249"/>
                  </a:lnTo>
                  <a:lnTo>
                    <a:pt x="2254977" y="742249"/>
                  </a:lnTo>
                  <a:lnTo>
                    <a:pt x="2238584" y="713106"/>
                  </a:lnTo>
                  <a:lnTo>
                    <a:pt x="2247691" y="676676"/>
                  </a:lnTo>
                  <a:close/>
                  <a:moveTo>
                    <a:pt x="2158439" y="634782"/>
                  </a:moveTo>
                  <a:lnTo>
                    <a:pt x="2182119" y="671211"/>
                  </a:lnTo>
                  <a:lnTo>
                    <a:pt x="2193047" y="674854"/>
                  </a:lnTo>
                  <a:lnTo>
                    <a:pt x="2189404" y="693069"/>
                  </a:lnTo>
                  <a:lnTo>
                    <a:pt x="2200333" y="696712"/>
                  </a:lnTo>
                  <a:lnTo>
                    <a:pt x="2205798" y="680319"/>
                  </a:lnTo>
                  <a:lnTo>
                    <a:pt x="2200333" y="654818"/>
                  </a:lnTo>
                  <a:lnTo>
                    <a:pt x="2220369" y="654818"/>
                  </a:lnTo>
                  <a:lnTo>
                    <a:pt x="2242227" y="685783"/>
                  </a:lnTo>
                  <a:lnTo>
                    <a:pt x="2236763" y="713105"/>
                  </a:lnTo>
                  <a:lnTo>
                    <a:pt x="2238584" y="733141"/>
                  </a:lnTo>
                  <a:lnTo>
                    <a:pt x="2262263" y="754999"/>
                  </a:lnTo>
                  <a:lnTo>
                    <a:pt x="2236763" y="765927"/>
                  </a:lnTo>
                  <a:lnTo>
                    <a:pt x="2225834" y="744070"/>
                  </a:lnTo>
                  <a:lnTo>
                    <a:pt x="2178476" y="769570"/>
                  </a:lnTo>
                  <a:lnTo>
                    <a:pt x="2176654" y="765927"/>
                  </a:lnTo>
                  <a:lnTo>
                    <a:pt x="2182119" y="764106"/>
                  </a:lnTo>
                  <a:lnTo>
                    <a:pt x="2176654" y="744070"/>
                  </a:lnTo>
                  <a:lnTo>
                    <a:pt x="2169368" y="749534"/>
                  </a:lnTo>
                  <a:lnTo>
                    <a:pt x="2169368" y="758641"/>
                  </a:lnTo>
                  <a:lnTo>
                    <a:pt x="2171190" y="758641"/>
                  </a:lnTo>
                  <a:lnTo>
                    <a:pt x="2165725" y="776856"/>
                  </a:lnTo>
                  <a:lnTo>
                    <a:pt x="2132939" y="765927"/>
                  </a:lnTo>
                  <a:lnTo>
                    <a:pt x="2103795" y="720391"/>
                  </a:lnTo>
                  <a:lnTo>
                    <a:pt x="2120188" y="718569"/>
                  </a:lnTo>
                  <a:lnTo>
                    <a:pt x="2109260" y="696712"/>
                  </a:lnTo>
                  <a:lnTo>
                    <a:pt x="2122010" y="676676"/>
                  </a:lnTo>
                  <a:lnTo>
                    <a:pt x="2116546" y="660283"/>
                  </a:lnTo>
                  <a:close/>
                  <a:moveTo>
                    <a:pt x="457189" y="561923"/>
                  </a:moveTo>
                  <a:lnTo>
                    <a:pt x="480868" y="563745"/>
                  </a:lnTo>
                  <a:lnTo>
                    <a:pt x="495440" y="592888"/>
                  </a:lnTo>
                  <a:lnTo>
                    <a:pt x="491797" y="609281"/>
                  </a:lnTo>
                  <a:lnTo>
                    <a:pt x="495440" y="609281"/>
                  </a:lnTo>
                  <a:lnTo>
                    <a:pt x="480868" y="642068"/>
                  </a:lnTo>
                  <a:lnTo>
                    <a:pt x="373402" y="696712"/>
                  </a:lnTo>
                  <a:lnTo>
                    <a:pt x="367938" y="685783"/>
                  </a:lnTo>
                  <a:lnTo>
                    <a:pt x="313293" y="744070"/>
                  </a:lnTo>
                  <a:lnTo>
                    <a:pt x="291436" y="744070"/>
                  </a:lnTo>
                  <a:lnTo>
                    <a:pt x="289614" y="753178"/>
                  </a:lnTo>
                  <a:lnTo>
                    <a:pt x="300543" y="760463"/>
                  </a:lnTo>
                  <a:lnTo>
                    <a:pt x="285971" y="782321"/>
                  </a:lnTo>
                  <a:lnTo>
                    <a:pt x="267757" y="776857"/>
                  </a:lnTo>
                  <a:lnTo>
                    <a:pt x="278686" y="796893"/>
                  </a:lnTo>
                  <a:lnTo>
                    <a:pt x="256828" y="785964"/>
                  </a:lnTo>
                  <a:lnTo>
                    <a:pt x="262292" y="798714"/>
                  </a:lnTo>
                  <a:lnTo>
                    <a:pt x="255007" y="806000"/>
                  </a:lnTo>
                  <a:lnTo>
                    <a:pt x="240435" y="793250"/>
                  </a:lnTo>
                  <a:lnTo>
                    <a:pt x="251364" y="822393"/>
                  </a:lnTo>
                  <a:lnTo>
                    <a:pt x="238613" y="844251"/>
                  </a:lnTo>
                  <a:lnTo>
                    <a:pt x="222220" y="822393"/>
                  </a:lnTo>
                  <a:lnTo>
                    <a:pt x="216756" y="838787"/>
                  </a:lnTo>
                  <a:lnTo>
                    <a:pt x="229506" y="849715"/>
                  </a:lnTo>
                  <a:lnTo>
                    <a:pt x="229506" y="864287"/>
                  </a:lnTo>
                  <a:lnTo>
                    <a:pt x="205827" y="855180"/>
                  </a:lnTo>
                  <a:lnTo>
                    <a:pt x="222220" y="875216"/>
                  </a:lnTo>
                  <a:lnTo>
                    <a:pt x="205827" y="869752"/>
                  </a:lnTo>
                  <a:lnTo>
                    <a:pt x="213113" y="889788"/>
                  </a:lnTo>
                  <a:lnTo>
                    <a:pt x="202184" y="906181"/>
                  </a:lnTo>
                  <a:lnTo>
                    <a:pt x="165755" y="889788"/>
                  </a:lnTo>
                  <a:lnTo>
                    <a:pt x="159931" y="891244"/>
                  </a:lnTo>
                  <a:lnTo>
                    <a:pt x="163058" y="890540"/>
                  </a:lnTo>
                  <a:lnTo>
                    <a:pt x="194774" y="908790"/>
                  </a:lnTo>
                  <a:lnTo>
                    <a:pt x="175867" y="928835"/>
                  </a:lnTo>
                  <a:lnTo>
                    <a:pt x="190809" y="924946"/>
                  </a:lnTo>
                  <a:lnTo>
                    <a:pt x="190809" y="934819"/>
                  </a:lnTo>
                  <a:lnTo>
                    <a:pt x="174342" y="944692"/>
                  </a:lnTo>
                  <a:lnTo>
                    <a:pt x="182271" y="947086"/>
                  </a:lnTo>
                  <a:lnTo>
                    <a:pt x="170377" y="968926"/>
                  </a:lnTo>
                  <a:lnTo>
                    <a:pt x="170377" y="1006922"/>
                  </a:lnTo>
                  <a:lnTo>
                    <a:pt x="186845" y="1059578"/>
                  </a:lnTo>
                  <a:lnTo>
                    <a:pt x="222220" y="1095779"/>
                  </a:lnTo>
                  <a:lnTo>
                    <a:pt x="207277" y="1101763"/>
                  </a:lnTo>
                  <a:lnTo>
                    <a:pt x="214901" y="1106550"/>
                  </a:lnTo>
                  <a:lnTo>
                    <a:pt x="210937" y="1110140"/>
                  </a:lnTo>
                  <a:lnTo>
                    <a:pt x="200263" y="1092488"/>
                  </a:lnTo>
                  <a:lnTo>
                    <a:pt x="190809" y="1097275"/>
                  </a:lnTo>
                  <a:lnTo>
                    <a:pt x="194469" y="1106550"/>
                  </a:lnTo>
                  <a:lnTo>
                    <a:pt x="170377" y="1097275"/>
                  </a:lnTo>
                  <a:lnTo>
                    <a:pt x="162753" y="1108046"/>
                  </a:lnTo>
                  <a:lnTo>
                    <a:pt x="151775" y="1095480"/>
                  </a:lnTo>
                  <a:lnTo>
                    <a:pt x="159399" y="1091890"/>
                  </a:lnTo>
                  <a:lnTo>
                    <a:pt x="129513" y="1089497"/>
                  </a:lnTo>
                  <a:lnTo>
                    <a:pt x="126158" y="1073640"/>
                  </a:lnTo>
                  <a:lnTo>
                    <a:pt x="143236" y="1067955"/>
                  </a:lnTo>
                  <a:lnTo>
                    <a:pt x="126158" y="1057185"/>
                  </a:lnTo>
                  <a:lnTo>
                    <a:pt x="135612" y="1040730"/>
                  </a:lnTo>
                  <a:lnTo>
                    <a:pt x="120973" y="1053595"/>
                  </a:lnTo>
                  <a:lnTo>
                    <a:pt x="120669" y="1035943"/>
                  </a:lnTo>
                  <a:lnTo>
                    <a:pt x="79804" y="1031754"/>
                  </a:lnTo>
                  <a:lnTo>
                    <a:pt x="74620" y="1019488"/>
                  </a:lnTo>
                  <a:lnTo>
                    <a:pt x="78279" y="997647"/>
                  </a:lnTo>
                  <a:lnTo>
                    <a:pt x="97187" y="1001238"/>
                  </a:lnTo>
                  <a:lnTo>
                    <a:pt x="113350" y="954565"/>
                  </a:lnTo>
                  <a:lnTo>
                    <a:pt x="107555" y="959352"/>
                  </a:lnTo>
                  <a:lnTo>
                    <a:pt x="100236" y="939905"/>
                  </a:lnTo>
                  <a:lnTo>
                    <a:pt x="120059" y="928835"/>
                  </a:lnTo>
                  <a:lnTo>
                    <a:pt x="114874" y="925245"/>
                  </a:lnTo>
                  <a:lnTo>
                    <a:pt x="119144" y="923450"/>
                  </a:lnTo>
                  <a:lnTo>
                    <a:pt x="115179" y="912081"/>
                  </a:lnTo>
                  <a:lnTo>
                    <a:pt x="129818" y="898020"/>
                  </a:lnTo>
                  <a:lnTo>
                    <a:pt x="144258" y="894770"/>
                  </a:lnTo>
                  <a:lnTo>
                    <a:pt x="165755" y="866109"/>
                  </a:lnTo>
                  <a:lnTo>
                    <a:pt x="138433" y="875216"/>
                  </a:lnTo>
                  <a:lnTo>
                    <a:pt x="129325" y="860644"/>
                  </a:lnTo>
                  <a:lnTo>
                    <a:pt x="165755" y="827858"/>
                  </a:lnTo>
                  <a:lnTo>
                    <a:pt x="189434" y="838787"/>
                  </a:lnTo>
                  <a:lnTo>
                    <a:pt x="165755" y="822393"/>
                  </a:lnTo>
                  <a:lnTo>
                    <a:pt x="178505" y="816929"/>
                  </a:lnTo>
                  <a:lnTo>
                    <a:pt x="167576" y="806000"/>
                  </a:lnTo>
                  <a:lnTo>
                    <a:pt x="187612" y="804179"/>
                  </a:lnTo>
                  <a:lnTo>
                    <a:pt x="176683" y="785964"/>
                  </a:lnTo>
                  <a:lnTo>
                    <a:pt x="202184" y="782321"/>
                  </a:lnTo>
                  <a:lnTo>
                    <a:pt x="178505" y="776857"/>
                  </a:lnTo>
                  <a:lnTo>
                    <a:pt x="183969" y="758642"/>
                  </a:lnTo>
                  <a:lnTo>
                    <a:pt x="176683" y="758642"/>
                  </a:lnTo>
                  <a:lnTo>
                    <a:pt x="173040" y="749535"/>
                  </a:lnTo>
                  <a:lnTo>
                    <a:pt x="176683" y="736784"/>
                  </a:lnTo>
                  <a:lnTo>
                    <a:pt x="189434" y="747713"/>
                  </a:lnTo>
                  <a:lnTo>
                    <a:pt x="222220" y="725855"/>
                  </a:lnTo>
                  <a:lnTo>
                    <a:pt x="251364" y="676676"/>
                  </a:lnTo>
                  <a:lnTo>
                    <a:pt x="291436" y="645711"/>
                  </a:lnTo>
                  <a:lnTo>
                    <a:pt x="296900" y="647532"/>
                  </a:lnTo>
                  <a:lnTo>
                    <a:pt x="289614" y="660282"/>
                  </a:lnTo>
                  <a:lnTo>
                    <a:pt x="306008" y="652997"/>
                  </a:lnTo>
                  <a:lnTo>
                    <a:pt x="306008" y="629317"/>
                  </a:lnTo>
                  <a:lnTo>
                    <a:pt x="338794" y="642068"/>
                  </a:lnTo>
                  <a:lnTo>
                    <a:pt x="384331" y="625675"/>
                  </a:lnTo>
                  <a:close/>
                  <a:moveTo>
                    <a:pt x="1301439" y="254094"/>
                  </a:moveTo>
                  <a:lnTo>
                    <a:pt x="1317832" y="267755"/>
                  </a:lnTo>
                  <a:lnTo>
                    <a:pt x="1315100" y="303274"/>
                  </a:lnTo>
                  <a:lnTo>
                    <a:pt x="1334225" y="292345"/>
                  </a:lnTo>
                  <a:lnTo>
                    <a:pt x="1364280" y="330596"/>
                  </a:lnTo>
                  <a:lnTo>
                    <a:pt x="1377940" y="371579"/>
                  </a:lnTo>
                  <a:lnTo>
                    <a:pt x="1358816" y="398901"/>
                  </a:lnTo>
                  <a:lnTo>
                    <a:pt x="1296887" y="415415"/>
                  </a:lnTo>
                  <a:lnTo>
                    <a:pt x="1296887" y="418027"/>
                  </a:lnTo>
                  <a:lnTo>
                    <a:pt x="1293244" y="418027"/>
                  </a:lnTo>
                  <a:lnTo>
                    <a:pt x="1258637" y="425313"/>
                  </a:lnTo>
                  <a:lnTo>
                    <a:pt x="1231314" y="452636"/>
                  </a:lnTo>
                  <a:lnTo>
                    <a:pt x="1214920" y="441707"/>
                  </a:lnTo>
                  <a:lnTo>
                    <a:pt x="1224028" y="414384"/>
                  </a:lnTo>
                  <a:lnTo>
                    <a:pt x="1229381" y="414384"/>
                  </a:lnTo>
                  <a:cubicBezTo>
                    <a:pt x="1235052" y="397333"/>
                    <a:pt x="1248615" y="371968"/>
                    <a:pt x="1244063" y="366114"/>
                  </a:cubicBezTo>
                  <a:lnTo>
                    <a:pt x="1260456" y="333328"/>
                  </a:lnTo>
                  <a:lnTo>
                    <a:pt x="1279581" y="275952"/>
                  </a:lnTo>
                  <a:close/>
                  <a:moveTo>
                    <a:pt x="1186686" y="158467"/>
                  </a:moveTo>
                  <a:lnTo>
                    <a:pt x="1203079" y="185790"/>
                  </a:lnTo>
                  <a:lnTo>
                    <a:pt x="1219473" y="174861"/>
                  </a:lnTo>
                  <a:lnTo>
                    <a:pt x="1246794" y="213111"/>
                  </a:lnTo>
                  <a:lnTo>
                    <a:pt x="1235865" y="289613"/>
                  </a:lnTo>
                  <a:lnTo>
                    <a:pt x="1252259" y="322399"/>
                  </a:lnTo>
                  <a:lnTo>
                    <a:pt x="1216741" y="341525"/>
                  </a:lnTo>
                  <a:lnTo>
                    <a:pt x="1189418" y="338793"/>
                  </a:lnTo>
                  <a:lnTo>
                    <a:pt x="1153900" y="314203"/>
                  </a:lnTo>
                  <a:lnTo>
                    <a:pt x="1115649" y="300542"/>
                  </a:lnTo>
                  <a:lnTo>
                    <a:pt x="1091059" y="248631"/>
                  </a:lnTo>
                  <a:lnTo>
                    <a:pt x="1115649" y="174861"/>
                  </a:lnTo>
                  <a:close/>
                  <a:moveTo>
                    <a:pt x="1151168" y="0"/>
                  </a:moveTo>
                  <a:lnTo>
                    <a:pt x="1164829" y="51912"/>
                  </a:lnTo>
                  <a:lnTo>
                    <a:pt x="1194883" y="65573"/>
                  </a:lnTo>
                  <a:lnTo>
                    <a:pt x="1197615" y="92894"/>
                  </a:lnTo>
                  <a:lnTo>
                    <a:pt x="1170293" y="98359"/>
                  </a:lnTo>
                  <a:lnTo>
                    <a:pt x="1186686" y="147538"/>
                  </a:lnTo>
                  <a:cubicBezTo>
                    <a:pt x="1170293" y="153003"/>
                    <a:pt x="1148436" y="150270"/>
                    <a:pt x="1132043" y="155735"/>
                  </a:cubicBezTo>
                  <a:lnTo>
                    <a:pt x="1096524" y="180325"/>
                  </a:lnTo>
                  <a:lnTo>
                    <a:pt x="1039147" y="147538"/>
                  </a:lnTo>
                  <a:lnTo>
                    <a:pt x="1082862" y="76502"/>
                  </a:lnTo>
                  <a:lnTo>
                    <a:pt x="1071934" y="57376"/>
                  </a:lnTo>
                  <a:lnTo>
                    <a:pt x="1134774" y="5464"/>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79" name="Russia - Mainland">
              <a:extLst>
                <a:ext uri="{FF2B5EF4-FFF2-40B4-BE49-F238E27FC236}">
                  <a16:creationId xmlns:a16="http://schemas.microsoft.com/office/drawing/2014/main" id="{DDEC5222-1FFA-1A1C-A8FF-8F8A3D645985}"/>
                </a:ext>
              </a:extLst>
            </p:cNvPr>
            <p:cNvSpPr>
              <a:spLocks noEditPoints="1"/>
            </p:cNvSpPr>
            <p:nvPr/>
          </p:nvSpPr>
          <p:spPr bwMode="auto">
            <a:xfrm>
              <a:off x="6465544" y="1584069"/>
              <a:ext cx="3854463" cy="1935364"/>
            </a:xfrm>
            <a:custGeom>
              <a:avLst/>
              <a:gdLst>
                <a:gd name="T0" fmla="*/ 1071 w 2133"/>
                <a:gd name="T1" fmla="*/ 56 h 1071"/>
                <a:gd name="T2" fmla="*/ 1107 w 2133"/>
                <a:gd name="T3" fmla="*/ 161 h 1071"/>
                <a:gd name="T4" fmla="*/ 1089 w 2133"/>
                <a:gd name="T5" fmla="*/ 210 h 1071"/>
                <a:gd name="T6" fmla="*/ 1128 w 2133"/>
                <a:gd name="T7" fmla="*/ 235 h 1071"/>
                <a:gd name="T8" fmla="*/ 1304 w 2133"/>
                <a:gd name="T9" fmla="*/ 219 h 1071"/>
                <a:gd name="T10" fmla="*/ 1406 w 2133"/>
                <a:gd name="T11" fmla="*/ 315 h 1071"/>
                <a:gd name="T12" fmla="*/ 1593 w 2133"/>
                <a:gd name="T13" fmla="*/ 302 h 1071"/>
                <a:gd name="T14" fmla="*/ 1801 w 2133"/>
                <a:gd name="T15" fmla="*/ 384 h 1071"/>
                <a:gd name="T16" fmla="*/ 1996 w 2133"/>
                <a:gd name="T17" fmla="*/ 407 h 1071"/>
                <a:gd name="T18" fmla="*/ 2054 w 2133"/>
                <a:gd name="T19" fmla="*/ 450 h 1071"/>
                <a:gd name="T20" fmla="*/ 2093 w 2133"/>
                <a:gd name="T21" fmla="*/ 475 h 1071"/>
                <a:gd name="T22" fmla="*/ 2093 w 2133"/>
                <a:gd name="T23" fmla="*/ 548 h 1071"/>
                <a:gd name="T24" fmla="*/ 2050 w 2133"/>
                <a:gd name="T25" fmla="*/ 539 h 1071"/>
                <a:gd name="T26" fmla="*/ 1978 w 2133"/>
                <a:gd name="T27" fmla="*/ 554 h 1071"/>
                <a:gd name="T28" fmla="*/ 1965 w 2133"/>
                <a:gd name="T29" fmla="*/ 609 h 1071"/>
                <a:gd name="T30" fmla="*/ 1870 w 2133"/>
                <a:gd name="T31" fmla="*/ 683 h 1071"/>
                <a:gd name="T32" fmla="*/ 1763 w 2133"/>
                <a:gd name="T33" fmla="*/ 738 h 1071"/>
                <a:gd name="T34" fmla="*/ 1756 w 2133"/>
                <a:gd name="T35" fmla="*/ 815 h 1071"/>
                <a:gd name="T36" fmla="*/ 1715 w 2133"/>
                <a:gd name="T37" fmla="*/ 729 h 1071"/>
                <a:gd name="T38" fmla="*/ 1778 w 2133"/>
                <a:gd name="T39" fmla="*/ 637 h 1071"/>
                <a:gd name="T40" fmla="*/ 1660 w 2133"/>
                <a:gd name="T41" fmla="*/ 686 h 1071"/>
                <a:gd name="T42" fmla="*/ 1590 w 2133"/>
                <a:gd name="T43" fmla="*/ 696 h 1071"/>
                <a:gd name="T44" fmla="*/ 1433 w 2133"/>
                <a:gd name="T45" fmla="*/ 811 h 1071"/>
                <a:gd name="T46" fmla="*/ 1491 w 2133"/>
                <a:gd name="T47" fmla="*/ 855 h 1071"/>
                <a:gd name="T48" fmla="*/ 1360 w 2133"/>
                <a:gd name="T49" fmla="*/ 1051 h 1071"/>
                <a:gd name="T50" fmla="*/ 1353 w 2133"/>
                <a:gd name="T51" fmla="*/ 940 h 1071"/>
                <a:gd name="T52" fmla="*/ 1184 w 2133"/>
                <a:gd name="T53" fmla="*/ 919 h 1071"/>
                <a:gd name="T54" fmla="*/ 923 w 2133"/>
                <a:gd name="T55" fmla="*/ 910 h 1071"/>
                <a:gd name="T56" fmla="*/ 754 w 2133"/>
                <a:gd name="T57" fmla="*/ 907 h 1071"/>
                <a:gd name="T58" fmla="*/ 650 w 2133"/>
                <a:gd name="T59" fmla="*/ 818 h 1071"/>
                <a:gd name="T60" fmla="*/ 592 w 2133"/>
                <a:gd name="T61" fmla="*/ 825 h 1071"/>
                <a:gd name="T62" fmla="*/ 548 w 2133"/>
                <a:gd name="T63" fmla="*/ 793 h 1071"/>
                <a:gd name="T64" fmla="*/ 447 w 2133"/>
                <a:gd name="T65" fmla="*/ 827 h 1071"/>
                <a:gd name="T66" fmla="*/ 435 w 2133"/>
                <a:gd name="T67" fmla="*/ 870 h 1071"/>
                <a:gd name="T68" fmla="*/ 398 w 2133"/>
                <a:gd name="T69" fmla="*/ 891 h 1071"/>
                <a:gd name="T70" fmla="*/ 323 w 2133"/>
                <a:gd name="T71" fmla="*/ 879 h 1071"/>
                <a:gd name="T72" fmla="*/ 263 w 2133"/>
                <a:gd name="T73" fmla="*/ 925 h 1071"/>
                <a:gd name="T74" fmla="*/ 271 w 2133"/>
                <a:gd name="T75" fmla="*/ 983 h 1071"/>
                <a:gd name="T76" fmla="*/ 243 w 2133"/>
                <a:gd name="T77" fmla="*/ 1055 h 1071"/>
                <a:gd name="T78" fmla="*/ 142 w 2133"/>
                <a:gd name="T79" fmla="*/ 986 h 1071"/>
                <a:gd name="T80" fmla="*/ 166 w 2133"/>
                <a:gd name="T81" fmla="*/ 934 h 1071"/>
                <a:gd name="T82" fmla="*/ 102 w 2133"/>
                <a:gd name="T83" fmla="*/ 885 h 1071"/>
                <a:gd name="T84" fmla="*/ 75 w 2133"/>
                <a:gd name="T85" fmla="*/ 833 h 1071"/>
                <a:gd name="T86" fmla="*/ 11 w 2133"/>
                <a:gd name="T87" fmla="*/ 759 h 1071"/>
                <a:gd name="T88" fmla="*/ 16 w 2133"/>
                <a:gd name="T89" fmla="*/ 665 h 1071"/>
                <a:gd name="T90" fmla="*/ 29 w 2133"/>
                <a:gd name="T91" fmla="*/ 437 h 1071"/>
                <a:gd name="T92" fmla="*/ 77 w 2133"/>
                <a:gd name="T93" fmla="*/ 385 h 1071"/>
                <a:gd name="T94" fmla="*/ 94 w 2133"/>
                <a:gd name="T95" fmla="*/ 486 h 1071"/>
                <a:gd name="T96" fmla="*/ 124 w 2133"/>
                <a:gd name="T97" fmla="*/ 550 h 1071"/>
                <a:gd name="T98" fmla="*/ 219 w 2133"/>
                <a:gd name="T99" fmla="*/ 504 h 1071"/>
                <a:gd name="T100" fmla="*/ 320 w 2133"/>
                <a:gd name="T101" fmla="*/ 425 h 1071"/>
                <a:gd name="T102" fmla="*/ 352 w 2133"/>
                <a:gd name="T103" fmla="*/ 430 h 1071"/>
                <a:gd name="T104" fmla="*/ 538 w 2133"/>
                <a:gd name="T105" fmla="*/ 432 h 1071"/>
                <a:gd name="T106" fmla="*/ 552 w 2133"/>
                <a:gd name="T107" fmla="*/ 247 h 1071"/>
                <a:gd name="T108" fmla="*/ 587 w 2133"/>
                <a:gd name="T109" fmla="*/ 477 h 1071"/>
                <a:gd name="T110" fmla="*/ 655 w 2133"/>
                <a:gd name="T111" fmla="*/ 431 h 1071"/>
                <a:gd name="T112" fmla="*/ 625 w 2133"/>
                <a:gd name="T113" fmla="*/ 277 h 1071"/>
                <a:gd name="T114" fmla="*/ 658 w 2133"/>
                <a:gd name="T115" fmla="*/ 320 h 1071"/>
                <a:gd name="T116" fmla="*/ 721 w 2133"/>
                <a:gd name="T117" fmla="*/ 358 h 1071"/>
                <a:gd name="T118" fmla="*/ 698 w 2133"/>
                <a:gd name="T119" fmla="*/ 234 h 1071"/>
                <a:gd name="T120" fmla="*/ 794 w 2133"/>
                <a:gd name="T121" fmla="*/ 145 h 1071"/>
                <a:gd name="T122" fmla="*/ 933 w 2133"/>
                <a:gd name="T123" fmla="*/ 84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33" h="1071">
                  <a:moveTo>
                    <a:pt x="1117" y="111"/>
                  </a:moveTo>
                  <a:lnTo>
                    <a:pt x="1122" y="120"/>
                  </a:lnTo>
                  <a:lnTo>
                    <a:pt x="1126" y="121"/>
                  </a:lnTo>
                  <a:lnTo>
                    <a:pt x="1117" y="111"/>
                  </a:lnTo>
                  <a:close/>
                  <a:moveTo>
                    <a:pt x="1005" y="0"/>
                  </a:moveTo>
                  <a:lnTo>
                    <a:pt x="1006" y="0"/>
                  </a:lnTo>
                  <a:lnTo>
                    <a:pt x="1027" y="10"/>
                  </a:lnTo>
                  <a:lnTo>
                    <a:pt x="1031" y="23"/>
                  </a:lnTo>
                  <a:lnTo>
                    <a:pt x="1013" y="41"/>
                  </a:lnTo>
                  <a:lnTo>
                    <a:pt x="1027" y="34"/>
                  </a:lnTo>
                  <a:lnTo>
                    <a:pt x="1027" y="40"/>
                  </a:lnTo>
                  <a:lnTo>
                    <a:pt x="1046" y="43"/>
                  </a:lnTo>
                  <a:lnTo>
                    <a:pt x="1048" y="43"/>
                  </a:lnTo>
                  <a:lnTo>
                    <a:pt x="1048" y="44"/>
                  </a:lnTo>
                  <a:lnTo>
                    <a:pt x="1049" y="49"/>
                  </a:lnTo>
                  <a:lnTo>
                    <a:pt x="1046" y="57"/>
                  </a:lnTo>
                  <a:lnTo>
                    <a:pt x="1033" y="72"/>
                  </a:lnTo>
                  <a:lnTo>
                    <a:pt x="1048" y="72"/>
                  </a:lnTo>
                  <a:lnTo>
                    <a:pt x="1058" y="56"/>
                  </a:lnTo>
                  <a:lnTo>
                    <a:pt x="1071" y="56"/>
                  </a:lnTo>
                  <a:lnTo>
                    <a:pt x="1083" y="57"/>
                  </a:lnTo>
                  <a:lnTo>
                    <a:pt x="1096" y="57"/>
                  </a:lnTo>
                  <a:lnTo>
                    <a:pt x="1096" y="59"/>
                  </a:lnTo>
                  <a:lnTo>
                    <a:pt x="1119" y="81"/>
                  </a:lnTo>
                  <a:lnTo>
                    <a:pt x="1116" y="87"/>
                  </a:lnTo>
                  <a:lnTo>
                    <a:pt x="1119" y="93"/>
                  </a:lnTo>
                  <a:lnTo>
                    <a:pt x="1123" y="86"/>
                  </a:lnTo>
                  <a:lnTo>
                    <a:pt x="1129" y="102"/>
                  </a:lnTo>
                  <a:lnTo>
                    <a:pt x="1132" y="102"/>
                  </a:lnTo>
                  <a:lnTo>
                    <a:pt x="1134" y="109"/>
                  </a:lnTo>
                  <a:lnTo>
                    <a:pt x="1128" y="121"/>
                  </a:lnTo>
                  <a:lnTo>
                    <a:pt x="1132" y="123"/>
                  </a:lnTo>
                  <a:lnTo>
                    <a:pt x="1132" y="124"/>
                  </a:lnTo>
                  <a:lnTo>
                    <a:pt x="1131" y="127"/>
                  </a:lnTo>
                  <a:lnTo>
                    <a:pt x="1132" y="136"/>
                  </a:lnTo>
                  <a:lnTo>
                    <a:pt x="1123" y="149"/>
                  </a:lnTo>
                  <a:lnTo>
                    <a:pt x="1113" y="157"/>
                  </a:lnTo>
                  <a:lnTo>
                    <a:pt x="1114" y="158"/>
                  </a:lnTo>
                  <a:lnTo>
                    <a:pt x="1114" y="160"/>
                  </a:lnTo>
                  <a:lnTo>
                    <a:pt x="1107" y="161"/>
                  </a:lnTo>
                  <a:lnTo>
                    <a:pt x="1107" y="169"/>
                  </a:lnTo>
                  <a:lnTo>
                    <a:pt x="1089" y="176"/>
                  </a:lnTo>
                  <a:lnTo>
                    <a:pt x="1059" y="219"/>
                  </a:lnTo>
                  <a:lnTo>
                    <a:pt x="1046" y="219"/>
                  </a:lnTo>
                  <a:lnTo>
                    <a:pt x="1025" y="249"/>
                  </a:lnTo>
                  <a:lnTo>
                    <a:pt x="1030" y="246"/>
                  </a:lnTo>
                  <a:lnTo>
                    <a:pt x="1031" y="246"/>
                  </a:lnTo>
                  <a:lnTo>
                    <a:pt x="1034" y="249"/>
                  </a:lnTo>
                  <a:lnTo>
                    <a:pt x="1034" y="237"/>
                  </a:lnTo>
                  <a:lnTo>
                    <a:pt x="1043" y="237"/>
                  </a:lnTo>
                  <a:lnTo>
                    <a:pt x="1046" y="238"/>
                  </a:lnTo>
                  <a:lnTo>
                    <a:pt x="1051" y="238"/>
                  </a:lnTo>
                  <a:lnTo>
                    <a:pt x="1071" y="228"/>
                  </a:lnTo>
                  <a:lnTo>
                    <a:pt x="1073" y="226"/>
                  </a:lnTo>
                  <a:lnTo>
                    <a:pt x="1070" y="220"/>
                  </a:lnTo>
                  <a:lnTo>
                    <a:pt x="1070" y="219"/>
                  </a:lnTo>
                  <a:lnTo>
                    <a:pt x="1071" y="220"/>
                  </a:lnTo>
                  <a:lnTo>
                    <a:pt x="1079" y="225"/>
                  </a:lnTo>
                  <a:lnTo>
                    <a:pt x="1093" y="215"/>
                  </a:lnTo>
                  <a:lnTo>
                    <a:pt x="1089" y="210"/>
                  </a:lnTo>
                  <a:lnTo>
                    <a:pt x="1079" y="219"/>
                  </a:lnTo>
                  <a:lnTo>
                    <a:pt x="1077" y="219"/>
                  </a:lnTo>
                  <a:lnTo>
                    <a:pt x="1077" y="218"/>
                  </a:lnTo>
                  <a:lnTo>
                    <a:pt x="1074" y="209"/>
                  </a:lnTo>
                  <a:lnTo>
                    <a:pt x="1082" y="198"/>
                  </a:lnTo>
                  <a:lnTo>
                    <a:pt x="1083" y="198"/>
                  </a:lnTo>
                  <a:lnTo>
                    <a:pt x="1092" y="204"/>
                  </a:lnTo>
                  <a:lnTo>
                    <a:pt x="1101" y="198"/>
                  </a:lnTo>
                  <a:lnTo>
                    <a:pt x="1101" y="200"/>
                  </a:lnTo>
                  <a:lnTo>
                    <a:pt x="1099" y="203"/>
                  </a:lnTo>
                  <a:lnTo>
                    <a:pt x="1099" y="209"/>
                  </a:lnTo>
                  <a:lnTo>
                    <a:pt x="1114" y="213"/>
                  </a:lnTo>
                  <a:lnTo>
                    <a:pt x="1119" y="209"/>
                  </a:lnTo>
                  <a:lnTo>
                    <a:pt x="1117" y="198"/>
                  </a:lnTo>
                  <a:lnTo>
                    <a:pt x="1119" y="198"/>
                  </a:lnTo>
                  <a:lnTo>
                    <a:pt x="1126" y="216"/>
                  </a:lnTo>
                  <a:lnTo>
                    <a:pt x="1125" y="229"/>
                  </a:lnTo>
                  <a:lnTo>
                    <a:pt x="1129" y="231"/>
                  </a:lnTo>
                  <a:lnTo>
                    <a:pt x="1125" y="234"/>
                  </a:lnTo>
                  <a:lnTo>
                    <a:pt x="1128" y="235"/>
                  </a:lnTo>
                  <a:lnTo>
                    <a:pt x="1136" y="231"/>
                  </a:lnTo>
                  <a:lnTo>
                    <a:pt x="1128" y="223"/>
                  </a:lnTo>
                  <a:lnTo>
                    <a:pt x="1128" y="222"/>
                  </a:lnTo>
                  <a:lnTo>
                    <a:pt x="1156" y="213"/>
                  </a:lnTo>
                  <a:lnTo>
                    <a:pt x="1199" y="222"/>
                  </a:lnTo>
                  <a:lnTo>
                    <a:pt x="1199" y="223"/>
                  </a:lnTo>
                  <a:lnTo>
                    <a:pt x="1193" y="226"/>
                  </a:lnTo>
                  <a:lnTo>
                    <a:pt x="1194" y="237"/>
                  </a:lnTo>
                  <a:lnTo>
                    <a:pt x="1227" y="247"/>
                  </a:lnTo>
                  <a:lnTo>
                    <a:pt x="1255" y="243"/>
                  </a:lnTo>
                  <a:lnTo>
                    <a:pt x="1258" y="238"/>
                  </a:lnTo>
                  <a:lnTo>
                    <a:pt x="1254" y="225"/>
                  </a:lnTo>
                  <a:lnTo>
                    <a:pt x="1257" y="212"/>
                  </a:lnTo>
                  <a:lnTo>
                    <a:pt x="1257" y="210"/>
                  </a:lnTo>
                  <a:lnTo>
                    <a:pt x="1261" y="212"/>
                  </a:lnTo>
                  <a:lnTo>
                    <a:pt x="1262" y="206"/>
                  </a:lnTo>
                  <a:lnTo>
                    <a:pt x="1264" y="206"/>
                  </a:lnTo>
                  <a:lnTo>
                    <a:pt x="1300" y="225"/>
                  </a:lnTo>
                  <a:lnTo>
                    <a:pt x="1304" y="220"/>
                  </a:lnTo>
                  <a:lnTo>
                    <a:pt x="1304" y="219"/>
                  </a:lnTo>
                  <a:lnTo>
                    <a:pt x="1305" y="219"/>
                  </a:lnTo>
                  <a:lnTo>
                    <a:pt x="1320" y="223"/>
                  </a:lnTo>
                  <a:lnTo>
                    <a:pt x="1338" y="246"/>
                  </a:lnTo>
                  <a:lnTo>
                    <a:pt x="1335" y="263"/>
                  </a:lnTo>
                  <a:lnTo>
                    <a:pt x="1340" y="272"/>
                  </a:lnTo>
                  <a:lnTo>
                    <a:pt x="1337" y="280"/>
                  </a:lnTo>
                  <a:lnTo>
                    <a:pt x="1338" y="281"/>
                  </a:lnTo>
                  <a:lnTo>
                    <a:pt x="1328" y="293"/>
                  </a:lnTo>
                  <a:lnTo>
                    <a:pt x="1329" y="304"/>
                  </a:lnTo>
                  <a:lnTo>
                    <a:pt x="1332" y="302"/>
                  </a:lnTo>
                  <a:lnTo>
                    <a:pt x="1344" y="327"/>
                  </a:lnTo>
                  <a:lnTo>
                    <a:pt x="1356" y="332"/>
                  </a:lnTo>
                  <a:lnTo>
                    <a:pt x="1357" y="332"/>
                  </a:lnTo>
                  <a:lnTo>
                    <a:pt x="1360" y="341"/>
                  </a:lnTo>
                  <a:lnTo>
                    <a:pt x="1369" y="323"/>
                  </a:lnTo>
                  <a:lnTo>
                    <a:pt x="1371" y="308"/>
                  </a:lnTo>
                  <a:lnTo>
                    <a:pt x="1378" y="289"/>
                  </a:lnTo>
                  <a:lnTo>
                    <a:pt x="1380" y="289"/>
                  </a:lnTo>
                  <a:lnTo>
                    <a:pt x="1391" y="312"/>
                  </a:lnTo>
                  <a:lnTo>
                    <a:pt x="1406" y="315"/>
                  </a:lnTo>
                  <a:lnTo>
                    <a:pt x="1408" y="305"/>
                  </a:lnTo>
                  <a:lnTo>
                    <a:pt x="1409" y="304"/>
                  </a:lnTo>
                  <a:lnTo>
                    <a:pt x="1417" y="304"/>
                  </a:lnTo>
                  <a:lnTo>
                    <a:pt x="1448" y="323"/>
                  </a:lnTo>
                  <a:lnTo>
                    <a:pt x="1467" y="308"/>
                  </a:lnTo>
                  <a:lnTo>
                    <a:pt x="1473" y="309"/>
                  </a:lnTo>
                  <a:lnTo>
                    <a:pt x="1470" y="299"/>
                  </a:lnTo>
                  <a:lnTo>
                    <a:pt x="1471" y="295"/>
                  </a:lnTo>
                  <a:lnTo>
                    <a:pt x="1470" y="287"/>
                  </a:lnTo>
                  <a:lnTo>
                    <a:pt x="1470" y="286"/>
                  </a:lnTo>
                  <a:lnTo>
                    <a:pt x="1488" y="263"/>
                  </a:lnTo>
                  <a:lnTo>
                    <a:pt x="1485" y="256"/>
                  </a:lnTo>
                  <a:lnTo>
                    <a:pt x="1488" y="252"/>
                  </a:lnTo>
                  <a:lnTo>
                    <a:pt x="1489" y="252"/>
                  </a:lnTo>
                  <a:lnTo>
                    <a:pt x="1597" y="278"/>
                  </a:lnTo>
                  <a:lnTo>
                    <a:pt x="1602" y="281"/>
                  </a:lnTo>
                  <a:lnTo>
                    <a:pt x="1606" y="295"/>
                  </a:lnTo>
                  <a:lnTo>
                    <a:pt x="1605" y="295"/>
                  </a:lnTo>
                  <a:lnTo>
                    <a:pt x="1597" y="293"/>
                  </a:lnTo>
                  <a:lnTo>
                    <a:pt x="1593" y="302"/>
                  </a:lnTo>
                  <a:lnTo>
                    <a:pt x="1608" y="304"/>
                  </a:lnTo>
                  <a:lnTo>
                    <a:pt x="1615" y="312"/>
                  </a:lnTo>
                  <a:lnTo>
                    <a:pt x="1618" y="312"/>
                  </a:lnTo>
                  <a:lnTo>
                    <a:pt x="1623" y="311"/>
                  </a:lnTo>
                  <a:lnTo>
                    <a:pt x="1626" y="311"/>
                  </a:lnTo>
                  <a:lnTo>
                    <a:pt x="1636" y="321"/>
                  </a:lnTo>
                  <a:lnTo>
                    <a:pt x="1636" y="323"/>
                  </a:lnTo>
                  <a:lnTo>
                    <a:pt x="1630" y="330"/>
                  </a:lnTo>
                  <a:lnTo>
                    <a:pt x="1639" y="336"/>
                  </a:lnTo>
                  <a:lnTo>
                    <a:pt x="1666" y="330"/>
                  </a:lnTo>
                  <a:lnTo>
                    <a:pt x="1720" y="330"/>
                  </a:lnTo>
                  <a:lnTo>
                    <a:pt x="1720" y="332"/>
                  </a:lnTo>
                  <a:lnTo>
                    <a:pt x="1735" y="352"/>
                  </a:lnTo>
                  <a:lnTo>
                    <a:pt x="1737" y="360"/>
                  </a:lnTo>
                  <a:lnTo>
                    <a:pt x="1732" y="375"/>
                  </a:lnTo>
                  <a:lnTo>
                    <a:pt x="1752" y="385"/>
                  </a:lnTo>
                  <a:lnTo>
                    <a:pt x="1752" y="390"/>
                  </a:lnTo>
                  <a:lnTo>
                    <a:pt x="1766" y="379"/>
                  </a:lnTo>
                  <a:lnTo>
                    <a:pt x="1787" y="376"/>
                  </a:lnTo>
                  <a:lnTo>
                    <a:pt x="1801" y="384"/>
                  </a:lnTo>
                  <a:lnTo>
                    <a:pt x="1824" y="387"/>
                  </a:lnTo>
                  <a:lnTo>
                    <a:pt x="1836" y="376"/>
                  </a:lnTo>
                  <a:lnTo>
                    <a:pt x="1838" y="376"/>
                  </a:lnTo>
                  <a:lnTo>
                    <a:pt x="1838" y="378"/>
                  </a:lnTo>
                  <a:lnTo>
                    <a:pt x="1842" y="384"/>
                  </a:lnTo>
                  <a:lnTo>
                    <a:pt x="1844" y="397"/>
                  </a:lnTo>
                  <a:lnTo>
                    <a:pt x="1864" y="413"/>
                  </a:lnTo>
                  <a:lnTo>
                    <a:pt x="1879" y="401"/>
                  </a:lnTo>
                  <a:lnTo>
                    <a:pt x="1873" y="385"/>
                  </a:lnTo>
                  <a:lnTo>
                    <a:pt x="1867" y="384"/>
                  </a:lnTo>
                  <a:lnTo>
                    <a:pt x="1866" y="384"/>
                  </a:lnTo>
                  <a:lnTo>
                    <a:pt x="1866" y="382"/>
                  </a:lnTo>
                  <a:lnTo>
                    <a:pt x="1870" y="378"/>
                  </a:lnTo>
                  <a:lnTo>
                    <a:pt x="1870" y="367"/>
                  </a:lnTo>
                  <a:lnTo>
                    <a:pt x="1872" y="367"/>
                  </a:lnTo>
                  <a:lnTo>
                    <a:pt x="1876" y="366"/>
                  </a:lnTo>
                  <a:lnTo>
                    <a:pt x="1907" y="375"/>
                  </a:lnTo>
                  <a:lnTo>
                    <a:pt x="1946" y="373"/>
                  </a:lnTo>
                  <a:lnTo>
                    <a:pt x="1975" y="390"/>
                  </a:lnTo>
                  <a:lnTo>
                    <a:pt x="1996" y="407"/>
                  </a:lnTo>
                  <a:lnTo>
                    <a:pt x="2001" y="410"/>
                  </a:lnTo>
                  <a:lnTo>
                    <a:pt x="2011" y="415"/>
                  </a:lnTo>
                  <a:lnTo>
                    <a:pt x="2012" y="422"/>
                  </a:lnTo>
                  <a:lnTo>
                    <a:pt x="2020" y="425"/>
                  </a:lnTo>
                  <a:lnTo>
                    <a:pt x="2023" y="431"/>
                  </a:lnTo>
                  <a:lnTo>
                    <a:pt x="2030" y="432"/>
                  </a:lnTo>
                  <a:lnTo>
                    <a:pt x="2036" y="437"/>
                  </a:lnTo>
                  <a:lnTo>
                    <a:pt x="2038" y="441"/>
                  </a:lnTo>
                  <a:lnTo>
                    <a:pt x="2036" y="443"/>
                  </a:lnTo>
                  <a:lnTo>
                    <a:pt x="2047" y="446"/>
                  </a:lnTo>
                  <a:lnTo>
                    <a:pt x="2048" y="446"/>
                  </a:lnTo>
                  <a:lnTo>
                    <a:pt x="2048" y="447"/>
                  </a:lnTo>
                  <a:lnTo>
                    <a:pt x="2047" y="447"/>
                  </a:lnTo>
                  <a:lnTo>
                    <a:pt x="2044" y="452"/>
                  </a:lnTo>
                  <a:lnTo>
                    <a:pt x="2054" y="458"/>
                  </a:lnTo>
                  <a:lnTo>
                    <a:pt x="2048" y="450"/>
                  </a:lnTo>
                  <a:lnTo>
                    <a:pt x="2050" y="450"/>
                  </a:lnTo>
                  <a:lnTo>
                    <a:pt x="2050" y="449"/>
                  </a:lnTo>
                  <a:lnTo>
                    <a:pt x="2053" y="449"/>
                  </a:lnTo>
                  <a:lnTo>
                    <a:pt x="2054" y="450"/>
                  </a:lnTo>
                  <a:lnTo>
                    <a:pt x="2057" y="450"/>
                  </a:lnTo>
                  <a:lnTo>
                    <a:pt x="2057" y="452"/>
                  </a:lnTo>
                  <a:lnTo>
                    <a:pt x="2064" y="461"/>
                  </a:lnTo>
                  <a:lnTo>
                    <a:pt x="2064" y="462"/>
                  </a:lnTo>
                  <a:lnTo>
                    <a:pt x="2061" y="464"/>
                  </a:lnTo>
                  <a:lnTo>
                    <a:pt x="2066" y="483"/>
                  </a:lnTo>
                  <a:lnTo>
                    <a:pt x="2072" y="487"/>
                  </a:lnTo>
                  <a:lnTo>
                    <a:pt x="2072" y="477"/>
                  </a:lnTo>
                  <a:lnTo>
                    <a:pt x="2067" y="474"/>
                  </a:lnTo>
                  <a:lnTo>
                    <a:pt x="2067" y="473"/>
                  </a:lnTo>
                  <a:lnTo>
                    <a:pt x="2070" y="473"/>
                  </a:lnTo>
                  <a:lnTo>
                    <a:pt x="2073" y="474"/>
                  </a:lnTo>
                  <a:lnTo>
                    <a:pt x="2076" y="474"/>
                  </a:lnTo>
                  <a:lnTo>
                    <a:pt x="2078" y="471"/>
                  </a:lnTo>
                  <a:lnTo>
                    <a:pt x="2078" y="470"/>
                  </a:lnTo>
                  <a:lnTo>
                    <a:pt x="2085" y="474"/>
                  </a:lnTo>
                  <a:lnTo>
                    <a:pt x="2082" y="477"/>
                  </a:lnTo>
                  <a:lnTo>
                    <a:pt x="2084" y="478"/>
                  </a:lnTo>
                  <a:lnTo>
                    <a:pt x="2085" y="475"/>
                  </a:lnTo>
                  <a:lnTo>
                    <a:pt x="2093" y="475"/>
                  </a:lnTo>
                  <a:lnTo>
                    <a:pt x="2097" y="477"/>
                  </a:lnTo>
                  <a:lnTo>
                    <a:pt x="2104" y="477"/>
                  </a:lnTo>
                  <a:lnTo>
                    <a:pt x="2122" y="498"/>
                  </a:lnTo>
                  <a:lnTo>
                    <a:pt x="2121" y="501"/>
                  </a:lnTo>
                  <a:lnTo>
                    <a:pt x="2131" y="504"/>
                  </a:lnTo>
                  <a:lnTo>
                    <a:pt x="2133" y="504"/>
                  </a:lnTo>
                  <a:lnTo>
                    <a:pt x="2133" y="505"/>
                  </a:lnTo>
                  <a:lnTo>
                    <a:pt x="2121" y="511"/>
                  </a:lnTo>
                  <a:lnTo>
                    <a:pt x="2119" y="520"/>
                  </a:lnTo>
                  <a:lnTo>
                    <a:pt x="2119" y="521"/>
                  </a:lnTo>
                  <a:lnTo>
                    <a:pt x="2110" y="514"/>
                  </a:lnTo>
                  <a:lnTo>
                    <a:pt x="2110" y="518"/>
                  </a:lnTo>
                  <a:lnTo>
                    <a:pt x="2113" y="524"/>
                  </a:lnTo>
                  <a:lnTo>
                    <a:pt x="2103" y="524"/>
                  </a:lnTo>
                  <a:lnTo>
                    <a:pt x="2098" y="532"/>
                  </a:lnTo>
                  <a:lnTo>
                    <a:pt x="2094" y="532"/>
                  </a:lnTo>
                  <a:lnTo>
                    <a:pt x="2100" y="538"/>
                  </a:lnTo>
                  <a:lnTo>
                    <a:pt x="2088" y="545"/>
                  </a:lnTo>
                  <a:lnTo>
                    <a:pt x="2093" y="547"/>
                  </a:lnTo>
                  <a:lnTo>
                    <a:pt x="2093" y="548"/>
                  </a:lnTo>
                  <a:lnTo>
                    <a:pt x="2090" y="550"/>
                  </a:lnTo>
                  <a:lnTo>
                    <a:pt x="2097" y="556"/>
                  </a:lnTo>
                  <a:lnTo>
                    <a:pt x="2097" y="557"/>
                  </a:lnTo>
                  <a:lnTo>
                    <a:pt x="2090" y="557"/>
                  </a:lnTo>
                  <a:lnTo>
                    <a:pt x="2088" y="563"/>
                  </a:lnTo>
                  <a:lnTo>
                    <a:pt x="2082" y="561"/>
                  </a:lnTo>
                  <a:lnTo>
                    <a:pt x="2082" y="556"/>
                  </a:lnTo>
                  <a:lnTo>
                    <a:pt x="2081" y="560"/>
                  </a:lnTo>
                  <a:lnTo>
                    <a:pt x="2079" y="560"/>
                  </a:lnTo>
                  <a:lnTo>
                    <a:pt x="2078" y="557"/>
                  </a:lnTo>
                  <a:lnTo>
                    <a:pt x="2075" y="559"/>
                  </a:lnTo>
                  <a:lnTo>
                    <a:pt x="2073" y="559"/>
                  </a:lnTo>
                  <a:lnTo>
                    <a:pt x="2073" y="557"/>
                  </a:lnTo>
                  <a:lnTo>
                    <a:pt x="2072" y="551"/>
                  </a:lnTo>
                  <a:lnTo>
                    <a:pt x="2064" y="548"/>
                  </a:lnTo>
                  <a:lnTo>
                    <a:pt x="2064" y="547"/>
                  </a:lnTo>
                  <a:lnTo>
                    <a:pt x="2063" y="547"/>
                  </a:lnTo>
                  <a:lnTo>
                    <a:pt x="2063" y="548"/>
                  </a:lnTo>
                  <a:lnTo>
                    <a:pt x="2057" y="547"/>
                  </a:lnTo>
                  <a:lnTo>
                    <a:pt x="2050" y="539"/>
                  </a:lnTo>
                  <a:lnTo>
                    <a:pt x="2048" y="539"/>
                  </a:lnTo>
                  <a:lnTo>
                    <a:pt x="2048" y="526"/>
                  </a:lnTo>
                  <a:lnTo>
                    <a:pt x="2042" y="521"/>
                  </a:lnTo>
                  <a:lnTo>
                    <a:pt x="2030" y="521"/>
                  </a:lnTo>
                  <a:lnTo>
                    <a:pt x="2021" y="523"/>
                  </a:lnTo>
                  <a:lnTo>
                    <a:pt x="2015" y="523"/>
                  </a:lnTo>
                  <a:lnTo>
                    <a:pt x="2010" y="505"/>
                  </a:lnTo>
                  <a:lnTo>
                    <a:pt x="2015" y="504"/>
                  </a:lnTo>
                  <a:lnTo>
                    <a:pt x="2015" y="499"/>
                  </a:lnTo>
                  <a:lnTo>
                    <a:pt x="2011" y="504"/>
                  </a:lnTo>
                  <a:lnTo>
                    <a:pt x="2010" y="504"/>
                  </a:lnTo>
                  <a:lnTo>
                    <a:pt x="2007" y="498"/>
                  </a:lnTo>
                  <a:lnTo>
                    <a:pt x="2005" y="498"/>
                  </a:lnTo>
                  <a:lnTo>
                    <a:pt x="2005" y="504"/>
                  </a:lnTo>
                  <a:lnTo>
                    <a:pt x="1998" y="505"/>
                  </a:lnTo>
                  <a:lnTo>
                    <a:pt x="1999" y="511"/>
                  </a:lnTo>
                  <a:lnTo>
                    <a:pt x="2007" y="523"/>
                  </a:lnTo>
                  <a:lnTo>
                    <a:pt x="1998" y="538"/>
                  </a:lnTo>
                  <a:lnTo>
                    <a:pt x="1995" y="541"/>
                  </a:lnTo>
                  <a:lnTo>
                    <a:pt x="1978" y="554"/>
                  </a:lnTo>
                  <a:lnTo>
                    <a:pt x="1977" y="554"/>
                  </a:lnTo>
                  <a:lnTo>
                    <a:pt x="1977" y="553"/>
                  </a:lnTo>
                  <a:lnTo>
                    <a:pt x="1972" y="548"/>
                  </a:lnTo>
                  <a:lnTo>
                    <a:pt x="1964" y="548"/>
                  </a:lnTo>
                  <a:lnTo>
                    <a:pt x="1965" y="557"/>
                  </a:lnTo>
                  <a:lnTo>
                    <a:pt x="1971" y="561"/>
                  </a:lnTo>
                  <a:lnTo>
                    <a:pt x="1974" y="559"/>
                  </a:lnTo>
                  <a:lnTo>
                    <a:pt x="1978" y="567"/>
                  </a:lnTo>
                  <a:lnTo>
                    <a:pt x="1977" y="567"/>
                  </a:lnTo>
                  <a:lnTo>
                    <a:pt x="1975" y="569"/>
                  </a:lnTo>
                  <a:lnTo>
                    <a:pt x="1980" y="570"/>
                  </a:lnTo>
                  <a:lnTo>
                    <a:pt x="1981" y="585"/>
                  </a:lnTo>
                  <a:lnTo>
                    <a:pt x="1989" y="597"/>
                  </a:lnTo>
                  <a:lnTo>
                    <a:pt x="1989" y="599"/>
                  </a:lnTo>
                  <a:lnTo>
                    <a:pt x="1984" y="599"/>
                  </a:lnTo>
                  <a:lnTo>
                    <a:pt x="1990" y="606"/>
                  </a:lnTo>
                  <a:lnTo>
                    <a:pt x="1990" y="607"/>
                  </a:lnTo>
                  <a:lnTo>
                    <a:pt x="1984" y="618"/>
                  </a:lnTo>
                  <a:lnTo>
                    <a:pt x="1983" y="618"/>
                  </a:lnTo>
                  <a:lnTo>
                    <a:pt x="1965" y="609"/>
                  </a:lnTo>
                  <a:lnTo>
                    <a:pt x="1964" y="612"/>
                  </a:lnTo>
                  <a:lnTo>
                    <a:pt x="1962" y="612"/>
                  </a:lnTo>
                  <a:lnTo>
                    <a:pt x="1959" y="606"/>
                  </a:lnTo>
                  <a:lnTo>
                    <a:pt x="1961" y="612"/>
                  </a:lnTo>
                  <a:lnTo>
                    <a:pt x="1961" y="613"/>
                  </a:lnTo>
                  <a:lnTo>
                    <a:pt x="1959" y="613"/>
                  </a:lnTo>
                  <a:lnTo>
                    <a:pt x="1932" y="624"/>
                  </a:lnTo>
                  <a:lnTo>
                    <a:pt x="1931" y="628"/>
                  </a:lnTo>
                  <a:lnTo>
                    <a:pt x="1931" y="630"/>
                  </a:lnTo>
                  <a:lnTo>
                    <a:pt x="1916" y="637"/>
                  </a:lnTo>
                  <a:lnTo>
                    <a:pt x="1912" y="636"/>
                  </a:lnTo>
                  <a:lnTo>
                    <a:pt x="1907" y="645"/>
                  </a:lnTo>
                  <a:lnTo>
                    <a:pt x="1897" y="650"/>
                  </a:lnTo>
                  <a:lnTo>
                    <a:pt x="1898" y="653"/>
                  </a:lnTo>
                  <a:lnTo>
                    <a:pt x="1897" y="653"/>
                  </a:lnTo>
                  <a:lnTo>
                    <a:pt x="1897" y="655"/>
                  </a:lnTo>
                  <a:lnTo>
                    <a:pt x="1894" y="653"/>
                  </a:lnTo>
                  <a:lnTo>
                    <a:pt x="1894" y="658"/>
                  </a:lnTo>
                  <a:lnTo>
                    <a:pt x="1873" y="670"/>
                  </a:lnTo>
                  <a:lnTo>
                    <a:pt x="1870" y="683"/>
                  </a:lnTo>
                  <a:lnTo>
                    <a:pt x="1869" y="683"/>
                  </a:lnTo>
                  <a:lnTo>
                    <a:pt x="1857" y="668"/>
                  </a:lnTo>
                  <a:lnTo>
                    <a:pt x="1842" y="665"/>
                  </a:lnTo>
                  <a:lnTo>
                    <a:pt x="1827" y="671"/>
                  </a:lnTo>
                  <a:lnTo>
                    <a:pt x="1817" y="686"/>
                  </a:lnTo>
                  <a:lnTo>
                    <a:pt x="1815" y="686"/>
                  </a:lnTo>
                  <a:lnTo>
                    <a:pt x="1817" y="670"/>
                  </a:lnTo>
                  <a:lnTo>
                    <a:pt x="1815" y="670"/>
                  </a:lnTo>
                  <a:lnTo>
                    <a:pt x="1803" y="677"/>
                  </a:lnTo>
                  <a:lnTo>
                    <a:pt x="1801" y="686"/>
                  </a:lnTo>
                  <a:lnTo>
                    <a:pt x="1795" y="682"/>
                  </a:lnTo>
                  <a:lnTo>
                    <a:pt x="1790" y="686"/>
                  </a:lnTo>
                  <a:lnTo>
                    <a:pt x="1789" y="686"/>
                  </a:lnTo>
                  <a:lnTo>
                    <a:pt x="1787" y="683"/>
                  </a:lnTo>
                  <a:lnTo>
                    <a:pt x="1781" y="686"/>
                  </a:lnTo>
                  <a:lnTo>
                    <a:pt x="1777" y="705"/>
                  </a:lnTo>
                  <a:lnTo>
                    <a:pt x="1774" y="705"/>
                  </a:lnTo>
                  <a:lnTo>
                    <a:pt x="1762" y="726"/>
                  </a:lnTo>
                  <a:lnTo>
                    <a:pt x="1762" y="735"/>
                  </a:lnTo>
                  <a:lnTo>
                    <a:pt x="1763" y="738"/>
                  </a:lnTo>
                  <a:lnTo>
                    <a:pt x="1769" y="732"/>
                  </a:lnTo>
                  <a:lnTo>
                    <a:pt x="1771" y="732"/>
                  </a:lnTo>
                  <a:lnTo>
                    <a:pt x="1778" y="736"/>
                  </a:lnTo>
                  <a:lnTo>
                    <a:pt x="1778" y="738"/>
                  </a:lnTo>
                  <a:lnTo>
                    <a:pt x="1771" y="753"/>
                  </a:lnTo>
                  <a:lnTo>
                    <a:pt x="1772" y="762"/>
                  </a:lnTo>
                  <a:lnTo>
                    <a:pt x="1778" y="765"/>
                  </a:lnTo>
                  <a:lnTo>
                    <a:pt x="1778" y="773"/>
                  </a:lnTo>
                  <a:lnTo>
                    <a:pt x="1775" y="781"/>
                  </a:lnTo>
                  <a:lnTo>
                    <a:pt x="1774" y="781"/>
                  </a:lnTo>
                  <a:lnTo>
                    <a:pt x="1769" y="775"/>
                  </a:lnTo>
                  <a:lnTo>
                    <a:pt x="1772" y="769"/>
                  </a:lnTo>
                  <a:lnTo>
                    <a:pt x="1766" y="772"/>
                  </a:lnTo>
                  <a:lnTo>
                    <a:pt x="1768" y="775"/>
                  </a:lnTo>
                  <a:lnTo>
                    <a:pt x="1768" y="776"/>
                  </a:lnTo>
                  <a:lnTo>
                    <a:pt x="1761" y="782"/>
                  </a:lnTo>
                  <a:lnTo>
                    <a:pt x="1758" y="791"/>
                  </a:lnTo>
                  <a:lnTo>
                    <a:pt x="1763" y="809"/>
                  </a:lnTo>
                  <a:lnTo>
                    <a:pt x="1762" y="809"/>
                  </a:lnTo>
                  <a:lnTo>
                    <a:pt x="1756" y="815"/>
                  </a:lnTo>
                  <a:lnTo>
                    <a:pt x="1755" y="815"/>
                  </a:lnTo>
                  <a:lnTo>
                    <a:pt x="1747" y="814"/>
                  </a:lnTo>
                  <a:lnTo>
                    <a:pt x="1735" y="825"/>
                  </a:lnTo>
                  <a:lnTo>
                    <a:pt x="1735" y="845"/>
                  </a:lnTo>
                  <a:lnTo>
                    <a:pt x="1734" y="845"/>
                  </a:lnTo>
                  <a:lnTo>
                    <a:pt x="1731" y="843"/>
                  </a:lnTo>
                  <a:lnTo>
                    <a:pt x="1718" y="849"/>
                  </a:lnTo>
                  <a:lnTo>
                    <a:pt x="1713" y="871"/>
                  </a:lnTo>
                  <a:lnTo>
                    <a:pt x="1694" y="892"/>
                  </a:lnTo>
                  <a:lnTo>
                    <a:pt x="1678" y="811"/>
                  </a:lnTo>
                  <a:lnTo>
                    <a:pt x="1678" y="793"/>
                  </a:lnTo>
                  <a:lnTo>
                    <a:pt x="1682" y="763"/>
                  </a:lnTo>
                  <a:lnTo>
                    <a:pt x="1694" y="754"/>
                  </a:lnTo>
                  <a:lnTo>
                    <a:pt x="1697" y="744"/>
                  </a:lnTo>
                  <a:lnTo>
                    <a:pt x="1694" y="736"/>
                  </a:lnTo>
                  <a:lnTo>
                    <a:pt x="1694" y="735"/>
                  </a:lnTo>
                  <a:lnTo>
                    <a:pt x="1697" y="735"/>
                  </a:lnTo>
                  <a:lnTo>
                    <a:pt x="1698" y="736"/>
                  </a:lnTo>
                  <a:lnTo>
                    <a:pt x="1701" y="736"/>
                  </a:lnTo>
                  <a:lnTo>
                    <a:pt x="1715" y="729"/>
                  </a:lnTo>
                  <a:lnTo>
                    <a:pt x="1741" y="693"/>
                  </a:lnTo>
                  <a:lnTo>
                    <a:pt x="1758" y="676"/>
                  </a:lnTo>
                  <a:lnTo>
                    <a:pt x="1761" y="670"/>
                  </a:lnTo>
                  <a:lnTo>
                    <a:pt x="1761" y="668"/>
                  </a:lnTo>
                  <a:lnTo>
                    <a:pt x="1783" y="658"/>
                  </a:lnTo>
                  <a:lnTo>
                    <a:pt x="1781" y="652"/>
                  </a:lnTo>
                  <a:lnTo>
                    <a:pt x="1784" y="647"/>
                  </a:lnTo>
                  <a:lnTo>
                    <a:pt x="1784" y="640"/>
                  </a:lnTo>
                  <a:lnTo>
                    <a:pt x="1787" y="636"/>
                  </a:lnTo>
                  <a:lnTo>
                    <a:pt x="1789" y="622"/>
                  </a:lnTo>
                  <a:lnTo>
                    <a:pt x="1789" y="621"/>
                  </a:lnTo>
                  <a:lnTo>
                    <a:pt x="1790" y="621"/>
                  </a:lnTo>
                  <a:lnTo>
                    <a:pt x="1799" y="615"/>
                  </a:lnTo>
                  <a:lnTo>
                    <a:pt x="1799" y="613"/>
                  </a:lnTo>
                  <a:lnTo>
                    <a:pt x="1793" y="609"/>
                  </a:lnTo>
                  <a:lnTo>
                    <a:pt x="1783" y="613"/>
                  </a:lnTo>
                  <a:lnTo>
                    <a:pt x="1775" y="624"/>
                  </a:lnTo>
                  <a:lnTo>
                    <a:pt x="1775" y="633"/>
                  </a:lnTo>
                  <a:lnTo>
                    <a:pt x="1778" y="636"/>
                  </a:lnTo>
                  <a:lnTo>
                    <a:pt x="1778" y="637"/>
                  </a:lnTo>
                  <a:lnTo>
                    <a:pt x="1775" y="640"/>
                  </a:lnTo>
                  <a:lnTo>
                    <a:pt x="1772" y="637"/>
                  </a:lnTo>
                  <a:lnTo>
                    <a:pt x="1766" y="639"/>
                  </a:lnTo>
                  <a:lnTo>
                    <a:pt x="1738" y="667"/>
                  </a:lnTo>
                  <a:lnTo>
                    <a:pt x="1737" y="667"/>
                  </a:lnTo>
                  <a:lnTo>
                    <a:pt x="1737" y="665"/>
                  </a:lnTo>
                  <a:lnTo>
                    <a:pt x="1740" y="656"/>
                  </a:lnTo>
                  <a:lnTo>
                    <a:pt x="1732" y="656"/>
                  </a:lnTo>
                  <a:lnTo>
                    <a:pt x="1732" y="655"/>
                  </a:lnTo>
                  <a:lnTo>
                    <a:pt x="1735" y="650"/>
                  </a:lnTo>
                  <a:lnTo>
                    <a:pt x="1734" y="646"/>
                  </a:lnTo>
                  <a:lnTo>
                    <a:pt x="1738" y="639"/>
                  </a:lnTo>
                  <a:lnTo>
                    <a:pt x="1740" y="631"/>
                  </a:lnTo>
                  <a:lnTo>
                    <a:pt x="1734" y="637"/>
                  </a:lnTo>
                  <a:lnTo>
                    <a:pt x="1722" y="631"/>
                  </a:lnTo>
                  <a:lnTo>
                    <a:pt x="1700" y="637"/>
                  </a:lnTo>
                  <a:lnTo>
                    <a:pt x="1683" y="662"/>
                  </a:lnTo>
                  <a:lnTo>
                    <a:pt x="1669" y="674"/>
                  </a:lnTo>
                  <a:lnTo>
                    <a:pt x="1663" y="686"/>
                  </a:lnTo>
                  <a:lnTo>
                    <a:pt x="1660" y="686"/>
                  </a:lnTo>
                  <a:lnTo>
                    <a:pt x="1663" y="692"/>
                  </a:lnTo>
                  <a:lnTo>
                    <a:pt x="1661" y="695"/>
                  </a:lnTo>
                  <a:lnTo>
                    <a:pt x="1672" y="698"/>
                  </a:lnTo>
                  <a:lnTo>
                    <a:pt x="1673" y="702"/>
                  </a:lnTo>
                  <a:lnTo>
                    <a:pt x="1672" y="704"/>
                  </a:lnTo>
                  <a:lnTo>
                    <a:pt x="1669" y="704"/>
                  </a:lnTo>
                  <a:lnTo>
                    <a:pt x="1652" y="702"/>
                  </a:lnTo>
                  <a:lnTo>
                    <a:pt x="1642" y="710"/>
                  </a:lnTo>
                  <a:lnTo>
                    <a:pt x="1637" y="707"/>
                  </a:lnTo>
                  <a:lnTo>
                    <a:pt x="1623" y="711"/>
                  </a:lnTo>
                  <a:lnTo>
                    <a:pt x="1620" y="705"/>
                  </a:lnTo>
                  <a:lnTo>
                    <a:pt x="1620" y="704"/>
                  </a:lnTo>
                  <a:lnTo>
                    <a:pt x="1632" y="699"/>
                  </a:lnTo>
                  <a:lnTo>
                    <a:pt x="1623" y="693"/>
                  </a:lnTo>
                  <a:lnTo>
                    <a:pt x="1617" y="696"/>
                  </a:lnTo>
                  <a:lnTo>
                    <a:pt x="1596" y="689"/>
                  </a:lnTo>
                  <a:lnTo>
                    <a:pt x="1593" y="690"/>
                  </a:lnTo>
                  <a:lnTo>
                    <a:pt x="1594" y="695"/>
                  </a:lnTo>
                  <a:lnTo>
                    <a:pt x="1594" y="696"/>
                  </a:lnTo>
                  <a:lnTo>
                    <a:pt x="1590" y="696"/>
                  </a:lnTo>
                  <a:lnTo>
                    <a:pt x="1590" y="702"/>
                  </a:lnTo>
                  <a:lnTo>
                    <a:pt x="1586" y="702"/>
                  </a:lnTo>
                  <a:lnTo>
                    <a:pt x="1583" y="698"/>
                  </a:lnTo>
                  <a:lnTo>
                    <a:pt x="1572" y="702"/>
                  </a:lnTo>
                  <a:lnTo>
                    <a:pt x="1559" y="696"/>
                  </a:lnTo>
                  <a:lnTo>
                    <a:pt x="1554" y="704"/>
                  </a:lnTo>
                  <a:lnTo>
                    <a:pt x="1553" y="704"/>
                  </a:lnTo>
                  <a:lnTo>
                    <a:pt x="1546" y="698"/>
                  </a:lnTo>
                  <a:lnTo>
                    <a:pt x="1516" y="699"/>
                  </a:lnTo>
                  <a:lnTo>
                    <a:pt x="1504" y="705"/>
                  </a:lnTo>
                  <a:lnTo>
                    <a:pt x="1486" y="726"/>
                  </a:lnTo>
                  <a:lnTo>
                    <a:pt x="1480" y="738"/>
                  </a:lnTo>
                  <a:lnTo>
                    <a:pt x="1464" y="750"/>
                  </a:lnTo>
                  <a:lnTo>
                    <a:pt x="1445" y="776"/>
                  </a:lnTo>
                  <a:lnTo>
                    <a:pt x="1414" y="805"/>
                  </a:lnTo>
                  <a:lnTo>
                    <a:pt x="1414" y="808"/>
                  </a:lnTo>
                  <a:lnTo>
                    <a:pt x="1420" y="812"/>
                  </a:lnTo>
                  <a:lnTo>
                    <a:pt x="1423" y="812"/>
                  </a:lnTo>
                  <a:lnTo>
                    <a:pt x="1427" y="811"/>
                  </a:lnTo>
                  <a:lnTo>
                    <a:pt x="1433" y="811"/>
                  </a:lnTo>
                  <a:lnTo>
                    <a:pt x="1433" y="830"/>
                  </a:lnTo>
                  <a:lnTo>
                    <a:pt x="1437" y="827"/>
                  </a:lnTo>
                  <a:lnTo>
                    <a:pt x="1437" y="821"/>
                  </a:lnTo>
                  <a:lnTo>
                    <a:pt x="1443" y="818"/>
                  </a:lnTo>
                  <a:lnTo>
                    <a:pt x="1445" y="818"/>
                  </a:lnTo>
                  <a:lnTo>
                    <a:pt x="1445" y="819"/>
                  </a:lnTo>
                  <a:lnTo>
                    <a:pt x="1440" y="822"/>
                  </a:lnTo>
                  <a:lnTo>
                    <a:pt x="1445" y="828"/>
                  </a:lnTo>
                  <a:lnTo>
                    <a:pt x="1440" y="834"/>
                  </a:lnTo>
                  <a:lnTo>
                    <a:pt x="1451" y="831"/>
                  </a:lnTo>
                  <a:lnTo>
                    <a:pt x="1454" y="828"/>
                  </a:lnTo>
                  <a:lnTo>
                    <a:pt x="1454" y="833"/>
                  </a:lnTo>
                  <a:lnTo>
                    <a:pt x="1457" y="830"/>
                  </a:lnTo>
                  <a:lnTo>
                    <a:pt x="1457" y="818"/>
                  </a:lnTo>
                  <a:lnTo>
                    <a:pt x="1473" y="818"/>
                  </a:lnTo>
                  <a:lnTo>
                    <a:pt x="1480" y="831"/>
                  </a:lnTo>
                  <a:lnTo>
                    <a:pt x="1494" y="840"/>
                  </a:lnTo>
                  <a:lnTo>
                    <a:pt x="1494" y="842"/>
                  </a:lnTo>
                  <a:lnTo>
                    <a:pt x="1489" y="849"/>
                  </a:lnTo>
                  <a:lnTo>
                    <a:pt x="1491" y="855"/>
                  </a:lnTo>
                  <a:lnTo>
                    <a:pt x="1491" y="859"/>
                  </a:lnTo>
                  <a:lnTo>
                    <a:pt x="1494" y="864"/>
                  </a:lnTo>
                  <a:lnTo>
                    <a:pt x="1494" y="865"/>
                  </a:lnTo>
                  <a:lnTo>
                    <a:pt x="1486" y="880"/>
                  </a:lnTo>
                  <a:lnTo>
                    <a:pt x="1482" y="895"/>
                  </a:lnTo>
                  <a:lnTo>
                    <a:pt x="1483" y="908"/>
                  </a:lnTo>
                  <a:lnTo>
                    <a:pt x="1479" y="941"/>
                  </a:lnTo>
                  <a:lnTo>
                    <a:pt x="1467" y="954"/>
                  </a:lnTo>
                  <a:lnTo>
                    <a:pt x="1457" y="971"/>
                  </a:lnTo>
                  <a:lnTo>
                    <a:pt x="1451" y="986"/>
                  </a:lnTo>
                  <a:lnTo>
                    <a:pt x="1411" y="1036"/>
                  </a:lnTo>
                  <a:lnTo>
                    <a:pt x="1397" y="1046"/>
                  </a:lnTo>
                  <a:lnTo>
                    <a:pt x="1387" y="1049"/>
                  </a:lnTo>
                  <a:lnTo>
                    <a:pt x="1375" y="1046"/>
                  </a:lnTo>
                  <a:lnTo>
                    <a:pt x="1374" y="1046"/>
                  </a:lnTo>
                  <a:lnTo>
                    <a:pt x="1374" y="1039"/>
                  </a:lnTo>
                  <a:lnTo>
                    <a:pt x="1371" y="1042"/>
                  </a:lnTo>
                  <a:lnTo>
                    <a:pt x="1368" y="1036"/>
                  </a:lnTo>
                  <a:lnTo>
                    <a:pt x="1360" y="1049"/>
                  </a:lnTo>
                  <a:lnTo>
                    <a:pt x="1360" y="1051"/>
                  </a:lnTo>
                  <a:lnTo>
                    <a:pt x="1354" y="1051"/>
                  </a:lnTo>
                  <a:lnTo>
                    <a:pt x="1354" y="1054"/>
                  </a:lnTo>
                  <a:lnTo>
                    <a:pt x="1353" y="1054"/>
                  </a:lnTo>
                  <a:lnTo>
                    <a:pt x="1351" y="1051"/>
                  </a:lnTo>
                  <a:lnTo>
                    <a:pt x="1351" y="1046"/>
                  </a:lnTo>
                  <a:lnTo>
                    <a:pt x="1359" y="1036"/>
                  </a:lnTo>
                  <a:lnTo>
                    <a:pt x="1359" y="1021"/>
                  </a:lnTo>
                  <a:lnTo>
                    <a:pt x="1356" y="1012"/>
                  </a:lnTo>
                  <a:lnTo>
                    <a:pt x="1368" y="1002"/>
                  </a:lnTo>
                  <a:lnTo>
                    <a:pt x="1381" y="1006"/>
                  </a:lnTo>
                  <a:lnTo>
                    <a:pt x="1384" y="1003"/>
                  </a:lnTo>
                  <a:lnTo>
                    <a:pt x="1393" y="986"/>
                  </a:lnTo>
                  <a:lnTo>
                    <a:pt x="1399" y="963"/>
                  </a:lnTo>
                  <a:lnTo>
                    <a:pt x="1405" y="957"/>
                  </a:lnTo>
                  <a:lnTo>
                    <a:pt x="1403" y="944"/>
                  </a:lnTo>
                  <a:lnTo>
                    <a:pt x="1405" y="941"/>
                  </a:lnTo>
                  <a:lnTo>
                    <a:pt x="1371" y="956"/>
                  </a:lnTo>
                  <a:lnTo>
                    <a:pt x="1357" y="956"/>
                  </a:lnTo>
                  <a:lnTo>
                    <a:pt x="1353" y="948"/>
                  </a:lnTo>
                  <a:lnTo>
                    <a:pt x="1353" y="940"/>
                  </a:lnTo>
                  <a:lnTo>
                    <a:pt x="1350" y="932"/>
                  </a:lnTo>
                  <a:lnTo>
                    <a:pt x="1332" y="922"/>
                  </a:lnTo>
                  <a:lnTo>
                    <a:pt x="1311" y="917"/>
                  </a:lnTo>
                  <a:lnTo>
                    <a:pt x="1310" y="917"/>
                  </a:lnTo>
                  <a:lnTo>
                    <a:pt x="1305" y="892"/>
                  </a:lnTo>
                  <a:lnTo>
                    <a:pt x="1298" y="874"/>
                  </a:lnTo>
                  <a:lnTo>
                    <a:pt x="1297" y="862"/>
                  </a:lnTo>
                  <a:lnTo>
                    <a:pt x="1286" y="849"/>
                  </a:lnTo>
                  <a:lnTo>
                    <a:pt x="1271" y="846"/>
                  </a:lnTo>
                  <a:lnTo>
                    <a:pt x="1260" y="839"/>
                  </a:lnTo>
                  <a:lnTo>
                    <a:pt x="1224" y="843"/>
                  </a:lnTo>
                  <a:lnTo>
                    <a:pt x="1215" y="855"/>
                  </a:lnTo>
                  <a:lnTo>
                    <a:pt x="1214" y="858"/>
                  </a:lnTo>
                  <a:lnTo>
                    <a:pt x="1222" y="858"/>
                  </a:lnTo>
                  <a:lnTo>
                    <a:pt x="1222" y="870"/>
                  </a:lnTo>
                  <a:lnTo>
                    <a:pt x="1212" y="879"/>
                  </a:lnTo>
                  <a:lnTo>
                    <a:pt x="1205" y="901"/>
                  </a:lnTo>
                  <a:lnTo>
                    <a:pt x="1203" y="908"/>
                  </a:lnTo>
                  <a:lnTo>
                    <a:pt x="1185" y="919"/>
                  </a:lnTo>
                  <a:lnTo>
                    <a:pt x="1184" y="919"/>
                  </a:lnTo>
                  <a:lnTo>
                    <a:pt x="1165" y="911"/>
                  </a:lnTo>
                  <a:lnTo>
                    <a:pt x="1156" y="913"/>
                  </a:lnTo>
                  <a:lnTo>
                    <a:pt x="1142" y="905"/>
                  </a:lnTo>
                  <a:lnTo>
                    <a:pt x="1122" y="919"/>
                  </a:lnTo>
                  <a:lnTo>
                    <a:pt x="1093" y="928"/>
                  </a:lnTo>
                  <a:lnTo>
                    <a:pt x="1083" y="925"/>
                  </a:lnTo>
                  <a:lnTo>
                    <a:pt x="1065" y="922"/>
                  </a:lnTo>
                  <a:lnTo>
                    <a:pt x="1055" y="914"/>
                  </a:lnTo>
                  <a:lnTo>
                    <a:pt x="1025" y="898"/>
                  </a:lnTo>
                  <a:lnTo>
                    <a:pt x="1016" y="897"/>
                  </a:lnTo>
                  <a:lnTo>
                    <a:pt x="999" y="905"/>
                  </a:lnTo>
                  <a:lnTo>
                    <a:pt x="990" y="902"/>
                  </a:lnTo>
                  <a:lnTo>
                    <a:pt x="979" y="895"/>
                  </a:lnTo>
                  <a:lnTo>
                    <a:pt x="976" y="879"/>
                  </a:lnTo>
                  <a:lnTo>
                    <a:pt x="942" y="865"/>
                  </a:lnTo>
                  <a:lnTo>
                    <a:pt x="925" y="880"/>
                  </a:lnTo>
                  <a:lnTo>
                    <a:pt x="927" y="895"/>
                  </a:lnTo>
                  <a:lnTo>
                    <a:pt x="925" y="900"/>
                  </a:lnTo>
                  <a:lnTo>
                    <a:pt x="926" y="908"/>
                  </a:lnTo>
                  <a:lnTo>
                    <a:pt x="923" y="910"/>
                  </a:lnTo>
                  <a:lnTo>
                    <a:pt x="884" y="910"/>
                  </a:lnTo>
                  <a:lnTo>
                    <a:pt x="877" y="901"/>
                  </a:lnTo>
                  <a:lnTo>
                    <a:pt x="844" y="898"/>
                  </a:lnTo>
                  <a:lnTo>
                    <a:pt x="830" y="902"/>
                  </a:lnTo>
                  <a:lnTo>
                    <a:pt x="799" y="922"/>
                  </a:lnTo>
                  <a:lnTo>
                    <a:pt x="793" y="931"/>
                  </a:lnTo>
                  <a:lnTo>
                    <a:pt x="788" y="934"/>
                  </a:lnTo>
                  <a:lnTo>
                    <a:pt x="788" y="935"/>
                  </a:lnTo>
                  <a:lnTo>
                    <a:pt x="787" y="935"/>
                  </a:lnTo>
                  <a:lnTo>
                    <a:pt x="787" y="934"/>
                  </a:lnTo>
                  <a:lnTo>
                    <a:pt x="781" y="932"/>
                  </a:lnTo>
                  <a:lnTo>
                    <a:pt x="781" y="931"/>
                  </a:lnTo>
                  <a:lnTo>
                    <a:pt x="785" y="926"/>
                  </a:lnTo>
                  <a:lnTo>
                    <a:pt x="779" y="916"/>
                  </a:lnTo>
                  <a:lnTo>
                    <a:pt x="776" y="916"/>
                  </a:lnTo>
                  <a:lnTo>
                    <a:pt x="775" y="919"/>
                  </a:lnTo>
                  <a:lnTo>
                    <a:pt x="773" y="920"/>
                  </a:lnTo>
                  <a:lnTo>
                    <a:pt x="760" y="916"/>
                  </a:lnTo>
                  <a:lnTo>
                    <a:pt x="756" y="910"/>
                  </a:lnTo>
                  <a:lnTo>
                    <a:pt x="754" y="907"/>
                  </a:lnTo>
                  <a:lnTo>
                    <a:pt x="748" y="904"/>
                  </a:lnTo>
                  <a:lnTo>
                    <a:pt x="747" y="897"/>
                  </a:lnTo>
                  <a:lnTo>
                    <a:pt x="738" y="889"/>
                  </a:lnTo>
                  <a:lnTo>
                    <a:pt x="735" y="889"/>
                  </a:lnTo>
                  <a:lnTo>
                    <a:pt x="732" y="891"/>
                  </a:lnTo>
                  <a:lnTo>
                    <a:pt x="729" y="891"/>
                  </a:lnTo>
                  <a:lnTo>
                    <a:pt x="727" y="894"/>
                  </a:lnTo>
                  <a:lnTo>
                    <a:pt x="727" y="895"/>
                  </a:lnTo>
                  <a:lnTo>
                    <a:pt x="710" y="895"/>
                  </a:lnTo>
                  <a:lnTo>
                    <a:pt x="710" y="894"/>
                  </a:lnTo>
                  <a:lnTo>
                    <a:pt x="707" y="889"/>
                  </a:lnTo>
                  <a:lnTo>
                    <a:pt x="707" y="886"/>
                  </a:lnTo>
                  <a:lnTo>
                    <a:pt x="702" y="883"/>
                  </a:lnTo>
                  <a:lnTo>
                    <a:pt x="701" y="883"/>
                  </a:lnTo>
                  <a:lnTo>
                    <a:pt x="698" y="891"/>
                  </a:lnTo>
                  <a:lnTo>
                    <a:pt x="693" y="894"/>
                  </a:lnTo>
                  <a:lnTo>
                    <a:pt x="664" y="840"/>
                  </a:lnTo>
                  <a:lnTo>
                    <a:pt x="646" y="825"/>
                  </a:lnTo>
                  <a:lnTo>
                    <a:pt x="646" y="821"/>
                  </a:lnTo>
                  <a:lnTo>
                    <a:pt x="650" y="818"/>
                  </a:lnTo>
                  <a:lnTo>
                    <a:pt x="649" y="816"/>
                  </a:lnTo>
                  <a:lnTo>
                    <a:pt x="640" y="821"/>
                  </a:lnTo>
                  <a:lnTo>
                    <a:pt x="635" y="821"/>
                  </a:lnTo>
                  <a:lnTo>
                    <a:pt x="630" y="828"/>
                  </a:lnTo>
                  <a:lnTo>
                    <a:pt x="621" y="831"/>
                  </a:lnTo>
                  <a:lnTo>
                    <a:pt x="621" y="836"/>
                  </a:lnTo>
                  <a:lnTo>
                    <a:pt x="619" y="836"/>
                  </a:lnTo>
                  <a:lnTo>
                    <a:pt x="619" y="834"/>
                  </a:lnTo>
                  <a:lnTo>
                    <a:pt x="613" y="833"/>
                  </a:lnTo>
                  <a:lnTo>
                    <a:pt x="606" y="836"/>
                  </a:lnTo>
                  <a:lnTo>
                    <a:pt x="604" y="833"/>
                  </a:lnTo>
                  <a:lnTo>
                    <a:pt x="604" y="831"/>
                  </a:lnTo>
                  <a:lnTo>
                    <a:pt x="606" y="828"/>
                  </a:lnTo>
                  <a:lnTo>
                    <a:pt x="609" y="827"/>
                  </a:lnTo>
                  <a:lnTo>
                    <a:pt x="609" y="824"/>
                  </a:lnTo>
                  <a:lnTo>
                    <a:pt x="606" y="827"/>
                  </a:lnTo>
                  <a:lnTo>
                    <a:pt x="604" y="827"/>
                  </a:lnTo>
                  <a:lnTo>
                    <a:pt x="595" y="822"/>
                  </a:lnTo>
                  <a:lnTo>
                    <a:pt x="597" y="825"/>
                  </a:lnTo>
                  <a:lnTo>
                    <a:pt x="592" y="825"/>
                  </a:lnTo>
                  <a:lnTo>
                    <a:pt x="592" y="821"/>
                  </a:lnTo>
                  <a:lnTo>
                    <a:pt x="591" y="816"/>
                  </a:lnTo>
                  <a:lnTo>
                    <a:pt x="590" y="816"/>
                  </a:lnTo>
                  <a:lnTo>
                    <a:pt x="590" y="819"/>
                  </a:lnTo>
                  <a:lnTo>
                    <a:pt x="588" y="821"/>
                  </a:lnTo>
                  <a:lnTo>
                    <a:pt x="584" y="821"/>
                  </a:lnTo>
                  <a:lnTo>
                    <a:pt x="581" y="822"/>
                  </a:lnTo>
                  <a:lnTo>
                    <a:pt x="576" y="822"/>
                  </a:lnTo>
                  <a:lnTo>
                    <a:pt x="576" y="821"/>
                  </a:lnTo>
                  <a:lnTo>
                    <a:pt x="575" y="818"/>
                  </a:lnTo>
                  <a:lnTo>
                    <a:pt x="578" y="814"/>
                  </a:lnTo>
                  <a:lnTo>
                    <a:pt x="578" y="809"/>
                  </a:lnTo>
                  <a:lnTo>
                    <a:pt x="575" y="808"/>
                  </a:lnTo>
                  <a:lnTo>
                    <a:pt x="575" y="806"/>
                  </a:lnTo>
                  <a:lnTo>
                    <a:pt x="573" y="797"/>
                  </a:lnTo>
                  <a:lnTo>
                    <a:pt x="570" y="796"/>
                  </a:lnTo>
                  <a:lnTo>
                    <a:pt x="564" y="799"/>
                  </a:lnTo>
                  <a:lnTo>
                    <a:pt x="563" y="799"/>
                  </a:lnTo>
                  <a:lnTo>
                    <a:pt x="557" y="794"/>
                  </a:lnTo>
                  <a:lnTo>
                    <a:pt x="548" y="793"/>
                  </a:lnTo>
                  <a:lnTo>
                    <a:pt x="544" y="797"/>
                  </a:lnTo>
                  <a:lnTo>
                    <a:pt x="539" y="797"/>
                  </a:lnTo>
                  <a:lnTo>
                    <a:pt x="539" y="803"/>
                  </a:lnTo>
                  <a:lnTo>
                    <a:pt x="538" y="803"/>
                  </a:lnTo>
                  <a:lnTo>
                    <a:pt x="509" y="811"/>
                  </a:lnTo>
                  <a:lnTo>
                    <a:pt x="501" y="812"/>
                  </a:lnTo>
                  <a:lnTo>
                    <a:pt x="498" y="816"/>
                  </a:lnTo>
                  <a:lnTo>
                    <a:pt x="490" y="816"/>
                  </a:lnTo>
                  <a:lnTo>
                    <a:pt x="486" y="819"/>
                  </a:lnTo>
                  <a:lnTo>
                    <a:pt x="484" y="821"/>
                  </a:lnTo>
                  <a:lnTo>
                    <a:pt x="478" y="819"/>
                  </a:lnTo>
                  <a:lnTo>
                    <a:pt x="472" y="824"/>
                  </a:lnTo>
                  <a:lnTo>
                    <a:pt x="466" y="824"/>
                  </a:lnTo>
                  <a:lnTo>
                    <a:pt x="465" y="827"/>
                  </a:lnTo>
                  <a:lnTo>
                    <a:pt x="464" y="827"/>
                  </a:lnTo>
                  <a:lnTo>
                    <a:pt x="462" y="825"/>
                  </a:lnTo>
                  <a:lnTo>
                    <a:pt x="452" y="825"/>
                  </a:lnTo>
                  <a:lnTo>
                    <a:pt x="450" y="824"/>
                  </a:lnTo>
                  <a:lnTo>
                    <a:pt x="446" y="825"/>
                  </a:lnTo>
                  <a:lnTo>
                    <a:pt x="447" y="827"/>
                  </a:lnTo>
                  <a:lnTo>
                    <a:pt x="447" y="828"/>
                  </a:lnTo>
                  <a:lnTo>
                    <a:pt x="446" y="833"/>
                  </a:lnTo>
                  <a:lnTo>
                    <a:pt x="449" y="831"/>
                  </a:lnTo>
                  <a:lnTo>
                    <a:pt x="450" y="831"/>
                  </a:lnTo>
                  <a:lnTo>
                    <a:pt x="452" y="833"/>
                  </a:lnTo>
                  <a:lnTo>
                    <a:pt x="452" y="834"/>
                  </a:lnTo>
                  <a:lnTo>
                    <a:pt x="447" y="836"/>
                  </a:lnTo>
                  <a:lnTo>
                    <a:pt x="447" y="839"/>
                  </a:lnTo>
                  <a:lnTo>
                    <a:pt x="455" y="840"/>
                  </a:lnTo>
                  <a:lnTo>
                    <a:pt x="461" y="843"/>
                  </a:lnTo>
                  <a:lnTo>
                    <a:pt x="461" y="845"/>
                  </a:lnTo>
                  <a:lnTo>
                    <a:pt x="458" y="846"/>
                  </a:lnTo>
                  <a:lnTo>
                    <a:pt x="446" y="848"/>
                  </a:lnTo>
                  <a:lnTo>
                    <a:pt x="441" y="852"/>
                  </a:lnTo>
                  <a:lnTo>
                    <a:pt x="446" y="857"/>
                  </a:lnTo>
                  <a:lnTo>
                    <a:pt x="446" y="858"/>
                  </a:lnTo>
                  <a:lnTo>
                    <a:pt x="444" y="861"/>
                  </a:lnTo>
                  <a:lnTo>
                    <a:pt x="444" y="862"/>
                  </a:lnTo>
                  <a:lnTo>
                    <a:pt x="432" y="868"/>
                  </a:lnTo>
                  <a:lnTo>
                    <a:pt x="435" y="870"/>
                  </a:lnTo>
                  <a:lnTo>
                    <a:pt x="437" y="873"/>
                  </a:lnTo>
                  <a:lnTo>
                    <a:pt x="441" y="874"/>
                  </a:lnTo>
                  <a:lnTo>
                    <a:pt x="443" y="874"/>
                  </a:lnTo>
                  <a:lnTo>
                    <a:pt x="444" y="879"/>
                  </a:lnTo>
                  <a:lnTo>
                    <a:pt x="453" y="880"/>
                  </a:lnTo>
                  <a:lnTo>
                    <a:pt x="453" y="882"/>
                  </a:lnTo>
                  <a:lnTo>
                    <a:pt x="450" y="892"/>
                  </a:lnTo>
                  <a:lnTo>
                    <a:pt x="450" y="894"/>
                  </a:lnTo>
                  <a:lnTo>
                    <a:pt x="449" y="894"/>
                  </a:lnTo>
                  <a:lnTo>
                    <a:pt x="438" y="897"/>
                  </a:lnTo>
                  <a:lnTo>
                    <a:pt x="432" y="892"/>
                  </a:lnTo>
                  <a:lnTo>
                    <a:pt x="428" y="898"/>
                  </a:lnTo>
                  <a:lnTo>
                    <a:pt x="424" y="898"/>
                  </a:lnTo>
                  <a:lnTo>
                    <a:pt x="422" y="897"/>
                  </a:lnTo>
                  <a:lnTo>
                    <a:pt x="415" y="897"/>
                  </a:lnTo>
                  <a:lnTo>
                    <a:pt x="415" y="895"/>
                  </a:lnTo>
                  <a:lnTo>
                    <a:pt x="410" y="888"/>
                  </a:lnTo>
                  <a:lnTo>
                    <a:pt x="409" y="886"/>
                  </a:lnTo>
                  <a:lnTo>
                    <a:pt x="403" y="888"/>
                  </a:lnTo>
                  <a:lnTo>
                    <a:pt x="398" y="891"/>
                  </a:lnTo>
                  <a:lnTo>
                    <a:pt x="394" y="888"/>
                  </a:lnTo>
                  <a:lnTo>
                    <a:pt x="389" y="888"/>
                  </a:lnTo>
                  <a:lnTo>
                    <a:pt x="389" y="889"/>
                  </a:lnTo>
                  <a:lnTo>
                    <a:pt x="388" y="891"/>
                  </a:lnTo>
                  <a:lnTo>
                    <a:pt x="386" y="889"/>
                  </a:lnTo>
                  <a:lnTo>
                    <a:pt x="385" y="889"/>
                  </a:lnTo>
                  <a:lnTo>
                    <a:pt x="376" y="897"/>
                  </a:lnTo>
                  <a:lnTo>
                    <a:pt x="375" y="897"/>
                  </a:lnTo>
                  <a:lnTo>
                    <a:pt x="367" y="894"/>
                  </a:lnTo>
                  <a:lnTo>
                    <a:pt x="363" y="888"/>
                  </a:lnTo>
                  <a:lnTo>
                    <a:pt x="363" y="897"/>
                  </a:lnTo>
                  <a:lnTo>
                    <a:pt x="361" y="897"/>
                  </a:lnTo>
                  <a:lnTo>
                    <a:pt x="360" y="898"/>
                  </a:lnTo>
                  <a:lnTo>
                    <a:pt x="358" y="892"/>
                  </a:lnTo>
                  <a:lnTo>
                    <a:pt x="346" y="879"/>
                  </a:lnTo>
                  <a:lnTo>
                    <a:pt x="333" y="879"/>
                  </a:lnTo>
                  <a:lnTo>
                    <a:pt x="333" y="877"/>
                  </a:lnTo>
                  <a:lnTo>
                    <a:pt x="330" y="873"/>
                  </a:lnTo>
                  <a:lnTo>
                    <a:pt x="326" y="873"/>
                  </a:lnTo>
                  <a:lnTo>
                    <a:pt x="323" y="879"/>
                  </a:lnTo>
                  <a:lnTo>
                    <a:pt x="321" y="877"/>
                  </a:lnTo>
                  <a:lnTo>
                    <a:pt x="320" y="877"/>
                  </a:lnTo>
                  <a:lnTo>
                    <a:pt x="318" y="879"/>
                  </a:lnTo>
                  <a:lnTo>
                    <a:pt x="317" y="877"/>
                  </a:lnTo>
                  <a:lnTo>
                    <a:pt x="317" y="874"/>
                  </a:lnTo>
                  <a:lnTo>
                    <a:pt x="309" y="876"/>
                  </a:lnTo>
                  <a:lnTo>
                    <a:pt x="303" y="882"/>
                  </a:lnTo>
                  <a:lnTo>
                    <a:pt x="293" y="886"/>
                  </a:lnTo>
                  <a:lnTo>
                    <a:pt x="292" y="892"/>
                  </a:lnTo>
                  <a:lnTo>
                    <a:pt x="286" y="897"/>
                  </a:lnTo>
                  <a:lnTo>
                    <a:pt x="283" y="897"/>
                  </a:lnTo>
                  <a:lnTo>
                    <a:pt x="286" y="908"/>
                  </a:lnTo>
                  <a:lnTo>
                    <a:pt x="280" y="914"/>
                  </a:lnTo>
                  <a:lnTo>
                    <a:pt x="280" y="913"/>
                  </a:lnTo>
                  <a:lnTo>
                    <a:pt x="268" y="900"/>
                  </a:lnTo>
                  <a:lnTo>
                    <a:pt x="266" y="907"/>
                  </a:lnTo>
                  <a:lnTo>
                    <a:pt x="266" y="908"/>
                  </a:lnTo>
                  <a:lnTo>
                    <a:pt x="262" y="911"/>
                  </a:lnTo>
                  <a:lnTo>
                    <a:pt x="260" y="922"/>
                  </a:lnTo>
                  <a:lnTo>
                    <a:pt x="263" y="925"/>
                  </a:lnTo>
                  <a:lnTo>
                    <a:pt x="263" y="926"/>
                  </a:lnTo>
                  <a:lnTo>
                    <a:pt x="259" y="931"/>
                  </a:lnTo>
                  <a:lnTo>
                    <a:pt x="256" y="940"/>
                  </a:lnTo>
                  <a:lnTo>
                    <a:pt x="262" y="941"/>
                  </a:lnTo>
                  <a:lnTo>
                    <a:pt x="262" y="943"/>
                  </a:lnTo>
                  <a:lnTo>
                    <a:pt x="265" y="951"/>
                  </a:lnTo>
                  <a:lnTo>
                    <a:pt x="277" y="951"/>
                  </a:lnTo>
                  <a:lnTo>
                    <a:pt x="277" y="953"/>
                  </a:lnTo>
                  <a:lnTo>
                    <a:pt x="278" y="953"/>
                  </a:lnTo>
                  <a:lnTo>
                    <a:pt x="283" y="959"/>
                  </a:lnTo>
                  <a:lnTo>
                    <a:pt x="287" y="972"/>
                  </a:lnTo>
                  <a:lnTo>
                    <a:pt x="280" y="972"/>
                  </a:lnTo>
                  <a:lnTo>
                    <a:pt x="280" y="975"/>
                  </a:lnTo>
                  <a:lnTo>
                    <a:pt x="281" y="975"/>
                  </a:lnTo>
                  <a:lnTo>
                    <a:pt x="287" y="980"/>
                  </a:lnTo>
                  <a:lnTo>
                    <a:pt x="287" y="981"/>
                  </a:lnTo>
                  <a:lnTo>
                    <a:pt x="281" y="983"/>
                  </a:lnTo>
                  <a:lnTo>
                    <a:pt x="275" y="990"/>
                  </a:lnTo>
                  <a:lnTo>
                    <a:pt x="274" y="990"/>
                  </a:lnTo>
                  <a:lnTo>
                    <a:pt x="271" y="983"/>
                  </a:lnTo>
                  <a:lnTo>
                    <a:pt x="268" y="981"/>
                  </a:lnTo>
                  <a:lnTo>
                    <a:pt x="269" y="984"/>
                  </a:lnTo>
                  <a:lnTo>
                    <a:pt x="268" y="993"/>
                  </a:lnTo>
                  <a:lnTo>
                    <a:pt x="265" y="993"/>
                  </a:lnTo>
                  <a:lnTo>
                    <a:pt x="265" y="1000"/>
                  </a:lnTo>
                  <a:lnTo>
                    <a:pt x="256" y="1014"/>
                  </a:lnTo>
                  <a:lnTo>
                    <a:pt x="262" y="1020"/>
                  </a:lnTo>
                  <a:lnTo>
                    <a:pt x="266" y="1028"/>
                  </a:lnTo>
                  <a:lnTo>
                    <a:pt x="266" y="1026"/>
                  </a:lnTo>
                  <a:lnTo>
                    <a:pt x="268" y="1026"/>
                  </a:lnTo>
                  <a:lnTo>
                    <a:pt x="268" y="1040"/>
                  </a:lnTo>
                  <a:lnTo>
                    <a:pt x="278" y="1060"/>
                  </a:lnTo>
                  <a:lnTo>
                    <a:pt x="280" y="1061"/>
                  </a:lnTo>
                  <a:lnTo>
                    <a:pt x="280" y="1063"/>
                  </a:lnTo>
                  <a:lnTo>
                    <a:pt x="272" y="1071"/>
                  </a:lnTo>
                  <a:lnTo>
                    <a:pt x="263" y="1071"/>
                  </a:lnTo>
                  <a:lnTo>
                    <a:pt x="262" y="1066"/>
                  </a:lnTo>
                  <a:lnTo>
                    <a:pt x="253" y="1060"/>
                  </a:lnTo>
                  <a:lnTo>
                    <a:pt x="244" y="1055"/>
                  </a:lnTo>
                  <a:lnTo>
                    <a:pt x="243" y="1055"/>
                  </a:lnTo>
                  <a:lnTo>
                    <a:pt x="243" y="1049"/>
                  </a:lnTo>
                  <a:lnTo>
                    <a:pt x="237" y="1046"/>
                  </a:lnTo>
                  <a:lnTo>
                    <a:pt x="231" y="1045"/>
                  </a:lnTo>
                  <a:lnTo>
                    <a:pt x="222" y="1048"/>
                  </a:lnTo>
                  <a:lnTo>
                    <a:pt x="220" y="1048"/>
                  </a:lnTo>
                  <a:lnTo>
                    <a:pt x="207" y="1037"/>
                  </a:lnTo>
                  <a:lnTo>
                    <a:pt x="192" y="1037"/>
                  </a:lnTo>
                  <a:lnTo>
                    <a:pt x="177" y="1031"/>
                  </a:lnTo>
                  <a:lnTo>
                    <a:pt x="174" y="1031"/>
                  </a:lnTo>
                  <a:lnTo>
                    <a:pt x="170" y="1033"/>
                  </a:lnTo>
                  <a:lnTo>
                    <a:pt x="166" y="1033"/>
                  </a:lnTo>
                  <a:lnTo>
                    <a:pt x="152" y="1020"/>
                  </a:lnTo>
                  <a:lnTo>
                    <a:pt x="137" y="1011"/>
                  </a:lnTo>
                  <a:lnTo>
                    <a:pt x="136" y="1011"/>
                  </a:lnTo>
                  <a:lnTo>
                    <a:pt x="134" y="1012"/>
                  </a:lnTo>
                  <a:lnTo>
                    <a:pt x="124" y="1002"/>
                  </a:lnTo>
                  <a:lnTo>
                    <a:pt x="124" y="1000"/>
                  </a:lnTo>
                  <a:lnTo>
                    <a:pt x="127" y="997"/>
                  </a:lnTo>
                  <a:lnTo>
                    <a:pt x="134" y="997"/>
                  </a:lnTo>
                  <a:lnTo>
                    <a:pt x="142" y="986"/>
                  </a:lnTo>
                  <a:lnTo>
                    <a:pt x="148" y="984"/>
                  </a:lnTo>
                  <a:lnTo>
                    <a:pt x="139" y="977"/>
                  </a:lnTo>
                  <a:lnTo>
                    <a:pt x="140" y="974"/>
                  </a:lnTo>
                  <a:lnTo>
                    <a:pt x="148" y="972"/>
                  </a:lnTo>
                  <a:lnTo>
                    <a:pt x="148" y="971"/>
                  </a:lnTo>
                  <a:lnTo>
                    <a:pt x="160" y="966"/>
                  </a:lnTo>
                  <a:lnTo>
                    <a:pt x="158" y="965"/>
                  </a:lnTo>
                  <a:lnTo>
                    <a:pt x="148" y="966"/>
                  </a:lnTo>
                  <a:lnTo>
                    <a:pt x="146" y="966"/>
                  </a:lnTo>
                  <a:lnTo>
                    <a:pt x="146" y="959"/>
                  </a:lnTo>
                  <a:lnTo>
                    <a:pt x="148" y="954"/>
                  </a:lnTo>
                  <a:lnTo>
                    <a:pt x="152" y="953"/>
                  </a:lnTo>
                  <a:lnTo>
                    <a:pt x="155" y="948"/>
                  </a:lnTo>
                  <a:lnTo>
                    <a:pt x="157" y="948"/>
                  </a:lnTo>
                  <a:lnTo>
                    <a:pt x="160" y="951"/>
                  </a:lnTo>
                  <a:lnTo>
                    <a:pt x="166" y="951"/>
                  </a:lnTo>
                  <a:lnTo>
                    <a:pt x="169" y="943"/>
                  </a:lnTo>
                  <a:lnTo>
                    <a:pt x="167" y="941"/>
                  </a:lnTo>
                  <a:lnTo>
                    <a:pt x="166" y="941"/>
                  </a:lnTo>
                  <a:lnTo>
                    <a:pt x="166" y="934"/>
                  </a:lnTo>
                  <a:lnTo>
                    <a:pt x="170" y="931"/>
                  </a:lnTo>
                  <a:lnTo>
                    <a:pt x="166" y="928"/>
                  </a:lnTo>
                  <a:lnTo>
                    <a:pt x="170" y="926"/>
                  </a:lnTo>
                  <a:lnTo>
                    <a:pt x="172" y="923"/>
                  </a:lnTo>
                  <a:lnTo>
                    <a:pt x="170" y="917"/>
                  </a:lnTo>
                  <a:lnTo>
                    <a:pt x="158" y="911"/>
                  </a:lnTo>
                  <a:lnTo>
                    <a:pt x="154" y="911"/>
                  </a:lnTo>
                  <a:lnTo>
                    <a:pt x="148" y="908"/>
                  </a:lnTo>
                  <a:lnTo>
                    <a:pt x="145" y="910"/>
                  </a:lnTo>
                  <a:lnTo>
                    <a:pt x="143" y="910"/>
                  </a:lnTo>
                  <a:lnTo>
                    <a:pt x="143" y="908"/>
                  </a:lnTo>
                  <a:lnTo>
                    <a:pt x="134" y="900"/>
                  </a:lnTo>
                  <a:lnTo>
                    <a:pt x="126" y="902"/>
                  </a:lnTo>
                  <a:lnTo>
                    <a:pt x="123" y="902"/>
                  </a:lnTo>
                  <a:lnTo>
                    <a:pt x="120" y="900"/>
                  </a:lnTo>
                  <a:lnTo>
                    <a:pt x="112" y="900"/>
                  </a:lnTo>
                  <a:lnTo>
                    <a:pt x="109" y="897"/>
                  </a:lnTo>
                  <a:lnTo>
                    <a:pt x="109" y="888"/>
                  </a:lnTo>
                  <a:lnTo>
                    <a:pt x="106" y="883"/>
                  </a:lnTo>
                  <a:lnTo>
                    <a:pt x="102" y="885"/>
                  </a:lnTo>
                  <a:lnTo>
                    <a:pt x="96" y="882"/>
                  </a:lnTo>
                  <a:lnTo>
                    <a:pt x="94" y="882"/>
                  </a:lnTo>
                  <a:lnTo>
                    <a:pt x="94" y="880"/>
                  </a:lnTo>
                  <a:lnTo>
                    <a:pt x="93" y="873"/>
                  </a:lnTo>
                  <a:lnTo>
                    <a:pt x="96" y="871"/>
                  </a:lnTo>
                  <a:lnTo>
                    <a:pt x="96" y="870"/>
                  </a:lnTo>
                  <a:lnTo>
                    <a:pt x="89" y="859"/>
                  </a:lnTo>
                  <a:lnTo>
                    <a:pt x="72" y="861"/>
                  </a:lnTo>
                  <a:lnTo>
                    <a:pt x="66" y="867"/>
                  </a:lnTo>
                  <a:lnTo>
                    <a:pt x="63" y="865"/>
                  </a:lnTo>
                  <a:lnTo>
                    <a:pt x="63" y="864"/>
                  </a:lnTo>
                  <a:lnTo>
                    <a:pt x="62" y="864"/>
                  </a:lnTo>
                  <a:lnTo>
                    <a:pt x="59" y="848"/>
                  </a:lnTo>
                  <a:lnTo>
                    <a:pt x="56" y="843"/>
                  </a:lnTo>
                  <a:lnTo>
                    <a:pt x="56" y="842"/>
                  </a:lnTo>
                  <a:lnTo>
                    <a:pt x="59" y="839"/>
                  </a:lnTo>
                  <a:lnTo>
                    <a:pt x="60" y="839"/>
                  </a:lnTo>
                  <a:lnTo>
                    <a:pt x="68" y="842"/>
                  </a:lnTo>
                  <a:lnTo>
                    <a:pt x="75" y="836"/>
                  </a:lnTo>
                  <a:lnTo>
                    <a:pt x="75" y="833"/>
                  </a:lnTo>
                  <a:lnTo>
                    <a:pt x="74" y="833"/>
                  </a:lnTo>
                  <a:lnTo>
                    <a:pt x="72" y="830"/>
                  </a:lnTo>
                  <a:lnTo>
                    <a:pt x="69" y="828"/>
                  </a:lnTo>
                  <a:lnTo>
                    <a:pt x="63" y="828"/>
                  </a:lnTo>
                  <a:lnTo>
                    <a:pt x="62" y="824"/>
                  </a:lnTo>
                  <a:lnTo>
                    <a:pt x="57" y="819"/>
                  </a:lnTo>
                  <a:lnTo>
                    <a:pt x="50" y="806"/>
                  </a:lnTo>
                  <a:lnTo>
                    <a:pt x="53" y="799"/>
                  </a:lnTo>
                  <a:lnTo>
                    <a:pt x="50" y="794"/>
                  </a:lnTo>
                  <a:lnTo>
                    <a:pt x="51" y="788"/>
                  </a:lnTo>
                  <a:lnTo>
                    <a:pt x="43" y="782"/>
                  </a:lnTo>
                  <a:lnTo>
                    <a:pt x="32" y="785"/>
                  </a:lnTo>
                  <a:lnTo>
                    <a:pt x="31" y="785"/>
                  </a:lnTo>
                  <a:lnTo>
                    <a:pt x="32" y="781"/>
                  </a:lnTo>
                  <a:lnTo>
                    <a:pt x="29" y="779"/>
                  </a:lnTo>
                  <a:lnTo>
                    <a:pt x="17" y="778"/>
                  </a:lnTo>
                  <a:lnTo>
                    <a:pt x="17" y="776"/>
                  </a:lnTo>
                  <a:lnTo>
                    <a:pt x="16" y="775"/>
                  </a:lnTo>
                  <a:lnTo>
                    <a:pt x="16" y="766"/>
                  </a:lnTo>
                  <a:lnTo>
                    <a:pt x="11" y="759"/>
                  </a:lnTo>
                  <a:lnTo>
                    <a:pt x="8" y="757"/>
                  </a:lnTo>
                  <a:lnTo>
                    <a:pt x="10" y="748"/>
                  </a:lnTo>
                  <a:lnTo>
                    <a:pt x="6" y="742"/>
                  </a:lnTo>
                  <a:lnTo>
                    <a:pt x="6" y="739"/>
                  </a:lnTo>
                  <a:lnTo>
                    <a:pt x="10" y="733"/>
                  </a:lnTo>
                  <a:lnTo>
                    <a:pt x="7" y="728"/>
                  </a:lnTo>
                  <a:lnTo>
                    <a:pt x="6" y="723"/>
                  </a:lnTo>
                  <a:lnTo>
                    <a:pt x="4" y="723"/>
                  </a:lnTo>
                  <a:lnTo>
                    <a:pt x="3" y="722"/>
                  </a:lnTo>
                  <a:lnTo>
                    <a:pt x="0" y="708"/>
                  </a:lnTo>
                  <a:lnTo>
                    <a:pt x="10" y="704"/>
                  </a:lnTo>
                  <a:lnTo>
                    <a:pt x="16" y="696"/>
                  </a:lnTo>
                  <a:lnTo>
                    <a:pt x="14" y="689"/>
                  </a:lnTo>
                  <a:lnTo>
                    <a:pt x="26" y="680"/>
                  </a:lnTo>
                  <a:lnTo>
                    <a:pt x="40" y="682"/>
                  </a:lnTo>
                  <a:lnTo>
                    <a:pt x="35" y="677"/>
                  </a:lnTo>
                  <a:lnTo>
                    <a:pt x="19" y="673"/>
                  </a:lnTo>
                  <a:lnTo>
                    <a:pt x="17" y="673"/>
                  </a:lnTo>
                  <a:lnTo>
                    <a:pt x="16" y="667"/>
                  </a:lnTo>
                  <a:lnTo>
                    <a:pt x="16" y="665"/>
                  </a:lnTo>
                  <a:lnTo>
                    <a:pt x="17" y="665"/>
                  </a:lnTo>
                  <a:lnTo>
                    <a:pt x="19" y="667"/>
                  </a:lnTo>
                  <a:lnTo>
                    <a:pt x="19" y="662"/>
                  </a:lnTo>
                  <a:lnTo>
                    <a:pt x="7" y="665"/>
                  </a:lnTo>
                  <a:lnTo>
                    <a:pt x="6" y="664"/>
                  </a:lnTo>
                  <a:lnTo>
                    <a:pt x="7" y="664"/>
                  </a:lnTo>
                  <a:lnTo>
                    <a:pt x="37" y="636"/>
                  </a:lnTo>
                  <a:lnTo>
                    <a:pt x="56" y="606"/>
                  </a:lnTo>
                  <a:lnTo>
                    <a:pt x="56" y="597"/>
                  </a:lnTo>
                  <a:lnTo>
                    <a:pt x="48" y="587"/>
                  </a:lnTo>
                  <a:lnTo>
                    <a:pt x="41" y="578"/>
                  </a:lnTo>
                  <a:lnTo>
                    <a:pt x="46" y="561"/>
                  </a:lnTo>
                  <a:lnTo>
                    <a:pt x="40" y="554"/>
                  </a:lnTo>
                  <a:lnTo>
                    <a:pt x="38" y="545"/>
                  </a:lnTo>
                  <a:lnTo>
                    <a:pt x="35" y="544"/>
                  </a:lnTo>
                  <a:lnTo>
                    <a:pt x="35" y="530"/>
                  </a:lnTo>
                  <a:lnTo>
                    <a:pt x="40" y="514"/>
                  </a:lnTo>
                  <a:lnTo>
                    <a:pt x="28" y="477"/>
                  </a:lnTo>
                  <a:lnTo>
                    <a:pt x="38" y="455"/>
                  </a:lnTo>
                  <a:lnTo>
                    <a:pt x="29" y="437"/>
                  </a:lnTo>
                  <a:lnTo>
                    <a:pt x="19" y="428"/>
                  </a:lnTo>
                  <a:lnTo>
                    <a:pt x="19" y="427"/>
                  </a:lnTo>
                  <a:lnTo>
                    <a:pt x="20" y="412"/>
                  </a:lnTo>
                  <a:lnTo>
                    <a:pt x="19" y="410"/>
                  </a:lnTo>
                  <a:lnTo>
                    <a:pt x="19" y="409"/>
                  </a:lnTo>
                  <a:lnTo>
                    <a:pt x="38" y="390"/>
                  </a:lnTo>
                  <a:lnTo>
                    <a:pt x="41" y="382"/>
                  </a:lnTo>
                  <a:lnTo>
                    <a:pt x="41" y="381"/>
                  </a:lnTo>
                  <a:lnTo>
                    <a:pt x="48" y="384"/>
                  </a:lnTo>
                  <a:lnTo>
                    <a:pt x="48" y="376"/>
                  </a:lnTo>
                  <a:lnTo>
                    <a:pt x="50" y="376"/>
                  </a:lnTo>
                  <a:lnTo>
                    <a:pt x="59" y="381"/>
                  </a:lnTo>
                  <a:lnTo>
                    <a:pt x="60" y="376"/>
                  </a:lnTo>
                  <a:lnTo>
                    <a:pt x="62" y="376"/>
                  </a:lnTo>
                  <a:lnTo>
                    <a:pt x="62" y="370"/>
                  </a:lnTo>
                  <a:lnTo>
                    <a:pt x="63" y="370"/>
                  </a:lnTo>
                  <a:lnTo>
                    <a:pt x="78" y="378"/>
                  </a:lnTo>
                  <a:lnTo>
                    <a:pt x="80" y="378"/>
                  </a:lnTo>
                  <a:lnTo>
                    <a:pt x="80" y="379"/>
                  </a:lnTo>
                  <a:lnTo>
                    <a:pt x="77" y="385"/>
                  </a:lnTo>
                  <a:lnTo>
                    <a:pt x="75" y="385"/>
                  </a:lnTo>
                  <a:lnTo>
                    <a:pt x="66" y="379"/>
                  </a:lnTo>
                  <a:lnTo>
                    <a:pt x="65" y="385"/>
                  </a:lnTo>
                  <a:lnTo>
                    <a:pt x="77" y="390"/>
                  </a:lnTo>
                  <a:lnTo>
                    <a:pt x="77" y="392"/>
                  </a:lnTo>
                  <a:lnTo>
                    <a:pt x="80" y="391"/>
                  </a:lnTo>
                  <a:lnTo>
                    <a:pt x="83" y="397"/>
                  </a:lnTo>
                  <a:lnTo>
                    <a:pt x="115" y="398"/>
                  </a:lnTo>
                  <a:lnTo>
                    <a:pt x="149" y="431"/>
                  </a:lnTo>
                  <a:lnTo>
                    <a:pt x="169" y="437"/>
                  </a:lnTo>
                  <a:lnTo>
                    <a:pt x="182" y="453"/>
                  </a:lnTo>
                  <a:lnTo>
                    <a:pt x="183" y="468"/>
                  </a:lnTo>
                  <a:lnTo>
                    <a:pt x="188" y="470"/>
                  </a:lnTo>
                  <a:lnTo>
                    <a:pt x="188" y="471"/>
                  </a:lnTo>
                  <a:lnTo>
                    <a:pt x="185" y="483"/>
                  </a:lnTo>
                  <a:lnTo>
                    <a:pt x="170" y="499"/>
                  </a:lnTo>
                  <a:lnTo>
                    <a:pt x="154" y="505"/>
                  </a:lnTo>
                  <a:lnTo>
                    <a:pt x="96" y="492"/>
                  </a:lnTo>
                  <a:lnTo>
                    <a:pt x="96" y="490"/>
                  </a:lnTo>
                  <a:lnTo>
                    <a:pt x="94" y="486"/>
                  </a:lnTo>
                  <a:lnTo>
                    <a:pt x="84" y="484"/>
                  </a:lnTo>
                  <a:lnTo>
                    <a:pt x="83" y="484"/>
                  </a:lnTo>
                  <a:lnTo>
                    <a:pt x="69" y="471"/>
                  </a:lnTo>
                  <a:lnTo>
                    <a:pt x="65" y="474"/>
                  </a:lnTo>
                  <a:lnTo>
                    <a:pt x="102" y="511"/>
                  </a:lnTo>
                  <a:lnTo>
                    <a:pt x="102" y="513"/>
                  </a:lnTo>
                  <a:lnTo>
                    <a:pt x="100" y="526"/>
                  </a:lnTo>
                  <a:lnTo>
                    <a:pt x="100" y="527"/>
                  </a:lnTo>
                  <a:lnTo>
                    <a:pt x="96" y="530"/>
                  </a:lnTo>
                  <a:lnTo>
                    <a:pt x="102" y="544"/>
                  </a:lnTo>
                  <a:lnTo>
                    <a:pt x="103" y="551"/>
                  </a:lnTo>
                  <a:lnTo>
                    <a:pt x="100" y="557"/>
                  </a:lnTo>
                  <a:lnTo>
                    <a:pt x="112" y="559"/>
                  </a:lnTo>
                  <a:lnTo>
                    <a:pt x="120" y="569"/>
                  </a:lnTo>
                  <a:lnTo>
                    <a:pt x="136" y="576"/>
                  </a:lnTo>
                  <a:lnTo>
                    <a:pt x="145" y="573"/>
                  </a:lnTo>
                  <a:lnTo>
                    <a:pt x="140" y="557"/>
                  </a:lnTo>
                  <a:lnTo>
                    <a:pt x="134" y="560"/>
                  </a:lnTo>
                  <a:lnTo>
                    <a:pt x="133" y="560"/>
                  </a:lnTo>
                  <a:lnTo>
                    <a:pt x="124" y="550"/>
                  </a:lnTo>
                  <a:lnTo>
                    <a:pt x="123" y="544"/>
                  </a:lnTo>
                  <a:lnTo>
                    <a:pt x="123" y="542"/>
                  </a:lnTo>
                  <a:lnTo>
                    <a:pt x="129" y="533"/>
                  </a:lnTo>
                  <a:lnTo>
                    <a:pt x="148" y="544"/>
                  </a:lnTo>
                  <a:lnTo>
                    <a:pt x="148" y="545"/>
                  </a:lnTo>
                  <a:lnTo>
                    <a:pt x="145" y="547"/>
                  </a:lnTo>
                  <a:lnTo>
                    <a:pt x="145" y="550"/>
                  </a:lnTo>
                  <a:lnTo>
                    <a:pt x="149" y="545"/>
                  </a:lnTo>
                  <a:lnTo>
                    <a:pt x="179" y="556"/>
                  </a:lnTo>
                  <a:lnTo>
                    <a:pt x="167" y="530"/>
                  </a:lnTo>
                  <a:lnTo>
                    <a:pt x="166" y="520"/>
                  </a:lnTo>
                  <a:lnTo>
                    <a:pt x="167" y="520"/>
                  </a:lnTo>
                  <a:lnTo>
                    <a:pt x="188" y="505"/>
                  </a:lnTo>
                  <a:lnTo>
                    <a:pt x="198" y="490"/>
                  </a:lnTo>
                  <a:lnTo>
                    <a:pt x="200" y="490"/>
                  </a:lnTo>
                  <a:lnTo>
                    <a:pt x="216" y="499"/>
                  </a:lnTo>
                  <a:lnTo>
                    <a:pt x="216" y="501"/>
                  </a:lnTo>
                  <a:lnTo>
                    <a:pt x="215" y="505"/>
                  </a:lnTo>
                  <a:lnTo>
                    <a:pt x="217" y="504"/>
                  </a:lnTo>
                  <a:lnTo>
                    <a:pt x="219" y="504"/>
                  </a:lnTo>
                  <a:lnTo>
                    <a:pt x="222" y="508"/>
                  </a:lnTo>
                  <a:lnTo>
                    <a:pt x="222" y="499"/>
                  </a:lnTo>
                  <a:lnTo>
                    <a:pt x="228" y="477"/>
                  </a:lnTo>
                  <a:lnTo>
                    <a:pt x="217" y="465"/>
                  </a:lnTo>
                  <a:lnTo>
                    <a:pt x="222" y="450"/>
                  </a:lnTo>
                  <a:lnTo>
                    <a:pt x="222" y="431"/>
                  </a:lnTo>
                  <a:lnTo>
                    <a:pt x="212" y="418"/>
                  </a:lnTo>
                  <a:lnTo>
                    <a:pt x="244" y="424"/>
                  </a:lnTo>
                  <a:lnTo>
                    <a:pt x="253" y="434"/>
                  </a:lnTo>
                  <a:lnTo>
                    <a:pt x="256" y="447"/>
                  </a:lnTo>
                  <a:lnTo>
                    <a:pt x="256" y="449"/>
                  </a:lnTo>
                  <a:lnTo>
                    <a:pt x="240" y="452"/>
                  </a:lnTo>
                  <a:lnTo>
                    <a:pt x="235" y="461"/>
                  </a:lnTo>
                  <a:lnTo>
                    <a:pt x="247" y="480"/>
                  </a:lnTo>
                  <a:lnTo>
                    <a:pt x="255" y="480"/>
                  </a:lnTo>
                  <a:lnTo>
                    <a:pt x="256" y="486"/>
                  </a:lnTo>
                  <a:lnTo>
                    <a:pt x="268" y="475"/>
                  </a:lnTo>
                  <a:lnTo>
                    <a:pt x="268" y="470"/>
                  </a:lnTo>
                  <a:lnTo>
                    <a:pt x="272" y="456"/>
                  </a:lnTo>
                  <a:lnTo>
                    <a:pt x="320" y="425"/>
                  </a:lnTo>
                  <a:lnTo>
                    <a:pt x="327" y="424"/>
                  </a:lnTo>
                  <a:lnTo>
                    <a:pt x="330" y="428"/>
                  </a:lnTo>
                  <a:lnTo>
                    <a:pt x="333" y="424"/>
                  </a:lnTo>
                  <a:lnTo>
                    <a:pt x="330" y="422"/>
                  </a:lnTo>
                  <a:lnTo>
                    <a:pt x="330" y="421"/>
                  </a:lnTo>
                  <a:lnTo>
                    <a:pt x="335" y="415"/>
                  </a:lnTo>
                  <a:lnTo>
                    <a:pt x="336" y="415"/>
                  </a:lnTo>
                  <a:lnTo>
                    <a:pt x="339" y="419"/>
                  </a:lnTo>
                  <a:lnTo>
                    <a:pt x="340" y="419"/>
                  </a:lnTo>
                  <a:lnTo>
                    <a:pt x="340" y="415"/>
                  </a:lnTo>
                  <a:lnTo>
                    <a:pt x="342" y="410"/>
                  </a:lnTo>
                  <a:lnTo>
                    <a:pt x="343" y="410"/>
                  </a:lnTo>
                  <a:lnTo>
                    <a:pt x="358" y="406"/>
                  </a:lnTo>
                  <a:lnTo>
                    <a:pt x="358" y="407"/>
                  </a:lnTo>
                  <a:lnTo>
                    <a:pt x="349" y="412"/>
                  </a:lnTo>
                  <a:lnTo>
                    <a:pt x="352" y="413"/>
                  </a:lnTo>
                  <a:lnTo>
                    <a:pt x="354" y="413"/>
                  </a:lnTo>
                  <a:lnTo>
                    <a:pt x="354" y="415"/>
                  </a:lnTo>
                  <a:lnTo>
                    <a:pt x="351" y="421"/>
                  </a:lnTo>
                  <a:lnTo>
                    <a:pt x="352" y="430"/>
                  </a:lnTo>
                  <a:lnTo>
                    <a:pt x="360" y="435"/>
                  </a:lnTo>
                  <a:lnTo>
                    <a:pt x="370" y="421"/>
                  </a:lnTo>
                  <a:lnTo>
                    <a:pt x="382" y="421"/>
                  </a:lnTo>
                  <a:lnTo>
                    <a:pt x="391" y="422"/>
                  </a:lnTo>
                  <a:lnTo>
                    <a:pt x="394" y="422"/>
                  </a:lnTo>
                  <a:lnTo>
                    <a:pt x="415" y="404"/>
                  </a:lnTo>
                  <a:lnTo>
                    <a:pt x="424" y="416"/>
                  </a:lnTo>
                  <a:lnTo>
                    <a:pt x="419" y="425"/>
                  </a:lnTo>
                  <a:lnTo>
                    <a:pt x="424" y="430"/>
                  </a:lnTo>
                  <a:lnTo>
                    <a:pt x="428" y="425"/>
                  </a:lnTo>
                  <a:lnTo>
                    <a:pt x="428" y="416"/>
                  </a:lnTo>
                  <a:lnTo>
                    <a:pt x="440" y="409"/>
                  </a:lnTo>
                  <a:lnTo>
                    <a:pt x="441" y="401"/>
                  </a:lnTo>
                  <a:lnTo>
                    <a:pt x="434" y="384"/>
                  </a:lnTo>
                  <a:lnTo>
                    <a:pt x="434" y="382"/>
                  </a:lnTo>
                  <a:lnTo>
                    <a:pt x="444" y="375"/>
                  </a:lnTo>
                  <a:lnTo>
                    <a:pt x="446" y="375"/>
                  </a:lnTo>
                  <a:lnTo>
                    <a:pt x="484" y="385"/>
                  </a:lnTo>
                  <a:lnTo>
                    <a:pt x="523" y="412"/>
                  </a:lnTo>
                  <a:lnTo>
                    <a:pt x="538" y="432"/>
                  </a:lnTo>
                  <a:lnTo>
                    <a:pt x="548" y="412"/>
                  </a:lnTo>
                  <a:lnTo>
                    <a:pt x="541" y="406"/>
                  </a:lnTo>
                  <a:lnTo>
                    <a:pt x="535" y="392"/>
                  </a:lnTo>
                  <a:lnTo>
                    <a:pt x="535" y="388"/>
                  </a:lnTo>
                  <a:lnTo>
                    <a:pt x="520" y="384"/>
                  </a:lnTo>
                  <a:lnTo>
                    <a:pt x="518" y="384"/>
                  </a:lnTo>
                  <a:lnTo>
                    <a:pt x="520" y="367"/>
                  </a:lnTo>
                  <a:lnTo>
                    <a:pt x="524" y="364"/>
                  </a:lnTo>
                  <a:lnTo>
                    <a:pt x="523" y="358"/>
                  </a:lnTo>
                  <a:lnTo>
                    <a:pt x="526" y="342"/>
                  </a:lnTo>
                  <a:lnTo>
                    <a:pt x="515" y="338"/>
                  </a:lnTo>
                  <a:lnTo>
                    <a:pt x="520" y="329"/>
                  </a:lnTo>
                  <a:lnTo>
                    <a:pt x="515" y="329"/>
                  </a:lnTo>
                  <a:lnTo>
                    <a:pt x="515" y="327"/>
                  </a:lnTo>
                  <a:lnTo>
                    <a:pt x="518" y="318"/>
                  </a:lnTo>
                  <a:lnTo>
                    <a:pt x="539" y="296"/>
                  </a:lnTo>
                  <a:lnTo>
                    <a:pt x="545" y="262"/>
                  </a:lnTo>
                  <a:lnTo>
                    <a:pt x="551" y="249"/>
                  </a:lnTo>
                  <a:lnTo>
                    <a:pt x="551" y="247"/>
                  </a:lnTo>
                  <a:lnTo>
                    <a:pt x="552" y="247"/>
                  </a:lnTo>
                  <a:lnTo>
                    <a:pt x="594" y="256"/>
                  </a:lnTo>
                  <a:lnTo>
                    <a:pt x="594" y="258"/>
                  </a:lnTo>
                  <a:lnTo>
                    <a:pt x="595" y="280"/>
                  </a:lnTo>
                  <a:lnTo>
                    <a:pt x="584" y="309"/>
                  </a:lnTo>
                  <a:lnTo>
                    <a:pt x="594" y="321"/>
                  </a:lnTo>
                  <a:lnTo>
                    <a:pt x="597" y="335"/>
                  </a:lnTo>
                  <a:lnTo>
                    <a:pt x="597" y="352"/>
                  </a:lnTo>
                  <a:lnTo>
                    <a:pt x="592" y="358"/>
                  </a:lnTo>
                  <a:lnTo>
                    <a:pt x="595" y="375"/>
                  </a:lnTo>
                  <a:lnTo>
                    <a:pt x="592" y="404"/>
                  </a:lnTo>
                  <a:lnTo>
                    <a:pt x="606" y="421"/>
                  </a:lnTo>
                  <a:lnTo>
                    <a:pt x="606" y="427"/>
                  </a:lnTo>
                  <a:lnTo>
                    <a:pt x="601" y="437"/>
                  </a:lnTo>
                  <a:lnTo>
                    <a:pt x="601" y="452"/>
                  </a:lnTo>
                  <a:lnTo>
                    <a:pt x="600" y="452"/>
                  </a:lnTo>
                  <a:lnTo>
                    <a:pt x="595" y="456"/>
                  </a:lnTo>
                  <a:lnTo>
                    <a:pt x="590" y="471"/>
                  </a:lnTo>
                  <a:lnTo>
                    <a:pt x="581" y="471"/>
                  </a:lnTo>
                  <a:lnTo>
                    <a:pt x="587" y="475"/>
                  </a:lnTo>
                  <a:lnTo>
                    <a:pt x="587" y="477"/>
                  </a:lnTo>
                  <a:lnTo>
                    <a:pt x="585" y="477"/>
                  </a:lnTo>
                  <a:lnTo>
                    <a:pt x="567" y="486"/>
                  </a:lnTo>
                  <a:lnTo>
                    <a:pt x="561" y="484"/>
                  </a:lnTo>
                  <a:lnTo>
                    <a:pt x="563" y="496"/>
                  </a:lnTo>
                  <a:lnTo>
                    <a:pt x="587" y="499"/>
                  </a:lnTo>
                  <a:lnTo>
                    <a:pt x="590" y="499"/>
                  </a:lnTo>
                  <a:lnTo>
                    <a:pt x="590" y="489"/>
                  </a:lnTo>
                  <a:lnTo>
                    <a:pt x="591" y="489"/>
                  </a:lnTo>
                  <a:lnTo>
                    <a:pt x="604" y="480"/>
                  </a:lnTo>
                  <a:lnTo>
                    <a:pt x="610" y="464"/>
                  </a:lnTo>
                  <a:lnTo>
                    <a:pt x="621" y="452"/>
                  </a:lnTo>
                  <a:lnTo>
                    <a:pt x="621" y="441"/>
                  </a:lnTo>
                  <a:lnTo>
                    <a:pt x="615" y="428"/>
                  </a:lnTo>
                  <a:lnTo>
                    <a:pt x="619" y="415"/>
                  </a:lnTo>
                  <a:lnTo>
                    <a:pt x="646" y="406"/>
                  </a:lnTo>
                  <a:lnTo>
                    <a:pt x="646" y="407"/>
                  </a:lnTo>
                  <a:lnTo>
                    <a:pt x="649" y="416"/>
                  </a:lnTo>
                  <a:lnTo>
                    <a:pt x="656" y="424"/>
                  </a:lnTo>
                  <a:lnTo>
                    <a:pt x="656" y="425"/>
                  </a:lnTo>
                  <a:lnTo>
                    <a:pt x="655" y="431"/>
                  </a:lnTo>
                  <a:lnTo>
                    <a:pt x="658" y="434"/>
                  </a:lnTo>
                  <a:lnTo>
                    <a:pt x="658" y="435"/>
                  </a:lnTo>
                  <a:lnTo>
                    <a:pt x="655" y="450"/>
                  </a:lnTo>
                  <a:lnTo>
                    <a:pt x="661" y="456"/>
                  </a:lnTo>
                  <a:lnTo>
                    <a:pt x="673" y="456"/>
                  </a:lnTo>
                  <a:lnTo>
                    <a:pt x="658" y="450"/>
                  </a:lnTo>
                  <a:lnTo>
                    <a:pt x="658" y="437"/>
                  </a:lnTo>
                  <a:lnTo>
                    <a:pt x="659" y="437"/>
                  </a:lnTo>
                  <a:lnTo>
                    <a:pt x="665" y="431"/>
                  </a:lnTo>
                  <a:lnTo>
                    <a:pt x="659" y="412"/>
                  </a:lnTo>
                  <a:lnTo>
                    <a:pt x="638" y="398"/>
                  </a:lnTo>
                  <a:lnTo>
                    <a:pt x="627" y="404"/>
                  </a:lnTo>
                  <a:lnTo>
                    <a:pt x="609" y="400"/>
                  </a:lnTo>
                  <a:lnTo>
                    <a:pt x="609" y="398"/>
                  </a:lnTo>
                  <a:lnTo>
                    <a:pt x="610" y="388"/>
                  </a:lnTo>
                  <a:lnTo>
                    <a:pt x="606" y="375"/>
                  </a:lnTo>
                  <a:lnTo>
                    <a:pt x="615" y="342"/>
                  </a:lnTo>
                  <a:lnTo>
                    <a:pt x="598" y="308"/>
                  </a:lnTo>
                  <a:lnTo>
                    <a:pt x="603" y="295"/>
                  </a:lnTo>
                  <a:lnTo>
                    <a:pt x="625" y="277"/>
                  </a:lnTo>
                  <a:lnTo>
                    <a:pt x="621" y="253"/>
                  </a:lnTo>
                  <a:lnTo>
                    <a:pt x="621" y="252"/>
                  </a:lnTo>
                  <a:lnTo>
                    <a:pt x="622" y="252"/>
                  </a:lnTo>
                  <a:lnTo>
                    <a:pt x="625" y="250"/>
                  </a:lnTo>
                  <a:lnTo>
                    <a:pt x="627" y="250"/>
                  </a:lnTo>
                  <a:lnTo>
                    <a:pt x="627" y="252"/>
                  </a:lnTo>
                  <a:lnTo>
                    <a:pt x="634" y="265"/>
                  </a:lnTo>
                  <a:lnTo>
                    <a:pt x="634" y="266"/>
                  </a:lnTo>
                  <a:lnTo>
                    <a:pt x="633" y="266"/>
                  </a:lnTo>
                  <a:lnTo>
                    <a:pt x="634" y="277"/>
                  </a:lnTo>
                  <a:lnTo>
                    <a:pt x="628" y="289"/>
                  </a:lnTo>
                  <a:lnTo>
                    <a:pt x="633" y="305"/>
                  </a:lnTo>
                  <a:lnTo>
                    <a:pt x="633" y="312"/>
                  </a:lnTo>
                  <a:lnTo>
                    <a:pt x="630" y="312"/>
                  </a:lnTo>
                  <a:lnTo>
                    <a:pt x="631" y="315"/>
                  </a:lnTo>
                  <a:lnTo>
                    <a:pt x="670" y="330"/>
                  </a:lnTo>
                  <a:lnTo>
                    <a:pt x="664" y="315"/>
                  </a:lnTo>
                  <a:lnTo>
                    <a:pt x="659" y="318"/>
                  </a:lnTo>
                  <a:lnTo>
                    <a:pt x="659" y="320"/>
                  </a:lnTo>
                  <a:lnTo>
                    <a:pt x="658" y="320"/>
                  </a:lnTo>
                  <a:lnTo>
                    <a:pt x="658" y="318"/>
                  </a:lnTo>
                  <a:lnTo>
                    <a:pt x="641" y="306"/>
                  </a:lnTo>
                  <a:lnTo>
                    <a:pt x="638" y="293"/>
                  </a:lnTo>
                  <a:lnTo>
                    <a:pt x="643" y="290"/>
                  </a:lnTo>
                  <a:lnTo>
                    <a:pt x="644" y="290"/>
                  </a:lnTo>
                  <a:lnTo>
                    <a:pt x="649" y="301"/>
                  </a:lnTo>
                  <a:lnTo>
                    <a:pt x="655" y="299"/>
                  </a:lnTo>
                  <a:lnTo>
                    <a:pt x="664" y="290"/>
                  </a:lnTo>
                  <a:lnTo>
                    <a:pt x="656" y="287"/>
                  </a:lnTo>
                  <a:lnTo>
                    <a:pt x="656" y="281"/>
                  </a:lnTo>
                  <a:lnTo>
                    <a:pt x="658" y="281"/>
                  </a:lnTo>
                  <a:lnTo>
                    <a:pt x="681" y="272"/>
                  </a:lnTo>
                  <a:lnTo>
                    <a:pt x="702" y="286"/>
                  </a:lnTo>
                  <a:lnTo>
                    <a:pt x="711" y="299"/>
                  </a:lnTo>
                  <a:lnTo>
                    <a:pt x="733" y="302"/>
                  </a:lnTo>
                  <a:lnTo>
                    <a:pt x="735" y="302"/>
                  </a:lnTo>
                  <a:lnTo>
                    <a:pt x="732" y="315"/>
                  </a:lnTo>
                  <a:lnTo>
                    <a:pt x="721" y="323"/>
                  </a:lnTo>
                  <a:lnTo>
                    <a:pt x="723" y="341"/>
                  </a:lnTo>
                  <a:lnTo>
                    <a:pt x="721" y="358"/>
                  </a:lnTo>
                  <a:lnTo>
                    <a:pt x="732" y="364"/>
                  </a:lnTo>
                  <a:lnTo>
                    <a:pt x="732" y="357"/>
                  </a:lnTo>
                  <a:lnTo>
                    <a:pt x="738" y="354"/>
                  </a:lnTo>
                  <a:lnTo>
                    <a:pt x="738" y="344"/>
                  </a:lnTo>
                  <a:lnTo>
                    <a:pt x="733" y="320"/>
                  </a:lnTo>
                  <a:lnTo>
                    <a:pt x="738" y="305"/>
                  </a:lnTo>
                  <a:lnTo>
                    <a:pt x="736" y="296"/>
                  </a:lnTo>
                  <a:lnTo>
                    <a:pt x="720" y="287"/>
                  </a:lnTo>
                  <a:lnTo>
                    <a:pt x="720" y="286"/>
                  </a:lnTo>
                  <a:lnTo>
                    <a:pt x="721" y="281"/>
                  </a:lnTo>
                  <a:lnTo>
                    <a:pt x="720" y="280"/>
                  </a:lnTo>
                  <a:lnTo>
                    <a:pt x="704" y="269"/>
                  </a:lnTo>
                  <a:lnTo>
                    <a:pt x="702" y="269"/>
                  </a:lnTo>
                  <a:lnTo>
                    <a:pt x="701" y="258"/>
                  </a:lnTo>
                  <a:lnTo>
                    <a:pt x="704" y="250"/>
                  </a:lnTo>
                  <a:lnTo>
                    <a:pt x="695" y="238"/>
                  </a:lnTo>
                  <a:lnTo>
                    <a:pt x="693" y="238"/>
                  </a:lnTo>
                  <a:lnTo>
                    <a:pt x="693" y="237"/>
                  </a:lnTo>
                  <a:lnTo>
                    <a:pt x="695" y="237"/>
                  </a:lnTo>
                  <a:lnTo>
                    <a:pt x="698" y="234"/>
                  </a:lnTo>
                  <a:lnTo>
                    <a:pt x="695" y="232"/>
                  </a:lnTo>
                  <a:lnTo>
                    <a:pt x="695" y="231"/>
                  </a:lnTo>
                  <a:lnTo>
                    <a:pt x="701" y="225"/>
                  </a:lnTo>
                  <a:lnTo>
                    <a:pt x="698" y="220"/>
                  </a:lnTo>
                  <a:lnTo>
                    <a:pt x="698" y="219"/>
                  </a:lnTo>
                  <a:lnTo>
                    <a:pt x="704" y="218"/>
                  </a:lnTo>
                  <a:lnTo>
                    <a:pt x="776" y="204"/>
                  </a:lnTo>
                  <a:lnTo>
                    <a:pt x="776" y="197"/>
                  </a:lnTo>
                  <a:lnTo>
                    <a:pt x="779" y="197"/>
                  </a:lnTo>
                  <a:lnTo>
                    <a:pt x="776" y="188"/>
                  </a:lnTo>
                  <a:lnTo>
                    <a:pt x="766" y="182"/>
                  </a:lnTo>
                  <a:lnTo>
                    <a:pt x="776" y="173"/>
                  </a:lnTo>
                  <a:lnTo>
                    <a:pt x="764" y="167"/>
                  </a:lnTo>
                  <a:lnTo>
                    <a:pt x="767" y="158"/>
                  </a:lnTo>
                  <a:lnTo>
                    <a:pt x="778" y="166"/>
                  </a:lnTo>
                  <a:lnTo>
                    <a:pt x="782" y="152"/>
                  </a:lnTo>
                  <a:lnTo>
                    <a:pt x="784" y="152"/>
                  </a:lnTo>
                  <a:lnTo>
                    <a:pt x="790" y="149"/>
                  </a:lnTo>
                  <a:lnTo>
                    <a:pt x="781" y="145"/>
                  </a:lnTo>
                  <a:lnTo>
                    <a:pt x="794" y="145"/>
                  </a:lnTo>
                  <a:lnTo>
                    <a:pt x="810" y="126"/>
                  </a:lnTo>
                  <a:lnTo>
                    <a:pt x="864" y="106"/>
                  </a:lnTo>
                  <a:lnTo>
                    <a:pt x="865" y="102"/>
                  </a:lnTo>
                  <a:lnTo>
                    <a:pt x="858" y="102"/>
                  </a:lnTo>
                  <a:lnTo>
                    <a:pt x="858" y="94"/>
                  </a:lnTo>
                  <a:lnTo>
                    <a:pt x="862" y="94"/>
                  </a:lnTo>
                  <a:lnTo>
                    <a:pt x="871" y="93"/>
                  </a:lnTo>
                  <a:lnTo>
                    <a:pt x="883" y="92"/>
                  </a:lnTo>
                  <a:lnTo>
                    <a:pt x="892" y="90"/>
                  </a:lnTo>
                  <a:lnTo>
                    <a:pt x="896" y="90"/>
                  </a:lnTo>
                  <a:lnTo>
                    <a:pt x="901" y="93"/>
                  </a:lnTo>
                  <a:lnTo>
                    <a:pt x="896" y="103"/>
                  </a:lnTo>
                  <a:lnTo>
                    <a:pt x="904" y="97"/>
                  </a:lnTo>
                  <a:lnTo>
                    <a:pt x="908" y="99"/>
                  </a:lnTo>
                  <a:lnTo>
                    <a:pt x="908" y="100"/>
                  </a:lnTo>
                  <a:lnTo>
                    <a:pt x="907" y="105"/>
                  </a:lnTo>
                  <a:lnTo>
                    <a:pt x="922" y="99"/>
                  </a:lnTo>
                  <a:lnTo>
                    <a:pt x="920" y="94"/>
                  </a:lnTo>
                  <a:lnTo>
                    <a:pt x="920" y="93"/>
                  </a:lnTo>
                  <a:lnTo>
                    <a:pt x="933" y="84"/>
                  </a:lnTo>
                  <a:lnTo>
                    <a:pt x="933" y="83"/>
                  </a:lnTo>
                  <a:lnTo>
                    <a:pt x="935" y="83"/>
                  </a:lnTo>
                  <a:lnTo>
                    <a:pt x="935" y="84"/>
                  </a:lnTo>
                  <a:lnTo>
                    <a:pt x="947" y="96"/>
                  </a:lnTo>
                  <a:lnTo>
                    <a:pt x="948" y="86"/>
                  </a:lnTo>
                  <a:lnTo>
                    <a:pt x="936" y="74"/>
                  </a:lnTo>
                  <a:lnTo>
                    <a:pt x="936" y="72"/>
                  </a:lnTo>
                  <a:lnTo>
                    <a:pt x="966" y="68"/>
                  </a:lnTo>
                  <a:lnTo>
                    <a:pt x="966" y="60"/>
                  </a:lnTo>
                  <a:lnTo>
                    <a:pt x="967" y="62"/>
                  </a:lnTo>
                  <a:lnTo>
                    <a:pt x="962" y="53"/>
                  </a:lnTo>
                  <a:lnTo>
                    <a:pt x="967" y="37"/>
                  </a:lnTo>
                  <a:lnTo>
                    <a:pt x="990" y="6"/>
                  </a:lnTo>
                  <a:lnTo>
                    <a:pt x="100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0" name="Turkey">
              <a:extLst>
                <a:ext uri="{FF2B5EF4-FFF2-40B4-BE49-F238E27FC236}">
                  <a16:creationId xmlns:a16="http://schemas.microsoft.com/office/drawing/2014/main" id="{7FA36D51-C01A-3943-CBC7-B7AD04A2A3B2}"/>
                </a:ext>
              </a:extLst>
            </p:cNvPr>
            <p:cNvSpPr>
              <a:spLocks/>
            </p:cNvSpPr>
            <p:nvPr/>
          </p:nvSpPr>
          <p:spPr bwMode="auto">
            <a:xfrm>
              <a:off x="6440245" y="3495941"/>
              <a:ext cx="444537" cy="189742"/>
            </a:xfrm>
            <a:custGeom>
              <a:avLst/>
              <a:gdLst/>
              <a:ahLst/>
              <a:cxnLst/>
              <a:rect l="l" t="t" r="r" b="b"/>
              <a:pathLst>
                <a:path w="448081" h="191255">
                  <a:moveTo>
                    <a:pt x="176683" y="0"/>
                  </a:moveTo>
                  <a:lnTo>
                    <a:pt x="218576" y="0"/>
                  </a:lnTo>
                  <a:lnTo>
                    <a:pt x="229505" y="10929"/>
                  </a:lnTo>
                  <a:lnTo>
                    <a:pt x="240434" y="10929"/>
                  </a:lnTo>
                  <a:lnTo>
                    <a:pt x="249541" y="23679"/>
                  </a:lnTo>
                  <a:lnTo>
                    <a:pt x="285971" y="34608"/>
                  </a:lnTo>
                  <a:lnTo>
                    <a:pt x="316936" y="29144"/>
                  </a:lnTo>
                  <a:lnTo>
                    <a:pt x="340615" y="32787"/>
                  </a:lnTo>
                  <a:lnTo>
                    <a:pt x="367937" y="14572"/>
                  </a:lnTo>
                  <a:lnTo>
                    <a:pt x="378865" y="14572"/>
                  </a:lnTo>
                  <a:lnTo>
                    <a:pt x="384330" y="16393"/>
                  </a:lnTo>
                  <a:lnTo>
                    <a:pt x="389794" y="16393"/>
                  </a:lnTo>
                  <a:lnTo>
                    <a:pt x="397080" y="14572"/>
                  </a:lnTo>
                  <a:lnTo>
                    <a:pt x="400723" y="14572"/>
                  </a:lnTo>
                  <a:lnTo>
                    <a:pt x="417116" y="32787"/>
                  </a:lnTo>
                  <a:lnTo>
                    <a:pt x="424402" y="56466"/>
                  </a:lnTo>
                  <a:lnTo>
                    <a:pt x="442617" y="67395"/>
                  </a:lnTo>
                  <a:lnTo>
                    <a:pt x="442617" y="71038"/>
                  </a:lnTo>
                  <a:lnTo>
                    <a:pt x="431688" y="83788"/>
                  </a:lnTo>
                  <a:lnTo>
                    <a:pt x="435331" y="94717"/>
                  </a:lnTo>
                  <a:lnTo>
                    <a:pt x="435331" y="129325"/>
                  </a:lnTo>
                  <a:lnTo>
                    <a:pt x="448081" y="140254"/>
                  </a:lnTo>
                  <a:lnTo>
                    <a:pt x="448081" y="149361"/>
                  </a:lnTo>
                  <a:lnTo>
                    <a:pt x="440795" y="149361"/>
                  </a:lnTo>
                  <a:lnTo>
                    <a:pt x="437152" y="151183"/>
                  </a:lnTo>
                  <a:lnTo>
                    <a:pt x="435331" y="151183"/>
                  </a:lnTo>
                  <a:lnTo>
                    <a:pt x="431688" y="145718"/>
                  </a:lnTo>
                  <a:lnTo>
                    <a:pt x="402545" y="143897"/>
                  </a:lnTo>
                  <a:lnTo>
                    <a:pt x="395259" y="151183"/>
                  </a:lnTo>
                  <a:lnTo>
                    <a:pt x="391616" y="151183"/>
                  </a:lnTo>
                  <a:lnTo>
                    <a:pt x="386151" y="149361"/>
                  </a:lnTo>
                  <a:lnTo>
                    <a:pt x="375223" y="154826"/>
                  </a:lnTo>
                  <a:lnTo>
                    <a:pt x="351543" y="151183"/>
                  </a:lnTo>
                  <a:lnTo>
                    <a:pt x="313293" y="167576"/>
                  </a:lnTo>
                  <a:lnTo>
                    <a:pt x="295078" y="160290"/>
                  </a:lnTo>
                  <a:lnTo>
                    <a:pt x="273220" y="167576"/>
                  </a:lnTo>
                  <a:lnTo>
                    <a:pt x="255006" y="162112"/>
                  </a:lnTo>
                  <a:lnTo>
                    <a:pt x="251363" y="171219"/>
                  </a:lnTo>
                  <a:lnTo>
                    <a:pt x="255006" y="178505"/>
                  </a:lnTo>
                  <a:lnTo>
                    <a:pt x="255006" y="180326"/>
                  </a:lnTo>
                  <a:lnTo>
                    <a:pt x="249541" y="180326"/>
                  </a:lnTo>
                  <a:lnTo>
                    <a:pt x="244077" y="191255"/>
                  </a:lnTo>
                  <a:lnTo>
                    <a:pt x="240434" y="191255"/>
                  </a:lnTo>
                  <a:lnTo>
                    <a:pt x="234970" y="185791"/>
                  </a:lnTo>
                  <a:lnTo>
                    <a:pt x="234970" y="171219"/>
                  </a:lnTo>
                  <a:lnTo>
                    <a:pt x="240434" y="165754"/>
                  </a:lnTo>
                  <a:lnTo>
                    <a:pt x="238613" y="162112"/>
                  </a:lnTo>
                  <a:lnTo>
                    <a:pt x="227684" y="171219"/>
                  </a:lnTo>
                  <a:lnTo>
                    <a:pt x="224041" y="171219"/>
                  </a:lnTo>
                  <a:lnTo>
                    <a:pt x="211290" y="165754"/>
                  </a:lnTo>
                  <a:lnTo>
                    <a:pt x="202183" y="167576"/>
                  </a:lnTo>
                  <a:lnTo>
                    <a:pt x="194897" y="176683"/>
                  </a:lnTo>
                  <a:lnTo>
                    <a:pt x="165754" y="185791"/>
                  </a:lnTo>
                  <a:lnTo>
                    <a:pt x="162111" y="185791"/>
                  </a:lnTo>
                  <a:lnTo>
                    <a:pt x="116574" y="160290"/>
                  </a:lnTo>
                  <a:lnTo>
                    <a:pt x="111110" y="162112"/>
                  </a:lnTo>
                  <a:lnTo>
                    <a:pt x="109288" y="178505"/>
                  </a:lnTo>
                  <a:lnTo>
                    <a:pt x="92895" y="183969"/>
                  </a:lnTo>
                  <a:lnTo>
                    <a:pt x="78323" y="178505"/>
                  </a:lnTo>
                  <a:lnTo>
                    <a:pt x="72859" y="167576"/>
                  </a:lnTo>
                  <a:lnTo>
                    <a:pt x="67395" y="171219"/>
                  </a:lnTo>
                  <a:lnTo>
                    <a:pt x="67395" y="167576"/>
                  </a:lnTo>
                  <a:lnTo>
                    <a:pt x="61930" y="162112"/>
                  </a:lnTo>
                  <a:lnTo>
                    <a:pt x="51001" y="171219"/>
                  </a:lnTo>
                  <a:lnTo>
                    <a:pt x="49180" y="171219"/>
                  </a:lnTo>
                  <a:lnTo>
                    <a:pt x="49180" y="165754"/>
                  </a:lnTo>
                  <a:lnTo>
                    <a:pt x="36430" y="167576"/>
                  </a:lnTo>
                  <a:lnTo>
                    <a:pt x="36430" y="165754"/>
                  </a:lnTo>
                  <a:lnTo>
                    <a:pt x="51001" y="156647"/>
                  </a:lnTo>
                  <a:lnTo>
                    <a:pt x="32787" y="156647"/>
                  </a:lnTo>
                  <a:lnTo>
                    <a:pt x="32787" y="154826"/>
                  </a:lnTo>
                  <a:lnTo>
                    <a:pt x="36430" y="149361"/>
                  </a:lnTo>
                  <a:lnTo>
                    <a:pt x="30965" y="145718"/>
                  </a:lnTo>
                  <a:lnTo>
                    <a:pt x="30965" y="138432"/>
                  </a:lnTo>
                  <a:lnTo>
                    <a:pt x="25501" y="134789"/>
                  </a:lnTo>
                  <a:lnTo>
                    <a:pt x="27322" y="127503"/>
                  </a:lnTo>
                  <a:lnTo>
                    <a:pt x="9108" y="118396"/>
                  </a:lnTo>
                  <a:lnTo>
                    <a:pt x="5465" y="118396"/>
                  </a:lnTo>
                  <a:lnTo>
                    <a:pt x="10929" y="105646"/>
                  </a:lnTo>
                  <a:lnTo>
                    <a:pt x="16394" y="111110"/>
                  </a:lnTo>
                  <a:lnTo>
                    <a:pt x="25501" y="111110"/>
                  </a:lnTo>
                  <a:lnTo>
                    <a:pt x="16394" y="107467"/>
                  </a:lnTo>
                  <a:lnTo>
                    <a:pt x="16394" y="105646"/>
                  </a:lnTo>
                  <a:lnTo>
                    <a:pt x="21858" y="100181"/>
                  </a:lnTo>
                  <a:lnTo>
                    <a:pt x="16394" y="89252"/>
                  </a:lnTo>
                  <a:lnTo>
                    <a:pt x="20036" y="81967"/>
                  </a:lnTo>
                  <a:lnTo>
                    <a:pt x="3643" y="81967"/>
                  </a:lnTo>
                  <a:lnTo>
                    <a:pt x="9108" y="65573"/>
                  </a:lnTo>
                  <a:lnTo>
                    <a:pt x="16394" y="56466"/>
                  </a:lnTo>
                  <a:lnTo>
                    <a:pt x="40073" y="54644"/>
                  </a:lnTo>
                  <a:lnTo>
                    <a:pt x="40073" y="49180"/>
                  </a:lnTo>
                  <a:lnTo>
                    <a:pt x="54644" y="49180"/>
                  </a:lnTo>
                  <a:lnTo>
                    <a:pt x="60109" y="51001"/>
                  </a:lnTo>
                  <a:lnTo>
                    <a:pt x="71038" y="51001"/>
                  </a:lnTo>
                  <a:lnTo>
                    <a:pt x="67395" y="45537"/>
                  </a:lnTo>
                  <a:lnTo>
                    <a:pt x="67395" y="43716"/>
                  </a:lnTo>
                  <a:lnTo>
                    <a:pt x="72859" y="43716"/>
                  </a:lnTo>
                  <a:lnTo>
                    <a:pt x="83788" y="40073"/>
                  </a:lnTo>
                  <a:lnTo>
                    <a:pt x="76502" y="40073"/>
                  </a:lnTo>
                  <a:lnTo>
                    <a:pt x="71038" y="34608"/>
                  </a:lnTo>
                  <a:lnTo>
                    <a:pt x="71038" y="32787"/>
                  </a:lnTo>
                  <a:lnTo>
                    <a:pt x="76502" y="27322"/>
                  </a:lnTo>
                  <a:lnTo>
                    <a:pt x="76502" y="23679"/>
                  </a:lnTo>
                  <a:lnTo>
                    <a:pt x="87431" y="23679"/>
                  </a:lnTo>
                  <a:lnTo>
                    <a:pt x="100181" y="27322"/>
                  </a:lnTo>
                  <a:lnTo>
                    <a:pt x="116574" y="32787"/>
                  </a:lnTo>
                  <a:lnTo>
                    <a:pt x="122039" y="32787"/>
                  </a:lnTo>
                  <a:lnTo>
                    <a:pt x="151182" y="10929"/>
                  </a:lnTo>
                  <a:close/>
                  <a:moveTo>
                    <a:pt x="27322" y="0"/>
                  </a:moveTo>
                  <a:lnTo>
                    <a:pt x="49180" y="3643"/>
                  </a:lnTo>
                  <a:lnTo>
                    <a:pt x="54644" y="14572"/>
                  </a:lnTo>
                  <a:lnTo>
                    <a:pt x="72859" y="23679"/>
                  </a:lnTo>
                  <a:lnTo>
                    <a:pt x="72859" y="27322"/>
                  </a:lnTo>
                  <a:lnTo>
                    <a:pt x="67395" y="32787"/>
                  </a:lnTo>
                  <a:lnTo>
                    <a:pt x="67395" y="34608"/>
                  </a:lnTo>
                  <a:lnTo>
                    <a:pt x="38251" y="34608"/>
                  </a:lnTo>
                  <a:lnTo>
                    <a:pt x="5465" y="61930"/>
                  </a:lnTo>
                  <a:lnTo>
                    <a:pt x="3643" y="61930"/>
                  </a:lnTo>
                  <a:lnTo>
                    <a:pt x="5465" y="51001"/>
                  </a:lnTo>
                  <a:lnTo>
                    <a:pt x="10929" y="45537"/>
                  </a:lnTo>
                  <a:lnTo>
                    <a:pt x="0" y="43715"/>
                  </a:lnTo>
                  <a:lnTo>
                    <a:pt x="0" y="40072"/>
                  </a:lnTo>
                  <a:lnTo>
                    <a:pt x="10929" y="20036"/>
                  </a:lnTo>
                  <a:lnTo>
                    <a:pt x="5465" y="9107"/>
                  </a:lnTo>
                  <a:lnTo>
                    <a:pt x="9108" y="9107"/>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1" name="African Island">
              <a:extLst>
                <a:ext uri="{FF2B5EF4-FFF2-40B4-BE49-F238E27FC236}">
                  <a16:creationId xmlns:a16="http://schemas.microsoft.com/office/drawing/2014/main" id="{E53E9394-1378-B0A4-A35D-166CC788C1CC}"/>
                </a:ext>
              </a:extLst>
            </p:cNvPr>
            <p:cNvSpPr>
              <a:spLocks/>
            </p:cNvSpPr>
            <p:nvPr/>
          </p:nvSpPr>
          <p:spPr bwMode="auto">
            <a:xfrm>
              <a:off x="5229514" y="4179011"/>
              <a:ext cx="10843" cy="9036"/>
            </a:xfrm>
            <a:custGeom>
              <a:avLst/>
              <a:gdLst>
                <a:gd name="T0" fmla="*/ 0 w 6"/>
                <a:gd name="T1" fmla="*/ 0 h 5"/>
                <a:gd name="T2" fmla="*/ 6 w 6"/>
                <a:gd name="T3" fmla="*/ 0 h 5"/>
                <a:gd name="T4" fmla="*/ 6 w 6"/>
                <a:gd name="T5" fmla="*/ 2 h 5"/>
                <a:gd name="T6" fmla="*/ 2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2" y="5"/>
                  </a:lnTo>
                  <a:lnTo>
                    <a:pt x="0" y="5"/>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2" name="African Island">
              <a:extLst>
                <a:ext uri="{FF2B5EF4-FFF2-40B4-BE49-F238E27FC236}">
                  <a16:creationId xmlns:a16="http://schemas.microsoft.com/office/drawing/2014/main" id="{29BFEF05-68B1-F19A-35DA-605F830477CE}"/>
                </a:ext>
              </a:extLst>
            </p:cNvPr>
            <p:cNvSpPr>
              <a:spLocks/>
            </p:cNvSpPr>
            <p:nvPr/>
          </p:nvSpPr>
          <p:spPr bwMode="auto">
            <a:xfrm>
              <a:off x="5267462" y="4224187"/>
              <a:ext cx="7228" cy="14457"/>
            </a:xfrm>
            <a:custGeom>
              <a:avLst/>
              <a:gdLst>
                <a:gd name="T0" fmla="*/ 0 w 4"/>
                <a:gd name="T1" fmla="*/ 0 h 8"/>
                <a:gd name="T2" fmla="*/ 1 w 4"/>
                <a:gd name="T3" fmla="*/ 0 h 8"/>
                <a:gd name="T4" fmla="*/ 1 w 4"/>
                <a:gd name="T5" fmla="*/ 2 h 8"/>
                <a:gd name="T6" fmla="*/ 4 w 4"/>
                <a:gd name="T7" fmla="*/ 6 h 8"/>
                <a:gd name="T8" fmla="*/ 4 w 4"/>
                <a:gd name="T9" fmla="*/ 8 h 8"/>
                <a:gd name="T10" fmla="*/ 0 w 4"/>
                <a:gd name="T11" fmla="*/ 8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1" y="0"/>
                  </a:lnTo>
                  <a:lnTo>
                    <a:pt x="1" y="2"/>
                  </a:lnTo>
                  <a:lnTo>
                    <a:pt x="4" y="6"/>
                  </a:lnTo>
                  <a:lnTo>
                    <a:pt x="4" y="8"/>
                  </a:lnTo>
                  <a:lnTo>
                    <a:pt x="0" y="8"/>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3" name="African Island">
              <a:extLst>
                <a:ext uri="{FF2B5EF4-FFF2-40B4-BE49-F238E27FC236}">
                  <a16:creationId xmlns:a16="http://schemas.microsoft.com/office/drawing/2014/main" id="{0535CECD-1118-CC18-4550-99A861E79DF9}"/>
                </a:ext>
              </a:extLst>
            </p:cNvPr>
            <p:cNvSpPr>
              <a:spLocks/>
            </p:cNvSpPr>
            <p:nvPr/>
          </p:nvSpPr>
          <p:spPr bwMode="auto">
            <a:xfrm>
              <a:off x="5285533" y="4204310"/>
              <a:ext cx="9036" cy="7228"/>
            </a:xfrm>
            <a:custGeom>
              <a:avLst/>
              <a:gdLst>
                <a:gd name="T0" fmla="*/ 0 w 5"/>
                <a:gd name="T1" fmla="*/ 0 h 4"/>
                <a:gd name="T2" fmla="*/ 2 w 5"/>
                <a:gd name="T3" fmla="*/ 0 h 4"/>
                <a:gd name="T4" fmla="*/ 5 w 5"/>
                <a:gd name="T5" fmla="*/ 1 h 4"/>
                <a:gd name="T6" fmla="*/ 5 w 5"/>
                <a:gd name="T7" fmla="*/ 3 h 4"/>
                <a:gd name="T8" fmla="*/ 2 w 5"/>
                <a:gd name="T9" fmla="*/ 4 h 4"/>
                <a:gd name="T10" fmla="*/ 0 w 5"/>
                <a:gd name="T11" fmla="*/ 4 h 4"/>
                <a:gd name="T12" fmla="*/ 0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0"/>
                  </a:moveTo>
                  <a:lnTo>
                    <a:pt x="2" y="0"/>
                  </a:lnTo>
                  <a:lnTo>
                    <a:pt x="5" y="1"/>
                  </a:lnTo>
                  <a:lnTo>
                    <a:pt x="5" y="3"/>
                  </a:lnTo>
                  <a:lnTo>
                    <a:pt x="2" y="4"/>
                  </a:lnTo>
                  <a:lnTo>
                    <a:pt x="0" y="4"/>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4" name="African Island">
              <a:extLst>
                <a:ext uri="{FF2B5EF4-FFF2-40B4-BE49-F238E27FC236}">
                  <a16:creationId xmlns:a16="http://schemas.microsoft.com/office/drawing/2014/main" id="{C872ACD6-9F32-B299-6860-B521F7DEF897}"/>
                </a:ext>
              </a:extLst>
            </p:cNvPr>
            <p:cNvSpPr>
              <a:spLocks/>
            </p:cNvSpPr>
            <p:nvPr/>
          </p:nvSpPr>
          <p:spPr bwMode="auto">
            <a:xfrm>
              <a:off x="5424676" y="3772422"/>
              <a:ext cx="10843" cy="7228"/>
            </a:xfrm>
            <a:custGeom>
              <a:avLst/>
              <a:gdLst>
                <a:gd name="T0" fmla="*/ 2 w 6"/>
                <a:gd name="T1" fmla="*/ 0 h 4"/>
                <a:gd name="T2" fmla="*/ 3 w 6"/>
                <a:gd name="T3" fmla="*/ 0 h 4"/>
                <a:gd name="T4" fmla="*/ 6 w 6"/>
                <a:gd name="T5" fmla="*/ 3 h 4"/>
                <a:gd name="T6" fmla="*/ 3 w 6"/>
                <a:gd name="T7" fmla="*/ 4 h 4"/>
                <a:gd name="T8" fmla="*/ 0 w 6"/>
                <a:gd name="T9" fmla="*/ 1 h 4"/>
                <a:gd name="T10" fmla="*/ 2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2" y="0"/>
                  </a:moveTo>
                  <a:lnTo>
                    <a:pt x="3" y="0"/>
                  </a:lnTo>
                  <a:lnTo>
                    <a:pt x="6" y="3"/>
                  </a:lnTo>
                  <a:lnTo>
                    <a:pt x="3" y="4"/>
                  </a:lnTo>
                  <a:lnTo>
                    <a:pt x="0" y="1"/>
                  </a:lnTo>
                  <a:lnTo>
                    <a:pt x="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5" name="African Island">
              <a:extLst>
                <a:ext uri="{FF2B5EF4-FFF2-40B4-BE49-F238E27FC236}">
                  <a16:creationId xmlns:a16="http://schemas.microsoft.com/office/drawing/2014/main" id="{B26F3B73-A7E1-2A81-76F8-2B4A72970F06}"/>
                </a:ext>
              </a:extLst>
            </p:cNvPr>
            <p:cNvSpPr>
              <a:spLocks/>
            </p:cNvSpPr>
            <p:nvPr/>
          </p:nvSpPr>
          <p:spPr bwMode="auto">
            <a:xfrm>
              <a:off x="5430098" y="3888073"/>
              <a:ext cx="16264" cy="16264"/>
            </a:xfrm>
            <a:custGeom>
              <a:avLst/>
              <a:gdLst>
                <a:gd name="T0" fmla="*/ 9 w 9"/>
                <a:gd name="T1" fmla="*/ 0 h 9"/>
                <a:gd name="T2" fmla="*/ 9 w 9"/>
                <a:gd name="T3" fmla="*/ 1 h 9"/>
                <a:gd name="T4" fmla="*/ 6 w 9"/>
                <a:gd name="T5" fmla="*/ 9 h 9"/>
                <a:gd name="T6" fmla="*/ 0 w 9"/>
                <a:gd name="T7" fmla="*/ 7 h 9"/>
                <a:gd name="T8" fmla="*/ 0 w 9"/>
                <a:gd name="T9" fmla="*/ 4 h 9"/>
                <a:gd name="T10" fmla="*/ 9 w 9"/>
                <a:gd name="T11" fmla="*/ 0 h 9"/>
              </a:gdLst>
              <a:ahLst/>
              <a:cxnLst>
                <a:cxn ang="0">
                  <a:pos x="T0" y="T1"/>
                </a:cxn>
                <a:cxn ang="0">
                  <a:pos x="T2" y="T3"/>
                </a:cxn>
                <a:cxn ang="0">
                  <a:pos x="T4" y="T5"/>
                </a:cxn>
                <a:cxn ang="0">
                  <a:pos x="T6" y="T7"/>
                </a:cxn>
                <a:cxn ang="0">
                  <a:pos x="T8" y="T9"/>
                </a:cxn>
                <a:cxn ang="0">
                  <a:pos x="T10" y="T11"/>
                </a:cxn>
              </a:cxnLst>
              <a:rect l="0" t="0" r="r" b="b"/>
              <a:pathLst>
                <a:path w="9" h="9">
                  <a:moveTo>
                    <a:pt x="9" y="0"/>
                  </a:moveTo>
                  <a:lnTo>
                    <a:pt x="9" y="1"/>
                  </a:lnTo>
                  <a:lnTo>
                    <a:pt x="6" y="9"/>
                  </a:lnTo>
                  <a:lnTo>
                    <a:pt x="0" y="7"/>
                  </a:lnTo>
                  <a:lnTo>
                    <a:pt x="0" y="4"/>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6" name="African Island">
              <a:extLst>
                <a:ext uri="{FF2B5EF4-FFF2-40B4-BE49-F238E27FC236}">
                  <a16:creationId xmlns:a16="http://schemas.microsoft.com/office/drawing/2014/main" id="{9AEA35E5-D72E-61AA-4828-BE94E97405EF}"/>
                </a:ext>
              </a:extLst>
            </p:cNvPr>
            <p:cNvSpPr>
              <a:spLocks/>
            </p:cNvSpPr>
            <p:nvPr/>
          </p:nvSpPr>
          <p:spPr bwMode="auto">
            <a:xfrm>
              <a:off x="5487924" y="3884460"/>
              <a:ext cx="14457" cy="19879"/>
            </a:xfrm>
            <a:custGeom>
              <a:avLst/>
              <a:gdLst>
                <a:gd name="T0" fmla="*/ 7 w 8"/>
                <a:gd name="T1" fmla="*/ 0 h 11"/>
                <a:gd name="T2" fmla="*/ 8 w 8"/>
                <a:gd name="T3" fmla="*/ 0 h 11"/>
                <a:gd name="T4" fmla="*/ 7 w 8"/>
                <a:gd name="T5" fmla="*/ 6 h 11"/>
                <a:gd name="T6" fmla="*/ 7 w 8"/>
                <a:gd name="T7" fmla="*/ 8 h 11"/>
                <a:gd name="T8" fmla="*/ 1 w 8"/>
                <a:gd name="T9" fmla="*/ 11 h 11"/>
                <a:gd name="T10" fmla="*/ 0 w 8"/>
                <a:gd name="T11" fmla="*/ 11 h 11"/>
                <a:gd name="T12" fmla="*/ 0 w 8"/>
                <a:gd name="T13" fmla="*/ 9 h 11"/>
                <a:gd name="T14" fmla="*/ 1 w 8"/>
                <a:gd name="T15" fmla="*/ 9 h 11"/>
                <a:gd name="T16" fmla="*/ 7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7" y="0"/>
                  </a:moveTo>
                  <a:lnTo>
                    <a:pt x="8" y="0"/>
                  </a:lnTo>
                  <a:lnTo>
                    <a:pt x="7" y="6"/>
                  </a:lnTo>
                  <a:lnTo>
                    <a:pt x="7" y="8"/>
                  </a:lnTo>
                  <a:lnTo>
                    <a:pt x="1" y="11"/>
                  </a:lnTo>
                  <a:lnTo>
                    <a:pt x="0" y="11"/>
                  </a:lnTo>
                  <a:lnTo>
                    <a:pt x="0" y="9"/>
                  </a:lnTo>
                  <a:lnTo>
                    <a:pt x="1" y="9"/>
                  </a:lnTo>
                  <a:lnTo>
                    <a:pt x="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7" name="African Island">
              <a:extLst>
                <a:ext uri="{FF2B5EF4-FFF2-40B4-BE49-F238E27FC236}">
                  <a16:creationId xmlns:a16="http://schemas.microsoft.com/office/drawing/2014/main" id="{1CAE13EF-3A7B-DBC3-8889-DB22FC689FA3}"/>
                </a:ext>
              </a:extLst>
            </p:cNvPr>
            <p:cNvSpPr>
              <a:spLocks/>
            </p:cNvSpPr>
            <p:nvPr/>
          </p:nvSpPr>
          <p:spPr bwMode="auto">
            <a:xfrm>
              <a:off x="5455397" y="3898916"/>
              <a:ext cx="12650" cy="12650"/>
            </a:xfrm>
            <a:custGeom>
              <a:avLst/>
              <a:gdLst>
                <a:gd name="T0" fmla="*/ 3 w 7"/>
                <a:gd name="T1" fmla="*/ 0 h 7"/>
                <a:gd name="T2" fmla="*/ 3 w 7"/>
                <a:gd name="T3" fmla="*/ 1 h 7"/>
                <a:gd name="T4" fmla="*/ 6 w 7"/>
                <a:gd name="T5" fmla="*/ 3 h 7"/>
                <a:gd name="T6" fmla="*/ 7 w 7"/>
                <a:gd name="T7" fmla="*/ 3 h 7"/>
                <a:gd name="T8" fmla="*/ 6 w 7"/>
                <a:gd name="T9" fmla="*/ 4 h 7"/>
                <a:gd name="T10" fmla="*/ 4 w 7"/>
                <a:gd name="T11" fmla="*/ 7 h 7"/>
                <a:gd name="T12" fmla="*/ 0 w 7"/>
                <a:gd name="T13" fmla="*/ 7 h 7"/>
                <a:gd name="T14" fmla="*/ 1 w 7"/>
                <a:gd name="T15" fmla="*/ 1 h 7"/>
                <a:gd name="T16" fmla="*/ 3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0"/>
                  </a:moveTo>
                  <a:lnTo>
                    <a:pt x="3" y="1"/>
                  </a:lnTo>
                  <a:lnTo>
                    <a:pt x="6" y="3"/>
                  </a:lnTo>
                  <a:lnTo>
                    <a:pt x="7" y="3"/>
                  </a:lnTo>
                  <a:lnTo>
                    <a:pt x="6" y="4"/>
                  </a:lnTo>
                  <a:lnTo>
                    <a:pt x="4" y="7"/>
                  </a:lnTo>
                  <a:lnTo>
                    <a:pt x="0" y="7"/>
                  </a:lnTo>
                  <a:lnTo>
                    <a:pt x="1" y="1"/>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8" name="African Island">
              <a:extLst>
                <a:ext uri="{FF2B5EF4-FFF2-40B4-BE49-F238E27FC236}">
                  <a16:creationId xmlns:a16="http://schemas.microsoft.com/office/drawing/2014/main" id="{2CE0ED39-8118-2ECF-4246-571B1D378775}"/>
                </a:ext>
              </a:extLst>
            </p:cNvPr>
            <p:cNvSpPr>
              <a:spLocks/>
            </p:cNvSpPr>
            <p:nvPr/>
          </p:nvSpPr>
          <p:spPr bwMode="auto">
            <a:xfrm>
              <a:off x="6024620" y="4498860"/>
              <a:ext cx="14457" cy="12650"/>
            </a:xfrm>
            <a:custGeom>
              <a:avLst/>
              <a:gdLst>
                <a:gd name="T0" fmla="*/ 2 w 8"/>
                <a:gd name="T1" fmla="*/ 0 h 7"/>
                <a:gd name="T2" fmla="*/ 3 w 8"/>
                <a:gd name="T3" fmla="*/ 0 h 7"/>
                <a:gd name="T4" fmla="*/ 8 w 8"/>
                <a:gd name="T5" fmla="*/ 1 h 7"/>
                <a:gd name="T6" fmla="*/ 8 w 8"/>
                <a:gd name="T7" fmla="*/ 3 h 7"/>
                <a:gd name="T8" fmla="*/ 6 w 8"/>
                <a:gd name="T9" fmla="*/ 7 h 7"/>
                <a:gd name="T10" fmla="*/ 0 w 8"/>
                <a:gd name="T11" fmla="*/ 7 h 7"/>
                <a:gd name="T12" fmla="*/ 2 w 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0"/>
                  </a:moveTo>
                  <a:lnTo>
                    <a:pt x="3" y="0"/>
                  </a:lnTo>
                  <a:lnTo>
                    <a:pt x="8" y="1"/>
                  </a:lnTo>
                  <a:lnTo>
                    <a:pt x="8" y="3"/>
                  </a:lnTo>
                  <a:lnTo>
                    <a:pt x="6" y="7"/>
                  </a:lnTo>
                  <a:lnTo>
                    <a:pt x="0" y="7"/>
                  </a:lnTo>
                  <a:lnTo>
                    <a:pt x="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89" name="African Island">
              <a:extLst>
                <a:ext uri="{FF2B5EF4-FFF2-40B4-BE49-F238E27FC236}">
                  <a16:creationId xmlns:a16="http://schemas.microsoft.com/office/drawing/2014/main" id="{2764D797-DF6F-FB16-D56D-16B0063BA7B7}"/>
                </a:ext>
              </a:extLst>
            </p:cNvPr>
            <p:cNvSpPr>
              <a:spLocks/>
            </p:cNvSpPr>
            <p:nvPr/>
          </p:nvSpPr>
          <p:spPr bwMode="auto">
            <a:xfrm>
              <a:off x="5977637" y="4576564"/>
              <a:ext cx="10843" cy="10843"/>
            </a:xfrm>
            <a:custGeom>
              <a:avLst/>
              <a:gdLst>
                <a:gd name="T0" fmla="*/ 3 w 6"/>
                <a:gd name="T1" fmla="*/ 0 h 6"/>
                <a:gd name="T2" fmla="*/ 6 w 6"/>
                <a:gd name="T3" fmla="*/ 3 h 6"/>
                <a:gd name="T4" fmla="*/ 3 w 6"/>
                <a:gd name="T5" fmla="*/ 6 h 6"/>
                <a:gd name="T6" fmla="*/ 1 w 6"/>
                <a:gd name="T7" fmla="*/ 6 h 6"/>
                <a:gd name="T8" fmla="*/ 0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6" y="3"/>
                  </a:lnTo>
                  <a:lnTo>
                    <a:pt x="3" y="6"/>
                  </a:lnTo>
                  <a:lnTo>
                    <a:pt x="1" y="6"/>
                  </a:lnTo>
                  <a:lnTo>
                    <a:pt x="0" y="3"/>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0" name="African Island">
              <a:extLst>
                <a:ext uri="{FF2B5EF4-FFF2-40B4-BE49-F238E27FC236}">
                  <a16:creationId xmlns:a16="http://schemas.microsoft.com/office/drawing/2014/main" id="{3D7CD635-78E6-18FB-7063-66F6DDE80DD8}"/>
                </a:ext>
              </a:extLst>
            </p:cNvPr>
            <p:cNvSpPr>
              <a:spLocks/>
            </p:cNvSpPr>
            <p:nvPr/>
          </p:nvSpPr>
          <p:spPr bwMode="auto">
            <a:xfrm>
              <a:off x="7177525" y="5066278"/>
              <a:ext cx="10843" cy="16264"/>
            </a:xfrm>
            <a:custGeom>
              <a:avLst/>
              <a:gdLst>
                <a:gd name="T0" fmla="*/ 1 w 6"/>
                <a:gd name="T1" fmla="*/ 0 h 9"/>
                <a:gd name="T2" fmla="*/ 6 w 6"/>
                <a:gd name="T3" fmla="*/ 0 h 9"/>
                <a:gd name="T4" fmla="*/ 6 w 6"/>
                <a:gd name="T5" fmla="*/ 7 h 9"/>
                <a:gd name="T6" fmla="*/ 1 w 6"/>
                <a:gd name="T7" fmla="*/ 9 h 9"/>
                <a:gd name="T8" fmla="*/ 0 w 6"/>
                <a:gd name="T9" fmla="*/ 9 h 9"/>
                <a:gd name="T10" fmla="*/ 0 w 6"/>
                <a:gd name="T11" fmla="*/ 7 h 9"/>
                <a:gd name="T12" fmla="*/ 1 w 6"/>
                <a:gd name="T13" fmla="*/ 1 h 9"/>
                <a:gd name="T14" fmla="*/ 1 w 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1" y="0"/>
                  </a:moveTo>
                  <a:lnTo>
                    <a:pt x="6" y="0"/>
                  </a:lnTo>
                  <a:lnTo>
                    <a:pt x="6" y="7"/>
                  </a:lnTo>
                  <a:lnTo>
                    <a:pt x="1" y="9"/>
                  </a:lnTo>
                  <a:lnTo>
                    <a:pt x="0" y="9"/>
                  </a:lnTo>
                  <a:lnTo>
                    <a:pt x="0" y="7"/>
                  </a:lnTo>
                  <a:lnTo>
                    <a:pt x="1" y="1"/>
                  </a:lnTo>
                  <a:lnTo>
                    <a:pt x="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1" name="African Island">
              <a:extLst>
                <a:ext uri="{FF2B5EF4-FFF2-40B4-BE49-F238E27FC236}">
                  <a16:creationId xmlns:a16="http://schemas.microsoft.com/office/drawing/2014/main" id="{A77DB815-099F-313D-0B92-804114B4CE1D}"/>
                </a:ext>
              </a:extLst>
            </p:cNvPr>
            <p:cNvSpPr>
              <a:spLocks/>
            </p:cNvSpPr>
            <p:nvPr/>
          </p:nvSpPr>
          <p:spPr bwMode="auto">
            <a:xfrm>
              <a:off x="6754673" y="4722936"/>
              <a:ext cx="10843" cy="19879"/>
            </a:xfrm>
            <a:custGeom>
              <a:avLst/>
              <a:gdLst>
                <a:gd name="T0" fmla="*/ 0 w 6"/>
                <a:gd name="T1" fmla="*/ 0 h 11"/>
                <a:gd name="T2" fmla="*/ 1 w 6"/>
                <a:gd name="T3" fmla="*/ 0 h 11"/>
                <a:gd name="T4" fmla="*/ 6 w 6"/>
                <a:gd name="T5" fmla="*/ 9 h 11"/>
                <a:gd name="T6" fmla="*/ 4 w 6"/>
                <a:gd name="T7" fmla="*/ 11 h 11"/>
                <a:gd name="T8" fmla="*/ 1 w 6"/>
                <a:gd name="T9" fmla="*/ 8 h 11"/>
                <a:gd name="T10" fmla="*/ 0 w 6"/>
                <a:gd name="T11" fmla="*/ 8 h 11"/>
                <a:gd name="T12" fmla="*/ 0 w 6"/>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0" y="0"/>
                  </a:moveTo>
                  <a:lnTo>
                    <a:pt x="1" y="0"/>
                  </a:lnTo>
                  <a:lnTo>
                    <a:pt x="6" y="9"/>
                  </a:lnTo>
                  <a:lnTo>
                    <a:pt x="4" y="11"/>
                  </a:lnTo>
                  <a:lnTo>
                    <a:pt x="1" y="8"/>
                  </a:lnTo>
                  <a:lnTo>
                    <a:pt x="0" y="8"/>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2" name="African Island">
              <a:extLst>
                <a:ext uri="{FF2B5EF4-FFF2-40B4-BE49-F238E27FC236}">
                  <a16:creationId xmlns:a16="http://schemas.microsoft.com/office/drawing/2014/main" id="{1E042E7C-DE9C-F998-4622-1B22AE52C0D5}"/>
                </a:ext>
              </a:extLst>
            </p:cNvPr>
            <p:cNvSpPr>
              <a:spLocks/>
            </p:cNvSpPr>
            <p:nvPr/>
          </p:nvSpPr>
          <p:spPr bwMode="auto">
            <a:xfrm>
              <a:off x="6765516" y="4701251"/>
              <a:ext cx="5422" cy="16264"/>
            </a:xfrm>
            <a:custGeom>
              <a:avLst/>
              <a:gdLst>
                <a:gd name="T0" fmla="*/ 0 w 3"/>
                <a:gd name="T1" fmla="*/ 0 h 9"/>
                <a:gd name="T2" fmla="*/ 1 w 3"/>
                <a:gd name="T3" fmla="*/ 0 h 9"/>
                <a:gd name="T4" fmla="*/ 3 w 3"/>
                <a:gd name="T5" fmla="*/ 3 h 9"/>
                <a:gd name="T6" fmla="*/ 3 w 3"/>
                <a:gd name="T7" fmla="*/ 9 h 9"/>
                <a:gd name="T8" fmla="*/ 1 w 3"/>
                <a:gd name="T9" fmla="*/ 9 h 9"/>
                <a:gd name="T10" fmla="*/ 1 w 3"/>
                <a:gd name="T11" fmla="*/ 8 h 9"/>
                <a:gd name="T12" fmla="*/ 0 w 3"/>
                <a:gd name="T13" fmla="*/ 2 h 9"/>
                <a:gd name="T14" fmla="*/ 0 w 3"/>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9">
                  <a:moveTo>
                    <a:pt x="0" y="0"/>
                  </a:moveTo>
                  <a:lnTo>
                    <a:pt x="1" y="0"/>
                  </a:lnTo>
                  <a:lnTo>
                    <a:pt x="3" y="3"/>
                  </a:lnTo>
                  <a:lnTo>
                    <a:pt x="3" y="9"/>
                  </a:lnTo>
                  <a:lnTo>
                    <a:pt x="1" y="9"/>
                  </a:lnTo>
                  <a:lnTo>
                    <a:pt x="1" y="8"/>
                  </a:lnTo>
                  <a:lnTo>
                    <a:pt x="0" y="2"/>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3" name="African Island">
              <a:extLst>
                <a:ext uri="{FF2B5EF4-FFF2-40B4-BE49-F238E27FC236}">
                  <a16:creationId xmlns:a16="http://schemas.microsoft.com/office/drawing/2014/main" id="{8644EA96-307E-31D5-5BE6-F09CCA843869}"/>
                </a:ext>
              </a:extLst>
            </p:cNvPr>
            <p:cNvSpPr>
              <a:spLocks/>
            </p:cNvSpPr>
            <p:nvPr/>
          </p:nvSpPr>
          <p:spPr bwMode="auto">
            <a:xfrm>
              <a:off x="6845026" y="4854852"/>
              <a:ext cx="9036" cy="16264"/>
            </a:xfrm>
            <a:custGeom>
              <a:avLst/>
              <a:gdLst>
                <a:gd name="T0" fmla="*/ 3 w 5"/>
                <a:gd name="T1" fmla="*/ 0 h 9"/>
                <a:gd name="T2" fmla="*/ 5 w 5"/>
                <a:gd name="T3" fmla="*/ 0 h 9"/>
                <a:gd name="T4" fmla="*/ 5 w 5"/>
                <a:gd name="T5" fmla="*/ 9 h 9"/>
                <a:gd name="T6" fmla="*/ 3 w 5"/>
                <a:gd name="T7" fmla="*/ 9 h 9"/>
                <a:gd name="T8" fmla="*/ 2 w 5"/>
                <a:gd name="T9" fmla="*/ 6 h 9"/>
                <a:gd name="T10" fmla="*/ 0 w 5"/>
                <a:gd name="T11" fmla="*/ 6 h 9"/>
                <a:gd name="T12" fmla="*/ 0 w 5"/>
                <a:gd name="T13" fmla="*/ 4 h 9"/>
                <a:gd name="T14" fmla="*/ 3 w 5"/>
                <a:gd name="T15" fmla="*/ 1 h 9"/>
                <a:gd name="T16" fmla="*/ 3 w 5"/>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3" y="0"/>
                  </a:moveTo>
                  <a:lnTo>
                    <a:pt x="5" y="0"/>
                  </a:lnTo>
                  <a:lnTo>
                    <a:pt x="5" y="9"/>
                  </a:lnTo>
                  <a:lnTo>
                    <a:pt x="3" y="9"/>
                  </a:lnTo>
                  <a:lnTo>
                    <a:pt x="2" y="6"/>
                  </a:lnTo>
                  <a:lnTo>
                    <a:pt x="0" y="6"/>
                  </a:lnTo>
                  <a:lnTo>
                    <a:pt x="0" y="4"/>
                  </a:lnTo>
                  <a:lnTo>
                    <a:pt x="3" y="1"/>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4" name="African Island">
              <a:extLst>
                <a:ext uri="{FF2B5EF4-FFF2-40B4-BE49-F238E27FC236}">
                  <a16:creationId xmlns:a16="http://schemas.microsoft.com/office/drawing/2014/main" id="{AC044F41-B99A-01EC-06F8-0E50DB87BFBF}"/>
                </a:ext>
              </a:extLst>
            </p:cNvPr>
            <p:cNvSpPr>
              <a:spLocks/>
            </p:cNvSpPr>
            <p:nvPr/>
          </p:nvSpPr>
          <p:spPr bwMode="auto">
            <a:xfrm>
              <a:off x="6868519" y="4872923"/>
              <a:ext cx="10843" cy="10843"/>
            </a:xfrm>
            <a:custGeom>
              <a:avLst/>
              <a:gdLst>
                <a:gd name="T0" fmla="*/ 5 w 6"/>
                <a:gd name="T1" fmla="*/ 0 h 6"/>
                <a:gd name="T2" fmla="*/ 6 w 6"/>
                <a:gd name="T3" fmla="*/ 0 h 6"/>
                <a:gd name="T4" fmla="*/ 6 w 6"/>
                <a:gd name="T5" fmla="*/ 5 h 6"/>
                <a:gd name="T6" fmla="*/ 5 w 6"/>
                <a:gd name="T7" fmla="*/ 6 h 6"/>
                <a:gd name="T8" fmla="*/ 2 w 6"/>
                <a:gd name="T9" fmla="*/ 3 h 6"/>
                <a:gd name="T10" fmla="*/ 0 w 6"/>
                <a:gd name="T11" fmla="*/ 3 h 6"/>
                <a:gd name="T12" fmla="*/ 0 w 6"/>
                <a:gd name="T13" fmla="*/ 2 h 6"/>
                <a:gd name="T14" fmla="*/ 2 w 6"/>
                <a:gd name="T15" fmla="*/ 2 h 6"/>
                <a:gd name="T16" fmla="*/ 5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5" y="0"/>
                  </a:moveTo>
                  <a:lnTo>
                    <a:pt x="6" y="0"/>
                  </a:lnTo>
                  <a:lnTo>
                    <a:pt x="6" y="5"/>
                  </a:lnTo>
                  <a:lnTo>
                    <a:pt x="5" y="6"/>
                  </a:lnTo>
                  <a:lnTo>
                    <a:pt x="2" y="3"/>
                  </a:lnTo>
                  <a:lnTo>
                    <a:pt x="0" y="3"/>
                  </a:lnTo>
                  <a:lnTo>
                    <a:pt x="0" y="2"/>
                  </a:lnTo>
                  <a:lnTo>
                    <a:pt x="2" y="2"/>
                  </a:lnTo>
                  <a:lnTo>
                    <a:pt x="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5" name="African Island">
              <a:extLst>
                <a:ext uri="{FF2B5EF4-FFF2-40B4-BE49-F238E27FC236}">
                  <a16:creationId xmlns:a16="http://schemas.microsoft.com/office/drawing/2014/main" id="{BCC08478-9DF8-B67A-7AC3-8029199F8746}"/>
                </a:ext>
              </a:extLst>
            </p:cNvPr>
            <p:cNvSpPr>
              <a:spLocks/>
            </p:cNvSpPr>
            <p:nvPr/>
          </p:nvSpPr>
          <p:spPr bwMode="auto">
            <a:xfrm>
              <a:off x="6890204" y="4887379"/>
              <a:ext cx="5422" cy="10843"/>
            </a:xfrm>
            <a:custGeom>
              <a:avLst/>
              <a:gdLst>
                <a:gd name="T0" fmla="*/ 0 w 3"/>
                <a:gd name="T1" fmla="*/ 0 h 6"/>
                <a:gd name="T2" fmla="*/ 3 w 3"/>
                <a:gd name="T3" fmla="*/ 1 h 6"/>
                <a:gd name="T4" fmla="*/ 3 w 3"/>
                <a:gd name="T5" fmla="*/ 3 h 6"/>
                <a:gd name="T6" fmla="*/ 2 w 3"/>
                <a:gd name="T7" fmla="*/ 4 h 6"/>
                <a:gd name="T8" fmla="*/ 2 w 3"/>
                <a:gd name="T9" fmla="*/ 6 h 6"/>
                <a:gd name="T10" fmla="*/ 0 w 3"/>
                <a:gd name="T11" fmla="*/ 6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1"/>
                  </a:lnTo>
                  <a:lnTo>
                    <a:pt x="3" y="3"/>
                  </a:lnTo>
                  <a:lnTo>
                    <a:pt x="2" y="4"/>
                  </a:lnTo>
                  <a:lnTo>
                    <a:pt x="2" y="6"/>
                  </a:lnTo>
                  <a:lnTo>
                    <a:pt x="0" y="6"/>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6" name="African Island">
              <a:extLst>
                <a:ext uri="{FF2B5EF4-FFF2-40B4-BE49-F238E27FC236}">
                  <a16:creationId xmlns:a16="http://schemas.microsoft.com/office/drawing/2014/main" id="{C112B27A-66CF-41A1-3515-ABA282E982AA}"/>
                </a:ext>
              </a:extLst>
            </p:cNvPr>
            <p:cNvSpPr>
              <a:spLocks/>
            </p:cNvSpPr>
            <p:nvPr/>
          </p:nvSpPr>
          <p:spPr bwMode="auto">
            <a:xfrm>
              <a:off x="7126928" y="5089770"/>
              <a:ext cx="16264" cy="14457"/>
            </a:xfrm>
            <a:custGeom>
              <a:avLst/>
              <a:gdLst>
                <a:gd name="T0" fmla="*/ 1 w 9"/>
                <a:gd name="T1" fmla="*/ 0 h 8"/>
                <a:gd name="T2" fmla="*/ 7 w 9"/>
                <a:gd name="T3" fmla="*/ 0 h 8"/>
                <a:gd name="T4" fmla="*/ 7 w 9"/>
                <a:gd name="T5" fmla="*/ 2 h 8"/>
                <a:gd name="T6" fmla="*/ 9 w 9"/>
                <a:gd name="T7" fmla="*/ 6 h 8"/>
                <a:gd name="T8" fmla="*/ 9 w 9"/>
                <a:gd name="T9" fmla="*/ 8 h 8"/>
                <a:gd name="T10" fmla="*/ 7 w 9"/>
                <a:gd name="T11" fmla="*/ 8 h 8"/>
                <a:gd name="T12" fmla="*/ 4 w 9"/>
                <a:gd name="T13" fmla="*/ 6 h 8"/>
                <a:gd name="T14" fmla="*/ 3 w 9"/>
                <a:gd name="T15" fmla="*/ 6 h 8"/>
                <a:gd name="T16" fmla="*/ 0 w 9"/>
                <a:gd name="T17" fmla="*/ 2 h 8"/>
                <a:gd name="T18" fmla="*/ 1 w 9"/>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1" y="0"/>
                  </a:moveTo>
                  <a:lnTo>
                    <a:pt x="7" y="0"/>
                  </a:lnTo>
                  <a:lnTo>
                    <a:pt x="7" y="2"/>
                  </a:lnTo>
                  <a:lnTo>
                    <a:pt x="9" y="6"/>
                  </a:lnTo>
                  <a:lnTo>
                    <a:pt x="9" y="8"/>
                  </a:lnTo>
                  <a:lnTo>
                    <a:pt x="7" y="8"/>
                  </a:lnTo>
                  <a:lnTo>
                    <a:pt x="4" y="6"/>
                  </a:lnTo>
                  <a:lnTo>
                    <a:pt x="3" y="6"/>
                  </a:lnTo>
                  <a:lnTo>
                    <a:pt x="0" y="2"/>
                  </a:lnTo>
                  <a:lnTo>
                    <a:pt x="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7" name="Zimbabwe">
              <a:extLst>
                <a:ext uri="{FF2B5EF4-FFF2-40B4-BE49-F238E27FC236}">
                  <a16:creationId xmlns:a16="http://schemas.microsoft.com/office/drawing/2014/main" id="{5F90DBEC-5902-7915-B4E2-D932777E7138}"/>
                </a:ext>
              </a:extLst>
            </p:cNvPr>
            <p:cNvSpPr>
              <a:spLocks/>
            </p:cNvSpPr>
            <p:nvPr/>
          </p:nvSpPr>
          <p:spPr bwMode="auto">
            <a:xfrm>
              <a:off x="6418560" y="4956048"/>
              <a:ext cx="187935" cy="178900"/>
            </a:xfrm>
            <a:custGeom>
              <a:avLst/>
              <a:gdLst>
                <a:gd name="T0" fmla="*/ 61 w 104"/>
                <a:gd name="T1" fmla="*/ 0 h 99"/>
                <a:gd name="T2" fmla="*/ 69 w 104"/>
                <a:gd name="T3" fmla="*/ 2 h 99"/>
                <a:gd name="T4" fmla="*/ 69 w 104"/>
                <a:gd name="T5" fmla="*/ 5 h 99"/>
                <a:gd name="T6" fmla="*/ 82 w 104"/>
                <a:gd name="T7" fmla="*/ 6 h 99"/>
                <a:gd name="T8" fmla="*/ 100 w 104"/>
                <a:gd name="T9" fmla="*/ 14 h 99"/>
                <a:gd name="T10" fmla="*/ 104 w 104"/>
                <a:gd name="T11" fmla="*/ 27 h 99"/>
                <a:gd name="T12" fmla="*/ 104 w 104"/>
                <a:gd name="T13" fmla="*/ 37 h 99"/>
                <a:gd name="T14" fmla="*/ 100 w 104"/>
                <a:gd name="T15" fmla="*/ 48 h 99"/>
                <a:gd name="T16" fmla="*/ 103 w 104"/>
                <a:gd name="T17" fmla="*/ 61 h 99"/>
                <a:gd name="T18" fmla="*/ 92 w 104"/>
                <a:gd name="T19" fmla="*/ 86 h 99"/>
                <a:gd name="T20" fmla="*/ 86 w 104"/>
                <a:gd name="T21" fmla="*/ 92 h 99"/>
                <a:gd name="T22" fmla="*/ 85 w 104"/>
                <a:gd name="T23" fmla="*/ 98 h 99"/>
                <a:gd name="T24" fmla="*/ 85 w 104"/>
                <a:gd name="T25" fmla="*/ 99 h 99"/>
                <a:gd name="T26" fmla="*/ 83 w 104"/>
                <a:gd name="T27" fmla="*/ 98 h 99"/>
                <a:gd name="T28" fmla="*/ 74 w 104"/>
                <a:gd name="T29" fmla="*/ 92 h 99"/>
                <a:gd name="T30" fmla="*/ 55 w 104"/>
                <a:gd name="T31" fmla="*/ 92 h 99"/>
                <a:gd name="T32" fmla="*/ 36 w 104"/>
                <a:gd name="T33" fmla="*/ 83 h 99"/>
                <a:gd name="T34" fmla="*/ 36 w 104"/>
                <a:gd name="T35" fmla="*/ 82 h 99"/>
                <a:gd name="T36" fmla="*/ 34 w 104"/>
                <a:gd name="T37" fmla="*/ 71 h 99"/>
                <a:gd name="T38" fmla="*/ 12 w 104"/>
                <a:gd name="T39" fmla="*/ 54 h 99"/>
                <a:gd name="T40" fmla="*/ 0 w 104"/>
                <a:gd name="T41" fmla="*/ 31 h 99"/>
                <a:gd name="T42" fmla="*/ 0 w 104"/>
                <a:gd name="T43" fmla="*/ 30 h 99"/>
                <a:gd name="T44" fmla="*/ 3 w 104"/>
                <a:gd name="T45" fmla="*/ 30 h 99"/>
                <a:gd name="T46" fmla="*/ 8 w 104"/>
                <a:gd name="T47" fmla="*/ 31 h 99"/>
                <a:gd name="T48" fmla="*/ 15 w 104"/>
                <a:gd name="T49" fmla="*/ 31 h 99"/>
                <a:gd name="T50" fmla="*/ 20 w 104"/>
                <a:gd name="T51" fmla="*/ 33 h 99"/>
                <a:gd name="T52" fmla="*/ 23 w 104"/>
                <a:gd name="T53" fmla="*/ 33 h 99"/>
                <a:gd name="T54" fmla="*/ 34 w 104"/>
                <a:gd name="T55" fmla="*/ 19 h 99"/>
                <a:gd name="T56" fmla="*/ 45 w 104"/>
                <a:gd name="T57" fmla="*/ 15 h 99"/>
                <a:gd name="T58" fmla="*/ 46 w 104"/>
                <a:gd name="T59" fmla="*/ 6 h 99"/>
                <a:gd name="T60" fmla="*/ 48 w 104"/>
                <a:gd name="T61" fmla="*/ 5 h 99"/>
                <a:gd name="T62" fmla="*/ 61 w 104"/>
                <a:gd name="T6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99">
                  <a:moveTo>
                    <a:pt x="61" y="0"/>
                  </a:moveTo>
                  <a:lnTo>
                    <a:pt x="69" y="2"/>
                  </a:lnTo>
                  <a:lnTo>
                    <a:pt x="69" y="5"/>
                  </a:lnTo>
                  <a:lnTo>
                    <a:pt x="82" y="6"/>
                  </a:lnTo>
                  <a:lnTo>
                    <a:pt x="100" y="14"/>
                  </a:lnTo>
                  <a:lnTo>
                    <a:pt x="104" y="27"/>
                  </a:lnTo>
                  <a:lnTo>
                    <a:pt x="104" y="37"/>
                  </a:lnTo>
                  <a:lnTo>
                    <a:pt x="100" y="48"/>
                  </a:lnTo>
                  <a:lnTo>
                    <a:pt x="103" y="61"/>
                  </a:lnTo>
                  <a:lnTo>
                    <a:pt x="92" y="86"/>
                  </a:lnTo>
                  <a:lnTo>
                    <a:pt x="86" y="92"/>
                  </a:lnTo>
                  <a:lnTo>
                    <a:pt x="85" y="98"/>
                  </a:lnTo>
                  <a:lnTo>
                    <a:pt x="85" y="99"/>
                  </a:lnTo>
                  <a:lnTo>
                    <a:pt x="83" y="98"/>
                  </a:lnTo>
                  <a:lnTo>
                    <a:pt x="74" y="92"/>
                  </a:lnTo>
                  <a:lnTo>
                    <a:pt x="55" y="92"/>
                  </a:lnTo>
                  <a:lnTo>
                    <a:pt x="36" y="83"/>
                  </a:lnTo>
                  <a:lnTo>
                    <a:pt x="36" y="82"/>
                  </a:lnTo>
                  <a:lnTo>
                    <a:pt x="34" y="71"/>
                  </a:lnTo>
                  <a:lnTo>
                    <a:pt x="12" y="54"/>
                  </a:lnTo>
                  <a:lnTo>
                    <a:pt x="0" y="31"/>
                  </a:lnTo>
                  <a:lnTo>
                    <a:pt x="0" y="30"/>
                  </a:lnTo>
                  <a:lnTo>
                    <a:pt x="3" y="30"/>
                  </a:lnTo>
                  <a:lnTo>
                    <a:pt x="8" y="31"/>
                  </a:lnTo>
                  <a:lnTo>
                    <a:pt x="15" y="31"/>
                  </a:lnTo>
                  <a:lnTo>
                    <a:pt x="20" y="33"/>
                  </a:lnTo>
                  <a:lnTo>
                    <a:pt x="23" y="33"/>
                  </a:lnTo>
                  <a:lnTo>
                    <a:pt x="34" y="19"/>
                  </a:lnTo>
                  <a:lnTo>
                    <a:pt x="45" y="15"/>
                  </a:lnTo>
                  <a:lnTo>
                    <a:pt x="46" y="6"/>
                  </a:lnTo>
                  <a:lnTo>
                    <a:pt x="48" y="5"/>
                  </a:lnTo>
                  <a:lnTo>
                    <a:pt x="6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8" name="Zambia">
              <a:extLst>
                <a:ext uri="{FF2B5EF4-FFF2-40B4-BE49-F238E27FC236}">
                  <a16:creationId xmlns:a16="http://schemas.microsoft.com/office/drawing/2014/main" id="{8C57D63D-E761-9EB6-CC47-40F283B01EFE}"/>
                </a:ext>
              </a:extLst>
            </p:cNvPr>
            <p:cNvSpPr>
              <a:spLocks/>
            </p:cNvSpPr>
            <p:nvPr/>
          </p:nvSpPr>
          <p:spPr bwMode="auto">
            <a:xfrm>
              <a:off x="6344472" y="4778956"/>
              <a:ext cx="278287" cy="238533"/>
            </a:xfrm>
            <a:custGeom>
              <a:avLst/>
              <a:gdLst>
                <a:gd name="T0" fmla="*/ 114 w 154"/>
                <a:gd name="T1" fmla="*/ 0 h 132"/>
                <a:gd name="T2" fmla="*/ 118 w 154"/>
                <a:gd name="T3" fmla="*/ 8 h 132"/>
                <a:gd name="T4" fmla="*/ 145 w 154"/>
                <a:gd name="T5" fmla="*/ 17 h 132"/>
                <a:gd name="T6" fmla="*/ 154 w 154"/>
                <a:gd name="T7" fmla="*/ 33 h 132"/>
                <a:gd name="T8" fmla="*/ 151 w 154"/>
                <a:gd name="T9" fmla="*/ 37 h 132"/>
                <a:gd name="T10" fmla="*/ 150 w 154"/>
                <a:gd name="T11" fmla="*/ 54 h 132"/>
                <a:gd name="T12" fmla="*/ 151 w 154"/>
                <a:gd name="T13" fmla="*/ 58 h 132"/>
                <a:gd name="T14" fmla="*/ 142 w 154"/>
                <a:gd name="T15" fmla="*/ 73 h 132"/>
                <a:gd name="T16" fmla="*/ 107 w 154"/>
                <a:gd name="T17" fmla="*/ 94 h 132"/>
                <a:gd name="T18" fmla="*/ 110 w 154"/>
                <a:gd name="T19" fmla="*/ 101 h 132"/>
                <a:gd name="T20" fmla="*/ 105 w 154"/>
                <a:gd name="T21" fmla="*/ 100 h 132"/>
                <a:gd name="T22" fmla="*/ 89 w 154"/>
                <a:gd name="T23" fmla="*/ 104 h 132"/>
                <a:gd name="T24" fmla="*/ 77 w 154"/>
                <a:gd name="T25" fmla="*/ 119 h 132"/>
                <a:gd name="T26" fmla="*/ 64 w 154"/>
                <a:gd name="T27" fmla="*/ 132 h 132"/>
                <a:gd name="T28" fmla="*/ 37 w 154"/>
                <a:gd name="T29" fmla="*/ 126 h 132"/>
                <a:gd name="T30" fmla="*/ 27 w 154"/>
                <a:gd name="T31" fmla="*/ 125 h 132"/>
                <a:gd name="T32" fmla="*/ 21 w 154"/>
                <a:gd name="T33" fmla="*/ 126 h 132"/>
                <a:gd name="T34" fmla="*/ 16 w 154"/>
                <a:gd name="T35" fmla="*/ 128 h 132"/>
                <a:gd name="T36" fmla="*/ 0 w 154"/>
                <a:gd name="T37" fmla="*/ 64 h 132"/>
                <a:gd name="T38" fmla="*/ 25 w 154"/>
                <a:gd name="T39" fmla="*/ 63 h 132"/>
                <a:gd name="T40" fmla="*/ 30 w 154"/>
                <a:gd name="T41" fmla="*/ 36 h 132"/>
                <a:gd name="T42" fmla="*/ 31 w 154"/>
                <a:gd name="T43" fmla="*/ 36 h 132"/>
                <a:gd name="T44" fmla="*/ 43 w 154"/>
                <a:gd name="T45" fmla="*/ 39 h 132"/>
                <a:gd name="T46" fmla="*/ 58 w 154"/>
                <a:gd name="T47" fmla="*/ 49 h 132"/>
                <a:gd name="T48" fmla="*/ 61 w 154"/>
                <a:gd name="T49" fmla="*/ 48 h 132"/>
                <a:gd name="T50" fmla="*/ 65 w 154"/>
                <a:gd name="T51" fmla="*/ 46 h 132"/>
                <a:gd name="T52" fmla="*/ 68 w 154"/>
                <a:gd name="T53" fmla="*/ 48 h 132"/>
                <a:gd name="T54" fmla="*/ 80 w 154"/>
                <a:gd name="T55" fmla="*/ 54 h 132"/>
                <a:gd name="T56" fmla="*/ 102 w 154"/>
                <a:gd name="T57" fmla="*/ 69 h 132"/>
                <a:gd name="T58" fmla="*/ 92 w 154"/>
                <a:gd name="T59" fmla="*/ 55 h 132"/>
                <a:gd name="T60" fmla="*/ 90 w 154"/>
                <a:gd name="T61" fmla="*/ 30 h 132"/>
                <a:gd name="T62" fmla="*/ 95 w 154"/>
                <a:gd name="T63" fmla="*/ 5 h 132"/>
                <a:gd name="T64" fmla="*/ 98 w 154"/>
                <a:gd name="T65" fmla="*/ 3 h 132"/>
                <a:gd name="T66" fmla="*/ 105 w 154"/>
                <a:gd name="T67"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32">
                  <a:moveTo>
                    <a:pt x="110" y="0"/>
                  </a:moveTo>
                  <a:lnTo>
                    <a:pt x="114" y="0"/>
                  </a:lnTo>
                  <a:lnTo>
                    <a:pt x="114" y="6"/>
                  </a:lnTo>
                  <a:lnTo>
                    <a:pt x="118" y="8"/>
                  </a:lnTo>
                  <a:lnTo>
                    <a:pt x="120" y="6"/>
                  </a:lnTo>
                  <a:lnTo>
                    <a:pt x="145" y="17"/>
                  </a:lnTo>
                  <a:lnTo>
                    <a:pt x="147" y="17"/>
                  </a:lnTo>
                  <a:lnTo>
                    <a:pt x="154" y="33"/>
                  </a:lnTo>
                  <a:lnTo>
                    <a:pt x="154" y="34"/>
                  </a:lnTo>
                  <a:lnTo>
                    <a:pt x="151" y="37"/>
                  </a:lnTo>
                  <a:lnTo>
                    <a:pt x="150" y="46"/>
                  </a:lnTo>
                  <a:lnTo>
                    <a:pt x="150" y="54"/>
                  </a:lnTo>
                  <a:lnTo>
                    <a:pt x="151" y="57"/>
                  </a:lnTo>
                  <a:lnTo>
                    <a:pt x="151" y="58"/>
                  </a:lnTo>
                  <a:lnTo>
                    <a:pt x="147" y="61"/>
                  </a:lnTo>
                  <a:lnTo>
                    <a:pt x="142" y="73"/>
                  </a:lnTo>
                  <a:lnTo>
                    <a:pt x="147" y="79"/>
                  </a:lnTo>
                  <a:lnTo>
                    <a:pt x="107" y="94"/>
                  </a:lnTo>
                  <a:lnTo>
                    <a:pt x="110" y="100"/>
                  </a:lnTo>
                  <a:lnTo>
                    <a:pt x="110" y="101"/>
                  </a:lnTo>
                  <a:lnTo>
                    <a:pt x="107" y="101"/>
                  </a:lnTo>
                  <a:lnTo>
                    <a:pt x="105" y="100"/>
                  </a:lnTo>
                  <a:lnTo>
                    <a:pt x="102" y="100"/>
                  </a:lnTo>
                  <a:lnTo>
                    <a:pt x="89" y="104"/>
                  </a:lnTo>
                  <a:lnTo>
                    <a:pt x="87" y="114"/>
                  </a:lnTo>
                  <a:lnTo>
                    <a:pt x="77" y="119"/>
                  </a:lnTo>
                  <a:lnTo>
                    <a:pt x="65" y="132"/>
                  </a:lnTo>
                  <a:lnTo>
                    <a:pt x="64" y="132"/>
                  </a:lnTo>
                  <a:lnTo>
                    <a:pt x="41" y="129"/>
                  </a:lnTo>
                  <a:lnTo>
                    <a:pt x="37" y="126"/>
                  </a:lnTo>
                  <a:lnTo>
                    <a:pt x="28" y="125"/>
                  </a:lnTo>
                  <a:lnTo>
                    <a:pt x="27" y="125"/>
                  </a:lnTo>
                  <a:lnTo>
                    <a:pt x="25" y="126"/>
                  </a:lnTo>
                  <a:lnTo>
                    <a:pt x="21" y="126"/>
                  </a:lnTo>
                  <a:lnTo>
                    <a:pt x="18" y="128"/>
                  </a:lnTo>
                  <a:lnTo>
                    <a:pt x="16" y="128"/>
                  </a:lnTo>
                  <a:lnTo>
                    <a:pt x="0" y="113"/>
                  </a:lnTo>
                  <a:lnTo>
                    <a:pt x="0" y="64"/>
                  </a:lnTo>
                  <a:lnTo>
                    <a:pt x="27" y="64"/>
                  </a:lnTo>
                  <a:lnTo>
                    <a:pt x="25" y="63"/>
                  </a:lnTo>
                  <a:lnTo>
                    <a:pt x="27" y="36"/>
                  </a:lnTo>
                  <a:lnTo>
                    <a:pt x="30" y="36"/>
                  </a:lnTo>
                  <a:lnTo>
                    <a:pt x="31" y="34"/>
                  </a:lnTo>
                  <a:lnTo>
                    <a:pt x="31" y="36"/>
                  </a:lnTo>
                  <a:lnTo>
                    <a:pt x="34" y="42"/>
                  </a:lnTo>
                  <a:lnTo>
                    <a:pt x="43" y="39"/>
                  </a:lnTo>
                  <a:lnTo>
                    <a:pt x="47" y="43"/>
                  </a:lnTo>
                  <a:lnTo>
                    <a:pt x="58" y="49"/>
                  </a:lnTo>
                  <a:lnTo>
                    <a:pt x="59" y="49"/>
                  </a:lnTo>
                  <a:lnTo>
                    <a:pt x="61" y="48"/>
                  </a:lnTo>
                  <a:lnTo>
                    <a:pt x="64" y="48"/>
                  </a:lnTo>
                  <a:lnTo>
                    <a:pt x="65" y="46"/>
                  </a:lnTo>
                  <a:lnTo>
                    <a:pt x="68" y="46"/>
                  </a:lnTo>
                  <a:lnTo>
                    <a:pt x="68" y="48"/>
                  </a:lnTo>
                  <a:lnTo>
                    <a:pt x="73" y="52"/>
                  </a:lnTo>
                  <a:lnTo>
                    <a:pt x="80" y="54"/>
                  </a:lnTo>
                  <a:lnTo>
                    <a:pt x="92" y="66"/>
                  </a:lnTo>
                  <a:lnTo>
                    <a:pt x="102" y="69"/>
                  </a:lnTo>
                  <a:lnTo>
                    <a:pt x="101" y="55"/>
                  </a:lnTo>
                  <a:lnTo>
                    <a:pt x="92" y="55"/>
                  </a:lnTo>
                  <a:lnTo>
                    <a:pt x="86" y="48"/>
                  </a:lnTo>
                  <a:lnTo>
                    <a:pt x="90" y="30"/>
                  </a:lnTo>
                  <a:lnTo>
                    <a:pt x="89" y="14"/>
                  </a:lnTo>
                  <a:lnTo>
                    <a:pt x="95" y="5"/>
                  </a:lnTo>
                  <a:lnTo>
                    <a:pt x="95" y="3"/>
                  </a:lnTo>
                  <a:lnTo>
                    <a:pt x="98" y="3"/>
                  </a:lnTo>
                  <a:lnTo>
                    <a:pt x="102" y="2"/>
                  </a:lnTo>
                  <a:lnTo>
                    <a:pt x="105" y="2"/>
                  </a:lnTo>
                  <a:lnTo>
                    <a:pt x="1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99" name="Western Sahara">
              <a:extLst>
                <a:ext uri="{FF2B5EF4-FFF2-40B4-BE49-F238E27FC236}">
                  <a16:creationId xmlns:a16="http://schemas.microsoft.com/office/drawing/2014/main" id="{5F4D6B80-61DA-32EC-87C0-B291BE9298EA}"/>
                </a:ext>
              </a:extLst>
            </p:cNvPr>
            <p:cNvSpPr>
              <a:spLocks/>
            </p:cNvSpPr>
            <p:nvPr/>
          </p:nvSpPr>
          <p:spPr bwMode="auto">
            <a:xfrm>
              <a:off x="5428290" y="3907952"/>
              <a:ext cx="198776" cy="177092"/>
            </a:xfrm>
            <a:custGeom>
              <a:avLst/>
              <a:gdLst>
                <a:gd name="T0" fmla="*/ 52 w 110"/>
                <a:gd name="T1" fmla="*/ 0 h 98"/>
                <a:gd name="T2" fmla="*/ 110 w 110"/>
                <a:gd name="T3" fmla="*/ 0 h 98"/>
                <a:gd name="T4" fmla="*/ 110 w 110"/>
                <a:gd name="T5" fmla="*/ 8 h 98"/>
                <a:gd name="T6" fmla="*/ 108 w 110"/>
                <a:gd name="T7" fmla="*/ 27 h 98"/>
                <a:gd name="T8" fmla="*/ 68 w 110"/>
                <a:gd name="T9" fmla="*/ 27 h 98"/>
                <a:gd name="T10" fmla="*/ 67 w 110"/>
                <a:gd name="T11" fmla="*/ 63 h 98"/>
                <a:gd name="T12" fmla="*/ 55 w 110"/>
                <a:gd name="T13" fmla="*/ 66 h 98"/>
                <a:gd name="T14" fmla="*/ 52 w 110"/>
                <a:gd name="T15" fmla="*/ 72 h 98"/>
                <a:gd name="T16" fmla="*/ 53 w 110"/>
                <a:gd name="T17" fmla="*/ 91 h 98"/>
                <a:gd name="T18" fmla="*/ 53 w 110"/>
                <a:gd name="T19" fmla="*/ 92 h 98"/>
                <a:gd name="T20" fmla="*/ 4 w 110"/>
                <a:gd name="T21" fmla="*/ 92 h 98"/>
                <a:gd name="T22" fmla="*/ 1 w 110"/>
                <a:gd name="T23" fmla="*/ 98 h 98"/>
                <a:gd name="T24" fmla="*/ 0 w 110"/>
                <a:gd name="T25" fmla="*/ 98 h 98"/>
                <a:gd name="T26" fmla="*/ 0 w 110"/>
                <a:gd name="T27" fmla="*/ 97 h 98"/>
                <a:gd name="T28" fmla="*/ 3 w 110"/>
                <a:gd name="T29" fmla="*/ 81 h 98"/>
                <a:gd name="T30" fmla="*/ 3 w 110"/>
                <a:gd name="T31" fmla="*/ 79 h 98"/>
                <a:gd name="T32" fmla="*/ 6 w 110"/>
                <a:gd name="T33" fmla="*/ 78 h 98"/>
                <a:gd name="T34" fmla="*/ 16 w 110"/>
                <a:gd name="T35" fmla="*/ 55 h 98"/>
                <a:gd name="T36" fmla="*/ 28 w 110"/>
                <a:gd name="T37" fmla="*/ 40 h 98"/>
                <a:gd name="T38" fmla="*/ 33 w 110"/>
                <a:gd name="T39" fmla="*/ 26 h 98"/>
                <a:gd name="T40" fmla="*/ 46 w 110"/>
                <a:gd name="T41" fmla="*/ 15 h 98"/>
                <a:gd name="T42" fmla="*/ 52 w 110"/>
                <a:gd name="T43" fmla="*/ 2 h 98"/>
                <a:gd name="T44" fmla="*/ 52 w 110"/>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98">
                  <a:moveTo>
                    <a:pt x="52" y="0"/>
                  </a:moveTo>
                  <a:lnTo>
                    <a:pt x="110" y="0"/>
                  </a:lnTo>
                  <a:lnTo>
                    <a:pt x="110" y="8"/>
                  </a:lnTo>
                  <a:lnTo>
                    <a:pt x="108" y="27"/>
                  </a:lnTo>
                  <a:lnTo>
                    <a:pt x="68" y="27"/>
                  </a:lnTo>
                  <a:lnTo>
                    <a:pt x="67" y="63"/>
                  </a:lnTo>
                  <a:lnTo>
                    <a:pt x="55" y="66"/>
                  </a:lnTo>
                  <a:lnTo>
                    <a:pt x="52" y="72"/>
                  </a:lnTo>
                  <a:lnTo>
                    <a:pt x="53" y="91"/>
                  </a:lnTo>
                  <a:lnTo>
                    <a:pt x="53" y="92"/>
                  </a:lnTo>
                  <a:lnTo>
                    <a:pt x="4" y="92"/>
                  </a:lnTo>
                  <a:lnTo>
                    <a:pt x="1" y="98"/>
                  </a:lnTo>
                  <a:lnTo>
                    <a:pt x="0" y="98"/>
                  </a:lnTo>
                  <a:lnTo>
                    <a:pt x="0" y="97"/>
                  </a:lnTo>
                  <a:lnTo>
                    <a:pt x="3" y="81"/>
                  </a:lnTo>
                  <a:lnTo>
                    <a:pt x="3" y="79"/>
                  </a:lnTo>
                  <a:lnTo>
                    <a:pt x="6" y="78"/>
                  </a:lnTo>
                  <a:lnTo>
                    <a:pt x="16" y="55"/>
                  </a:lnTo>
                  <a:lnTo>
                    <a:pt x="28" y="40"/>
                  </a:lnTo>
                  <a:lnTo>
                    <a:pt x="33" y="26"/>
                  </a:lnTo>
                  <a:lnTo>
                    <a:pt x="46" y="15"/>
                  </a:lnTo>
                  <a:lnTo>
                    <a:pt x="52" y="2"/>
                  </a:lnTo>
                  <a:lnTo>
                    <a:pt x="5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0" name="Uganda">
              <a:extLst>
                <a:ext uri="{FF2B5EF4-FFF2-40B4-BE49-F238E27FC236}">
                  <a16:creationId xmlns:a16="http://schemas.microsoft.com/office/drawing/2014/main" id="{F61F0245-FEDC-6ED9-E0B5-628FA0F9CA75}"/>
                </a:ext>
              </a:extLst>
            </p:cNvPr>
            <p:cNvSpPr>
              <a:spLocks/>
            </p:cNvSpPr>
            <p:nvPr/>
          </p:nvSpPr>
          <p:spPr bwMode="auto">
            <a:xfrm>
              <a:off x="6528791" y="4493441"/>
              <a:ext cx="128302" cy="128302"/>
            </a:xfrm>
            <a:custGeom>
              <a:avLst/>
              <a:gdLst>
                <a:gd name="T0" fmla="*/ 55 w 71"/>
                <a:gd name="T1" fmla="*/ 0 h 71"/>
                <a:gd name="T2" fmla="*/ 61 w 71"/>
                <a:gd name="T3" fmla="*/ 1 h 71"/>
                <a:gd name="T4" fmla="*/ 64 w 71"/>
                <a:gd name="T5" fmla="*/ 12 h 71"/>
                <a:gd name="T6" fmla="*/ 68 w 71"/>
                <a:gd name="T7" fmla="*/ 16 h 71"/>
                <a:gd name="T8" fmla="*/ 71 w 71"/>
                <a:gd name="T9" fmla="*/ 25 h 71"/>
                <a:gd name="T10" fmla="*/ 68 w 71"/>
                <a:gd name="T11" fmla="*/ 34 h 71"/>
                <a:gd name="T12" fmla="*/ 56 w 71"/>
                <a:gd name="T13" fmla="*/ 50 h 71"/>
                <a:gd name="T14" fmla="*/ 54 w 71"/>
                <a:gd name="T15" fmla="*/ 50 h 71"/>
                <a:gd name="T16" fmla="*/ 51 w 71"/>
                <a:gd name="T17" fmla="*/ 49 h 71"/>
                <a:gd name="T18" fmla="*/ 48 w 71"/>
                <a:gd name="T19" fmla="*/ 49 h 71"/>
                <a:gd name="T20" fmla="*/ 45 w 71"/>
                <a:gd name="T21" fmla="*/ 53 h 71"/>
                <a:gd name="T22" fmla="*/ 43 w 71"/>
                <a:gd name="T23" fmla="*/ 53 h 71"/>
                <a:gd name="T24" fmla="*/ 39 w 71"/>
                <a:gd name="T25" fmla="*/ 52 h 71"/>
                <a:gd name="T26" fmla="*/ 30 w 71"/>
                <a:gd name="T27" fmla="*/ 55 h 71"/>
                <a:gd name="T28" fmla="*/ 28 w 71"/>
                <a:gd name="T29" fmla="*/ 65 h 71"/>
                <a:gd name="T30" fmla="*/ 28 w 71"/>
                <a:gd name="T31" fmla="*/ 66 h 71"/>
                <a:gd name="T32" fmla="*/ 11 w 71"/>
                <a:gd name="T33" fmla="*/ 66 h 71"/>
                <a:gd name="T34" fmla="*/ 6 w 71"/>
                <a:gd name="T35" fmla="*/ 71 h 71"/>
                <a:gd name="T36" fmla="*/ 5 w 71"/>
                <a:gd name="T37" fmla="*/ 71 h 71"/>
                <a:gd name="T38" fmla="*/ 0 w 71"/>
                <a:gd name="T39" fmla="*/ 69 h 71"/>
                <a:gd name="T40" fmla="*/ 2 w 71"/>
                <a:gd name="T41" fmla="*/ 47 h 71"/>
                <a:gd name="T42" fmla="*/ 11 w 71"/>
                <a:gd name="T43" fmla="*/ 37 h 71"/>
                <a:gd name="T44" fmla="*/ 12 w 71"/>
                <a:gd name="T45" fmla="*/ 37 h 71"/>
                <a:gd name="T46" fmla="*/ 13 w 71"/>
                <a:gd name="T47" fmla="*/ 38 h 71"/>
                <a:gd name="T48" fmla="*/ 19 w 71"/>
                <a:gd name="T49" fmla="*/ 31 h 71"/>
                <a:gd name="T50" fmla="*/ 19 w 71"/>
                <a:gd name="T51" fmla="*/ 23 h 71"/>
                <a:gd name="T52" fmla="*/ 15 w 71"/>
                <a:gd name="T53" fmla="*/ 19 h 71"/>
                <a:gd name="T54" fmla="*/ 13 w 71"/>
                <a:gd name="T55" fmla="*/ 19 h 71"/>
                <a:gd name="T56" fmla="*/ 15 w 71"/>
                <a:gd name="T57" fmla="*/ 6 h 71"/>
                <a:gd name="T58" fmla="*/ 49 w 71"/>
                <a:gd name="T59" fmla="*/ 3 h 71"/>
                <a:gd name="T60" fmla="*/ 55 w 71"/>
                <a:gd name="T6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1" h="71">
                  <a:moveTo>
                    <a:pt x="55" y="0"/>
                  </a:moveTo>
                  <a:lnTo>
                    <a:pt x="61" y="1"/>
                  </a:lnTo>
                  <a:lnTo>
                    <a:pt x="64" y="12"/>
                  </a:lnTo>
                  <a:lnTo>
                    <a:pt x="68" y="16"/>
                  </a:lnTo>
                  <a:lnTo>
                    <a:pt x="71" y="25"/>
                  </a:lnTo>
                  <a:lnTo>
                    <a:pt x="68" y="34"/>
                  </a:lnTo>
                  <a:lnTo>
                    <a:pt x="56" y="50"/>
                  </a:lnTo>
                  <a:lnTo>
                    <a:pt x="54" y="50"/>
                  </a:lnTo>
                  <a:lnTo>
                    <a:pt x="51" y="49"/>
                  </a:lnTo>
                  <a:lnTo>
                    <a:pt x="48" y="49"/>
                  </a:lnTo>
                  <a:lnTo>
                    <a:pt x="45" y="53"/>
                  </a:lnTo>
                  <a:lnTo>
                    <a:pt x="43" y="53"/>
                  </a:lnTo>
                  <a:lnTo>
                    <a:pt x="39" y="52"/>
                  </a:lnTo>
                  <a:lnTo>
                    <a:pt x="30" y="55"/>
                  </a:lnTo>
                  <a:lnTo>
                    <a:pt x="28" y="65"/>
                  </a:lnTo>
                  <a:lnTo>
                    <a:pt x="28" y="66"/>
                  </a:lnTo>
                  <a:lnTo>
                    <a:pt x="11" y="66"/>
                  </a:lnTo>
                  <a:lnTo>
                    <a:pt x="6" y="71"/>
                  </a:lnTo>
                  <a:lnTo>
                    <a:pt x="5" y="71"/>
                  </a:lnTo>
                  <a:lnTo>
                    <a:pt x="0" y="69"/>
                  </a:lnTo>
                  <a:lnTo>
                    <a:pt x="2" y="47"/>
                  </a:lnTo>
                  <a:lnTo>
                    <a:pt x="11" y="37"/>
                  </a:lnTo>
                  <a:lnTo>
                    <a:pt x="12" y="37"/>
                  </a:lnTo>
                  <a:lnTo>
                    <a:pt x="13" y="38"/>
                  </a:lnTo>
                  <a:lnTo>
                    <a:pt x="19" y="31"/>
                  </a:lnTo>
                  <a:lnTo>
                    <a:pt x="19" y="23"/>
                  </a:lnTo>
                  <a:lnTo>
                    <a:pt x="15" y="19"/>
                  </a:lnTo>
                  <a:lnTo>
                    <a:pt x="13" y="19"/>
                  </a:lnTo>
                  <a:lnTo>
                    <a:pt x="15" y="6"/>
                  </a:lnTo>
                  <a:lnTo>
                    <a:pt x="49" y="3"/>
                  </a:lnTo>
                  <a:lnTo>
                    <a:pt x="5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1" name="Tunisia">
              <a:extLst>
                <a:ext uri="{FF2B5EF4-FFF2-40B4-BE49-F238E27FC236}">
                  <a16:creationId xmlns:a16="http://schemas.microsoft.com/office/drawing/2014/main" id="{2C081B4D-F934-CD09-D209-BEF2C62C699A}"/>
                </a:ext>
              </a:extLst>
            </p:cNvPr>
            <p:cNvSpPr>
              <a:spLocks/>
            </p:cNvSpPr>
            <p:nvPr/>
          </p:nvSpPr>
          <p:spPr bwMode="auto">
            <a:xfrm>
              <a:off x="6001130" y="3640507"/>
              <a:ext cx="93967" cy="200584"/>
            </a:xfrm>
            <a:custGeom>
              <a:avLst/>
              <a:gdLst>
                <a:gd name="T0" fmla="*/ 30 w 52"/>
                <a:gd name="T1" fmla="*/ 0 h 111"/>
                <a:gd name="T2" fmla="*/ 37 w 52"/>
                <a:gd name="T3" fmla="*/ 2 h 111"/>
                <a:gd name="T4" fmla="*/ 39 w 52"/>
                <a:gd name="T5" fmla="*/ 3 h 111"/>
                <a:gd name="T6" fmla="*/ 39 w 52"/>
                <a:gd name="T7" fmla="*/ 9 h 111"/>
                <a:gd name="T8" fmla="*/ 40 w 52"/>
                <a:gd name="T9" fmla="*/ 11 h 111"/>
                <a:gd name="T10" fmla="*/ 48 w 52"/>
                <a:gd name="T11" fmla="*/ 5 h 111"/>
                <a:gd name="T12" fmla="*/ 49 w 52"/>
                <a:gd name="T13" fmla="*/ 5 h 111"/>
                <a:gd name="T14" fmla="*/ 49 w 52"/>
                <a:gd name="T15" fmla="*/ 9 h 111"/>
                <a:gd name="T16" fmla="*/ 42 w 52"/>
                <a:gd name="T17" fmla="*/ 21 h 111"/>
                <a:gd name="T18" fmla="*/ 43 w 52"/>
                <a:gd name="T19" fmla="*/ 25 h 111"/>
                <a:gd name="T20" fmla="*/ 49 w 52"/>
                <a:gd name="T21" fmla="*/ 28 h 111"/>
                <a:gd name="T22" fmla="*/ 49 w 52"/>
                <a:gd name="T23" fmla="*/ 34 h 111"/>
                <a:gd name="T24" fmla="*/ 46 w 52"/>
                <a:gd name="T25" fmla="*/ 42 h 111"/>
                <a:gd name="T26" fmla="*/ 37 w 52"/>
                <a:gd name="T27" fmla="*/ 49 h 111"/>
                <a:gd name="T28" fmla="*/ 36 w 52"/>
                <a:gd name="T29" fmla="*/ 54 h 111"/>
                <a:gd name="T30" fmla="*/ 36 w 52"/>
                <a:gd name="T31" fmla="*/ 55 h 111"/>
                <a:gd name="T32" fmla="*/ 34 w 52"/>
                <a:gd name="T33" fmla="*/ 54 h 111"/>
                <a:gd name="T34" fmla="*/ 33 w 52"/>
                <a:gd name="T35" fmla="*/ 54 h 111"/>
                <a:gd name="T36" fmla="*/ 33 w 52"/>
                <a:gd name="T37" fmla="*/ 55 h 111"/>
                <a:gd name="T38" fmla="*/ 37 w 52"/>
                <a:gd name="T39" fmla="*/ 60 h 111"/>
                <a:gd name="T40" fmla="*/ 42 w 52"/>
                <a:gd name="T41" fmla="*/ 61 h 111"/>
                <a:gd name="T42" fmla="*/ 46 w 52"/>
                <a:gd name="T43" fmla="*/ 61 h 111"/>
                <a:gd name="T44" fmla="*/ 49 w 52"/>
                <a:gd name="T45" fmla="*/ 67 h 111"/>
                <a:gd name="T46" fmla="*/ 52 w 52"/>
                <a:gd name="T47" fmla="*/ 67 h 111"/>
                <a:gd name="T48" fmla="*/ 52 w 52"/>
                <a:gd name="T49" fmla="*/ 80 h 111"/>
                <a:gd name="T50" fmla="*/ 51 w 52"/>
                <a:gd name="T51" fmla="*/ 80 h 111"/>
                <a:gd name="T52" fmla="*/ 36 w 52"/>
                <a:gd name="T53" fmla="*/ 92 h 111"/>
                <a:gd name="T54" fmla="*/ 36 w 52"/>
                <a:gd name="T55" fmla="*/ 105 h 111"/>
                <a:gd name="T56" fmla="*/ 27 w 52"/>
                <a:gd name="T57" fmla="*/ 111 h 111"/>
                <a:gd name="T58" fmla="*/ 21 w 52"/>
                <a:gd name="T59" fmla="*/ 85 h 111"/>
                <a:gd name="T60" fmla="*/ 11 w 52"/>
                <a:gd name="T61" fmla="*/ 79 h 111"/>
                <a:gd name="T62" fmla="*/ 9 w 52"/>
                <a:gd name="T63" fmla="*/ 70 h 111"/>
                <a:gd name="T64" fmla="*/ 3 w 52"/>
                <a:gd name="T65" fmla="*/ 67 h 111"/>
                <a:gd name="T66" fmla="*/ 2 w 52"/>
                <a:gd name="T67" fmla="*/ 67 h 111"/>
                <a:gd name="T68" fmla="*/ 0 w 52"/>
                <a:gd name="T69" fmla="*/ 55 h 111"/>
                <a:gd name="T70" fmla="*/ 11 w 52"/>
                <a:gd name="T71" fmla="*/ 45 h 111"/>
                <a:gd name="T72" fmla="*/ 13 w 52"/>
                <a:gd name="T73" fmla="*/ 36 h 111"/>
                <a:gd name="T74" fmla="*/ 12 w 52"/>
                <a:gd name="T75" fmla="*/ 25 h 111"/>
                <a:gd name="T76" fmla="*/ 13 w 52"/>
                <a:gd name="T77" fmla="*/ 17 h 111"/>
                <a:gd name="T78" fmla="*/ 12 w 52"/>
                <a:gd name="T79" fmla="*/ 15 h 111"/>
                <a:gd name="T80" fmla="*/ 11 w 52"/>
                <a:gd name="T81" fmla="*/ 15 h 111"/>
                <a:gd name="T82" fmla="*/ 11 w 52"/>
                <a:gd name="T83" fmla="*/ 14 h 111"/>
                <a:gd name="T84" fmla="*/ 16 w 52"/>
                <a:gd name="T85" fmla="*/ 8 h 111"/>
                <a:gd name="T86" fmla="*/ 30 w 52"/>
                <a:gd name="T8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11">
                  <a:moveTo>
                    <a:pt x="30" y="0"/>
                  </a:moveTo>
                  <a:lnTo>
                    <a:pt x="37" y="2"/>
                  </a:lnTo>
                  <a:lnTo>
                    <a:pt x="39" y="3"/>
                  </a:lnTo>
                  <a:lnTo>
                    <a:pt x="39" y="9"/>
                  </a:lnTo>
                  <a:lnTo>
                    <a:pt x="40" y="11"/>
                  </a:lnTo>
                  <a:lnTo>
                    <a:pt x="48" y="5"/>
                  </a:lnTo>
                  <a:lnTo>
                    <a:pt x="49" y="5"/>
                  </a:lnTo>
                  <a:lnTo>
                    <a:pt x="49" y="9"/>
                  </a:lnTo>
                  <a:lnTo>
                    <a:pt x="42" y="21"/>
                  </a:lnTo>
                  <a:lnTo>
                    <a:pt x="43" y="25"/>
                  </a:lnTo>
                  <a:lnTo>
                    <a:pt x="49" y="28"/>
                  </a:lnTo>
                  <a:lnTo>
                    <a:pt x="49" y="34"/>
                  </a:lnTo>
                  <a:lnTo>
                    <a:pt x="46" y="42"/>
                  </a:lnTo>
                  <a:lnTo>
                    <a:pt x="37" y="49"/>
                  </a:lnTo>
                  <a:lnTo>
                    <a:pt x="36" y="54"/>
                  </a:lnTo>
                  <a:lnTo>
                    <a:pt x="36" y="55"/>
                  </a:lnTo>
                  <a:lnTo>
                    <a:pt x="34" y="54"/>
                  </a:lnTo>
                  <a:lnTo>
                    <a:pt x="33" y="54"/>
                  </a:lnTo>
                  <a:lnTo>
                    <a:pt x="33" y="55"/>
                  </a:lnTo>
                  <a:lnTo>
                    <a:pt x="37" y="60"/>
                  </a:lnTo>
                  <a:lnTo>
                    <a:pt x="42" y="61"/>
                  </a:lnTo>
                  <a:lnTo>
                    <a:pt x="46" y="61"/>
                  </a:lnTo>
                  <a:lnTo>
                    <a:pt x="49" y="67"/>
                  </a:lnTo>
                  <a:lnTo>
                    <a:pt x="52" y="67"/>
                  </a:lnTo>
                  <a:lnTo>
                    <a:pt x="52" y="80"/>
                  </a:lnTo>
                  <a:lnTo>
                    <a:pt x="51" y="80"/>
                  </a:lnTo>
                  <a:lnTo>
                    <a:pt x="36" y="92"/>
                  </a:lnTo>
                  <a:lnTo>
                    <a:pt x="36" y="105"/>
                  </a:lnTo>
                  <a:lnTo>
                    <a:pt x="27" y="111"/>
                  </a:lnTo>
                  <a:lnTo>
                    <a:pt x="21" y="85"/>
                  </a:lnTo>
                  <a:lnTo>
                    <a:pt x="11" y="79"/>
                  </a:lnTo>
                  <a:lnTo>
                    <a:pt x="9" y="70"/>
                  </a:lnTo>
                  <a:lnTo>
                    <a:pt x="3" y="67"/>
                  </a:lnTo>
                  <a:lnTo>
                    <a:pt x="2" y="67"/>
                  </a:lnTo>
                  <a:lnTo>
                    <a:pt x="0" y="55"/>
                  </a:lnTo>
                  <a:lnTo>
                    <a:pt x="11" y="45"/>
                  </a:lnTo>
                  <a:lnTo>
                    <a:pt x="13" y="36"/>
                  </a:lnTo>
                  <a:lnTo>
                    <a:pt x="12" y="25"/>
                  </a:lnTo>
                  <a:lnTo>
                    <a:pt x="13" y="17"/>
                  </a:lnTo>
                  <a:lnTo>
                    <a:pt x="12" y="15"/>
                  </a:lnTo>
                  <a:lnTo>
                    <a:pt x="11" y="15"/>
                  </a:lnTo>
                  <a:lnTo>
                    <a:pt x="11" y="14"/>
                  </a:lnTo>
                  <a:lnTo>
                    <a:pt x="16" y="8"/>
                  </a:lnTo>
                  <a:lnTo>
                    <a:pt x="3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2" name="Togo">
              <a:extLst>
                <a:ext uri="{FF2B5EF4-FFF2-40B4-BE49-F238E27FC236}">
                  <a16:creationId xmlns:a16="http://schemas.microsoft.com/office/drawing/2014/main" id="{78283E82-6AE5-3F66-0EBA-61C54CDE4A78}"/>
                </a:ext>
              </a:extLst>
            </p:cNvPr>
            <p:cNvSpPr>
              <a:spLocks/>
            </p:cNvSpPr>
            <p:nvPr/>
          </p:nvSpPr>
          <p:spPr bwMode="auto">
            <a:xfrm>
              <a:off x="5822230" y="4323577"/>
              <a:ext cx="52405" cy="122880"/>
            </a:xfrm>
            <a:custGeom>
              <a:avLst/>
              <a:gdLst>
                <a:gd name="T0" fmla="*/ 0 w 29"/>
                <a:gd name="T1" fmla="*/ 0 h 68"/>
                <a:gd name="T2" fmla="*/ 1 w 29"/>
                <a:gd name="T3" fmla="*/ 0 h 68"/>
                <a:gd name="T4" fmla="*/ 10 w 29"/>
                <a:gd name="T5" fmla="*/ 3 h 68"/>
                <a:gd name="T6" fmla="*/ 12 w 29"/>
                <a:gd name="T7" fmla="*/ 3 h 68"/>
                <a:gd name="T8" fmla="*/ 15 w 29"/>
                <a:gd name="T9" fmla="*/ 2 h 68"/>
                <a:gd name="T10" fmla="*/ 15 w 29"/>
                <a:gd name="T11" fmla="*/ 11 h 68"/>
                <a:gd name="T12" fmla="*/ 21 w 29"/>
                <a:gd name="T13" fmla="*/ 17 h 68"/>
                <a:gd name="T14" fmla="*/ 27 w 29"/>
                <a:gd name="T15" fmla="*/ 33 h 68"/>
                <a:gd name="T16" fmla="*/ 27 w 29"/>
                <a:gd name="T17" fmla="*/ 60 h 68"/>
                <a:gd name="T18" fmla="*/ 29 w 29"/>
                <a:gd name="T19" fmla="*/ 66 h 68"/>
                <a:gd name="T20" fmla="*/ 29 w 29"/>
                <a:gd name="T21" fmla="*/ 67 h 68"/>
                <a:gd name="T22" fmla="*/ 28 w 29"/>
                <a:gd name="T23" fmla="*/ 67 h 68"/>
                <a:gd name="T24" fmla="*/ 21 w 29"/>
                <a:gd name="T25" fmla="*/ 68 h 68"/>
                <a:gd name="T26" fmla="*/ 19 w 29"/>
                <a:gd name="T27" fmla="*/ 68 h 68"/>
                <a:gd name="T28" fmla="*/ 12 w 29"/>
                <a:gd name="T29" fmla="*/ 58 h 68"/>
                <a:gd name="T30" fmla="*/ 9 w 29"/>
                <a:gd name="T31" fmla="*/ 25 h 68"/>
                <a:gd name="T32" fmla="*/ 7 w 29"/>
                <a:gd name="T33" fmla="*/ 14 h 68"/>
                <a:gd name="T34" fmla="*/ 1 w 29"/>
                <a:gd name="T35" fmla="*/ 8 h 68"/>
                <a:gd name="T36" fmla="*/ 1 w 29"/>
                <a:gd name="T37" fmla="*/ 3 h 68"/>
                <a:gd name="T38" fmla="*/ 0 w 29"/>
                <a:gd name="T39" fmla="*/ 2 h 68"/>
                <a:gd name="T40" fmla="*/ 0 w 29"/>
                <a:gd name="T4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8">
                  <a:moveTo>
                    <a:pt x="0" y="0"/>
                  </a:moveTo>
                  <a:lnTo>
                    <a:pt x="1" y="0"/>
                  </a:lnTo>
                  <a:lnTo>
                    <a:pt x="10" y="3"/>
                  </a:lnTo>
                  <a:lnTo>
                    <a:pt x="12" y="3"/>
                  </a:lnTo>
                  <a:lnTo>
                    <a:pt x="15" y="2"/>
                  </a:lnTo>
                  <a:lnTo>
                    <a:pt x="15" y="11"/>
                  </a:lnTo>
                  <a:lnTo>
                    <a:pt x="21" y="17"/>
                  </a:lnTo>
                  <a:lnTo>
                    <a:pt x="27" y="33"/>
                  </a:lnTo>
                  <a:lnTo>
                    <a:pt x="27" y="60"/>
                  </a:lnTo>
                  <a:lnTo>
                    <a:pt x="29" y="66"/>
                  </a:lnTo>
                  <a:lnTo>
                    <a:pt x="29" y="67"/>
                  </a:lnTo>
                  <a:lnTo>
                    <a:pt x="28" y="67"/>
                  </a:lnTo>
                  <a:lnTo>
                    <a:pt x="21" y="68"/>
                  </a:lnTo>
                  <a:lnTo>
                    <a:pt x="19" y="68"/>
                  </a:lnTo>
                  <a:lnTo>
                    <a:pt x="12" y="58"/>
                  </a:lnTo>
                  <a:lnTo>
                    <a:pt x="9" y="25"/>
                  </a:lnTo>
                  <a:lnTo>
                    <a:pt x="7" y="14"/>
                  </a:lnTo>
                  <a:lnTo>
                    <a:pt x="1" y="8"/>
                  </a:lnTo>
                  <a:lnTo>
                    <a:pt x="1" y="3"/>
                  </a:lnTo>
                  <a:lnTo>
                    <a:pt x="0" y="2"/>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3" name="Tanzania">
              <a:extLst>
                <a:ext uri="{FF2B5EF4-FFF2-40B4-BE49-F238E27FC236}">
                  <a16:creationId xmlns:a16="http://schemas.microsoft.com/office/drawing/2014/main" id="{077803AF-3C94-5590-6CEC-FA872665D910}"/>
                </a:ext>
              </a:extLst>
            </p:cNvPr>
            <p:cNvSpPr>
              <a:spLocks/>
            </p:cNvSpPr>
            <p:nvPr/>
          </p:nvSpPr>
          <p:spPr bwMode="auto">
            <a:xfrm>
              <a:off x="6526984" y="4610898"/>
              <a:ext cx="256602" cy="254796"/>
            </a:xfrm>
            <a:custGeom>
              <a:avLst/>
              <a:gdLst>
                <a:gd name="T0" fmla="*/ 10 w 142"/>
                <a:gd name="T1" fmla="*/ 0 h 141"/>
                <a:gd name="T2" fmla="*/ 29 w 142"/>
                <a:gd name="T3" fmla="*/ 0 h 141"/>
                <a:gd name="T4" fmla="*/ 28 w 142"/>
                <a:gd name="T5" fmla="*/ 15 h 141"/>
                <a:gd name="T6" fmla="*/ 29 w 142"/>
                <a:gd name="T7" fmla="*/ 22 h 141"/>
                <a:gd name="T8" fmla="*/ 34 w 142"/>
                <a:gd name="T9" fmla="*/ 21 h 141"/>
                <a:gd name="T10" fmla="*/ 34 w 142"/>
                <a:gd name="T11" fmla="*/ 16 h 141"/>
                <a:gd name="T12" fmla="*/ 35 w 142"/>
                <a:gd name="T13" fmla="*/ 16 h 141"/>
                <a:gd name="T14" fmla="*/ 40 w 142"/>
                <a:gd name="T15" fmla="*/ 21 h 141"/>
                <a:gd name="T16" fmla="*/ 43 w 142"/>
                <a:gd name="T17" fmla="*/ 21 h 141"/>
                <a:gd name="T18" fmla="*/ 43 w 142"/>
                <a:gd name="T19" fmla="*/ 22 h 141"/>
                <a:gd name="T20" fmla="*/ 44 w 142"/>
                <a:gd name="T21" fmla="*/ 19 h 141"/>
                <a:gd name="T22" fmla="*/ 53 w 142"/>
                <a:gd name="T23" fmla="*/ 16 h 141"/>
                <a:gd name="T24" fmla="*/ 49 w 142"/>
                <a:gd name="T25" fmla="*/ 15 h 141"/>
                <a:gd name="T26" fmla="*/ 47 w 142"/>
                <a:gd name="T27" fmla="*/ 15 h 141"/>
                <a:gd name="T28" fmla="*/ 47 w 142"/>
                <a:gd name="T29" fmla="*/ 13 h 141"/>
                <a:gd name="T30" fmla="*/ 59 w 142"/>
                <a:gd name="T31" fmla="*/ 0 h 141"/>
                <a:gd name="T32" fmla="*/ 60 w 142"/>
                <a:gd name="T33" fmla="*/ 0 h 141"/>
                <a:gd name="T34" fmla="*/ 105 w 142"/>
                <a:gd name="T35" fmla="*/ 27 h 141"/>
                <a:gd name="T36" fmla="*/ 106 w 142"/>
                <a:gd name="T37" fmla="*/ 27 h 141"/>
                <a:gd name="T38" fmla="*/ 109 w 142"/>
                <a:gd name="T39" fmla="*/ 37 h 141"/>
                <a:gd name="T40" fmla="*/ 127 w 142"/>
                <a:gd name="T41" fmla="*/ 47 h 141"/>
                <a:gd name="T42" fmla="*/ 127 w 142"/>
                <a:gd name="T43" fmla="*/ 49 h 141"/>
                <a:gd name="T44" fmla="*/ 123 w 142"/>
                <a:gd name="T45" fmla="*/ 70 h 141"/>
                <a:gd name="T46" fmla="*/ 132 w 142"/>
                <a:gd name="T47" fmla="*/ 80 h 141"/>
                <a:gd name="T48" fmla="*/ 127 w 142"/>
                <a:gd name="T49" fmla="*/ 96 h 141"/>
                <a:gd name="T50" fmla="*/ 129 w 142"/>
                <a:gd name="T51" fmla="*/ 104 h 141"/>
                <a:gd name="T52" fmla="*/ 135 w 142"/>
                <a:gd name="T53" fmla="*/ 119 h 141"/>
                <a:gd name="T54" fmla="*/ 142 w 142"/>
                <a:gd name="T55" fmla="*/ 123 h 141"/>
                <a:gd name="T56" fmla="*/ 142 w 142"/>
                <a:gd name="T57" fmla="*/ 126 h 141"/>
                <a:gd name="T58" fmla="*/ 136 w 142"/>
                <a:gd name="T59" fmla="*/ 132 h 141"/>
                <a:gd name="T60" fmla="*/ 121 w 142"/>
                <a:gd name="T61" fmla="*/ 136 h 141"/>
                <a:gd name="T62" fmla="*/ 114 w 142"/>
                <a:gd name="T63" fmla="*/ 135 h 141"/>
                <a:gd name="T64" fmla="*/ 105 w 142"/>
                <a:gd name="T65" fmla="*/ 139 h 141"/>
                <a:gd name="T66" fmla="*/ 99 w 142"/>
                <a:gd name="T67" fmla="*/ 139 h 141"/>
                <a:gd name="T68" fmla="*/ 95 w 142"/>
                <a:gd name="T69" fmla="*/ 141 h 141"/>
                <a:gd name="T70" fmla="*/ 89 w 142"/>
                <a:gd name="T71" fmla="*/ 141 h 141"/>
                <a:gd name="T72" fmla="*/ 83 w 142"/>
                <a:gd name="T73" fmla="*/ 138 h 141"/>
                <a:gd name="T74" fmla="*/ 80 w 142"/>
                <a:gd name="T75" fmla="*/ 138 h 141"/>
                <a:gd name="T76" fmla="*/ 77 w 142"/>
                <a:gd name="T77" fmla="*/ 139 h 141"/>
                <a:gd name="T78" fmla="*/ 69 w 142"/>
                <a:gd name="T79" fmla="*/ 139 h 141"/>
                <a:gd name="T80" fmla="*/ 65 w 142"/>
                <a:gd name="T81" fmla="*/ 133 h 141"/>
                <a:gd name="T82" fmla="*/ 62 w 142"/>
                <a:gd name="T83" fmla="*/ 119 h 141"/>
                <a:gd name="T84" fmla="*/ 56 w 142"/>
                <a:gd name="T85" fmla="*/ 114 h 141"/>
                <a:gd name="T86" fmla="*/ 52 w 142"/>
                <a:gd name="T87" fmla="*/ 114 h 141"/>
                <a:gd name="T88" fmla="*/ 44 w 142"/>
                <a:gd name="T89" fmla="*/ 111 h 141"/>
                <a:gd name="T90" fmla="*/ 19 w 142"/>
                <a:gd name="T91" fmla="*/ 101 h 141"/>
                <a:gd name="T92" fmla="*/ 19 w 142"/>
                <a:gd name="T93" fmla="*/ 99 h 141"/>
                <a:gd name="T94" fmla="*/ 12 w 142"/>
                <a:gd name="T95" fmla="*/ 84 h 141"/>
                <a:gd name="T96" fmla="*/ 12 w 142"/>
                <a:gd name="T97" fmla="*/ 78 h 141"/>
                <a:gd name="T98" fmla="*/ 3 w 142"/>
                <a:gd name="T99" fmla="*/ 71 h 141"/>
                <a:gd name="T100" fmla="*/ 3 w 142"/>
                <a:gd name="T101" fmla="*/ 70 h 141"/>
                <a:gd name="T102" fmla="*/ 4 w 142"/>
                <a:gd name="T103" fmla="*/ 64 h 141"/>
                <a:gd name="T104" fmla="*/ 0 w 142"/>
                <a:gd name="T105" fmla="*/ 44 h 141"/>
                <a:gd name="T106" fmla="*/ 1 w 142"/>
                <a:gd name="T107" fmla="*/ 44 h 141"/>
                <a:gd name="T108" fmla="*/ 7 w 142"/>
                <a:gd name="T109" fmla="*/ 41 h 141"/>
                <a:gd name="T110" fmla="*/ 14 w 142"/>
                <a:gd name="T111" fmla="*/ 30 h 141"/>
                <a:gd name="T112" fmla="*/ 12 w 142"/>
                <a:gd name="T113" fmla="*/ 24 h 141"/>
                <a:gd name="T114" fmla="*/ 12 w 142"/>
                <a:gd name="T115" fmla="*/ 22 h 141"/>
                <a:gd name="T116" fmla="*/ 13 w 142"/>
                <a:gd name="T117" fmla="*/ 18 h 141"/>
                <a:gd name="T118" fmla="*/ 16 w 142"/>
                <a:gd name="T119" fmla="*/ 13 h 141"/>
                <a:gd name="T120" fmla="*/ 10 w 142"/>
                <a:gd name="T121" fmla="*/ 1 h 141"/>
                <a:gd name="T122" fmla="*/ 10 w 142"/>
                <a:gd name="T123"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 h="141">
                  <a:moveTo>
                    <a:pt x="10" y="0"/>
                  </a:moveTo>
                  <a:lnTo>
                    <a:pt x="29" y="0"/>
                  </a:lnTo>
                  <a:lnTo>
                    <a:pt x="28" y="15"/>
                  </a:lnTo>
                  <a:lnTo>
                    <a:pt x="29" y="22"/>
                  </a:lnTo>
                  <a:lnTo>
                    <a:pt x="34" y="21"/>
                  </a:lnTo>
                  <a:lnTo>
                    <a:pt x="34" y="16"/>
                  </a:lnTo>
                  <a:lnTo>
                    <a:pt x="35" y="16"/>
                  </a:lnTo>
                  <a:lnTo>
                    <a:pt x="40" y="21"/>
                  </a:lnTo>
                  <a:lnTo>
                    <a:pt x="43" y="21"/>
                  </a:lnTo>
                  <a:lnTo>
                    <a:pt x="43" y="22"/>
                  </a:lnTo>
                  <a:lnTo>
                    <a:pt x="44" y="19"/>
                  </a:lnTo>
                  <a:lnTo>
                    <a:pt x="53" y="16"/>
                  </a:lnTo>
                  <a:lnTo>
                    <a:pt x="49" y="15"/>
                  </a:lnTo>
                  <a:lnTo>
                    <a:pt x="47" y="15"/>
                  </a:lnTo>
                  <a:lnTo>
                    <a:pt x="47" y="13"/>
                  </a:lnTo>
                  <a:lnTo>
                    <a:pt x="59" y="0"/>
                  </a:lnTo>
                  <a:lnTo>
                    <a:pt x="60" y="0"/>
                  </a:lnTo>
                  <a:lnTo>
                    <a:pt x="105" y="27"/>
                  </a:lnTo>
                  <a:lnTo>
                    <a:pt x="106" y="27"/>
                  </a:lnTo>
                  <a:lnTo>
                    <a:pt x="109" y="37"/>
                  </a:lnTo>
                  <a:lnTo>
                    <a:pt x="127" y="47"/>
                  </a:lnTo>
                  <a:lnTo>
                    <a:pt x="127" y="49"/>
                  </a:lnTo>
                  <a:lnTo>
                    <a:pt x="123" y="70"/>
                  </a:lnTo>
                  <a:lnTo>
                    <a:pt x="132" y="80"/>
                  </a:lnTo>
                  <a:lnTo>
                    <a:pt x="127" y="96"/>
                  </a:lnTo>
                  <a:lnTo>
                    <a:pt x="129" y="104"/>
                  </a:lnTo>
                  <a:lnTo>
                    <a:pt x="135" y="119"/>
                  </a:lnTo>
                  <a:lnTo>
                    <a:pt x="142" y="123"/>
                  </a:lnTo>
                  <a:lnTo>
                    <a:pt x="142" y="126"/>
                  </a:lnTo>
                  <a:lnTo>
                    <a:pt x="136" y="132"/>
                  </a:lnTo>
                  <a:lnTo>
                    <a:pt x="121" y="136"/>
                  </a:lnTo>
                  <a:lnTo>
                    <a:pt x="114" y="135"/>
                  </a:lnTo>
                  <a:lnTo>
                    <a:pt x="105" y="139"/>
                  </a:lnTo>
                  <a:lnTo>
                    <a:pt x="99" y="139"/>
                  </a:lnTo>
                  <a:lnTo>
                    <a:pt x="95" y="141"/>
                  </a:lnTo>
                  <a:lnTo>
                    <a:pt x="89" y="141"/>
                  </a:lnTo>
                  <a:lnTo>
                    <a:pt x="83" y="138"/>
                  </a:lnTo>
                  <a:lnTo>
                    <a:pt x="80" y="138"/>
                  </a:lnTo>
                  <a:lnTo>
                    <a:pt x="77" y="139"/>
                  </a:lnTo>
                  <a:lnTo>
                    <a:pt x="69" y="139"/>
                  </a:lnTo>
                  <a:lnTo>
                    <a:pt x="65" y="133"/>
                  </a:lnTo>
                  <a:lnTo>
                    <a:pt x="62" y="119"/>
                  </a:lnTo>
                  <a:lnTo>
                    <a:pt x="56" y="114"/>
                  </a:lnTo>
                  <a:lnTo>
                    <a:pt x="52" y="114"/>
                  </a:lnTo>
                  <a:lnTo>
                    <a:pt x="44" y="111"/>
                  </a:lnTo>
                  <a:lnTo>
                    <a:pt x="19" y="101"/>
                  </a:lnTo>
                  <a:lnTo>
                    <a:pt x="19" y="99"/>
                  </a:lnTo>
                  <a:lnTo>
                    <a:pt x="12" y="84"/>
                  </a:lnTo>
                  <a:lnTo>
                    <a:pt x="12" y="78"/>
                  </a:lnTo>
                  <a:lnTo>
                    <a:pt x="3" y="71"/>
                  </a:lnTo>
                  <a:lnTo>
                    <a:pt x="3" y="70"/>
                  </a:lnTo>
                  <a:lnTo>
                    <a:pt x="4" y="64"/>
                  </a:lnTo>
                  <a:lnTo>
                    <a:pt x="0" y="44"/>
                  </a:lnTo>
                  <a:lnTo>
                    <a:pt x="1" y="44"/>
                  </a:lnTo>
                  <a:lnTo>
                    <a:pt x="7" y="41"/>
                  </a:lnTo>
                  <a:lnTo>
                    <a:pt x="14" y="30"/>
                  </a:lnTo>
                  <a:lnTo>
                    <a:pt x="12" y="24"/>
                  </a:lnTo>
                  <a:lnTo>
                    <a:pt x="12" y="22"/>
                  </a:lnTo>
                  <a:lnTo>
                    <a:pt x="13" y="18"/>
                  </a:lnTo>
                  <a:lnTo>
                    <a:pt x="16" y="13"/>
                  </a:lnTo>
                  <a:lnTo>
                    <a:pt x="10" y="1"/>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4" name="Swaziland">
              <a:extLst>
                <a:ext uri="{FF2B5EF4-FFF2-40B4-BE49-F238E27FC236}">
                  <a16:creationId xmlns:a16="http://schemas.microsoft.com/office/drawing/2014/main" id="{D712F053-D632-D470-4C61-8B6F19249F66}"/>
                </a:ext>
              </a:extLst>
            </p:cNvPr>
            <p:cNvSpPr>
              <a:spLocks/>
            </p:cNvSpPr>
            <p:nvPr/>
          </p:nvSpPr>
          <p:spPr bwMode="auto">
            <a:xfrm>
              <a:off x="6552283" y="5210844"/>
              <a:ext cx="32527" cy="43369"/>
            </a:xfrm>
            <a:custGeom>
              <a:avLst/>
              <a:gdLst>
                <a:gd name="T0" fmla="*/ 9 w 18"/>
                <a:gd name="T1" fmla="*/ 0 h 24"/>
                <a:gd name="T2" fmla="*/ 14 w 18"/>
                <a:gd name="T3" fmla="*/ 3 h 24"/>
                <a:gd name="T4" fmla="*/ 15 w 18"/>
                <a:gd name="T5" fmla="*/ 3 h 24"/>
                <a:gd name="T6" fmla="*/ 15 w 18"/>
                <a:gd name="T7" fmla="*/ 1 h 24"/>
                <a:gd name="T8" fmla="*/ 17 w 18"/>
                <a:gd name="T9" fmla="*/ 1 h 24"/>
                <a:gd name="T10" fmla="*/ 17 w 18"/>
                <a:gd name="T11" fmla="*/ 3 h 24"/>
                <a:gd name="T12" fmla="*/ 18 w 18"/>
                <a:gd name="T13" fmla="*/ 16 h 24"/>
                <a:gd name="T14" fmla="*/ 14 w 18"/>
                <a:gd name="T15" fmla="*/ 24 h 24"/>
                <a:gd name="T16" fmla="*/ 9 w 18"/>
                <a:gd name="T17" fmla="*/ 24 h 24"/>
                <a:gd name="T18" fmla="*/ 3 w 18"/>
                <a:gd name="T19" fmla="*/ 22 h 24"/>
                <a:gd name="T20" fmla="*/ 0 w 18"/>
                <a:gd name="T21" fmla="*/ 15 h 24"/>
                <a:gd name="T22" fmla="*/ 0 w 18"/>
                <a:gd name="T23" fmla="*/ 13 h 24"/>
                <a:gd name="T24" fmla="*/ 6 w 18"/>
                <a:gd name="T25" fmla="*/ 3 h 24"/>
                <a:gd name="T26" fmla="*/ 9 w 18"/>
                <a:gd name="T2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4">
                  <a:moveTo>
                    <a:pt x="9" y="0"/>
                  </a:moveTo>
                  <a:lnTo>
                    <a:pt x="14" y="3"/>
                  </a:lnTo>
                  <a:lnTo>
                    <a:pt x="15" y="3"/>
                  </a:lnTo>
                  <a:lnTo>
                    <a:pt x="15" y="1"/>
                  </a:lnTo>
                  <a:lnTo>
                    <a:pt x="17" y="1"/>
                  </a:lnTo>
                  <a:lnTo>
                    <a:pt x="17" y="3"/>
                  </a:lnTo>
                  <a:lnTo>
                    <a:pt x="18" y="16"/>
                  </a:lnTo>
                  <a:lnTo>
                    <a:pt x="14" y="24"/>
                  </a:lnTo>
                  <a:lnTo>
                    <a:pt x="9" y="24"/>
                  </a:lnTo>
                  <a:lnTo>
                    <a:pt x="3" y="22"/>
                  </a:lnTo>
                  <a:lnTo>
                    <a:pt x="0" y="15"/>
                  </a:lnTo>
                  <a:lnTo>
                    <a:pt x="0" y="13"/>
                  </a:lnTo>
                  <a:lnTo>
                    <a:pt x="6" y="3"/>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5" name="Sudan">
              <a:extLst>
                <a:ext uri="{FF2B5EF4-FFF2-40B4-BE49-F238E27FC236}">
                  <a16:creationId xmlns:a16="http://schemas.microsoft.com/office/drawing/2014/main" id="{0C025346-5329-4CC7-46F3-B348204898A9}"/>
                </a:ext>
              </a:extLst>
            </p:cNvPr>
            <p:cNvSpPr>
              <a:spLocks/>
            </p:cNvSpPr>
            <p:nvPr/>
          </p:nvSpPr>
          <p:spPr bwMode="auto">
            <a:xfrm>
              <a:off x="6340857" y="4032639"/>
              <a:ext cx="393940" cy="338292"/>
            </a:xfrm>
            <a:custGeom>
              <a:avLst/>
              <a:gdLst>
                <a:gd name="connsiteX0" fmla="*/ 4413035 w 5344675"/>
                <a:gd name="connsiteY0" fmla="*/ 0 h 4589698"/>
                <a:gd name="connsiteX1" fmla="*/ 4437552 w 5344675"/>
                <a:gd name="connsiteY1" fmla="*/ 0 h 4589698"/>
                <a:gd name="connsiteX2" fmla="*/ 4854338 w 5344675"/>
                <a:gd name="connsiteY2" fmla="*/ 343236 h 4589698"/>
                <a:gd name="connsiteX3" fmla="*/ 4878855 w 5344675"/>
                <a:gd name="connsiteY3" fmla="*/ 539370 h 4589698"/>
                <a:gd name="connsiteX4" fmla="*/ 4952406 w 5344675"/>
                <a:gd name="connsiteY4" fmla="*/ 637438 h 4589698"/>
                <a:gd name="connsiteX5" fmla="*/ 5025956 w 5344675"/>
                <a:gd name="connsiteY5" fmla="*/ 1397459 h 4589698"/>
                <a:gd name="connsiteX6" fmla="*/ 5344675 w 5344675"/>
                <a:gd name="connsiteY6" fmla="*/ 1691661 h 4589698"/>
                <a:gd name="connsiteX7" fmla="*/ 5320158 w 5344675"/>
                <a:gd name="connsiteY7" fmla="*/ 1838762 h 4589698"/>
                <a:gd name="connsiteX8" fmla="*/ 4878855 w 5344675"/>
                <a:gd name="connsiteY8" fmla="*/ 2034897 h 4589698"/>
                <a:gd name="connsiteX9" fmla="*/ 4731754 w 5344675"/>
                <a:gd name="connsiteY9" fmla="*/ 2745885 h 4589698"/>
                <a:gd name="connsiteX10" fmla="*/ 4731754 w 5344675"/>
                <a:gd name="connsiteY10" fmla="*/ 3040087 h 4589698"/>
                <a:gd name="connsiteX11" fmla="*/ 4633686 w 5344675"/>
                <a:gd name="connsiteY11" fmla="*/ 3407839 h 4589698"/>
                <a:gd name="connsiteX12" fmla="*/ 4265934 w 5344675"/>
                <a:gd name="connsiteY12" fmla="*/ 3800109 h 4589698"/>
                <a:gd name="connsiteX13" fmla="*/ 4216900 w 5344675"/>
                <a:gd name="connsiteY13" fmla="*/ 4020760 h 4589698"/>
                <a:gd name="connsiteX14" fmla="*/ 4216900 w 5344675"/>
                <a:gd name="connsiteY14" fmla="*/ 4069794 h 4589698"/>
                <a:gd name="connsiteX15" fmla="*/ 3996248 w 5344675"/>
                <a:gd name="connsiteY15" fmla="*/ 4216895 h 4589698"/>
                <a:gd name="connsiteX16" fmla="*/ 3982381 w 5344675"/>
                <a:gd name="connsiteY16" fmla="*/ 4535837 h 4589698"/>
                <a:gd name="connsiteX17" fmla="*/ 3896876 w 5344675"/>
                <a:gd name="connsiteY17" fmla="*/ 4532548 h 4589698"/>
                <a:gd name="connsiteX18" fmla="*/ 3906401 w 5344675"/>
                <a:gd name="connsiteY18" fmla="*/ 4332523 h 4589698"/>
                <a:gd name="connsiteX19" fmla="*/ 3706376 w 5344675"/>
                <a:gd name="connsiteY19" fmla="*/ 4122973 h 4589698"/>
                <a:gd name="connsiteX20" fmla="*/ 3649226 w 5344675"/>
                <a:gd name="connsiteY20" fmla="*/ 3846748 h 4589698"/>
                <a:gd name="connsiteX21" fmla="*/ 3696851 w 5344675"/>
                <a:gd name="connsiteY21" fmla="*/ 3646723 h 4589698"/>
                <a:gd name="connsiteX22" fmla="*/ 3534926 w 5344675"/>
                <a:gd name="connsiteY22" fmla="*/ 3646723 h 4589698"/>
                <a:gd name="connsiteX23" fmla="*/ 3534926 w 5344675"/>
                <a:gd name="connsiteY23" fmla="*/ 3722923 h 4589698"/>
                <a:gd name="connsiteX24" fmla="*/ 3325376 w 5344675"/>
                <a:gd name="connsiteY24" fmla="*/ 3741973 h 4589698"/>
                <a:gd name="connsiteX25" fmla="*/ 3420626 w 5344675"/>
                <a:gd name="connsiteY25" fmla="*/ 3818173 h 4589698"/>
                <a:gd name="connsiteX26" fmla="*/ 3420626 w 5344675"/>
                <a:gd name="connsiteY26" fmla="*/ 4037248 h 4589698"/>
                <a:gd name="connsiteX27" fmla="*/ 3068201 w 5344675"/>
                <a:gd name="connsiteY27" fmla="*/ 4446823 h 4589698"/>
                <a:gd name="connsiteX28" fmla="*/ 2906276 w 5344675"/>
                <a:gd name="connsiteY28" fmla="*/ 4465873 h 4589698"/>
                <a:gd name="connsiteX29" fmla="*/ 2620526 w 5344675"/>
                <a:gd name="connsiteY29" fmla="*/ 4275373 h 4589698"/>
                <a:gd name="connsiteX30" fmla="*/ 2487176 w 5344675"/>
                <a:gd name="connsiteY30" fmla="*/ 4342048 h 4589698"/>
                <a:gd name="connsiteX31" fmla="*/ 2487176 w 5344675"/>
                <a:gd name="connsiteY31" fmla="*/ 4456348 h 4589698"/>
                <a:gd name="connsiteX32" fmla="*/ 2325251 w 5344675"/>
                <a:gd name="connsiteY32" fmla="*/ 4456348 h 4589698"/>
                <a:gd name="connsiteX33" fmla="*/ 2239526 w 5344675"/>
                <a:gd name="connsiteY33" fmla="*/ 4589698 h 4589698"/>
                <a:gd name="connsiteX34" fmla="*/ 2049026 w 5344675"/>
                <a:gd name="connsiteY34" fmla="*/ 4589698 h 4589698"/>
                <a:gd name="connsiteX35" fmla="*/ 1963301 w 5344675"/>
                <a:gd name="connsiteY35" fmla="*/ 4503973 h 4589698"/>
                <a:gd name="connsiteX36" fmla="*/ 1706126 w 5344675"/>
                <a:gd name="connsiteY36" fmla="*/ 4503973 h 4589698"/>
                <a:gd name="connsiteX37" fmla="*/ 1591826 w 5344675"/>
                <a:gd name="connsiteY37" fmla="*/ 4561123 h 4589698"/>
                <a:gd name="connsiteX38" fmla="*/ 1448951 w 5344675"/>
                <a:gd name="connsiteY38" fmla="*/ 4494448 h 4589698"/>
                <a:gd name="connsiteX39" fmla="*/ 1296551 w 5344675"/>
                <a:gd name="connsiteY39" fmla="*/ 4237273 h 4589698"/>
                <a:gd name="connsiteX40" fmla="*/ 1067951 w 5344675"/>
                <a:gd name="connsiteY40" fmla="*/ 4284898 h 4589698"/>
                <a:gd name="connsiteX41" fmla="*/ 1029851 w 5344675"/>
                <a:gd name="connsiteY41" fmla="*/ 4427773 h 4589698"/>
                <a:gd name="connsiteX42" fmla="*/ 563888 w 5344675"/>
                <a:gd name="connsiteY42" fmla="*/ 4494339 h 4589698"/>
                <a:gd name="connsiteX43" fmla="*/ 563888 w 5344675"/>
                <a:gd name="connsiteY43" fmla="*/ 4314962 h 4589698"/>
                <a:gd name="connsiteX44" fmla="*/ 294202 w 5344675"/>
                <a:gd name="connsiteY44" fmla="*/ 4020760 h 4589698"/>
                <a:gd name="connsiteX45" fmla="*/ 343236 w 5344675"/>
                <a:gd name="connsiteY45" fmla="*/ 3947209 h 4589698"/>
                <a:gd name="connsiteX46" fmla="*/ 196135 w 5344675"/>
                <a:gd name="connsiteY46" fmla="*/ 3628491 h 4589698"/>
                <a:gd name="connsiteX47" fmla="*/ 147101 w 5344675"/>
                <a:gd name="connsiteY47" fmla="*/ 3481390 h 4589698"/>
                <a:gd name="connsiteX48" fmla="*/ 0 w 5344675"/>
                <a:gd name="connsiteY48" fmla="*/ 3481390 h 4589698"/>
                <a:gd name="connsiteX49" fmla="*/ 0 w 5344675"/>
                <a:gd name="connsiteY49" fmla="*/ 3383323 h 4589698"/>
                <a:gd name="connsiteX50" fmla="*/ 122584 w 5344675"/>
                <a:gd name="connsiteY50" fmla="*/ 3089120 h 4589698"/>
                <a:gd name="connsiteX51" fmla="*/ 147101 w 5344675"/>
                <a:gd name="connsiteY51" fmla="*/ 3015570 h 4589698"/>
                <a:gd name="connsiteX52" fmla="*/ 147101 w 5344675"/>
                <a:gd name="connsiteY52" fmla="*/ 2892986 h 4589698"/>
                <a:gd name="connsiteX53" fmla="*/ 343236 w 5344675"/>
                <a:gd name="connsiteY53" fmla="*/ 2647818 h 4589698"/>
                <a:gd name="connsiteX54" fmla="*/ 367753 w 5344675"/>
                <a:gd name="connsiteY54" fmla="*/ 2500717 h 4589698"/>
                <a:gd name="connsiteX55" fmla="*/ 367753 w 5344675"/>
                <a:gd name="connsiteY55" fmla="*/ 2451683 h 4589698"/>
                <a:gd name="connsiteX56" fmla="*/ 710989 w 5344675"/>
                <a:gd name="connsiteY56" fmla="*/ 2427166 h 4589698"/>
                <a:gd name="connsiteX57" fmla="*/ 710989 w 5344675"/>
                <a:gd name="connsiteY57" fmla="*/ 1005190 h 4589698"/>
                <a:gd name="connsiteX58" fmla="*/ 1029708 w 5344675"/>
                <a:gd name="connsiteY58" fmla="*/ 1005190 h 4589698"/>
                <a:gd name="connsiteX59" fmla="*/ 1029708 w 5344675"/>
                <a:gd name="connsiteY59" fmla="*/ 343236 h 4589698"/>
                <a:gd name="connsiteX60" fmla="*/ 3015574 w 5344675"/>
                <a:gd name="connsiteY60" fmla="*/ 343236 h 4589698"/>
                <a:gd name="connsiteX61" fmla="*/ 3064607 w 5344675"/>
                <a:gd name="connsiteY61" fmla="*/ 294202 h 4589698"/>
                <a:gd name="connsiteX62" fmla="*/ 3138158 w 5344675"/>
                <a:gd name="connsiteY62" fmla="*/ 294202 h 4589698"/>
                <a:gd name="connsiteX63" fmla="*/ 3138158 w 5344675"/>
                <a:gd name="connsiteY63" fmla="*/ 343236 h 4589698"/>
                <a:gd name="connsiteX64" fmla="*/ 3653012 w 5344675"/>
                <a:gd name="connsiteY64" fmla="*/ 343236 h 4589698"/>
                <a:gd name="connsiteX65" fmla="*/ 3800113 w 5344675"/>
                <a:gd name="connsiteY65" fmla="*/ 416786 h 4589698"/>
                <a:gd name="connsiteX66" fmla="*/ 3898181 w 5344675"/>
                <a:gd name="connsiteY66" fmla="*/ 416786 h 4589698"/>
                <a:gd name="connsiteX67" fmla="*/ 3971731 w 5344675"/>
                <a:gd name="connsiteY67" fmla="*/ 294202 h 4589698"/>
                <a:gd name="connsiteX68" fmla="*/ 4118832 w 5344675"/>
                <a:gd name="connsiteY68" fmla="*/ 245168 h 4589698"/>
                <a:gd name="connsiteX69" fmla="*/ 4192383 w 5344675"/>
                <a:gd name="connsiteY69" fmla="*/ 73551 h 4589698"/>
                <a:gd name="connsiteX70" fmla="*/ 4290450 w 5344675"/>
                <a:gd name="connsiteY70" fmla="*/ 73551 h 458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344675" h="4589698">
                  <a:moveTo>
                    <a:pt x="4413035" y="0"/>
                  </a:moveTo>
                  <a:lnTo>
                    <a:pt x="4437552" y="0"/>
                  </a:lnTo>
                  <a:lnTo>
                    <a:pt x="4854338" y="343236"/>
                  </a:lnTo>
                  <a:lnTo>
                    <a:pt x="4878855" y="539370"/>
                  </a:lnTo>
                  <a:lnTo>
                    <a:pt x="4952406" y="637438"/>
                  </a:lnTo>
                  <a:lnTo>
                    <a:pt x="5025956" y="1397459"/>
                  </a:lnTo>
                  <a:lnTo>
                    <a:pt x="5344675" y="1691661"/>
                  </a:lnTo>
                  <a:lnTo>
                    <a:pt x="5320158" y="1838762"/>
                  </a:lnTo>
                  <a:lnTo>
                    <a:pt x="4878855" y="2034897"/>
                  </a:lnTo>
                  <a:lnTo>
                    <a:pt x="4731754" y="2745885"/>
                  </a:lnTo>
                  <a:lnTo>
                    <a:pt x="4731754" y="3040087"/>
                  </a:lnTo>
                  <a:lnTo>
                    <a:pt x="4633686" y="3407839"/>
                  </a:lnTo>
                  <a:lnTo>
                    <a:pt x="4265934" y="3800109"/>
                  </a:lnTo>
                  <a:lnTo>
                    <a:pt x="4216900" y="4020760"/>
                  </a:lnTo>
                  <a:lnTo>
                    <a:pt x="4216900" y="4069794"/>
                  </a:lnTo>
                  <a:lnTo>
                    <a:pt x="3996248" y="4216895"/>
                  </a:lnTo>
                  <a:lnTo>
                    <a:pt x="3982381" y="4535837"/>
                  </a:lnTo>
                  <a:lnTo>
                    <a:pt x="3896876" y="4532548"/>
                  </a:lnTo>
                  <a:lnTo>
                    <a:pt x="3906401" y="4332523"/>
                  </a:lnTo>
                  <a:lnTo>
                    <a:pt x="3706376" y="4122973"/>
                  </a:lnTo>
                  <a:lnTo>
                    <a:pt x="3649226" y="3846748"/>
                  </a:lnTo>
                  <a:lnTo>
                    <a:pt x="3696851" y="3646723"/>
                  </a:lnTo>
                  <a:lnTo>
                    <a:pt x="3534926" y="3646723"/>
                  </a:lnTo>
                  <a:lnTo>
                    <a:pt x="3534926" y="3722923"/>
                  </a:lnTo>
                  <a:lnTo>
                    <a:pt x="3325376" y="3741973"/>
                  </a:lnTo>
                  <a:lnTo>
                    <a:pt x="3420626" y="3818173"/>
                  </a:lnTo>
                  <a:lnTo>
                    <a:pt x="3420626" y="4037248"/>
                  </a:lnTo>
                  <a:lnTo>
                    <a:pt x="3068201" y="4446823"/>
                  </a:lnTo>
                  <a:lnTo>
                    <a:pt x="2906276" y="4465873"/>
                  </a:lnTo>
                  <a:lnTo>
                    <a:pt x="2620526" y="4275373"/>
                  </a:lnTo>
                  <a:lnTo>
                    <a:pt x="2487176" y="4342048"/>
                  </a:lnTo>
                  <a:lnTo>
                    <a:pt x="2487176" y="4456348"/>
                  </a:lnTo>
                  <a:lnTo>
                    <a:pt x="2325251" y="4456348"/>
                  </a:lnTo>
                  <a:lnTo>
                    <a:pt x="2239526" y="4589698"/>
                  </a:lnTo>
                  <a:lnTo>
                    <a:pt x="2049026" y="4589698"/>
                  </a:lnTo>
                  <a:lnTo>
                    <a:pt x="1963301" y="4503973"/>
                  </a:lnTo>
                  <a:lnTo>
                    <a:pt x="1706126" y="4503973"/>
                  </a:lnTo>
                  <a:lnTo>
                    <a:pt x="1591826" y="4561123"/>
                  </a:lnTo>
                  <a:lnTo>
                    <a:pt x="1448951" y="4494448"/>
                  </a:lnTo>
                  <a:lnTo>
                    <a:pt x="1296551" y="4237273"/>
                  </a:lnTo>
                  <a:lnTo>
                    <a:pt x="1067951" y="4284898"/>
                  </a:lnTo>
                  <a:lnTo>
                    <a:pt x="1029851" y="4427773"/>
                  </a:lnTo>
                  <a:lnTo>
                    <a:pt x="563888" y="4494339"/>
                  </a:lnTo>
                  <a:lnTo>
                    <a:pt x="563888" y="4314962"/>
                  </a:lnTo>
                  <a:lnTo>
                    <a:pt x="294202" y="4020760"/>
                  </a:lnTo>
                  <a:lnTo>
                    <a:pt x="343236" y="3947209"/>
                  </a:lnTo>
                  <a:lnTo>
                    <a:pt x="196135" y="3628491"/>
                  </a:lnTo>
                  <a:lnTo>
                    <a:pt x="147101" y="3481390"/>
                  </a:lnTo>
                  <a:lnTo>
                    <a:pt x="0" y="3481390"/>
                  </a:lnTo>
                  <a:lnTo>
                    <a:pt x="0" y="3383323"/>
                  </a:lnTo>
                  <a:lnTo>
                    <a:pt x="122584" y="3089120"/>
                  </a:lnTo>
                  <a:lnTo>
                    <a:pt x="147101" y="3015570"/>
                  </a:lnTo>
                  <a:lnTo>
                    <a:pt x="147101" y="2892986"/>
                  </a:lnTo>
                  <a:lnTo>
                    <a:pt x="343236" y="2647818"/>
                  </a:lnTo>
                  <a:lnTo>
                    <a:pt x="367753" y="2500717"/>
                  </a:lnTo>
                  <a:lnTo>
                    <a:pt x="367753" y="2451683"/>
                  </a:lnTo>
                  <a:lnTo>
                    <a:pt x="710989" y="2427166"/>
                  </a:lnTo>
                  <a:lnTo>
                    <a:pt x="710989" y="1005190"/>
                  </a:lnTo>
                  <a:lnTo>
                    <a:pt x="1029708" y="1005190"/>
                  </a:lnTo>
                  <a:lnTo>
                    <a:pt x="1029708" y="343236"/>
                  </a:lnTo>
                  <a:lnTo>
                    <a:pt x="3015574" y="343236"/>
                  </a:lnTo>
                  <a:lnTo>
                    <a:pt x="3064607" y="294202"/>
                  </a:lnTo>
                  <a:lnTo>
                    <a:pt x="3138158" y="294202"/>
                  </a:lnTo>
                  <a:lnTo>
                    <a:pt x="3138158" y="343236"/>
                  </a:lnTo>
                  <a:lnTo>
                    <a:pt x="3653012" y="343236"/>
                  </a:lnTo>
                  <a:lnTo>
                    <a:pt x="3800113" y="416786"/>
                  </a:lnTo>
                  <a:lnTo>
                    <a:pt x="3898181" y="416786"/>
                  </a:lnTo>
                  <a:lnTo>
                    <a:pt x="3971731" y="294202"/>
                  </a:lnTo>
                  <a:lnTo>
                    <a:pt x="4118832" y="245168"/>
                  </a:lnTo>
                  <a:lnTo>
                    <a:pt x="4192383" y="73551"/>
                  </a:lnTo>
                  <a:lnTo>
                    <a:pt x="4290450" y="7355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6" name="South Sudan">
              <a:extLst>
                <a:ext uri="{FF2B5EF4-FFF2-40B4-BE49-F238E27FC236}">
                  <a16:creationId xmlns:a16="http://schemas.microsoft.com/office/drawing/2014/main" id="{8F1A0838-2E29-3040-DDFD-C31063C031CB}"/>
                </a:ext>
              </a:extLst>
            </p:cNvPr>
            <p:cNvSpPr>
              <a:spLocks/>
            </p:cNvSpPr>
            <p:nvPr/>
          </p:nvSpPr>
          <p:spPr bwMode="auto">
            <a:xfrm>
              <a:off x="6382420" y="4301427"/>
              <a:ext cx="294551" cy="204662"/>
            </a:xfrm>
            <a:custGeom>
              <a:avLst/>
              <a:gdLst>
                <a:gd name="connsiteX0" fmla="*/ 2971038 w 3996248"/>
                <a:gd name="connsiteY0" fmla="*/ 0 h 2776686"/>
                <a:gd name="connsiteX1" fmla="*/ 3132963 w 3996248"/>
                <a:gd name="connsiteY1" fmla="*/ 0 h 2776686"/>
                <a:gd name="connsiteX2" fmla="*/ 3085338 w 3996248"/>
                <a:gd name="connsiteY2" fmla="*/ 200025 h 2776686"/>
                <a:gd name="connsiteX3" fmla="*/ 3142488 w 3996248"/>
                <a:gd name="connsiteY3" fmla="*/ 476250 h 2776686"/>
                <a:gd name="connsiteX4" fmla="*/ 3342513 w 3996248"/>
                <a:gd name="connsiteY4" fmla="*/ 685800 h 2776686"/>
                <a:gd name="connsiteX5" fmla="*/ 3332988 w 3996248"/>
                <a:gd name="connsiteY5" fmla="*/ 885825 h 2776686"/>
                <a:gd name="connsiteX6" fmla="*/ 3418493 w 3996248"/>
                <a:gd name="connsiteY6" fmla="*/ 889114 h 2776686"/>
                <a:gd name="connsiteX7" fmla="*/ 3407843 w 3996248"/>
                <a:gd name="connsiteY7" fmla="*/ 1134059 h 2776686"/>
                <a:gd name="connsiteX8" fmla="*/ 3309776 w 3996248"/>
                <a:gd name="connsiteY8" fmla="*/ 1207609 h 2776686"/>
                <a:gd name="connsiteX9" fmla="*/ 3113641 w 3996248"/>
                <a:gd name="connsiteY9" fmla="*/ 1256643 h 2776686"/>
                <a:gd name="connsiteX10" fmla="*/ 3089124 w 3996248"/>
                <a:gd name="connsiteY10" fmla="*/ 1354710 h 2776686"/>
                <a:gd name="connsiteX11" fmla="*/ 3309776 w 3996248"/>
                <a:gd name="connsiteY11" fmla="*/ 1477294 h 2776686"/>
                <a:gd name="connsiteX12" fmla="*/ 3407843 w 3996248"/>
                <a:gd name="connsiteY12" fmla="*/ 1624395 h 2776686"/>
                <a:gd name="connsiteX13" fmla="*/ 3628495 w 3996248"/>
                <a:gd name="connsiteY13" fmla="*/ 1771496 h 2776686"/>
                <a:gd name="connsiteX14" fmla="*/ 3726562 w 3996248"/>
                <a:gd name="connsiteY14" fmla="*/ 2090215 h 2776686"/>
                <a:gd name="connsiteX15" fmla="*/ 3947214 w 3996248"/>
                <a:gd name="connsiteY15" fmla="*/ 2163766 h 2776686"/>
                <a:gd name="connsiteX16" fmla="*/ 3996248 w 3996248"/>
                <a:gd name="connsiteY16" fmla="*/ 2188282 h 2776686"/>
                <a:gd name="connsiteX17" fmla="*/ 3996248 w 3996248"/>
                <a:gd name="connsiteY17" fmla="*/ 2457967 h 2776686"/>
                <a:gd name="connsiteX18" fmla="*/ 3505911 w 3996248"/>
                <a:gd name="connsiteY18" fmla="*/ 2457967 h 2776686"/>
                <a:gd name="connsiteX19" fmla="*/ 3358809 w 3996248"/>
                <a:gd name="connsiteY19" fmla="*/ 2605068 h 2776686"/>
                <a:gd name="connsiteX20" fmla="*/ 3187191 w 3996248"/>
                <a:gd name="connsiteY20" fmla="*/ 2703136 h 2776686"/>
                <a:gd name="connsiteX21" fmla="*/ 3113641 w 3996248"/>
                <a:gd name="connsiteY21" fmla="*/ 2703136 h 2776686"/>
                <a:gd name="connsiteX22" fmla="*/ 2892989 w 3996248"/>
                <a:gd name="connsiteY22" fmla="*/ 2752169 h 2776686"/>
                <a:gd name="connsiteX23" fmla="*/ 2647820 w 3996248"/>
                <a:gd name="connsiteY23" fmla="*/ 2752169 h 2776686"/>
                <a:gd name="connsiteX24" fmla="*/ 2427169 w 3996248"/>
                <a:gd name="connsiteY24" fmla="*/ 2776686 h 2776686"/>
                <a:gd name="connsiteX25" fmla="*/ 2353618 w 3996248"/>
                <a:gd name="connsiteY25" fmla="*/ 2776686 h 2776686"/>
                <a:gd name="connsiteX26" fmla="*/ 2353618 w 3996248"/>
                <a:gd name="connsiteY26" fmla="*/ 2752169 h 2776686"/>
                <a:gd name="connsiteX27" fmla="*/ 1985865 w 3996248"/>
                <a:gd name="connsiteY27" fmla="*/ 2457967 h 2776686"/>
                <a:gd name="connsiteX28" fmla="*/ 1887798 w 3996248"/>
                <a:gd name="connsiteY28" fmla="*/ 2482484 h 2776686"/>
                <a:gd name="connsiteX29" fmla="*/ 1691663 w 3996248"/>
                <a:gd name="connsiteY29" fmla="*/ 2482484 h 2776686"/>
                <a:gd name="connsiteX30" fmla="*/ 1618112 w 3996248"/>
                <a:gd name="connsiteY30" fmla="*/ 2531518 h 2776686"/>
                <a:gd name="connsiteX31" fmla="*/ 1593596 w 3996248"/>
                <a:gd name="connsiteY31" fmla="*/ 2531518 h 2776686"/>
                <a:gd name="connsiteX32" fmla="*/ 1446495 w 3996248"/>
                <a:gd name="connsiteY32" fmla="*/ 2457967 h 2776686"/>
                <a:gd name="connsiteX33" fmla="*/ 1299393 w 3996248"/>
                <a:gd name="connsiteY33" fmla="*/ 2261833 h 2776686"/>
                <a:gd name="connsiteX34" fmla="*/ 1201326 w 3996248"/>
                <a:gd name="connsiteY34" fmla="*/ 2090215 h 2776686"/>
                <a:gd name="connsiteX35" fmla="*/ 1005191 w 3996248"/>
                <a:gd name="connsiteY35" fmla="*/ 1967631 h 2776686"/>
                <a:gd name="connsiteX36" fmla="*/ 858090 w 3996248"/>
                <a:gd name="connsiteY36" fmla="*/ 1722463 h 2776686"/>
                <a:gd name="connsiteX37" fmla="*/ 563888 w 3996248"/>
                <a:gd name="connsiteY37" fmla="*/ 1501811 h 2776686"/>
                <a:gd name="connsiteX38" fmla="*/ 539371 w 3996248"/>
                <a:gd name="connsiteY38" fmla="*/ 1501811 h 2776686"/>
                <a:gd name="connsiteX39" fmla="*/ 539371 w 3996248"/>
                <a:gd name="connsiteY39" fmla="*/ 1477294 h 2776686"/>
                <a:gd name="connsiteX40" fmla="*/ 490337 w 3996248"/>
                <a:gd name="connsiteY40" fmla="*/ 1330193 h 2776686"/>
                <a:gd name="connsiteX41" fmla="*/ 220652 w 3996248"/>
                <a:gd name="connsiteY41" fmla="*/ 1256643 h 2776686"/>
                <a:gd name="connsiteX42" fmla="*/ 220652 w 3996248"/>
                <a:gd name="connsiteY42" fmla="*/ 1207609 h 2776686"/>
                <a:gd name="connsiteX43" fmla="*/ 171618 w 3996248"/>
                <a:gd name="connsiteY43" fmla="*/ 1134059 h 2776686"/>
                <a:gd name="connsiteX44" fmla="*/ 0 w 3996248"/>
                <a:gd name="connsiteY44" fmla="*/ 1060508 h 2776686"/>
                <a:gd name="connsiteX45" fmla="*/ 0 w 3996248"/>
                <a:gd name="connsiteY45" fmla="*/ 847616 h 2776686"/>
                <a:gd name="connsiteX46" fmla="*/ 465963 w 3996248"/>
                <a:gd name="connsiteY46" fmla="*/ 781050 h 2776686"/>
                <a:gd name="connsiteX47" fmla="*/ 504063 w 3996248"/>
                <a:gd name="connsiteY47" fmla="*/ 638175 h 2776686"/>
                <a:gd name="connsiteX48" fmla="*/ 732663 w 3996248"/>
                <a:gd name="connsiteY48" fmla="*/ 590550 h 2776686"/>
                <a:gd name="connsiteX49" fmla="*/ 885063 w 3996248"/>
                <a:gd name="connsiteY49" fmla="*/ 847725 h 2776686"/>
                <a:gd name="connsiteX50" fmla="*/ 1027938 w 3996248"/>
                <a:gd name="connsiteY50" fmla="*/ 914400 h 2776686"/>
                <a:gd name="connsiteX51" fmla="*/ 1142238 w 3996248"/>
                <a:gd name="connsiteY51" fmla="*/ 857250 h 2776686"/>
                <a:gd name="connsiteX52" fmla="*/ 1399413 w 3996248"/>
                <a:gd name="connsiteY52" fmla="*/ 857250 h 2776686"/>
                <a:gd name="connsiteX53" fmla="*/ 1485138 w 3996248"/>
                <a:gd name="connsiteY53" fmla="*/ 942975 h 2776686"/>
                <a:gd name="connsiteX54" fmla="*/ 1675638 w 3996248"/>
                <a:gd name="connsiteY54" fmla="*/ 942975 h 2776686"/>
                <a:gd name="connsiteX55" fmla="*/ 1761363 w 3996248"/>
                <a:gd name="connsiteY55" fmla="*/ 809625 h 2776686"/>
                <a:gd name="connsiteX56" fmla="*/ 1923288 w 3996248"/>
                <a:gd name="connsiteY56" fmla="*/ 809625 h 2776686"/>
                <a:gd name="connsiteX57" fmla="*/ 1923288 w 3996248"/>
                <a:gd name="connsiteY57" fmla="*/ 695325 h 2776686"/>
                <a:gd name="connsiteX58" fmla="*/ 2056638 w 3996248"/>
                <a:gd name="connsiteY58" fmla="*/ 628650 h 2776686"/>
                <a:gd name="connsiteX59" fmla="*/ 2342388 w 3996248"/>
                <a:gd name="connsiteY59" fmla="*/ 819150 h 2776686"/>
                <a:gd name="connsiteX60" fmla="*/ 2504313 w 3996248"/>
                <a:gd name="connsiteY60" fmla="*/ 800100 h 2776686"/>
                <a:gd name="connsiteX61" fmla="*/ 2856738 w 3996248"/>
                <a:gd name="connsiteY61" fmla="*/ 390525 h 2776686"/>
                <a:gd name="connsiteX62" fmla="*/ 2856738 w 3996248"/>
                <a:gd name="connsiteY62" fmla="*/ 171450 h 2776686"/>
                <a:gd name="connsiteX63" fmla="*/ 2761488 w 3996248"/>
                <a:gd name="connsiteY63" fmla="*/ 95250 h 2776686"/>
                <a:gd name="connsiteX64" fmla="*/ 2971038 w 3996248"/>
                <a:gd name="connsiteY64" fmla="*/ 76200 h 277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96248" h="2776686">
                  <a:moveTo>
                    <a:pt x="2971038" y="0"/>
                  </a:moveTo>
                  <a:lnTo>
                    <a:pt x="3132963" y="0"/>
                  </a:lnTo>
                  <a:lnTo>
                    <a:pt x="3085338" y="200025"/>
                  </a:lnTo>
                  <a:lnTo>
                    <a:pt x="3142488" y="476250"/>
                  </a:lnTo>
                  <a:lnTo>
                    <a:pt x="3342513" y="685800"/>
                  </a:lnTo>
                  <a:lnTo>
                    <a:pt x="3332988" y="885825"/>
                  </a:lnTo>
                  <a:lnTo>
                    <a:pt x="3418493" y="889114"/>
                  </a:lnTo>
                  <a:lnTo>
                    <a:pt x="3407843" y="1134059"/>
                  </a:lnTo>
                  <a:lnTo>
                    <a:pt x="3309776" y="1207609"/>
                  </a:lnTo>
                  <a:lnTo>
                    <a:pt x="3113641" y="1256643"/>
                  </a:lnTo>
                  <a:lnTo>
                    <a:pt x="3089124" y="1354710"/>
                  </a:lnTo>
                  <a:lnTo>
                    <a:pt x="3309776" y="1477294"/>
                  </a:lnTo>
                  <a:lnTo>
                    <a:pt x="3407843" y="1624395"/>
                  </a:lnTo>
                  <a:lnTo>
                    <a:pt x="3628495" y="1771496"/>
                  </a:lnTo>
                  <a:lnTo>
                    <a:pt x="3726562" y="2090215"/>
                  </a:lnTo>
                  <a:lnTo>
                    <a:pt x="3947214" y="2163766"/>
                  </a:lnTo>
                  <a:lnTo>
                    <a:pt x="3996248" y="2188282"/>
                  </a:lnTo>
                  <a:lnTo>
                    <a:pt x="3996248" y="2457967"/>
                  </a:lnTo>
                  <a:lnTo>
                    <a:pt x="3505911" y="2457967"/>
                  </a:lnTo>
                  <a:lnTo>
                    <a:pt x="3358809" y="2605068"/>
                  </a:lnTo>
                  <a:lnTo>
                    <a:pt x="3187191" y="2703136"/>
                  </a:lnTo>
                  <a:lnTo>
                    <a:pt x="3113641" y="2703136"/>
                  </a:lnTo>
                  <a:lnTo>
                    <a:pt x="2892989" y="2752169"/>
                  </a:lnTo>
                  <a:lnTo>
                    <a:pt x="2647820" y="2752169"/>
                  </a:lnTo>
                  <a:lnTo>
                    <a:pt x="2427169" y="2776686"/>
                  </a:lnTo>
                  <a:lnTo>
                    <a:pt x="2353618" y="2776686"/>
                  </a:lnTo>
                  <a:lnTo>
                    <a:pt x="2353618" y="2752169"/>
                  </a:lnTo>
                  <a:lnTo>
                    <a:pt x="1985865" y="2457967"/>
                  </a:lnTo>
                  <a:lnTo>
                    <a:pt x="1887798" y="2482484"/>
                  </a:lnTo>
                  <a:lnTo>
                    <a:pt x="1691663" y="2482484"/>
                  </a:lnTo>
                  <a:lnTo>
                    <a:pt x="1618112" y="2531518"/>
                  </a:lnTo>
                  <a:lnTo>
                    <a:pt x="1593596" y="2531518"/>
                  </a:lnTo>
                  <a:lnTo>
                    <a:pt x="1446495" y="2457967"/>
                  </a:lnTo>
                  <a:lnTo>
                    <a:pt x="1299393" y="2261833"/>
                  </a:lnTo>
                  <a:lnTo>
                    <a:pt x="1201326" y="2090215"/>
                  </a:lnTo>
                  <a:lnTo>
                    <a:pt x="1005191" y="1967631"/>
                  </a:lnTo>
                  <a:lnTo>
                    <a:pt x="858090" y="1722463"/>
                  </a:lnTo>
                  <a:lnTo>
                    <a:pt x="563888" y="1501811"/>
                  </a:lnTo>
                  <a:lnTo>
                    <a:pt x="539371" y="1501811"/>
                  </a:lnTo>
                  <a:lnTo>
                    <a:pt x="539371" y="1477294"/>
                  </a:lnTo>
                  <a:lnTo>
                    <a:pt x="490337" y="1330193"/>
                  </a:lnTo>
                  <a:lnTo>
                    <a:pt x="220652" y="1256643"/>
                  </a:lnTo>
                  <a:lnTo>
                    <a:pt x="220652" y="1207609"/>
                  </a:lnTo>
                  <a:lnTo>
                    <a:pt x="171618" y="1134059"/>
                  </a:lnTo>
                  <a:lnTo>
                    <a:pt x="0" y="1060508"/>
                  </a:lnTo>
                  <a:lnTo>
                    <a:pt x="0" y="847616"/>
                  </a:lnTo>
                  <a:lnTo>
                    <a:pt x="465963" y="781050"/>
                  </a:lnTo>
                  <a:lnTo>
                    <a:pt x="504063" y="638175"/>
                  </a:lnTo>
                  <a:lnTo>
                    <a:pt x="732663" y="590550"/>
                  </a:lnTo>
                  <a:lnTo>
                    <a:pt x="885063" y="847725"/>
                  </a:lnTo>
                  <a:lnTo>
                    <a:pt x="1027938" y="914400"/>
                  </a:lnTo>
                  <a:lnTo>
                    <a:pt x="1142238" y="857250"/>
                  </a:lnTo>
                  <a:lnTo>
                    <a:pt x="1399413" y="857250"/>
                  </a:lnTo>
                  <a:lnTo>
                    <a:pt x="1485138" y="942975"/>
                  </a:lnTo>
                  <a:lnTo>
                    <a:pt x="1675638" y="942975"/>
                  </a:lnTo>
                  <a:lnTo>
                    <a:pt x="1761363" y="809625"/>
                  </a:lnTo>
                  <a:lnTo>
                    <a:pt x="1923288" y="809625"/>
                  </a:lnTo>
                  <a:lnTo>
                    <a:pt x="1923288" y="695325"/>
                  </a:lnTo>
                  <a:lnTo>
                    <a:pt x="2056638" y="628650"/>
                  </a:lnTo>
                  <a:lnTo>
                    <a:pt x="2342388" y="819150"/>
                  </a:lnTo>
                  <a:lnTo>
                    <a:pt x="2504313" y="800100"/>
                  </a:lnTo>
                  <a:lnTo>
                    <a:pt x="2856738" y="390525"/>
                  </a:lnTo>
                  <a:lnTo>
                    <a:pt x="2856738" y="171450"/>
                  </a:lnTo>
                  <a:lnTo>
                    <a:pt x="2761488" y="95250"/>
                  </a:lnTo>
                  <a:lnTo>
                    <a:pt x="2971038" y="7620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7" name="South Africa">
              <a:extLst>
                <a:ext uri="{FF2B5EF4-FFF2-40B4-BE49-F238E27FC236}">
                  <a16:creationId xmlns:a16="http://schemas.microsoft.com/office/drawing/2014/main" id="{9951A582-5E7B-CAD8-010C-D45FA31B8D8B}"/>
                </a:ext>
              </a:extLst>
            </p:cNvPr>
            <p:cNvSpPr>
              <a:spLocks/>
            </p:cNvSpPr>
            <p:nvPr/>
          </p:nvSpPr>
          <p:spPr bwMode="auto">
            <a:xfrm>
              <a:off x="6212555" y="5120490"/>
              <a:ext cx="392133" cy="339728"/>
            </a:xfrm>
            <a:custGeom>
              <a:avLst/>
              <a:gdLst>
                <a:gd name="T0" fmla="*/ 188 w 217"/>
                <a:gd name="T1" fmla="*/ 1 h 188"/>
                <a:gd name="T2" fmla="*/ 203 w 217"/>
                <a:gd name="T3" fmla="*/ 31 h 188"/>
                <a:gd name="T4" fmla="*/ 203 w 217"/>
                <a:gd name="T5" fmla="*/ 54 h 188"/>
                <a:gd name="T6" fmla="*/ 197 w 217"/>
                <a:gd name="T7" fmla="*/ 51 h 188"/>
                <a:gd name="T8" fmla="*/ 190 w 217"/>
                <a:gd name="T9" fmla="*/ 63 h 188"/>
                <a:gd name="T10" fmla="*/ 197 w 217"/>
                <a:gd name="T11" fmla="*/ 72 h 188"/>
                <a:gd name="T12" fmla="*/ 205 w 217"/>
                <a:gd name="T13" fmla="*/ 66 h 188"/>
                <a:gd name="T14" fmla="*/ 217 w 217"/>
                <a:gd name="T15" fmla="*/ 65 h 188"/>
                <a:gd name="T16" fmla="*/ 211 w 217"/>
                <a:gd name="T17" fmla="*/ 92 h 188"/>
                <a:gd name="T18" fmla="*/ 180 w 217"/>
                <a:gd name="T19" fmla="*/ 133 h 188"/>
                <a:gd name="T20" fmla="*/ 143 w 217"/>
                <a:gd name="T21" fmla="*/ 170 h 188"/>
                <a:gd name="T22" fmla="*/ 123 w 217"/>
                <a:gd name="T23" fmla="*/ 178 h 188"/>
                <a:gd name="T24" fmla="*/ 116 w 217"/>
                <a:gd name="T25" fmla="*/ 176 h 188"/>
                <a:gd name="T26" fmla="*/ 111 w 217"/>
                <a:gd name="T27" fmla="*/ 179 h 188"/>
                <a:gd name="T28" fmla="*/ 107 w 217"/>
                <a:gd name="T29" fmla="*/ 180 h 188"/>
                <a:gd name="T30" fmla="*/ 91 w 217"/>
                <a:gd name="T31" fmla="*/ 179 h 188"/>
                <a:gd name="T32" fmla="*/ 80 w 217"/>
                <a:gd name="T33" fmla="*/ 178 h 188"/>
                <a:gd name="T34" fmla="*/ 54 w 217"/>
                <a:gd name="T35" fmla="*/ 183 h 188"/>
                <a:gd name="T36" fmla="*/ 31 w 217"/>
                <a:gd name="T37" fmla="*/ 182 h 188"/>
                <a:gd name="T38" fmla="*/ 27 w 217"/>
                <a:gd name="T39" fmla="*/ 178 h 188"/>
                <a:gd name="T40" fmla="*/ 20 w 217"/>
                <a:gd name="T41" fmla="*/ 160 h 188"/>
                <a:gd name="T42" fmla="*/ 22 w 217"/>
                <a:gd name="T43" fmla="*/ 155 h 188"/>
                <a:gd name="T44" fmla="*/ 24 w 217"/>
                <a:gd name="T45" fmla="*/ 143 h 188"/>
                <a:gd name="T46" fmla="*/ 0 w 217"/>
                <a:gd name="T47" fmla="*/ 94 h 188"/>
                <a:gd name="T48" fmla="*/ 9 w 217"/>
                <a:gd name="T49" fmla="*/ 89 h 188"/>
                <a:gd name="T50" fmla="*/ 18 w 217"/>
                <a:gd name="T51" fmla="*/ 99 h 188"/>
                <a:gd name="T52" fmla="*/ 46 w 217"/>
                <a:gd name="T53" fmla="*/ 92 h 188"/>
                <a:gd name="T54" fmla="*/ 58 w 217"/>
                <a:gd name="T55" fmla="*/ 50 h 188"/>
                <a:gd name="T56" fmla="*/ 67 w 217"/>
                <a:gd name="T57" fmla="*/ 66 h 188"/>
                <a:gd name="T58" fmla="*/ 91 w 217"/>
                <a:gd name="T59" fmla="*/ 47 h 188"/>
                <a:gd name="T60" fmla="*/ 97 w 217"/>
                <a:gd name="T61" fmla="*/ 46 h 188"/>
                <a:gd name="T62" fmla="*/ 119 w 217"/>
                <a:gd name="T63" fmla="*/ 49 h 188"/>
                <a:gd name="T64" fmla="*/ 146 w 217"/>
                <a:gd name="T65" fmla="*/ 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188">
                  <a:moveTo>
                    <a:pt x="169" y="0"/>
                  </a:moveTo>
                  <a:lnTo>
                    <a:pt x="188" y="1"/>
                  </a:lnTo>
                  <a:lnTo>
                    <a:pt x="199" y="7"/>
                  </a:lnTo>
                  <a:lnTo>
                    <a:pt x="203" y="31"/>
                  </a:lnTo>
                  <a:lnTo>
                    <a:pt x="205" y="53"/>
                  </a:lnTo>
                  <a:lnTo>
                    <a:pt x="203" y="54"/>
                  </a:lnTo>
                  <a:lnTo>
                    <a:pt x="202" y="54"/>
                  </a:lnTo>
                  <a:lnTo>
                    <a:pt x="197" y="51"/>
                  </a:lnTo>
                  <a:lnTo>
                    <a:pt x="194" y="53"/>
                  </a:lnTo>
                  <a:lnTo>
                    <a:pt x="190" y="63"/>
                  </a:lnTo>
                  <a:lnTo>
                    <a:pt x="193" y="71"/>
                  </a:lnTo>
                  <a:lnTo>
                    <a:pt x="197" y="72"/>
                  </a:lnTo>
                  <a:lnTo>
                    <a:pt x="200" y="72"/>
                  </a:lnTo>
                  <a:lnTo>
                    <a:pt x="205" y="66"/>
                  </a:lnTo>
                  <a:lnTo>
                    <a:pt x="205" y="65"/>
                  </a:lnTo>
                  <a:lnTo>
                    <a:pt x="217" y="65"/>
                  </a:lnTo>
                  <a:lnTo>
                    <a:pt x="217" y="66"/>
                  </a:lnTo>
                  <a:lnTo>
                    <a:pt x="211" y="92"/>
                  </a:lnTo>
                  <a:lnTo>
                    <a:pt x="197" y="103"/>
                  </a:lnTo>
                  <a:lnTo>
                    <a:pt x="180" y="133"/>
                  </a:lnTo>
                  <a:lnTo>
                    <a:pt x="160" y="155"/>
                  </a:lnTo>
                  <a:lnTo>
                    <a:pt x="143" y="170"/>
                  </a:lnTo>
                  <a:lnTo>
                    <a:pt x="123" y="173"/>
                  </a:lnTo>
                  <a:lnTo>
                    <a:pt x="123" y="178"/>
                  </a:lnTo>
                  <a:lnTo>
                    <a:pt x="119" y="178"/>
                  </a:lnTo>
                  <a:lnTo>
                    <a:pt x="116" y="176"/>
                  </a:lnTo>
                  <a:lnTo>
                    <a:pt x="113" y="176"/>
                  </a:lnTo>
                  <a:lnTo>
                    <a:pt x="111" y="179"/>
                  </a:lnTo>
                  <a:lnTo>
                    <a:pt x="111" y="180"/>
                  </a:lnTo>
                  <a:lnTo>
                    <a:pt x="107" y="180"/>
                  </a:lnTo>
                  <a:lnTo>
                    <a:pt x="100" y="179"/>
                  </a:lnTo>
                  <a:lnTo>
                    <a:pt x="91" y="179"/>
                  </a:lnTo>
                  <a:lnTo>
                    <a:pt x="83" y="178"/>
                  </a:lnTo>
                  <a:lnTo>
                    <a:pt x="80" y="178"/>
                  </a:lnTo>
                  <a:lnTo>
                    <a:pt x="71" y="182"/>
                  </a:lnTo>
                  <a:lnTo>
                    <a:pt x="54" y="183"/>
                  </a:lnTo>
                  <a:lnTo>
                    <a:pt x="48" y="188"/>
                  </a:lnTo>
                  <a:lnTo>
                    <a:pt x="31" y="182"/>
                  </a:lnTo>
                  <a:lnTo>
                    <a:pt x="31" y="178"/>
                  </a:lnTo>
                  <a:lnTo>
                    <a:pt x="27" y="178"/>
                  </a:lnTo>
                  <a:lnTo>
                    <a:pt x="27" y="172"/>
                  </a:lnTo>
                  <a:lnTo>
                    <a:pt x="20" y="160"/>
                  </a:lnTo>
                  <a:lnTo>
                    <a:pt x="20" y="155"/>
                  </a:lnTo>
                  <a:lnTo>
                    <a:pt x="22" y="155"/>
                  </a:lnTo>
                  <a:lnTo>
                    <a:pt x="24" y="152"/>
                  </a:lnTo>
                  <a:lnTo>
                    <a:pt x="24" y="143"/>
                  </a:lnTo>
                  <a:lnTo>
                    <a:pt x="14" y="124"/>
                  </a:lnTo>
                  <a:lnTo>
                    <a:pt x="0" y="94"/>
                  </a:lnTo>
                  <a:lnTo>
                    <a:pt x="0" y="93"/>
                  </a:lnTo>
                  <a:lnTo>
                    <a:pt x="9" y="89"/>
                  </a:lnTo>
                  <a:lnTo>
                    <a:pt x="17" y="93"/>
                  </a:lnTo>
                  <a:lnTo>
                    <a:pt x="18" y="99"/>
                  </a:lnTo>
                  <a:lnTo>
                    <a:pt x="36" y="99"/>
                  </a:lnTo>
                  <a:lnTo>
                    <a:pt x="46" y="92"/>
                  </a:lnTo>
                  <a:lnTo>
                    <a:pt x="46" y="37"/>
                  </a:lnTo>
                  <a:lnTo>
                    <a:pt x="58" y="50"/>
                  </a:lnTo>
                  <a:lnTo>
                    <a:pt x="58" y="65"/>
                  </a:lnTo>
                  <a:lnTo>
                    <a:pt x="67" y="66"/>
                  </a:lnTo>
                  <a:lnTo>
                    <a:pt x="76" y="63"/>
                  </a:lnTo>
                  <a:lnTo>
                    <a:pt x="91" y="47"/>
                  </a:lnTo>
                  <a:lnTo>
                    <a:pt x="91" y="46"/>
                  </a:lnTo>
                  <a:lnTo>
                    <a:pt x="97" y="46"/>
                  </a:lnTo>
                  <a:lnTo>
                    <a:pt x="110" y="50"/>
                  </a:lnTo>
                  <a:lnTo>
                    <a:pt x="119" y="49"/>
                  </a:lnTo>
                  <a:lnTo>
                    <a:pt x="123" y="38"/>
                  </a:lnTo>
                  <a:lnTo>
                    <a:pt x="146" y="14"/>
                  </a:lnTo>
                  <a:lnTo>
                    <a:pt x="16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8" name="Somalia">
              <a:extLst>
                <a:ext uri="{FF2B5EF4-FFF2-40B4-BE49-F238E27FC236}">
                  <a16:creationId xmlns:a16="http://schemas.microsoft.com/office/drawing/2014/main" id="{36F85C52-EEB2-7F8D-1FE9-A1D5CA972565}"/>
                </a:ext>
              </a:extLst>
            </p:cNvPr>
            <p:cNvSpPr>
              <a:spLocks/>
            </p:cNvSpPr>
            <p:nvPr/>
          </p:nvSpPr>
          <p:spPr bwMode="auto">
            <a:xfrm>
              <a:off x="6794428" y="4305506"/>
              <a:ext cx="243954" cy="323464"/>
            </a:xfrm>
            <a:custGeom>
              <a:avLst/>
              <a:gdLst>
                <a:gd name="T0" fmla="*/ 126 w 135"/>
                <a:gd name="T1" fmla="*/ 0 h 179"/>
                <a:gd name="T2" fmla="*/ 133 w 135"/>
                <a:gd name="T3" fmla="*/ 3 h 179"/>
                <a:gd name="T4" fmla="*/ 133 w 135"/>
                <a:gd name="T5" fmla="*/ 4 h 179"/>
                <a:gd name="T6" fmla="*/ 132 w 135"/>
                <a:gd name="T7" fmla="*/ 10 h 179"/>
                <a:gd name="T8" fmla="*/ 133 w 135"/>
                <a:gd name="T9" fmla="*/ 19 h 179"/>
                <a:gd name="T10" fmla="*/ 132 w 135"/>
                <a:gd name="T11" fmla="*/ 21 h 179"/>
                <a:gd name="T12" fmla="*/ 135 w 135"/>
                <a:gd name="T13" fmla="*/ 22 h 179"/>
                <a:gd name="T14" fmla="*/ 135 w 135"/>
                <a:gd name="T15" fmla="*/ 24 h 179"/>
                <a:gd name="T16" fmla="*/ 129 w 135"/>
                <a:gd name="T17" fmla="*/ 24 h 179"/>
                <a:gd name="T18" fmla="*/ 127 w 135"/>
                <a:gd name="T19" fmla="*/ 38 h 179"/>
                <a:gd name="T20" fmla="*/ 120 w 135"/>
                <a:gd name="T21" fmla="*/ 50 h 179"/>
                <a:gd name="T22" fmla="*/ 116 w 135"/>
                <a:gd name="T23" fmla="*/ 53 h 179"/>
                <a:gd name="T24" fmla="*/ 104 w 135"/>
                <a:gd name="T25" fmla="*/ 83 h 179"/>
                <a:gd name="T26" fmla="*/ 96 w 135"/>
                <a:gd name="T27" fmla="*/ 92 h 179"/>
                <a:gd name="T28" fmla="*/ 87 w 135"/>
                <a:gd name="T29" fmla="*/ 105 h 179"/>
                <a:gd name="T30" fmla="*/ 64 w 135"/>
                <a:gd name="T31" fmla="*/ 127 h 179"/>
                <a:gd name="T32" fmla="*/ 52 w 135"/>
                <a:gd name="T33" fmla="*/ 135 h 179"/>
                <a:gd name="T34" fmla="*/ 27 w 135"/>
                <a:gd name="T35" fmla="*/ 159 h 179"/>
                <a:gd name="T36" fmla="*/ 22 w 135"/>
                <a:gd name="T37" fmla="*/ 160 h 179"/>
                <a:gd name="T38" fmla="*/ 21 w 135"/>
                <a:gd name="T39" fmla="*/ 164 h 179"/>
                <a:gd name="T40" fmla="*/ 9 w 135"/>
                <a:gd name="T41" fmla="*/ 179 h 179"/>
                <a:gd name="T42" fmla="*/ 7 w 135"/>
                <a:gd name="T43" fmla="*/ 179 h 179"/>
                <a:gd name="T44" fmla="*/ 0 w 135"/>
                <a:gd name="T45" fmla="*/ 169 h 179"/>
                <a:gd name="T46" fmla="*/ 0 w 135"/>
                <a:gd name="T47" fmla="*/ 120 h 179"/>
                <a:gd name="T48" fmla="*/ 12 w 135"/>
                <a:gd name="T49" fmla="*/ 105 h 179"/>
                <a:gd name="T50" fmla="*/ 38 w 135"/>
                <a:gd name="T51" fmla="*/ 92 h 179"/>
                <a:gd name="T52" fmla="*/ 53 w 135"/>
                <a:gd name="T53" fmla="*/ 90 h 179"/>
                <a:gd name="T54" fmla="*/ 89 w 135"/>
                <a:gd name="T55" fmla="*/ 56 h 179"/>
                <a:gd name="T56" fmla="*/ 90 w 135"/>
                <a:gd name="T57" fmla="*/ 52 h 179"/>
                <a:gd name="T58" fmla="*/ 80 w 135"/>
                <a:gd name="T59" fmla="*/ 53 h 179"/>
                <a:gd name="T60" fmla="*/ 40 w 135"/>
                <a:gd name="T61" fmla="*/ 38 h 179"/>
                <a:gd name="T62" fmla="*/ 25 w 135"/>
                <a:gd name="T63" fmla="*/ 24 h 179"/>
                <a:gd name="T64" fmla="*/ 25 w 135"/>
                <a:gd name="T65" fmla="*/ 15 h 179"/>
                <a:gd name="T66" fmla="*/ 28 w 135"/>
                <a:gd name="T67" fmla="*/ 7 h 179"/>
                <a:gd name="T68" fmla="*/ 30 w 135"/>
                <a:gd name="T69" fmla="*/ 6 h 179"/>
                <a:gd name="T70" fmla="*/ 46 w 135"/>
                <a:gd name="T71" fmla="*/ 21 h 179"/>
                <a:gd name="T72" fmla="*/ 52 w 135"/>
                <a:gd name="T73" fmla="*/ 21 h 179"/>
                <a:gd name="T74" fmla="*/ 62 w 135"/>
                <a:gd name="T75" fmla="*/ 15 h 179"/>
                <a:gd name="T76" fmla="*/ 73 w 135"/>
                <a:gd name="T77" fmla="*/ 16 h 179"/>
                <a:gd name="T78" fmla="*/ 81 w 135"/>
                <a:gd name="T79" fmla="*/ 12 h 179"/>
                <a:gd name="T80" fmla="*/ 107 w 135"/>
                <a:gd name="T81" fmla="*/ 7 h 179"/>
                <a:gd name="T82" fmla="*/ 118 w 135"/>
                <a:gd name="T83" fmla="*/ 6 h 179"/>
                <a:gd name="T84" fmla="*/ 126 w 135"/>
                <a:gd name="T85"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79">
                  <a:moveTo>
                    <a:pt x="126" y="0"/>
                  </a:moveTo>
                  <a:lnTo>
                    <a:pt x="133" y="3"/>
                  </a:lnTo>
                  <a:lnTo>
                    <a:pt x="133" y="4"/>
                  </a:lnTo>
                  <a:lnTo>
                    <a:pt x="132" y="10"/>
                  </a:lnTo>
                  <a:lnTo>
                    <a:pt x="133" y="19"/>
                  </a:lnTo>
                  <a:lnTo>
                    <a:pt x="132" y="21"/>
                  </a:lnTo>
                  <a:lnTo>
                    <a:pt x="135" y="22"/>
                  </a:lnTo>
                  <a:lnTo>
                    <a:pt x="135" y="24"/>
                  </a:lnTo>
                  <a:lnTo>
                    <a:pt x="129" y="24"/>
                  </a:lnTo>
                  <a:lnTo>
                    <a:pt x="127" y="38"/>
                  </a:lnTo>
                  <a:lnTo>
                    <a:pt x="120" y="50"/>
                  </a:lnTo>
                  <a:lnTo>
                    <a:pt x="116" y="53"/>
                  </a:lnTo>
                  <a:lnTo>
                    <a:pt x="104" y="83"/>
                  </a:lnTo>
                  <a:lnTo>
                    <a:pt x="96" y="92"/>
                  </a:lnTo>
                  <a:lnTo>
                    <a:pt x="87" y="105"/>
                  </a:lnTo>
                  <a:lnTo>
                    <a:pt x="64" y="127"/>
                  </a:lnTo>
                  <a:lnTo>
                    <a:pt x="52" y="135"/>
                  </a:lnTo>
                  <a:lnTo>
                    <a:pt x="27" y="159"/>
                  </a:lnTo>
                  <a:lnTo>
                    <a:pt x="22" y="160"/>
                  </a:lnTo>
                  <a:lnTo>
                    <a:pt x="21" y="164"/>
                  </a:lnTo>
                  <a:lnTo>
                    <a:pt x="9" y="179"/>
                  </a:lnTo>
                  <a:lnTo>
                    <a:pt x="7" y="179"/>
                  </a:lnTo>
                  <a:lnTo>
                    <a:pt x="0" y="169"/>
                  </a:lnTo>
                  <a:lnTo>
                    <a:pt x="0" y="120"/>
                  </a:lnTo>
                  <a:lnTo>
                    <a:pt x="12" y="105"/>
                  </a:lnTo>
                  <a:lnTo>
                    <a:pt x="38" y="92"/>
                  </a:lnTo>
                  <a:lnTo>
                    <a:pt x="53" y="90"/>
                  </a:lnTo>
                  <a:lnTo>
                    <a:pt x="89" y="56"/>
                  </a:lnTo>
                  <a:lnTo>
                    <a:pt x="90" y="52"/>
                  </a:lnTo>
                  <a:lnTo>
                    <a:pt x="80" y="53"/>
                  </a:lnTo>
                  <a:lnTo>
                    <a:pt x="40" y="38"/>
                  </a:lnTo>
                  <a:lnTo>
                    <a:pt x="25" y="24"/>
                  </a:lnTo>
                  <a:lnTo>
                    <a:pt x="25" y="15"/>
                  </a:lnTo>
                  <a:lnTo>
                    <a:pt x="28" y="7"/>
                  </a:lnTo>
                  <a:lnTo>
                    <a:pt x="30" y="6"/>
                  </a:lnTo>
                  <a:lnTo>
                    <a:pt x="46" y="21"/>
                  </a:lnTo>
                  <a:lnTo>
                    <a:pt x="52" y="21"/>
                  </a:lnTo>
                  <a:lnTo>
                    <a:pt x="62" y="15"/>
                  </a:lnTo>
                  <a:lnTo>
                    <a:pt x="73" y="16"/>
                  </a:lnTo>
                  <a:lnTo>
                    <a:pt x="81" y="12"/>
                  </a:lnTo>
                  <a:lnTo>
                    <a:pt x="107" y="7"/>
                  </a:lnTo>
                  <a:lnTo>
                    <a:pt x="118" y="6"/>
                  </a:lnTo>
                  <a:lnTo>
                    <a:pt x="12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09" name="Senegal">
              <a:extLst>
                <a:ext uri="{FF2B5EF4-FFF2-40B4-BE49-F238E27FC236}">
                  <a16:creationId xmlns:a16="http://schemas.microsoft.com/office/drawing/2014/main" id="{8BC327BC-2E3D-6D29-A925-C5FFE7749629}"/>
                </a:ext>
              </a:extLst>
            </p:cNvPr>
            <p:cNvSpPr>
              <a:spLocks/>
            </p:cNvSpPr>
            <p:nvPr/>
          </p:nvSpPr>
          <p:spPr bwMode="auto">
            <a:xfrm>
              <a:off x="5412028" y="4189854"/>
              <a:ext cx="149986" cy="106617"/>
            </a:xfrm>
            <a:custGeom>
              <a:avLst/>
              <a:gdLst>
                <a:gd name="T0" fmla="*/ 39 w 83"/>
                <a:gd name="T1" fmla="*/ 0 h 59"/>
                <a:gd name="T2" fmla="*/ 43 w 83"/>
                <a:gd name="T3" fmla="*/ 0 h 59"/>
                <a:gd name="T4" fmla="*/ 50 w 83"/>
                <a:gd name="T5" fmla="*/ 8 h 59"/>
                <a:gd name="T6" fmla="*/ 55 w 83"/>
                <a:gd name="T7" fmla="*/ 8 h 59"/>
                <a:gd name="T8" fmla="*/ 62 w 83"/>
                <a:gd name="T9" fmla="*/ 19 h 59"/>
                <a:gd name="T10" fmla="*/ 73 w 83"/>
                <a:gd name="T11" fmla="*/ 25 h 59"/>
                <a:gd name="T12" fmla="*/ 76 w 83"/>
                <a:gd name="T13" fmla="*/ 37 h 59"/>
                <a:gd name="T14" fmla="*/ 74 w 83"/>
                <a:gd name="T15" fmla="*/ 42 h 59"/>
                <a:gd name="T16" fmla="*/ 83 w 83"/>
                <a:gd name="T17" fmla="*/ 51 h 59"/>
                <a:gd name="T18" fmla="*/ 83 w 83"/>
                <a:gd name="T19" fmla="*/ 58 h 59"/>
                <a:gd name="T20" fmla="*/ 80 w 83"/>
                <a:gd name="T21" fmla="*/ 58 h 59"/>
                <a:gd name="T22" fmla="*/ 76 w 83"/>
                <a:gd name="T23" fmla="*/ 59 h 59"/>
                <a:gd name="T24" fmla="*/ 70 w 83"/>
                <a:gd name="T25" fmla="*/ 59 h 59"/>
                <a:gd name="T26" fmla="*/ 50 w 83"/>
                <a:gd name="T27" fmla="*/ 55 h 59"/>
                <a:gd name="T28" fmla="*/ 33 w 83"/>
                <a:gd name="T29" fmla="*/ 55 h 59"/>
                <a:gd name="T30" fmla="*/ 25 w 83"/>
                <a:gd name="T31" fmla="*/ 58 h 59"/>
                <a:gd name="T32" fmla="*/ 10 w 83"/>
                <a:gd name="T33" fmla="*/ 58 h 59"/>
                <a:gd name="T34" fmla="*/ 10 w 83"/>
                <a:gd name="T35" fmla="*/ 49 h 59"/>
                <a:gd name="T36" fmla="*/ 22 w 83"/>
                <a:gd name="T37" fmla="*/ 46 h 59"/>
                <a:gd name="T38" fmla="*/ 33 w 83"/>
                <a:gd name="T39" fmla="*/ 42 h 59"/>
                <a:gd name="T40" fmla="*/ 46 w 83"/>
                <a:gd name="T41" fmla="*/ 46 h 59"/>
                <a:gd name="T42" fmla="*/ 49 w 83"/>
                <a:gd name="T43" fmla="*/ 45 h 59"/>
                <a:gd name="T44" fmla="*/ 49 w 83"/>
                <a:gd name="T45" fmla="*/ 43 h 59"/>
                <a:gd name="T46" fmla="*/ 43 w 83"/>
                <a:gd name="T47" fmla="*/ 45 h 59"/>
                <a:gd name="T48" fmla="*/ 34 w 83"/>
                <a:gd name="T49" fmla="*/ 40 h 59"/>
                <a:gd name="T50" fmla="*/ 27 w 83"/>
                <a:gd name="T51" fmla="*/ 43 h 59"/>
                <a:gd name="T52" fmla="*/ 13 w 83"/>
                <a:gd name="T53" fmla="*/ 43 h 59"/>
                <a:gd name="T54" fmla="*/ 13 w 83"/>
                <a:gd name="T55" fmla="*/ 42 h 59"/>
                <a:gd name="T56" fmla="*/ 3 w 83"/>
                <a:gd name="T57" fmla="*/ 28 h 59"/>
                <a:gd name="T58" fmla="*/ 0 w 83"/>
                <a:gd name="T59" fmla="*/ 27 h 59"/>
                <a:gd name="T60" fmla="*/ 0 w 83"/>
                <a:gd name="T61" fmla="*/ 25 h 59"/>
                <a:gd name="T62" fmla="*/ 9 w 83"/>
                <a:gd name="T63" fmla="*/ 21 h 59"/>
                <a:gd name="T64" fmla="*/ 13 w 83"/>
                <a:gd name="T65" fmla="*/ 13 h 59"/>
                <a:gd name="T66" fmla="*/ 13 w 83"/>
                <a:gd name="T67" fmla="*/ 8 h 59"/>
                <a:gd name="T68" fmla="*/ 16 w 83"/>
                <a:gd name="T69" fmla="*/ 3 h 59"/>
                <a:gd name="T70" fmla="*/ 16 w 83"/>
                <a:gd name="T71" fmla="*/ 2 h 59"/>
                <a:gd name="T72" fmla="*/ 30 w 83"/>
                <a:gd name="T73" fmla="*/ 2 h 59"/>
                <a:gd name="T74" fmla="*/ 39 w 83"/>
                <a:gd name="T7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59">
                  <a:moveTo>
                    <a:pt x="39" y="0"/>
                  </a:moveTo>
                  <a:lnTo>
                    <a:pt x="43" y="0"/>
                  </a:lnTo>
                  <a:lnTo>
                    <a:pt x="50" y="8"/>
                  </a:lnTo>
                  <a:lnTo>
                    <a:pt x="55" y="8"/>
                  </a:lnTo>
                  <a:lnTo>
                    <a:pt x="62" y="19"/>
                  </a:lnTo>
                  <a:lnTo>
                    <a:pt x="73" y="25"/>
                  </a:lnTo>
                  <a:lnTo>
                    <a:pt x="76" y="37"/>
                  </a:lnTo>
                  <a:lnTo>
                    <a:pt x="74" y="42"/>
                  </a:lnTo>
                  <a:lnTo>
                    <a:pt x="83" y="51"/>
                  </a:lnTo>
                  <a:lnTo>
                    <a:pt x="83" y="58"/>
                  </a:lnTo>
                  <a:lnTo>
                    <a:pt x="80" y="58"/>
                  </a:lnTo>
                  <a:lnTo>
                    <a:pt x="76" y="59"/>
                  </a:lnTo>
                  <a:lnTo>
                    <a:pt x="70" y="59"/>
                  </a:lnTo>
                  <a:lnTo>
                    <a:pt x="50" y="55"/>
                  </a:lnTo>
                  <a:lnTo>
                    <a:pt x="33" y="55"/>
                  </a:lnTo>
                  <a:lnTo>
                    <a:pt x="25" y="58"/>
                  </a:lnTo>
                  <a:lnTo>
                    <a:pt x="10" y="58"/>
                  </a:lnTo>
                  <a:lnTo>
                    <a:pt x="10" y="49"/>
                  </a:lnTo>
                  <a:lnTo>
                    <a:pt x="22" y="46"/>
                  </a:lnTo>
                  <a:lnTo>
                    <a:pt x="33" y="42"/>
                  </a:lnTo>
                  <a:lnTo>
                    <a:pt x="46" y="46"/>
                  </a:lnTo>
                  <a:lnTo>
                    <a:pt x="49" y="45"/>
                  </a:lnTo>
                  <a:lnTo>
                    <a:pt x="49" y="43"/>
                  </a:lnTo>
                  <a:lnTo>
                    <a:pt x="43" y="45"/>
                  </a:lnTo>
                  <a:lnTo>
                    <a:pt x="34" y="40"/>
                  </a:lnTo>
                  <a:lnTo>
                    <a:pt x="27" y="43"/>
                  </a:lnTo>
                  <a:lnTo>
                    <a:pt x="13" y="43"/>
                  </a:lnTo>
                  <a:lnTo>
                    <a:pt x="13" y="42"/>
                  </a:lnTo>
                  <a:lnTo>
                    <a:pt x="3" y="28"/>
                  </a:lnTo>
                  <a:lnTo>
                    <a:pt x="0" y="27"/>
                  </a:lnTo>
                  <a:lnTo>
                    <a:pt x="0" y="25"/>
                  </a:lnTo>
                  <a:lnTo>
                    <a:pt x="9" y="21"/>
                  </a:lnTo>
                  <a:lnTo>
                    <a:pt x="13" y="13"/>
                  </a:lnTo>
                  <a:lnTo>
                    <a:pt x="13" y="8"/>
                  </a:lnTo>
                  <a:lnTo>
                    <a:pt x="16" y="3"/>
                  </a:lnTo>
                  <a:lnTo>
                    <a:pt x="16" y="2"/>
                  </a:lnTo>
                  <a:lnTo>
                    <a:pt x="30" y="2"/>
                  </a:lnTo>
                  <a:lnTo>
                    <a:pt x="3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0" name="Sierra Leone">
              <a:extLst>
                <a:ext uri="{FF2B5EF4-FFF2-40B4-BE49-F238E27FC236}">
                  <a16:creationId xmlns:a16="http://schemas.microsoft.com/office/drawing/2014/main" id="{4470752A-BF8E-7F7F-B8CC-FD65064E84D3}"/>
                </a:ext>
              </a:extLst>
            </p:cNvPr>
            <p:cNvSpPr>
              <a:spLocks/>
            </p:cNvSpPr>
            <p:nvPr/>
          </p:nvSpPr>
          <p:spPr bwMode="auto">
            <a:xfrm>
              <a:off x="5513223" y="4354296"/>
              <a:ext cx="72283" cy="72283"/>
            </a:xfrm>
            <a:custGeom>
              <a:avLst/>
              <a:gdLst>
                <a:gd name="T0" fmla="*/ 12 w 40"/>
                <a:gd name="T1" fmla="*/ 0 h 40"/>
                <a:gd name="T2" fmla="*/ 29 w 40"/>
                <a:gd name="T3" fmla="*/ 0 h 40"/>
                <a:gd name="T4" fmla="*/ 37 w 40"/>
                <a:gd name="T5" fmla="*/ 13 h 40"/>
                <a:gd name="T6" fmla="*/ 34 w 40"/>
                <a:gd name="T7" fmla="*/ 20 h 40"/>
                <a:gd name="T8" fmla="*/ 39 w 40"/>
                <a:gd name="T9" fmla="*/ 19 h 40"/>
                <a:gd name="T10" fmla="*/ 40 w 40"/>
                <a:gd name="T11" fmla="*/ 19 h 40"/>
                <a:gd name="T12" fmla="*/ 40 w 40"/>
                <a:gd name="T13" fmla="*/ 23 h 40"/>
                <a:gd name="T14" fmla="*/ 37 w 40"/>
                <a:gd name="T15" fmla="*/ 25 h 40"/>
                <a:gd name="T16" fmla="*/ 37 w 40"/>
                <a:gd name="T17" fmla="*/ 29 h 40"/>
                <a:gd name="T18" fmla="*/ 36 w 40"/>
                <a:gd name="T19" fmla="*/ 29 h 40"/>
                <a:gd name="T20" fmla="*/ 24 w 40"/>
                <a:gd name="T21" fmla="*/ 40 h 40"/>
                <a:gd name="T22" fmla="*/ 12 w 40"/>
                <a:gd name="T23" fmla="*/ 34 h 40"/>
                <a:gd name="T24" fmla="*/ 0 w 40"/>
                <a:gd name="T25" fmla="*/ 22 h 40"/>
                <a:gd name="T26" fmla="*/ 0 w 40"/>
                <a:gd name="T27" fmla="*/ 20 h 40"/>
                <a:gd name="T28" fmla="*/ 2 w 40"/>
                <a:gd name="T29" fmla="*/ 20 h 40"/>
                <a:gd name="T30" fmla="*/ 3 w 40"/>
                <a:gd name="T31" fmla="*/ 19 h 40"/>
                <a:gd name="T32" fmla="*/ 0 w 40"/>
                <a:gd name="T33" fmla="*/ 11 h 40"/>
                <a:gd name="T34" fmla="*/ 0 w 40"/>
                <a:gd name="T35" fmla="*/ 10 h 40"/>
                <a:gd name="T36" fmla="*/ 3 w 40"/>
                <a:gd name="T37" fmla="*/ 10 h 40"/>
                <a:gd name="T38" fmla="*/ 12 w 40"/>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12" y="0"/>
                  </a:moveTo>
                  <a:lnTo>
                    <a:pt x="29" y="0"/>
                  </a:lnTo>
                  <a:lnTo>
                    <a:pt x="37" y="13"/>
                  </a:lnTo>
                  <a:lnTo>
                    <a:pt x="34" y="20"/>
                  </a:lnTo>
                  <a:lnTo>
                    <a:pt x="39" y="19"/>
                  </a:lnTo>
                  <a:lnTo>
                    <a:pt x="40" y="19"/>
                  </a:lnTo>
                  <a:lnTo>
                    <a:pt x="40" y="23"/>
                  </a:lnTo>
                  <a:lnTo>
                    <a:pt x="37" y="25"/>
                  </a:lnTo>
                  <a:lnTo>
                    <a:pt x="37" y="29"/>
                  </a:lnTo>
                  <a:lnTo>
                    <a:pt x="36" y="29"/>
                  </a:lnTo>
                  <a:lnTo>
                    <a:pt x="24" y="40"/>
                  </a:lnTo>
                  <a:lnTo>
                    <a:pt x="12" y="34"/>
                  </a:lnTo>
                  <a:lnTo>
                    <a:pt x="0" y="22"/>
                  </a:lnTo>
                  <a:lnTo>
                    <a:pt x="0" y="20"/>
                  </a:lnTo>
                  <a:lnTo>
                    <a:pt x="2" y="20"/>
                  </a:lnTo>
                  <a:lnTo>
                    <a:pt x="3" y="19"/>
                  </a:lnTo>
                  <a:lnTo>
                    <a:pt x="0" y="11"/>
                  </a:lnTo>
                  <a:lnTo>
                    <a:pt x="0" y="10"/>
                  </a:lnTo>
                  <a:lnTo>
                    <a:pt x="3" y="10"/>
                  </a:lnTo>
                  <a:lnTo>
                    <a:pt x="1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1" name="Rwanda">
              <a:extLst>
                <a:ext uri="{FF2B5EF4-FFF2-40B4-BE49-F238E27FC236}">
                  <a16:creationId xmlns:a16="http://schemas.microsoft.com/office/drawing/2014/main" id="{54EE978B-47AB-AB95-6E3E-7EE165B0F3A2}"/>
                </a:ext>
              </a:extLst>
            </p:cNvPr>
            <p:cNvSpPr>
              <a:spLocks/>
            </p:cNvSpPr>
            <p:nvPr/>
          </p:nvSpPr>
          <p:spPr bwMode="auto">
            <a:xfrm>
              <a:off x="6510721" y="4610898"/>
              <a:ext cx="46983" cy="43369"/>
            </a:xfrm>
            <a:custGeom>
              <a:avLst/>
              <a:gdLst>
                <a:gd name="T0" fmla="*/ 21 w 26"/>
                <a:gd name="T1" fmla="*/ 0 h 24"/>
                <a:gd name="T2" fmla="*/ 21 w 26"/>
                <a:gd name="T3" fmla="*/ 1 h 24"/>
                <a:gd name="T4" fmla="*/ 26 w 26"/>
                <a:gd name="T5" fmla="*/ 13 h 24"/>
                <a:gd name="T6" fmla="*/ 23 w 26"/>
                <a:gd name="T7" fmla="*/ 19 h 24"/>
                <a:gd name="T8" fmla="*/ 15 w 26"/>
                <a:gd name="T9" fmla="*/ 19 h 24"/>
                <a:gd name="T10" fmla="*/ 13 w 26"/>
                <a:gd name="T11" fmla="*/ 24 h 24"/>
                <a:gd name="T12" fmla="*/ 7 w 26"/>
                <a:gd name="T13" fmla="*/ 24 h 24"/>
                <a:gd name="T14" fmla="*/ 4 w 26"/>
                <a:gd name="T15" fmla="*/ 21 h 24"/>
                <a:gd name="T16" fmla="*/ 4 w 26"/>
                <a:gd name="T17" fmla="*/ 24 h 24"/>
                <a:gd name="T18" fmla="*/ 3 w 26"/>
                <a:gd name="T19" fmla="*/ 24 h 24"/>
                <a:gd name="T20" fmla="*/ 0 w 26"/>
                <a:gd name="T21" fmla="*/ 19 h 24"/>
                <a:gd name="T22" fmla="*/ 0 w 26"/>
                <a:gd name="T23" fmla="*/ 18 h 24"/>
                <a:gd name="T24" fmla="*/ 10 w 26"/>
                <a:gd name="T25" fmla="*/ 4 h 24"/>
                <a:gd name="T26" fmla="*/ 10 w 26"/>
                <a:gd name="T27" fmla="*/ 3 h 24"/>
                <a:gd name="T28" fmla="*/ 13 w 26"/>
                <a:gd name="T29" fmla="*/ 4 h 24"/>
                <a:gd name="T30" fmla="*/ 15 w 26"/>
                <a:gd name="T31" fmla="*/ 4 h 24"/>
                <a:gd name="T32" fmla="*/ 21 w 26"/>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4">
                  <a:moveTo>
                    <a:pt x="21" y="0"/>
                  </a:moveTo>
                  <a:lnTo>
                    <a:pt x="21" y="1"/>
                  </a:lnTo>
                  <a:lnTo>
                    <a:pt x="26" y="13"/>
                  </a:lnTo>
                  <a:lnTo>
                    <a:pt x="23" y="19"/>
                  </a:lnTo>
                  <a:lnTo>
                    <a:pt x="15" y="19"/>
                  </a:lnTo>
                  <a:lnTo>
                    <a:pt x="13" y="24"/>
                  </a:lnTo>
                  <a:lnTo>
                    <a:pt x="7" y="24"/>
                  </a:lnTo>
                  <a:lnTo>
                    <a:pt x="4" y="21"/>
                  </a:lnTo>
                  <a:lnTo>
                    <a:pt x="4" y="24"/>
                  </a:lnTo>
                  <a:lnTo>
                    <a:pt x="3" y="24"/>
                  </a:lnTo>
                  <a:lnTo>
                    <a:pt x="0" y="19"/>
                  </a:lnTo>
                  <a:lnTo>
                    <a:pt x="0" y="18"/>
                  </a:lnTo>
                  <a:lnTo>
                    <a:pt x="10" y="4"/>
                  </a:lnTo>
                  <a:lnTo>
                    <a:pt x="10" y="3"/>
                  </a:lnTo>
                  <a:lnTo>
                    <a:pt x="13" y="4"/>
                  </a:lnTo>
                  <a:lnTo>
                    <a:pt x="15" y="4"/>
                  </a:lnTo>
                  <a:lnTo>
                    <a:pt x="2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2" name="Nigeria">
              <a:extLst>
                <a:ext uri="{FF2B5EF4-FFF2-40B4-BE49-F238E27FC236}">
                  <a16:creationId xmlns:a16="http://schemas.microsoft.com/office/drawing/2014/main" id="{1B2C7B49-8082-8095-DF0A-E222DB7C138F}"/>
                </a:ext>
              </a:extLst>
            </p:cNvPr>
            <p:cNvSpPr>
              <a:spLocks/>
            </p:cNvSpPr>
            <p:nvPr/>
          </p:nvSpPr>
          <p:spPr bwMode="auto">
            <a:xfrm>
              <a:off x="5890898" y="4260329"/>
              <a:ext cx="276481" cy="233112"/>
            </a:xfrm>
            <a:custGeom>
              <a:avLst/>
              <a:gdLst>
                <a:gd name="T0" fmla="*/ 36 w 153"/>
                <a:gd name="T1" fmla="*/ 0 h 129"/>
                <a:gd name="T2" fmla="*/ 39 w 153"/>
                <a:gd name="T3" fmla="*/ 0 h 129"/>
                <a:gd name="T4" fmla="*/ 55 w 153"/>
                <a:gd name="T5" fmla="*/ 12 h 129"/>
                <a:gd name="T6" fmla="*/ 69 w 153"/>
                <a:gd name="T7" fmla="*/ 6 h 129"/>
                <a:gd name="T8" fmla="*/ 77 w 153"/>
                <a:gd name="T9" fmla="*/ 12 h 129"/>
                <a:gd name="T10" fmla="*/ 86 w 153"/>
                <a:gd name="T11" fmla="*/ 15 h 129"/>
                <a:gd name="T12" fmla="*/ 98 w 153"/>
                <a:gd name="T13" fmla="*/ 6 h 129"/>
                <a:gd name="T14" fmla="*/ 116 w 153"/>
                <a:gd name="T15" fmla="*/ 6 h 129"/>
                <a:gd name="T16" fmla="*/ 125 w 153"/>
                <a:gd name="T17" fmla="*/ 9 h 129"/>
                <a:gd name="T18" fmla="*/ 134 w 153"/>
                <a:gd name="T19" fmla="*/ 3 h 129"/>
                <a:gd name="T20" fmla="*/ 135 w 153"/>
                <a:gd name="T21" fmla="*/ 0 h 129"/>
                <a:gd name="T22" fmla="*/ 150 w 153"/>
                <a:gd name="T23" fmla="*/ 17 h 129"/>
                <a:gd name="T24" fmla="*/ 153 w 153"/>
                <a:gd name="T25" fmla="*/ 22 h 129"/>
                <a:gd name="T26" fmla="*/ 153 w 153"/>
                <a:gd name="T27" fmla="*/ 29 h 129"/>
                <a:gd name="T28" fmla="*/ 141 w 153"/>
                <a:gd name="T29" fmla="*/ 40 h 129"/>
                <a:gd name="T30" fmla="*/ 132 w 153"/>
                <a:gd name="T31" fmla="*/ 66 h 129"/>
                <a:gd name="T32" fmla="*/ 125 w 153"/>
                <a:gd name="T33" fmla="*/ 72 h 129"/>
                <a:gd name="T34" fmla="*/ 115 w 153"/>
                <a:gd name="T35" fmla="*/ 96 h 129"/>
                <a:gd name="T36" fmla="*/ 115 w 153"/>
                <a:gd name="T37" fmla="*/ 98 h 129"/>
                <a:gd name="T38" fmla="*/ 109 w 153"/>
                <a:gd name="T39" fmla="*/ 99 h 129"/>
                <a:gd name="T40" fmla="*/ 109 w 153"/>
                <a:gd name="T41" fmla="*/ 98 h 129"/>
                <a:gd name="T42" fmla="*/ 103 w 153"/>
                <a:gd name="T43" fmla="*/ 93 h 129"/>
                <a:gd name="T44" fmla="*/ 89 w 153"/>
                <a:gd name="T45" fmla="*/ 93 h 129"/>
                <a:gd name="T46" fmla="*/ 80 w 153"/>
                <a:gd name="T47" fmla="*/ 106 h 129"/>
                <a:gd name="T48" fmla="*/ 76 w 153"/>
                <a:gd name="T49" fmla="*/ 121 h 129"/>
                <a:gd name="T50" fmla="*/ 74 w 153"/>
                <a:gd name="T51" fmla="*/ 121 h 129"/>
                <a:gd name="T52" fmla="*/ 73 w 153"/>
                <a:gd name="T53" fmla="*/ 120 h 129"/>
                <a:gd name="T54" fmla="*/ 72 w 153"/>
                <a:gd name="T55" fmla="*/ 124 h 129"/>
                <a:gd name="T56" fmla="*/ 64 w 153"/>
                <a:gd name="T57" fmla="*/ 124 h 129"/>
                <a:gd name="T58" fmla="*/ 61 w 153"/>
                <a:gd name="T59" fmla="*/ 123 h 129"/>
                <a:gd name="T60" fmla="*/ 58 w 153"/>
                <a:gd name="T61" fmla="*/ 123 h 129"/>
                <a:gd name="T62" fmla="*/ 55 w 153"/>
                <a:gd name="T63" fmla="*/ 126 h 129"/>
                <a:gd name="T64" fmla="*/ 46 w 153"/>
                <a:gd name="T65" fmla="*/ 129 h 129"/>
                <a:gd name="T66" fmla="*/ 36 w 153"/>
                <a:gd name="T67" fmla="*/ 120 h 129"/>
                <a:gd name="T68" fmla="*/ 36 w 153"/>
                <a:gd name="T69" fmla="*/ 112 h 129"/>
                <a:gd name="T70" fmla="*/ 27 w 153"/>
                <a:gd name="T71" fmla="*/ 103 h 129"/>
                <a:gd name="T72" fmla="*/ 20 w 153"/>
                <a:gd name="T73" fmla="*/ 99 h 129"/>
                <a:gd name="T74" fmla="*/ 12 w 153"/>
                <a:gd name="T75" fmla="*/ 99 h 129"/>
                <a:gd name="T76" fmla="*/ 9 w 153"/>
                <a:gd name="T77" fmla="*/ 101 h 129"/>
                <a:gd name="T78" fmla="*/ 0 w 153"/>
                <a:gd name="T79" fmla="*/ 101 h 129"/>
                <a:gd name="T80" fmla="*/ 0 w 153"/>
                <a:gd name="T81" fmla="*/ 71 h 129"/>
                <a:gd name="T82" fmla="*/ 6 w 153"/>
                <a:gd name="T83" fmla="*/ 56 h 129"/>
                <a:gd name="T84" fmla="*/ 11 w 153"/>
                <a:gd name="T85" fmla="*/ 52 h 129"/>
                <a:gd name="T86" fmla="*/ 11 w 153"/>
                <a:gd name="T87" fmla="*/ 46 h 129"/>
                <a:gd name="T88" fmla="*/ 12 w 153"/>
                <a:gd name="T89" fmla="*/ 44 h 129"/>
                <a:gd name="T90" fmla="*/ 12 w 153"/>
                <a:gd name="T91" fmla="*/ 37 h 129"/>
                <a:gd name="T92" fmla="*/ 9 w 153"/>
                <a:gd name="T93" fmla="*/ 34 h 129"/>
                <a:gd name="T94" fmla="*/ 9 w 153"/>
                <a:gd name="T95" fmla="*/ 32 h 129"/>
                <a:gd name="T96" fmla="*/ 11 w 153"/>
                <a:gd name="T97" fmla="*/ 29 h 129"/>
                <a:gd name="T98" fmla="*/ 11 w 153"/>
                <a:gd name="T99" fmla="*/ 19 h 129"/>
                <a:gd name="T100" fmla="*/ 15 w 153"/>
                <a:gd name="T101" fmla="*/ 13 h 129"/>
                <a:gd name="T102" fmla="*/ 18 w 153"/>
                <a:gd name="T103" fmla="*/ 6 h 129"/>
                <a:gd name="T104" fmla="*/ 29 w 153"/>
                <a:gd name="T105" fmla="*/ 1 h 129"/>
                <a:gd name="T106" fmla="*/ 32 w 153"/>
                <a:gd name="T107" fmla="*/ 1 h 129"/>
                <a:gd name="T108" fmla="*/ 36 w 153"/>
                <a:gd name="T10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 h="129">
                  <a:moveTo>
                    <a:pt x="36" y="0"/>
                  </a:moveTo>
                  <a:lnTo>
                    <a:pt x="39" y="0"/>
                  </a:lnTo>
                  <a:lnTo>
                    <a:pt x="55" y="12"/>
                  </a:lnTo>
                  <a:lnTo>
                    <a:pt x="69" y="6"/>
                  </a:lnTo>
                  <a:lnTo>
                    <a:pt x="77" y="12"/>
                  </a:lnTo>
                  <a:lnTo>
                    <a:pt x="86" y="15"/>
                  </a:lnTo>
                  <a:lnTo>
                    <a:pt x="98" y="6"/>
                  </a:lnTo>
                  <a:lnTo>
                    <a:pt x="116" y="6"/>
                  </a:lnTo>
                  <a:lnTo>
                    <a:pt x="125" y="9"/>
                  </a:lnTo>
                  <a:lnTo>
                    <a:pt x="134" y="3"/>
                  </a:lnTo>
                  <a:lnTo>
                    <a:pt x="135" y="0"/>
                  </a:lnTo>
                  <a:lnTo>
                    <a:pt x="150" y="17"/>
                  </a:lnTo>
                  <a:lnTo>
                    <a:pt x="153" y="22"/>
                  </a:lnTo>
                  <a:lnTo>
                    <a:pt x="153" y="29"/>
                  </a:lnTo>
                  <a:lnTo>
                    <a:pt x="141" y="40"/>
                  </a:lnTo>
                  <a:lnTo>
                    <a:pt x="132" y="66"/>
                  </a:lnTo>
                  <a:lnTo>
                    <a:pt x="125" y="72"/>
                  </a:lnTo>
                  <a:lnTo>
                    <a:pt x="115" y="96"/>
                  </a:lnTo>
                  <a:lnTo>
                    <a:pt x="115" y="98"/>
                  </a:lnTo>
                  <a:lnTo>
                    <a:pt x="109" y="99"/>
                  </a:lnTo>
                  <a:lnTo>
                    <a:pt x="109" y="98"/>
                  </a:lnTo>
                  <a:lnTo>
                    <a:pt x="103" y="93"/>
                  </a:lnTo>
                  <a:lnTo>
                    <a:pt x="89" y="93"/>
                  </a:lnTo>
                  <a:lnTo>
                    <a:pt x="80" y="106"/>
                  </a:lnTo>
                  <a:lnTo>
                    <a:pt x="76" y="121"/>
                  </a:lnTo>
                  <a:lnTo>
                    <a:pt x="74" y="121"/>
                  </a:lnTo>
                  <a:lnTo>
                    <a:pt x="73" y="120"/>
                  </a:lnTo>
                  <a:lnTo>
                    <a:pt x="72" y="124"/>
                  </a:lnTo>
                  <a:lnTo>
                    <a:pt x="64" y="124"/>
                  </a:lnTo>
                  <a:lnTo>
                    <a:pt x="61" y="123"/>
                  </a:lnTo>
                  <a:lnTo>
                    <a:pt x="58" y="123"/>
                  </a:lnTo>
                  <a:lnTo>
                    <a:pt x="55" y="126"/>
                  </a:lnTo>
                  <a:lnTo>
                    <a:pt x="46" y="129"/>
                  </a:lnTo>
                  <a:lnTo>
                    <a:pt x="36" y="120"/>
                  </a:lnTo>
                  <a:lnTo>
                    <a:pt x="36" y="112"/>
                  </a:lnTo>
                  <a:lnTo>
                    <a:pt x="27" y="103"/>
                  </a:lnTo>
                  <a:lnTo>
                    <a:pt x="20" y="99"/>
                  </a:lnTo>
                  <a:lnTo>
                    <a:pt x="12" y="99"/>
                  </a:lnTo>
                  <a:lnTo>
                    <a:pt x="9" y="101"/>
                  </a:lnTo>
                  <a:lnTo>
                    <a:pt x="0" y="101"/>
                  </a:lnTo>
                  <a:lnTo>
                    <a:pt x="0" y="71"/>
                  </a:lnTo>
                  <a:lnTo>
                    <a:pt x="6" y="56"/>
                  </a:lnTo>
                  <a:lnTo>
                    <a:pt x="11" y="52"/>
                  </a:lnTo>
                  <a:lnTo>
                    <a:pt x="11" y="46"/>
                  </a:lnTo>
                  <a:lnTo>
                    <a:pt x="12" y="44"/>
                  </a:lnTo>
                  <a:lnTo>
                    <a:pt x="12" y="37"/>
                  </a:lnTo>
                  <a:lnTo>
                    <a:pt x="9" y="34"/>
                  </a:lnTo>
                  <a:lnTo>
                    <a:pt x="9" y="32"/>
                  </a:lnTo>
                  <a:lnTo>
                    <a:pt x="11" y="29"/>
                  </a:lnTo>
                  <a:lnTo>
                    <a:pt x="11" y="19"/>
                  </a:lnTo>
                  <a:lnTo>
                    <a:pt x="15" y="13"/>
                  </a:lnTo>
                  <a:lnTo>
                    <a:pt x="18" y="6"/>
                  </a:lnTo>
                  <a:lnTo>
                    <a:pt x="29" y="1"/>
                  </a:lnTo>
                  <a:lnTo>
                    <a:pt x="32" y="1"/>
                  </a:lnTo>
                  <a:lnTo>
                    <a:pt x="3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3" name="Niger">
              <a:extLst>
                <a:ext uri="{FF2B5EF4-FFF2-40B4-BE49-F238E27FC236}">
                  <a16:creationId xmlns:a16="http://schemas.microsoft.com/office/drawing/2014/main" id="{DA0A8496-4A22-0815-AD29-266E4A39701D}"/>
                </a:ext>
              </a:extLst>
            </p:cNvPr>
            <p:cNvSpPr>
              <a:spLocks/>
            </p:cNvSpPr>
            <p:nvPr/>
          </p:nvSpPr>
          <p:spPr bwMode="auto">
            <a:xfrm>
              <a:off x="5827652" y="4021797"/>
              <a:ext cx="379483" cy="290938"/>
            </a:xfrm>
            <a:custGeom>
              <a:avLst/>
              <a:gdLst>
                <a:gd name="T0" fmla="*/ 152 w 210"/>
                <a:gd name="T1" fmla="*/ 0 h 161"/>
                <a:gd name="T2" fmla="*/ 181 w 210"/>
                <a:gd name="T3" fmla="*/ 0 h 161"/>
                <a:gd name="T4" fmla="*/ 192 w 210"/>
                <a:gd name="T5" fmla="*/ 7 h 161"/>
                <a:gd name="T6" fmla="*/ 195 w 210"/>
                <a:gd name="T7" fmla="*/ 6 h 161"/>
                <a:gd name="T8" fmla="*/ 197 w 210"/>
                <a:gd name="T9" fmla="*/ 6 h 161"/>
                <a:gd name="T10" fmla="*/ 197 w 210"/>
                <a:gd name="T11" fmla="*/ 28 h 161"/>
                <a:gd name="T12" fmla="*/ 201 w 210"/>
                <a:gd name="T13" fmla="*/ 35 h 161"/>
                <a:gd name="T14" fmla="*/ 209 w 210"/>
                <a:gd name="T15" fmla="*/ 41 h 161"/>
                <a:gd name="T16" fmla="*/ 210 w 210"/>
                <a:gd name="T17" fmla="*/ 41 h 161"/>
                <a:gd name="T18" fmla="*/ 210 w 210"/>
                <a:gd name="T19" fmla="*/ 43 h 161"/>
                <a:gd name="T20" fmla="*/ 209 w 210"/>
                <a:gd name="T21" fmla="*/ 43 h 161"/>
                <a:gd name="T22" fmla="*/ 206 w 210"/>
                <a:gd name="T23" fmla="*/ 49 h 161"/>
                <a:gd name="T24" fmla="*/ 203 w 210"/>
                <a:gd name="T25" fmla="*/ 68 h 161"/>
                <a:gd name="T26" fmla="*/ 201 w 210"/>
                <a:gd name="T27" fmla="*/ 90 h 161"/>
                <a:gd name="T28" fmla="*/ 178 w 210"/>
                <a:gd name="T29" fmla="*/ 115 h 161"/>
                <a:gd name="T30" fmla="*/ 175 w 210"/>
                <a:gd name="T31" fmla="*/ 124 h 161"/>
                <a:gd name="T32" fmla="*/ 178 w 210"/>
                <a:gd name="T33" fmla="*/ 124 h 161"/>
                <a:gd name="T34" fmla="*/ 178 w 210"/>
                <a:gd name="T35" fmla="*/ 126 h 161"/>
                <a:gd name="T36" fmla="*/ 170 w 210"/>
                <a:gd name="T37" fmla="*/ 126 h 161"/>
                <a:gd name="T38" fmla="*/ 170 w 210"/>
                <a:gd name="T39" fmla="*/ 136 h 161"/>
                <a:gd name="T40" fmla="*/ 161 w 210"/>
                <a:gd name="T41" fmla="*/ 142 h 161"/>
                <a:gd name="T42" fmla="*/ 160 w 210"/>
                <a:gd name="T43" fmla="*/ 142 h 161"/>
                <a:gd name="T44" fmla="*/ 151 w 210"/>
                <a:gd name="T45" fmla="*/ 139 h 161"/>
                <a:gd name="T46" fmla="*/ 135 w 210"/>
                <a:gd name="T47" fmla="*/ 139 h 161"/>
                <a:gd name="T48" fmla="*/ 121 w 210"/>
                <a:gd name="T49" fmla="*/ 148 h 161"/>
                <a:gd name="T50" fmla="*/ 112 w 210"/>
                <a:gd name="T51" fmla="*/ 145 h 161"/>
                <a:gd name="T52" fmla="*/ 104 w 210"/>
                <a:gd name="T53" fmla="*/ 139 h 161"/>
                <a:gd name="T54" fmla="*/ 90 w 210"/>
                <a:gd name="T55" fmla="*/ 145 h 161"/>
                <a:gd name="T56" fmla="*/ 74 w 210"/>
                <a:gd name="T57" fmla="*/ 133 h 161"/>
                <a:gd name="T58" fmla="*/ 64 w 210"/>
                <a:gd name="T59" fmla="*/ 135 h 161"/>
                <a:gd name="T60" fmla="*/ 55 w 210"/>
                <a:gd name="T61" fmla="*/ 138 h 161"/>
                <a:gd name="T62" fmla="*/ 52 w 210"/>
                <a:gd name="T63" fmla="*/ 145 h 161"/>
                <a:gd name="T64" fmla="*/ 47 w 210"/>
                <a:gd name="T65" fmla="*/ 151 h 161"/>
                <a:gd name="T66" fmla="*/ 47 w 210"/>
                <a:gd name="T67" fmla="*/ 161 h 161"/>
                <a:gd name="T68" fmla="*/ 46 w 210"/>
                <a:gd name="T69" fmla="*/ 161 h 161"/>
                <a:gd name="T70" fmla="*/ 37 w 210"/>
                <a:gd name="T71" fmla="*/ 152 h 161"/>
                <a:gd name="T72" fmla="*/ 32 w 210"/>
                <a:gd name="T73" fmla="*/ 154 h 161"/>
                <a:gd name="T74" fmla="*/ 32 w 210"/>
                <a:gd name="T75" fmla="*/ 157 h 161"/>
                <a:gd name="T76" fmla="*/ 31 w 210"/>
                <a:gd name="T77" fmla="*/ 158 h 161"/>
                <a:gd name="T78" fmla="*/ 26 w 210"/>
                <a:gd name="T79" fmla="*/ 154 h 161"/>
                <a:gd name="T80" fmla="*/ 26 w 210"/>
                <a:gd name="T81" fmla="*/ 152 h 161"/>
                <a:gd name="T82" fmla="*/ 28 w 210"/>
                <a:gd name="T83" fmla="*/ 151 h 161"/>
                <a:gd name="T84" fmla="*/ 26 w 210"/>
                <a:gd name="T85" fmla="*/ 148 h 161"/>
                <a:gd name="T86" fmla="*/ 18 w 210"/>
                <a:gd name="T87" fmla="*/ 148 h 161"/>
                <a:gd name="T88" fmla="*/ 4 w 210"/>
                <a:gd name="T89" fmla="*/ 130 h 161"/>
                <a:gd name="T90" fmla="*/ 0 w 210"/>
                <a:gd name="T91" fmla="*/ 123 h 161"/>
                <a:gd name="T92" fmla="*/ 1 w 210"/>
                <a:gd name="T93" fmla="*/ 117 h 161"/>
                <a:gd name="T94" fmla="*/ 10 w 210"/>
                <a:gd name="T95" fmla="*/ 117 h 161"/>
                <a:gd name="T96" fmla="*/ 16 w 210"/>
                <a:gd name="T97" fmla="*/ 111 h 161"/>
                <a:gd name="T98" fmla="*/ 44 w 210"/>
                <a:gd name="T99" fmla="*/ 111 h 161"/>
                <a:gd name="T100" fmla="*/ 50 w 210"/>
                <a:gd name="T101" fmla="*/ 104 h 161"/>
                <a:gd name="T102" fmla="*/ 53 w 210"/>
                <a:gd name="T103" fmla="*/ 102 h 161"/>
                <a:gd name="T104" fmla="*/ 53 w 210"/>
                <a:gd name="T105" fmla="*/ 59 h 161"/>
                <a:gd name="T106" fmla="*/ 74 w 210"/>
                <a:gd name="T107" fmla="*/ 55 h 161"/>
                <a:gd name="T108" fmla="*/ 102 w 210"/>
                <a:gd name="T109" fmla="*/ 32 h 161"/>
                <a:gd name="T110" fmla="*/ 152 w 210"/>
                <a:gd name="T11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0" h="161">
                  <a:moveTo>
                    <a:pt x="152" y="0"/>
                  </a:moveTo>
                  <a:lnTo>
                    <a:pt x="181" y="0"/>
                  </a:lnTo>
                  <a:lnTo>
                    <a:pt x="192" y="7"/>
                  </a:lnTo>
                  <a:lnTo>
                    <a:pt x="195" y="6"/>
                  </a:lnTo>
                  <a:lnTo>
                    <a:pt x="197" y="6"/>
                  </a:lnTo>
                  <a:lnTo>
                    <a:pt x="197" y="28"/>
                  </a:lnTo>
                  <a:lnTo>
                    <a:pt x="201" y="35"/>
                  </a:lnTo>
                  <a:lnTo>
                    <a:pt x="209" y="41"/>
                  </a:lnTo>
                  <a:lnTo>
                    <a:pt x="210" y="41"/>
                  </a:lnTo>
                  <a:lnTo>
                    <a:pt x="210" y="43"/>
                  </a:lnTo>
                  <a:lnTo>
                    <a:pt x="209" y="43"/>
                  </a:lnTo>
                  <a:lnTo>
                    <a:pt x="206" y="49"/>
                  </a:lnTo>
                  <a:lnTo>
                    <a:pt x="203" y="68"/>
                  </a:lnTo>
                  <a:lnTo>
                    <a:pt x="201" y="90"/>
                  </a:lnTo>
                  <a:lnTo>
                    <a:pt x="178" y="115"/>
                  </a:lnTo>
                  <a:lnTo>
                    <a:pt x="175" y="124"/>
                  </a:lnTo>
                  <a:lnTo>
                    <a:pt x="178" y="124"/>
                  </a:lnTo>
                  <a:lnTo>
                    <a:pt x="178" y="126"/>
                  </a:lnTo>
                  <a:lnTo>
                    <a:pt x="170" y="126"/>
                  </a:lnTo>
                  <a:lnTo>
                    <a:pt x="170" y="136"/>
                  </a:lnTo>
                  <a:lnTo>
                    <a:pt x="161" y="142"/>
                  </a:lnTo>
                  <a:lnTo>
                    <a:pt x="160" y="142"/>
                  </a:lnTo>
                  <a:lnTo>
                    <a:pt x="151" y="139"/>
                  </a:lnTo>
                  <a:lnTo>
                    <a:pt x="135" y="139"/>
                  </a:lnTo>
                  <a:lnTo>
                    <a:pt x="121" y="148"/>
                  </a:lnTo>
                  <a:lnTo>
                    <a:pt x="112" y="145"/>
                  </a:lnTo>
                  <a:lnTo>
                    <a:pt x="104" y="139"/>
                  </a:lnTo>
                  <a:lnTo>
                    <a:pt x="90" y="145"/>
                  </a:lnTo>
                  <a:lnTo>
                    <a:pt x="74" y="133"/>
                  </a:lnTo>
                  <a:lnTo>
                    <a:pt x="64" y="135"/>
                  </a:lnTo>
                  <a:lnTo>
                    <a:pt x="55" y="138"/>
                  </a:lnTo>
                  <a:lnTo>
                    <a:pt x="52" y="145"/>
                  </a:lnTo>
                  <a:lnTo>
                    <a:pt x="47" y="151"/>
                  </a:lnTo>
                  <a:lnTo>
                    <a:pt x="47" y="161"/>
                  </a:lnTo>
                  <a:lnTo>
                    <a:pt x="46" y="161"/>
                  </a:lnTo>
                  <a:lnTo>
                    <a:pt x="37" y="152"/>
                  </a:lnTo>
                  <a:lnTo>
                    <a:pt x="32" y="154"/>
                  </a:lnTo>
                  <a:lnTo>
                    <a:pt x="32" y="157"/>
                  </a:lnTo>
                  <a:lnTo>
                    <a:pt x="31" y="158"/>
                  </a:lnTo>
                  <a:lnTo>
                    <a:pt x="26" y="154"/>
                  </a:lnTo>
                  <a:lnTo>
                    <a:pt x="26" y="152"/>
                  </a:lnTo>
                  <a:lnTo>
                    <a:pt x="28" y="151"/>
                  </a:lnTo>
                  <a:lnTo>
                    <a:pt x="26" y="148"/>
                  </a:lnTo>
                  <a:lnTo>
                    <a:pt x="18" y="148"/>
                  </a:lnTo>
                  <a:lnTo>
                    <a:pt x="4" y="130"/>
                  </a:lnTo>
                  <a:lnTo>
                    <a:pt x="0" y="123"/>
                  </a:lnTo>
                  <a:lnTo>
                    <a:pt x="1" y="117"/>
                  </a:lnTo>
                  <a:lnTo>
                    <a:pt x="10" y="117"/>
                  </a:lnTo>
                  <a:lnTo>
                    <a:pt x="16" y="111"/>
                  </a:lnTo>
                  <a:lnTo>
                    <a:pt x="44" y="111"/>
                  </a:lnTo>
                  <a:lnTo>
                    <a:pt x="50" y="104"/>
                  </a:lnTo>
                  <a:lnTo>
                    <a:pt x="53" y="102"/>
                  </a:lnTo>
                  <a:lnTo>
                    <a:pt x="53" y="59"/>
                  </a:lnTo>
                  <a:lnTo>
                    <a:pt x="74" y="55"/>
                  </a:lnTo>
                  <a:lnTo>
                    <a:pt x="102" y="32"/>
                  </a:lnTo>
                  <a:lnTo>
                    <a:pt x="15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4" name="Namibia">
              <a:extLst>
                <a:ext uri="{FF2B5EF4-FFF2-40B4-BE49-F238E27FC236}">
                  <a16:creationId xmlns:a16="http://schemas.microsoft.com/office/drawing/2014/main" id="{29BC17ED-B544-394F-2E2E-63C365A0DB69}"/>
                </a:ext>
              </a:extLst>
            </p:cNvPr>
            <p:cNvSpPr>
              <a:spLocks/>
            </p:cNvSpPr>
            <p:nvPr/>
          </p:nvSpPr>
          <p:spPr bwMode="auto">
            <a:xfrm>
              <a:off x="6100517" y="4988576"/>
              <a:ext cx="321657" cy="312622"/>
            </a:xfrm>
            <a:custGeom>
              <a:avLst/>
              <a:gdLst>
                <a:gd name="T0" fmla="*/ 13 w 178"/>
                <a:gd name="T1" fmla="*/ 0 h 173"/>
                <a:gd name="T2" fmla="*/ 19 w 178"/>
                <a:gd name="T3" fmla="*/ 0 h 173"/>
                <a:gd name="T4" fmla="*/ 30 w 178"/>
                <a:gd name="T5" fmla="*/ 6 h 173"/>
                <a:gd name="T6" fmla="*/ 87 w 178"/>
                <a:gd name="T7" fmla="*/ 6 h 173"/>
                <a:gd name="T8" fmla="*/ 98 w 178"/>
                <a:gd name="T9" fmla="*/ 12 h 173"/>
                <a:gd name="T10" fmla="*/ 111 w 178"/>
                <a:gd name="T11" fmla="*/ 12 h 173"/>
                <a:gd name="T12" fmla="*/ 129 w 178"/>
                <a:gd name="T13" fmla="*/ 16 h 173"/>
                <a:gd name="T14" fmla="*/ 151 w 178"/>
                <a:gd name="T15" fmla="*/ 10 h 173"/>
                <a:gd name="T16" fmla="*/ 163 w 178"/>
                <a:gd name="T17" fmla="*/ 7 h 173"/>
                <a:gd name="T18" fmla="*/ 172 w 178"/>
                <a:gd name="T19" fmla="*/ 9 h 173"/>
                <a:gd name="T20" fmla="*/ 178 w 178"/>
                <a:gd name="T21" fmla="*/ 13 h 173"/>
                <a:gd name="T22" fmla="*/ 172 w 178"/>
                <a:gd name="T23" fmla="*/ 13 h 173"/>
                <a:gd name="T24" fmla="*/ 165 w 178"/>
                <a:gd name="T25" fmla="*/ 18 h 173"/>
                <a:gd name="T26" fmla="*/ 157 w 178"/>
                <a:gd name="T27" fmla="*/ 25 h 173"/>
                <a:gd name="T28" fmla="*/ 156 w 178"/>
                <a:gd name="T29" fmla="*/ 25 h 173"/>
                <a:gd name="T30" fmla="*/ 153 w 178"/>
                <a:gd name="T31" fmla="*/ 19 h 173"/>
                <a:gd name="T32" fmla="*/ 147 w 178"/>
                <a:gd name="T33" fmla="*/ 18 h 173"/>
                <a:gd name="T34" fmla="*/ 122 w 178"/>
                <a:gd name="T35" fmla="*/ 24 h 173"/>
                <a:gd name="T36" fmla="*/ 122 w 178"/>
                <a:gd name="T37" fmla="*/ 71 h 173"/>
                <a:gd name="T38" fmla="*/ 110 w 178"/>
                <a:gd name="T39" fmla="*/ 71 h 173"/>
                <a:gd name="T40" fmla="*/ 110 w 178"/>
                <a:gd name="T41" fmla="*/ 166 h 173"/>
                <a:gd name="T42" fmla="*/ 108 w 178"/>
                <a:gd name="T43" fmla="*/ 166 h 173"/>
                <a:gd name="T44" fmla="*/ 98 w 178"/>
                <a:gd name="T45" fmla="*/ 173 h 173"/>
                <a:gd name="T46" fmla="*/ 80 w 178"/>
                <a:gd name="T47" fmla="*/ 173 h 173"/>
                <a:gd name="T48" fmla="*/ 79 w 178"/>
                <a:gd name="T49" fmla="*/ 172 h 173"/>
                <a:gd name="T50" fmla="*/ 77 w 178"/>
                <a:gd name="T51" fmla="*/ 166 h 173"/>
                <a:gd name="T52" fmla="*/ 71 w 178"/>
                <a:gd name="T53" fmla="*/ 163 h 173"/>
                <a:gd name="T54" fmla="*/ 64 w 178"/>
                <a:gd name="T55" fmla="*/ 167 h 173"/>
                <a:gd name="T56" fmla="*/ 62 w 178"/>
                <a:gd name="T57" fmla="*/ 167 h 173"/>
                <a:gd name="T58" fmla="*/ 53 w 178"/>
                <a:gd name="T59" fmla="*/ 160 h 173"/>
                <a:gd name="T60" fmla="*/ 46 w 178"/>
                <a:gd name="T61" fmla="*/ 150 h 173"/>
                <a:gd name="T62" fmla="*/ 41 w 178"/>
                <a:gd name="T63" fmla="*/ 124 h 173"/>
                <a:gd name="T64" fmla="*/ 40 w 178"/>
                <a:gd name="T65" fmla="*/ 114 h 173"/>
                <a:gd name="T66" fmla="*/ 36 w 178"/>
                <a:gd name="T67" fmla="*/ 102 h 173"/>
                <a:gd name="T68" fmla="*/ 36 w 178"/>
                <a:gd name="T69" fmla="*/ 80 h 173"/>
                <a:gd name="T70" fmla="*/ 13 w 178"/>
                <a:gd name="T71" fmla="*/ 37 h 173"/>
                <a:gd name="T72" fmla="*/ 0 w 178"/>
                <a:gd name="T73" fmla="*/ 18 h 173"/>
                <a:gd name="T74" fmla="*/ 0 w 178"/>
                <a:gd name="T75" fmla="*/ 6 h 173"/>
                <a:gd name="T76" fmla="*/ 6 w 178"/>
                <a:gd name="T77" fmla="*/ 3 h 173"/>
                <a:gd name="T78" fmla="*/ 7 w 178"/>
                <a:gd name="T79" fmla="*/ 3 h 173"/>
                <a:gd name="T80" fmla="*/ 13 w 178"/>
                <a:gd name="T8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173">
                  <a:moveTo>
                    <a:pt x="13" y="0"/>
                  </a:moveTo>
                  <a:lnTo>
                    <a:pt x="19" y="0"/>
                  </a:lnTo>
                  <a:lnTo>
                    <a:pt x="30" y="6"/>
                  </a:lnTo>
                  <a:lnTo>
                    <a:pt x="87" y="6"/>
                  </a:lnTo>
                  <a:lnTo>
                    <a:pt x="98" y="12"/>
                  </a:lnTo>
                  <a:lnTo>
                    <a:pt x="111" y="12"/>
                  </a:lnTo>
                  <a:lnTo>
                    <a:pt x="129" y="16"/>
                  </a:lnTo>
                  <a:lnTo>
                    <a:pt x="151" y="10"/>
                  </a:lnTo>
                  <a:lnTo>
                    <a:pt x="163" y="7"/>
                  </a:lnTo>
                  <a:lnTo>
                    <a:pt x="172" y="9"/>
                  </a:lnTo>
                  <a:lnTo>
                    <a:pt x="178" y="13"/>
                  </a:lnTo>
                  <a:lnTo>
                    <a:pt x="172" y="13"/>
                  </a:lnTo>
                  <a:lnTo>
                    <a:pt x="165" y="18"/>
                  </a:lnTo>
                  <a:lnTo>
                    <a:pt x="157" y="25"/>
                  </a:lnTo>
                  <a:lnTo>
                    <a:pt x="156" y="25"/>
                  </a:lnTo>
                  <a:lnTo>
                    <a:pt x="153" y="19"/>
                  </a:lnTo>
                  <a:lnTo>
                    <a:pt x="147" y="18"/>
                  </a:lnTo>
                  <a:lnTo>
                    <a:pt x="122" y="24"/>
                  </a:lnTo>
                  <a:lnTo>
                    <a:pt x="122" y="71"/>
                  </a:lnTo>
                  <a:lnTo>
                    <a:pt x="110" y="71"/>
                  </a:lnTo>
                  <a:lnTo>
                    <a:pt x="110" y="166"/>
                  </a:lnTo>
                  <a:lnTo>
                    <a:pt x="108" y="166"/>
                  </a:lnTo>
                  <a:lnTo>
                    <a:pt x="98" y="173"/>
                  </a:lnTo>
                  <a:lnTo>
                    <a:pt x="80" y="173"/>
                  </a:lnTo>
                  <a:lnTo>
                    <a:pt x="79" y="172"/>
                  </a:lnTo>
                  <a:lnTo>
                    <a:pt x="77" y="166"/>
                  </a:lnTo>
                  <a:lnTo>
                    <a:pt x="71" y="163"/>
                  </a:lnTo>
                  <a:lnTo>
                    <a:pt x="64" y="167"/>
                  </a:lnTo>
                  <a:lnTo>
                    <a:pt x="62" y="167"/>
                  </a:lnTo>
                  <a:lnTo>
                    <a:pt x="53" y="160"/>
                  </a:lnTo>
                  <a:lnTo>
                    <a:pt x="46" y="150"/>
                  </a:lnTo>
                  <a:lnTo>
                    <a:pt x="41" y="124"/>
                  </a:lnTo>
                  <a:lnTo>
                    <a:pt x="40" y="114"/>
                  </a:lnTo>
                  <a:lnTo>
                    <a:pt x="36" y="102"/>
                  </a:lnTo>
                  <a:lnTo>
                    <a:pt x="36" y="80"/>
                  </a:lnTo>
                  <a:lnTo>
                    <a:pt x="13" y="37"/>
                  </a:lnTo>
                  <a:lnTo>
                    <a:pt x="0" y="18"/>
                  </a:lnTo>
                  <a:lnTo>
                    <a:pt x="0" y="6"/>
                  </a:lnTo>
                  <a:lnTo>
                    <a:pt x="6" y="3"/>
                  </a:lnTo>
                  <a:lnTo>
                    <a:pt x="7" y="3"/>
                  </a:lnTo>
                  <a:lnTo>
                    <a:pt x="1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5" name="Mali">
              <a:extLst>
                <a:ext uri="{FF2B5EF4-FFF2-40B4-BE49-F238E27FC236}">
                  <a16:creationId xmlns:a16="http://schemas.microsoft.com/office/drawing/2014/main" id="{8F116A12-91E8-3328-C79E-39A95C574C63}"/>
                </a:ext>
              </a:extLst>
            </p:cNvPr>
            <p:cNvSpPr>
              <a:spLocks/>
            </p:cNvSpPr>
            <p:nvPr/>
          </p:nvSpPr>
          <p:spPr bwMode="auto">
            <a:xfrm>
              <a:off x="5540328" y="3980235"/>
              <a:ext cx="386711" cy="370448"/>
            </a:xfrm>
            <a:custGeom>
              <a:avLst/>
              <a:gdLst>
                <a:gd name="T0" fmla="*/ 95 w 214"/>
                <a:gd name="T1" fmla="*/ 0 h 205"/>
                <a:gd name="T2" fmla="*/ 175 w 214"/>
                <a:gd name="T3" fmla="*/ 58 h 205"/>
                <a:gd name="T4" fmla="*/ 184 w 214"/>
                <a:gd name="T5" fmla="*/ 66 h 205"/>
                <a:gd name="T6" fmla="*/ 202 w 214"/>
                <a:gd name="T7" fmla="*/ 73 h 205"/>
                <a:gd name="T8" fmla="*/ 202 w 214"/>
                <a:gd name="T9" fmla="*/ 85 h 205"/>
                <a:gd name="T10" fmla="*/ 214 w 214"/>
                <a:gd name="T11" fmla="*/ 82 h 205"/>
                <a:gd name="T12" fmla="*/ 211 w 214"/>
                <a:gd name="T13" fmla="*/ 128 h 205"/>
                <a:gd name="T14" fmla="*/ 177 w 214"/>
                <a:gd name="T15" fmla="*/ 135 h 205"/>
                <a:gd name="T16" fmla="*/ 160 w 214"/>
                <a:gd name="T17" fmla="*/ 141 h 205"/>
                <a:gd name="T18" fmla="*/ 128 w 214"/>
                <a:gd name="T19" fmla="*/ 159 h 205"/>
                <a:gd name="T20" fmla="*/ 104 w 214"/>
                <a:gd name="T21" fmla="*/ 177 h 205"/>
                <a:gd name="T22" fmla="*/ 92 w 214"/>
                <a:gd name="T23" fmla="*/ 202 h 205"/>
                <a:gd name="T24" fmla="*/ 86 w 214"/>
                <a:gd name="T25" fmla="*/ 201 h 205"/>
                <a:gd name="T26" fmla="*/ 79 w 214"/>
                <a:gd name="T27" fmla="*/ 204 h 205"/>
                <a:gd name="T28" fmla="*/ 77 w 214"/>
                <a:gd name="T29" fmla="*/ 198 h 205"/>
                <a:gd name="T30" fmla="*/ 71 w 214"/>
                <a:gd name="T31" fmla="*/ 201 h 205"/>
                <a:gd name="T32" fmla="*/ 68 w 214"/>
                <a:gd name="T33" fmla="*/ 204 h 205"/>
                <a:gd name="T34" fmla="*/ 61 w 214"/>
                <a:gd name="T35" fmla="*/ 201 h 205"/>
                <a:gd name="T36" fmla="*/ 55 w 214"/>
                <a:gd name="T37" fmla="*/ 205 h 205"/>
                <a:gd name="T38" fmla="*/ 51 w 214"/>
                <a:gd name="T39" fmla="*/ 199 h 205"/>
                <a:gd name="T40" fmla="*/ 46 w 214"/>
                <a:gd name="T41" fmla="*/ 195 h 205"/>
                <a:gd name="T42" fmla="*/ 45 w 214"/>
                <a:gd name="T43" fmla="*/ 193 h 205"/>
                <a:gd name="T44" fmla="*/ 43 w 214"/>
                <a:gd name="T45" fmla="*/ 184 h 205"/>
                <a:gd name="T46" fmla="*/ 37 w 214"/>
                <a:gd name="T47" fmla="*/ 174 h 205"/>
                <a:gd name="T48" fmla="*/ 33 w 214"/>
                <a:gd name="T49" fmla="*/ 180 h 205"/>
                <a:gd name="T50" fmla="*/ 25 w 214"/>
                <a:gd name="T51" fmla="*/ 177 h 205"/>
                <a:gd name="T52" fmla="*/ 17 w 214"/>
                <a:gd name="T53" fmla="*/ 177 h 205"/>
                <a:gd name="T54" fmla="*/ 11 w 214"/>
                <a:gd name="T55" fmla="*/ 167 h 205"/>
                <a:gd name="T56" fmla="*/ 3 w 214"/>
                <a:gd name="T57" fmla="*/ 153 h 205"/>
                <a:gd name="T58" fmla="*/ 0 w 214"/>
                <a:gd name="T59" fmla="*/ 141 h 205"/>
                <a:gd name="T60" fmla="*/ 9 w 214"/>
                <a:gd name="T61" fmla="*/ 127 h 205"/>
                <a:gd name="T62" fmla="*/ 14 w 214"/>
                <a:gd name="T63" fmla="*/ 128 h 205"/>
                <a:gd name="T64" fmla="*/ 21 w 214"/>
                <a:gd name="T65" fmla="*/ 137 h 205"/>
                <a:gd name="T66" fmla="*/ 86 w 214"/>
                <a:gd name="T67" fmla="*/ 132 h 205"/>
                <a:gd name="T68" fmla="*/ 85 w 214"/>
                <a:gd name="T69" fmla="*/ 122 h 205"/>
                <a:gd name="T70" fmla="*/ 71 w 214"/>
                <a:gd name="T71" fmla="*/ 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05">
                  <a:moveTo>
                    <a:pt x="71" y="0"/>
                  </a:moveTo>
                  <a:lnTo>
                    <a:pt x="95" y="0"/>
                  </a:lnTo>
                  <a:lnTo>
                    <a:pt x="174" y="54"/>
                  </a:lnTo>
                  <a:lnTo>
                    <a:pt x="175" y="58"/>
                  </a:lnTo>
                  <a:lnTo>
                    <a:pt x="180" y="61"/>
                  </a:lnTo>
                  <a:lnTo>
                    <a:pt x="184" y="66"/>
                  </a:lnTo>
                  <a:lnTo>
                    <a:pt x="200" y="73"/>
                  </a:lnTo>
                  <a:lnTo>
                    <a:pt x="202" y="73"/>
                  </a:lnTo>
                  <a:lnTo>
                    <a:pt x="200" y="84"/>
                  </a:lnTo>
                  <a:lnTo>
                    <a:pt x="202" y="85"/>
                  </a:lnTo>
                  <a:lnTo>
                    <a:pt x="212" y="82"/>
                  </a:lnTo>
                  <a:lnTo>
                    <a:pt x="214" y="82"/>
                  </a:lnTo>
                  <a:lnTo>
                    <a:pt x="214" y="127"/>
                  </a:lnTo>
                  <a:lnTo>
                    <a:pt x="211" y="128"/>
                  </a:lnTo>
                  <a:lnTo>
                    <a:pt x="205" y="135"/>
                  </a:lnTo>
                  <a:lnTo>
                    <a:pt x="177" y="135"/>
                  </a:lnTo>
                  <a:lnTo>
                    <a:pt x="171" y="141"/>
                  </a:lnTo>
                  <a:lnTo>
                    <a:pt x="160" y="141"/>
                  </a:lnTo>
                  <a:lnTo>
                    <a:pt x="148" y="143"/>
                  </a:lnTo>
                  <a:lnTo>
                    <a:pt x="128" y="159"/>
                  </a:lnTo>
                  <a:lnTo>
                    <a:pt x="108" y="165"/>
                  </a:lnTo>
                  <a:lnTo>
                    <a:pt x="104" y="177"/>
                  </a:lnTo>
                  <a:lnTo>
                    <a:pt x="94" y="187"/>
                  </a:lnTo>
                  <a:lnTo>
                    <a:pt x="92" y="202"/>
                  </a:lnTo>
                  <a:lnTo>
                    <a:pt x="88" y="202"/>
                  </a:lnTo>
                  <a:lnTo>
                    <a:pt x="86" y="201"/>
                  </a:lnTo>
                  <a:lnTo>
                    <a:pt x="83" y="201"/>
                  </a:lnTo>
                  <a:lnTo>
                    <a:pt x="79" y="204"/>
                  </a:lnTo>
                  <a:lnTo>
                    <a:pt x="77" y="204"/>
                  </a:lnTo>
                  <a:lnTo>
                    <a:pt x="77" y="198"/>
                  </a:lnTo>
                  <a:lnTo>
                    <a:pt x="73" y="198"/>
                  </a:lnTo>
                  <a:lnTo>
                    <a:pt x="71" y="201"/>
                  </a:lnTo>
                  <a:lnTo>
                    <a:pt x="71" y="202"/>
                  </a:lnTo>
                  <a:lnTo>
                    <a:pt x="68" y="204"/>
                  </a:lnTo>
                  <a:lnTo>
                    <a:pt x="67" y="204"/>
                  </a:lnTo>
                  <a:lnTo>
                    <a:pt x="61" y="201"/>
                  </a:lnTo>
                  <a:lnTo>
                    <a:pt x="55" y="204"/>
                  </a:lnTo>
                  <a:lnTo>
                    <a:pt x="55" y="205"/>
                  </a:lnTo>
                  <a:lnTo>
                    <a:pt x="54" y="204"/>
                  </a:lnTo>
                  <a:lnTo>
                    <a:pt x="51" y="199"/>
                  </a:lnTo>
                  <a:lnTo>
                    <a:pt x="51" y="193"/>
                  </a:lnTo>
                  <a:lnTo>
                    <a:pt x="46" y="195"/>
                  </a:lnTo>
                  <a:lnTo>
                    <a:pt x="45" y="195"/>
                  </a:lnTo>
                  <a:lnTo>
                    <a:pt x="45" y="193"/>
                  </a:lnTo>
                  <a:lnTo>
                    <a:pt x="49" y="187"/>
                  </a:lnTo>
                  <a:lnTo>
                    <a:pt x="43" y="184"/>
                  </a:lnTo>
                  <a:lnTo>
                    <a:pt x="40" y="174"/>
                  </a:lnTo>
                  <a:lnTo>
                    <a:pt x="37" y="174"/>
                  </a:lnTo>
                  <a:lnTo>
                    <a:pt x="33" y="178"/>
                  </a:lnTo>
                  <a:lnTo>
                    <a:pt x="33" y="180"/>
                  </a:lnTo>
                  <a:lnTo>
                    <a:pt x="31" y="180"/>
                  </a:lnTo>
                  <a:lnTo>
                    <a:pt x="25" y="177"/>
                  </a:lnTo>
                  <a:lnTo>
                    <a:pt x="21" y="181"/>
                  </a:lnTo>
                  <a:lnTo>
                    <a:pt x="17" y="177"/>
                  </a:lnTo>
                  <a:lnTo>
                    <a:pt x="11" y="180"/>
                  </a:lnTo>
                  <a:lnTo>
                    <a:pt x="11" y="167"/>
                  </a:lnTo>
                  <a:lnTo>
                    <a:pt x="2" y="158"/>
                  </a:lnTo>
                  <a:lnTo>
                    <a:pt x="3" y="153"/>
                  </a:lnTo>
                  <a:lnTo>
                    <a:pt x="0" y="143"/>
                  </a:lnTo>
                  <a:lnTo>
                    <a:pt x="0" y="141"/>
                  </a:lnTo>
                  <a:lnTo>
                    <a:pt x="5" y="137"/>
                  </a:lnTo>
                  <a:lnTo>
                    <a:pt x="9" y="127"/>
                  </a:lnTo>
                  <a:lnTo>
                    <a:pt x="11" y="127"/>
                  </a:lnTo>
                  <a:lnTo>
                    <a:pt x="14" y="128"/>
                  </a:lnTo>
                  <a:lnTo>
                    <a:pt x="18" y="135"/>
                  </a:lnTo>
                  <a:lnTo>
                    <a:pt x="21" y="137"/>
                  </a:lnTo>
                  <a:lnTo>
                    <a:pt x="27" y="131"/>
                  </a:lnTo>
                  <a:lnTo>
                    <a:pt x="86" y="132"/>
                  </a:lnTo>
                  <a:lnTo>
                    <a:pt x="89" y="122"/>
                  </a:lnTo>
                  <a:lnTo>
                    <a:pt x="85" y="122"/>
                  </a:lnTo>
                  <a:lnTo>
                    <a:pt x="83" y="121"/>
                  </a:lnTo>
                  <a:lnTo>
                    <a:pt x="71" y="2"/>
                  </a:lnTo>
                  <a:lnTo>
                    <a:pt x="7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6" name="Madagascar">
              <a:extLst>
                <a:ext uri="{FF2B5EF4-FFF2-40B4-BE49-F238E27FC236}">
                  <a16:creationId xmlns:a16="http://schemas.microsoft.com/office/drawing/2014/main" id="{440471C9-9951-0D88-A6D3-1DB2E3A42408}"/>
                </a:ext>
              </a:extLst>
            </p:cNvPr>
            <p:cNvSpPr>
              <a:spLocks/>
            </p:cNvSpPr>
            <p:nvPr/>
          </p:nvSpPr>
          <p:spPr bwMode="auto">
            <a:xfrm>
              <a:off x="6843220" y="4876538"/>
              <a:ext cx="169864" cy="336114"/>
            </a:xfrm>
            <a:custGeom>
              <a:avLst/>
              <a:gdLst>
                <a:gd name="T0" fmla="*/ 78 w 94"/>
                <a:gd name="T1" fmla="*/ 0 h 186"/>
                <a:gd name="T2" fmla="*/ 87 w 94"/>
                <a:gd name="T3" fmla="*/ 12 h 186"/>
                <a:gd name="T4" fmla="*/ 94 w 94"/>
                <a:gd name="T5" fmla="*/ 43 h 186"/>
                <a:gd name="T6" fmla="*/ 93 w 94"/>
                <a:gd name="T7" fmla="*/ 50 h 186"/>
                <a:gd name="T8" fmla="*/ 90 w 94"/>
                <a:gd name="T9" fmla="*/ 50 h 186"/>
                <a:gd name="T10" fmla="*/ 89 w 94"/>
                <a:gd name="T11" fmla="*/ 44 h 186"/>
                <a:gd name="T12" fmla="*/ 87 w 94"/>
                <a:gd name="T13" fmla="*/ 44 h 186"/>
                <a:gd name="T14" fmla="*/ 87 w 94"/>
                <a:gd name="T15" fmla="*/ 59 h 186"/>
                <a:gd name="T16" fmla="*/ 83 w 94"/>
                <a:gd name="T17" fmla="*/ 66 h 186"/>
                <a:gd name="T18" fmla="*/ 80 w 94"/>
                <a:gd name="T19" fmla="*/ 87 h 186"/>
                <a:gd name="T20" fmla="*/ 54 w 94"/>
                <a:gd name="T21" fmla="*/ 170 h 186"/>
                <a:gd name="T22" fmla="*/ 47 w 94"/>
                <a:gd name="T23" fmla="*/ 179 h 186"/>
                <a:gd name="T24" fmla="*/ 38 w 94"/>
                <a:gd name="T25" fmla="*/ 181 h 186"/>
                <a:gd name="T26" fmla="*/ 26 w 94"/>
                <a:gd name="T27" fmla="*/ 186 h 186"/>
                <a:gd name="T28" fmla="*/ 26 w 94"/>
                <a:gd name="T29" fmla="*/ 185 h 186"/>
                <a:gd name="T30" fmla="*/ 11 w 94"/>
                <a:gd name="T31" fmla="*/ 176 h 186"/>
                <a:gd name="T32" fmla="*/ 8 w 94"/>
                <a:gd name="T33" fmla="*/ 172 h 186"/>
                <a:gd name="T34" fmla="*/ 7 w 94"/>
                <a:gd name="T35" fmla="*/ 155 h 186"/>
                <a:gd name="T36" fmla="*/ 1 w 94"/>
                <a:gd name="T37" fmla="*/ 143 h 186"/>
                <a:gd name="T38" fmla="*/ 0 w 94"/>
                <a:gd name="T39" fmla="*/ 132 h 186"/>
                <a:gd name="T40" fmla="*/ 17 w 94"/>
                <a:gd name="T41" fmla="*/ 103 h 186"/>
                <a:gd name="T42" fmla="*/ 8 w 94"/>
                <a:gd name="T43" fmla="*/ 72 h 186"/>
                <a:gd name="T44" fmla="*/ 8 w 94"/>
                <a:gd name="T45" fmla="*/ 71 h 186"/>
                <a:gd name="T46" fmla="*/ 16 w 94"/>
                <a:gd name="T47" fmla="*/ 59 h 186"/>
                <a:gd name="T48" fmla="*/ 16 w 94"/>
                <a:gd name="T49" fmla="*/ 55 h 186"/>
                <a:gd name="T50" fmla="*/ 26 w 94"/>
                <a:gd name="T51" fmla="*/ 50 h 186"/>
                <a:gd name="T52" fmla="*/ 28 w 94"/>
                <a:gd name="T53" fmla="*/ 52 h 186"/>
                <a:gd name="T54" fmla="*/ 37 w 94"/>
                <a:gd name="T55" fmla="*/ 47 h 186"/>
                <a:gd name="T56" fmla="*/ 38 w 94"/>
                <a:gd name="T57" fmla="*/ 47 h 186"/>
                <a:gd name="T58" fmla="*/ 41 w 94"/>
                <a:gd name="T59" fmla="*/ 52 h 186"/>
                <a:gd name="T60" fmla="*/ 44 w 94"/>
                <a:gd name="T61" fmla="*/ 52 h 186"/>
                <a:gd name="T62" fmla="*/ 41 w 94"/>
                <a:gd name="T63" fmla="*/ 46 h 186"/>
                <a:gd name="T64" fmla="*/ 41 w 94"/>
                <a:gd name="T65" fmla="*/ 44 h 186"/>
                <a:gd name="T66" fmla="*/ 47 w 94"/>
                <a:gd name="T67" fmla="*/ 41 h 186"/>
                <a:gd name="T68" fmla="*/ 48 w 94"/>
                <a:gd name="T69" fmla="*/ 41 h 186"/>
                <a:gd name="T70" fmla="*/ 50 w 94"/>
                <a:gd name="T71" fmla="*/ 44 h 186"/>
                <a:gd name="T72" fmla="*/ 51 w 94"/>
                <a:gd name="T73" fmla="*/ 44 h 186"/>
                <a:gd name="T74" fmla="*/ 50 w 94"/>
                <a:gd name="T75" fmla="*/ 40 h 186"/>
                <a:gd name="T76" fmla="*/ 53 w 94"/>
                <a:gd name="T77" fmla="*/ 35 h 186"/>
                <a:gd name="T78" fmla="*/ 54 w 94"/>
                <a:gd name="T79" fmla="*/ 32 h 186"/>
                <a:gd name="T80" fmla="*/ 56 w 94"/>
                <a:gd name="T81" fmla="*/ 32 h 186"/>
                <a:gd name="T82" fmla="*/ 56 w 94"/>
                <a:gd name="T83" fmla="*/ 37 h 186"/>
                <a:gd name="T84" fmla="*/ 59 w 94"/>
                <a:gd name="T85" fmla="*/ 32 h 186"/>
                <a:gd name="T86" fmla="*/ 62 w 94"/>
                <a:gd name="T87" fmla="*/ 32 h 186"/>
                <a:gd name="T88" fmla="*/ 59 w 94"/>
                <a:gd name="T89" fmla="*/ 29 h 186"/>
                <a:gd name="T90" fmla="*/ 57 w 94"/>
                <a:gd name="T91" fmla="*/ 29 h 186"/>
                <a:gd name="T92" fmla="*/ 60 w 94"/>
                <a:gd name="T93" fmla="*/ 25 h 186"/>
                <a:gd name="T94" fmla="*/ 62 w 94"/>
                <a:gd name="T95" fmla="*/ 25 h 186"/>
                <a:gd name="T96" fmla="*/ 60 w 94"/>
                <a:gd name="T97" fmla="*/ 19 h 186"/>
                <a:gd name="T98" fmla="*/ 65 w 94"/>
                <a:gd name="T99" fmla="*/ 19 h 186"/>
                <a:gd name="T100" fmla="*/ 65 w 94"/>
                <a:gd name="T101" fmla="*/ 20 h 186"/>
                <a:gd name="T102" fmla="*/ 68 w 94"/>
                <a:gd name="T103" fmla="*/ 15 h 186"/>
                <a:gd name="T104" fmla="*/ 72 w 94"/>
                <a:gd name="T105" fmla="*/ 15 h 186"/>
                <a:gd name="T106" fmla="*/ 72 w 94"/>
                <a:gd name="T107" fmla="*/ 3 h 186"/>
                <a:gd name="T108" fmla="*/ 78 w 94"/>
                <a:gd name="T10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 h="186">
                  <a:moveTo>
                    <a:pt x="78" y="0"/>
                  </a:moveTo>
                  <a:lnTo>
                    <a:pt x="87" y="12"/>
                  </a:lnTo>
                  <a:lnTo>
                    <a:pt x="94" y="43"/>
                  </a:lnTo>
                  <a:lnTo>
                    <a:pt x="93" y="50"/>
                  </a:lnTo>
                  <a:lnTo>
                    <a:pt x="90" y="50"/>
                  </a:lnTo>
                  <a:lnTo>
                    <a:pt x="89" y="44"/>
                  </a:lnTo>
                  <a:lnTo>
                    <a:pt x="87" y="44"/>
                  </a:lnTo>
                  <a:lnTo>
                    <a:pt x="87" y="59"/>
                  </a:lnTo>
                  <a:lnTo>
                    <a:pt x="83" y="66"/>
                  </a:lnTo>
                  <a:lnTo>
                    <a:pt x="80" y="87"/>
                  </a:lnTo>
                  <a:lnTo>
                    <a:pt x="54" y="170"/>
                  </a:lnTo>
                  <a:lnTo>
                    <a:pt x="47" y="179"/>
                  </a:lnTo>
                  <a:lnTo>
                    <a:pt x="38" y="181"/>
                  </a:lnTo>
                  <a:lnTo>
                    <a:pt x="26" y="186"/>
                  </a:lnTo>
                  <a:lnTo>
                    <a:pt x="26" y="185"/>
                  </a:lnTo>
                  <a:lnTo>
                    <a:pt x="11" y="176"/>
                  </a:lnTo>
                  <a:lnTo>
                    <a:pt x="8" y="172"/>
                  </a:lnTo>
                  <a:lnTo>
                    <a:pt x="7" y="155"/>
                  </a:lnTo>
                  <a:lnTo>
                    <a:pt x="1" y="143"/>
                  </a:lnTo>
                  <a:lnTo>
                    <a:pt x="0" y="132"/>
                  </a:lnTo>
                  <a:lnTo>
                    <a:pt x="17" y="103"/>
                  </a:lnTo>
                  <a:lnTo>
                    <a:pt x="8" y="72"/>
                  </a:lnTo>
                  <a:lnTo>
                    <a:pt x="8" y="71"/>
                  </a:lnTo>
                  <a:lnTo>
                    <a:pt x="16" y="59"/>
                  </a:lnTo>
                  <a:lnTo>
                    <a:pt x="16" y="55"/>
                  </a:lnTo>
                  <a:lnTo>
                    <a:pt x="26" y="50"/>
                  </a:lnTo>
                  <a:lnTo>
                    <a:pt x="28" y="52"/>
                  </a:lnTo>
                  <a:lnTo>
                    <a:pt x="37" y="47"/>
                  </a:lnTo>
                  <a:lnTo>
                    <a:pt x="38" y="47"/>
                  </a:lnTo>
                  <a:lnTo>
                    <a:pt x="41" y="52"/>
                  </a:lnTo>
                  <a:lnTo>
                    <a:pt x="44" y="52"/>
                  </a:lnTo>
                  <a:lnTo>
                    <a:pt x="41" y="46"/>
                  </a:lnTo>
                  <a:lnTo>
                    <a:pt x="41" y="44"/>
                  </a:lnTo>
                  <a:lnTo>
                    <a:pt x="47" y="41"/>
                  </a:lnTo>
                  <a:lnTo>
                    <a:pt x="48" y="41"/>
                  </a:lnTo>
                  <a:lnTo>
                    <a:pt x="50" y="44"/>
                  </a:lnTo>
                  <a:lnTo>
                    <a:pt x="51" y="44"/>
                  </a:lnTo>
                  <a:lnTo>
                    <a:pt x="50" y="40"/>
                  </a:lnTo>
                  <a:lnTo>
                    <a:pt x="53" y="35"/>
                  </a:lnTo>
                  <a:lnTo>
                    <a:pt x="54" y="32"/>
                  </a:lnTo>
                  <a:lnTo>
                    <a:pt x="56" y="32"/>
                  </a:lnTo>
                  <a:lnTo>
                    <a:pt x="56" y="37"/>
                  </a:lnTo>
                  <a:lnTo>
                    <a:pt x="59" y="32"/>
                  </a:lnTo>
                  <a:lnTo>
                    <a:pt x="62" y="32"/>
                  </a:lnTo>
                  <a:lnTo>
                    <a:pt x="59" y="29"/>
                  </a:lnTo>
                  <a:lnTo>
                    <a:pt x="57" y="29"/>
                  </a:lnTo>
                  <a:lnTo>
                    <a:pt x="60" y="25"/>
                  </a:lnTo>
                  <a:lnTo>
                    <a:pt x="62" y="25"/>
                  </a:lnTo>
                  <a:lnTo>
                    <a:pt x="60" y="19"/>
                  </a:lnTo>
                  <a:lnTo>
                    <a:pt x="65" y="19"/>
                  </a:lnTo>
                  <a:lnTo>
                    <a:pt x="65" y="20"/>
                  </a:lnTo>
                  <a:lnTo>
                    <a:pt x="68" y="15"/>
                  </a:lnTo>
                  <a:lnTo>
                    <a:pt x="72" y="15"/>
                  </a:lnTo>
                  <a:lnTo>
                    <a:pt x="72" y="3"/>
                  </a:lnTo>
                  <a:lnTo>
                    <a:pt x="7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7" name="Mauritania">
              <a:extLst>
                <a:ext uri="{FF2B5EF4-FFF2-40B4-BE49-F238E27FC236}">
                  <a16:creationId xmlns:a16="http://schemas.microsoft.com/office/drawing/2014/main" id="{B448A68E-DE51-160B-7BDB-AAB0E55C2549}"/>
                </a:ext>
              </a:extLst>
            </p:cNvPr>
            <p:cNvSpPr>
              <a:spLocks/>
            </p:cNvSpPr>
            <p:nvPr/>
          </p:nvSpPr>
          <p:spPr bwMode="auto">
            <a:xfrm>
              <a:off x="5428290" y="3922409"/>
              <a:ext cx="287323" cy="316236"/>
            </a:xfrm>
            <a:custGeom>
              <a:avLst/>
              <a:gdLst>
                <a:gd name="T0" fmla="*/ 108 w 159"/>
                <a:gd name="T1" fmla="*/ 0 h 175"/>
                <a:gd name="T2" fmla="*/ 110 w 159"/>
                <a:gd name="T3" fmla="*/ 0 h 175"/>
                <a:gd name="T4" fmla="*/ 157 w 159"/>
                <a:gd name="T5" fmla="*/ 32 h 175"/>
                <a:gd name="T6" fmla="*/ 159 w 159"/>
                <a:gd name="T7" fmla="*/ 34 h 175"/>
                <a:gd name="T8" fmla="*/ 135 w 159"/>
                <a:gd name="T9" fmla="*/ 34 h 175"/>
                <a:gd name="T10" fmla="*/ 147 w 159"/>
                <a:gd name="T11" fmla="*/ 153 h 175"/>
                <a:gd name="T12" fmla="*/ 153 w 159"/>
                <a:gd name="T13" fmla="*/ 154 h 175"/>
                <a:gd name="T14" fmla="*/ 150 w 159"/>
                <a:gd name="T15" fmla="*/ 166 h 175"/>
                <a:gd name="T16" fmla="*/ 119 w 159"/>
                <a:gd name="T17" fmla="*/ 166 h 175"/>
                <a:gd name="T18" fmla="*/ 105 w 159"/>
                <a:gd name="T19" fmla="*/ 164 h 175"/>
                <a:gd name="T20" fmla="*/ 89 w 159"/>
                <a:gd name="T21" fmla="*/ 164 h 175"/>
                <a:gd name="T22" fmla="*/ 83 w 159"/>
                <a:gd name="T23" fmla="*/ 170 h 175"/>
                <a:gd name="T24" fmla="*/ 80 w 159"/>
                <a:gd name="T25" fmla="*/ 170 h 175"/>
                <a:gd name="T26" fmla="*/ 79 w 159"/>
                <a:gd name="T27" fmla="*/ 169 h 175"/>
                <a:gd name="T28" fmla="*/ 74 w 159"/>
                <a:gd name="T29" fmla="*/ 161 h 175"/>
                <a:gd name="T30" fmla="*/ 73 w 159"/>
                <a:gd name="T31" fmla="*/ 160 h 175"/>
                <a:gd name="T32" fmla="*/ 68 w 159"/>
                <a:gd name="T33" fmla="*/ 170 h 175"/>
                <a:gd name="T34" fmla="*/ 64 w 159"/>
                <a:gd name="T35" fmla="*/ 175 h 175"/>
                <a:gd name="T36" fmla="*/ 62 w 159"/>
                <a:gd name="T37" fmla="*/ 175 h 175"/>
                <a:gd name="T38" fmla="*/ 53 w 159"/>
                <a:gd name="T39" fmla="*/ 167 h 175"/>
                <a:gd name="T40" fmla="*/ 46 w 159"/>
                <a:gd name="T41" fmla="*/ 157 h 175"/>
                <a:gd name="T42" fmla="*/ 40 w 159"/>
                <a:gd name="T43" fmla="*/ 157 h 175"/>
                <a:gd name="T44" fmla="*/ 33 w 159"/>
                <a:gd name="T45" fmla="*/ 150 h 175"/>
                <a:gd name="T46" fmla="*/ 9 w 159"/>
                <a:gd name="T47" fmla="*/ 151 h 175"/>
                <a:gd name="T48" fmla="*/ 6 w 159"/>
                <a:gd name="T49" fmla="*/ 157 h 175"/>
                <a:gd name="T50" fmla="*/ 4 w 159"/>
                <a:gd name="T51" fmla="*/ 157 h 175"/>
                <a:gd name="T52" fmla="*/ 4 w 159"/>
                <a:gd name="T53" fmla="*/ 156 h 175"/>
                <a:gd name="T54" fmla="*/ 10 w 159"/>
                <a:gd name="T55" fmla="*/ 135 h 175"/>
                <a:gd name="T56" fmla="*/ 10 w 159"/>
                <a:gd name="T57" fmla="*/ 124 h 175"/>
                <a:gd name="T58" fmla="*/ 6 w 159"/>
                <a:gd name="T59" fmla="*/ 111 h 175"/>
                <a:gd name="T60" fmla="*/ 9 w 159"/>
                <a:gd name="T61" fmla="*/ 105 h 175"/>
                <a:gd name="T62" fmla="*/ 7 w 159"/>
                <a:gd name="T63" fmla="*/ 99 h 175"/>
                <a:gd name="T64" fmla="*/ 1 w 159"/>
                <a:gd name="T65" fmla="*/ 89 h 175"/>
                <a:gd name="T66" fmla="*/ 0 w 159"/>
                <a:gd name="T67" fmla="*/ 90 h 175"/>
                <a:gd name="T68" fmla="*/ 0 w 159"/>
                <a:gd name="T69" fmla="*/ 89 h 175"/>
                <a:gd name="T70" fmla="*/ 3 w 159"/>
                <a:gd name="T71" fmla="*/ 83 h 175"/>
                <a:gd name="T72" fmla="*/ 52 w 159"/>
                <a:gd name="T73" fmla="*/ 83 h 175"/>
                <a:gd name="T74" fmla="*/ 50 w 159"/>
                <a:gd name="T75" fmla="*/ 62 h 175"/>
                <a:gd name="T76" fmla="*/ 53 w 159"/>
                <a:gd name="T77" fmla="*/ 58 h 175"/>
                <a:gd name="T78" fmla="*/ 65 w 159"/>
                <a:gd name="T79" fmla="*/ 53 h 175"/>
                <a:gd name="T80" fmla="*/ 67 w 159"/>
                <a:gd name="T81" fmla="*/ 18 h 175"/>
                <a:gd name="T82" fmla="*/ 108 w 159"/>
                <a:gd name="T83" fmla="*/ 18 h 175"/>
                <a:gd name="T84" fmla="*/ 108 w 159"/>
                <a:gd name="T85"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9" h="175">
                  <a:moveTo>
                    <a:pt x="108" y="0"/>
                  </a:moveTo>
                  <a:lnTo>
                    <a:pt x="110" y="0"/>
                  </a:lnTo>
                  <a:lnTo>
                    <a:pt x="157" y="32"/>
                  </a:lnTo>
                  <a:lnTo>
                    <a:pt x="159" y="34"/>
                  </a:lnTo>
                  <a:lnTo>
                    <a:pt x="135" y="34"/>
                  </a:lnTo>
                  <a:lnTo>
                    <a:pt x="147" y="153"/>
                  </a:lnTo>
                  <a:lnTo>
                    <a:pt x="153" y="154"/>
                  </a:lnTo>
                  <a:lnTo>
                    <a:pt x="150" y="166"/>
                  </a:lnTo>
                  <a:lnTo>
                    <a:pt x="119" y="166"/>
                  </a:lnTo>
                  <a:lnTo>
                    <a:pt x="105" y="164"/>
                  </a:lnTo>
                  <a:lnTo>
                    <a:pt x="89" y="164"/>
                  </a:lnTo>
                  <a:lnTo>
                    <a:pt x="83" y="170"/>
                  </a:lnTo>
                  <a:lnTo>
                    <a:pt x="80" y="170"/>
                  </a:lnTo>
                  <a:lnTo>
                    <a:pt x="79" y="169"/>
                  </a:lnTo>
                  <a:lnTo>
                    <a:pt x="74" y="161"/>
                  </a:lnTo>
                  <a:lnTo>
                    <a:pt x="73" y="160"/>
                  </a:lnTo>
                  <a:lnTo>
                    <a:pt x="68" y="170"/>
                  </a:lnTo>
                  <a:lnTo>
                    <a:pt x="64" y="175"/>
                  </a:lnTo>
                  <a:lnTo>
                    <a:pt x="62" y="175"/>
                  </a:lnTo>
                  <a:lnTo>
                    <a:pt x="53" y="167"/>
                  </a:lnTo>
                  <a:lnTo>
                    <a:pt x="46" y="157"/>
                  </a:lnTo>
                  <a:lnTo>
                    <a:pt x="40" y="157"/>
                  </a:lnTo>
                  <a:lnTo>
                    <a:pt x="33" y="150"/>
                  </a:lnTo>
                  <a:lnTo>
                    <a:pt x="9" y="151"/>
                  </a:lnTo>
                  <a:lnTo>
                    <a:pt x="6" y="157"/>
                  </a:lnTo>
                  <a:lnTo>
                    <a:pt x="4" y="157"/>
                  </a:lnTo>
                  <a:lnTo>
                    <a:pt x="4" y="156"/>
                  </a:lnTo>
                  <a:lnTo>
                    <a:pt x="10" y="135"/>
                  </a:lnTo>
                  <a:lnTo>
                    <a:pt x="10" y="124"/>
                  </a:lnTo>
                  <a:lnTo>
                    <a:pt x="6" y="111"/>
                  </a:lnTo>
                  <a:lnTo>
                    <a:pt x="9" y="105"/>
                  </a:lnTo>
                  <a:lnTo>
                    <a:pt x="7" y="99"/>
                  </a:lnTo>
                  <a:lnTo>
                    <a:pt x="1" y="89"/>
                  </a:lnTo>
                  <a:lnTo>
                    <a:pt x="0" y="90"/>
                  </a:lnTo>
                  <a:lnTo>
                    <a:pt x="0" y="89"/>
                  </a:lnTo>
                  <a:lnTo>
                    <a:pt x="3" y="83"/>
                  </a:lnTo>
                  <a:lnTo>
                    <a:pt x="52" y="83"/>
                  </a:lnTo>
                  <a:lnTo>
                    <a:pt x="50" y="62"/>
                  </a:lnTo>
                  <a:lnTo>
                    <a:pt x="53" y="58"/>
                  </a:lnTo>
                  <a:lnTo>
                    <a:pt x="65" y="53"/>
                  </a:lnTo>
                  <a:lnTo>
                    <a:pt x="67" y="18"/>
                  </a:lnTo>
                  <a:lnTo>
                    <a:pt x="108" y="18"/>
                  </a:lnTo>
                  <a:lnTo>
                    <a:pt x="10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8" name="Mozambique">
              <a:extLst>
                <a:ext uri="{FF2B5EF4-FFF2-40B4-BE49-F238E27FC236}">
                  <a16:creationId xmlns:a16="http://schemas.microsoft.com/office/drawing/2014/main" id="{26A4F5F2-49CC-3E9B-18A0-B7335D066804}"/>
                </a:ext>
              </a:extLst>
            </p:cNvPr>
            <p:cNvSpPr>
              <a:spLocks/>
            </p:cNvSpPr>
            <p:nvPr/>
          </p:nvSpPr>
          <p:spPr bwMode="auto">
            <a:xfrm>
              <a:off x="6534212" y="4833168"/>
              <a:ext cx="254796" cy="406590"/>
            </a:xfrm>
            <a:custGeom>
              <a:avLst/>
              <a:gdLst>
                <a:gd name="T0" fmla="*/ 138 w 141"/>
                <a:gd name="T1" fmla="*/ 0 h 225"/>
                <a:gd name="T2" fmla="*/ 136 w 141"/>
                <a:gd name="T3" fmla="*/ 19 h 225"/>
                <a:gd name="T4" fmla="*/ 138 w 141"/>
                <a:gd name="T5" fmla="*/ 50 h 225"/>
                <a:gd name="T6" fmla="*/ 136 w 141"/>
                <a:gd name="T7" fmla="*/ 64 h 225"/>
                <a:gd name="T8" fmla="*/ 138 w 141"/>
                <a:gd name="T9" fmla="*/ 70 h 225"/>
                <a:gd name="T10" fmla="*/ 128 w 141"/>
                <a:gd name="T11" fmla="*/ 83 h 225"/>
                <a:gd name="T12" fmla="*/ 96 w 141"/>
                <a:gd name="T13" fmla="*/ 98 h 225"/>
                <a:gd name="T14" fmla="*/ 88 w 141"/>
                <a:gd name="T15" fmla="*/ 107 h 225"/>
                <a:gd name="T16" fmla="*/ 82 w 141"/>
                <a:gd name="T17" fmla="*/ 116 h 225"/>
                <a:gd name="T18" fmla="*/ 79 w 141"/>
                <a:gd name="T19" fmla="*/ 113 h 225"/>
                <a:gd name="T20" fmla="*/ 61 w 141"/>
                <a:gd name="T21" fmla="*/ 129 h 225"/>
                <a:gd name="T22" fmla="*/ 65 w 141"/>
                <a:gd name="T23" fmla="*/ 142 h 225"/>
                <a:gd name="T24" fmla="*/ 73 w 141"/>
                <a:gd name="T25" fmla="*/ 160 h 225"/>
                <a:gd name="T26" fmla="*/ 70 w 141"/>
                <a:gd name="T27" fmla="*/ 184 h 225"/>
                <a:gd name="T28" fmla="*/ 71 w 141"/>
                <a:gd name="T29" fmla="*/ 188 h 225"/>
                <a:gd name="T30" fmla="*/ 37 w 141"/>
                <a:gd name="T31" fmla="*/ 209 h 225"/>
                <a:gd name="T32" fmla="*/ 36 w 141"/>
                <a:gd name="T33" fmla="*/ 218 h 225"/>
                <a:gd name="T34" fmla="*/ 39 w 141"/>
                <a:gd name="T35" fmla="*/ 215 h 225"/>
                <a:gd name="T36" fmla="*/ 27 w 141"/>
                <a:gd name="T37" fmla="*/ 225 h 225"/>
                <a:gd name="T38" fmla="*/ 24 w 141"/>
                <a:gd name="T39" fmla="*/ 190 h 225"/>
                <a:gd name="T40" fmla="*/ 21 w 141"/>
                <a:gd name="T41" fmla="*/ 159 h 225"/>
                <a:gd name="T42" fmla="*/ 37 w 141"/>
                <a:gd name="T43" fmla="*/ 129 h 225"/>
                <a:gd name="T44" fmla="*/ 39 w 141"/>
                <a:gd name="T45" fmla="*/ 105 h 225"/>
                <a:gd name="T46" fmla="*/ 34 w 141"/>
                <a:gd name="T47" fmla="*/ 83 h 225"/>
                <a:gd name="T48" fmla="*/ 5 w 141"/>
                <a:gd name="T49" fmla="*/ 74 h 225"/>
                <a:gd name="T50" fmla="*/ 3 w 141"/>
                <a:gd name="T51" fmla="*/ 70 h 225"/>
                <a:gd name="T52" fmla="*/ 0 w 141"/>
                <a:gd name="T53" fmla="*/ 62 h 225"/>
                <a:gd name="T54" fmla="*/ 48 w 141"/>
                <a:gd name="T55" fmla="*/ 55 h 225"/>
                <a:gd name="T56" fmla="*/ 55 w 141"/>
                <a:gd name="T57" fmla="*/ 53 h 225"/>
                <a:gd name="T58" fmla="*/ 59 w 141"/>
                <a:gd name="T59" fmla="*/ 56 h 225"/>
                <a:gd name="T60" fmla="*/ 58 w 141"/>
                <a:gd name="T61" fmla="*/ 74 h 225"/>
                <a:gd name="T62" fmla="*/ 68 w 141"/>
                <a:gd name="T63" fmla="*/ 86 h 225"/>
                <a:gd name="T64" fmla="*/ 70 w 141"/>
                <a:gd name="T65" fmla="*/ 89 h 225"/>
                <a:gd name="T66" fmla="*/ 70 w 141"/>
                <a:gd name="T67" fmla="*/ 79 h 225"/>
                <a:gd name="T68" fmla="*/ 77 w 141"/>
                <a:gd name="T69" fmla="*/ 61 h 225"/>
                <a:gd name="T70" fmla="*/ 61 w 141"/>
                <a:gd name="T71" fmla="*/ 27 h 225"/>
                <a:gd name="T72" fmla="*/ 79 w 141"/>
                <a:gd name="T73" fmla="*/ 13 h 225"/>
                <a:gd name="T74" fmla="*/ 101 w 141"/>
                <a:gd name="T75" fmla="*/ 15 h 225"/>
                <a:gd name="T76" fmla="*/ 117 w 141"/>
                <a:gd name="T77" fmla="*/ 12 h 225"/>
                <a:gd name="T78" fmla="*/ 136 w 141"/>
                <a:gd name="T79"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1" h="225">
                  <a:moveTo>
                    <a:pt x="136" y="0"/>
                  </a:moveTo>
                  <a:lnTo>
                    <a:pt x="138" y="0"/>
                  </a:lnTo>
                  <a:lnTo>
                    <a:pt x="141" y="7"/>
                  </a:lnTo>
                  <a:lnTo>
                    <a:pt x="136" y="19"/>
                  </a:lnTo>
                  <a:lnTo>
                    <a:pt x="136" y="50"/>
                  </a:lnTo>
                  <a:lnTo>
                    <a:pt x="138" y="50"/>
                  </a:lnTo>
                  <a:lnTo>
                    <a:pt x="141" y="58"/>
                  </a:lnTo>
                  <a:lnTo>
                    <a:pt x="136" y="64"/>
                  </a:lnTo>
                  <a:lnTo>
                    <a:pt x="138" y="65"/>
                  </a:lnTo>
                  <a:lnTo>
                    <a:pt x="138" y="70"/>
                  </a:lnTo>
                  <a:lnTo>
                    <a:pt x="128" y="80"/>
                  </a:lnTo>
                  <a:lnTo>
                    <a:pt x="128" y="83"/>
                  </a:lnTo>
                  <a:lnTo>
                    <a:pt x="117" y="90"/>
                  </a:lnTo>
                  <a:lnTo>
                    <a:pt x="96" y="98"/>
                  </a:lnTo>
                  <a:lnTo>
                    <a:pt x="86" y="105"/>
                  </a:lnTo>
                  <a:lnTo>
                    <a:pt x="88" y="107"/>
                  </a:lnTo>
                  <a:lnTo>
                    <a:pt x="88" y="108"/>
                  </a:lnTo>
                  <a:lnTo>
                    <a:pt x="82" y="116"/>
                  </a:lnTo>
                  <a:lnTo>
                    <a:pt x="80" y="116"/>
                  </a:lnTo>
                  <a:lnTo>
                    <a:pt x="79" y="113"/>
                  </a:lnTo>
                  <a:lnTo>
                    <a:pt x="79" y="116"/>
                  </a:lnTo>
                  <a:lnTo>
                    <a:pt x="61" y="129"/>
                  </a:lnTo>
                  <a:lnTo>
                    <a:pt x="61" y="138"/>
                  </a:lnTo>
                  <a:lnTo>
                    <a:pt x="65" y="142"/>
                  </a:lnTo>
                  <a:lnTo>
                    <a:pt x="70" y="160"/>
                  </a:lnTo>
                  <a:lnTo>
                    <a:pt x="73" y="160"/>
                  </a:lnTo>
                  <a:lnTo>
                    <a:pt x="68" y="185"/>
                  </a:lnTo>
                  <a:lnTo>
                    <a:pt x="70" y="184"/>
                  </a:lnTo>
                  <a:lnTo>
                    <a:pt x="71" y="184"/>
                  </a:lnTo>
                  <a:lnTo>
                    <a:pt x="71" y="188"/>
                  </a:lnTo>
                  <a:lnTo>
                    <a:pt x="62" y="197"/>
                  </a:lnTo>
                  <a:lnTo>
                    <a:pt x="37" y="209"/>
                  </a:lnTo>
                  <a:lnTo>
                    <a:pt x="33" y="215"/>
                  </a:lnTo>
                  <a:lnTo>
                    <a:pt x="36" y="218"/>
                  </a:lnTo>
                  <a:lnTo>
                    <a:pt x="37" y="215"/>
                  </a:lnTo>
                  <a:lnTo>
                    <a:pt x="39" y="215"/>
                  </a:lnTo>
                  <a:lnTo>
                    <a:pt x="39" y="225"/>
                  </a:lnTo>
                  <a:lnTo>
                    <a:pt x="27" y="225"/>
                  </a:lnTo>
                  <a:lnTo>
                    <a:pt x="25" y="212"/>
                  </a:lnTo>
                  <a:lnTo>
                    <a:pt x="24" y="190"/>
                  </a:lnTo>
                  <a:lnTo>
                    <a:pt x="19" y="166"/>
                  </a:lnTo>
                  <a:lnTo>
                    <a:pt x="21" y="159"/>
                  </a:lnTo>
                  <a:lnTo>
                    <a:pt x="27" y="153"/>
                  </a:lnTo>
                  <a:lnTo>
                    <a:pt x="37" y="129"/>
                  </a:lnTo>
                  <a:lnTo>
                    <a:pt x="34" y="116"/>
                  </a:lnTo>
                  <a:lnTo>
                    <a:pt x="39" y="105"/>
                  </a:lnTo>
                  <a:lnTo>
                    <a:pt x="39" y="95"/>
                  </a:lnTo>
                  <a:lnTo>
                    <a:pt x="34" y="83"/>
                  </a:lnTo>
                  <a:lnTo>
                    <a:pt x="18" y="76"/>
                  </a:lnTo>
                  <a:lnTo>
                    <a:pt x="5" y="74"/>
                  </a:lnTo>
                  <a:lnTo>
                    <a:pt x="3" y="74"/>
                  </a:lnTo>
                  <a:lnTo>
                    <a:pt x="3" y="70"/>
                  </a:lnTo>
                  <a:lnTo>
                    <a:pt x="0" y="64"/>
                  </a:lnTo>
                  <a:lnTo>
                    <a:pt x="0" y="62"/>
                  </a:lnTo>
                  <a:lnTo>
                    <a:pt x="42" y="49"/>
                  </a:lnTo>
                  <a:lnTo>
                    <a:pt x="48" y="55"/>
                  </a:lnTo>
                  <a:lnTo>
                    <a:pt x="51" y="55"/>
                  </a:lnTo>
                  <a:lnTo>
                    <a:pt x="55" y="53"/>
                  </a:lnTo>
                  <a:lnTo>
                    <a:pt x="58" y="53"/>
                  </a:lnTo>
                  <a:lnTo>
                    <a:pt x="59" y="56"/>
                  </a:lnTo>
                  <a:lnTo>
                    <a:pt x="61" y="65"/>
                  </a:lnTo>
                  <a:lnTo>
                    <a:pt x="58" y="74"/>
                  </a:lnTo>
                  <a:lnTo>
                    <a:pt x="59" y="79"/>
                  </a:lnTo>
                  <a:lnTo>
                    <a:pt x="68" y="86"/>
                  </a:lnTo>
                  <a:lnTo>
                    <a:pt x="68" y="89"/>
                  </a:lnTo>
                  <a:lnTo>
                    <a:pt x="70" y="89"/>
                  </a:lnTo>
                  <a:lnTo>
                    <a:pt x="68" y="83"/>
                  </a:lnTo>
                  <a:lnTo>
                    <a:pt x="70" y="79"/>
                  </a:lnTo>
                  <a:lnTo>
                    <a:pt x="76" y="74"/>
                  </a:lnTo>
                  <a:lnTo>
                    <a:pt x="77" y="61"/>
                  </a:lnTo>
                  <a:lnTo>
                    <a:pt x="64" y="43"/>
                  </a:lnTo>
                  <a:lnTo>
                    <a:pt x="61" y="27"/>
                  </a:lnTo>
                  <a:lnTo>
                    <a:pt x="65" y="15"/>
                  </a:lnTo>
                  <a:lnTo>
                    <a:pt x="79" y="13"/>
                  </a:lnTo>
                  <a:lnTo>
                    <a:pt x="85" y="18"/>
                  </a:lnTo>
                  <a:lnTo>
                    <a:pt x="101" y="15"/>
                  </a:lnTo>
                  <a:lnTo>
                    <a:pt x="110" y="10"/>
                  </a:lnTo>
                  <a:lnTo>
                    <a:pt x="117" y="12"/>
                  </a:lnTo>
                  <a:lnTo>
                    <a:pt x="131" y="7"/>
                  </a:lnTo>
                  <a:lnTo>
                    <a:pt x="136" y="1"/>
                  </a:lnTo>
                  <a:lnTo>
                    <a:pt x="13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19" name="Morocco">
              <a:extLst>
                <a:ext uri="{FF2B5EF4-FFF2-40B4-BE49-F238E27FC236}">
                  <a16:creationId xmlns:a16="http://schemas.microsoft.com/office/drawing/2014/main" id="{7D03FCC4-DD23-5103-2D88-7E091703AD30}"/>
                </a:ext>
              </a:extLst>
            </p:cNvPr>
            <p:cNvSpPr>
              <a:spLocks/>
            </p:cNvSpPr>
            <p:nvPr/>
          </p:nvSpPr>
          <p:spPr bwMode="auto">
            <a:xfrm>
              <a:off x="5522258" y="3683876"/>
              <a:ext cx="280095" cy="227690"/>
            </a:xfrm>
            <a:custGeom>
              <a:avLst/>
              <a:gdLst>
                <a:gd name="T0" fmla="*/ 99 w 155"/>
                <a:gd name="T1" fmla="*/ 0 h 126"/>
                <a:gd name="T2" fmla="*/ 101 w 155"/>
                <a:gd name="T3" fmla="*/ 0 h 126"/>
                <a:gd name="T4" fmla="*/ 105 w 155"/>
                <a:gd name="T5" fmla="*/ 7 h 126"/>
                <a:gd name="T6" fmla="*/ 114 w 155"/>
                <a:gd name="T7" fmla="*/ 12 h 126"/>
                <a:gd name="T8" fmla="*/ 130 w 155"/>
                <a:gd name="T9" fmla="*/ 9 h 126"/>
                <a:gd name="T10" fmla="*/ 144 w 155"/>
                <a:gd name="T11" fmla="*/ 13 h 126"/>
                <a:gd name="T12" fmla="*/ 144 w 155"/>
                <a:gd name="T13" fmla="*/ 15 h 126"/>
                <a:gd name="T14" fmla="*/ 142 w 155"/>
                <a:gd name="T15" fmla="*/ 15 h 126"/>
                <a:gd name="T16" fmla="*/ 147 w 155"/>
                <a:gd name="T17" fmla="*/ 18 h 126"/>
                <a:gd name="T18" fmla="*/ 148 w 155"/>
                <a:gd name="T19" fmla="*/ 18 h 126"/>
                <a:gd name="T20" fmla="*/ 150 w 155"/>
                <a:gd name="T21" fmla="*/ 44 h 126"/>
                <a:gd name="T22" fmla="*/ 155 w 155"/>
                <a:gd name="T23" fmla="*/ 53 h 126"/>
                <a:gd name="T24" fmla="*/ 154 w 155"/>
                <a:gd name="T25" fmla="*/ 56 h 126"/>
                <a:gd name="T26" fmla="*/ 155 w 155"/>
                <a:gd name="T27" fmla="*/ 58 h 126"/>
                <a:gd name="T28" fmla="*/ 155 w 155"/>
                <a:gd name="T29" fmla="*/ 59 h 126"/>
                <a:gd name="T30" fmla="*/ 154 w 155"/>
                <a:gd name="T31" fmla="*/ 59 h 126"/>
                <a:gd name="T32" fmla="*/ 132 w 155"/>
                <a:gd name="T33" fmla="*/ 61 h 126"/>
                <a:gd name="T34" fmla="*/ 130 w 155"/>
                <a:gd name="T35" fmla="*/ 64 h 126"/>
                <a:gd name="T36" fmla="*/ 120 w 155"/>
                <a:gd name="T37" fmla="*/ 67 h 126"/>
                <a:gd name="T38" fmla="*/ 120 w 155"/>
                <a:gd name="T39" fmla="*/ 74 h 126"/>
                <a:gd name="T40" fmla="*/ 123 w 155"/>
                <a:gd name="T41" fmla="*/ 77 h 126"/>
                <a:gd name="T42" fmla="*/ 121 w 155"/>
                <a:gd name="T43" fmla="*/ 77 h 126"/>
                <a:gd name="T44" fmla="*/ 107 w 155"/>
                <a:gd name="T45" fmla="*/ 84 h 126"/>
                <a:gd name="T46" fmla="*/ 96 w 155"/>
                <a:gd name="T47" fmla="*/ 93 h 126"/>
                <a:gd name="T48" fmla="*/ 84 w 155"/>
                <a:gd name="T49" fmla="*/ 95 h 126"/>
                <a:gd name="T50" fmla="*/ 83 w 155"/>
                <a:gd name="T51" fmla="*/ 98 h 126"/>
                <a:gd name="T52" fmla="*/ 77 w 155"/>
                <a:gd name="T53" fmla="*/ 98 h 126"/>
                <a:gd name="T54" fmla="*/ 64 w 155"/>
                <a:gd name="T55" fmla="*/ 105 h 126"/>
                <a:gd name="T56" fmla="*/ 58 w 155"/>
                <a:gd name="T57" fmla="*/ 110 h 126"/>
                <a:gd name="T58" fmla="*/ 58 w 155"/>
                <a:gd name="T59" fmla="*/ 126 h 126"/>
                <a:gd name="T60" fmla="*/ 0 w 155"/>
                <a:gd name="T61" fmla="*/ 126 h 126"/>
                <a:gd name="T62" fmla="*/ 0 w 155"/>
                <a:gd name="T63" fmla="*/ 123 h 126"/>
                <a:gd name="T64" fmla="*/ 1 w 155"/>
                <a:gd name="T65" fmla="*/ 123 h 126"/>
                <a:gd name="T66" fmla="*/ 18 w 155"/>
                <a:gd name="T67" fmla="*/ 117 h 126"/>
                <a:gd name="T68" fmla="*/ 34 w 155"/>
                <a:gd name="T69" fmla="*/ 104 h 126"/>
                <a:gd name="T70" fmla="*/ 38 w 155"/>
                <a:gd name="T71" fmla="*/ 98 h 126"/>
                <a:gd name="T72" fmla="*/ 43 w 155"/>
                <a:gd name="T73" fmla="*/ 90 h 126"/>
                <a:gd name="T74" fmla="*/ 40 w 155"/>
                <a:gd name="T75" fmla="*/ 83 h 126"/>
                <a:gd name="T76" fmla="*/ 41 w 155"/>
                <a:gd name="T77" fmla="*/ 71 h 126"/>
                <a:gd name="T78" fmla="*/ 49 w 155"/>
                <a:gd name="T79" fmla="*/ 61 h 126"/>
                <a:gd name="T80" fmla="*/ 50 w 155"/>
                <a:gd name="T81" fmla="*/ 53 h 126"/>
                <a:gd name="T82" fmla="*/ 61 w 155"/>
                <a:gd name="T83" fmla="*/ 41 h 126"/>
                <a:gd name="T84" fmla="*/ 83 w 155"/>
                <a:gd name="T85" fmla="*/ 28 h 126"/>
                <a:gd name="T86" fmla="*/ 93 w 155"/>
                <a:gd name="T87" fmla="*/ 3 h 126"/>
                <a:gd name="T88" fmla="*/ 99 w 155"/>
                <a:gd name="T8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126">
                  <a:moveTo>
                    <a:pt x="99" y="0"/>
                  </a:moveTo>
                  <a:lnTo>
                    <a:pt x="101" y="0"/>
                  </a:lnTo>
                  <a:lnTo>
                    <a:pt x="105" y="7"/>
                  </a:lnTo>
                  <a:lnTo>
                    <a:pt x="114" y="12"/>
                  </a:lnTo>
                  <a:lnTo>
                    <a:pt x="130" y="9"/>
                  </a:lnTo>
                  <a:lnTo>
                    <a:pt x="144" y="13"/>
                  </a:lnTo>
                  <a:lnTo>
                    <a:pt x="144" y="15"/>
                  </a:lnTo>
                  <a:lnTo>
                    <a:pt x="142" y="15"/>
                  </a:lnTo>
                  <a:lnTo>
                    <a:pt x="147" y="18"/>
                  </a:lnTo>
                  <a:lnTo>
                    <a:pt x="148" y="18"/>
                  </a:lnTo>
                  <a:lnTo>
                    <a:pt x="150" y="44"/>
                  </a:lnTo>
                  <a:lnTo>
                    <a:pt x="155" y="53"/>
                  </a:lnTo>
                  <a:lnTo>
                    <a:pt x="154" y="56"/>
                  </a:lnTo>
                  <a:lnTo>
                    <a:pt x="155" y="58"/>
                  </a:lnTo>
                  <a:lnTo>
                    <a:pt x="155" y="59"/>
                  </a:lnTo>
                  <a:lnTo>
                    <a:pt x="154" y="59"/>
                  </a:lnTo>
                  <a:lnTo>
                    <a:pt x="132" y="61"/>
                  </a:lnTo>
                  <a:lnTo>
                    <a:pt x="130" y="64"/>
                  </a:lnTo>
                  <a:lnTo>
                    <a:pt x="120" y="67"/>
                  </a:lnTo>
                  <a:lnTo>
                    <a:pt x="120" y="74"/>
                  </a:lnTo>
                  <a:lnTo>
                    <a:pt x="123" y="77"/>
                  </a:lnTo>
                  <a:lnTo>
                    <a:pt x="121" y="77"/>
                  </a:lnTo>
                  <a:lnTo>
                    <a:pt x="107" y="84"/>
                  </a:lnTo>
                  <a:lnTo>
                    <a:pt x="96" y="93"/>
                  </a:lnTo>
                  <a:lnTo>
                    <a:pt x="84" y="95"/>
                  </a:lnTo>
                  <a:lnTo>
                    <a:pt x="83" y="98"/>
                  </a:lnTo>
                  <a:lnTo>
                    <a:pt x="77" y="98"/>
                  </a:lnTo>
                  <a:lnTo>
                    <a:pt x="64" y="105"/>
                  </a:lnTo>
                  <a:lnTo>
                    <a:pt x="58" y="110"/>
                  </a:lnTo>
                  <a:lnTo>
                    <a:pt x="58" y="126"/>
                  </a:lnTo>
                  <a:lnTo>
                    <a:pt x="0" y="126"/>
                  </a:lnTo>
                  <a:lnTo>
                    <a:pt x="0" y="123"/>
                  </a:lnTo>
                  <a:lnTo>
                    <a:pt x="1" y="123"/>
                  </a:lnTo>
                  <a:lnTo>
                    <a:pt x="18" y="117"/>
                  </a:lnTo>
                  <a:lnTo>
                    <a:pt x="34" y="104"/>
                  </a:lnTo>
                  <a:lnTo>
                    <a:pt x="38" y="98"/>
                  </a:lnTo>
                  <a:lnTo>
                    <a:pt x="43" y="90"/>
                  </a:lnTo>
                  <a:lnTo>
                    <a:pt x="40" y="83"/>
                  </a:lnTo>
                  <a:lnTo>
                    <a:pt x="41" y="71"/>
                  </a:lnTo>
                  <a:lnTo>
                    <a:pt x="49" y="61"/>
                  </a:lnTo>
                  <a:lnTo>
                    <a:pt x="50" y="53"/>
                  </a:lnTo>
                  <a:lnTo>
                    <a:pt x="61" y="41"/>
                  </a:lnTo>
                  <a:lnTo>
                    <a:pt x="83" y="28"/>
                  </a:lnTo>
                  <a:lnTo>
                    <a:pt x="93" y="3"/>
                  </a:lnTo>
                  <a:lnTo>
                    <a:pt x="9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0" name="Malawi">
              <a:extLst>
                <a:ext uri="{FF2B5EF4-FFF2-40B4-BE49-F238E27FC236}">
                  <a16:creationId xmlns:a16="http://schemas.microsoft.com/office/drawing/2014/main" id="{4177B6E3-188B-FFDB-DA15-E41D30237AB5}"/>
                </a:ext>
              </a:extLst>
            </p:cNvPr>
            <p:cNvSpPr>
              <a:spLocks/>
            </p:cNvSpPr>
            <p:nvPr/>
          </p:nvSpPr>
          <p:spPr bwMode="auto">
            <a:xfrm>
              <a:off x="6599266" y="4809676"/>
              <a:ext cx="77705" cy="186128"/>
            </a:xfrm>
            <a:custGeom>
              <a:avLst/>
              <a:gdLst>
                <a:gd name="T0" fmla="*/ 4 w 43"/>
                <a:gd name="T1" fmla="*/ 0 h 103"/>
                <a:gd name="T2" fmla="*/ 12 w 43"/>
                <a:gd name="T3" fmla="*/ 3 h 103"/>
                <a:gd name="T4" fmla="*/ 17 w 43"/>
                <a:gd name="T5" fmla="*/ 3 h 103"/>
                <a:gd name="T6" fmla="*/ 16 w 43"/>
                <a:gd name="T7" fmla="*/ 7 h 103"/>
                <a:gd name="T8" fmla="*/ 20 w 43"/>
                <a:gd name="T9" fmla="*/ 13 h 103"/>
                <a:gd name="T10" fmla="*/ 20 w 43"/>
                <a:gd name="T11" fmla="*/ 31 h 103"/>
                <a:gd name="T12" fmla="*/ 17 w 43"/>
                <a:gd name="T13" fmla="*/ 40 h 103"/>
                <a:gd name="T14" fmla="*/ 25 w 43"/>
                <a:gd name="T15" fmla="*/ 59 h 103"/>
                <a:gd name="T16" fmla="*/ 25 w 43"/>
                <a:gd name="T17" fmla="*/ 63 h 103"/>
                <a:gd name="T18" fmla="*/ 28 w 43"/>
                <a:gd name="T19" fmla="*/ 62 h 103"/>
                <a:gd name="T20" fmla="*/ 29 w 43"/>
                <a:gd name="T21" fmla="*/ 62 h 103"/>
                <a:gd name="T22" fmla="*/ 32 w 43"/>
                <a:gd name="T23" fmla="*/ 65 h 103"/>
                <a:gd name="T24" fmla="*/ 28 w 43"/>
                <a:gd name="T25" fmla="*/ 56 h 103"/>
                <a:gd name="T26" fmla="*/ 28 w 43"/>
                <a:gd name="T27" fmla="*/ 54 h 103"/>
                <a:gd name="T28" fmla="*/ 29 w 43"/>
                <a:gd name="T29" fmla="*/ 54 h 103"/>
                <a:gd name="T30" fmla="*/ 43 w 43"/>
                <a:gd name="T31" fmla="*/ 72 h 103"/>
                <a:gd name="T32" fmla="*/ 43 w 43"/>
                <a:gd name="T33" fmla="*/ 74 h 103"/>
                <a:gd name="T34" fmla="*/ 41 w 43"/>
                <a:gd name="T35" fmla="*/ 87 h 103"/>
                <a:gd name="T36" fmla="*/ 35 w 43"/>
                <a:gd name="T37" fmla="*/ 92 h 103"/>
                <a:gd name="T38" fmla="*/ 34 w 43"/>
                <a:gd name="T39" fmla="*/ 96 h 103"/>
                <a:gd name="T40" fmla="*/ 35 w 43"/>
                <a:gd name="T41" fmla="*/ 103 h 103"/>
                <a:gd name="T42" fmla="*/ 31 w 43"/>
                <a:gd name="T43" fmla="*/ 103 h 103"/>
                <a:gd name="T44" fmla="*/ 31 w 43"/>
                <a:gd name="T45" fmla="*/ 100 h 103"/>
                <a:gd name="T46" fmla="*/ 22 w 43"/>
                <a:gd name="T47" fmla="*/ 92 h 103"/>
                <a:gd name="T48" fmla="*/ 20 w 43"/>
                <a:gd name="T49" fmla="*/ 87 h 103"/>
                <a:gd name="T50" fmla="*/ 25 w 43"/>
                <a:gd name="T51" fmla="*/ 78 h 103"/>
                <a:gd name="T52" fmla="*/ 22 w 43"/>
                <a:gd name="T53" fmla="*/ 69 h 103"/>
                <a:gd name="T54" fmla="*/ 22 w 43"/>
                <a:gd name="T55" fmla="*/ 68 h 103"/>
                <a:gd name="T56" fmla="*/ 19 w 43"/>
                <a:gd name="T57" fmla="*/ 68 h 103"/>
                <a:gd name="T58" fmla="*/ 15 w 43"/>
                <a:gd name="T59" fmla="*/ 69 h 103"/>
                <a:gd name="T60" fmla="*/ 12 w 43"/>
                <a:gd name="T61" fmla="*/ 69 h 103"/>
                <a:gd name="T62" fmla="*/ 6 w 43"/>
                <a:gd name="T63" fmla="*/ 62 h 103"/>
                <a:gd name="T64" fmla="*/ 1 w 43"/>
                <a:gd name="T65" fmla="*/ 57 h 103"/>
                <a:gd name="T66" fmla="*/ 0 w 43"/>
                <a:gd name="T67" fmla="*/ 57 h 103"/>
                <a:gd name="T68" fmla="*/ 0 w 43"/>
                <a:gd name="T69" fmla="*/ 56 h 103"/>
                <a:gd name="T70" fmla="*/ 4 w 43"/>
                <a:gd name="T71" fmla="*/ 44 h 103"/>
                <a:gd name="T72" fmla="*/ 9 w 43"/>
                <a:gd name="T73" fmla="*/ 41 h 103"/>
                <a:gd name="T74" fmla="*/ 7 w 43"/>
                <a:gd name="T75" fmla="*/ 38 h 103"/>
                <a:gd name="T76" fmla="*/ 7 w 43"/>
                <a:gd name="T77" fmla="*/ 29 h 103"/>
                <a:gd name="T78" fmla="*/ 9 w 43"/>
                <a:gd name="T79" fmla="*/ 20 h 103"/>
                <a:gd name="T80" fmla="*/ 12 w 43"/>
                <a:gd name="T81" fmla="*/ 17 h 103"/>
                <a:gd name="T82" fmla="*/ 4 w 43"/>
                <a:gd name="T83" fmla="*/ 1 h 103"/>
                <a:gd name="T84" fmla="*/ 4 w 43"/>
                <a:gd name="T8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103">
                  <a:moveTo>
                    <a:pt x="4" y="0"/>
                  </a:moveTo>
                  <a:lnTo>
                    <a:pt x="12" y="3"/>
                  </a:lnTo>
                  <a:lnTo>
                    <a:pt x="17" y="3"/>
                  </a:lnTo>
                  <a:lnTo>
                    <a:pt x="16" y="7"/>
                  </a:lnTo>
                  <a:lnTo>
                    <a:pt x="20" y="13"/>
                  </a:lnTo>
                  <a:lnTo>
                    <a:pt x="20" y="31"/>
                  </a:lnTo>
                  <a:lnTo>
                    <a:pt x="17" y="40"/>
                  </a:lnTo>
                  <a:lnTo>
                    <a:pt x="25" y="59"/>
                  </a:lnTo>
                  <a:lnTo>
                    <a:pt x="25" y="63"/>
                  </a:lnTo>
                  <a:lnTo>
                    <a:pt x="28" y="62"/>
                  </a:lnTo>
                  <a:lnTo>
                    <a:pt x="29" y="62"/>
                  </a:lnTo>
                  <a:lnTo>
                    <a:pt x="32" y="65"/>
                  </a:lnTo>
                  <a:lnTo>
                    <a:pt x="28" y="56"/>
                  </a:lnTo>
                  <a:lnTo>
                    <a:pt x="28" y="54"/>
                  </a:lnTo>
                  <a:lnTo>
                    <a:pt x="29" y="54"/>
                  </a:lnTo>
                  <a:lnTo>
                    <a:pt x="43" y="72"/>
                  </a:lnTo>
                  <a:lnTo>
                    <a:pt x="43" y="74"/>
                  </a:lnTo>
                  <a:lnTo>
                    <a:pt x="41" y="87"/>
                  </a:lnTo>
                  <a:lnTo>
                    <a:pt x="35" y="92"/>
                  </a:lnTo>
                  <a:lnTo>
                    <a:pt x="34" y="96"/>
                  </a:lnTo>
                  <a:lnTo>
                    <a:pt x="35" y="103"/>
                  </a:lnTo>
                  <a:lnTo>
                    <a:pt x="31" y="103"/>
                  </a:lnTo>
                  <a:lnTo>
                    <a:pt x="31" y="100"/>
                  </a:lnTo>
                  <a:lnTo>
                    <a:pt x="22" y="92"/>
                  </a:lnTo>
                  <a:lnTo>
                    <a:pt x="20" y="87"/>
                  </a:lnTo>
                  <a:lnTo>
                    <a:pt x="25" y="78"/>
                  </a:lnTo>
                  <a:lnTo>
                    <a:pt x="22" y="69"/>
                  </a:lnTo>
                  <a:lnTo>
                    <a:pt x="22" y="68"/>
                  </a:lnTo>
                  <a:lnTo>
                    <a:pt x="19" y="68"/>
                  </a:lnTo>
                  <a:lnTo>
                    <a:pt x="15" y="69"/>
                  </a:lnTo>
                  <a:lnTo>
                    <a:pt x="12" y="69"/>
                  </a:lnTo>
                  <a:lnTo>
                    <a:pt x="6" y="62"/>
                  </a:lnTo>
                  <a:lnTo>
                    <a:pt x="1" y="57"/>
                  </a:lnTo>
                  <a:lnTo>
                    <a:pt x="0" y="57"/>
                  </a:lnTo>
                  <a:lnTo>
                    <a:pt x="0" y="56"/>
                  </a:lnTo>
                  <a:lnTo>
                    <a:pt x="4" y="44"/>
                  </a:lnTo>
                  <a:lnTo>
                    <a:pt x="9" y="41"/>
                  </a:lnTo>
                  <a:lnTo>
                    <a:pt x="7" y="38"/>
                  </a:lnTo>
                  <a:lnTo>
                    <a:pt x="7" y="29"/>
                  </a:lnTo>
                  <a:lnTo>
                    <a:pt x="9" y="20"/>
                  </a:lnTo>
                  <a:lnTo>
                    <a:pt x="12" y="17"/>
                  </a:lnTo>
                  <a:lnTo>
                    <a:pt x="4" y="1"/>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1" name="Libya">
              <a:extLst>
                <a:ext uri="{FF2B5EF4-FFF2-40B4-BE49-F238E27FC236}">
                  <a16:creationId xmlns:a16="http://schemas.microsoft.com/office/drawing/2014/main" id="{9291213A-67A0-DDE4-8F50-DC34660AA39C}"/>
                </a:ext>
              </a:extLst>
            </p:cNvPr>
            <p:cNvSpPr>
              <a:spLocks/>
            </p:cNvSpPr>
            <p:nvPr/>
          </p:nvSpPr>
          <p:spPr bwMode="auto">
            <a:xfrm>
              <a:off x="6040885" y="3761580"/>
              <a:ext cx="377676" cy="361412"/>
            </a:xfrm>
            <a:custGeom>
              <a:avLst/>
              <a:gdLst>
                <a:gd name="T0" fmla="*/ 29 w 209"/>
                <a:gd name="T1" fmla="*/ 0 h 200"/>
                <a:gd name="T2" fmla="*/ 30 w 209"/>
                <a:gd name="T3" fmla="*/ 0 h 200"/>
                <a:gd name="T4" fmla="*/ 42 w 209"/>
                <a:gd name="T5" fmla="*/ 6 h 200"/>
                <a:gd name="T6" fmla="*/ 61 w 209"/>
                <a:gd name="T7" fmla="*/ 6 h 200"/>
                <a:gd name="T8" fmla="*/ 79 w 209"/>
                <a:gd name="T9" fmla="*/ 13 h 200"/>
                <a:gd name="T10" fmla="*/ 86 w 209"/>
                <a:gd name="T11" fmla="*/ 28 h 200"/>
                <a:gd name="T12" fmla="*/ 112 w 209"/>
                <a:gd name="T13" fmla="*/ 34 h 200"/>
                <a:gd name="T14" fmla="*/ 126 w 209"/>
                <a:gd name="T15" fmla="*/ 44 h 200"/>
                <a:gd name="T16" fmla="*/ 138 w 209"/>
                <a:gd name="T17" fmla="*/ 38 h 200"/>
                <a:gd name="T18" fmla="*/ 141 w 209"/>
                <a:gd name="T19" fmla="*/ 33 h 200"/>
                <a:gd name="T20" fmla="*/ 140 w 209"/>
                <a:gd name="T21" fmla="*/ 25 h 200"/>
                <a:gd name="T22" fmla="*/ 141 w 209"/>
                <a:gd name="T23" fmla="*/ 18 h 200"/>
                <a:gd name="T24" fmla="*/ 155 w 209"/>
                <a:gd name="T25" fmla="*/ 6 h 200"/>
                <a:gd name="T26" fmla="*/ 168 w 209"/>
                <a:gd name="T27" fmla="*/ 4 h 200"/>
                <a:gd name="T28" fmla="*/ 180 w 209"/>
                <a:gd name="T29" fmla="*/ 7 h 200"/>
                <a:gd name="T30" fmla="*/ 184 w 209"/>
                <a:gd name="T31" fmla="*/ 15 h 200"/>
                <a:gd name="T32" fmla="*/ 205 w 209"/>
                <a:gd name="T33" fmla="*/ 19 h 200"/>
                <a:gd name="T34" fmla="*/ 206 w 209"/>
                <a:gd name="T35" fmla="*/ 19 h 200"/>
                <a:gd name="T36" fmla="*/ 209 w 209"/>
                <a:gd name="T37" fmla="*/ 24 h 200"/>
                <a:gd name="T38" fmla="*/ 209 w 209"/>
                <a:gd name="T39" fmla="*/ 25 h 200"/>
                <a:gd name="T40" fmla="*/ 205 w 209"/>
                <a:gd name="T41" fmla="*/ 30 h 200"/>
                <a:gd name="T42" fmla="*/ 206 w 209"/>
                <a:gd name="T43" fmla="*/ 44 h 200"/>
                <a:gd name="T44" fmla="*/ 203 w 209"/>
                <a:gd name="T45" fmla="*/ 47 h 200"/>
                <a:gd name="T46" fmla="*/ 205 w 209"/>
                <a:gd name="T47" fmla="*/ 59 h 200"/>
                <a:gd name="T48" fmla="*/ 208 w 209"/>
                <a:gd name="T49" fmla="*/ 62 h 200"/>
                <a:gd name="T50" fmla="*/ 209 w 209"/>
                <a:gd name="T51" fmla="*/ 62 h 200"/>
                <a:gd name="T52" fmla="*/ 209 w 209"/>
                <a:gd name="T53" fmla="*/ 193 h 200"/>
                <a:gd name="T54" fmla="*/ 196 w 209"/>
                <a:gd name="T55" fmla="*/ 193 h 200"/>
                <a:gd name="T56" fmla="*/ 196 w 209"/>
                <a:gd name="T57" fmla="*/ 200 h 200"/>
                <a:gd name="T58" fmla="*/ 195 w 209"/>
                <a:gd name="T59" fmla="*/ 200 h 200"/>
                <a:gd name="T60" fmla="*/ 91 w 209"/>
                <a:gd name="T61" fmla="*/ 147 h 200"/>
                <a:gd name="T62" fmla="*/ 79 w 209"/>
                <a:gd name="T63" fmla="*/ 151 h 200"/>
                <a:gd name="T64" fmla="*/ 74 w 209"/>
                <a:gd name="T65" fmla="*/ 153 h 200"/>
                <a:gd name="T66" fmla="*/ 73 w 209"/>
                <a:gd name="T67" fmla="*/ 153 h 200"/>
                <a:gd name="T68" fmla="*/ 63 w 209"/>
                <a:gd name="T69" fmla="*/ 144 h 200"/>
                <a:gd name="T70" fmla="*/ 36 w 209"/>
                <a:gd name="T71" fmla="*/ 145 h 200"/>
                <a:gd name="T72" fmla="*/ 34 w 209"/>
                <a:gd name="T73" fmla="*/ 145 h 200"/>
                <a:gd name="T74" fmla="*/ 34 w 209"/>
                <a:gd name="T75" fmla="*/ 144 h 200"/>
                <a:gd name="T76" fmla="*/ 29 w 209"/>
                <a:gd name="T77" fmla="*/ 132 h 200"/>
                <a:gd name="T78" fmla="*/ 15 w 209"/>
                <a:gd name="T79" fmla="*/ 129 h 200"/>
                <a:gd name="T80" fmla="*/ 12 w 209"/>
                <a:gd name="T81" fmla="*/ 126 h 200"/>
                <a:gd name="T82" fmla="*/ 9 w 209"/>
                <a:gd name="T83" fmla="*/ 117 h 200"/>
                <a:gd name="T84" fmla="*/ 2 w 209"/>
                <a:gd name="T85" fmla="*/ 105 h 200"/>
                <a:gd name="T86" fmla="*/ 6 w 209"/>
                <a:gd name="T87" fmla="*/ 101 h 200"/>
                <a:gd name="T88" fmla="*/ 8 w 209"/>
                <a:gd name="T89" fmla="*/ 81 h 200"/>
                <a:gd name="T90" fmla="*/ 6 w 209"/>
                <a:gd name="T91" fmla="*/ 59 h 200"/>
                <a:gd name="T92" fmla="*/ 0 w 209"/>
                <a:gd name="T93" fmla="*/ 50 h 200"/>
                <a:gd name="T94" fmla="*/ 5 w 209"/>
                <a:gd name="T95" fmla="*/ 44 h 200"/>
                <a:gd name="T96" fmla="*/ 12 w 209"/>
                <a:gd name="T97" fmla="*/ 37 h 200"/>
                <a:gd name="T98" fmla="*/ 12 w 209"/>
                <a:gd name="T99" fmla="*/ 24 h 200"/>
                <a:gd name="T100" fmla="*/ 14 w 209"/>
                <a:gd name="T101" fmla="*/ 24 h 200"/>
                <a:gd name="T102" fmla="*/ 29 w 209"/>
                <a:gd name="T103" fmla="*/ 13 h 200"/>
                <a:gd name="T104" fmla="*/ 29 w 209"/>
                <a:gd name="T10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00">
                  <a:moveTo>
                    <a:pt x="29" y="0"/>
                  </a:moveTo>
                  <a:lnTo>
                    <a:pt x="30" y="0"/>
                  </a:lnTo>
                  <a:lnTo>
                    <a:pt x="42" y="6"/>
                  </a:lnTo>
                  <a:lnTo>
                    <a:pt x="61" y="6"/>
                  </a:lnTo>
                  <a:lnTo>
                    <a:pt x="79" y="13"/>
                  </a:lnTo>
                  <a:lnTo>
                    <a:pt x="86" y="28"/>
                  </a:lnTo>
                  <a:lnTo>
                    <a:pt x="112" y="34"/>
                  </a:lnTo>
                  <a:lnTo>
                    <a:pt x="126" y="44"/>
                  </a:lnTo>
                  <a:lnTo>
                    <a:pt x="138" y="38"/>
                  </a:lnTo>
                  <a:lnTo>
                    <a:pt x="141" y="33"/>
                  </a:lnTo>
                  <a:lnTo>
                    <a:pt x="140" y="25"/>
                  </a:lnTo>
                  <a:lnTo>
                    <a:pt x="141" y="18"/>
                  </a:lnTo>
                  <a:lnTo>
                    <a:pt x="155" y="6"/>
                  </a:lnTo>
                  <a:lnTo>
                    <a:pt x="168" y="4"/>
                  </a:lnTo>
                  <a:lnTo>
                    <a:pt x="180" y="7"/>
                  </a:lnTo>
                  <a:lnTo>
                    <a:pt x="184" y="15"/>
                  </a:lnTo>
                  <a:lnTo>
                    <a:pt x="205" y="19"/>
                  </a:lnTo>
                  <a:lnTo>
                    <a:pt x="206" y="19"/>
                  </a:lnTo>
                  <a:lnTo>
                    <a:pt x="209" y="24"/>
                  </a:lnTo>
                  <a:lnTo>
                    <a:pt x="209" y="25"/>
                  </a:lnTo>
                  <a:lnTo>
                    <a:pt x="205" y="30"/>
                  </a:lnTo>
                  <a:lnTo>
                    <a:pt x="206" y="44"/>
                  </a:lnTo>
                  <a:lnTo>
                    <a:pt x="203" y="47"/>
                  </a:lnTo>
                  <a:lnTo>
                    <a:pt x="205" y="59"/>
                  </a:lnTo>
                  <a:lnTo>
                    <a:pt x="208" y="62"/>
                  </a:lnTo>
                  <a:lnTo>
                    <a:pt x="209" y="62"/>
                  </a:lnTo>
                  <a:lnTo>
                    <a:pt x="209" y="193"/>
                  </a:lnTo>
                  <a:lnTo>
                    <a:pt x="196" y="193"/>
                  </a:lnTo>
                  <a:lnTo>
                    <a:pt x="196" y="200"/>
                  </a:lnTo>
                  <a:lnTo>
                    <a:pt x="195" y="200"/>
                  </a:lnTo>
                  <a:lnTo>
                    <a:pt x="91" y="147"/>
                  </a:lnTo>
                  <a:lnTo>
                    <a:pt x="79" y="151"/>
                  </a:lnTo>
                  <a:lnTo>
                    <a:pt x="74" y="153"/>
                  </a:lnTo>
                  <a:lnTo>
                    <a:pt x="73" y="153"/>
                  </a:lnTo>
                  <a:lnTo>
                    <a:pt x="63" y="144"/>
                  </a:lnTo>
                  <a:lnTo>
                    <a:pt x="36" y="145"/>
                  </a:lnTo>
                  <a:lnTo>
                    <a:pt x="34" y="145"/>
                  </a:lnTo>
                  <a:lnTo>
                    <a:pt x="34" y="144"/>
                  </a:lnTo>
                  <a:lnTo>
                    <a:pt x="29" y="132"/>
                  </a:lnTo>
                  <a:lnTo>
                    <a:pt x="15" y="129"/>
                  </a:lnTo>
                  <a:lnTo>
                    <a:pt x="12" y="126"/>
                  </a:lnTo>
                  <a:lnTo>
                    <a:pt x="9" y="117"/>
                  </a:lnTo>
                  <a:lnTo>
                    <a:pt x="2" y="105"/>
                  </a:lnTo>
                  <a:lnTo>
                    <a:pt x="6" y="101"/>
                  </a:lnTo>
                  <a:lnTo>
                    <a:pt x="8" y="81"/>
                  </a:lnTo>
                  <a:lnTo>
                    <a:pt x="6" y="59"/>
                  </a:lnTo>
                  <a:lnTo>
                    <a:pt x="0" y="50"/>
                  </a:lnTo>
                  <a:lnTo>
                    <a:pt x="5" y="44"/>
                  </a:lnTo>
                  <a:lnTo>
                    <a:pt x="12" y="37"/>
                  </a:lnTo>
                  <a:lnTo>
                    <a:pt x="12" y="24"/>
                  </a:lnTo>
                  <a:lnTo>
                    <a:pt x="14" y="24"/>
                  </a:lnTo>
                  <a:lnTo>
                    <a:pt x="29" y="13"/>
                  </a:lnTo>
                  <a:lnTo>
                    <a:pt x="2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2" name="Liberia">
              <a:extLst>
                <a:ext uri="{FF2B5EF4-FFF2-40B4-BE49-F238E27FC236}">
                  <a16:creationId xmlns:a16="http://schemas.microsoft.com/office/drawing/2014/main" id="{6737C4C3-D9F2-06B9-E866-148E786911AE}"/>
                </a:ext>
              </a:extLst>
            </p:cNvPr>
            <p:cNvSpPr>
              <a:spLocks/>
            </p:cNvSpPr>
            <p:nvPr/>
          </p:nvSpPr>
          <p:spPr bwMode="auto">
            <a:xfrm>
              <a:off x="5554785" y="4385017"/>
              <a:ext cx="97581" cy="103003"/>
            </a:xfrm>
            <a:custGeom>
              <a:avLst/>
              <a:gdLst>
                <a:gd name="T0" fmla="*/ 23 w 54"/>
                <a:gd name="T1" fmla="*/ 0 h 57"/>
                <a:gd name="T2" fmla="*/ 25 w 54"/>
                <a:gd name="T3" fmla="*/ 0 h 57"/>
                <a:gd name="T4" fmla="*/ 28 w 54"/>
                <a:gd name="T5" fmla="*/ 3 h 57"/>
                <a:gd name="T6" fmla="*/ 29 w 54"/>
                <a:gd name="T7" fmla="*/ 11 h 57"/>
                <a:gd name="T8" fmla="*/ 28 w 54"/>
                <a:gd name="T9" fmla="*/ 17 h 57"/>
                <a:gd name="T10" fmla="*/ 34 w 54"/>
                <a:gd name="T11" fmla="*/ 18 h 57"/>
                <a:gd name="T12" fmla="*/ 37 w 54"/>
                <a:gd name="T13" fmla="*/ 12 h 57"/>
                <a:gd name="T14" fmla="*/ 38 w 54"/>
                <a:gd name="T15" fmla="*/ 12 h 57"/>
                <a:gd name="T16" fmla="*/ 41 w 54"/>
                <a:gd name="T17" fmla="*/ 14 h 57"/>
                <a:gd name="T18" fmla="*/ 44 w 54"/>
                <a:gd name="T19" fmla="*/ 20 h 57"/>
                <a:gd name="T20" fmla="*/ 41 w 54"/>
                <a:gd name="T21" fmla="*/ 29 h 57"/>
                <a:gd name="T22" fmla="*/ 47 w 54"/>
                <a:gd name="T23" fmla="*/ 30 h 57"/>
                <a:gd name="T24" fmla="*/ 49 w 54"/>
                <a:gd name="T25" fmla="*/ 30 h 57"/>
                <a:gd name="T26" fmla="*/ 50 w 54"/>
                <a:gd name="T27" fmla="*/ 36 h 57"/>
                <a:gd name="T28" fmla="*/ 54 w 54"/>
                <a:gd name="T29" fmla="*/ 36 h 57"/>
                <a:gd name="T30" fmla="*/ 53 w 54"/>
                <a:gd name="T31" fmla="*/ 55 h 57"/>
                <a:gd name="T32" fmla="*/ 53 w 54"/>
                <a:gd name="T33" fmla="*/ 57 h 57"/>
                <a:gd name="T34" fmla="*/ 29 w 54"/>
                <a:gd name="T35" fmla="*/ 46 h 57"/>
                <a:gd name="T36" fmla="*/ 1 w 54"/>
                <a:gd name="T37" fmla="*/ 23 h 57"/>
                <a:gd name="T38" fmla="*/ 0 w 54"/>
                <a:gd name="T39" fmla="*/ 23 h 57"/>
                <a:gd name="T40" fmla="*/ 0 w 54"/>
                <a:gd name="T41" fmla="*/ 21 h 57"/>
                <a:gd name="T42" fmla="*/ 1 w 54"/>
                <a:gd name="T43" fmla="*/ 21 h 57"/>
                <a:gd name="T44" fmla="*/ 13 w 54"/>
                <a:gd name="T45" fmla="*/ 12 h 57"/>
                <a:gd name="T46" fmla="*/ 13 w 54"/>
                <a:gd name="T47" fmla="*/ 6 h 57"/>
                <a:gd name="T48" fmla="*/ 16 w 54"/>
                <a:gd name="T49" fmla="*/ 6 h 57"/>
                <a:gd name="T50" fmla="*/ 16 w 54"/>
                <a:gd name="T51" fmla="*/ 3 h 57"/>
                <a:gd name="T52" fmla="*/ 23 w 54"/>
                <a:gd name="T5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7">
                  <a:moveTo>
                    <a:pt x="23" y="0"/>
                  </a:moveTo>
                  <a:lnTo>
                    <a:pt x="25" y="0"/>
                  </a:lnTo>
                  <a:lnTo>
                    <a:pt x="28" y="3"/>
                  </a:lnTo>
                  <a:lnTo>
                    <a:pt x="29" y="11"/>
                  </a:lnTo>
                  <a:lnTo>
                    <a:pt x="28" y="17"/>
                  </a:lnTo>
                  <a:lnTo>
                    <a:pt x="34" y="18"/>
                  </a:lnTo>
                  <a:lnTo>
                    <a:pt x="37" y="12"/>
                  </a:lnTo>
                  <a:lnTo>
                    <a:pt x="38" y="12"/>
                  </a:lnTo>
                  <a:lnTo>
                    <a:pt x="41" y="14"/>
                  </a:lnTo>
                  <a:lnTo>
                    <a:pt x="44" y="20"/>
                  </a:lnTo>
                  <a:lnTo>
                    <a:pt x="41" y="29"/>
                  </a:lnTo>
                  <a:lnTo>
                    <a:pt x="47" y="30"/>
                  </a:lnTo>
                  <a:lnTo>
                    <a:pt x="49" y="30"/>
                  </a:lnTo>
                  <a:lnTo>
                    <a:pt x="50" y="36"/>
                  </a:lnTo>
                  <a:lnTo>
                    <a:pt x="54" y="36"/>
                  </a:lnTo>
                  <a:lnTo>
                    <a:pt x="53" y="55"/>
                  </a:lnTo>
                  <a:lnTo>
                    <a:pt x="53" y="57"/>
                  </a:lnTo>
                  <a:lnTo>
                    <a:pt x="29" y="46"/>
                  </a:lnTo>
                  <a:lnTo>
                    <a:pt x="1" y="23"/>
                  </a:lnTo>
                  <a:lnTo>
                    <a:pt x="0" y="23"/>
                  </a:lnTo>
                  <a:lnTo>
                    <a:pt x="0" y="21"/>
                  </a:lnTo>
                  <a:lnTo>
                    <a:pt x="1" y="21"/>
                  </a:lnTo>
                  <a:lnTo>
                    <a:pt x="13" y="12"/>
                  </a:lnTo>
                  <a:lnTo>
                    <a:pt x="13" y="6"/>
                  </a:lnTo>
                  <a:lnTo>
                    <a:pt x="16" y="6"/>
                  </a:lnTo>
                  <a:lnTo>
                    <a:pt x="16" y="3"/>
                  </a:lnTo>
                  <a:lnTo>
                    <a:pt x="2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3" name="Lesotho">
              <a:extLst>
                <a:ext uri="{FF2B5EF4-FFF2-40B4-BE49-F238E27FC236}">
                  <a16:creationId xmlns:a16="http://schemas.microsoft.com/office/drawing/2014/main" id="{653295D4-020F-0AF0-6642-9C163801F449}"/>
                </a:ext>
              </a:extLst>
            </p:cNvPr>
            <p:cNvSpPr>
              <a:spLocks/>
            </p:cNvSpPr>
            <p:nvPr/>
          </p:nvSpPr>
          <p:spPr bwMode="auto">
            <a:xfrm>
              <a:off x="6465543" y="5286740"/>
              <a:ext cx="56019" cy="56019"/>
            </a:xfrm>
            <a:custGeom>
              <a:avLst/>
              <a:gdLst>
                <a:gd name="T0" fmla="*/ 16 w 31"/>
                <a:gd name="T1" fmla="*/ 0 h 31"/>
                <a:gd name="T2" fmla="*/ 23 w 31"/>
                <a:gd name="T3" fmla="*/ 1 h 31"/>
                <a:gd name="T4" fmla="*/ 31 w 31"/>
                <a:gd name="T5" fmla="*/ 11 h 31"/>
                <a:gd name="T6" fmla="*/ 26 w 31"/>
                <a:gd name="T7" fmla="*/ 23 h 31"/>
                <a:gd name="T8" fmla="*/ 14 w 31"/>
                <a:gd name="T9" fmla="*/ 31 h 31"/>
                <a:gd name="T10" fmla="*/ 13 w 31"/>
                <a:gd name="T11" fmla="*/ 31 h 31"/>
                <a:gd name="T12" fmla="*/ 6 w 31"/>
                <a:gd name="T13" fmla="*/ 28 h 31"/>
                <a:gd name="T14" fmla="*/ 0 w 31"/>
                <a:gd name="T15" fmla="*/ 17 h 31"/>
                <a:gd name="T16" fmla="*/ 6 w 31"/>
                <a:gd name="T17" fmla="*/ 5 h 31"/>
                <a:gd name="T18" fmla="*/ 16 w 31"/>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0"/>
                  </a:moveTo>
                  <a:lnTo>
                    <a:pt x="23" y="1"/>
                  </a:lnTo>
                  <a:lnTo>
                    <a:pt x="31" y="11"/>
                  </a:lnTo>
                  <a:lnTo>
                    <a:pt x="26" y="23"/>
                  </a:lnTo>
                  <a:lnTo>
                    <a:pt x="14" y="31"/>
                  </a:lnTo>
                  <a:lnTo>
                    <a:pt x="13" y="31"/>
                  </a:lnTo>
                  <a:lnTo>
                    <a:pt x="6" y="28"/>
                  </a:lnTo>
                  <a:lnTo>
                    <a:pt x="0" y="17"/>
                  </a:lnTo>
                  <a:lnTo>
                    <a:pt x="6" y="5"/>
                  </a:lnTo>
                  <a:lnTo>
                    <a:pt x="1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4" name="Kenya">
              <a:extLst>
                <a:ext uri="{FF2B5EF4-FFF2-40B4-BE49-F238E27FC236}">
                  <a16:creationId xmlns:a16="http://schemas.microsoft.com/office/drawing/2014/main" id="{3574DC9A-4B84-6688-373E-BFC7C7CF644E}"/>
                </a:ext>
              </a:extLst>
            </p:cNvPr>
            <p:cNvSpPr>
              <a:spLocks/>
            </p:cNvSpPr>
            <p:nvPr/>
          </p:nvSpPr>
          <p:spPr bwMode="auto">
            <a:xfrm>
              <a:off x="6628179" y="4478984"/>
              <a:ext cx="189742" cy="220462"/>
            </a:xfrm>
            <a:custGeom>
              <a:avLst/>
              <a:gdLst>
                <a:gd name="T0" fmla="*/ 6 w 105"/>
                <a:gd name="T1" fmla="*/ 0 h 122"/>
                <a:gd name="T2" fmla="*/ 25 w 105"/>
                <a:gd name="T3" fmla="*/ 0 h 122"/>
                <a:gd name="T4" fmla="*/ 36 w 105"/>
                <a:gd name="T5" fmla="*/ 2 h 122"/>
                <a:gd name="T6" fmla="*/ 52 w 105"/>
                <a:gd name="T7" fmla="*/ 11 h 122"/>
                <a:gd name="T8" fmla="*/ 65 w 105"/>
                <a:gd name="T9" fmla="*/ 14 h 122"/>
                <a:gd name="T10" fmla="*/ 71 w 105"/>
                <a:gd name="T11" fmla="*/ 14 h 122"/>
                <a:gd name="T12" fmla="*/ 80 w 105"/>
                <a:gd name="T13" fmla="*/ 8 h 122"/>
                <a:gd name="T14" fmla="*/ 90 w 105"/>
                <a:gd name="T15" fmla="*/ 6 h 122"/>
                <a:gd name="T16" fmla="*/ 98 w 105"/>
                <a:gd name="T17" fmla="*/ 9 h 122"/>
                <a:gd name="T18" fmla="*/ 105 w 105"/>
                <a:gd name="T19" fmla="*/ 9 h 122"/>
                <a:gd name="T20" fmla="*/ 105 w 105"/>
                <a:gd name="T21" fmla="*/ 11 h 122"/>
                <a:gd name="T22" fmla="*/ 93 w 105"/>
                <a:gd name="T23" fmla="*/ 25 h 122"/>
                <a:gd name="T24" fmla="*/ 93 w 105"/>
                <a:gd name="T25" fmla="*/ 73 h 122"/>
                <a:gd name="T26" fmla="*/ 101 w 105"/>
                <a:gd name="T27" fmla="*/ 82 h 122"/>
                <a:gd name="T28" fmla="*/ 101 w 105"/>
                <a:gd name="T29" fmla="*/ 83 h 122"/>
                <a:gd name="T30" fmla="*/ 84 w 105"/>
                <a:gd name="T31" fmla="*/ 97 h 122"/>
                <a:gd name="T32" fmla="*/ 76 w 105"/>
                <a:gd name="T33" fmla="*/ 117 h 122"/>
                <a:gd name="T34" fmla="*/ 71 w 105"/>
                <a:gd name="T35" fmla="*/ 122 h 122"/>
                <a:gd name="T36" fmla="*/ 52 w 105"/>
                <a:gd name="T37" fmla="*/ 110 h 122"/>
                <a:gd name="T38" fmla="*/ 49 w 105"/>
                <a:gd name="T39" fmla="*/ 100 h 122"/>
                <a:gd name="T40" fmla="*/ 4 w 105"/>
                <a:gd name="T41" fmla="*/ 74 h 122"/>
                <a:gd name="T42" fmla="*/ 1 w 105"/>
                <a:gd name="T43" fmla="*/ 71 h 122"/>
                <a:gd name="T44" fmla="*/ 1 w 105"/>
                <a:gd name="T45" fmla="*/ 70 h 122"/>
                <a:gd name="T46" fmla="*/ 3 w 105"/>
                <a:gd name="T47" fmla="*/ 67 h 122"/>
                <a:gd name="T48" fmla="*/ 7 w 105"/>
                <a:gd name="T49" fmla="*/ 65 h 122"/>
                <a:gd name="T50" fmla="*/ 1 w 105"/>
                <a:gd name="T51" fmla="*/ 65 h 122"/>
                <a:gd name="T52" fmla="*/ 1 w 105"/>
                <a:gd name="T53" fmla="*/ 57 h 122"/>
                <a:gd name="T54" fmla="*/ 12 w 105"/>
                <a:gd name="T55" fmla="*/ 40 h 122"/>
                <a:gd name="T56" fmla="*/ 15 w 105"/>
                <a:gd name="T57" fmla="*/ 33 h 122"/>
                <a:gd name="T58" fmla="*/ 12 w 105"/>
                <a:gd name="T59" fmla="*/ 24 h 122"/>
                <a:gd name="T60" fmla="*/ 7 w 105"/>
                <a:gd name="T61" fmla="*/ 21 h 122"/>
                <a:gd name="T62" fmla="*/ 4 w 105"/>
                <a:gd name="T63" fmla="*/ 11 h 122"/>
                <a:gd name="T64" fmla="*/ 0 w 105"/>
                <a:gd name="T65" fmla="*/ 9 h 122"/>
                <a:gd name="T66" fmla="*/ 0 w 105"/>
                <a:gd name="T67" fmla="*/ 8 h 122"/>
                <a:gd name="T68" fmla="*/ 6 w 105"/>
                <a:gd name="T6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2">
                  <a:moveTo>
                    <a:pt x="6" y="0"/>
                  </a:moveTo>
                  <a:lnTo>
                    <a:pt x="25" y="0"/>
                  </a:lnTo>
                  <a:lnTo>
                    <a:pt x="36" y="2"/>
                  </a:lnTo>
                  <a:lnTo>
                    <a:pt x="52" y="11"/>
                  </a:lnTo>
                  <a:lnTo>
                    <a:pt x="65" y="14"/>
                  </a:lnTo>
                  <a:lnTo>
                    <a:pt x="71" y="14"/>
                  </a:lnTo>
                  <a:lnTo>
                    <a:pt x="80" y="8"/>
                  </a:lnTo>
                  <a:lnTo>
                    <a:pt x="90" y="6"/>
                  </a:lnTo>
                  <a:lnTo>
                    <a:pt x="98" y="9"/>
                  </a:lnTo>
                  <a:lnTo>
                    <a:pt x="105" y="9"/>
                  </a:lnTo>
                  <a:lnTo>
                    <a:pt x="105" y="11"/>
                  </a:lnTo>
                  <a:lnTo>
                    <a:pt x="93" y="25"/>
                  </a:lnTo>
                  <a:lnTo>
                    <a:pt x="93" y="73"/>
                  </a:lnTo>
                  <a:lnTo>
                    <a:pt x="101" y="82"/>
                  </a:lnTo>
                  <a:lnTo>
                    <a:pt x="101" y="83"/>
                  </a:lnTo>
                  <a:lnTo>
                    <a:pt x="84" y="97"/>
                  </a:lnTo>
                  <a:lnTo>
                    <a:pt x="76" y="117"/>
                  </a:lnTo>
                  <a:lnTo>
                    <a:pt x="71" y="122"/>
                  </a:lnTo>
                  <a:lnTo>
                    <a:pt x="52" y="110"/>
                  </a:lnTo>
                  <a:lnTo>
                    <a:pt x="49" y="100"/>
                  </a:lnTo>
                  <a:lnTo>
                    <a:pt x="4" y="74"/>
                  </a:lnTo>
                  <a:lnTo>
                    <a:pt x="1" y="71"/>
                  </a:lnTo>
                  <a:lnTo>
                    <a:pt x="1" y="70"/>
                  </a:lnTo>
                  <a:lnTo>
                    <a:pt x="3" y="67"/>
                  </a:lnTo>
                  <a:lnTo>
                    <a:pt x="7" y="65"/>
                  </a:lnTo>
                  <a:lnTo>
                    <a:pt x="1" y="65"/>
                  </a:lnTo>
                  <a:lnTo>
                    <a:pt x="1" y="57"/>
                  </a:lnTo>
                  <a:lnTo>
                    <a:pt x="12" y="40"/>
                  </a:lnTo>
                  <a:lnTo>
                    <a:pt x="15" y="33"/>
                  </a:lnTo>
                  <a:lnTo>
                    <a:pt x="12" y="24"/>
                  </a:lnTo>
                  <a:lnTo>
                    <a:pt x="7" y="21"/>
                  </a:lnTo>
                  <a:lnTo>
                    <a:pt x="4" y="11"/>
                  </a:lnTo>
                  <a:lnTo>
                    <a:pt x="0" y="9"/>
                  </a:lnTo>
                  <a:lnTo>
                    <a:pt x="0" y="8"/>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5" name="Guinea">
              <a:extLst>
                <a:ext uri="{FF2B5EF4-FFF2-40B4-BE49-F238E27FC236}">
                  <a16:creationId xmlns:a16="http://schemas.microsoft.com/office/drawing/2014/main" id="{B1C0BAC4-BAA6-2C92-699E-1AB1C8DF8957}"/>
                </a:ext>
              </a:extLst>
            </p:cNvPr>
            <p:cNvSpPr>
              <a:spLocks/>
            </p:cNvSpPr>
            <p:nvPr/>
          </p:nvSpPr>
          <p:spPr bwMode="auto">
            <a:xfrm>
              <a:off x="5471661" y="4287435"/>
              <a:ext cx="175286" cy="133723"/>
            </a:xfrm>
            <a:custGeom>
              <a:avLst/>
              <a:gdLst>
                <a:gd name="T0" fmla="*/ 37 w 97"/>
                <a:gd name="T1" fmla="*/ 4 h 74"/>
                <a:gd name="T2" fmla="*/ 47 w 97"/>
                <a:gd name="T3" fmla="*/ 2 h 74"/>
                <a:gd name="T4" fmla="*/ 50 w 97"/>
                <a:gd name="T5" fmla="*/ 7 h 74"/>
                <a:gd name="T6" fmla="*/ 56 w 97"/>
                <a:gd name="T7" fmla="*/ 5 h 74"/>
                <a:gd name="T8" fmla="*/ 62 w 97"/>
                <a:gd name="T9" fmla="*/ 5 h 74"/>
                <a:gd name="T10" fmla="*/ 69 w 97"/>
                <a:gd name="T11" fmla="*/ 7 h 74"/>
                <a:gd name="T12" fmla="*/ 80 w 97"/>
                <a:gd name="T13" fmla="*/ 2 h 74"/>
                <a:gd name="T14" fmla="*/ 89 w 97"/>
                <a:gd name="T15" fmla="*/ 17 h 74"/>
                <a:gd name="T16" fmla="*/ 86 w 97"/>
                <a:gd name="T17" fmla="*/ 22 h 74"/>
                <a:gd name="T18" fmla="*/ 90 w 97"/>
                <a:gd name="T19" fmla="*/ 28 h 74"/>
                <a:gd name="T20" fmla="*/ 92 w 97"/>
                <a:gd name="T21" fmla="*/ 37 h 74"/>
                <a:gd name="T22" fmla="*/ 95 w 97"/>
                <a:gd name="T23" fmla="*/ 44 h 74"/>
                <a:gd name="T24" fmla="*/ 97 w 97"/>
                <a:gd name="T25" fmla="*/ 50 h 74"/>
                <a:gd name="T26" fmla="*/ 95 w 97"/>
                <a:gd name="T27" fmla="*/ 51 h 74"/>
                <a:gd name="T28" fmla="*/ 96 w 97"/>
                <a:gd name="T29" fmla="*/ 53 h 74"/>
                <a:gd name="T30" fmla="*/ 97 w 97"/>
                <a:gd name="T31" fmla="*/ 59 h 74"/>
                <a:gd name="T32" fmla="*/ 92 w 97"/>
                <a:gd name="T33" fmla="*/ 57 h 74"/>
                <a:gd name="T34" fmla="*/ 90 w 97"/>
                <a:gd name="T35" fmla="*/ 59 h 74"/>
                <a:gd name="T36" fmla="*/ 93 w 97"/>
                <a:gd name="T37" fmla="*/ 62 h 74"/>
                <a:gd name="T38" fmla="*/ 90 w 97"/>
                <a:gd name="T39" fmla="*/ 69 h 74"/>
                <a:gd name="T40" fmla="*/ 84 w 97"/>
                <a:gd name="T41" fmla="*/ 68 h 74"/>
                <a:gd name="T42" fmla="*/ 72 w 97"/>
                <a:gd name="T43" fmla="*/ 72 h 74"/>
                <a:gd name="T44" fmla="*/ 74 w 97"/>
                <a:gd name="T45" fmla="*/ 65 h 74"/>
                <a:gd name="T46" fmla="*/ 69 w 97"/>
                <a:gd name="T47" fmla="*/ 56 h 74"/>
                <a:gd name="T48" fmla="*/ 62 w 97"/>
                <a:gd name="T49" fmla="*/ 57 h 74"/>
                <a:gd name="T50" fmla="*/ 56 w 97"/>
                <a:gd name="T51" fmla="*/ 59 h 74"/>
                <a:gd name="T52" fmla="*/ 59 w 97"/>
                <a:gd name="T53" fmla="*/ 50 h 74"/>
                <a:gd name="T54" fmla="*/ 35 w 97"/>
                <a:gd name="T55" fmla="*/ 38 h 74"/>
                <a:gd name="T56" fmla="*/ 23 w 97"/>
                <a:gd name="T57" fmla="*/ 48 h 74"/>
                <a:gd name="T58" fmla="*/ 10 w 97"/>
                <a:gd name="T59" fmla="*/ 35 h 74"/>
                <a:gd name="T60" fmla="*/ 3 w 97"/>
                <a:gd name="T61" fmla="*/ 26 h 74"/>
                <a:gd name="T62" fmla="*/ 1 w 97"/>
                <a:gd name="T63" fmla="*/ 28 h 74"/>
                <a:gd name="T64" fmla="*/ 0 w 97"/>
                <a:gd name="T65" fmla="*/ 25 h 74"/>
                <a:gd name="T66" fmla="*/ 6 w 97"/>
                <a:gd name="T67" fmla="*/ 16 h 74"/>
                <a:gd name="T68" fmla="*/ 14 w 97"/>
                <a:gd name="T69" fmla="*/ 7 h 74"/>
                <a:gd name="T70" fmla="*/ 19 w 97"/>
                <a:gd name="T71"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74">
                  <a:moveTo>
                    <a:pt x="17" y="0"/>
                  </a:moveTo>
                  <a:lnTo>
                    <a:pt x="37" y="4"/>
                  </a:lnTo>
                  <a:lnTo>
                    <a:pt x="43" y="4"/>
                  </a:lnTo>
                  <a:lnTo>
                    <a:pt x="47" y="2"/>
                  </a:lnTo>
                  <a:lnTo>
                    <a:pt x="50" y="2"/>
                  </a:lnTo>
                  <a:lnTo>
                    <a:pt x="50" y="7"/>
                  </a:lnTo>
                  <a:lnTo>
                    <a:pt x="55" y="5"/>
                  </a:lnTo>
                  <a:lnTo>
                    <a:pt x="56" y="5"/>
                  </a:lnTo>
                  <a:lnTo>
                    <a:pt x="59" y="10"/>
                  </a:lnTo>
                  <a:lnTo>
                    <a:pt x="62" y="5"/>
                  </a:lnTo>
                  <a:lnTo>
                    <a:pt x="63" y="5"/>
                  </a:lnTo>
                  <a:lnTo>
                    <a:pt x="69" y="7"/>
                  </a:lnTo>
                  <a:lnTo>
                    <a:pt x="75" y="2"/>
                  </a:lnTo>
                  <a:lnTo>
                    <a:pt x="80" y="2"/>
                  </a:lnTo>
                  <a:lnTo>
                    <a:pt x="83" y="13"/>
                  </a:lnTo>
                  <a:lnTo>
                    <a:pt x="89" y="17"/>
                  </a:lnTo>
                  <a:lnTo>
                    <a:pt x="89" y="19"/>
                  </a:lnTo>
                  <a:lnTo>
                    <a:pt x="86" y="22"/>
                  </a:lnTo>
                  <a:lnTo>
                    <a:pt x="90" y="22"/>
                  </a:lnTo>
                  <a:lnTo>
                    <a:pt x="90" y="28"/>
                  </a:lnTo>
                  <a:lnTo>
                    <a:pt x="93" y="34"/>
                  </a:lnTo>
                  <a:lnTo>
                    <a:pt x="92" y="37"/>
                  </a:lnTo>
                  <a:lnTo>
                    <a:pt x="92" y="43"/>
                  </a:lnTo>
                  <a:lnTo>
                    <a:pt x="95" y="44"/>
                  </a:lnTo>
                  <a:lnTo>
                    <a:pt x="96" y="44"/>
                  </a:lnTo>
                  <a:lnTo>
                    <a:pt x="97" y="50"/>
                  </a:lnTo>
                  <a:lnTo>
                    <a:pt x="96" y="50"/>
                  </a:lnTo>
                  <a:lnTo>
                    <a:pt x="95" y="51"/>
                  </a:lnTo>
                  <a:lnTo>
                    <a:pt x="96" y="51"/>
                  </a:lnTo>
                  <a:lnTo>
                    <a:pt x="96" y="53"/>
                  </a:lnTo>
                  <a:lnTo>
                    <a:pt x="97" y="57"/>
                  </a:lnTo>
                  <a:lnTo>
                    <a:pt x="97" y="59"/>
                  </a:lnTo>
                  <a:lnTo>
                    <a:pt x="93" y="59"/>
                  </a:lnTo>
                  <a:lnTo>
                    <a:pt x="92" y="57"/>
                  </a:lnTo>
                  <a:lnTo>
                    <a:pt x="90" y="57"/>
                  </a:lnTo>
                  <a:lnTo>
                    <a:pt x="90" y="59"/>
                  </a:lnTo>
                  <a:lnTo>
                    <a:pt x="93" y="60"/>
                  </a:lnTo>
                  <a:lnTo>
                    <a:pt x="93" y="62"/>
                  </a:lnTo>
                  <a:lnTo>
                    <a:pt x="90" y="68"/>
                  </a:lnTo>
                  <a:lnTo>
                    <a:pt x="90" y="69"/>
                  </a:lnTo>
                  <a:lnTo>
                    <a:pt x="86" y="69"/>
                  </a:lnTo>
                  <a:lnTo>
                    <a:pt x="84" y="68"/>
                  </a:lnTo>
                  <a:lnTo>
                    <a:pt x="80" y="74"/>
                  </a:lnTo>
                  <a:lnTo>
                    <a:pt x="72" y="72"/>
                  </a:lnTo>
                  <a:lnTo>
                    <a:pt x="72" y="71"/>
                  </a:lnTo>
                  <a:lnTo>
                    <a:pt x="74" y="65"/>
                  </a:lnTo>
                  <a:lnTo>
                    <a:pt x="72" y="59"/>
                  </a:lnTo>
                  <a:lnTo>
                    <a:pt x="69" y="56"/>
                  </a:lnTo>
                  <a:lnTo>
                    <a:pt x="62" y="59"/>
                  </a:lnTo>
                  <a:lnTo>
                    <a:pt x="62" y="57"/>
                  </a:lnTo>
                  <a:lnTo>
                    <a:pt x="57" y="59"/>
                  </a:lnTo>
                  <a:lnTo>
                    <a:pt x="56" y="59"/>
                  </a:lnTo>
                  <a:lnTo>
                    <a:pt x="56" y="57"/>
                  </a:lnTo>
                  <a:lnTo>
                    <a:pt x="59" y="50"/>
                  </a:lnTo>
                  <a:lnTo>
                    <a:pt x="50" y="38"/>
                  </a:lnTo>
                  <a:lnTo>
                    <a:pt x="35" y="38"/>
                  </a:lnTo>
                  <a:lnTo>
                    <a:pt x="28" y="48"/>
                  </a:lnTo>
                  <a:lnTo>
                    <a:pt x="23" y="48"/>
                  </a:lnTo>
                  <a:lnTo>
                    <a:pt x="16" y="38"/>
                  </a:lnTo>
                  <a:lnTo>
                    <a:pt x="10" y="35"/>
                  </a:lnTo>
                  <a:lnTo>
                    <a:pt x="4" y="25"/>
                  </a:lnTo>
                  <a:lnTo>
                    <a:pt x="3" y="26"/>
                  </a:lnTo>
                  <a:lnTo>
                    <a:pt x="3" y="28"/>
                  </a:lnTo>
                  <a:lnTo>
                    <a:pt x="1" y="28"/>
                  </a:lnTo>
                  <a:lnTo>
                    <a:pt x="1" y="26"/>
                  </a:lnTo>
                  <a:lnTo>
                    <a:pt x="0" y="25"/>
                  </a:lnTo>
                  <a:lnTo>
                    <a:pt x="0" y="23"/>
                  </a:lnTo>
                  <a:lnTo>
                    <a:pt x="6" y="16"/>
                  </a:lnTo>
                  <a:lnTo>
                    <a:pt x="17" y="13"/>
                  </a:lnTo>
                  <a:lnTo>
                    <a:pt x="14" y="7"/>
                  </a:lnTo>
                  <a:lnTo>
                    <a:pt x="16" y="7"/>
                  </a:lnTo>
                  <a:lnTo>
                    <a:pt x="19" y="4"/>
                  </a:lnTo>
                  <a:lnTo>
                    <a:pt x="1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6" name="Guinea-Bissau">
              <a:extLst>
                <a:ext uri="{FF2B5EF4-FFF2-40B4-BE49-F238E27FC236}">
                  <a16:creationId xmlns:a16="http://schemas.microsoft.com/office/drawing/2014/main" id="{D9A843C2-E160-0958-D0FA-E2FBF26F7518}"/>
                </a:ext>
              </a:extLst>
            </p:cNvPr>
            <p:cNvSpPr>
              <a:spLocks/>
            </p:cNvSpPr>
            <p:nvPr/>
          </p:nvSpPr>
          <p:spPr bwMode="auto">
            <a:xfrm>
              <a:off x="5430098" y="4287435"/>
              <a:ext cx="77705" cy="45177"/>
            </a:xfrm>
            <a:custGeom>
              <a:avLst/>
              <a:gdLst>
                <a:gd name="T0" fmla="*/ 23 w 43"/>
                <a:gd name="T1" fmla="*/ 0 h 25"/>
                <a:gd name="T2" fmla="*/ 42 w 43"/>
                <a:gd name="T3" fmla="*/ 0 h 25"/>
                <a:gd name="T4" fmla="*/ 43 w 43"/>
                <a:gd name="T5" fmla="*/ 4 h 25"/>
                <a:gd name="T6" fmla="*/ 43 w 43"/>
                <a:gd name="T7" fmla="*/ 5 h 25"/>
                <a:gd name="T8" fmla="*/ 40 w 43"/>
                <a:gd name="T9" fmla="*/ 7 h 25"/>
                <a:gd name="T10" fmla="*/ 42 w 43"/>
                <a:gd name="T11" fmla="*/ 13 h 25"/>
                <a:gd name="T12" fmla="*/ 42 w 43"/>
                <a:gd name="T13" fmla="*/ 14 h 25"/>
                <a:gd name="T14" fmla="*/ 40 w 43"/>
                <a:gd name="T15" fmla="*/ 14 h 25"/>
                <a:gd name="T16" fmla="*/ 30 w 43"/>
                <a:gd name="T17" fmla="*/ 17 h 25"/>
                <a:gd name="T18" fmla="*/ 24 w 43"/>
                <a:gd name="T19" fmla="*/ 25 h 25"/>
                <a:gd name="T20" fmla="*/ 23 w 43"/>
                <a:gd name="T21" fmla="*/ 25 h 25"/>
                <a:gd name="T22" fmla="*/ 20 w 43"/>
                <a:gd name="T23" fmla="*/ 20 h 25"/>
                <a:gd name="T24" fmla="*/ 18 w 43"/>
                <a:gd name="T25" fmla="*/ 14 h 25"/>
                <a:gd name="T26" fmla="*/ 18 w 43"/>
                <a:gd name="T27" fmla="*/ 13 h 25"/>
                <a:gd name="T28" fmla="*/ 14 w 43"/>
                <a:gd name="T29" fmla="*/ 14 h 25"/>
                <a:gd name="T30" fmla="*/ 12 w 43"/>
                <a:gd name="T31" fmla="*/ 14 h 25"/>
                <a:gd name="T32" fmla="*/ 0 w 43"/>
                <a:gd name="T33" fmla="*/ 4 h 25"/>
                <a:gd name="T34" fmla="*/ 0 w 43"/>
                <a:gd name="T35" fmla="*/ 2 h 25"/>
                <a:gd name="T36" fmla="*/ 14 w 43"/>
                <a:gd name="T37" fmla="*/ 2 h 25"/>
                <a:gd name="T38" fmla="*/ 23 w 43"/>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25">
                  <a:moveTo>
                    <a:pt x="23" y="0"/>
                  </a:moveTo>
                  <a:lnTo>
                    <a:pt x="42" y="0"/>
                  </a:lnTo>
                  <a:lnTo>
                    <a:pt x="43" y="4"/>
                  </a:lnTo>
                  <a:lnTo>
                    <a:pt x="43" y="5"/>
                  </a:lnTo>
                  <a:lnTo>
                    <a:pt x="40" y="7"/>
                  </a:lnTo>
                  <a:lnTo>
                    <a:pt x="42" y="13"/>
                  </a:lnTo>
                  <a:lnTo>
                    <a:pt x="42" y="14"/>
                  </a:lnTo>
                  <a:lnTo>
                    <a:pt x="40" y="14"/>
                  </a:lnTo>
                  <a:lnTo>
                    <a:pt x="30" y="17"/>
                  </a:lnTo>
                  <a:lnTo>
                    <a:pt x="24" y="25"/>
                  </a:lnTo>
                  <a:lnTo>
                    <a:pt x="23" y="25"/>
                  </a:lnTo>
                  <a:lnTo>
                    <a:pt x="20" y="20"/>
                  </a:lnTo>
                  <a:lnTo>
                    <a:pt x="18" y="14"/>
                  </a:lnTo>
                  <a:lnTo>
                    <a:pt x="18" y="13"/>
                  </a:lnTo>
                  <a:lnTo>
                    <a:pt x="14" y="14"/>
                  </a:lnTo>
                  <a:lnTo>
                    <a:pt x="12" y="14"/>
                  </a:lnTo>
                  <a:lnTo>
                    <a:pt x="0" y="4"/>
                  </a:lnTo>
                  <a:lnTo>
                    <a:pt x="0" y="2"/>
                  </a:lnTo>
                  <a:lnTo>
                    <a:pt x="14" y="2"/>
                  </a:lnTo>
                  <a:lnTo>
                    <a:pt x="2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7" name="Ghana">
              <a:extLst>
                <a:ext uri="{FF2B5EF4-FFF2-40B4-BE49-F238E27FC236}">
                  <a16:creationId xmlns:a16="http://schemas.microsoft.com/office/drawing/2014/main" id="{CFB22DED-AD60-A561-05A8-9EE3AD9D7687}"/>
                </a:ext>
              </a:extLst>
            </p:cNvPr>
            <p:cNvSpPr>
              <a:spLocks/>
            </p:cNvSpPr>
            <p:nvPr/>
          </p:nvSpPr>
          <p:spPr bwMode="auto">
            <a:xfrm>
              <a:off x="5751755" y="4323577"/>
              <a:ext cx="108424" cy="159021"/>
            </a:xfrm>
            <a:custGeom>
              <a:avLst/>
              <a:gdLst>
                <a:gd name="T0" fmla="*/ 39 w 60"/>
                <a:gd name="T1" fmla="*/ 0 h 88"/>
                <a:gd name="T2" fmla="*/ 40 w 60"/>
                <a:gd name="T3" fmla="*/ 0 h 88"/>
                <a:gd name="T4" fmla="*/ 42 w 60"/>
                <a:gd name="T5" fmla="*/ 3 h 88"/>
                <a:gd name="T6" fmla="*/ 42 w 60"/>
                <a:gd name="T7" fmla="*/ 8 h 88"/>
                <a:gd name="T8" fmla="*/ 46 w 60"/>
                <a:gd name="T9" fmla="*/ 14 h 88"/>
                <a:gd name="T10" fmla="*/ 49 w 60"/>
                <a:gd name="T11" fmla="*/ 25 h 88"/>
                <a:gd name="T12" fmla="*/ 52 w 60"/>
                <a:gd name="T13" fmla="*/ 58 h 88"/>
                <a:gd name="T14" fmla="*/ 60 w 60"/>
                <a:gd name="T15" fmla="*/ 67 h 88"/>
                <a:gd name="T16" fmla="*/ 60 w 60"/>
                <a:gd name="T17" fmla="*/ 68 h 88"/>
                <a:gd name="T18" fmla="*/ 55 w 60"/>
                <a:gd name="T19" fmla="*/ 73 h 88"/>
                <a:gd name="T20" fmla="*/ 45 w 60"/>
                <a:gd name="T21" fmla="*/ 74 h 88"/>
                <a:gd name="T22" fmla="*/ 17 w 60"/>
                <a:gd name="T23" fmla="*/ 88 h 88"/>
                <a:gd name="T24" fmla="*/ 0 w 60"/>
                <a:gd name="T25" fmla="*/ 82 h 88"/>
                <a:gd name="T26" fmla="*/ 0 w 60"/>
                <a:gd name="T27" fmla="*/ 80 h 88"/>
                <a:gd name="T28" fmla="*/ 2 w 60"/>
                <a:gd name="T29" fmla="*/ 80 h 88"/>
                <a:gd name="T30" fmla="*/ 6 w 60"/>
                <a:gd name="T31" fmla="*/ 79 h 88"/>
                <a:gd name="T32" fmla="*/ 6 w 60"/>
                <a:gd name="T33" fmla="*/ 74 h 88"/>
                <a:gd name="T34" fmla="*/ 3 w 60"/>
                <a:gd name="T35" fmla="*/ 71 h 88"/>
                <a:gd name="T36" fmla="*/ 0 w 60"/>
                <a:gd name="T37" fmla="*/ 61 h 88"/>
                <a:gd name="T38" fmla="*/ 6 w 60"/>
                <a:gd name="T39" fmla="*/ 43 h 88"/>
                <a:gd name="T40" fmla="*/ 9 w 60"/>
                <a:gd name="T41" fmla="*/ 39 h 88"/>
                <a:gd name="T42" fmla="*/ 6 w 60"/>
                <a:gd name="T43" fmla="*/ 28 h 88"/>
                <a:gd name="T44" fmla="*/ 6 w 60"/>
                <a:gd name="T45" fmla="*/ 23 h 88"/>
                <a:gd name="T46" fmla="*/ 3 w 60"/>
                <a:gd name="T47" fmla="*/ 8 h 88"/>
                <a:gd name="T48" fmla="*/ 3 w 60"/>
                <a:gd name="T49" fmla="*/ 3 h 88"/>
                <a:gd name="T50" fmla="*/ 5 w 60"/>
                <a:gd name="T51" fmla="*/ 2 h 88"/>
                <a:gd name="T52" fmla="*/ 9 w 60"/>
                <a:gd name="T53" fmla="*/ 2 h 88"/>
                <a:gd name="T54" fmla="*/ 18 w 60"/>
                <a:gd name="T55" fmla="*/ 3 h 88"/>
                <a:gd name="T56" fmla="*/ 31 w 60"/>
                <a:gd name="T57" fmla="*/ 3 h 88"/>
                <a:gd name="T58" fmla="*/ 39 w 60"/>
                <a:gd name="T5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88">
                  <a:moveTo>
                    <a:pt x="39" y="0"/>
                  </a:moveTo>
                  <a:lnTo>
                    <a:pt x="40" y="0"/>
                  </a:lnTo>
                  <a:lnTo>
                    <a:pt x="42" y="3"/>
                  </a:lnTo>
                  <a:lnTo>
                    <a:pt x="42" y="8"/>
                  </a:lnTo>
                  <a:lnTo>
                    <a:pt x="46" y="14"/>
                  </a:lnTo>
                  <a:lnTo>
                    <a:pt x="49" y="25"/>
                  </a:lnTo>
                  <a:lnTo>
                    <a:pt x="52" y="58"/>
                  </a:lnTo>
                  <a:lnTo>
                    <a:pt x="60" y="67"/>
                  </a:lnTo>
                  <a:lnTo>
                    <a:pt x="60" y="68"/>
                  </a:lnTo>
                  <a:lnTo>
                    <a:pt x="55" y="73"/>
                  </a:lnTo>
                  <a:lnTo>
                    <a:pt x="45" y="74"/>
                  </a:lnTo>
                  <a:lnTo>
                    <a:pt x="17" y="88"/>
                  </a:lnTo>
                  <a:lnTo>
                    <a:pt x="0" y="82"/>
                  </a:lnTo>
                  <a:lnTo>
                    <a:pt x="0" y="80"/>
                  </a:lnTo>
                  <a:lnTo>
                    <a:pt x="2" y="80"/>
                  </a:lnTo>
                  <a:lnTo>
                    <a:pt x="6" y="79"/>
                  </a:lnTo>
                  <a:lnTo>
                    <a:pt x="6" y="74"/>
                  </a:lnTo>
                  <a:lnTo>
                    <a:pt x="3" y="71"/>
                  </a:lnTo>
                  <a:lnTo>
                    <a:pt x="0" y="61"/>
                  </a:lnTo>
                  <a:lnTo>
                    <a:pt x="6" y="43"/>
                  </a:lnTo>
                  <a:lnTo>
                    <a:pt x="9" y="39"/>
                  </a:lnTo>
                  <a:lnTo>
                    <a:pt x="6" y="28"/>
                  </a:lnTo>
                  <a:lnTo>
                    <a:pt x="6" y="23"/>
                  </a:lnTo>
                  <a:lnTo>
                    <a:pt x="3" y="8"/>
                  </a:lnTo>
                  <a:lnTo>
                    <a:pt x="3" y="3"/>
                  </a:lnTo>
                  <a:lnTo>
                    <a:pt x="5" y="2"/>
                  </a:lnTo>
                  <a:lnTo>
                    <a:pt x="9" y="2"/>
                  </a:lnTo>
                  <a:lnTo>
                    <a:pt x="18" y="3"/>
                  </a:lnTo>
                  <a:lnTo>
                    <a:pt x="31" y="3"/>
                  </a:lnTo>
                  <a:lnTo>
                    <a:pt x="3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8" name="The Gambia">
              <a:extLst>
                <a:ext uri="{FF2B5EF4-FFF2-40B4-BE49-F238E27FC236}">
                  <a16:creationId xmlns:a16="http://schemas.microsoft.com/office/drawing/2014/main" id="{268055FF-A050-0C6D-9943-41F50BB861A7}"/>
                </a:ext>
              </a:extLst>
            </p:cNvPr>
            <p:cNvSpPr>
              <a:spLocks/>
            </p:cNvSpPr>
            <p:nvPr/>
          </p:nvSpPr>
          <p:spPr bwMode="auto">
            <a:xfrm>
              <a:off x="5430098" y="4256715"/>
              <a:ext cx="72283" cy="25299"/>
            </a:xfrm>
            <a:custGeom>
              <a:avLst/>
              <a:gdLst>
                <a:gd name="T0" fmla="*/ 24 w 40"/>
                <a:gd name="T1" fmla="*/ 0 h 14"/>
                <a:gd name="T2" fmla="*/ 24 w 40"/>
                <a:gd name="T3" fmla="*/ 2 h 14"/>
                <a:gd name="T4" fmla="*/ 33 w 40"/>
                <a:gd name="T5" fmla="*/ 6 h 14"/>
                <a:gd name="T6" fmla="*/ 40 w 40"/>
                <a:gd name="T7" fmla="*/ 5 h 14"/>
                <a:gd name="T8" fmla="*/ 40 w 40"/>
                <a:gd name="T9" fmla="*/ 8 h 14"/>
                <a:gd name="T10" fmla="*/ 36 w 40"/>
                <a:gd name="T11" fmla="*/ 11 h 14"/>
                <a:gd name="T12" fmla="*/ 23 w 40"/>
                <a:gd name="T13" fmla="*/ 6 h 14"/>
                <a:gd name="T14" fmla="*/ 14 w 40"/>
                <a:gd name="T15" fmla="*/ 11 h 14"/>
                <a:gd name="T16" fmla="*/ 12 w 40"/>
                <a:gd name="T17" fmla="*/ 11 h 14"/>
                <a:gd name="T18" fmla="*/ 11 w 40"/>
                <a:gd name="T19" fmla="*/ 12 h 14"/>
                <a:gd name="T20" fmla="*/ 5 w 40"/>
                <a:gd name="T21" fmla="*/ 12 h 14"/>
                <a:gd name="T22" fmla="*/ 3 w 40"/>
                <a:gd name="T23" fmla="*/ 14 h 14"/>
                <a:gd name="T24" fmla="*/ 0 w 40"/>
                <a:gd name="T25" fmla="*/ 14 h 14"/>
                <a:gd name="T26" fmla="*/ 0 w 40"/>
                <a:gd name="T27" fmla="*/ 8 h 14"/>
                <a:gd name="T28" fmla="*/ 3 w 40"/>
                <a:gd name="T29" fmla="*/ 5 h 14"/>
                <a:gd name="T30" fmla="*/ 17 w 40"/>
                <a:gd name="T31" fmla="*/ 5 h 14"/>
                <a:gd name="T32" fmla="*/ 23 w 40"/>
                <a:gd name="T33" fmla="*/ 2 h 14"/>
                <a:gd name="T34" fmla="*/ 24 w 4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14">
                  <a:moveTo>
                    <a:pt x="24" y="0"/>
                  </a:moveTo>
                  <a:lnTo>
                    <a:pt x="24" y="2"/>
                  </a:lnTo>
                  <a:lnTo>
                    <a:pt x="33" y="6"/>
                  </a:lnTo>
                  <a:lnTo>
                    <a:pt x="40" y="5"/>
                  </a:lnTo>
                  <a:lnTo>
                    <a:pt x="40" y="8"/>
                  </a:lnTo>
                  <a:lnTo>
                    <a:pt x="36" y="11"/>
                  </a:lnTo>
                  <a:lnTo>
                    <a:pt x="23" y="6"/>
                  </a:lnTo>
                  <a:lnTo>
                    <a:pt x="14" y="11"/>
                  </a:lnTo>
                  <a:lnTo>
                    <a:pt x="12" y="11"/>
                  </a:lnTo>
                  <a:lnTo>
                    <a:pt x="11" y="12"/>
                  </a:lnTo>
                  <a:lnTo>
                    <a:pt x="5" y="12"/>
                  </a:lnTo>
                  <a:lnTo>
                    <a:pt x="3" y="14"/>
                  </a:lnTo>
                  <a:lnTo>
                    <a:pt x="0" y="14"/>
                  </a:lnTo>
                  <a:lnTo>
                    <a:pt x="0" y="8"/>
                  </a:lnTo>
                  <a:lnTo>
                    <a:pt x="3" y="5"/>
                  </a:lnTo>
                  <a:lnTo>
                    <a:pt x="17" y="5"/>
                  </a:lnTo>
                  <a:lnTo>
                    <a:pt x="23" y="2"/>
                  </a:lnTo>
                  <a:lnTo>
                    <a:pt x="2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29" name="Gabon">
              <a:extLst>
                <a:ext uri="{FF2B5EF4-FFF2-40B4-BE49-F238E27FC236}">
                  <a16:creationId xmlns:a16="http://schemas.microsoft.com/office/drawing/2014/main" id="{567C9B08-6385-84C8-42E9-5C35D1999081}"/>
                </a:ext>
              </a:extLst>
            </p:cNvPr>
            <p:cNvSpPr>
              <a:spLocks/>
            </p:cNvSpPr>
            <p:nvPr/>
          </p:nvSpPr>
          <p:spPr bwMode="auto">
            <a:xfrm>
              <a:off x="6033656" y="4535002"/>
              <a:ext cx="131916" cy="148179"/>
            </a:xfrm>
            <a:custGeom>
              <a:avLst/>
              <a:gdLst>
                <a:gd name="T0" fmla="*/ 33 w 73"/>
                <a:gd name="T1" fmla="*/ 0 h 82"/>
                <a:gd name="T2" fmla="*/ 37 w 73"/>
                <a:gd name="T3" fmla="*/ 0 h 82"/>
                <a:gd name="T4" fmla="*/ 46 w 73"/>
                <a:gd name="T5" fmla="*/ 2 h 82"/>
                <a:gd name="T6" fmla="*/ 59 w 73"/>
                <a:gd name="T7" fmla="*/ 2 h 82"/>
                <a:gd name="T8" fmla="*/ 56 w 73"/>
                <a:gd name="T9" fmla="*/ 14 h 82"/>
                <a:gd name="T10" fmla="*/ 59 w 73"/>
                <a:gd name="T11" fmla="*/ 14 h 82"/>
                <a:gd name="T12" fmla="*/ 62 w 73"/>
                <a:gd name="T13" fmla="*/ 9 h 82"/>
                <a:gd name="T14" fmla="*/ 62 w 73"/>
                <a:gd name="T15" fmla="*/ 8 h 82"/>
                <a:gd name="T16" fmla="*/ 65 w 73"/>
                <a:gd name="T17" fmla="*/ 8 h 82"/>
                <a:gd name="T18" fmla="*/ 67 w 73"/>
                <a:gd name="T19" fmla="*/ 9 h 82"/>
                <a:gd name="T20" fmla="*/ 70 w 73"/>
                <a:gd name="T21" fmla="*/ 9 h 82"/>
                <a:gd name="T22" fmla="*/ 73 w 73"/>
                <a:gd name="T23" fmla="*/ 14 h 82"/>
                <a:gd name="T24" fmla="*/ 73 w 73"/>
                <a:gd name="T25" fmla="*/ 20 h 82"/>
                <a:gd name="T26" fmla="*/ 70 w 73"/>
                <a:gd name="T27" fmla="*/ 27 h 82"/>
                <a:gd name="T28" fmla="*/ 71 w 73"/>
                <a:gd name="T29" fmla="*/ 40 h 82"/>
                <a:gd name="T30" fmla="*/ 70 w 73"/>
                <a:gd name="T31" fmla="*/ 60 h 82"/>
                <a:gd name="T32" fmla="*/ 65 w 73"/>
                <a:gd name="T33" fmla="*/ 63 h 82"/>
                <a:gd name="T34" fmla="*/ 64 w 73"/>
                <a:gd name="T35" fmla="*/ 63 h 82"/>
                <a:gd name="T36" fmla="*/ 50 w 73"/>
                <a:gd name="T37" fmla="*/ 54 h 82"/>
                <a:gd name="T38" fmla="*/ 38 w 73"/>
                <a:gd name="T39" fmla="*/ 63 h 82"/>
                <a:gd name="T40" fmla="*/ 38 w 73"/>
                <a:gd name="T41" fmla="*/ 76 h 82"/>
                <a:gd name="T42" fmla="*/ 33 w 73"/>
                <a:gd name="T43" fmla="*/ 76 h 82"/>
                <a:gd name="T44" fmla="*/ 31 w 73"/>
                <a:gd name="T45" fmla="*/ 82 h 82"/>
                <a:gd name="T46" fmla="*/ 30 w 73"/>
                <a:gd name="T47" fmla="*/ 82 h 82"/>
                <a:gd name="T48" fmla="*/ 6 w 73"/>
                <a:gd name="T49" fmla="*/ 55 h 82"/>
                <a:gd name="T50" fmla="*/ 0 w 73"/>
                <a:gd name="T51" fmla="*/ 40 h 82"/>
                <a:gd name="T52" fmla="*/ 0 w 73"/>
                <a:gd name="T53" fmla="*/ 39 h 82"/>
                <a:gd name="T54" fmla="*/ 6 w 73"/>
                <a:gd name="T55" fmla="*/ 36 h 82"/>
                <a:gd name="T56" fmla="*/ 6 w 73"/>
                <a:gd name="T57" fmla="*/ 26 h 82"/>
                <a:gd name="T58" fmla="*/ 7 w 73"/>
                <a:gd name="T59" fmla="*/ 26 h 82"/>
                <a:gd name="T60" fmla="*/ 10 w 73"/>
                <a:gd name="T61" fmla="*/ 27 h 82"/>
                <a:gd name="T62" fmla="*/ 7 w 73"/>
                <a:gd name="T63" fmla="*/ 24 h 82"/>
                <a:gd name="T64" fmla="*/ 7 w 73"/>
                <a:gd name="T65" fmla="*/ 23 h 82"/>
                <a:gd name="T66" fmla="*/ 9 w 73"/>
                <a:gd name="T67" fmla="*/ 20 h 82"/>
                <a:gd name="T68" fmla="*/ 9 w 73"/>
                <a:gd name="T69" fmla="*/ 17 h 82"/>
                <a:gd name="T70" fmla="*/ 10 w 73"/>
                <a:gd name="T71" fmla="*/ 17 h 82"/>
                <a:gd name="T72" fmla="*/ 33 w 73"/>
                <a:gd name="T73" fmla="*/ 15 h 82"/>
                <a:gd name="T74" fmla="*/ 33 w 73"/>
                <a:gd name="T7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82">
                  <a:moveTo>
                    <a:pt x="33" y="0"/>
                  </a:moveTo>
                  <a:lnTo>
                    <a:pt x="37" y="0"/>
                  </a:lnTo>
                  <a:lnTo>
                    <a:pt x="46" y="2"/>
                  </a:lnTo>
                  <a:lnTo>
                    <a:pt x="59" y="2"/>
                  </a:lnTo>
                  <a:lnTo>
                    <a:pt x="56" y="14"/>
                  </a:lnTo>
                  <a:lnTo>
                    <a:pt x="59" y="14"/>
                  </a:lnTo>
                  <a:lnTo>
                    <a:pt x="62" y="9"/>
                  </a:lnTo>
                  <a:lnTo>
                    <a:pt x="62" y="8"/>
                  </a:lnTo>
                  <a:lnTo>
                    <a:pt x="65" y="8"/>
                  </a:lnTo>
                  <a:lnTo>
                    <a:pt x="67" y="9"/>
                  </a:lnTo>
                  <a:lnTo>
                    <a:pt x="70" y="9"/>
                  </a:lnTo>
                  <a:lnTo>
                    <a:pt x="73" y="14"/>
                  </a:lnTo>
                  <a:lnTo>
                    <a:pt x="73" y="20"/>
                  </a:lnTo>
                  <a:lnTo>
                    <a:pt x="70" y="27"/>
                  </a:lnTo>
                  <a:lnTo>
                    <a:pt x="71" y="40"/>
                  </a:lnTo>
                  <a:lnTo>
                    <a:pt x="70" y="60"/>
                  </a:lnTo>
                  <a:lnTo>
                    <a:pt x="65" y="63"/>
                  </a:lnTo>
                  <a:lnTo>
                    <a:pt x="64" y="63"/>
                  </a:lnTo>
                  <a:lnTo>
                    <a:pt x="50" y="54"/>
                  </a:lnTo>
                  <a:lnTo>
                    <a:pt x="38" y="63"/>
                  </a:lnTo>
                  <a:lnTo>
                    <a:pt x="38" y="76"/>
                  </a:lnTo>
                  <a:lnTo>
                    <a:pt x="33" y="76"/>
                  </a:lnTo>
                  <a:lnTo>
                    <a:pt x="31" y="82"/>
                  </a:lnTo>
                  <a:lnTo>
                    <a:pt x="30" y="82"/>
                  </a:lnTo>
                  <a:lnTo>
                    <a:pt x="6" y="55"/>
                  </a:lnTo>
                  <a:lnTo>
                    <a:pt x="0" y="40"/>
                  </a:lnTo>
                  <a:lnTo>
                    <a:pt x="0" y="39"/>
                  </a:lnTo>
                  <a:lnTo>
                    <a:pt x="6" y="36"/>
                  </a:lnTo>
                  <a:lnTo>
                    <a:pt x="6" y="26"/>
                  </a:lnTo>
                  <a:lnTo>
                    <a:pt x="7" y="26"/>
                  </a:lnTo>
                  <a:lnTo>
                    <a:pt x="10" y="27"/>
                  </a:lnTo>
                  <a:lnTo>
                    <a:pt x="7" y="24"/>
                  </a:lnTo>
                  <a:lnTo>
                    <a:pt x="7" y="23"/>
                  </a:lnTo>
                  <a:lnTo>
                    <a:pt x="9" y="20"/>
                  </a:lnTo>
                  <a:lnTo>
                    <a:pt x="9" y="17"/>
                  </a:lnTo>
                  <a:lnTo>
                    <a:pt x="10" y="17"/>
                  </a:lnTo>
                  <a:lnTo>
                    <a:pt x="33" y="15"/>
                  </a:lnTo>
                  <a:lnTo>
                    <a:pt x="3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0" name="Eritrea">
              <a:extLst>
                <a:ext uri="{FF2B5EF4-FFF2-40B4-BE49-F238E27FC236}">
                  <a16:creationId xmlns:a16="http://schemas.microsoft.com/office/drawing/2014/main" id="{A18031D4-13FF-66CC-AC9A-EEB3FC8943C1}"/>
                </a:ext>
              </a:extLst>
            </p:cNvPr>
            <p:cNvSpPr>
              <a:spLocks/>
            </p:cNvSpPr>
            <p:nvPr/>
          </p:nvSpPr>
          <p:spPr bwMode="auto">
            <a:xfrm>
              <a:off x="6687811" y="4157326"/>
              <a:ext cx="155407" cy="142758"/>
            </a:xfrm>
            <a:custGeom>
              <a:avLst/>
              <a:gdLst>
                <a:gd name="T0" fmla="*/ 25 w 86"/>
                <a:gd name="T1" fmla="*/ 0 h 79"/>
                <a:gd name="T2" fmla="*/ 31 w 86"/>
                <a:gd name="T3" fmla="*/ 8 h 79"/>
                <a:gd name="T4" fmla="*/ 35 w 86"/>
                <a:gd name="T5" fmla="*/ 29 h 79"/>
                <a:gd name="T6" fmla="*/ 43 w 86"/>
                <a:gd name="T7" fmla="*/ 39 h 79"/>
                <a:gd name="T8" fmla="*/ 44 w 86"/>
                <a:gd name="T9" fmla="*/ 40 h 79"/>
                <a:gd name="T10" fmla="*/ 44 w 86"/>
                <a:gd name="T11" fmla="*/ 36 h 79"/>
                <a:gd name="T12" fmla="*/ 49 w 86"/>
                <a:gd name="T13" fmla="*/ 43 h 79"/>
                <a:gd name="T14" fmla="*/ 53 w 86"/>
                <a:gd name="T15" fmla="*/ 43 h 79"/>
                <a:gd name="T16" fmla="*/ 63 w 86"/>
                <a:gd name="T17" fmla="*/ 48 h 79"/>
                <a:gd name="T18" fmla="*/ 78 w 86"/>
                <a:gd name="T19" fmla="*/ 66 h 79"/>
                <a:gd name="T20" fmla="*/ 86 w 86"/>
                <a:gd name="T21" fmla="*/ 72 h 79"/>
                <a:gd name="T22" fmla="*/ 75 w 86"/>
                <a:gd name="T23" fmla="*/ 79 h 79"/>
                <a:gd name="T24" fmla="*/ 59 w 86"/>
                <a:gd name="T25" fmla="*/ 57 h 79"/>
                <a:gd name="T26" fmla="*/ 47 w 86"/>
                <a:gd name="T27" fmla="*/ 51 h 79"/>
                <a:gd name="T28" fmla="*/ 34 w 86"/>
                <a:gd name="T29" fmla="*/ 51 h 79"/>
                <a:gd name="T30" fmla="*/ 23 w 86"/>
                <a:gd name="T31" fmla="*/ 49 h 79"/>
                <a:gd name="T32" fmla="*/ 17 w 86"/>
                <a:gd name="T33" fmla="*/ 58 h 79"/>
                <a:gd name="T34" fmla="*/ 14 w 86"/>
                <a:gd name="T35" fmla="*/ 54 h 79"/>
                <a:gd name="T36" fmla="*/ 1 w 86"/>
                <a:gd name="T37" fmla="*/ 55 h 79"/>
                <a:gd name="T38" fmla="*/ 0 w 86"/>
                <a:gd name="T39" fmla="*/ 43 h 79"/>
                <a:gd name="T40" fmla="*/ 7 w 86"/>
                <a:gd name="T41" fmla="*/ 14 h 79"/>
                <a:gd name="T42" fmla="*/ 25 w 86"/>
                <a:gd name="T43" fmla="*/ 6 h 79"/>
                <a:gd name="T44" fmla="*/ 25 w 86"/>
                <a:gd name="T4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9">
                  <a:moveTo>
                    <a:pt x="25" y="0"/>
                  </a:moveTo>
                  <a:lnTo>
                    <a:pt x="31" y="8"/>
                  </a:lnTo>
                  <a:lnTo>
                    <a:pt x="35" y="29"/>
                  </a:lnTo>
                  <a:lnTo>
                    <a:pt x="43" y="39"/>
                  </a:lnTo>
                  <a:lnTo>
                    <a:pt x="44" y="40"/>
                  </a:lnTo>
                  <a:lnTo>
                    <a:pt x="44" y="36"/>
                  </a:lnTo>
                  <a:lnTo>
                    <a:pt x="49" y="43"/>
                  </a:lnTo>
                  <a:lnTo>
                    <a:pt x="53" y="43"/>
                  </a:lnTo>
                  <a:lnTo>
                    <a:pt x="63" y="48"/>
                  </a:lnTo>
                  <a:lnTo>
                    <a:pt x="78" y="66"/>
                  </a:lnTo>
                  <a:lnTo>
                    <a:pt x="86" y="72"/>
                  </a:lnTo>
                  <a:lnTo>
                    <a:pt x="75" y="79"/>
                  </a:lnTo>
                  <a:lnTo>
                    <a:pt x="59" y="57"/>
                  </a:lnTo>
                  <a:lnTo>
                    <a:pt x="47" y="51"/>
                  </a:lnTo>
                  <a:lnTo>
                    <a:pt x="34" y="51"/>
                  </a:lnTo>
                  <a:lnTo>
                    <a:pt x="23" y="49"/>
                  </a:lnTo>
                  <a:lnTo>
                    <a:pt x="17" y="58"/>
                  </a:lnTo>
                  <a:lnTo>
                    <a:pt x="14" y="54"/>
                  </a:lnTo>
                  <a:lnTo>
                    <a:pt x="1" y="55"/>
                  </a:lnTo>
                  <a:lnTo>
                    <a:pt x="0" y="43"/>
                  </a:lnTo>
                  <a:lnTo>
                    <a:pt x="7" y="14"/>
                  </a:lnTo>
                  <a:lnTo>
                    <a:pt x="25" y="6"/>
                  </a:lnTo>
                  <a:lnTo>
                    <a:pt x="2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1" name="Equatorial Guinea">
              <a:extLst>
                <a:ext uri="{FF2B5EF4-FFF2-40B4-BE49-F238E27FC236}">
                  <a16:creationId xmlns:a16="http://schemas.microsoft.com/office/drawing/2014/main" id="{B549317B-0BFC-9754-2AD9-5B01A88E50D6}"/>
                </a:ext>
              </a:extLst>
            </p:cNvPr>
            <p:cNvSpPr>
              <a:spLocks/>
            </p:cNvSpPr>
            <p:nvPr/>
          </p:nvSpPr>
          <p:spPr bwMode="auto">
            <a:xfrm>
              <a:off x="6046306" y="4535002"/>
              <a:ext cx="48791" cy="32527"/>
            </a:xfrm>
            <a:custGeom>
              <a:avLst/>
              <a:gdLst>
                <a:gd name="T0" fmla="*/ 17 w 27"/>
                <a:gd name="T1" fmla="*/ 0 h 18"/>
                <a:gd name="T2" fmla="*/ 27 w 27"/>
                <a:gd name="T3" fmla="*/ 0 h 18"/>
                <a:gd name="T4" fmla="*/ 27 w 27"/>
                <a:gd name="T5" fmla="*/ 17 h 18"/>
                <a:gd name="T6" fmla="*/ 17 w 27"/>
                <a:gd name="T7" fmla="*/ 17 h 18"/>
                <a:gd name="T8" fmla="*/ 12 w 27"/>
                <a:gd name="T9" fmla="*/ 18 h 18"/>
                <a:gd name="T10" fmla="*/ 3 w 27"/>
                <a:gd name="T11" fmla="*/ 18 h 18"/>
                <a:gd name="T12" fmla="*/ 0 w 27"/>
                <a:gd name="T13" fmla="*/ 14 h 18"/>
                <a:gd name="T14" fmla="*/ 3 w 27"/>
                <a:gd name="T15" fmla="*/ 2 h 18"/>
                <a:gd name="T16" fmla="*/ 14 w 27"/>
                <a:gd name="T17" fmla="*/ 2 h 18"/>
                <a:gd name="T18" fmla="*/ 17 w 27"/>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8">
                  <a:moveTo>
                    <a:pt x="17" y="0"/>
                  </a:moveTo>
                  <a:lnTo>
                    <a:pt x="27" y="0"/>
                  </a:lnTo>
                  <a:lnTo>
                    <a:pt x="27" y="17"/>
                  </a:lnTo>
                  <a:lnTo>
                    <a:pt x="17" y="17"/>
                  </a:lnTo>
                  <a:lnTo>
                    <a:pt x="12" y="18"/>
                  </a:lnTo>
                  <a:lnTo>
                    <a:pt x="3" y="18"/>
                  </a:lnTo>
                  <a:lnTo>
                    <a:pt x="0" y="14"/>
                  </a:lnTo>
                  <a:lnTo>
                    <a:pt x="3" y="2"/>
                  </a:lnTo>
                  <a:lnTo>
                    <a:pt x="14" y="2"/>
                  </a:lnTo>
                  <a:lnTo>
                    <a:pt x="1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2" name="Ethiopia">
              <a:extLst>
                <a:ext uri="{FF2B5EF4-FFF2-40B4-BE49-F238E27FC236}">
                  <a16:creationId xmlns:a16="http://schemas.microsoft.com/office/drawing/2014/main" id="{39EB0096-B9E2-35A1-F807-754C33067E62}"/>
                </a:ext>
              </a:extLst>
            </p:cNvPr>
            <p:cNvSpPr>
              <a:spLocks/>
            </p:cNvSpPr>
            <p:nvPr/>
          </p:nvSpPr>
          <p:spPr bwMode="auto">
            <a:xfrm>
              <a:off x="6606495" y="4245872"/>
              <a:ext cx="354183" cy="260217"/>
            </a:xfrm>
            <a:custGeom>
              <a:avLst/>
              <a:gdLst>
                <a:gd name="T0" fmla="*/ 68 w 196"/>
                <a:gd name="T1" fmla="*/ 0 h 144"/>
                <a:gd name="T2" fmla="*/ 79 w 196"/>
                <a:gd name="T3" fmla="*/ 2 h 144"/>
                <a:gd name="T4" fmla="*/ 92 w 196"/>
                <a:gd name="T5" fmla="*/ 2 h 144"/>
                <a:gd name="T6" fmla="*/ 104 w 196"/>
                <a:gd name="T7" fmla="*/ 8 h 144"/>
                <a:gd name="T8" fmla="*/ 120 w 196"/>
                <a:gd name="T9" fmla="*/ 30 h 144"/>
                <a:gd name="T10" fmla="*/ 116 w 196"/>
                <a:gd name="T11" fmla="*/ 43 h 144"/>
                <a:gd name="T12" fmla="*/ 117 w 196"/>
                <a:gd name="T13" fmla="*/ 48 h 144"/>
                <a:gd name="T14" fmla="*/ 126 w 196"/>
                <a:gd name="T15" fmla="*/ 45 h 144"/>
                <a:gd name="T16" fmla="*/ 129 w 196"/>
                <a:gd name="T17" fmla="*/ 48 h 144"/>
                <a:gd name="T18" fmla="*/ 129 w 196"/>
                <a:gd name="T19" fmla="*/ 57 h 144"/>
                <a:gd name="T20" fmla="*/ 144 w 196"/>
                <a:gd name="T21" fmla="*/ 71 h 144"/>
                <a:gd name="T22" fmla="*/ 184 w 196"/>
                <a:gd name="T23" fmla="*/ 86 h 144"/>
                <a:gd name="T24" fmla="*/ 196 w 196"/>
                <a:gd name="T25" fmla="*/ 85 h 144"/>
                <a:gd name="T26" fmla="*/ 194 w 196"/>
                <a:gd name="T27" fmla="*/ 89 h 144"/>
                <a:gd name="T28" fmla="*/ 157 w 196"/>
                <a:gd name="T29" fmla="*/ 125 h 144"/>
                <a:gd name="T30" fmla="*/ 142 w 196"/>
                <a:gd name="T31" fmla="*/ 125 h 144"/>
                <a:gd name="T32" fmla="*/ 116 w 196"/>
                <a:gd name="T33" fmla="*/ 138 h 144"/>
                <a:gd name="T34" fmla="*/ 110 w 196"/>
                <a:gd name="T35" fmla="*/ 140 h 144"/>
                <a:gd name="T36" fmla="*/ 102 w 196"/>
                <a:gd name="T37" fmla="*/ 135 h 144"/>
                <a:gd name="T38" fmla="*/ 94 w 196"/>
                <a:gd name="T39" fmla="*/ 138 h 144"/>
                <a:gd name="T40" fmla="*/ 83 w 196"/>
                <a:gd name="T41" fmla="*/ 144 h 144"/>
                <a:gd name="T42" fmla="*/ 77 w 196"/>
                <a:gd name="T43" fmla="*/ 144 h 144"/>
                <a:gd name="T44" fmla="*/ 64 w 196"/>
                <a:gd name="T45" fmla="*/ 141 h 144"/>
                <a:gd name="T46" fmla="*/ 48 w 196"/>
                <a:gd name="T47" fmla="*/ 131 h 144"/>
                <a:gd name="T48" fmla="*/ 37 w 196"/>
                <a:gd name="T49" fmla="*/ 131 h 144"/>
                <a:gd name="T50" fmla="*/ 37 w 196"/>
                <a:gd name="T51" fmla="*/ 120 h 144"/>
                <a:gd name="T52" fmla="*/ 28 w 196"/>
                <a:gd name="T53" fmla="*/ 117 h 144"/>
                <a:gd name="T54" fmla="*/ 22 w 196"/>
                <a:gd name="T55" fmla="*/ 103 h 144"/>
                <a:gd name="T56" fmla="*/ 15 w 196"/>
                <a:gd name="T57" fmla="*/ 98 h 144"/>
                <a:gd name="T58" fmla="*/ 11 w 196"/>
                <a:gd name="T59" fmla="*/ 91 h 144"/>
                <a:gd name="T60" fmla="*/ 0 w 196"/>
                <a:gd name="T61" fmla="*/ 88 h 144"/>
                <a:gd name="T62" fmla="*/ 3 w 196"/>
                <a:gd name="T63" fmla="*/ 80 h 144"/>
                <a:gd name="T64" fmla="*/ 11 w 196"/>
                <a:gd name="T65" fmla="*/ 80 h 144"/>
                <a:gd name="T66" fmla="*/ 15 w 196"/>
                <a:gd name="T67" fmla="*/ 77 h 144"/>
                <a:gd name="T68" fmla="*/ 16 w 196"/>
                <a:gd name="T69" fmla="*/ 52 h 144"/>
                <a:gd name="T70" fmla="*/ 25 w 196"/>
                <a:gd name="T71" fmla="*/ 46 h 144"/>
                <a:gd name="T72" fmla="*/ 27 w 196"/>
                <a:gd name="T73" fmla="*/ 37 h 144"/>
                <a:gd name="T74" fmla="*/ 42 w 196"/>
                <a:gd name="T75" fmla="*/ 20 h 144"/>
                <a:gd name="T76" fmla="*/ 46 w 196"/>
                <a:gd name="T77" fmla="*/ 6 h 144"/>
                <a:gd name="T78" fmla="*/ 59 w 196"/>
                <a:gd name="T79" fmla="*/ 5 h 144"/>
                <a:gd name="T80" fmla="*/ 62 w 196"/>
                <a:gd name="T81" fmla="*/ 9 h 144"/>
                <a:gd name="T82" fmla="*/ 68 w 196"/>
                <a:gd name="T8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6" h="144">
                  <a:moveTo>
                    <a:pt x="68" y="0"/>
                  </a:moveTo>
                  <a:lnTo>
                    <a:pt x="79" y="2"/>
                  </a:lnTo>
                  <a:lnTo>
                    <a:pt x="92" y="2"/>
                  </a:lnTo>
                  <a:lnTo>
                    <a:pt x="104" y="8"/>
                  </a:lnTo>
                  <a:lnTo>
                    <a:pt x="120" y="30"/>
                  </a:lnTo>
                  <a:lnTo>
                    <a:pt x="116" y="43"/>
                  </a:lnTo>
                  <a:lnTo>
                    <a:pt x="117" y="48"/>
                  </a:lnTo>
                  <a:lnTo>
                    <a:pt x="126" y="45"/>
                  </a:lnTo>
                  <a:lnTo>
                    <a:pt x="129" y="48"/>
                  </a:lnTo>
                  <a:lnTo>
                    <a:pt x="129" y="57"/>
                  </a:lnTo>
                  <a:lnTo>
                    <a:pt x="144" y="71"/>
                  </a:lnTo>
                  <a:lnTo>
                    <a:pt x="184" y="86"/>
                  </a:lnTo>
                  <a:lnTo>
                    <a:pt x="196" y="85"/>
                  </a:lnTo>
                  <a:lnTo>
                    <a:pt x="194" y="89"/>
                  </a:lnTo>
                  <a:lnTo>
                    <a:pt x="157" y="125"/>
                  </a:lnTo>
                  <a:lnTo>
                    <a:pt x="142" y="125"/>
                  </a:lnTo>
                  <a:lnTo>
                    <a:pt x="116" y="138"/>
                  </a:lnTo>
                  <a:lnTo>
                    <a:pt x="110" y="140"/>
                  </a:lnTo>
                  <a:lnTo>
                    <a:pt x="102" y="135"/>
                  </a:lnTo>
                  <a:lnTo>
                    <a:pt x="94" y="138"/>
                  </a:lnTo>
                  <a:lnTo>
                    <a:pt x="83" y="144"/>
                  </a:lnTo>
                  <a:lnTo>
                    <a:pt x="77" y="144"/>
                  </a:lnTo>
                  <a:lnTo>
                    <a:pt x="64" y="141"/>
                  </a:lnTo>
                  <a:lnTo>
                    <a:pt x="48" y="131"/>
                  </a:lnTo>
                  <a:lnTo>
                    <a:pt x="37" y="131"/>
                  </a:lnTo>
                  <a:lnTo>
                    <a:pt x="37" y="120"/>
                  </a:lnTo>
                  <a:lnTo>
                    <a:pt x="28" y="117"/>
                  </a:lnTo>
                  <a:lnTo>
                    <a:pt x="22" y="103"/>
                  </a:lnTo>
                  <a:lnTo>
                    <a:pt x="15" y="98"/>
                  </a:lnTo>
                  <a:lnTo>
                    <a:pt x="11" y="91"/>
                  </a:lnTo>
                  <a:lnTo>
                    <a:pt x="0" y="88"/>
                  </a:lnTo>
                  <a:lnTo>
                    <a:pt x="3" y="80"/>
                  </a:lnTo>
                  <a:lnTo>
                    <a:pt x="11" y="80"/>
                  </a:lnTo>
                  <a:lnTo>
                    <a:pt x="15" y="77"/>
                  </a:lnTo>
                  <a:lnTo>
                    <a:pt x="16" y="52"/>
                  </a:lnTo>
                  <a:lnTo>
                    <a:pt x="25" y="46"/>
                  </a:lnTo>
                  <a:lnTo>
                    <a:pt x="27" y="37"/>
                  </a:lnTo>
                  <a:lnTo>
                    <a:pt x="42" y="20"/>
                  </a:lnTo>
                  <a:lnTo>
                    <a:pt x="46" y="6"/>
                  </a:lnTo>
                  <a:lnTo>
                    <a:pt x="59" y="5"/>
                  </a:lnTo>
                  <a:lnTo>
                    <a:pt x="62" y="9"/>
                  </a:lnTo>
                  <a:lnTo>
                    <a:pt x="6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3" name="Egypt">
              <a:extLst>
                <a:ext uri="{FF2B5EF4-FFF2-40B4-BE49-F238E27FC236}">
                  <a16:creationId xmlns:a16="http://schemas.microsoft.com/office/drawing/2014/main" id="{A569F93B-8AE6-28A4-AA72-C52B210FF7DB}"/>
                </a:ext>
              </a:extLst>
            </p:cNvPr>
            <p:cNvSpPr>
              <a:spLocks/>
            </p:cNvSpPr>
            <p:nvPr/>
          </p:nvSpPr>
          <p:spPr bwMode="auto">
            <a:xfrm>
              <a:off x="6405911" y="3804949"/>
              <a:ext cx="267445" cy="262024"/>
            </a:xfrm>
            <a:custGeom>
              <a:avLst/>
              <a:gdLst>
                <a:gd name="T0" fmla="*/ 6 w 148"/>
                <a:gd name="T1" fmla="*/ 0 h 145"/>
                <a:gd name="T2" fmla="*/ 10 w 148"/>
                <a:gd name="T3" fmla="*/ 0 h 145"/>
                <a:gd name="T4" fmla="*/ 15 w 148"/>
                <a:gd name="T5" fmla="*/ 1 h 145"/>
                <a:gd name="T6" fmla="*/ 22 w 148"/>
                <a:gd name="T7" fmla="*/ 1 h 145"/>
                <a:gd name="T8" fmla="*/ 27 w 148"/>
                <a:gd name="T9" fmla="*/ 3 h 145"/>
                <a:gd name="T10" fmla="*/ 30 w 148"/>
                <a:gd name="T11" fmla="*/ 3 h 145"/>
                <a:gd name="T12" fmla="*/ 58 w 148"/>
                <a:gd name="T13" fmla="*/ 12 h 145"/>
                <a:gd name="T14" fmla="*/ 80 w 148"/>
                <a:gd name="T15" fmla="*/ 3 h 145"/>
                <a:gd name="T16" fmla="*/ 87 w 148"/>
                <a:gd name="T17" fmla="*/ 3 h 145"/>
                <a:gd name="T18" fmla="*/ 92 w 148"/>
                <a:gd name="T19" fmla="*/ 1 h 145"/>
                <a:gd name="T20" fmla="*/ 96 w 148"/>
                <a:gd name="T21" fmla="*/ 1 h 145"/>
                <a:gd name="T22" fmla="*/ 99 w 148"/>
                <a:gd name="T23" fmla="*/ 6 h 145"/>
                <a:gd name="T24" fmla="*/ 105 w 148"/>
                <a:gd name="T25" fmla="*/ 10 h 145"/>
                <a:gd name="T26" fmla="*/ 113 w 148"/>
                <a:gd name="T27" fmla="*/ 9 h 145"/>
                <a:gd name="T28" fmla="*/ 124 w 148"/>
                <a:gd name="T29" fmla="*/ 6 h 145"/>
                <a:gd name="T30" fmla="*/ 126 w 148"/>
                <a:gd name="T31" fmla="*/ 6 h 145"/>
                <a:gd name="T32" fmla="*/ 135 w 148"/>
                <a:gd name="T33" fmla="*/ 35 h 145"/>
                <a:gd name="T34" fmla="*/ 129 w 148"/>
                <a:gd name="T35" fmla="*/ 56 h 145"/>
                <a:gd name="T36" fmla="*/ 129 w 148"/>
                <a:gd name="T37" fmla="*/ 57 h 145"/>
                <a:gd name="T38" fmla="*/ 124 w 148"/>
                <a:gd name="T39" fmla="*/ 59 h 145"/>
                <a:gd name="T40" fmla="*/ 124 w 148"/>
                <a:gd name="T41" fmla="*/ 57 h 145"/>
                <a:gd name="T42" fmla="*/ 114 w 148"/>
                <a:gd name="T43" fmla="*/ 47 h 145"/>
                <a:gd name="T44" fmla="*/ 105 w 148"/>
                <a:gd name="T45" fmla="*/ 26 h 145"/>
                <a:gd name="T46" fmla="*/ 102 w 148"/>
                <a:gd name="T47" fmla="*/ 31 h 145"/>
                <a:gd name="T48" fmla="*/ 107 w 148"/>
                <a:gd name="T49" fmla="*/ 43 h 145"/>
                <a:gd name="T50" fmla="*/ 117 w 148"/>
                <a:gd name="T51" fmla="*/ 55 h 145"/>
                <a:gd name="T52" fmla="*/ 124 w 148"/>
                <a:gd name="T53" fmla="*/ 77 h 145"/>
                <a:gd name="T54" fmla="*/ 139 w 148"/>
                <a:gd name="T55" fmla="*/ 105 h 145"/>
                <a:gd name="T56" fmla="*/ 148 w 148"/>
                <a:gd name="T57" fmla="*/ 112 h 145"/>
                <a:gd name="T58" fmla="*/ 148 w 148"/>
                <a:gd name="T59" fmla="*/ 114 h 145"/>
                <a:gd name="T60" fmla="*/ 147 w 148"/>
                <a:gd name="T61" fmla="*/ 114 h 145"/>
                <a:gd name="T62" fmla="*/ 144 w 148"/>
                <a:gd name="T63" fmla="*/ 115 h 145"/>
                <a:gd name="T64" fmla="*/ 145 w 148"/>
                <a:gd name="T65" fmla="*/ 126 h 145"/>
                <a:gd name="T66" fmla="*/ 139 w 148"/>
                <a:gd name="T67" fmla="*/ 130 h 145"/>
                <a:gd name="T68" fmla="*/ 136 w 148"/>
                <a:gd name="T69" fmla="*/ 130 h 145"/>
                <a:gd name="T70" fmla="*/ 133 w 148"/>
                <a:gd name="T71" fmla="*/ 136 h 145"/>
                <a:gd name="T72" fmla="*/ 133 w 148"/>
                <a:gd name="T73" fmla="*/ 138 h 145"/>
                <a:gd name="T74" fmla="*/ 126 w 148"/>
                <a:gd name="T75" fmla="*/ 139 h 145"/>
                <a:gd name="T76" fmla="*/ 124 w 148"/>
                <a:gd name="T77" fmla="*/ 143 h 145"/>
                <a:gd name="T78" fmla="*/ 124 w 148"/>
                <a:gd name="T79" fmla="*/ 145 h 145"/>
                <a:gd name="T80" fmla="*/ 119 w 148"/>
                <a:gd name="T81" fmla="*/ 145 h 145"/>
                <a:gd name="T82" fmla="*/ 113 w 148"/>
                <a:gd name="T83" fmla="*/ 142 h 145"/>
                <a:gd name="T84" fmla="*/ 6 w 148"/>
                <a:gd name="T85" fmla="*/ 142 h 145"/>
                <a:gd name="T86" fmla="*/ 6 w 148"/>
                <a:gd name="T87" fmla="*/ 40 h 145"/>
                <a:gd name="T88" fmla="*/ 3 w 148"/>
                <a:gd name="T89" fmla="*/ 37 h 145"/>
                <a:gd name="T90" fmla="*/ 0 w 148"/>
                <a:gd name="T91" fmla="*/ 23 h 145"/>
                <a:gd name="T92" fmla="*/ 3 w 148"/>
                <a:gd name="T93" fmla="*/ 20 h 145"/>
                <a:gd name="T94" fmla="*/ 1 w 148"/>
                <a:gd name="T95" fmla="*/ 4 h 145"/>
                <a:gd name="T96" fmla="*/ 3 w 148"/>
                <a:gd name="T97" fmla="*/ 4 h 145"/>
                <a:gd name="T98" fmla="*/ 6 w 148"/>
                <a:gd name="T99"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8" h="145">
                  <a:moveTo>
                    <a:pt x="6" y="0"/>
                  </a:moveTo>
                  <a:lnTo>
                    <a:pt x="10" y="0"/>
                  </a:lnTo>
                  <a:lnTo>
                    <a:pt x="15" y="1"/>
                  </a:lnTo>
                  <a:lnTo>
                    <a:pt x="22" y="1"/>
                  </a:lnTo>
                  <a:lnTo>
                    <a:pt x="27" y="3"/>
                  </a:lnTo>
                  <a:lnTo>
                    <a:pt x="30" y="3"/>
                  </a:lnTo>
                  <a:lnTo>
                    <a:pt x="58" y="12"/>
                  </a:lnTo>
                  <a:lnTo>
                    <a:pt x="80" y="3"/>
                  </a:lnTo>
                  <a:lnTo>
                    <a:pt x="87" y="3"/>
                  </a:lnTo>
                  <a:lnTo>
                    <a:pt x="92" y="1"/>
                  </a:lnTo>
                  <a:lnTo>
                    <a:pt x="96" y="1"/>
                  </a:lnTo>
                  <a:lnTo>
                    <a:pt x="99" y="6"/>
                  </a:lnTo>
                  <a:lnTo>
                    <a:pt x="105" y="10"/>
                  </a:lnTo>
                  <a:lnTo>
                    <a:pt x="113" y="9"/>
                  </a:lnTo>
                  <a:lnTo>
                    <a:pt x="124" y="6"/>
                  </a:lnTo>
                  <a:lnTo>
                    <a:pt x="126" y="6"/>
                  </a:lnTo>
                  <a:lnTo>
                    <a:pt x="135" y="35"/>
                  </a:lnTo>
                  <a:lnTo>
                    <a:pt x="129" y="56"/>
                  </a:lnTo>
                  <a:lnTo>
                    <a:pt x="129" y="57"/>
                  </a:lnTo>
                  <a:lnTo>
                    <a:pt x="124" y="59"/>
                  </a:lnTo>
                  <a:lnTo>
                    <a:pt x="124" y="57"/>
                  </a:lnTo>
                  <a:lnTo>
                    <a:pt x="114" y="47"/>
                  </a:lnTo>
                  <a:lnTo>
                    <a:pt x="105" y="26"/>
                  </a:lnTo>
                  <a:lnTo>
                    <a:pt x="102" y="31"/>
                  </a:lnTo>
                  <a:lnTo>
                    <a:pt x="107" y="43"/>
                  </a:lnTo>
                  <a:lnTo>
                    <a:pt x="117" y="55"/>
                  </a:lnTo>
                  <a:lnTo>
                    <a:pt x="124" y="77"/>
                  </a:lnTo>
                  <a:lnTo>
                    <a:pt x="139" y="105"/>
                  </a:lnTo>
                  <a:lnTo>
                    <a:pt x="148" y="112"/>
                  </a:lnTo>
                  <a:lnTo>
                    <a:pt x="148" y="114"/>
                  </a:lnTo>
                  <a:lnTo>
                    <a:pt x="147" y="114"/>
                  </a:lnTo>
                  <a:lnTo>
                    <a:pt x="144" y="115"/>
                  </a:lnTo>
                  <a:lnTo>
                    <a:pt x="145" y="126"/>
                  </a:lnTo>
                  <a:lnTo>
                    <a:pt x="139" y="130"/>
                  </a:lnTo>
                  <a:lnTo>
                    <a:pt x="136" y="130"/>
                  </a:lnTo>
                  <a:lnTo>
                    <a:pt x="133" y="136"/>
                  </a:lnTo>
                  <a:lnTo>
                    <a:pt x="133" y="138"/>
                  </a:lnTo>
                  <a:lnTo>
                    <a:pt x="126" y="139"/>
                  </a:lnTo>
                  <a:lnTo>
                    <a:pt x="124" y="143"/>
                  </a:lnTo>
                  <a:lnTo>
                    <a:pt x="124" y="145"/>
                  </a:lnTo>
                  <a:lnTo>
                    <a:pt x="119" y="145"/>
                  </a:lnTo>
                  <a:lnTo>
                    <a:pt x="113" y="142"/>
                  </a:lnTo>
                  <a:lnTo>
                    <a:pt x="6" y="142"/>
                  </a:lnTo>
                  <a:lnTo>
                    <a:pt x="6" y="40"/>
                  </a:lnTo>
                  <a:lnTo>
                    <a:pt x="3" y="37"/>
                  </a:lnTo>
                  <a:lnTo>
                    <a:pt x="0" y="23"/>
                  </a:lnTo>
                  <a:lnTo>
                    <a:pt x="3" y="20"/>
                  </a:lnTo>
                  <a:lnTo>
                    <a:pt x="1" y="4"/>
                  </a:lnTo>
                  <a:lnTo>
                    <a:pt x="3" y="4"/>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4" name="Djibouti">
              <a:extLst>
                <a:ext uri="{FF2B5EF4-FFF2-40B4-BE49-F238E27FC236}">
                  <a16:creationId xmlns:a16="http://schemas.microsoft.com/office/drawing/2014/main" id="{1C5E9B47-FA2F-B421-D81E-763EA6BD84AB}"/>
                </a:ext>
              </a:extLst>
            </p:cNvPr>
            <p:cNvSpPr>
              <a:spLocks/>
            </p:cNvSpPr>
            <p:nvPr/>
          </p:nvSpPr>
          <p:spPr bwMode="auto">
            <a:xfrm>
              <a:off x="6812499" y="4287435"/>
              <a:ext cx="41563" cy="45177"/>
            </a:xfrm>
            <a:custGeom>
              <a:avLst/>
              <a:gdLst>
                <a:gd name="T0" fmla="*/ 17 w 23"/>
                <a:gd name="T1" fmla="*/ 0 h 25"/>
                <a:gd name="T2" fmla="*/ 18 w 23"/>
                <a:gd name="T3" fmla="*/ 0 h 25"/>
                <a:gd name="T4" fmla="*/ 21 w 23"/>
                <a:gd name="T5" fmla="*/ 4 h 25"/>
                <a:gd name="T6" fmla="*/ 23 w 23"/>
                <a:gd name="T7" fmla="*/ 10 h 25"/>
                <a:gd name="T8" fmla="*/ 23 w 23"/>
                <a:gd name="T9" fmla="*/ 11 h 25"/>
                <a:gd name="T10" fmla="*/ 12 w 23"/>
                <a:gd name="T11" fmla="*/ 16 h 25"/>
                <a:gd name="T12" fmla="*/ 20 w 23"/>
                <a:gd name="T13" fmla="*/ 16 h 25"/>
                <a:gd name="T14" fmla="*/ 20 w 23"/>
                <a:gd name="T15" fmla="*/ 17 h 25"/>
                <a:gd name="T16" fmla="*/ 17 w 23"/>
                <a:gd name="T17" fmla="*/ 25 h 25"/>
                <a:gd name="T18" fmla="*/ 15 w 23"/>
                <a:gd name="T19" fmla="*/ 25 h 25"/>
                <a:gd name="T20" fmla="*/ 12 w 23"/>
                <a:gd name="T21" fmla="*/ 23 h 25"/>
                <a:gd name="T22" fmla="*/ 3 w 23"/>
                <a:gd name="T23" fmla="*/ 25 h 25"/>
                <a:gd name="T24" fmla="*/ 2 w 23"/>
                <a:gd name="T25" fmla="*/ 25 h 25"/>
                <a:gd name="T26" fmla="*/ 0 w 23"/>
                <a:gd name="T27" fmla="*/ 20 h 25"/>
                <a:gd name="T28" fmla="*/ 6 w 23"/>
                <a:gd name="T29" fmla="*/ 7 h 25"/>
                <a:gd name="T30" fmla="*/ 17 w 23"/>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5">
                  <a:moveTo>
                    <a:pt x="17" y="0"/>
                  </a:moveTo>
                  <a:lnTo>
                    <a:pt x="18" y="0"/>
                  </a:lnTo>
                  <a:lnTo>
                    <a:pt x="21" y="4"/>
                  </a:lnTo>
                  <a:lnTo>
                    <a:pt x="23" y="10"/>
                  </a:lnTo>
                  <a:lnTo>
                    <a:pt x="23" y="11"/>
                  </a:lnTo>
                  <a:lnTo>
                    <a:pt x="12" y="16"/>
                  </a:lnTo>
                  <a:lnTo>
                    <a:pt x="20" y="16"/>
                  </a:lnTo>
                  <a:lnTo>
                    <a:pt x="20" y="17"/>
                  </a:lnTo>
                  <a:lnTo>
                    <a:pt x="17" y="25"/>
                  </a:lnTo>
                  <a:lnTo>
                    <a:pt x="15" y="25"/>
                  </a:lnTo>
                  <a:lnTo>
                    <a:pt x="12" y="23"/>
                  </a:lnTo>
                  <a:lnTo>
                    <a:pt x="3" y="25"/>
                  </a:lnTo>
                  <a:lnTo>
                    <a:pt x="2" y="25"/>
                  </a:lnTo>
                  <a:lnTo>
                    <a:pt x="0" y="20"/>
                  </a:lnTo>
                  <a:lnTo>
                    <a:pt x="6" y="7"/>
                  </a:lnTo>
                  <a:lnTo>
                    <a:pt x="1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5" name="Democratic Republic of the Congo">
              <a:extLst>
                <a:ext uri="{FF2B5EF4-FFF2-40B4-BE49-F238E27FC236}">
                  <a16:creationId xmlns:a16="http://schemas.microsoft.com/office/drawing/2014/main" id="{61C3BBB2-7349-535C-EEEC-B62EC0E39546}"/>
                </a:ext>
              </a:extLst>
            </p:cNvPr>
            <p:cNvSpPr>
              <a:spLocks/>
            </p:cNvSpPr>
            <p:nvPr/>
          </p:nvSpPr>
          <p:spPr bwMode="auto">
            <a:xfrm>
              <a:off x="6116782" y="4462720"/>
              <a:ext cx="449959" cy="442731"/>
            </a:xfrm>
            <a:custGeom>
              <a:avLst/>
              <a:gdLst>
                <a:gd name="T0" fmla="*/ 184 w 249"/>
                <a:gd name="T1" fmla="*/ 0 h 245"/>
                <a:gd name="T2" fmla="*/ 188 w 249"/>
                <a:gd name="T3" fmla="*/ 2 h 245"/>
                <a:gd name="T4" fmla="*/ 191 w 249"/>
                <a:gd name="T5" fmla="*/ 3 h 245"/>
                <a:gd name="T6" fmla="*/ 200 w 249"/>
                <a:gd name="T7" fmla="*/ 2 h 245"/>
                <a:gd name="T8" fmla="*/ 212 w 249"/>
                <a:gd name="T9" fmla="*/ 12 h 245"/>
                <a:gd name="T10" fmla="*/ 224 w 249"/>
                <a:gd name="T11" fmla="*/ 11 h 245"/>
                <a:gd name="T12" fmla="*/ 228 w 249"/>
                <a:gd name="T13" fmla="*/ 9 h 245"/>
                <a:gd name="T14" fmla="*/ 243 w 249"/>
                <a:gd name="T15" fmla="*/ 34 h 245"/>
                <a:gd name="T16" fmla="*/ 249 w 249"/>
                <a:gd name="T17" fmla="*/ 42 h 245"/>
                <a:gd name="T18" fmla="*/ 240 w 249"/>
                <a:gd name="T19" fmla="*/ 54 h 245"/>
                <a:gd name="T20" fmla="*/ 230 w 249"/>
                <a:gd name="T21" fmla="*/ 86 h 245"/>
                <a:gd name="T22" fmla="*/ 222 w 249"/>
                <a:gd name="T23" fmla="*/ 104 h 245"/>
                <a:gd name="T24" fmla="*/ 222 w 249"/>
                <a:gd name="T25" fmla="*/ 137 h 245"/>
                <a:gd name="T26" fmla="*/ 224 w 249"/>
                <a:gd name="T27" fmla="*/ 153 h 245"/>
                <a:gd name="T28" fmla="*/ 237 w 249"/>
                <a:gd name="T29" fmla="*/ 168 h 245"/>
                <a:gd name="T30" fmla="*/ 240 w 249"/>
                <a:gd name="T31" fmla="*/ 177 h 245"/>
                <a:gd name="T32" fmla="*/ 222 w 249"/>
                <a:gd name="T33" fmla="*/ 180 h 245"/>
                <a:gd name="T34" fmla="*/ 218 w 249"/>
                <a:gd name="T35" fmla="*/ 205 h 245"/>
                <a:gd name="T36" fmla="*/ 219 w 249"/>
                <a:gd name="T37" fmla="*/ 229 h 245"/>
                <a:gd name="T38" fmla="*/ 230 w 249"/>
                <a:gd name="T39" fmla="*/ 244 h 245"/>
                <a:gd name="T40" fmla="*/ 228 w 249"/>
                <a:gd name="T41" fmla="*/ 245 h 245"/>
                <a:gd name="T42" fmla="*/ 206 w 249"/>
                <a:gd name="T43" fmla="*/ 230 h 245"/>
                <a:gd name="T44" fmla="*/ 193 w 249"/>
                <a:gd name="T45" fmla="*/ 224 h 245"/>
                <a:gd name="T46" fmla="*/ 172 w 249"/>
                <a:gd name="T47" fmla="*/ 220 h 245"/>
                <a:gd name="T48" fmla="*/ 160 w 249"/>
                <a:gd name="T49" fmla="*/ 218 h 245"/>
                <a:gd name="T50" fmla="*/ 154 w 249"/>
                <a:gd name="T51" fmla="*/ 212 h 245"/>
                <a:gd name="T52" fmla="*/ 130 w 249"/>
                <a:gd name="T53" fmla="*/ 218 h 245"/>
                <a:gd name="T54" fmla="*/ 126 w 249"/>
                <a:gd name="T55" fmla="*/ 214 h 245"/>
                <a:gd name="T56" fmla="*/ 124 w 249"/>
                <a:gd name="T57" fmla="*/ 193 h 245"/>
                <a:gd name="T58" fmla="*/ 121 w 249"/>
                <a:gd name="T59" fmla="*/ 165 h 245"/>
                <a:gd name="T60" fmla="*/ 110 w 249"/>
                <a:gd name="T61" fmla="*/ 160 h 245"/>
                <a:gd name="T62" fmla="*/ 92 w 249"/>
                <a:gd name="T63" fmla="*/ 174 h 245"/>
                <a:gd name="T64" fmla="*/ 83 w 249"/>
                <a:gd name="T65" fmla="*/ 175 h 245"/>
                <a:gd name="T66" fmla="*/ 75 w 249"/>
                <a:gd name="T67" fmla="*/ 177 h 245"/>
                <a:gd name="T68" fmla="*/ 61 w 249"/>
                <a:gd name="T69" fmla="*/ 165 h 245"/>
                <a:gd name="T70" fmla="*/ 52 w 249"/>
                <a:gd name="T71" fmla="*/ 146 h 245"/>
                <a:gd name="T72" fmla="*/ 1 w 249"/>
                <a:gd name="T73" fmla="*/ 152 h 245"/>
                <a:gd name="T74" fmla="*/ 0 w 249"/>
                <a:gd name="T75" fmla="*/ 146 h 245"/>
                <a:gd name="T76" fmla="*/ 3 w 249"/>
                <a:gd name="T77" fmla="*/ 135 h 245"/>
                <a:gd name="T78" fmla="*/ 9 w 249"/>
                <a:gd name="T79" fmla="*/ 129 h 245"/>
                <a:gd name="T80" fmla="*/ 19 w 249"/>
                <a:gd name="T81" fmla="*/ 128 h 245"/>
                <a:gd name="T82" fmla="*/ 27 w 249"/>
                <a:gd name="T83" fmla="*/ 126 h 245"/>
                <a:gd name="T84" fmla="*/ 30 w 249"/>
                <a:gd name="T85" fmla="*/ 132 h 245"/>
                <a:gd name="T86" fmla="*/ 50 w 249"/>
                <a:gd name="T87" fmla="*/ 112 h 245"/>
                <a:gd name="T88" fmla="*/ 58 w 249"/>
                <a:gd name="T89" fmla="*/ 88 h 245"/>
                <a:gd name="T90" fmla="*/ 74 w 249"/>
                <a:gd name="T91" fmla="*/ 43 h 245"/>
                <a:gd name="T92" fmla="*/ 83 w 249"/>
                <a:gd name="T93" fmla="*/ 23 h 245"/>
                <a:gd name="T94" fmla="*/ 86 w 249"/>
                <a:gd name="T95" fmla="*/ 20 h 245"/>
                <a:gd name="T96" fmla="*/ 93 w 249"/>
                <a:gd name="T97" fmla="*/ 2 h 245"/>
                <a:gd name="T98" fmla="*/ 110 w 249"/>
                <a:gd name="T99" fmla="*/ 9 h 245"/>
                <a:gd name="T100" fmla="*/ 121 w 249"/>
                <a:gd name="T101" fmla="*/ 12 h 245"/>
                <a:gd name="T102" fmla="*/ 138 w 249"/>
                <a:gd name="T103" fmla="*/ 6 h 245"/>
                <a:gd name="T104" fmla="*/ 145 w 249"/>
                <a:gd name="T105" fmla="*/ 8 h 245"/>
                <a:gd name="T106" fmla="*/ 164 w 249"/>
                <a:gd name="T107" fmla="*/ 5 h 245"/>
                <a:gd name="T108" fmla="*/ 169 w 249"/>
                <a:gd name="T109" fmla="*/ 2 h 245"/>
                <a:gd name="T110" fmla="*/ 179 w 249"/>
                <a:gd name="T11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9" h="245">
                  <a:moveTo>
                    <a:pt x="179" y="0"/>
                  </a:moveTo>
                  <a:lnTo>
                    <a:pt x="184" y="0"/>
                  </a:lnTo>
                  <a:lnTo>
                    <a:pt x="187" y="3"/>
                  </a:lnTo>
                  <a:lnTo>
                    <a:pt x="188" y="2"/>
                  </a:lnTo>
                  <a:lnTo>
                    <a:pt x="190" y="2"/>
                  </a:lnTo>
                  <a:lnTo>
                    <a:pt x="191" y="3"/>
                  </a:lnTo>
                  <a:lnTo>
                    <a:pt x="193" y="2"/>
                  </a:lnTo>
                  <a:lnTo>
                    <a:pt x="200" y="2"/>
                  </a:lnTo>
                  <a:lnTo>
                    <a:pt x="207" y="11"/>
                  </a:lnTo>
                  <a:lnTo>
                    <a:pt x="212" y="12"/>
                  </a:lnTo>
                  <a:lnTo>
                    <a:pt x="215" y="11"/>
                  </a:lnTo>
                  <a:lnTo>
                    <a:pt x="224" y="11"/>
                  </a:lnTo>
                  <a:lnTo>
                    <a:pt x="227" y="9"/>
                  </a:lnTo>
                  <a:lnTo>
                    <a:pt x="228" y="9"/>
                  </a:lnTo>
                  <a:lnTo>
                    <a:pt x="244" y="23"/>
                  </a:lnTo>
                  <a:lnTo>
                    <a:pt x="243" y="34"/>
                  </a:lnTo>
                  <a:lnTo>
                    <a:pt x="249" y="40"/>
                  </a:lnTo>
                  <a:lnTo>
                    <a:pt x="249" y="42"/>
                  </a:lnTo>
                  <a:lnTo>
                    <a:pt x="240" y="51"/>
                  </a:lnTo>
                  <a:lnTo>
                    <a:pt x="240" y="54"/>
                  </a:lnTo>
                  <a:lnTo>
                    <a:pt x="231" y="64"/>
                  </a:lnTo>
                  <a:lnTo>
                    <a:pt x="230" y="86"/>
                  </a:lnTo>
                  <a:lnTo>
                    <a:pt x="219" y="100"/>
                  </a:lnTo>
                  <a:lnTo>
                    <a:pt x="222" y="104"/>
                  </a:lnTo>
                  <a:lnTo>
                    <a:pt x="224" y="113"/>
                  </a:lnTo>
                  <a:lnTo>
                    <a:pt x="222" y="137"/>
                  </a:lnTo>
                  <a:lnTo>
                    <a:pt x="224" y="143"/>
                  </a:lnTo>
                  <a:lnTo>
                    <a:pt x="224" y="153"/>
                  </a:lnTo>
                  <a:lnTo>
                    <a:pt x="230" y="160"/>
                  </a:lnTo>
                  <a:lnTo>
                    <a:pt x="237" y="168"/>
                  </a:lnTo>
                  <a:lnTo>
                    <a:pt x="240" y="175"/>
                  </a:lnTo>
                  <a:lnTo>
                    <a:pt x="240" y="177"/>
                  </a:lnTo>
                  <a:lnTo>
                    <a:pt x="239" y="177"/>
                  </a:lnTo>
                  <a:lnTo>
                    <a:pt x="222" y="180"/>
                  </a:lnTo>
                  <a:lnTo>
                    <a:pt x="216" y="189"/>
                  </a:lnTo>
                  <a:lnTo>
                    <a:pt x="218" y="205"/>
                  </a:lnTo>
                  <a:lnTo>
                    <a:pt x="213" y="223"/>
                  </a:lnTo>
                  <a:lnTo>
                    <a:pt x="219" y="229"/>
                  </a:lnTo>
                  <a:lnTo>
                    <a:pt x="228" y="229"/>
                  </a:lnTo>
                  <a:lnTo>
                    <a:pt x="230" y="244"/>
                  </a:lnTo>
                  <a:lnTo>
                    <a:pt x="230" y="245"/>
                  </a:lnTo>
                  <a:lnTo>
                    <a:pt x="228" y="245"/>
                  </a:lnTo>
                  <a:lnTo>
                    <a:pt x="216" y="242"/>
                  </a:lnTo>
                  <a:lnTo>
                    <a:pt x="206" y="230"/>
                  </a:lnTo>
                  <a:lnTo>
                    <a:pt x="199" y="229"/>
                  </a:lnTo>
                  <a:lnTo>
                    <a:pt x="193" y="224"/>
                  </a:lnTo>
                  <a:lnTo>
                    <a:pt x="182" y="226"/>
                  </a:lnTo>
                  <a:lnTo>
                    <a:pt x="172" y="220"/>
                  </a:lnTo>
                  <a:lnTo>
                    <a:pt x="169" y="215"/>
                  </a:lnTo>
                  <a:lnTo>
                    <a:pt x="160" y="218"/>
                  </a:lnTo>
                  <a:lnTo>
                    <a:pt x="157" y="211"/>
                  </a:lnTo>
                  <a:lnTo>
                    <a:pt x="154" y="212"/>
                  </a:lnTo>
                  <a:lnTo>
                    <a:pt x="135" y="214"/>
                  </a:lnTo>
                  <a:lnTo>
                    <a:pt x="130" y="218"/>
                  </a:lnTo>
                  <a:lnTo>
                    <a:pt x="126" y="215"/>
                  </a:lnTo>
                  <a:lnTo>
                    <a:pt x="126" y="214"/>
                  </a:lnTo>
                  <a:lnTo>
                    <a:pt x="129" y="208"/>
                  </a:lnTo>
                  <a:lnTo>
                    <a:pt x="124" y="193"/>
                  </a:lnTo>
                  <a:lnTo>
                    <a:pt x="123" y="168"/>
                  </a:lnTo>
                  <a:lnTo>
                    <a:pt x="121" y="165"/>
                  </a:lnTo>
                  <a:lnTo>
                    <a:pt x="110" y="165"/>
                  </a:lnTo>
                  <a:lnTo>
                    <a:pt x="110" y="160"/>
                  </a:lnTo>
                  <a:lnTo>
                    <a:pt x="96" y="162"/>
                  </a:lnTo>
                  <a:lnTo>
                    <a:pt x="92" y="174"/>
                  </a:lnTo>
                  <a:lnTo>
                    <a:pt x="87" y="174"/>
                  </a:lnTo>
                  <a:lnTo>
                    <a:pt x="83" y="175"/>
                  </a:lnTo>
                  <a:lnTo>
                    <a:pt x="80" y="175"/>
                  </a:lnTo>
                  <a:lnTo>
                    <a:pt x="75" y="177"/>
                  </a:lnTo>
                  <a:lnTo>
                    <a:pt x="71" y="177"/>
                  </a:lnTo>
                  <a:lnTo>
                    <a:pt x="61" y="165"/>
                  </a:lnTo>
                  <a:lnTo>
                    <a:pt x="56" y="150"/>
                  </a:lnTo>
                  <a:lnTo>
                    <a:pt x="52" y="146"/>
                  </a:lnTo>
                  <a:lnTo>
                    <a:pt x="13" y="147"/>
                  </a:lnTo>
                  <a:lnTo>
                    <a:pt x="1" y="152"/>
                  </a:lnTo>
                  <a:lnTo>
                    <a:pt x="0" y="152"/>
                  </a:lnTo>
                  <a:lnTo>
                    <a:pt x="0" y="146"/>
                  </a:lnTo>
                  <a:lnTo>
                    <a:pt x="1" y="144"/>
                  </a:lnTo>
                  <a:lnTo>
                    <a:pt x="3" y="135"/>
                  </a:lnTo>
                  <a:lnTo>
                    <a:pt x="3" y="134"/>
                  </a:lnTo>
                  <a:lnTo>
                    <a:pt x="9" y="129"/>
                  </a:lnTo>
                  <a:lnTo>
                    <a:pt x="16" y="131"/>
                  </a:lnTo>
                  <a:lnTo>
                    <a:pt x="19" y="128"/>
                  </a:lnTo>
                  <a:lnTo>
                    <a:pt x="27" y="125"/>
                  </a:lnTo>
                  <a:lnTo>
                    <a:pt x="27" y="126"/>
                  </a:lnTo>
                  <a:lnTo>
                    <a:pt x="28" y="131"/>
                  </a:lnTo>
                  <a:lnTo>
                    <a:pt x="30" y="132"/>
                  </a:lnTo>
                  <a:lnTo>
                    <a:pt x="46" y="119"/>
                  </a:lnTo>
                  <a:lnTo>
                    <a:pt x="50" y="112"/>
                  </a:lnTo>
                  <a:lnTo>
                    <a:pt x="53" y="97"/>
                  </a:lnTo>
                  <a:lnTo>
                    <a:pt x="58" y="88"/>
                  </a:lnTo>
                  <a:lnTo>
                    <a:pt x="70" y="79"/>
                  </a:lnTo>
                  <a:lnTo>
                    <a:pt x="74" y="43"/>
                  </a:lnTo>
                  <a:lnTo>
                    <a:pt x="81" y="30"/>
                  </a:lnTo>
                  <a:lnTo>
                    <a:pt x="83" y="23"/>
                  </a:lnTo>
                  <a:lnTo>
                    <a:pt x="83" y="21"/>
                  </a:lnTo>
                  <a:lnTo>
                    <a:pt x="86" y="20"/>
                  </a:lnTo>
                  <a:lnTo>
                    <a:pt x="86" y="11"/>
                  </a:lnTo>
                  <a:lnTo>
                    <a:pt x="93" y="2"/>
                  </a:lnTo>
                  <a:lnTo>
                    <a:pt x="102" y="2"/>
                  </a:lnTo>
                  <a:lnTo>
                    <a:pt x="110" y="9"/>
                  </a:lnTo>
                  <a:lnTo>
                    <a:pt x="113" y="9"/>
                  </a:lnTo>
                  <a:lnTo>
                    <a:pt x="121" y="12"/>
                  </a:lnTo>
                  <a:lnTo>
                    <a:pt x="133" y="12"/>
                  </a:lnTo>
                  <a:lnTo>
                    <a:pt x="138" y="6"/>
                  </a:lnTo>
                  <a:lnTo>
                    <a:pt x="139" y="6"/>
                  </a:lnTo>
                  <a:lnTo>
                    <a:pt x="145" y="8"/>
                  </a:lnTo>
                  <a:lnTo>
                    <a:pt x="161" y="3"/>
                  </a:lnTo>
                  <a:lnTo>
                    <a:pt x="164" y="5"/>
                  </a:lnTo>
                  <a:lnTo>
                    <a:pt x="169" y="3"/>
                  </a:lnTo>
                  <a:lnTo>
                    <a:pt x="169" y="2"/>
                  </a:lnTo>
                  <a:lnTo>
                    <a:pt x="176" y="2"/>
                  </a:lnTo>
                  <a:lnTo>
                    <a:pt x="17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6" name="Cote d'Ivoire">
              <a:extLst>
                <a:ext uri="{FF2B5EF4-FFF2-40B4-BE49-F238E27FC236}">
                  <a16:creationId xmlns:a16="http://schemas.microsoft.com/office/drawing/2014/main" id="{4587F3F7-A0B5-7293-D718-C93DCC3EFC53}"/>
                </a:ext>
              </a:extLst>
            </p:cNvPr>
            <p:cNvSpPr>
              <a:spLocks/>
            </p:cNvSpPr>
            <p:nvPr/>
          </p:nvSpPr>
          <p:spPr bwMode="auto">
            <a:xfrm>
              <a:off x="5623454" y="4334418"/>
              <a:ext cx="148179" cy="153601"/>
            </a:xfrm>
            <a:custGeom>
              <a:avLst/>
              <a:gdLst>
                <a:gd name="T0" fmla="*/ 31 w 82"/>
                <a:gd name="T1" fmla="*/ 0 h 85"/>
                <a:gd name="T2" fmla="*/ 33 w 82"/>
                <a:gd name="T3" fmla="*/ 6 h 85"/>
                <a:gd name="T4" fmla="*/ 37 w 82"/>
                <a:gd name="T5" fmla="*/ 3 h 85"/>
                <a:gd name="T6" fmla="*/ 45 w 82"/>
                <a:gd name="T7" fmla="*/ 5 h 85"/>
                <a:gd name="T8" fmla="*/ 46 w 82"/>
                <a:gd name="T9" fmla="*/ 5 h 85"/>
                <a:gd name="T10" fmla="*/ 52 w 82"/>
                <a:gd name="T11" fmla="*/ 14 h 85"/>
                <a:gd name="T12" fmla="*/ 56 w 82"/>
                <a:gd name="T13" fmla="*/ 14 h 85"/>
                <a:gd name="T14" fmla="*/ 65 w 82"/>
                <a:gd name="T15" fmla="*/ 9 h 85"/>
                <a:gd name="T16" fmla="*/ 71 w 82"/>
                <a:gd name="T17" fmla="*/ 11 h 85"/>
                <a:gd name="T18" fmla="*/ 73 w 82"/>
                <a:gd name="T19" fmla="*/ 11 h 85"/>
                <a:gd name="T20" fmla="*/ 76 w 82"/>
                <a:gd name="T21" fmla="*/ 17 h 85"/>
                <a:gd name="T22" fmla="*/ 79 w 82"/>
                <a:gd name="T23" fmla="*/ 17 h 85"/>
                <a:gd name="T24" fmla="*/ 79 w 82"/>
                <a:gd name="T25" fmla="*/ 21 h 85"/>
                <a:gd name="T26" fmla="*/ 82 w 82"/>
                <a:gd name="T27" fmla="*/ 33 h 85"/>
                <a:gd name="T28" fmla="*/ 82 w 82"/>
                <a:gd name="T29" fmla="*/ 34 h 85"/>
                <a:gd name="T30" fmla="*/ 79 w 82"/>
                <a:gd name="T31" fmla="*/ 37 h 85"/>
                <a:gd name="T32" fmla="*/ 73 w 82"/>
                <a:gd name="T33" fmla="*/ 55 h 85"/>
                <a:gd name="T34" fmla="*/ 74 w 82"/>
                <a:gd name="T35" fmla="*/ 65 h 85"/>
                <a:gd name="T36" fmla="*/ 79 w 82"/>
                <a:gd name="T37" fmla="*/ 67 h 85"/>
                <a:gd name="T38" fmla="*/ 79 w 82"/>
                <a:gd name="T39" fmla="*/ 74 h 85"/>
                <a:gd name="T40" fmla="*/ 73 w 82"/>
                <a:gd name="T41" fmla="*/ 76 h 85"/>
                <a:gd name="T42" fmla="*/ 51 w 82"/>
                <a:gd name="T43" fmla="*/ 74 h 85"/>
                <a:gd name="T44" fmla="*/ 33 w 82"/>
                <a:gd name="T45" fmla="*/ 79 h 85"/>
                <a:gd name="T46" fmla="*/ 19 w 82"/>
                <a:gd name="T47" fmla="*/ 85 h 85"/>
                <a:gd name="T48" fmla="*/ 13 w 82"/>
                <a:gd name="T49" fmla="*/ 85 h 85"/>
                <a:gd name="T50" fmla="*/ 13 w 82"/>
                <a:gd name="T51" fmla="*/ 83 h 85"/>
                <a:gd name="T52" fmla="*/ 15 w 82"/>
                <a:gd name="T53" fmla="*/ 65 h 85"/>
                <a:gd name="T54" fmla="*/ 12 w 82"/>
                <a:gd name="T55" fmla="*/ 64 h 85"/>
                <a:gd name="T56" fmla="*/ 9 w 82"/>
                <a:gd name="T57" fmla="*/ 60 h 85"/>
                <a:gd name="T58" fmla="*/ 2 w 82"/>
                <a:gd name="T59" fmla="*/ 58 h 85"/>
                <a:gd name="T60" fmla="*/ 0 w 82"/>
                <a:gd name="T61" fmla="*/ 57 h 85"/>
                <a:gd name="T62" fmla="*/ 5 w 82"/>
                <a:gd name="T63" fmla="*/ 48 h 85"/>
                <a:gd name="T64" fmla="*/ 2 w 82"/>
                <a:gd name="T65" fmla="*/ 42 h 85"/>
                <a:gd name="T66" fmla="*/ 6 w 82"/>
                <a:gd name="T67" fmla="*/ 42 h 85"/>
                <a:gd name="T68" fmla="*/ 8 w 82"/>
                <a:gd name="T69" fmla="*/ 36 h 85"/>
                <a:gd name="T70" fmla="*/ 5 w 82"/>
                <a:gd name="T71" fmla="*/ 34 h 85"/>
                <a:gd name="T72" fmla="*/ 5 w 82"/>
                <a:gd name="T73" fmla="*/ 30 h 85"/>
                <a:gd name="T74" fmla="*/ 8 w 82"/>
                <a:gd name="T75" fmla="*/ 30 h 85"/>
                <a:gd name="T76" fmla="*/ 9 w 82"/>
                <a:gd name="T77" fmla="*/ 31 h 85"/>
                <a:gd name="T78" fmla="*/ 12 w 82"/>
                <a:gd name="T79" fmla="*/ 31 h 85"/>
                <a:gd name="T80" fmla="*/ 11 w 82"/>
                <a:gd name="T81" fmla="*/ 27 h 85"/>
                <a:gd name="T82" fmla="*/ 9 w 82"/>
                <a:gd name="T83" fmla="*/ 27 h 85"/>
                <a:gd name="T84" fmla="*/ 11 w 82"/>
                <a:gd name="T85" fmla="*/ 24 h 85"/>
                <a:gd name="T86" fmla="*/ 11 w 82"/>
                <a:gd name="T87" fmla="*/ 19 h 85"/>
                <a:gd name="T88" fmla="*/ 6 w 82"/>
                <a:gd name="T89" fmla="*/ 18 h 85"/>
                <a:gd name="T90" fmla="*/ 6 w 82"/>
                <a:gd name="T91" fmla="*/ 11 h 85"/>
                <a:gd name="T92" fmla="*/ 8 w 82"/>
                <a:gd name="T93" fmla="*/ 8 h 85"/>
                <a:gd name="T94" fmla="*/ 15 w 82"/>
                <a:gd name="T95" fmla="*/ 3 h 85"/>
                <a:gd name="T96" fmla="*/ 21 w 82"/>
                <a:gd name="T97" fmla="*/ 6 h 85"/>
                <a:gd name="T98" fmla="*/ 25 w 82"/>
                <a:gd name="T99" fmla="*/ 5 h 85"/>
                <a:gd name="T100" fmla="*/ 25 w 82"/>
                <a:gd name="T101" fmla="*/ 2 h 85"/>
                <a:gd name="T102" fmla="*/ 31 w 82"/>
                <a:gd name="T10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85">
                  <a:moveTo>
                    <a:pt x="31" y="0"/>
                  </a:moveTo>
                  <a:lnTo>
                    <a:pt x="33" y="6"/>
                  </a:lnTo>
                  <a:lnTo>
                    <a:pt x="37" y="3"/>
                  </a:lnTo>
                  <a:lnTo>
                    <a:pt x="45" y="5"/>
                  </a:lnTo>
                  <a:lnTo>
                    <a:pt x="46" y="5"/>
                  </a:lnTo>
                  <a:lnTo>
                    <a:pt x="52" y="14"/>
                  </a:lnTo>
                  <a:lnTo>
                    <a:pt x="56" y="14"/>
                  </a:lnTo>
                  <a:lnTo>
                    <a:pt x="65" y="9"/>
                  </a:lnTo>
                  <a:lnTo>
                    <a:pt x="71" y="11"/>
                  </a:lnTo>
                  <a:lnTo>
                    <a:pt x="73" y="11"/>
                  </a:lnTo>
                  <a:lnTo>
                    <a:pt x="76" y="17"/>
                  </a:lnTo>
                  <a:lnTo>
                    <a:pt x="79" y="17"/>
                  </a:lnTo>
                  <a:lnTo>
                    <a:pt x="79" y="21"/>
                  </a:lnTo>
                  <a:lnTo>
                    <a:pt x="82" y="33"/>
                  </a:lnTo>
                  <a:lnTo>
                    <a:pt x="82" y="34"/>
                  </a:lnTo>
                  <a:lnTo>
                    <a:pt x="79" y="37"/>
                  </a:lnTo>
                  <a:lnTo>
                    <a:pt x="73" y="55"/>
                  </a:lnTo>
                  <a:lnTo>
                    <a:pt x="74" y="65"/>
                  </a:lnTo>
                  <a:lnTo>
                    <a:pt x="79" y="67"/>
                  </a:lnTo>
                  <a:lnTo>
                    <a:pt x="79" y="74"/>
                  </a:lnTo>
                  <a:lnTo>
                    <a:pt x="73" y="76"/>
                  </a:lnTo>
                  <a:lnTo>
                    <a:pt x="51" y="74"/>
                  </a:lnTo>
                  <a:lnTo>
                    <a:pt x="33" y="79"/>
                  </a:lnTo>
                  <a:lnTo>
                    <a:pt x="19" y="85"/>
                  </a:lnTo>
                  <a:lnTo>
                    <a:pt x="13" y="85"/>
                  </a:lnTo>
                  <a:lnTo>
                    <a:pt x="13" y="83"/>
                  </a:lnTo>
                  <a:lnTo>
                    <a:pt x="15" y="65"/>
                  </a:lnTo>
                  <a:lnTo>
                    <a:pt x="12" y="64"/>
                  </a:lnTo>
                  <a:lnTo>
                    <a:pt x="9" y="60"/>
                  </a:lnTo>
                  <a:lnTo>
                    <a:pt x="2" y="58"/>
                  </a:lnTo>
                  <a:lnTo>
                    <a:pt x="0" y="57"/>
                  </a:lnTo>
                  <a:lnTo>
                    <a:pt x="5" y="48"/>
                  </a:lnTo>
                  <a:lnTo>
                    <a:pt x="2" y="42"/>
                  </a:lnTo>
                  <a:lnTo>
                    <a:pt x="6" y="42"/>
                  </a:lnTo>
                  <a:lnTo>
                    <a:pt x="8" y="36"/>
                  </a:lnTo>
                  <a:lnTo>
                    <a:pt x="5" y="34"/>
                  </a:lnTo>
                  <a:lnTo>
                    <a:pt x="5" y="30"/>
                  </a:lnTo>
                  <a:lnTo>
                    <a:pt x="8" y="30"/>
                  </a:lnTo>
                  <a:lnTo>
                    <a:pt x="9" y="31"/>
                  </a:lnTo>
                  <a:lnTo>
                    <a:pt x="12" y="31"/>
                  </a:lnTo>
                  <a:lnTo>
                    <a:pt x="11" y="27"/>
                  </a:lnTo>
                  <a:lnTo>
                    <a:pt x="9" y="27"/>
                  </a:lnTo>
                  <a:lnTo>
                    <a:pt x="11" y="24"/>
                  </a:lnTo>
                  <a:lnTo>
                    <a:pt x="11" y="19"/>
                  </a:lnTo>
                  <a:lnTo>
                    <a:pt x="6" y="18"/>
                  </a:lnTo>
                  <a:lnTo>
                    <a:pt x="6" y="11"/>
                  </a:lnTo>
                  <a:lnTo>
                    <a:pt x="8" y="8"/>
                  </a:lnTo>
                  <a:lnTo>
                    <a:pt x="15" y="3"/>
                  </a:lnTo>
                  <a:lnTo>
                    <a:pt x="21" y="6"/>
                  </a:lnTo>
                  <a:lnTo>
                    <a:pt x="25" y="5"/>
                  </a:lnTo>
                  <a:lnTo>
                    <a:pt x="25" y="2"/>
                  </a:lnTo>
                  <a:lnTo>
                    <a:pt x="3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7" name="Congo">
              <a:extLst>
                <a:ext uri="{FF2B5EF4-FFF2-40B4-BE49-F238E27FC236}">
                  <a16:creationId xmlns:a16="http://schemas.microsoft.com/office/drawing/2014/main" id="{87445E58-16AB-AC55-D774-CA43D4C7C21A}"/>
                </a:ext>
              </a:extLst>
            </p:cNvPr>
            <p:cNvSpPr>
              <a:spLocks/>
            </p:cNvSpPr>
            <p:nvPr/>
          </p:nvSpPr>
          <p:spPr bwMode="auto">
            <a:xfrm>
              <a:off x="6087868" y="4500668"/>
              <a:ext cx="180706" cy="209619"/>
            </a:xfrm>
            <a:custGeom>
              <a:avLst/>
              <a:gdLst>
                <a:gd name="T0" fmla="*/ 83 w 100"/>
                <a:gd name="T1" fmla="*/ 0 h 116"/>
                <a:gd name="T2" fmla="*/ 90 w 100"/>
                <a:gd name="T3" fmla="*/ 3 h 116"/>
                <a:gd name="T4" fmla="*/ 99 w 100"/>
                <a:gd name="T5" fmla="*/ 0 h 116"/>
                <a:gd name="T6" fmla="*/ 100 w 100"/>
                <a:gd name="T7" fmla="*/ 0 h 116"/>
                <a:gd name="T8" fmla="*/ 100 w 100"/>
                <a:gd name="T9" fmla="*/ 2 h 116"/>
                <a:gd name="T10" fmla="*/ 99 w 100"/>
                <a:gd name="T11" fmla="*/ 9 h 116"/>
                <a:gd name="T12" fmla="*/ 91 w 100"/>
                <a:gd name="T13" fmla="*/ 24 h 116"/>
                <a:gd name="T14" fmla="*/ 87 w 100"/>
                <a:gd name="T15" fmla="*/ 58 h 116"/>
                <a:gd name="T16" fmla="*/ 75 w 100"/>
                <a:gd name="T17" fmla="*/ 68 h 116"/>
                <a:gd name="T18" fmla="*/ 71 w 100"/>
                <a:gd name="T19" fmla="*/ 76 h 116"/>
                <a:gd name="T20" fmla="*/ 68 w 100"/>
                <a:gd name="T21" fmla="*/ 91 h 116"/>
                <a:gd name="T22" fmla="*/ 63 w 100"/>
                <a:gd name="T23" fmla="*/ 99 h 116"/>
                <a:gd name="T24" fmla="*/ 46 w 100"/>
                <a:gd name="T25" fmla="*/ 113 h 116"/>
                <a:gd name="T26" fmla="*/ 43 w 100"/>
                <a:gd name="T27" fmla="*/ 111 h 116"/>
                <a:gd name="T28" fmla="*/ 41 w 100"/>
                <a:gd name="T29" fmla="*/ 105 h 116"/>
                <a:gd name="T30" fmla="*/ 37 w 100"/>
                <a:gd name="T31" fmla="*/ 108 h 116"/>
                <a:gd name="T32" fmla="*/ 34 w 100"/>
                <a:gd name="T33" fmla="*/ 111 h 116"/>
                <a:gd name="T34" fmla="*/ 32 w 100"/>
                <a:gd name="T35" fmla="*/ 111 h 116"/>
                <a:gd name="T36" fmla="*/ 25 w 100"/>
                <a:gd name="T37" fmla="*/ 110 h 116"/>
                <a:gd name="T38" fmla="*/ 22 w 100"/>
                <a:gd name="T39" fmla="*/ 107 h 116"/>
                <a:gd name="T40" fmla="*/ 13 w 100"/>
                <a:gd name="T41" fmla="*/ 114 h 116"/>
                <a:gd name="T42" fmla="*/ 13 w 100"/>
                <a:gd name="T43" fmla="*/ 116 h 116"/>
                <a:gd name="T44" fmla="*/ 11 w 100"/>
                <a:gd name="T45" fmla="*/ 114 h 116"/>
                <a:gd name="T46" fmla="*/ 7 w 100"/>
                <a:gd name="T47" fmla="*/ 108 h 116"/>
                <a:gd name="T48" fmla="*/ 0 w 100"/>
                <a:gd name="T49" fmla="*/ 101 h 116"/>
                <a:gd name="T50" fmla="*/ 0 w 100"/>
                <a:gd name="T51" fmla="*/ 99 h 116"/>
                <a:gd name="T52" fmla="*/ 3 w 100"/>
                <a:gd name="T53" fmla="*/ 95 h 116"/>
                <a:gd name="T54" fmla="*/ 7 w 100"/>
                <a:gd name="T55" fmla="*/ 94 h 116"/>
                <a:gd name="T56" fmla="*/ 7 w 100"/>
                <a:gd name="T57" fmla="*/ 82 h 116"/>
                <a:gd name="T58" fmla="*/ 20 w 100"/>
                <a:gd name="T59" fmla="*/ 71 h 116"/>
                <a:gd name="T60" fmla="*/ 35 w 100"/>
                <a:gd name="T61" fmla="*/ 80 h 116"/>
                <a:gd name="T62" fmla="*/ 38 w 100"/>
                <a:gd name="T63" fmla="*/ 79 h 116"/>
                <a:gd name="T64" fmla="*/ 40 w 100"/>
                <a:gd name="T65" fmla="*/ 59 h 116"/>
                <a:gd name="T66" fmla="*/ 38 w 100"/>
                <a:gd name="T67" fmla="*/ 46 h 116"/>
                <a:gd name="T68" fmla="*/ 41 w 100"/>
                <a:gd name="T69" fmla="*/ 37 h 116"/>
                <a:gd name="T70" fmla="*/ 41 w 100"/>
                <a:gd name="T71" fmla="*/ 33 h 116"/>
                <a:gd name="T72" fmla="*/ 40 w 100"/>
                <a:gd name="T73" fmla="*/ 30 h 116"/>
                <a:gd name="T74" fmla="*/ 34 w 100"/>
                <a:gd name="T75" fmla="*/ 28 h 116"/>
                <a:gd name="T76" fmla="*/ 29 w 100"/>
                <a:gd name="T77" fmla="*/ 34 h 116"/>
                <a:gd name="T78" fmla="*/ 26 w 100"/>
                <a:gd name="T79" fmla="*/ 33 h 116"/>
                <a:gd name="T80" fmla="*/ 26 w 100"/>
                <a:gd name="T81" fmla="*/ 21 h 116"/>
                <a:gd name="T82" fmla="*/ 47 w 100"/>
                <a:gd name="T83" fmla="*/ 21 h 116"/>
                <a:gd name="T84" fmla="*/ 59 w 100"/>
                <a:gd name="T85" fmla="*/ 22 h 116"/>
                <a:gd name="T86" fmla="*/ 63 w 100"/>
                <a:gd name="T87" fmla="*/ 27 h 116"/>
                <a:gd name="T88" fmla="*/ 65 w 100"/>
                <a:gd name="T89" fmla="*/ 12 h 116"/>
                <a:gd name="T90" fmla="*/ 65 w 100"/>
                <a:gd name="T91" fmla="*/ 10 h 116"/>
                <a:gd name="T92" fmla="*/ 78 w 100"/>
                <a:gd name="T93" fmla="*/ 2 h 116"/>
                <a:gd name="T94" fmla="*/ 83 w 100"/>
                <a:gd name="T9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116">
                  <a:moveTo>
                    <a:pt x="83" y="0"/>
                  </a:moveTo>
                  <a:lnTo>
                    <a:pt x="90" y="3"/>
                  </a:lnTo>
                  <a:lnTo>
                    <a:pt x="99" y="0"/>
                  </a:lnTo>
                  <a:lnTo>
                    <a:pt x="100" y="0"/>
                  </a:lnTo>
                  <a:lnTo>
                    <a:pt x="100" y="2"/>
                  </a:lnTo>
                  <a:lnTo>
                    <a:pt x="99" y="9"/>
                  </a:lnTo>
                  <a:lnTo>
                    <a:pt x="91" y="24"/>
                  </a:lnTo>
                  <a:lnTo>
                    <a:pt x="87" y="58"/>
                  </a:lnTo>
                  <a:lnTo>
                    <a:pt x="75" y="68"/>
                  </a:lnTo>
                  <a:lnTo>
                    <a:pt x="71" y="76"/>
                  </a:lnTo>
                  <a:lnTo>
                    <a:pt x="68" y="91"/>
                  </a:lnTo>
                  <a:lnTo>
                    <a:pt x="63" y="99"/>
                  </a:lnTo>
                  <a:lnTo>
                    <a:pt x="46" y="113"/>
                  </a:lnTo>
                  <a:lnTo>
                    <a:pt x="43" y="111"/>
                  </a:lnTo>
                  <a:lnTo>
                    <a:pt x="41" y="105"/>
                  </a:lnTo>
                  <a:lnTo>
                    <a:pt x="37" y="108"/>
                  </a:lnTo>
                  <a:lnTo>
                    <a:pt x="34" y="111"/>
                  </a:lnTo>
                  <a:lnTo>
                    <a:pt x="32" y="111"/>
                  </a:lnTo>
                  <a:lnTo>
                    <a:pt x="25" y="110"/>
                  </a:lnTo>
                  <a:lnTo>
                    <a:pt x="22" y="107"/>
                  </a:lnTo>
                  <a:lnTo>
                    <a:pt x="13" y="114"/>
                  </a:lnTo>
                  <a:lnTo>
                    <a:pt x="13" y="116"/>
                  </a:lnTo>
                  <a:lnTo>
                    <a:pt x="11" y="114"/>
                  </a:lnTo>
                  <a:lnTo>
                    <a:pt x="7" y="108"/>
                  </a:lnTo>
                  <a:lnTo>
                    <a:pt x="0" y="101"/>
                  </a:lnTo>
                  <a:lnTo>
                    <a:pt x="0" y="99"/>
                  </a:lnTo>
                  <a:lnTo>
                    <a:pt x="3" y="95"/>
                  </a:lnTo>
                  <a:lnTo>
                    <a:pt x="7" y="94"/>
                  </a:lnTo>
                  <a:lnTo>
                    <a:pt x="7" y="82"/>
                  </a:lnTo>
                  <a:lnTo>
                    <a:pt x="20" y="71"/>
                  </a:lnTo>
                  <a:lnTo>
                    <a:pt x="35" y="80"/>
                  </a:lnTo>
                  <a:lnTo>
                    <a:pt x="38" y="79"/>
                  </a:lnTo>
                  <a:lnTo>
                    <a:pt x="40" y="59"/>
                  </a:lnTo>
                  <a:lnTo>
                    <a:pt x="38" y="46"/>
                  </a:lnTo>
                  <a:lnTo>
                    <a:pt x="41" y="37"/>
                  </a:lnTo>
                  <a:lnTo>
                    <a:pt x="41" y="33"/>
                  </a:lnTo>
                  <a:lnTo>
                    <a:pt x="40" y="30"/>
                  </a:lnTo>
                  <a:lnTo>
                    <a:pt x="34" y="28"/>
                  </a:lnTo>
                  <a:lnTo>
                    <a:pt x="29" y="34"/>
                  </a:lnTo>
                  <a:lnTo>
                    <a:pt x="26" y="33"/>
                  </a:lnTo>
                  <a:lnTo>
                    <a:pt x="26" y="21"/>
                  </a:lnTo>
                  <a:lnTo>
                    <a:pt x="47" y="21"/>
                  </a:lnTo>
                  <a:lnTo>
                    <a:pt x="59" y="22"/>
                  </a:lnTo>
                  <a:lnTo>
                    <a:pt x="63" y="27"/>
                  </a:lnTo>
                  <a:lnTo>
                    <a:pt x="65" y="12"/>
                  </a:lnTo>
                  <a:lnTo>
                    <a:pt x="65" y="10"/>
                  </a:lnTo>
                  <a:lnTo>
                    <a:pt x="78" y="2"/>
                  </a:lnTo>
                  <a:lnTo>
                    <a:pt x="8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8" name="Chad">
              <a:extLst>
                <a:ext uri="{FF2B5EF4-FFF2-40B4-BE49-F238E27FC236}">
                  <a16:creationId xmlns:a16="http://schemas.microsoft.com/office/drawing/2014/main" id="{15D3FEB3-2AB1-FB51-1BC7-33DFBAC36EF9}"/>
                </a:ext>
              </a:extLst>
            </p:cNvPr>
            <p:cNvSpPr>
              <a:spLocks/>
            </p:cNvSpPr>
            <p:nvPr/>
          </p:nvSpPr>
          <p:spPr bwMode="auto">
            <a:xfrm>
              <a:off x="6140272" y="4023604"/>
              <a:ext cx="254796" cy="392133"/>
            </a:xfrm>
            <a:custGeom>
              <a:avLst/>
              <a:gdLst>
                <a:gd name="T0" fmla="*/ 36 w 141"/>
                <a:gd name="T1" fmla="*/ 0 h 217"/>
                <a:gd name="T2" fmla="*/ 37 w 141"/>
                <a:gd name="T3" fmla="*/ 0 h 217"/>
                <a:gd name="T4" fmla="*/ 141 w 141"/>
                <a:gd name="T5" fmla="*/ 54 h 217"/>
                <a:gd name="T6" fmla="*/ 141 w 141"/>
                <a:gd name="T7" fmla="*/ 105 h 217"/>
                <a:gd name="T8" fmla="*/ 128 w 141"/>
                <a:gd name="T9" fmla="*/ 107 h 217"/>
                <a:gd name="T10" fmla="*/ 125 w 141"/>
                <a:gd name="T11" fmla="*/ 114 h 217"/>
                <a:gd name="T12" fmla="*/ 119 w 141"/>
                <a:gd name="T13" fmla="*/ 123 h 217"/>
                <a:gd name="T14" fmla="*/ 119 w 141"/>
                <a:gd name="T15" fmla="*/ 128 h 217"/>
                <a:gd name="T16" fmla="*/ 117 w 141"/>
                <a:gd name="T17" fmla="*/ 131 h 217"/>
                <a:gd name="T18" fmla="*/ 113 w 141"/>
                <a:gd name="T19" fmla="*/ 143 h 217"/>
                <a:gd name="T20" fmla="*/ 113 w 141"/>
                <a:gd name="T21" fmla="*/ 146 h 217"/>
                <a:gd name="T22" fmla="*/ 119 w 141"/>
                <a:gd name="T23" fmla="*/ 146 h 217"/>
                <a:gd name="T24" fmla="*/ 120 w 141"/>
                <a:gd name="T25" fmla="*/ 153 h 217"/>
                <a:gd name="T26" fmla="*/ 126 w 141"/>
                <a:gd name="T27" fmla="*/ 165 h 217"/>
                <a:gd name="T28" fmla="*/ 126 w 141"/>
                <a:gd name="T29" fmla="*/ 166 h 217"/>
                <a:gd name="T30" fmla="*/ 123 w 141"/>
                <a:gd name="T31" fmla="*/ 169 h 217"/>
                <a:gd name="T32" fmla="*/ 114 w 141"/>
                <a:gd name="T33" fmla="*/ 171 h 217"/>
                <a:gd name="T34" fmla="*/ 111 w 141"/>
                <a:gd name="T35" fmla="*/ 180 h 217"/>
                <a:gd name="T36" fmla="*/ 95 w 141"/>
                <a:gd name="T37" fmla="*/ 194 h 217"/>
                <a:gd name="T38" fmla="*/ 76 w 141"/>
                <a:gd name="T39" fmla="*/ 197 h 217"/>
                <a:gd name="T40" fmla="*/ 77 w 141"/>
                <a:gd name="T41" fmla="*/ 200 h 217"/>
                <a:gd name="T42" fmla="*/ 77 w 141"/>
                <a:gd name="T43" fmla="*/ 202 h 217"/>
                <a:gd name="T44" fmla="*/ 71 w 141"/>
                <a:gd name="T45" fmla="*/ 208 h 217"/>
                <a:gd name="T46" fmla="*/ 70 w 141"/>
                <a:gd name="T47" fmla="*/ 208 h 217"/>
                <a:gd name="T48" fmla="*/ 58 w 141"/>
                <a:gd name="T49" fmla="*/ 209 h 217"/>
                <a:gd name="T50" fmla="*/ 48 w 141"/>
                <a:gd name="T51" fmla="*/ 215 h 217"/>
                <a:gd name="T52" fmla="*/ 46 w 141"/>
                <a:gd name="T53" fmla="*/ 215 h 217"/>
                <a:gd name="T54" fmla="*/ 43 w 141"/>
                <a:gd name="T55" fmla="*/ 211 h 217"/>
                <a:gd name="T56" fmla="*/ 36 w 141"/>
                <a:gd name="T57" fmla="*/ 217 h 217"/>
                <a:gd name="T58" fmla="*/ 27 w 141"/>
                <a:gd name="T59" fmla="*/ 217 h 217"/>
                <a:gd name="T60" fmla="*/ 22 w 141"/>
                <a:gd name="T61" fmla="*/ 200 h 217"/>
                <a:gd name="T62" fmla="*/ 14 w 141"/>
                <a:gd name="T63" fmla="*/ 194 h 217"/>
                <a:gd name="T64" fmla="*/ 9 w 141"/>
                <a:gd name="T65" fmla="*/ 189 h 217"/>
                <a:gd name="T66" fmla="*/ 9 w 141"/>
                <a:gd name="T67" fmla="*/ 187 h 217"/>
                <a:gd name="T68" fmla="*/ 12 w 141"/>
                <a:gd name="T69" fmla="*/ 183 h 217"/>
                <a:gd name="T70" fmla="*/ 25 w 141"/>
                <a:gd name="T71" fmla="*/ 181 h 217"/>
                <a:gd name="T72" fmla="*/ 19 w 141"/>
                <a:gd name="T73" fmla="*/ 169 h 217"/>
                <a:gd name="T74" fmla="*/ 21 w 141"/>
                <a:gd name="T75" fmla="*/ 156 h 217"/>
                <a:gd name="T76" fmla="*/ 17 w 141"/>
                <a:gd name="T77" fmla="*/ 144 h 217"/>
                <a:gd name="T78" fmla="*/ 22 w 141"/>
                <a:gd name="T79" fmla="*/ 143 h 217"/>
                <a:gd name="T80" fmla="*/ 22 w 141"/>
                <a:gd name="T81" fmla="*/ 137 h 217"/>
                <a:gd name="T82" fmla="*/ 11 w 141"/>
                <a:gd name="T83" fmla="*/ 135 h 217"/>
                <a:gd name="T84" fmla="*/ 8 w 141"/>
                <a:gd name="T85" fmla="*/ 128 h 217"/>
                <a:gd name="T86" fmla="*/ 2 w 141"/>
                <a:gd name="T87" fmla="*/ 125 h 217"/>
                <a:gd name="T88" fmla="*/ 0 w 141"/>
                <a:gd name="T89" fmla="*/ 125 h 217"/>
                <a:gd name="T90" fmla="*/ 0 w 141"/>
                <a:gd name="T91" fmla="*/ 123 h 217"/>
                <a:gd name="T92" fmla="*/ 5 w 141"/>
                <a:gd name="T93" fmla="*/ 114 h 217"/>
                <a:gd name="T94" fmla="*/ 27 w 141"/>
                <a:gd name="T95" fmla="*/ 88 h 217"/>
                <a:gd name="T96" fmla="*/ 28 w 141"/>
                <a:gd name="T97" fmla="*/ 67 h 217"/>
                <a:gd name="T98" fmla="*/ 31 w 141"/>
                <a:gd name="T99" fmla="*/ 48 h 217"/>
                <a:gd name="T100" fmla="*/ 34 w 141"/>
                <a:gd name="T101" fmla="*/ 42 h 217"/>
                <a:gd name="T102" fmla="*/ 27 w 141"/>
                <a:gd name="T103" fmla="*/ 36 h 217"/>
                <a:gd name="T104" fmla="*/ 22 w 141"/>
                <a:gd name="T105" fmla="*/ 28 h 217"/>
                <a:gd name="T106" fmla="*/ 22 w 141"/>
                <a:gd name="T107" fmla="*/ 5 h 217"/>
                <a:gd name="T108" fmla="*/ 36 w 141"/>
                <a:gd name="T10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 h="217">
                  <a:moveTo>
                    <a:pt x="36" y="0"/>
                  </a:moveTo>
                  <a:lnTo>
                    <a:pt x="37" y="0"/>
                  </a:lnTo>
                  <a:lnTo>
                    <a:pt x="141" y="54"/>
                  </a:lnTo>
                  <a:lnTo>
                    <a:pt x="141" y="105"/>
                  </a:lnTo>
                  <a:lnTo>
                    <a:pt x="128" y="107"/>
                  </a:lnTo>
                  <a:lnTo>
                    <a:pt x="125" y="114"/>
                  </a:lnTo>
                  <a:lnTo>
                    <a:pt x="119" y="123"/>
                  </a:lnTo>
                  <a:lnTo>
                    <a:pt x="119" y="128"/>
                  </a:lnTo>
                  <a:lnTo>
                    <a:pt x="117" y="131"/>
                  </a:lnTo>
                  <a:lnTo>
                    <a:pt x="113" y="143"/>
                  </a:lnTo>
                  <a:lnTo>
                    <a:pt x="113" y="146"/>
                  </a:lnTo>
                  <a:lnTo>
                    <a:pt x="119" y="146"/>
                  </a:lnTo>
                  <a:lnTo>
                    <a:pt x="120" y="153"/>
                  </a:lnTo>
                  <a:lnTo>
                    <a:pt x="126" y="165"/>
                  </a:lnTo>
                  <a:lnTo>
                    <a:pt x="126" y="166"/>
                  </a:lnTo>
                  <a:lnTo>
                    <a:pt x="123" y="169"/>
                  </a:lnTo>
                  <a:lnTo>
                    <a:pt x="114" y="171"/>
                  </a:lnTo>
                  <a:lnTo>
                    <a:pt x="111" y="180"/>
                  </a:lnTo>
                  <a:lnTo>
                    <a:pt x="95" y="194"/>
                  </a:lnTo>
                  <a:lnTo>
                    <a:pt x="76" y="197"/>
                  </a:lnTo>
                  <a:lnTo>
                    <a:pt x="77" y="200"/>
                  </a:lnTo>
                  <a:lnTo>
                    <a:pt x="77" y="202"/>
                  </a:lnTo>
                  <a:lnTo>
                    <a:pt x="71" y="208"/>
                  </a:lnTo>
                  <a:lnTo>
                    <a:pt x="70" y="208"/>
                  </a:lnTo>
                  <a:lnTo>
                    <a:pt x="58" y="209"/>
                  </a:lnTo>
                  <a:lnTo>
                    <a:pt x="48" y="215"/>
                  </a:lnTo>
                  <a:lnTo>
                    <a:pt x="46" y="215"/>
                  </a:lnTo>
                  <a:lnTo>
                    <a:pt x="43" y="211"/>
                  </a:lnTo>
                  <a:lnTo>
                    <a:pt x="36" y="217"/>
                  </a:lnTo>
                  <a:lnTo>
                    <a:pt x="27" y="217"/>
                  </a:lnTo>
                  <a:lnTo>
                    <a:pt x="22" y="200"/>
                  </a:lnTo>
                  <a:lnTo>
                    <a:pt x="14" y="194"/>
                  </a:lnTo>
                  <a:lnTo>
                    <a:pt x="9" y="189"/>
                  </a:lnTo>
                  <a:lnTo>
                    <a:pt x="9" y="187"/>
                  </a:lnTo>
                  <a:lnTo>
                    <a:pt x="12" y="183"/>
                  </a:lnTo>
                  <a:lnTo>
                    <a:pt x="25" y="181"/>
                  </a:lnTo>
                  <a:lnTo>
                    <a:pt x="19" y="169"/>
                  </a:lnTo>
                  <a:lnTo>
                    <a:pt x="21" y="156"/>
                  </a:lnTo>
                  <a:lnTo>
                    <a:pt x="17" y="144"/>
                  </a:lnTo>
                  <a:lnTo>
                    <a:pt x="22" y="143"/>
                  </a:lnTo>
                  <a:lnTo>
                    <a:pt x="22" y="137"/>
                  </a:lnTo>
                  <a:lnTo>
                    <a:pt x="11" y="135"/>
                  </a:lnTo>
                  <a:lnTo>
                    <a:pt x="8" y="128"/>
                  </a:lnTo>
                  <a:lnTo>
                    <a:pt x="2" y="125"/>
                  </a:lnTo>
                  <a:lnTo>
                    <a:pt x="0" y="125"/>
                  </a:lnTo>
                  <a:lnTo>
                    <a:pt x="0" y="123"/>
                  </a:lnTo>
                  <a:lnTo>
                    <a:pt x="5" y="114"/>
                  </a:lnTo>
                  <a:lnTo>
                    <a:pt x="27" y="88"/>
                  </a:lnTo>
                  <a:lnTo>
                    <a:pt x="28" y="67"/>
                  </a:lnTo>
                  <a:lnTo>
                    <a:pt x="31" y="48"/>
                  </a:lnTo>
                  <a:lnTo>
                    <a:pt x="34" y="42"/>
                  </a:lnTo>
                  <a:lnTo>
                    <a:pt x="27" y="36"/>
                  </a:lnTo>
                  <a:lnTo>
                    <a:pt x="22" y="28"/>
                  </a:lnTo>
                  <a:lnTo>
                    <a:pt x="22" y="5"/>
                  </a:lnTo>
                  <a:lnTo>
                    <a:pt x="3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39" name="Central African Republic">
              <a:extLst>
                <a:ext uri="{FF2B5EF4-FFF2-40B4-BE49-F238E27FC236}">
                  <a16:creationId xmlns:a16="http://schemas.microsoft.com/office/drawing/2014/main" id="{31568FA1-CD12-8121-04D7-D6D8693C1B1B}"/>
                </a:ext>
              </a:extLst>
            </p:cNvPr>
            <p:cNvSpPr>
              <a:spLocks/>
            </p:cNvSpPr>
            <p:nvPr/>
          </p:nvSpPr>
          <p:spPr bwMode="auto">
            <a:xfrm>
              <a:off x="6167379" y="4327191"/>
              <a:ext cx="310814" cy="195162"/>
            </a:xfrm>
            <a:custGeom>
              <a:avLst/>
              <a:gdLst>
                <a:gd name="T0" fmla="*/ 105 w 172"/>
                <a:gd name="T1" fmla="*/ 0 h 108"/>
                <a:gd name="T2" fmla="*/ 108 w 172"/>
                <a:gd name="T3" fmla="*/ 0 h 108"/>
                <a:gd name="T4" fmla="*/ 108 w 172"/>
                <a:gd name="T5" fmla="*/ 1 h 108"/>
                <a:gd name="T6" fmla="*/ 120 w 172"/>
                <a:gd name="T7" fmla="*/ 13 h 108"/>
                <a:gd name="T8" fmla="*/ 120 w 172"/>
                <a:gd name="T9" fmla="*/ 28 h 108"/>
                <a:gd name="T10" fmla="*/ 128 w 172"/>
                <a:gd name="T11" fmla="*/ 31 h 108"/>
                <a:gd name="T12" fmla="*/ 128 w 172"/>
                <a:gd name="T13" fmla="*/ 32 h 108"/>
                <a:gd name="T14" fmla="*/ 129 w 172"/>
                <a:gd name="T15" fmla="*/ 35 h 108"/>
                <a:gd name="T16" fmla="*/ 141 w 172"/>
                <a:gd name="T17" fmla="*/ 38 h 108"/>
                <a:gd name="T18" fmla="*/ 141 w 172"/>
                <a:gd name="T19" fmla="*/ 40 h 108"/>
                <a:gd name="T20" fmla="*/ 142 w 172"/>
                <a:gd name="T21" fmla="*/ 46 h 108"/>
                <a:gd name="T22" fmla="*/ 156 w 172"/>
                <a:gd name="T23" fmla="*/ 55 h 108"/>
                <a:gd name="T24" fmla="*/ 160 w 172"/>
                <a:gd name="T25" fmla="*/ 65 h 108"/>
                <a:gd name="T26" fmla="*/ 169 w 172"/>
                <a:gd name="T27" fmla="*/ 71 h 108"/>
                <a:gd name="T28" fmla="*/ 172 w 172"/>
                <a:gd name="T29" fmla="*/ 77 h 108"/>
                <a:gd name="T30" fmla="*/ 172 w 172"/>
                <a:gd name="T31" fmla="*/ 78 h 108"/>
                <a:gd name="T32" fmla="*/ 166 w 172"/>
                <a:gd name="T33" fmla="*/ 78 h 108"/>
                <a:gd name="T34" fmla="*/ 163 w 172"/>
                <a:gd name="T35" fmla="*/ 80 h 108"/>
                <a:gd name="T36" fmla="*/ 162 w 172"/>
                <a:gd name="T37" fmla="*/ 80 h 108"/>
                <a:gd name="T38" fmla="*/ 160 w 172"/>
                <a:gd name="T39" fmla="*/ 78 h 108"/>
                <a:gd name="T40" fmla="*/ 159 w 172"/>
                <a:gd name="T41" fmla="*/ 80 h 108"/>
                <a:gd name="T42" fmla="*/ 156 w 172"/>
                <a:gd name="T43" fmla="*/ 77 h 108"/>
                <a:gd name="T44" fmla="*/ 142 w 172"/>
                <a:gd name="T45" fmla="*/ 78 h 108"/>
                <a:gd name="T46" fmla="*/ 141 w 172"/>
                <a:gd name="T47" fmla="*/ 80 h 108"/>
                <a:gd name="T48" fmla="*/ 136 w 172"/>
                <a:gd name="T49" fmla="*/ 81 h 108"/>
                <a:gd name="T50" fmla="*/ 135 w 172"/>
                <a:gd name="T51" fmla="*/ 81 h 108"/>
                <a:gd name="T52" fmla="*/ 133 w 172"/>
                <a:gd name="T53" fmla="*/ 80 h 108"/>
                <a:gd name="T54" fmla="*/ 117 w 172"/>
                <a:gd name="T55" fmla="*/ 84 h 108"/>
                <a:gd name="T56" fmla="*/ 111 w 172"/>
                <a:gd name="T57" fmla="*/ 83 h 108"/>
                <a:gd name="T58" fmla="*/ 105 w 172"/>
                <a:gd name="T59" fmla="*/ 89 h 108"/>
                <a:gd name="T60" fmla="*/ 93 w 172"/>
                <a:gd name="T61" fmla="*/ 89 h 108"/>
                <a:gd name="T62" fmla="*/ 85 w 172"/>
                <a:gd name="T63" fmla="*/ 86 h 108"/>
                <a:gd name="T64" fmla="*/ 82 w 172"/>
                <a:gd name="T65" fmla="*/ 87 h 108"/>
                <a:gd name="T66" fmla="*/ 80 w 172"/>
                <a:gd name="T67" fmla="*/ 86 h 108"/>
                <a:gd name="T68" fmla="*/ 74 w 172"/>
                <a:gd name="T69" fmla="*/ 78 h 108"/>
                <a:gd name="T70" fmla="*/ 67 w 172"/>
                <a:gd name="T71" fmla="*/ 78 h 108"/>
                <a:gd name="T72" fmla="*/ 59 w 172"/>
                <a:gd name="T73" fmla="*/ 86 h 108"/>
                <a:gd name="T74" fmla="*/ 59 w 172"/>
                <a:gd name="T75" fmla="*/ 96 h 108"/>
                <a:gd name="T76" fmla="*/ 58 w 172"/>
                <a:gd name="T77" fmla="*/ 96 h 108"/>
                <a:gd name="T78" fmla="*/ 56 w 172"/>
                <a:gd name="T79" fmla="*/ 98 h 108"/>
                <a:gd name="T80" fmla="*/ 46 w 172"/>
                <a:gd name="T81" fmla="*/ 101 h 108"/>
                <a:gd name="T82" fmla="*/ 37 w 172"/>
                <a:gd name="T83" fmla="*/ 98 h 108"/>
                <a:gd name="T84" fmla="*/ 34 w 172"/>
                <a:gd name="T85" fmla="*/ 99 h 108"/>
                <a:gd name="T86" fmla="*/ 22 w 172"/>
                <a:gd name="T87" fmla="*/ 108 h 108"/>
                <a:gd name="T88" fmla="*/ 21 w 172"/>
                <a:gd name="T89" fmla="*/ 108 h 108"/>
                <a:gd name="T90" fmla="*/ 12 w 172"/>
                <a:gd name="T91" fmla="*/ 101 h 108"/>
                <a:gd name="T92" fmla="*/ 2 w 172"/>
                <a:gd name="T93" fmla="*/ 83 h 108"/>
                <a:gd name="T94" fmla="*/ 0 w 172"/>
                <a:gd name="T95" fmla="*/ 68 h 108"/>
                <a:gd name="T96" fmla="*/ 12 w 172"/>
                <a:gd name="T97" fmla="*/ 47 h 108"/>
                <a:gd name="T98" fmla="*/ 21 w 172"/>
                <a:gd name="T99" fmla="*/ 47 h 108"/>
                <a:gd name="T100" fmla="*/ 28 w 172"/>
                <a:gd name="T101" fmla="*/ 41 h 108"/>
                <a:gd name="T102" fmla="*/ 33 w 172"/>
                <a:gd name="T103" fmla="*/ 46 h 108"/>
                <a:gd name="T104" fmla="*/ 43 w 172"/>
                <a:gd name="T105" fmla="*/ 40 h 108"/>
                <a:gd name="T106" fmla="*/ 55 w 172"/>
                <a:gd name="T107" fmla="*/ 38 h 108"/>
                <a:gd name="T108" fmla="*/ 61 w 172"/>
                <a:gd name="T109" fmla="*/ 32 h 108"/>
                <a:gd name="T110" fmla="*/ 59 w 172"/>
                <a:gd name="T111" fmla="*/ 28 h 108"/>
                <a:gd name="T112" fmla="*/ 61 w 172"/>
                <a:gd name="T113" fmla="*/ 28 h 108"/>
                <a:gd name="T114" fmla="*/ 79 w 172"/>
                <a:gd name="T115" fmla="*/ 25 h 108"/>
                <a:gd name="T116" fmla="*/ 95 w 172"/>
                <a:gd name="T117" fmla="*/ 10 h 108"/>
                <a:gd name="T118" fmla="*/ 98 w 172"/>
                <a:gd name="T119" fmla="*/ 3 h 108"/>
                <a:gd name="T120" fmla="*/ 98 w 172"/>
                <a:gd name="T121" fmla="*/ 1 h 108"/>
                <a:gd name="T122" fmla="*/ 101 w 172"/>
                <a:gd name="T123" fmla="*/ 1 h 108"/>
                <a:gd name="T124" fmla="*/ 105 w 172"/>
                <a:gd name="T12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08">
                  <a:moveTo>
                    <a:pt x="105" y="0"/>
                  </a:moveTo>
                  <a:lnTo>
                    <a:pt x="108" y="0"/>
                  </a:lnTo>
                  <a:lnTo>
                    <a:pt x="108" y="1"/>
                  </a:lnTo>
                  <a:lnTo>
                    <a:pt x="120" y="13"/>
                  </a:lnTo>
                  <a:lnTo>
                    <a:pt x="120" y="28"/>
                  </a:lnTo>
                  <a:lnTo>
                    <a:pt x="128" y="31"/>
                  </a:lnTo>
                  <a:lnTo>
                    <a:pt x="128" y="32"/>
                  </a:lnTo>
                  <a:lnTo>
                    <a:pt x="129" y="35"/>
                  </a:lnTo>
                  <a:lnTo>
                    <a:pt x="141" y="38"/>
                  </a:lnTo>
                  <a:lnTo>
                    <a:pt x="141" y="40"/>
                  </a:lnTo>
                  <a:lnTo>
                    <a:pt x="142" y="46"/>
                  </a:lnTo>
                  <a:lnTo>
                    <a:pt x="156" y="55"/>
                  </a:lnTo>
                  <a:lnTo>
                    <a:pt x="160" y="65"/>
                  </a:lnTo>
                  <a:lnTo>
                    <a:pt x="169" y="71"/>
                  </a:lnTo>
                  <a:lnTo>
                    <a:pt x="172" y="77"/>
                  </a:lnTo>
                  <a:lnTo>
                    <a:pt x="172" y="78"/>
                  </a:lnTo>
                  <a:lnTo>
                    <a:pt x="166" y="78"/>
                  </a:lnTo>
                  <a:lnTo>
                    <a:pt x="163" y="80"/>
                  </a:lnTo>
                  <a:lnTo>
                    <a:pt x="162" y="80"/>
                  </a:lnTo>
                  <a:lnTo>
                    <a:pt x="160" y="78"/>
                  </a:lnTo>
                  <a:lnTo>
                    <a:pt x="159" y="80"/>
                  </a:lnTo>
                  <a:lnTo>
                    <a:pt x="156" y="77"/>
                  </a:lnTo>
                  <a:lnTo>
                    <a:pt x="142" y="78"/>
                  </a:lnTo>
                  <a:lnTo>
                    <a:pt x="141" y="80"/>
                  </a:lnTo>
                  <a:lnTo>
                    <a:pt x="136" y="81"/>
                  </a:lnTo>
                  <a:lnTo>
                    <a:pt x="135" y="81"/>
                  </a:lnTo>
                  <a:lnTo>
                    <a:pt x="133" y="80"/>
                  </a:lnTo>
                  <a:lnTo>
                    <a:pt x="117" y="84"/>
                  </a:lnTo>
                  <a:lnTo>
                    <a:pt x="111" y="83"/>
                  </a:lnTo>
                  <a:lnTo>
                    <a:pt x="105" y="89"/>
                  </a:lnTo>
                  <a:lnTo>
                    <a:pt x="93" y="89"/>
                  </a:lnTo>
                  <a:lnTo>
                    <a:pt x="85" y="86"/>
                  </a:lnTo>
                  <a:lnTo>
                    <a:pt x="82" y="87"/>
                  </a:lnTo>
                  <a:lnTo>
                    <a:pt x="80" y="86"/>
                  </a:lnTo>
                  <a:lnTo>
                    <a:pt x="74" y="78"/>
                  </a:lnTo>
                  <a:lnTo>
                    <a:pt x="67" y="78"/>
                  </a:lnTo>
                  <a:lnTo>
                    <a:pt x="59" y="86"/>
                  </a:lnTo>
                  <a:lnTo>
                    <a:pt x="59" y="96"/>
                  </a:lnTo>
                  <a:lnTo>
                    <a:pt x="58" y="96"/>
                  </a:lnTo>
                  <a:lnTo>
                    <a:pt x="56" y="98"/>
                  </a:lnTo>
                  <a:lnTo>
                    <a:pt x="46" y="101"/>
                  </a:lnTo>
                  <a:lnTo>
                    <a:pt x="37" y="98"/>
                  </a:lnTo>
                  <a:lnTo>
                    <a:pt x="34" y="99"/>
                  </a:lnTo>
                  <a:lnTo>
                    <a:pt x="22" y="108"/>
                  </a:lnTo>
                  <a:lnTo>
                    <a:pt x="21" y="108"/>
                  </a:lnTo>
                  <a:lnTo>
                    <a:pt x="12" y="101"/>
                  </a:lnTo>
                  <a:lnTo>
                    <a:pt x="2" y="83"/>
                  </a:lnTo>
                  <a:lnTo>
                    <a:pt x="0" y="68"/>
                  </a:lnTo>
                  <a:lnTo>
                    <a:pt x="12" y="47"/>
                  </a:lnTo>
                  <a:lnTo>
                    <a:pt x="21" y="47"/>
                  </a:lnTo>
                  <a:lnTo>
                    <a:pt x="28" y="41"/>
                  </a:lnTo>
                  <a:lnTo>
                    <a:pt x="33" y="46"/>
                  </a:lnTo>
                  <a:lnTo>
                    <a:pt x="43" y="40"/>
                  </a:lnTo>
                  <a:lnTo>
                    <a:pt x="55" y="38"/>
                  </a:lnTo>
                  <a:lnTo>
                    <a:pt x="61" y="32"/>
                  </a:lnTo>
                  <a:lnTo>
                    <a:pt x="59" y="28"/>
                  </a:lnTo>
                  <a:lnTo>
                    <a:pt x="61" y="28"/>
                  </a:lnTo>
                  <a:lnTo>
                    <a:pt x="79" y="25"/>
                  </a:lnTo>
                  <a:lnTo>
                    <a:pt x="95" y="10"/>
                  </a:lnTo>
                  <a:lnTo>
                    <a:pt x="98" y="3"/>
                  </a:lnTo>
                  <a:lnTo>
                    <a:pt x="98" y="1"/>
                  </a:lnTo>
                  <a:lnTo>
                    <a:pt x="101" y="1"/>
                  </a:lnTo>
                  <a:lnTo>
                    <a:pt x="10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0" name="Cameroon">
              <a:extLst>
                <a:ext uri="{FF2B5EF4-FFF2-40B4-BE49-F238E27FC236}">
                  <a16:creationId xmlns:a16="http://schemas.microsoft.com/office/drawing/2014/main" id="{25FA6311-082C-69FA-6BF5-2AAAC4A1646C}"/>
                </a:ext>
              </a:extLst>
            </p:cNvPr>
            <p:cNvSpPr>
              <a:spLocks/>
            </p:cNvSpPr>
            <p:nvPr/>
          </p:nvSpPr>
          <p:spPr bwMode="auto">
            <a:xfrm>
              <a:off x="6024620" y="4283821"/>
              <a:ext cx="182514" cy="267445"/>
            </a:xfrm>
            <a:custGeom>
              <a:avLst/>
              <a:gdLst>
                <a:gd name="T0" fmla="*/ 81 w 101"/>
                <a:gd name="T1" fmla="*/ 0 h 148"/>
                <a:gd name="T2" fmla="*/ 82 w 101"/>
                <a:gd name="T3" fmla="*/ 0 h 148"/>
                <a:gd name="T4" fmla="*/ 86 w 101"/>
                <a:gd name="T5" fmla="*/ 12 h 148"/>
                <a:gd name="T6" fmla="*/ 85 w 101"/>
                <a:gd name="T7" fmla="*/ 25 h 148"/>
                <a:gd name="T8" fmla="*/ 91 w 101"/>
                <a:gd name="T9" fmla="*/ 39 h 148"/>
                <a:gd name="T10" fmla="*/ 76 w 101"/>
                <a:gd name="T11" fmla="*/ 40 h 148"/>
                <a:gd name="T12" fmla="*/ 75 w 101"/>
                <a:gd name="T13" fmla="*/ 43 h 148"/>
                <a:gd name="T14" fmla="*/ 78 w 101"/>
                <a:gd name="T15" fmla="*/ 50 h 148"/>
                <a:gd name="T16" fmla="*/ 86 w 101"/>
                <a:gd name="T17" fmla="*/ 55 h 148"/>
                <a:gd name="T18" fmla="*/ 88 w 101"/>
                <a:gd name="T19" fmla="*/ 55 h 148"/>
                <a:gd name="T20" fmla="*/ 92 w 101"/>
                <a:gd name="T21" fmla="*/ 71 h 148"/>
                <a:gd name="T22" fmla="*/ 92 w 101"/>
                <a:gd name="T23" fmla="*/ 73 h 148"/>
                <a:gd name="T24" fmla="*/ 81 w 101"/>
                <a:gd name="T25" fmla="*/ 92 h 148"/>
                <a:gd name="T26" fmla="*/ 82 w 101"/>
                <a:gd name="T27" fmla="*/ 105 h 148"/>
                <a:gd name="T28" fmla="*/ 92 w 101"/>
                <a:gd name="T29" fmla="*/ 125 h 148"/>
                <a:gd name="T30" fmla="*/ 101 w 101"/>
                <a:gd name="T31" fmla="*/ 130 h 148"/>
                <a:gd name="T32" fmla="*/ 101 w 101"/>
                <a:gd name="T33" fmla="*/ 132 h 148"/>
                <a:gd name="T34" fmla="*/ 100 w 101"/>
                <a:gd name="T35" fmla="*/ 148 h 148"/>
                <a:gd name="T36" fmla="*/ 98 w 101"/>
                <a:gd name="T37" fmla="*/ 148 h 148"/>
                <a:gd name="T38" fmla="*/ 94 w 101"/>
                <a:gd name="T39" fmla="*/ 144 h 148"/>
                <a:gd name="T40" fmla="*/ 81 w 101"/>
                <a:gd name="T41" fmla="*/ 142 h 148"/>
                <a:gd name="T42" fmla="*/ 64 w 101"/>
                <a:gd name="T43" fmla="*/ 142 h 148"/>
                <a:gd name="T44" fmla="*/ 38 w 101"/>
                <a:gd name="T45" fmla="*/ 141 h 148"/>
                <a:gd name="T46" fmla="*/ 29 w 101"/>
                <a:gd name="T47" fmla="*/ 141 h 148"/>
                <a:gd name="T48" fmla="*/ 26 w 101"/>
                <a:gd name="T49" fmla="*/ 142 h 148"/>
                <a:gd name="T50" fmla="*/ 17 w 101"/>
                <a:gd name="T51" fmla="*/ 142 h 148"/>
                <a:gd name="T52" fmla="*/ 15 w 101"/>
                <a:gd name="T53" fmla="*/ 141 h 148"/>
                <a:gd name="T54" fmla="*/ 20 w 101"/>
                <a:gd name="T55" fmla="*/ 126 h 148"/>
                <a:gd name="T56" fmla="*/ 15 w 101"/>
                <a:gd name="T57" fmla="*/ 122 h 148"/>
                <a:gd name="T58" fmla="*/ 14 w 101"/>
                <a:gd name="T59" fmla="*/ 122 h 148"/>
                <a:gd name="T60" fmla="*/ 14 w 101"/>
                <a:gd name="T61" fmla="*/ 120 h 148"/>
                <a:gd name="T62" fmla="*/ 15 w 101"/>
                <a:gd name="T63" fmla="*/ 117 h 148"/>
                <a:gd name="T64" fmla="*/ 8 w 101"/>
                <a:gd name="T65" fmla="*/ 117 h 148"/>
                <a:gd name="T66" fmla="*/ 8 w 101"/>
                <a:gd name="T67" fmla="*/ 116 h 148"/>
                <a:gd name="T68" fmla="*/ 5 w 101"/>
                <a:gd name="T69" fmla="*/ 111 h 148"/>
                <a:gd name="T70" fmla="*/ 2 w 101"/>
                <a:gd name="T71" fmla="*/ 111 h 148"/>
                <a:gd name="T72" fmla="*/ 2 w 101"/>
                <a:gd name="T73" fmla="*/ 110 h 148"/>
                <a:gd name="T74" fmla="*/ 0 w 101"/>
                <a:gd name="T75" fmla="*/ 108 h 148"/>
                <a:gd name="T76" fmla="*/ 5 w 101"/>
                <a:gd name="T77" fmla="*/ 92 h 148"/>
                <a:gd name="T78" fmla="*/ 14 w 101"/>
                <a:gd name="T79" fmla="*/ 79 h 148"/>
                <a:gd name="T80" fmla="*/ 29 w 101"/>
                <a:gd name="T81" fmla="*/ 79 h 148"/>
                <a:gd name="T82" fmla="*/ 35 w 101"/>
                <a:gd name="T83" fmla="*/ 85 h 148"/>
                <a:gd name="T84" fmla="*/ 41 w 101"/>
                <a:gd name="T85" fmla="*/ 83 h 148"/>
                <a:gd name="T86" fmla="*/ 51 w 101"/>
                <a:gd name="T87" fmla="*/ 58 h 148"/>
                <a:gd name="T88" fmla="*/ 57 w 101"/>
                <a:gd name="T89" fmla="*/ 52 h 148"/>
                <a:gd name="T90" fmla="*/ 66 w 101"/>
                <a:gd name="T91" fmla="*/ 25 h 148"/>
                <a:gd name="T92" fmla="*/ 78 w 101"/>
                <a:gd name="T93" fmla="*/ 15 h 148"/>
                <a:gd name="T94" fmla="*/ 78 w 101"/>
                <a:gd name="T95" fmla="*/ 9 h 148"/>
                <a:gd name="T96" fmla="*/ 75 w 101"/>
                <a:gd name="T97" fmla="*/ 6 h 148"/>
                <a:gd name="T98" fmla="*/ 75 w 101"/>
                <a:gd name="T99" fmla="*/ 4 h 148"/>
                <a:gd name="T100" fmla="*/ 81 w 101"/>
                <a:gd name="T10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1" h="148">
                  <a:moveTo>
                    <a:pt x="81" y="0"/>
                  </a:moveTo>
                  <a:lnTo>
                    <a:pt x="82" y="0"/>
                  </a:lnTo>
                  <a:lnTo>
                    <a:pt x="86" y="12"/>
                  </a:lnTo>
                  <a:lnTo>
                    <a:pt x="85" y="25"/>
                  </a:lnTo>
                  <a:lnTo>
                    <a:pt x="91" y="39"/>
                  </a:lnTo>
                  <a:lnTo>
                    <a:pt x="76" y="40"/>
                  </a:lnTo>
                  <a:lnTo>
                    <a:pt x="75" y="43"/>
                  </a:lnTo>
                  <a:lnTo>
                    <a:pt x="78" y="50"/>
                  </a:lnTo>
                  <a:lnTo>
                    <a:pt x="86" y="55"/>
                  </a:lnTo>
                  <a:lnTo>
                    <a:pt x="88" y="55"/>
                  </a:lnTo>
                  <a:lnTo>
                    <a:pt x="92" y="71"/>
                  </a:lnTo>
                  <a:lnTo>
                    <a:pt x="92" y="73"/>
                  </a:lnTo>
                  <a:lnTo>
                    <a:pt x="81" y="92"/>
                  </a:lnTo>
                  <a:lnTo>
                    <a:pt x="82" y="105"/>
                  </a:lnTo>
                  <a:lnTo>
                    <a:pt x="92" y="125"/>
                  </a:lnTo>
                  <a:lnTo>
                    <a:pt x="101" y="130"/>
                  </a:lnTo>
                  <a:lnTo>
                    <a:pt x="101" y="132"/>
                  </a:lnTo>
                  <a:lnTo>
                    <a:pt x="100" y="148"/>
                  </a:lnTo>
                  <a:lnTo>
                    <a:pt x="98" y="148"/>
                  </a:lnTo>
                  <a:lnTo>
                    <a:pt x="94" y="144"/>
                  </a:lnTo>
                  <a:lnTo>
                    <a:pt x="81" y="142"/>
                  </a:lnTo>
                  <a:lnTo>
                    <a:pt x="64" y="142"/>
                  </a:lnTo>
                  <a:lnTo>
                    <a:pt x="38" y="141"/>
                  </a:lnTo>
                  <a:lnTo>
                    <a:pt x="29" y="141"/>
                  </a:lnTo>
                  <a:lnTo>
                    <a:pt x="26" y="142"/>
                  </a:lnTo>
                  <a:lnTo>
                    <a:pt x="17" y="142"/>
                  </a:lnTo>
                  <a:lnTo>
                    <a:pt x="15" y="141"/>
                  </a:lnTo>
                  <a:lnTo>
                    <a:pt x="20" y="126"/>
                  </a:lnTo>
                  <a:lnTo>
                    <a:pt x="15" y="122"/>
                  </a:lnTo>
                  <a:lnTo>
                    <a:pt x="14" y="122"/>
                  </a:lnTo>
                  <a:lnTo>
                    <a:pt x="14" y="120"/>
                  </a:lnTo>
                  <a:lnTo>
                    <a:pt x="15" y="117"/>
                  </a:lnTo>
                  <a:lnTo>
                    <a:pt x="8" y="117"/>
                  </a:lnTo>
                  <a:lnTo>
                    <a:pt x="8" y="116"/>
                  </a:lnTo>
                  <a:lnTo>
                    <a:pt x="5" y="111"/>
                  </a:lnTo>
                  <a:lnTo>
                    <a:pt x="2" y="111"/>
                  </a:lnTo>
                  <a:lnTo>
                    <a:pt x="2" y="110"/>
                  </a:lnTo>
                  <a:lnTo>
                    <a:pt x="0" y="108"/>
                  </a:lnTo>
                  <a:lnTo>
                    <a:pt x="5" y="92"/>
                  </a:lnTo>
                  <a:lnTo>
                    <a:pt x="14" y="79"/>
                  </a:lnTo>
                  <a:lnTo>
                    <a:pt x="29" y="79"/>
                  </a:lnTo>
                  <a:lnTo>
                    <a:pt x="35" y="85"/>
                  </a:lnTo>
                  <a:lnTo>
                    <a:pt x="41" y="83"/>
                  </a:lnTo>
                  <a:lnTo>
                    <a:pt x="51" y="58"/>
                  </a:lnTo>
                  <a:lnTo>
                    <a:pt x="57" y="52"/>
                  </a:lnTo>
                  <a:lnTo>
                    <a:pt x="66" y="25"/>
                  </a:lnTo>
                  <a:lnTo>
                    <a:pt x="78" y="15"/>
                  </a:lnTo>
                  <a:lnTo>
                    <a:pt x="78" y="9"/>
                  </a:lnTo>
                  <a:lnTo>
                    <a:pt x="75" y="6"/>
                  </a:lnTo>
                  <a:lnTo>
                    <a:pt x="75" y="4"/>
                  </a:lnTo>
                  <a:lnTo>
                    <a:pt x="8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1" name="Cabinda (Province)">
              <a:extLst>
                <a:ext uri="{FF2B5EF4-FFF2-40B4-BE49-F238E27FC236}">
                  <a16:creationId xmlns:a16="http://schemas.microsoft.com/office/drawing/2014/main" id="{5CBA4144-2607-B91E-61AB-A942627E929C}"/>
                </a:ext>
              </a:extLst>
            </p:cNvPr>
            <p:cNvSpPr>
              <a:spLocks/>
            </p:cNvSpPr>
            <p:nvPr/>
          </p:nvSpPr>
          <p:spPr bwMode="auto">
            <a:xfrm>
              <a:off x="6107746" y="4690410"/>
              <a:ext cx="27107" cy="37948"/>
            </a:xfrm>
            <a:custGeom>
              <a:avLst/>
              <a:gdLst>
                <a:gd name="T0" fmla="*/ 9 w 15"/>
                <a:gd name="T1" fmla="*/ 0 h 21"/>
                <a:gd name="T2" fmla="*/ 11 w 15"/>
                <a:gd name="T3" fmla="*/ 0 h 21"/>
                <a:gd name="T4" fmla="*/ 15 w 15"/>
                <a:gd name="T5" fmla="*/ 3 h 21"/>
                <a:gd name="T6" fmla="*/ 15 w 15"/>
                <a:gd name="T7" fmla="*/ 5 h 21"/>
                <a:gd name="T8" fmla="*/ 9 w 15"/>
                <a:gd name="T9" fmla="*/ 9 h 21"/>
                <a:gd name="T10" fmla="*/ 8 w 15"/>
                <a:gd name="T11" fmla="*/ 20 h 21"/>
                <a:gd name="T12" fmla="*/ 6 w 15"/>
                <a:gd name="T13" fmla="*/ 21 h 21"/>
                <a:gd name="T14" fmla="*/ 5 w 15"/>
                <a:gd name="T15" fmla="*/ 21 h 21"/>
                <a:gd name="T16" fmla="*/ 5 w 15"/>
                <a:gd name="T17" fmla="*/ 20 h 21"/>
                <a:gd name="T18" fmla="*/ 0 w 15"/>
                <a:gd name="T19" fmla="*/ 9 h 21"/>
                <a:gd name="T20" fmla="*/ 9 w 15"/>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1">
                  <a:moveTo>
                    <a:pt x="9" y="0"/>
                  </a:moveTo>
                  <a:lnTo>
                    <a:pt x="11" y="0"/>
                  </a:lnTo>
                  <a:lnTo>
                    <a:pt x="15" y="3"/>
                  </a:lnTo>
                  <a:lnTo>
                    <a:pt x="15" y="5"/>
                  </a:lnTo>
                  <a:lnTo>
                    <a:pt x="9" y="9"/>
                  </a:lnTo>
                  <a:lnTo>
                    <a:pt x="8" y="20"/>
                  </a:lnTo>
                  <a:lnTo>
                    <a:pt x="6" y="21"/>
                  </a:lnTo>
                  <a:lnTo>
                    <a:pt x="5" y="21"/>
                  </a:lnTo>
                  <a:lnTo>
                    <a:pt x="5" y="20"/>
                  </a:lnTo>
                  <a:lnTo>
                    <a:pt x="0" y="9"/>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2" name="Botswana">
              <a:extLst>
                <a:ext uri="{FF2B5EF4-FFF2-40B4-BE49-F238E27FC236}">
                  <a16:creationId xmlns:a16="http://schemas.microsoft.com/office/drawing/2014/main" id="{42DFEB37-194A-9F6D-F1AF-8886C30382EF}"/>
                </a:ext>
              </a:extLst>
            </p:cNvPr>
            <p:cNvSpPr>
              <a:spLocks/>
            </p:cNvSpPr>
            <p:nvPr/>
          </p:nvSpPr>
          <p:spPr bwMode="auto">
            <a:xfrm>
              <a:off x="6295680" y="5010260"/>
              <a:ext cx="225883" cy="233112"/>
            </a:xfrm>
            <a:custGeom>
              <a:avLst/>
              <a:gdLst>
                <a:gd name="T0" fmla="*/ 64 w 125"/>
                <a:gd name="T1" fmla="*/ 0 h 129"/>
                <a:gd name="T2" fmla="*/ 70 w 125"/>
                <a:gd name="T3" fmla="*/ 0 h 129"/>
                <a:gd name="T4" fmla="*/ 70 w 125"/>
                <a:gd name="T5" fmla="*/ 1 h 129"/>
                <a:gd name="T6" fmla="*/ 82 w 125"/>
                <a:gd name="T7" fmla="*/ 22 h 129"/>
                <a:gd name="T8" fmla="*/ 104 w 125"/>
                <a:gd name="T9" fmla="*/ 40 h 129"/>
                <a:gd name="T10" fmla="*/ 105 w 125"/>
                <a:gd name="T11" fmla="*/ 52 h 129"/>
                <a:gd name="T12" fmla="*/ 123 w 125"/>
                <a:gd name="T13" fmla="*/ 61 h 129"/>
                <a:gd name="T14" fmla="*/ 125 w 125"/>
                <a:gd name="T15" fmla="*/ 61 h 129"/>
                <a:gd name="T16" fmla="*/ 123 w 125"/>
                <a:gd name="T17" fmla="*/ 62 h 129"/>
                <a:gd name="T18" fmla="*/ 100 w 125"/>
                <a:gd name="T19" fmla="*/ 77 h 129"/>
                <a:gd name="T20" fmla="*/ 79 w 125"/>
                <a:gd name="T21" fmla="*/ 99 h 129"/>
                <a:gd name="T22" fmla="*/ 74 w 125"/>
                <a:gd name="T23" fmla="*/ 110 h 129"/>
                <a:gd name="T24" fmla="*/ 74 w 125"/>
                <a:gd name="T25" fmla="*/ 111 h 129"/>
                <a:gd name="T26" fmla="*/ 64 w 125"/>
                <a:gd name="T27" fmla="*/ 112 h 129"/>
                <a:gd name="T28" fmla="*/ 51 w 125"/>
                <a:gd name="T29" fmla="*/ 108 h 129"/>
                <a:gd name="T30" fmla="*/ 45 w 125"/>
                <a:gd name="T31" fmla="*/ 108 h 129"/>
                <a:gd name="T32" fmla="*/ 31 w 125"/>
                <a:gd name="T33" fmla="*/ 126 h 129"/>
                <a:gd name="T34" fmla="*/ 21 w 125"/>
                <a:gd name="T35" fmla="*/ 129 h 129"/>
                <a:gd name="T36" fmla="*/ 11 w 125"/>
                <a:gd name="T37" fmla="*/ 127 h 129"/>
                <a:gd name="T38" fmla="*/ 11 w 125"/>
                <a:gd name="T39" fmla="*/ 111 h 129"/>
                <a:gd name="T40" fmla="*/ 0 w 125"/>
                <a:gd name="T41" fmla="*/ 98 h 129"/>
                <a:gd name="T42" fmla="*/ 0 w 125"/>
                <a:gd name="T43" fmla="*/ 58 h 129"/>
                <a:gd name="T44" fmla="*/ 12 w 125"/>
                <a:gd name="T45" fmla="*/ 58 h 129"/>
                <a:gd name="T46" fmla="*/ 12 w 125"/>
                <a:gd name="T47" fmla="*/ 10 h 129"/>
                <a:gd name="T48" fmla="*/ 14 w 125"/>
                <a:gd name="T49" fmla="*/ 10 h 129"/>
                <a:gd name="T50" fmla="*/ 39 w 125"/>
                <a:gd name="T51" fmla="*/ 4 h 129"/>
                <a:gd name="T52" fmla="*/ 45 w 125"/>
                <a:gd name="T53" fmla="*/ 6 h 129"/>
                <a:gd name="T54" fmla="*/ 46 w 125"/>
                <a:gd name="T55" fmla="*/ 6 h 129"/>
                <a:gd name="T56" fmla="*/ 48 w 125"/>
                <a:gd name="T57" fmla="*/ 12 h 129"/>
                <a:gd name="T58" fmla="*/ 55 w 125"/>
                <a:gd name="T59" fmla="*/ 4 h 129"/>
                <a:gd name="T60" fmla="*/ 64 w 125"/>
                <a:gd name="T6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 h="129">
                  <a:moveTo>
                    <a:pt x="64" y="0"/>
                  </a:moveTo>
                  <a:lnTo>
                    <a:pt x="70" y="0"/>
                  </a:lnTo>
                  <a:lnTo>
                    <a:pt x="70" y="1"/>
                  </a:lnTo>
                  <a:lnTo>
                    <a:pt x="82" y="22"/>
                  </a:lnTo>
                  <a:lnTo>
                    <a:pt x="104" y="40"/>
                  </a:lnTo>
                  <a:lnTo>
                    <a:pt x="105" y="52"/>
                  </a:lnTo>
                  <a:lnTo>
                    <a:pt x="123" y="61"/>
                  </a:lnTo>
                  <a:lnTo>
                    <a:pt x="125" y="61"/>
                  </a:lnTo>
                  <a:lnTo>
                    <a:pt x="123" y="62"/>
                  </a:lnTo>
                  <a:lnTo>
                    <a:pt x="100" y="77"/>
                  </a:lnTo>
                  <a:lnTo>
                    <a:pt x="79" y="99"/>
                  </a:lnTo>
                  <a:lnTo>
                    <a:pt x="74" y="110"/>
                  </a:lnTo>
                  <a:lnTo>
                    <a:pt x="74" y="111"/>
                  </a:lnTo>
                  <a:lnTo>
                    <a:pt x="64" y="112"/>
                  </a:lnTo>
                  <a:lnTo>
                    <a:pt x="51" y="108"/>
                  </a:lnTo>
                  <a:lnTo>
                    <a:pt x="45" y="108"/>
                  </a:lnTo>
                  <a:lnTo>
                    <a:pt x="31" y="126"/>
                  </a:lnTo>
                  <a:lnTo>
                    <a:pt x="21" y="129"/>
                  </a:lnTo>
                  <a:lnTo>
                    <a:pt x="11" y="127"/>
                  </a:lnTo>
                  <a:lnTo>
                    <a:pt x="11" y="111"/>
                  </a:lnTo>
                  <a:lnTo>
                    <a:pt x="0" y="98"/>
                  </a:lnTo>
                  <a:lnTo>
                    <a:pt x="0" y="58"/>
                  </a:lnTo>
                  <a:lnTo>
                    <a:pt x="12" y="58"/>
                  </a:lnTo>
                  <a:lnTo>
                    <a:pt x="12" y="10"/>
                  </a:lnTo>
                  <a:lnTo>
                    <a:pt x="14" y="10"/>
                  </a:lnTo>
                  <a:lnTo>
                    <a:pt x="39" y="4"/>
                  </a:lnTo>
                  <a:lnTo>
                    <a:pt x="45" y="6"/>
                  </a:lnTo>
                  <a:lnTo>
                    <a:pt x="46" y="6"/>
                  </a:lnTo>
                  <a:lnTo>
                    <a:pt x="48" y="12"/>
                  </a:lnTo>
                  <a:lnTo>
                    <a:pt x="55" y="4"/>
                  </a:lnTo>
                  <a:lnTo>
                    <a:pt x="6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3" name="Burundi">
              <a:extLst>
                <a:ext uri="{FF2B5EF4-FFF2-40B4-BE49-F238E27FC236}">
                  <a16:creationId xmlns:a16="http://schemas.microsoft.com/office/drawing/2014/main" id="{0A3D8E80-6EB4-8841-324E-A2564538CBBA}"/>
                </a:ext>
              </a:extLst>
            </p:cNvPr>
            <p:cNvSpPr>
              <a:spLocks/>
            </p:cNvSpPr>
            <p:nvPr/>
          </p:nvSpPr>
          <p:spPr bwMode="auto">
            <a:xfrm>
              <a:off x="6516141" y="4643426"/>
              <a:ext cx="39755" cy="50598"/>
            </a:xfrm>
            <a:custGeom>
              <a:avLst/>
              <a:gdLst>
                <a:gd name="T0" fmla="*/ 10 w 22"/>
                <a:gd name="T1" fmla="*/ 0 h 28"/>
                <a:gd name="T2" fmla="*/ 20 w 22"/>
                <a:gd name="T3" fmla="*/ 0 h 28"/>
                <a:gd name="T4" fmla="*/ 20 w 22"/>
                <a:gd name="T5" fmla="*/ 1 h 28"/>
                <a:gd name="T6" fmla="*/ 19 w 22"/>
                <a:gd name="T7" fmla="*/ 4 h 28"/>
                <a:gd name="T8" fmla="*/ 22 w 22"/>
                <a:gd name="T9" fmla="*/ 12 h 28"/>
                <a:gd name="T10" fmla="*/ 15 w 22"/>
                <a:gd name="T11" fmla="*/ 25 h 28"/>
                <a:gd name="T12" fmla="*/ 13 w 22"/>
                <a:gd name="T13" fmla="*/ 25 h 28"/>
                <a:gd name="T14" fmla="*/ 7 w 22"/>
                <a:gd name="T15" fmla="*/ 28 h 28"/>
                <a:gd name="T16" fmla="*/ 6 w 22"/>
                <a:gd name="T17" fmla="*/ 28 h 28"/>
                <a:gd name="T18" fmla="*/ 6 w 22"/>
                <a:gd name="T19" fmla="*/ 26 h 28"/>
                <a:gd name="T20" fmla="*/ 1 w 22"/>
                <a:gd name="T21" fmla="*/ 13 h 28"/>
                <a:gd name="T22" fmla="*/ 0 w 22"/>
                <a:gd name="T23" fmla="*/ 6 h 28"/>
                <a:gd name="T24" fmla="*/ 1 w 22"/>
                <a:gd name="T25" fmla="*/ 1 h 28"/>
                <a:gd name="T26" fmla="*/ 6 w 22"/>
                <a:gd name="T27" fmla="*/ 4 h 28"/>
                <a:gd name="T28" fmla="*/ 9 w 22"/>
                <a:gd name="T29" fmla="*/ 4 h 28"/>
                <a:gd name="T30" fmla="*/ 10 w 22"/>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8">
                  <a:moveTo>
                    <a:pt x="10" y="0"/>
                  </a:moveTo>
                  <a:lnTo>
                    <a:pt x="20" y="0"/>
                  </a:lnTo>
                  <a:lnTo>
                    <a:pt x="20" y="1"/>
                  </a:lnTo>
                  <a:lnTo>
                    <a:pt x="19" y="4"/>
                  </a:lnTo>
                  <a:lnTo>
                    <a:pt x="22" y="12"/>
                  </a:lnTo>
                  <a:lnTo>
                    <a:pt x="15" y="25"/>
                  </a:lnTo>
                  <a:lnTo>
                    <a:pt x="13" y="25"/>
                  </a:lnTo>
                  <a:lnTo>
                    <a:pt x="7" y="28"/>
                  </a:lnTo>
                  <a:lnTo>
                    <a:pt x="6" y="28"/>
                  </a:lnTo>
                  <a:lnTo>
                    <a:pt x="6" y="26"/>
                  </a:lnTo>
                  <a:lnTo>
                    <a:pt x="1" y="13"/>
                  </a:lnTo>
                  <a:lnTo>
                    <a:pt x="0" y="6"/>
                  </a:lnTo>
                  <a:lnTo>
                    <a:pt x="1" y="1"/>
                  </a:lnTo>
                  <a:lnTo>
                    <a:pt x="6" y="4"/>
                  </a:lnTo>
                  <a:lnTo>
                    <a:pt x="9" y="4"/>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4" name="Burkina Faso">
              <a:extLst>
                <a:ext uri="{FF2B5EF4-FFF2-40B4-BE49-F238E27FC236}">
                  <a16:creationId xmlns:a16="http://schemas.microsoft.com/office/drawing/2014/main" id="{B4892DF0-5AA6-166A-22A6-5E6DDF11D853}"/>
                </a:ext>
              </a:extLst>
            </p:cNvPr>
            <p:cNvSpPr>
              <a:spLocks/>
            </p:cNvSpPr>
            <p:nvPr/>
          </p:nvSpPr>
          <p:spPr bwMode="auto">
            <a:xfrm>
              <a:off x="5704771" y="4233223"/>
              <a:ext cx="178900" cy="133723"/>
            </a:xfrm>
            <a:custGeom>
              <a:avLst/>
              <a:gdLst>
                <a:gd name="T0" fmla="*/ 66 w 99"/>
                <a:gd name="T1" fmla="*/ 0 h 74"/>
                <a:gd name="T2" fmla="*/ 71 w 99"/>
                <a:gd name="T3" fmla="*/ 0 h 74"/>
                <a:gd name="T4" fmla="*/ 69 w 99"/>
                <a:gd name="T5" fmla="*/ 6 h 74"/>
                <a:gd name="T6" fmla="*/ 74 w 99"/>
                <a:gd name="T7" fmla="*/ 13 h 74"/>
                <a:gd name="T8" fmla="*/ 86 w 99"/>
                <a:gd name="T9" fmla="*/ 30 h 74"/>
                <a:gd name="T10" fmla="*/ 96 w 99"/>
                <a:gd name="T11" fmla="*/ 30 h 74"/>
                <a:gd name="T12" fmla="*/ 97 w 99"/>
                <a:gd name="T13" fmla="*/ 34 h 74"/>
                <a:gd name="T14" fmla="*/ 96 w 99"/>
                <a:gd name="T15" fmla="*/ 37 h 74"/>
                <a:gd name="T16" fmla="*/ 99 w 99"/>
                <a:gd name="T17" fmla="*/ 40 h 74"/>
                <a:gd name="T18" fmla="*/ 99 w 99"/>
                <a:gd name="T19" fmla="*/ 41 h 74"/>
                <a:gd name="T20" fmla="*/ 94 w 99"/>
                <a:gd name="T21" fmla="*/ 47 h 74"/>
                <a:gd name="T22" fmla="*/ 87 w 99"/>
                <a:gd name="T23" fmla="*/ 47 h 74"/>
                <a:gd name="T24" fmla="*/ 80 w 99"/>
                <a:gd name="T25" fmla="*/ 53 h 74"/>
                <a:gd name="T26" fmla="*/ 74 w 99"/>
                <a:gd name="T27" fmla="*/ 55 h 74"/>
                <a:gd name="T28" fmla="*/ 65 w 99"/>
                <a:gd name="T29" fmla="*/ 52 h 74"/>
                <a:gd name="T30" fmla="*/ 57 w 99"/>
                <a:gd name="T31" fmla="*/ 55 h 74"/>
                <a:gd name="T32" fmla="*/ 31 w 99"/>
                <a:gd name="T33" fmla="*/ 53 h 74"/>
                <a:gd name="T34" fmla="*/ 31 w 99"/>
                <a:gd name="T35" fmla="*/ 58 h 74"/>
                <a:gd name="T36" fmla="*/ 34 w 99"/>
                <a:gd name="T37" fmla="*/ 73 h 74"/>
                <a:gd name="T38" fmla="*/ 34 w 99"/>
                <a:gd name="T39" fmla="*/ 74 h 74"/>
                <a:gd name="T40" fmla="*/ 29 w 99"/>
                <a:gd name="T41" fmla="*/ 74 h 74"/>
                <a:gd name="T42" fmla="*/ 26 w 99"/>
                <a:gd name="T43" fmla="*/ 68 h 74"/>
                <a:gd name="T44" fmla="*/ 20 w 99"/>
                <a:gd name="T45" fmla="*/ 67 h 74"/>
                <a:gd name="T46" fmla="*/ 11 w 99"/>
                <a:gd name="T47" fmla="*/ 71 h 74"/>
                <a:gd name="T48" fmla="*/ 6 w 99"/>
                <a:gd name="T49" fmla="*/ 71 h 74"/>
                <a:gd name="T50" fmla="*/ 0 w 99"/>
                <a:gd name="T51" fmla="*/ 62 h 74"/>
                <a:gd name="T52" fmla="*/ 3 w 99"/>
                <a:gd name="T53" fmla="*/ 46 h 74"/>
                <a:gd name="T54" fmla="*/ 11 w 99"/>
                <a:gd name="T55" fmla="*/ 35 h 74"/>
                <a:gd name="T56" fmla="*/ 17 w 99"/>
                <a:gd name="T57" fmla="*/ 24 h 74"/>
                <a:gd name="T58" fmla="*/ 35 w 99"/>
                <a:gd name="T59" fmla="*/ 18 h 74"/>
                <a:gd name="T60" fmla="*/ 56 w 99"/>
                <a:gd name="T61" fmla="*/ 1 h 74"/>
                <a:gd name="T62" fmla="*/ 62 w 99"/>
                <a:gd name="T63" fmla="*/ 1 h 74"/>
                <a:gd name="T64" fmla="*/ 66 w 99"/>
                <a:gd name="T6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74">
                  <a:moveTo>
                    <a:pt x="66" y="0"/>
                  </a:moveTo>
                  <a:lnTo>
                    <a:pt x="71" y="0"/>
                  </a:lnTo>
                  <a:lnTo>
                    <a:pt x="69" y="6"/>
                  </a:lnTo>
                  <a:lnTo>
                    <a:pt x="74" y="13"/>
                  </a:lnTo>
                  <a:lnTo>
                    <a:pt x="86" y="30"/>
                  </a:lnTo>
                  <a:lnTo>
                    <a:pt x="96" y="30"/>
                  </a:lnTo>
                  <a:lnTo>
                    <a:pt x="97" y="34"/>
                  </a:lnTo>
                  <a:lnTo>
                    <a:pt x="96" y="37"/>
                  </a:lnTo>
                  <a:lnTo>
                    <a:pt x="99" y="40"/>
                  </a:lnTo>
                  <a:lnTo>
                    <a:pt x="99" y="41"/>
                  </a:lnTo>
                  <a:lnTo>
                    <a:pt x="94" y="47"/>
                  </a:lnTo>
                  <a:lnTo>
                    <a:pt x="87" y="47"/>
                  </a:lnTo>
                  <a:lnTo>
                    <a:pt x="80" y="53"/>
                  </a:lnTo>
                  <a:lnTo>
                    <a:pt x="74" y="55"/>
                  </a:lnTo>
                  <a:lnTo>
                    <a:pt x="65" y="52"/>
                  </a:lnTo>
                  <a:lnTo>
                    <a:pt x="57" y="55"/>
                  </a:lnTo>
                  <a:lnTo>
                    <a:pt x="31" y="53"/>
                  </a:lnTo>
                  <a:lnTo>
                    <a:pt x="31" y="58"/>
                  </a:lnTo>
                  <a:lnTo>
                    <a:pt x="34" y="73"/>
                  </a:lnTo>
                  <a:lnTo>
                    <a:pt x="34" y="74"/>
                  </a:lnTo>
                  <a:lnTo>
                    <a:pt x="29" y="74"/>
                  </a:lnTo>
                  <a:lnTo>
                    <a:pt x="26" y="68"/>
                  </a:lnTo>
                  <a:lnTo>
                    <a:pt x="20" y="67"/>
                  </a:lnTo>
                  <a:lnTo>
                    <a:pt x="11" y="71"/>
                  </a:lnTo>
                  <a:lnTo>
                    <a:pt x="6" y="71"/>
                  </a:lnTo>
                  <a:lnTo>
                    <a:pt x="0" y="62"/>
                  </a:lnTo>
                  <a:lnTo>
                    <a:pt x="3" y="46"/>
                  </a:lnTo>
                  <a:lnTo>
                    <a:pt x="11" y="35"/>
                  </a:lnTo>
                  <a:lnTo>
                    <a:pt x="17" y="24"/>
                  </a:lnTo>
                  <a:lnTo>
                    <a:pt x="35" y="18"/>
                  </a:lnTo>
                  <a:lnTo>
                    <a:pt x="56" y="1"/>
                  </a:lnTo>
                  <a:lnTo>
                    <a:pt x="62" y="1"/>
                  </a:lnTo>
                  <a:lnTo>
                    <a:pt x="6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5" name="Benin">
              <a:extLst>
                <a:ext uri="{FF2B5EF4-FFF2-40B4-BE49-F238E27FC236}">
                  <a16:creationId xmlns:a16="http://schemas.microsoft.com/office/drawing/2014/main" id="{EF779B9B-03C7-8023-0446-0E0B734070EB}"/>
                </a:ext>
              </a:extLst>
            </p:cNvPr>
            <p:cNvSpPr>
              <a:spLocks/>
            </p:cNvSpPr>
            <p:nvPr/>
          </p:nvSpPr>
          <p:spPr bwMode="auto">
            <a:xfrm>
              <a:off x="5845723" y="4294663"/>
              <a:ext cx="70476" cy="149986"/>
            </a:xfrm>
            <a:custGeom>
              <a:avLst/>
              <a:gdLst>
                <a:gd name="T0" fmla="*/ 27 w 39"/>
                <a:gd name="T1" fmla="*/ 0 h 83"/>
                <a:gd name="T2" fmla="*/ 37 w 39"/>
                <a:gd name="T3" fmla="*/ 9 h 83"/>
                <a:gd name="T4" fmla="*/ 37 w 39"/>
                <a:gd name="T5" fmla="*/ 10 h 83"/>
                <a:gd name="T6" fmla="*/ 36 w 39"/>
                <a:gd name="T7" fmla="*/ 13 h 83"/>
                <a:gd name="T8" fmla="*/ 39 w 39"/>
                <a:gd name="T9" fmla="*/ 18 h 83"/>
                <a:gd name="T10" fmla="*/ 39 w 39"/>
                <a:gd name="T11" fmla="*/ 27 h 83"/>
                <a:gd name="T12" fmla="*/ 37 w 39"/>
                <a:gd name="T13" fmla="*/ 28 h 83"/>
                <a:gd name="T14" fmla="*/ 37 w 39"/>
                <a:gd name="T15" fmla="*/ 34 h 83"/>
                <a:gd name="T16" fmla="*/ 31 w 39"/>
                <a:gd name="T17" fmla="*/ 39 h 83"/>
                <a:gd name="T18" fmla="*/ 27 w 39"/>
                <a:gd name="T19" fmla="*/ 52 h 83"/>
                <a:gd name="T20" fmla="*/ 27 w 39"/>
                <a:gd name="T21" fmla="*/ 82 h 83"/>
                <a:gd name="T22" fmla="*/ 24 w 39"/>
                <a:gd name="T23" fmla="*/ 82 h 83"/>
                <a:gd name="T24" fmla="*/ 21 w 39"/>
                <a:gd name="T25" fmla="*/ 83 h 83"/>
                <a:gd name="T26" fmla="*/ 15 w 39"/>
                <a:gd name="T27" fmla="*/ 83 h 83"/>
                <a:gd name="T28" fmla="*/ 12 w 39"/>
                <a:gd name="T29" fmla="*/ 77 h 83"/>
                <a:gd name="T30" fmla="*/ 12 w 39"/>
                <a:gd name="T31" fmla="*/ 49 h 83"/>
                <a:gd name="T32" fmla="*/ 8 w 39"/>
                <a:gd name="T33" fmla="*/ 34 h 83"/>
                <a:gd name="T34" fmla="*/ 0 w 39"/>
                <a:gd name="T35" fmla="*/ 28 h 83"/>
                <a:gd name="T36" fmla="*/ 0 w 39"/>
                <a:gd name="T37" fmla="*/ 19 h 83"/>
                <a:gd name="T38" fmla="*/ 8 w 39"/>
                <a:gd name="T39" fmla="*/ 12 h 83"/>
                <a:gd name="T40" fmla="*/ 16 w 39"/>
                <a:gd name="T41" fmla="*/ 12 h 83"/>
                <a:gd name="T42" fmla="*/ 21 w 39"/>
                <a:gd name="T43" fmla="*/ 6 h 83"/>
                <a:gd name="T44" fmla="*/ 19 w 39"/>
                <a:gd name="T45" fmla="*/ 3 h 83"/>
                <a:gd name="T46" fmla="*/ 19 w 39"/>
                <a:gd name="T47" fmla="*/ 1 h 83"/>
                <a:gd name="T48" fmla="*/ 21 w 39"/>
                <a:gd name="T49" fmla="*/ 1 h 83"/>
                <a:gd name="T50" fmla="*/ 27 w 39"/>
                <a:gd name="T5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83">
                  <a:moveTo>
                    <a:pt x="27" y="0"/>
                  </a:moveTo>
                  <a:lnTo>
                    <a:pt x="37" y="9"/>
                  </a:lnTo>
                  <a:lnTo>
                    <a:pt x="37" y="10"/>
                  </a:lnTo>
                  <a:lnTo>
                    <a:pt x="36" y="13"/>
                  </a:lnTo>
                  <a:lnTo>
                    <a:pt x="39" y="18"/>
                  </a:lnTo>
                  <a:lnTo>
                    <a:pt x="39" y="27"/>
                  </a:lnTo>
                  <a:lnTo>
                    <a:pt x="37" y="28"/>
                  </a:lnTo>
                  <a:lnTo>
                    <a:pt x="37" y="34"/>
                  </a:lnTo>
                  <a:lnTo>
                    <a:pt x="31" y="39"/>
                  </a:lnTo>
                  <a:lnTo>
                    <a:pt x="27" y="52"/>
                  </a:lnTo>
                  <a:lnTo>
                    <a:pt x="27" y="82"/>
                  </a:lnTo>
                  <a:lnTo>
                    <a:pt x="24" y="82"/>
                  </a:lnTo>
                  <a:lnTo>
                    <a:pt x="21" y="83"/>
                  </a:lnTo>
                  <a:lnTo>
                    <a:pt x="15" y="83"/>
                  </a:lnTo>
                  <a:lnTo>
                    <a:pt x="12" y="77"/>
                  </a:lnTo>
                  <a:lnTo>
                    <a:pt x="12" y="49"/>
                  </a:lnTo>
                  <a:lnTo>
                    <a:pt x="8" y="34"/>
                  </a:lnTo>
                  <a:lnTo>
                    <a:pt x="0" y="28"/>
                  </a:lnTo>
                  <a:lnTo>
                    <a:pt x="0" y="19"/>
                  </a:lnTo>
                  <a:lnTo>
                    <a:pt x="8" y="12"/>
                  </a:lnTo>
                  <a:lnTo>
                    <a:pt x="16" y="12"/>
                  </a:lnTo>
                  <a:lnTo>
                    <a:pt x="21" y="6"/>
                  </a:lnTo>
                  <a:lnTo>
                    <a:pt x="19" y="3"/>
                  </a:lnTo>
                  <a:lnTo>
                    <a:pt x="19" y="1"/>
                  </a:lnTo>
                  <a:lnTo>
                    <a:pt x="21" y="1"/>
                  </a:lnTo>
                  <a:lnTo>
                    <a:pt x="2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6" name="Angola">
              <a:extLst>
                <a:ext uri="{FF2B5EF4-FFF2-40B4-BE49-F238E27FC236}">
                  <a16:creationId xmlns:a16="http://schemas.microsoft.com/office/drawing/2014/main" id="{C970D7E9-124D-F7EC-D889-B71ACE49A705}"/>
                </a:ext>
              </a:extLst>
            </p:cNvPr>
            <p:cNvSpPr>
              <a:spLocks/>
            </p:cNvSpPr>
            <p:nvPr/>
          </p:nvSpPr>
          <p:spPr bwMode="auto">
            <a:xfrm>
              <a:off x="6100517" y="4722936"/>
              <a:ext cx="298166" cy="298166"/>
            </a:xfrm>
            <a:custGeom>
              <a:avLst/>
              <a:gdLst>
                <a:gd name="T0" fmla="*/ 61 w 165"/>
                <a:gd name="T1" fmla="*/ 0 h 165"/>
                <a:gd name="T2" fmla="*/ 67 w 165"/>
                <a:gd name="T3" fmla="*/ 5 h 165"/>
                <a:gd name="T4" fmla="*/ 71 w 165"/>
                <a:gd name="T5" fmla="*/ 21 h 165"/>
                <a:gd name="T6" fmla="*/ 80 w 165"/>
                <a:gd name="T7" fmla="*/ 31 h 165"/>
                <a:gd name="T8" fmla="*/ 99 w 165"/>
                <a:gd name="T9" fmla="*/ 28 h 165"/>
                <a:gd name="T10" fmla="*/ 104 w 165"/>
                <a:gd name="T11" fmla="*/ 16 h 165"/>
                <a:gd name="T12" fmla="*/ 110 w 165"/>
                <a:gd name="T13" fmla="*/ 16 h 165"/>
                <a:gd name="T14" fmla="*/ 114 w 165"/>
                <a:gd name="T15" fmla="*/ 15 h 165"/>
                <a:gd name="T16" fmla="*/ 122 w 165"/>
                <a:gd name="T17" fmla="*/ 15 h 165"/>
                <a:gd name="T18" fmla="*/ 120 w 165"/>
                <a:gd name="T19" fmla="*/ 19 h 165"/>
                <a:gd name="T20" fmla="*/ 132 w 165"/>
                <a:gd name="T21" fmla="*/ 19 h 165"/>
                <a:gd name="T22" fmla="*/ 133 w 165"/>
                <a:gd name="T23" fmla="*/ 24 h 165"/>
                <a:gd name="T24" fmla="*/ 133 w 165"/>
                <a:gd name="T25" fmla="*/ 49 h 165"/>
                <a:gd name="T26" fmla="*/ 139 w 165"/>
                <a:gd name="T27" fmla="*/ 64 h 165"/>
                <a:gd name="T28" fmla="*/ 136 w 165"/>
                <a:gd name="T29" fmla="*/ 70 h 165"/>
                <a:gd name="T30" fmla="*/ 139 w 165"/>
                <a:gd name="T31" fmla="*/ 73 h 165"/>
                <a:gd name="T32" fmla="*/ 142 w 165"/>
                <a:gd name="T33" fmla="*/ 68 h 165"/>
                <a:gd name="T34" fmla="*/ 151 w 165"/>
                <a:gd name="T35" fmla="*/ 68 h 165"/>
                <a:gd name="T36" fmla="*/ 154 w 165"/>
                <a:gd name="T37" fmla="*/ 67 h 165"/>
                <a:gd name="T38" fmla="*/ 163 w 165"/>
                <a:gd name="T39" fmla="*/ 67 h 165"/>
                <a:gd name="T40" fmla="*/ 162 w 165"/>
                <a:gd name="T41" fmla="*/ 94 h 165"/>
                <a:gd name="T42" fmla="*/ 165 w 165"/>
                <a:gd name="T43" fmla="*/ 95 h 165"/>
                <a:gd name="T44" fmla="*/ 165 w 165"/>
                <a:gd name="T45" fmla="*/ 97 h 165"/>
                <a:gd name="T46" fmla="*/ 136 w 165"/>
                <a:gd name="T47" fmla="*/ 97 h 165"/>
                <a:gd name="T48" fmla="*/ 136 w 165"/>
                <a:gd name="T49" fmla="*/ 144 h 165"/>
                <a:gd name="T50" fmla="*/ 153 w 165"/>
                <a:gd name="T51" fmla="*/ 157 h 165"/>
                <a:gd name="T52" fmla="*/ 153 w 165"/>
                <a:gd name="T53" fmla="*/ 159 h 165"/>
                <a:gd name="T54" fmla="*/ 129 w 165"/>
                <a:gd name="T55" fmla="*/ 165 h 165"/>
                <a:gd name="T56" fmla="*/ 111 w 165"/>
                <a:gd name="T57" fmla="*/ 160 h 165"/>
                <a:gd name="T58" fmla="*/ 98 w 165"/>
                <a:gd name="T59" fmla="*/ 160 h 165"/>
                <a:gd name="T60" fmla="*/ 86 w 165"/>
                <a:gd name="T61" fmla="*/ 154 h 165"/>
                <a:gd name="T62" fmla="*/ 30 w 165"/>
                <a:gd name="T63" fmla="*/ 154 h 165"/>
                <a:gd name="T64" fmla="*/ 19 w 165"/>
                <a:gd name="T65" fmla="*/ 148 h 165"/>
                <a:gd name="T66" fmla="*/ 15 w 165"/>
                <a:gd name="T67" fmla="*/ 148 h 165"/>
                <a:gd name="T68" fmla="*/ 7 w 165"/>
                <a:gd name="T69" fmla="*/ 153 h 165"/>
                <a:gd name="T70" fmla="*/ 7 w 165"/>
                <a:gd name="T71" fmla="*/ 151 h 165"/>
                <a:gd name="T72" fmla="*/ 6 w 165"/>
                <a:gd name="T73" fmla="*/ 151 h 165"/>
                <a:gd name="T74" fmla="*/ 0 w 165"/>
                <a:gd name="T75" fmla="*/ 154 h 165"/>
                <a:gd name="T76" fmla="*/ 0 w 165"/>
                <a:gd name="T77" fmla="*/ 135 h 165"/>
                <a:gd name="T78" fmla="*/ 9 w 165"/>
                <a:gd name="T79" fmla="*/ 107 h 165"/>
                <a:gd name="T80" fmla="*/ 16 w 165"/>
                <a:gd name="T81" fmla="*/ 94 h 165"/>
                <a:gd name="T82" fmla="*/ 25 w 165"/>
                <a:gd name="T83" fmla="*/ 85 h 165"/>
                <a:gd name="T84" fmla="*/ 27 w 165"/>
                <a:gd name="T85" fmla="*/ 70 h 165"/>
                <a:gd name="T86" fmla="*/ 27 w 165"/>
                <a:gd name="T87" fmla="*/ 64 h 165"/>
                <a:gd name="T88" fmla="*/ 22 w 165"/>
                <a:gd name="T89" fmla="*/ 58 h 165"/>
                <a:gd name="T90" fmla="*/ 19 w 165"/>
                <a:gd name="T91" fmla="*/ 46 h 165"/>
                <a:gd name="T92" fmla="*/ 19 w 165"/>
                <a:gd name="T93" fmla="*/ 45 h 165"/>
                <a:gd name="T94" fmla="*/ 22 w 165"/>
                <a:gd name="T95" fmla="*/ 40 h 165"/>
                <a:gd name="T96" fmla="*/ 19 w 165"/>
                <a:gd name="T97" fmla="*/ 34 h 165"/>
                <a:gd name="T98" fmla="*/ 9 w 165"/>
                <a:gd name="T99" fmla="*/ 8 h 165"/>
                <a:gd name="T100" fmla="*/ 9 w 165"/>
                <a:gd name="T101" fmla="*/ 6 h 165"/>
                <a:gd name="T102" fmla="*/ 22 w 165"/>
                <a:gd name="T103" fmla="*/ 2 h 165"/>
                <a:gd name="T104" fmla="*/ 61 w 165"/>
                <a:gd name="T10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 h="165">
                  <a:moveTo>
                    <a:pt x="61" y="0"/>
                  </a:moveTo>
                  <a:lnTo>
                    <a:pt x="67" y="5"/>
                  </a:lnTo>
                  <a:lnTo>
                    <a:pt x="71" y="21"/>
                  </a:lnTo>
                  <a:lnTo>
                    <a:pt x="80" y="31"/>
                  </a:lnTo>
                  <a:lnTo>
                    <a:pt x="99" y="28"/>
                  </a:lnTo>
                  <a:lnTo>
                    <a:pt x="104" y="16"/>
                  </a:lnTo>
                  <a:lnTo>
                    <a:pt x="110" y="16"/>
                  </a:lnTo>
                  <a:lnTo>
                    <a:pt x="114" y="15"/>
                  </a:lnTo>
                  <a:lnTo>
                    <a:pt x="122" y="15"/>
                  </a:lnTo>
                  <a:lnTo>
                    <a:pt x="120" y="19"/>
                  </a:lnTo>
                  <a:lnTo>
                    <a:pt x="132" y="19"/>
                  </a:lnTo>
                  <a:lnTo>
                    <a:pt x="133" y="24"/>
                  </a:lnTo>
                  <a:lnTo>
                    <a:pt x="133" y="49"/>
                  </a:lnTo>
                  <a:lnTo>
                    <a:pt x="139" y="64"/>
                  </a:lnTo>
                  <a:lnTo>
                    <a:pt x="136" y="70"/>
                  </a:lnTo>
                  <a:lnTo>
                    <a:pt x="139" y="73"/>
                  </a:lnTo>
                  <a:lnTo>
                    <a:pt x="142" y="68"/>
                  </a:lnTo>
                  <a:lnTo>
                    <a:pt x="151" y="68"/>
                  </a:lnTo>
                  <a:lnTo>
                    <a:pt x="154" y="67"/>
                  </a:lnTo>
                  <a:lnTo>
                    <a:pt x="163" y="67"/>
                  </a:lnTo>
                  <a:lnTo>
                    <a:pt x="162" y="94"/>
                  </a:lnTo>
                  <a:lnTo>
                    <a:pt x="165" y="95"/>
                  </a:lnTo>
                  <a:lnTo>
                    <a:pt x="165" y="97"/>
                  </a:lnTo>
                  <a:lnTo>
                    <a:pt x="136" y="97"/>
                  </a:lnTo>
                  <a:lnTo>
                    <a:pt x="136" y="144"/>
                  </a:lnTo>
                  <a:lnTo>
                    <a:pt x="153" y="157"/>
                  </a:lnTo>
                  <a:lnTo>
                    <a:pt x="153" y="159"/>
                  </a:lnTo>
                  <a:lnTo>
                    <a:pt x="129" y="165"/>
                  </a:lnTo>
                  <a:lnTo>
                    <a:pt x="111" y="160"/>
                  </a:lnTo>
                  <a:lnTo>
                    <a:pt x="98" y="160"/>
                  </a:lnTo>
                  <a:lnTo>
                    <a:pt x="86" y="154"/>
                  </a:lnTo>
                  <a:lnTo>
                    <a:pt x="30" y="154"/>
                  </a:lnTo>
                  <a:lnTo>
                    <a:pt x="19" y="148"/>
                  </a:lnTo>
                  <a:lnTo>
                    <a:pt x="15" y="148"/>
                  </a:lnTo>
                  <a:lnTo>
                    <a:pt x="7" y="153"/>
                  </a:lnTo>
                  <a:lnTo>
                    <a:pt x="7" y="151"/>
                  </a:lnTo>
                  <a:lnTo>
                    <a:pt x="6" y="151"/>
                  </a:lnTo>
                  <a:lnTo>
                    <a:pt x="0" y="154"/>
                  </a:lnTo>
                  <a:lnTo>
                    <a:pt x="0" y="135"/>
                  </a:lnTo>
                  <a:lnTo>
                    <a:pt x="9" y="107"/>
                  </a:lnTo>
                  <a:lnTo>
                    <a:pt x="16" y="94"/>
                  </a:lnTo>
                  <a:lnTo>
                    <a:pt x="25" y="85"/>
                  </a:lnTo>
                  <a:lnTo>
                    <a:pt x="27" y="70"/>
                  </a:lnTo>
                  <a:lnTo>
                    <a:pt x="27" y="64"/>
                  </a:lnTo>
                  <a:lnTo>
                    <a:pt x="22" y="58"/>
                  </a:lnTo>
                  <a:lnTo>
                    <a:pt x="19" y="46"/>
                  </a:lnTo>
                  <a:lnTo>
                    <a:pt x="19" y="45"/>
                  </a:lnTo>
                  <a:lnTo>
                    <a:pt x="22" y="40"/>
                  </a:lnTo>
                  <a:lnTo>
                    <a:pt x="19" y="34"/>
                  </a:lnTo>
                  <a:lnTo>
                    <a:pt x="9" y="8"/>
                  </a:lnTo>
                  <a:lnTo>
                    <a:pt x="9" y="6"/>
                  </a:lnTo>
                  <a:lnTo>
                    <a:pt x="22" y="2"/>
                  </a:lnTo>
                  <a:lnTo>
                    <a:pt x="6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7" name="Algeria">
              <a:extLst>
                <a:ext uri="{FF2B5EF4-FFF2-40B4-BE49-F238E27FC236}">
                  <a16:creationId xmlns:a16="http://schemas.microsoft.com/office/drawing/2014/main" id="{409650AC-4B61-BC96-8427-4C1D1F0541FE}"/>
                </a:ext>
              </a:extLst>
            </p:cNvPr>
            <p:cNvSpPr>
              <a:spLocks/>
            </p:cNvSpPr>
            <p:nvPr/>
          </p:nvSpPr>
          <p:spPr bwMode="auto">
            <a:xfrm>
              <a:off x="5623454" y="3653663"/>
              <a:ext cx="482486" cy="486100"/>
            </a:xfrm>
            <a:custGeom>
              <a:avLst/>
              <a:gdLst>
                <a:gd name="T0" fmla="*/ 203 w 267"/>
                <a:gd name="T1" fmla="*/ 3 h 269"/>
                <a:gd name="T2" fmla="*/ 217 w 267"/>
                <a:gd name="T3" fmla="*/ 3 h 269"/>
                <a:gd name="T4" fmla="*/ 224 w 267"/>
                <a:gd name="T5" fmla="*/ 1 h 269"/>
                <a:gd name="T6" fmla="*/ 227 w 267"/>
                <a:gd name="T7" fmla="*/ 3 h 269"/>
                <a:gd name="T8" fmla="*/ 224 w 267"/>
                <a:gd name="T9" fmla="*/ 10 h 269"/>
                <a:gd name="T10" fmla="*/ 224 w 267"/>
                <a:gd name="T11" fmla="*/ 31 h 269"/>
                <a:gd name="T12" fmla="*/ 211 w 267"/>
                <a:gd name="T13" fmla="*/ 50 h 269"/>
                <a:gd name="T14" fmla="*/ 218 w 267"/>
                <a:gd name="T15" fmla="*/ 63 h 269"/>
                <a:gd name="T16" fmla="*/ 231 w 267"/>
                <a:gd name="T17" fmla="*/ 78 h 269"/>
                <a:gd name="T18" fmla="*/ 236 w 267"/>
                <a:gd name="T19" fmla="*/ 106 h 269"/>
                <a:gd name="T20" fmla="*/ 239 w 267"/>
                <a:gd name="T21" fmla="*/ 121 h 269"/>
                <a:gd name="T22" fmla="*/ 239 w 267"/>
                <a:gd name="T23" fmla="*/ 163 h 269"/>
                <a:gd name="T24" fmla="*/ 242 w 267"/>
                <a:gd name="T25" fmla="*/ 179 h 269"/>
                <a:gd name="T26" fmla="*/ 246 w 267"/>
                <a:gd name="T27" fmla="*/ 189 h 269"/>
                <a:gd name="T28" fmla="*/ 267 w 267"/>
                <a:gd name="T29" fmla="*/ 206 h 269"/>
                <a:gd name="T30" fmla="*/ 187 w 267"/>
                <a:gd name="T31" fmla="*/ 262 h 269"/>
                <a:gd name="T32" fmla="*/ 157 w 267"/>
                <a:gd name="T33" fmla="*/ 269 h 269"/>
                <a:gd name="T34" fmla="*/ 153 w 267"/>
                <a:gd name="T35" fmla="*/ 268 h 269"/>
                <a:gd name="T36" fmla="*/ 154 w 267"/>
                <a:gd name="T37" fmla="*/ 256 h 269"/>
                <a:gd name="T38" fmla="*/ 134 w 267"/>
                <a:gd name="T39" fmla="*/ 246 h 269"/>
                <a:gd name="T40" fmla="*/ 126 w 267"/>
                <a:gd name="T41" fmla="*/ 238 h 269"/>
                <a:gd name="T42" fmla="*/ 2 w 267"/>
                <a:gd name="T43" fmla="*/ 152 h 269"/>
                <a:gd name="T44" fmla="*/ 0 w 267"/>
                <a:gd name="T45" fmla="*/ 129 h 269"/>
                <a:gd name="T46" fmla="*/ 21 w 267"/>
                <a:gd name="T47" fmla="*/ 115 h 269"/>
                <a:gd name="T48" fmla="*/ 28 w 267"/>
                <a:gd name="T49" fmla="*/ 112 h 269"/>
                <a:gd name="T50" fmla="*/ 51 w 267"/>
                <a:gd name="T51" fmla="*/ 102 h 269"/>
                <a:gd name="T52" fmla="*/ 62 w 267"/>
                <a:gd name="T53" fmla="*/ 93 h 269"/>
                <a:gd name="T54" fmla="*/ 64 w 267"/>
                <a:gd name="T55" fmla="*/ 84 h 269"/>
                <a:gd name="T56" fmla="*/ 74 w 267"/>
                <a:gd name="T57" fmla="*/ 78 h 269"/>
                <a:gd name="T58" fmla="*/ 96 w 267"/>
                <a:gd name="T59" fmla="*/ 77 h 269"/>
                <a:gd name="T60" fmla="*/ 98 w 267"/>
                <a:gd name="T61" fmla="*/ 72 h 269"/>
                <a:gd name="T62" fmla="*/ 91 w 267"/>
                <a:gd name="T63" fmla="*/ 37 h 269"/>
                <a:gd name="T64" fmla="*/ 88 w 267"/>
                <a:gd name="T65" fmla="*/ 32 h 269"/>
                <a:gd name="T66" fmla="*/ 102 w 267"/>
                <a:gd name="T67" fmla="*/ 22 h 269"/>
                <a:gd name="T68" fmla="*/ 117 w 267"/>
                <a:gd name="T69" fmla="*/ 16 h 269"/>
                <a:gd name="T70" fmla="*/ 165 w 267"/>
                <a:gd name="T71" fmla="*/ 3 h 269"/>
                <a:gd name="T72" fmla="*/ 182 w 267"/>
                <a:gd name="T73" fmla="*/ 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7" h="269">
                  <a:moveTo>
                    <a:pt x="196" y="0"/>
                  </a:moveTo>
                  <a:lnTo>
                    <a:pt x="203" y="3"/>
                  </a:lnTo>
                  <a:lnTo>
                    <a:pt x="208" y="0"/>
                  </a:lnTo>
                  <a:lnTo>
                    <a:pt x="217" y="3"/>
                  </a:lnTo>
                  <a:lnTo>
                    <a:pt x="220" y="3"/>
                  </a:lnTo>
                  <a:lnTo>
                    <a:pt x="224" y="1"/>
                  </a:lnTo>
                  <a:lnTo>
                    <a:pt x="227" y="1"/>
                  </a:lnTo>
                  <a:lnTo>
                    <a:pt x="227" y="3"/>
                  </a:lnTo>
                  <a:lnTo>
                    <a:pt x="222" y="9"/>
                  </a:lnTo>
                  <a:lnTo>
                    <a:pt x="224" y="10"/>
                  </a:lnTo>
                  <a:lnTo>
                    <a:pt x="222" y="20"/>
                  </a:lnTo>
                  <a:lnTo>
                    <a:pt x="224" y="31"/>
                  </a:lnTo>
                  <a:lnTo>
                    <a:pt x="221" y="41"/>
                  </a:lnTo>
                  <a:lnTo>
                    <a:pt x="211" y="50"/>
                  </a:lnTo>
                  <a:lnTo>
                    <a:pt x="212" y="60"/>
                  </a:lnTo>
                  <a:lnTo>
                    <a:pt x="218" y="63"/>
                  </a:lnTo>
                  <a:lnTo>
                    <a:pt x="221" y="72"/>
                  </a:lnTo>
                  <a:lnTo>
                    <a:pt x="231" y="78"/>
                  </a:lnTo>
                  <a:lnTo>
                    <a:pt x="231" y="80"/>
                  </a:lnTo>
                  <a:lnTo>
                    <a:pt x="236" y="106"/>
                  </a:lnTo>
                  <a:lnTo>
                    <a:pt x="233" y="112"/>
                  </a:lnTo>
                  <a:lnTo>
                    <a:pt x="239" y="121"/>
                  </a:lnTo>
                  <a:lnTo>
                    <a:pt x="240" y="143"/>
                  </a:lnTo>
                  <a:lnTo>
                    <a:pt x="239" y="163"/>
                  </a:lnTo>
                  <a:lnTo>
                    <a:pt x="234" y="167"/>
                  </a:lnTo>
                  <a:lnTo>
                    <a:pt x="242" y="179"/>
                  </a:lnTo>
                  <a:lnTo>
                    <a:pt x="243" y="186"/>
                  </a:lnTo>
                  <a:lnTo>
                    <a:pt x="246" y="189"/>
                  </a:lnTo>
                  <a:lnTo>
                    <a:pt x="261" y="194"/>
                  </a:lnTo>
                  <a:lnTo>
                    <a:pt x="267" y="206"/>
                  </a:lnTo>
                  <a:lnTo>
                    <a:pt x="217" y="240"/>
                  </a:lnTo>
                  <a:lnTo>
                    <a:pt x="187" y="262"/>
                  </a:lnTo>
                  <a:lnTo>
                    <a:pt x="168" y="267"/>
                  </a:lnTo>
                  <a:lnTo>
                    <a:pt x="157" y="269"/>
                  </a:lnTo>
                  <a:lnTo>
                    <a:pt x="156" y="269"/>
                  </a:lnTo>
                  <a:lnTo>
                    <a:pt x="153" y="268"/>
                  </a:lnTo>
                  <a:lnTo>
                    <a:pt x="153" y="267"/>
                  </a:lnTo>
                  <a:lnTo>
                    <a:pt x="154" y="256"/>
                  </a:lnTo>
                  <a:lnTo>
                    <a:pt x="137" y="250"/>
                  </a:lnTo>
                  <a:lnTo>
                    <a:pt x="134" y="246"/>
                  </a:lnTo>
                  <a:lnTo>
                    <a:pt x="128" y="243"/>
                  </a:lnTo>
                  <a:lnTo>
                    <a:pt x="126" y="238"/>
                  </a:lnTo>
                  <a:lnTo>
                    <a:pt x="49" y="185"/>
                  </a:lnTo>
                  <a:lnTo>
                    <a:pt x="2" y="152"/>
                  </a:lnTo>
                  <a:lnTo>
                    <a:pt x="0" y="152"/>
                  </a:lnTo>
                  <a:lnTo>
                    <a:pt x="0" y="129"/>
                  </a:lnTo>
                  <a:lnTo>
                    <a:pt x="6" y="123"/>
                  </a:lnTo>
                  <a:lnTo>
                    <a:pt x="21" y="115"/>
                  </a:lnTo>
                  <a:lnTo>
                    <a:pt x="27" y="115"/>
                  </a:lnTo>
                  <a:lnTo>
                    <a:pt x="28" y="112"/>
                  </a:lnTo>
                  <a:lnTo>
                    <a:pt x="40" y="111"/>
                  </a:lnTo>
                  <a:lnTo>
                    <a:pt x="51" y="102"/>
                  </a:lnTo>
                  <a:lnTo>
                    <a:pt x="64" y="96"/>
                  </a:lnTo>
                  <a:lnTo>
                    <a:pt x="62" y="93"/>
                  </a:lnTo>
                  <a:lnTo>
                    <a:pt x="62" y="86"/>
                  </a:lnTo>
                  <a:lnTo>
                    <a:pt x="64" y="84"/>
                  </a:lnTo>
                  <a:lnTo>
                    <a:pt x="74" y="83"/>
                  </a:lnTo>
                  <a:lnTo>
                    <a:pt x="74" y="78"/>
                  </a:lnTo>
                  <a:lnTo>
                    <a:pt x="76" y="78"/>
                  </a:lnTo>
                  <a:lnTo>
                    <a:pt x="96" y="77"/>
                  </a:lnTo>
                  <a:lnTo>
                    <a:pt x="96" y="74"/>
                  </a:lnTo>
                  <a:lnTo>
                    <a:pt x="98" y="72"/>
                  </a:lnTo>
                  <a:lnTo>
                    <a:pt x="92" y="65"/>
                  </a:lnTo>
                  <a:lnTo>
                    <a:pt x="91" y="37"/>
                  </a:lnTo>
                  <a:lnTo>
                    <a:pt x="83" y="32"/>
                  </a:lnTo>
                  <a:lnTo>
                    <a:pt x="88" y="32"/>
                  </a:lnTo>
                  <a:lnTo>
                    <a:pt x="96" y="28"/>
                  </a:lnTo>
                  <a:lnTo>
                    <a:pt x="102" y="22"/>
                  </a:lnTo>
                  <a:lnTo>
                    <a:pt x="114" y="19"/>
                  </a:lnTo>
                  <a:lnTo>
                    <a:pt x="117" y="16"/>
                  </a:lnTo>
                  <a:lnTo>
                    <a:pt x="131" y="9"/>
                  </a:lnTo>
                  <a:lnTo>
                    <a:pt x="165" y="3"/>
                  </a:lnTo>
                  <a:lnTo>
                    <a:pt x="178" y="3"/>
                  </a:lnTo>
                  <a:lnTo>
                    <a:pt x="182" y="6"/>
                  </a:lnTo>
                  <a:lnTo>
                    <a:pt x="19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spTree>
    <p:extLst>
      <p:ext uri="{BB962C8B-B14F-4D97-AF65-F5344CB8AC3E}">
        <p14:creationId xmlns:p14="http://schemas.microsoft.com/office/powerpoint/2010/main" val="14355696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ap Only (Fixe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3A20153-59DC-D807-4A32-17105E847BA1}"/>
              </a:ext>
            </a:extLst>
          </p:cNvPr>
          <p:cNvGrpSpPr/>
          <p:nvPr userDrawn="1"/>
        </p:nvGrpSpPr>
        <p:grpSpPr>
          <a:xfrm>
            <a:off x="1146008" y="225287"/>
            <a:ext cx="9899984" cy="6407426"/>
            <a:chOff x="1857537" y="685800"/>
            <a:chExt cx="8476926" cy="5486400"/>
          </a:xfrm>
          <a:solidFill>
            <a:schemeClr val="bg1">
              <a:lumMod val="95000"/>
            </a:schemeClr>
          </a:solidFill>
        </p:grpSpPr>
        <p:sp>
          <p:nvSpPr>
            <p:cNvPr id="9" name="Fiji">
              <a:extLst>
                <a:ext uri="{FF2B5EF4-FFF2-40B4-BE49-F238E27FC236}">
                  <a16:creationId xmlns:a16="http://schemas.microsoft.com/office/drawing/2014/main" id="{B2AFBB76-9EA4-1A59-0E72-98E2B80D857F}"/>
                </a:ext>
              </a:extLst>
            </p:cNvPr>
            <p:cNvSpPr>
              <a:spLocks/>
            </p:cNvSpPr>
            <p:nvPr/>
          </p:nvSpPr>
          <p:spPr bwMode="auto">
            <a:xfrm>
              <a:off x="10005578" y="4972310"/>
              <a:ext cx="66861" cy="54214"/>
            </a:xfrm>
            <a:custGeom>
              <a:avLst/>
              <a:gdLst/>
              <a:ahLst/>
              <a:cxnLst/>
              <a:rect l="l" t="t" r="r" b="b"/>
              <a:pathLst>
                <a:path w="67394" h="54646">
                  <a:moveTo>
                    <a:pt x="21857" y="27323"/>
                  </a:moveTo>
                  <a:lnTo>
                    <a:pt x="21857" y="29145"/>
                  </a:lnTo>
                  <a:lnTo>
                    <a:pt x="27322" y="32788"/>
                  </a:lnTo>
                  <a:lnTo>
                    <a:pt x="32786" y="49182"/>
                  </a:lnTo>
                  <a:lnTo>
                    <a:pt x="29143" y="51003"/>
                  </a:lnTo>
                  <a:lnTo>
                    <a:pt x="20036" y="54646"/>
                  </a:lnTo>
                  <a:lnTo>
                    <a:pt x="0" y="49182"/>
                  </a:lnTo>
                  <a:lnTo>
                    <a:pt x="0" y="34609"/>
                  </a:lnTo>
                  <a:lnTo>
                    <a:pt x="14572" y="29145"/>
                  </a:lnTo>
                  <a:lnTo>
                    <a:pt x="20036" y="29145"/>
                  </a:lnTo>
                  <a:close/>
                  <a:moveTo>
                    <a:pt x="65573" y="0"/>
                  </a:moveTo>
                  <a:lnTo>
                    <a:pt x="67394" y="0"/>
                  </a:lnTo>
                  <a:lnTo>
                    <a:pt x="67394" y="3643"/>
                  </a:lnTo>
                  <a:lnTo>
                    <a:pt x="61930" y="9107"/>
                  </a:lnTo>
                  <a:lnTo>
                    <a:pt x="61930" y="16393"/>
                  </a:lnTo>
                  <a:lnTo>
                    <a:pt x="49179" y="12750"/>
                  </a:lnTo>
                  <a:lnTo>
                    <a:pt x="38251" y="21858"/>
                  </a:lnTo>
                  <a:lnTo>
                    <a:pt x="34608" y="21858"/>
                  </a:lnTo>
                  <a:lnTo>
                    <a:pt x="27322" y="12750"/>
                  </a:lnTo>
                  <a:lnTo>
                    <a:pt x="27322" y="10929"/>
                  </a:lnTo>
                  <a:lnTo>
                    <a:pt x="29143" y="10929"/>
                  </a:lnTo>
                  <a:lnTo>
                    <a:pt x="38251" y="9107"/>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8" name="New Zealand (North Island)">
              <a:extLst>
                <a:ext uri="{FF2B5EF4-FFF2-40B4-BE49-F238E27FC236}">
                  <a16:creationId xmlns:a16="http://schemas.microsoft.com/office/drawing/2014/main" id="{E5B221CD-B792-9E56-3125-C4EC17403772}"/>
                </a:ext>
              </a:extLst>
            </p:cNvPr>
            <p:cNvSpPr>
              <a:spLocks/>
            </p:cNvSpPr>
            <p:nvPr/>
          </p:nvSpPr>
          <p:spPr bwMode="auto">
            <a:xfrm>
              <a:off x="9898962" y="5449375"/>
              <a:ext cx="139145" cy="215041"/>
            </a:xfrm>
            <a:custGeom>
              <a:avLst/>
              <a:gdLst>
                <a:gd name="T0" fmla="*/ 0 w 77"/>
                <a:gd name="T1" fmla="*/ 0 h 119"/>
                <a:gd name="T2" fmla="*/ 4 w 77"/>
                <a:gd name="T3" fmla="*/ 0 h 119"/>
                <a:gd name="T4" fmla="*/ 7 w 77"/>
                <a:gd name="T5" fmla="*/ 7 h 119"/>
                <a:gd name="T6" fmla="*/ 9 w 77"/>
                <a:gd name="T7" fmla="*/ 6 h 119"/>
                <a:gd name="T8" fmla="*/ 21 w 77"/>
                <a:gd name="T9" fmla="*/ 13 h 119"/>
                <a:gd name="T10" fmla="*/ 25 w 77"/>
                <a:gd name="T11" fmla="*/ 24 h 119"/>
                <a:gd name="T12" fmla="*/ 25 w 77"/>
                <a:gd name="T13" fmla="*/ 25 h 119"/>
                <a:gd name="T14" fmla="*/ 22 w 77"/>
                <a:gd name="T15" fmla="*/ 25 h 119"/>
                <a:gd name="T16" fmla="*/ 29 w 77"/>
                <a:gd name="T17" fmla="*/ 33 h 119"/>
                <a:gd name="T18" fmla="*/ 28 w 77"/>
                <a:gd name="T19" fmla="*/ 40 h 119"/>
                <a:gd name="T20" fmla="*/ 34 w 77"/>
                <a:gd name="T21" fmla="*/ 40 h 119"/>
                <a:gd name="T22" fmla="*/ 35 w 77"/>
                <a:gd name="T23" fmla="*/ 43 h 119"/>
                <a:gd name="T24" fmla="*/ 35 w 77"/>
                <a:gd name="T25" fmla="*/ 34 h 119"/>
                <a:gd name="T26" fmla="*/ 37 w 77"/>
                <a:gd name="T27" fmla="*/ 34 h 119"/>
                <a:gd name="T28" fmla="*/ 40 w 77"/>
                <a:gd name="T29" fmla="*/ 37 h 119"/>
                <a:gd name="T30" fmla="*/ 41 w 77"/>
                <a:gd name="T31" fmla="*/ 37 h 119"/>
                <a:gd name="T32" fmla="*/ 44 w 77"/>
                <a:gd name="T33" fmla="*/ 52 h 119"/>
                <a:gd name="T34" fmla="*/ 58 w 77"/>
                <a:gd name="T35" fmla="*/ 56 h 119"/>
                <a:gd name="T36" fmla="*/ 70 w 77"/>
                <a:gd name="T37" fmla="*/ 49 h 119"/>
                <a:gd name="T38" fmla="*/ 77 w 77"/>
                <a:gd name="T39" fmla="*/ 52 h 119"/>
                <a:gd name="T40" fmla="*/ 77 w 77"/>
                <a:gd name="T41" fmla="*/ 53 h 119"/>
                <a:gd name="T42" fmla="*/ 74 w 77"/>
                <a:gd name="T43" fmla="*/ 68 h 119"/>
                <a:gd name="T44" fmla="*/ 70 w 77"/>
                <a:gd name="T45" fmla="*/ 70 h 119"/>
                <a:gd name="T46" fmla="*/ 70 w 77"/>
                <a:gd name="T47" fmla="*/ 77 h 119"/>
                <a:gd name="T48" fmla="*/ 59 w 77"/>
                <a:gd name="T49" fmla="*/ 79 h 119"/>
                <a:gd name="T50" fmla="*/ 55 w 77"/>
                <a:gd name="T51" fmla="*/ 83 h 119"/>
                <a:gd name="T52" fmla="*/ 58 w 77"/>
                <a:gd name="T53" fmla="*/ 87 h 119"/>
                <a:gd name="T54" fmla="*/ 58 w 77"/>
                <a:gd name="T55" fmla="*/ 89 h 119"/>
                <a:gd name="T56" fmla="*/ 53 w 77"/>
                <a:gd name="T57" fmla="*/ 99 h 119"/>
                <a:gd name="T58" fmla="*/ 37 w 77"/>
                <a:gd name="T59" fmla="*/ 119 h 119"/>
                <a:gd name="T60" fmla="*/ 27 w 77"/>
                <a:gd name="T61" fmla="*/ 114 h 119"/>
                <a:gd name="T62" fmla="*/ 27 w 77"/>
                <a:gd name="T63" fmla="*/ 113 h 119"/>
                <a:gd name="T64" fmla="*/ 32 w 77"/>
                <a:gd name="T65" fmla="*/ 102 h 119"/>
                <a:gd name="T66" fmla="*/ 32 w 77"/>
                <a:gd name="T67" fmla="*/ 95 h 119"/>
                <a:gd name="T68" fmla="*/ 13 w 77"/>
                <a:gd name="T69" fmla="*/ 81 h 119"/>
                <a:gd name="T70" fmla="*/ 13 w 77"/>
                <a:gd name="T71" fmla="*/ 80 h 119"/>
                <a:gd name="T72" fmla="*/ 16 w 77"/>
                <a:gd name="T73" fmla="*/ 76 h 119"/>
                <a:gd name="T74" fmla="*/ 24 w 77"/>
                <a:gd name="T75" fmla="*/ 71 h 119"/>
                <a:gd name="T76" fmla="*/ 27 w 77"/>
                <a:gd name="T77" fmla="*/ 59 h 119"/>
                <a:gd name="T78" fmla="*/ 28 w 77"/>
                <a:gd name="T79" fmla="*/ 59 h 119"/>
                <a:gd name="T80" fmla="*/ 28 w 77"/>
                <a:gd name="T81" fmla="*/ 47 h 119"/>
                <a:gd name="T82" fmla="*/ 25 w 77"/>
                <a:gd name="T83" fmla="*/ 44 h 119"/>
                <a:gd name="T84" fmla="*/ 27 w 77"/>
                <a:gd name="T85" fmla="*/ 41 h 119"/>
                <a:gd name="T86" fmla="*/ 25 w 77"/>
                <a:gd name="T87" fmla="*/ 43 h 119"/>
                <a:gd name="T88" fmla="*/ 24 w 77"/>
                <a:gd name="T89" fmla="*/ 43 h 119"/>
                <a:gd name="T90" fmla="*/ 24 w 77"/>
                <a:gd name="T91" fmla="*/ 41 h 119"/>
                <a:gd name="T92" fmla="*/ 21 w 77"/>
                <a:gd name="T93" fmla="*/ 37 h 119"/>
                <a:gd name="T94" fmla="*/ 21 w 77"/>
                <a:gd name="T95" fmla="*/ 30 h 119"/>
                <a:gd name="T96" fmla="*/ 19 w 77"/>
                <a:gd name="T97" fmla="*/ 30 h 119"/>
                <a:gd name="T98" fmla="*/ 19 w 77"/>
                <a:gd name="T99" fmla="*/ 31 h 119"/>
                <a:gd name="T100" fmla="*/ 10 w 77"/>
                <a:gd name="T101" fmla="*/ 22 h 119"/>
                <a:gd name="T102" fmla="*/ 9 w 77"/>
                <a:gd name="T103" fmla="*/ 18 h 119"/>
                <a:gd name="T104" fmla="*/ 6 w 77"/>
                <a:gd name="T105" fmla="*/ 15 h 119"/>
                <a:gd name="T106" fmla="*/ 0 w 77"/>
                <a:gd name="T107" fmla="*/ 1 h 119"/>
                <a:gd name="T108" fmla="*/ 0 w 7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 h="119">
                  <a:moveTo>
                    <a:pt x="0" y="0"/>
                  </a:moveTo>
                  <a:lnTo>
                    <a:pt x="4" y="0"/>
                  </a:lnTo>
                  <a:lnTo>
                    <a:pt x="7" y="7"/>
                  </a:lnTo>
                  <a:lnTo>
                    <a:pt x="9" y="6"/>
                  </a:lnTo>
                  <a:lnTo>
                    <a:pt x="21" y="13"/>
                  </a:lnTo>
                  <a:lnTo>
                    <a:pt x="25" y="24"/>
                  </a:lnTo>
                  <a:lnTo>
                    <a:pt x="25" y="25"/>
                  </a:lnTo>
                  <a:lnTo>
                    <a:pt x="22" y="25"/>
                  </a:lnTo>
                  <a:lnTo>
                    <a:pt x="29" y="33"/>
                  </a:lnTo>
                  <a:lnTo>
                    <a:pt x="28" y="40"/>
                  </a:lnTo>
                  <a:lnTo>
                    <a:pt x="34" y="40"/>
                  </a:lnTo>
                  <a:lnTo>
                    <a:pt x="35" y="43"/>
                  </a:lnTo>
                  <a:lnTo>
                    <a:pt x="35" y="34"/>
                  </a:lnTo>
                  <a:lnTo>
                    <a:pt x="37" y="34"/>
                  </a:lnTo>
                  <a:lnTo>
                    <a:pt x="40" y="37"/>
                  </a:lnTo>
                  <a:lnTo>
                    <a:pt x="41" y="37"/>
                  </a:lnTo>
                  <a:lnTo>
                    <a:pt x="44" y="52"/>
                  </a:lnTo>
                  <a:lnTo>
                    <a:pt x="58" y="56"/>
                  </a:lnTo>
                  <a:lnTo>
                    <a:pt x="70" y="49"/>
                  </a:lnTo>
                  <a:lnTo>
                    <a:pt x="77" y="52"/>
                  </a:lnTo>
                  <a:lnTo>
                    <a:pt x="77" y="53"/>
                  </a:lnTo>
                  <a:lnTo>
                    <a:pt x="74" y="68"/>
                  </a:lnTo>
                  <a:lnTo>
                    <a:pt x="70" y="70"/>
                  </a:lnTo>
                  <a:lnTo>
                    <a:pt x="70" y="77"/>
                  </a:lnTo>
                  <a:lnTo>
                    <a:pt x="59" y="79"/>
                  </a:lnTo>
                  <a:lnTo>
                    <a:pt x="55" y="83"/>
                  </a:lnTo>
                  <a:lnTo>
                    <a:pt x="58" y="87"/>
                  </a:lnTo>
                  <a:lnTo>
                    <a:pt x="58" y="89"/>
                  </a:lnTo>
                  <a:lnTo>
                    <a:pt x="53" y="99"/>
                  </a:lnTo>
                  <a:lnTo>
                    <a:pt x="37" y="119"/>
                  </a:lnTo>
                  <a:lnTo>
                    <a:pt x="27" y="114"/>
                  </a:lnTo>
                  <a:lnTo>
                    <a:pt x="27" y="113"/>
                  </a:lnTo>
                  <a:lnTo>
                    <a:pt x="32" y="102"/>
                  </a:lnTo>
                  <a:lnTo>
                    <a:pt x="32" y="95"/>
                  </a:lnTo>
                  <a:lnTo>
                    <a:pt x="13" y="81"/>
                  </a:lnTo>
                  <a:lnTo>
                    <a:pt x="13" y="80"/>
                  </a:lnTo>
                  <a:lnTo>
                    <a:pt x="16" y="76"/>
                  </a:lnTo>
                  <a:lnTo>
                    <a:pt x="24" y="71"/>
                  </a:lnTo>
                  <a:lnTo>
                    <a:pt x="27" y="59"/>
                  </a:lnTo>
                  <a:lnTo>
                    <a:pt x="28" y="59"/>
                  </a:lnTo>
                  <a:lnTo>
                    <a:pt x="28" y="47"/>
                  </a:lnTo>
                  <a:lnTo>
                    <a:pt x="25" y="44"/>
                  </a:lnTo>
                  <a:lnTo>
                    <a:pt x="27" y="41"/>
                  </a:lnTo>
                  <a:lnTo>
                    <a:pt x="25" y="43"/>
                  </a:lnTo>
                  <a:lnTo>
                    <a:pt x="24" y="43"/>
                  </a:lnTo>
                  <a:lnTo>
                    <a:pt x="24" y="41"/>
                  </a:lnTo>
                  <a:lnTo>
                    <a:pt x="21" y="37"/>
                  </a:lnTo>
                  <a:lnTo>
                    <a:pt x="21" y="30"/>
                  </a:lnTo>
                  <a:lnTo>
                    <a:pt x="19" y="30"/>
                  </a:lnTo>
                  <a:lnTo>
                    <a:pt x="19" y="31"/>
                  </a:lnTo>
                  <a:lnTo>
                    <a:pt x="10" y="22"/>
                  </a:lnTo>
                  <a:lnTo>
                    <a:pt x="9" y="18"/>
                  </a:lnTo>
                  <a:lnTo>
                    <a:pt x="6" y="15"/>
                  </a:lnTo>
                  <a:lnTo>
                    <a:pt x="0" y="1"/>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49" name="New Zealand (South Island)">
              <a:extLst>
                <a:ext uri="{FF2B5EF4-FFF2-40B4-BE49-F238E27FC236}">
                  <a16:creationId xmlns:a16="http://schemas.microsoft.com/office/drawing/2014/main" id="{F872ED0B-0D8F-96E4-B16F-FAF3436461F3}"/>
                </a:ext>
              </a:extLst>
            </p:cNvPr>
            <p:cNvSpPr>
              <a:spLocks/>
            </p:cNvSpPr>
            <p:nvPr/>
          </p:nvSpPr>
          <p:spPr bwMode="auto">
            <a:xfrm>
              <a:off x="9754396" y="5631889"/>
              <a:ext cx="182514" cy="200585"/>
            </a:xfrm>
            <a:custGeom>
              <a:avLst/>
              <a:gdLst>
                <a:gd name="T0" fmla="*/ 80 w 101"/>
                <a:gd name="T1" fmla="*/ 0 h 111"/>
                <a:gd name="T2" fmla="*/ 87 w 101"/>
                <a:gd name="T3" fmla="*/ 12 h 111"/>
                <a:gd name="T4" fmla="*/ 95 w 101"/>
                <a:gd name="T5" fmla="*/ 6 h 111"/>
                <a:gd name="T6" fmla="*/ 96 w 101"/>
                <a:gd name="T7" fmla="*/ 6 h 111"/>
                <a:gd name="T8" fmla="*/ 98 w 101"/>
                <a:gd name="T9" fmla="*/ 7 h 111"/>
                <a:gd name="T10" fmla="*/ 101 w 101"/>
                <a:gd name="T11" fmla="*/ 9 h 111"/>
                <a:gd name="T12" fmla="*/ 101 w 101"/>
                <a:gd name="T13" fmla="*/ 10 h 111"/>
                <a:gd name="T14" fmla="*/ 99 w 101"/>
                <a:gd name="T15" fmla="*/ 13 h 111"/>
                <a:gd name="T16" fmla="*/ 101 w 101"/>
                <a:gd name="T17" fmla="*/ 22 h 111"/>
                <a:gd name="T18" fmla="*/ 90 w 101"/>
                <a:gd name="T19" fmla="*/ 40 h 111"/>
                <a:gd name="T20" fmla="*/ 83 w 101"/>
                <a:gd name="T21" fmla="*/ 46 h 111"/>
                <a:gd name="T22" fmla="*/ 81 w 101"/>
                <a:gd name="T23" fmla="*/ 55 h 111"/>
                <a:gd name="T24" fmla="*/ 86 w 101"/>
                <a:gd name="T25" fmla="*/ 59 h 111"/>
                <a:gd name="T26" fmla="*/ 86 w 101"/>
                <a:gd name="T27" fmla="*/ 61 h 111"/>
                <a:gd name="T28" fmla="*/ 77 w 101"/>
                <a:gd name="T29" fmla="*/ 56 h 111"/>
                <a:gd name="T30" fmla="*/ 68 w 101"/>
                <a:gd name="T31" fmla="*/ 64 h 111"/>
                <a:gd name="T32" fmla="*/ 65 w 101"/>
                <a:gd name="T33" fmla="*/ 62 h 111"/>
                <a:gd name="T34" fmla="*/ 55 w 101"/>
                <a:gd name="T35" fmla="*/ 98 h 111"/>
                <a:gd name="T36" fmla="*/ 41 w 101"/>
                <a:gd name="T37" fmla="*/ 108 h 111"/>
                <a:gd name="T38" fmla="*/ 32 w 101"/>
                <a:gd name="T39" fmla="*/ 111 h 111"/>
                <a:gd name="T40" fmla="*/ 16 w 101"/>
                <a:gd name="T41" fmla="*/ 105 h 111"/>
                <a:gd name="T42" fmla="*/ 15 w 101"/>
                <a:gd name="T43" fmla="*/ 102 h 111"/>
                <a:gd name="T44" fmla="*/ 3 w 101"/>
                <a:gd name="T45" fmla="*/ 102 h 111"/>
                <a:gd name="T46" fmla="*/ 3 w 101"/>
                <a:gd name="T47" fmla="*/ 99 h 111"/>
                <a:gd name="T48" fmla="*/ 1 w 101"/>
                <a:gd name="T49" fmla="*/ 99 h 111"/>
                <a:gd name="T50" fmla="*/ 1 w 101"/>
                <a:gd name="T51" fmla="*/ 96 h 111"/>
                <a:gd name="T52" fmla="*/ 0 w 101"/>
                <a:gd name="T53" fmla="*/ 96 h 111"/>
                <a:gd name="T54" fmla="*/ 0 w 101"/>
                <a:gd name="T55" fmla="*/ 95 h 111"/>
                <a:gd name="T56" fmla="*/ 4 w 101"/>
                <a:gd name="T57" fmla="*/ 92 h 111"/>
                <a:gd name="T58" fmla="*/ 6 w 101"/>
                <a:gd name="T59" fmla="*/ 89 h 111"/>
                <a:gd name="T60" fmla="*/ 3 w 101"/>
                <a:gd name="T61" fmla="*/ 89 h 111"/>
                <a:gd name="T62" fmla="*/ 3 w 101"/>
                <a:gd name="T63" fmla="*/ 87 h 111"/>
                <a:gd name="T64" fmla="*/ 4 w 101"/>
                <a:gd name="T65" fmla="*/ 84 h 111"/>
                <a:gd name="T66" fmla="*/ 7 w 101"/>
                <a:gd name="T67" fmla="*/ 84 h 111"/>
                <a:gd name="T68" fmla="*/ 7 w 101"/>
                <a:gd name="T69" fmla="*/ 83 h 111"/>
                <a:gd name="T70" fmla="*/ 6 w 101"/>
                <a:gd name="T71" fmla="*/ 83 h 111"/>
                <a:gd name="T72" fmla="*/ 7 w 101"/>
                <a:gd name="T73" fmla="*/ 78 h 111"/>
                <a:gd name="T74" fmla="*/ 10 w 101"/>
                <a:gd name="T75" fmla="*/ 77 h 111"/>
                <a:gd name="T76" fmla="*/ 12 w 101"/>
                <a:gd name="T77" fmla="*/ 77 h 111"/>
                <a:gd name="T78" fmla="*/ 12 w 101"/>
                <a:gd name="T79" fmla="*/ 75 h 111"/>
                <a:gd name="T80" fmla="*/ 21 w 101"/>
                <a:gd name="T81" fmla="*/ 62 h 111"/>
                <a:gd name="T82" fmla="*/ 21 w 101"/>
                <a:gd name="T83" fmla="*/ 61 h 111"/>
                <a:gd name="T84" fmla="*/ 22 w 101"/>
                <a:gd name="T85" fmla="*/ 61 h 111"/>
                <a:gd name="T86" fmla="*/ 34 w 101"/>
                <a:gd name="T87" fmla="*/ 58 h 111"/>
                <a:gd name="T88" fmla="*/ 56 w 101"/>
                <a:gd name="T89" fmla="*/ 38 h 111"/>
                <a:gd name="T90" fmla="*/ 64 w 101"/>
                <a:gd name="T91" fmla="*/ 22 h 111"/>
                <a:gd name="T92" fmla="*/ 69 w 101"/>
                <a:gd name="T93" fmla="*/ 18 h 111"/>
                <a:gd name="T94" fmla="*/ 72 w 101"/>
                <a:gd name="T95" fmla="*/ 9 h 111"/>
                <a:gd name="T96" fmla="*/ 80 w 101"/>
                <a:gd name="T9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 h="111">
                  <a:moveTo>
                    <a:pt x="80" y="0"/>
                  </a:moveTo>
                  <a:lnTo>
                    <a:pt x="87" y="12"/>
                  </a:lnTo>
                  <a:lnTo>
                    <a:pt x="95" y="6"/>
                  </a:lnTo>
                  <a:lnTo>
                    <a:pt x="96" y="6"/>
                  </a:lnTo>
                  <a:lnTo>
                    <a:pt x="98" y="7"/>
                  </a:lnTo>
                  <a:lnTo>
                    <a:pt x="101" y="9"/>
                  </a:lnTo>
                  <a:lnTo>
                    <a:pt x="101" y="10"/>
                  </a:lnTo>
                  <a:lnTo>
                    <a:pt x="99" y="13"/>
                  </a:lnTo>
                  <a:lnTo>
                    <a:pt x="101" y="22"/>
                  </a:lnTo>
                  <a:lnTo>
                    <a:pt x="90" y="40"/>
                  </a:lnTo>
                  <a:lnTo>
                    <a:pt x="83" y="46"/>
                  </a:lnTo>
                  <a:lnTo>
                    <a:pt x="81" y="55"/>
                  </a:lnTo>
                  <a:lnTo>
                    <a:pt x="86" y="59"/>
                  </a:lnTo>
                  <a:lnTo>
                    <a:pt x="86" y="61"/>
                  </a:lnTo>
                  <a:lnTo>
                    <a:pt x="77" y="56"/>
                  </a:lnTo>
                  <a:lnTo>
                    <a:pt x="68" y="64"/>
                  </a:lnTo>
                  <a:lnTo>
                    <a:pt x="65" y="62"/>
                  </a:lnTo>
                  <a:lnTo>
                    <a:pt x="55" y="98"/>
                  </a:lnTo>
                  <a:lnTo>
                    <a:pt x="41" y="108"/>
                  </a:lnTo>
                  <a:lnTo>
                    <a:pt x="32" y="111"/>
                  </a:lnTo>
                  <a:lnTo>
                    <a:pt x="16" y="105"/>
                  </a:lnTo>
                  <a:lnTo>
                    <a:pt x="15" y="102"/>
                  </a:lnTo>
                  <a:lnTo>
                    <a:pt x="3" y="102"/>
                  </a:lnTo>
                  <a:lnTo>
                    <a:pt x="3" y="99"/>
                  </a:lnTo>
                  <a:lnTo>
                    <a:pt x="1" y="99"/>
                  </a:lnTo>
                  <a:lnTo>
                    <a:pt x="1" y="96"/>
                  </a:lnTo>
                  <a:lnTo>
                    <a:pt x="0" y="96"/>
                  </a:lnTo>
                  <a:lnTo>
                    <a:pt x="0" y="95"/>
                  </a:lnTo>
                  <a:lnTo>
                    <a:pt x="4" y="92"/>
                  </a:lnTo>
                  <a:lnTo>
                    <a:pt x="6" y="89"/>
                  </a:lnTo>
                  <a:lnTo>
                    <a:pt x="3" y="89"/>
                  </a:lnTo>
                  <a:lnTo>
                    <a:pt x="3" y="87"/>
                  </a:lnTo>
                  <a:lnTo>
                    <a:pt x="4" y="84"/>
                  </a:lnTo>
                  <a:lnTo>
                    <a:pt x="7" y="84"/>
                  </a:lnTo>
                  <a:lnTo>
                    <a:pt x="7" y="83"/>
                  </a:lnTo>
                  <a:lnTo>
                    <a:pt x="6" y="83"/>
                  </a:lnTo>
                  <a:lnTo>
                    <a:pt x="7" y="78"/>
                  </a:lnTo>
                  <a:lnTo>
                    <a:pt x="10" y="77"/>
                  </a:lnTo>
                  <a:lnTo>
                    <a:pt x="12" y="77"/>
                  </a:lnTo>
                  <a:lnTo>
                    <a:pt x="12" y="75"/>
                  </a:lnTo>
                  <a:lnTo>
                    <a:pt x="21" y="62"/>
                  </a:lnTo>
                  <a:lnTo>
                    <a:pt x="21" y="61"/>
                  </a:lnTo>
                  <a:lnTo>
                    <a:pt x="22" y="61"/>
                  </a:lnTo>
                  <a:lnTo>
                    <a:pt x="34" y="58"/>
                  </a:lnTo>
                  <a:lnTo>
                    <a:pt x="56" y="38"/>
                  </a:lnTo>
                  <a:lnTo>
                    <a:pt x="64" y="22"/>
                  </a:lnTo>
                  <a:lnTo>
                    <a:pt x="69" y="18"/>
                  </a:lnTo>
                  <a:lnTo>
                    <a:pt x="72" y="9"/>
                  </a:lnTo>
                  <a:lnTo>
                    <a:pt x="8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0" name="Stewart Island">
              <a:extLst>
                <a:ext uri="{FF2B5EF4-FFF2-40B4-BE49-F238E27FC236}">
                  <a16:creationId xmlns:a16="http://schemas.microsoft.com/office/drawing/2014/main" id="{9F8B80BF-0022-490C-E88A-A9230AA685FF}"/>
                </a:ext>
              </a:extLst>
            </p:cNvPr>
            <p:cNvSpPr>
              <a:spLocks/>
            </p:cNvSpPr>
            <p:nvPr/>
          </p:nvSpPr>
          <p:spPr bwMode="auto">
            <a:xfrm>
              <a:off x="9777888" y="5828859"/>
              <a:ext cx="16264" cy="21685"/>
            </a:xfrm>
            <a:custGeom>
              <a:avLst/>
              <a:gdLst>
                <a:gd name="T0" fmla="*/ 3 w 9"/>
                <a:gd name="T1" fmla="*/ 0 h 12"/>
                <a:gd name="T2" fmla="*/ 6 w 9"/>
                <a:gd name="T3" fmla="*/ 2 h 12"/>
                <a:gd name="T4" fmla="*/ 9 w 9"/>
                <a:gd name="T5" fmla="*/ 9 h 12"/>
                <a:gd name="T6" fmla="*/ 8 w 9"/>
                <a:gd name="T7" fmla="*/ 9 h 12"/>
                <a:gd name="T8" fmla="*/ 0 w 9"/>
                <a:gd name="T9" fmla="*/ 12 h 12"/>
                <a:gd name="T10" fmla="*/ 3 w 9"/>
                <a:gd name="T11" fmla="*/ 2 h 12"/>
                <a:gd name="T12" fmla="*/ 3 w 9"/>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9" h="12">
                  <a:moveTo>
                    <a:pt x="3" y="0"/>
                  </a:moveTo>
                  <a:lnTo>
                    <a:pt x="6" y="2"/>
                  </a:lnTo>
                  <a:lnTo>
                    <a:pt x="9" y="9"/>
                  </a:lnTo>
                  <a:lnTo>
                    <a:pt x="8" y="9"/>
                  </a:lnTo>
                  <a:lnTo>
                    <a:pt x="0" y="12"/>
                  </a:lnTo>
                  <a:lnTo>
                    <a:pt x="3" y="2"/>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1" name="Auckland Island">
              <a:extLst>
                <a:ext uri="{FF2B5EF4-FFF2-40B4-BE49-F238E27FC236}">
                  <a16:creationId xmlns:a16="http://schemas.microsoft.com/office/drawing/2014/main" id="{18A149CC-0EFF-9230-A018-632C2ED09213}"/>
                </a:ext>
              </a:extLst>
            </p:cNvPr>
            <p:cNvSpPr>
              <a:spLocks/>
            </p:cNvSpPr>
            <p:nvPr/>
          </p:nvSpPr>
          <p:spPr bwMode="auto">
            <a:xfrm>
              <a:off x="9739941" y="5969810"/>
              <a:ext cx="10843" cy="12650"/>
            </a:xfrm>
            <a:custGeom>
              <a:avLst/>
              <a:gdLst>
                <a:gd name="T0" fmla="*/ 3 w 6"/>
                <a:gd name="T1" fmla="*/ 0 h 7"/>
                <a:gd name="T2" fmla="*/ 5 w 6"/>
                <a:gd name="T3" fmla="*/ 0 h 7"/>
                <a:gd name="T4" fmla="*/ 5 w 6"/>
                <a:gd name="T5" fmla="*/ 1 h 7"/>
                <a:gd name="T6" fmla="*/ 6 w 6"/>
                <a:gd name="T7" fmla="*/ 6 h 7"/>
                <a:gd name="T8" fmla="*/ 5 w 6"/>
                <a:gd name="T9" fmla="*/ 6 h 7"/>
                <a:gd name="T10" fmla="*/ 2 w 6"/>
                <a:gd name="T11" fmla="*/ 7 h 7"/>
                <a:gd name="T12" fmla="*/ 0 w 6"/>
                <a:gd name="T13" fmla="*/ 7 h 7"/>
                <a:gd name="T14" fmla="*/ 0 w 6"/>
                <a:gd name="T15" fmla="*/ 6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lnTo>
                    <a:pt x="5" y="0"/>
                  </a:lnTo>
                  <a:lnTo>
                    <a:pt x="5" y="1"/>
                  </a:lnTo>
                  <a:lnTo>
                    <a:pt x="6" y="6"/>
                  </a:lnTo>
                  <a:lnTo>
                    <a:pt x="5" y="6"/>
                  </a:lnTo>
                  <a:lnTo>
                    <a:pt x="2" y="7"/>
                  </a:lnTo>
                  <a:lnTo>
                    <a:pt x="0" y="7"/>
                  </a:lnTo>
                  <a:lnTo>
                    <a:pt x="0" y="6"/>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2" name="New Caledonia">
              <a:extLst>
                <a:ext uri="{FF2B5EF4-FFF2-40B4-BE49-F238E27FC236}">
                  <a16:creationId xmlns:a16="http://schemas.microsoft.com/office/drawing/2014/main" id="{0059F19C-CF2C-D110-319F-EA3247DF9078}"/>
                </a:ext>
              </a:extLst>
            </p:cNvPr>
            <p:cNvSpPr>
              <a:spLocks/>
            </p:cNvSpPr>
            <p:nvPr/>
          </p:nvSpPr>
          <p:spPr bwMode="auto">
            <a:xfrm>
              <a:off x="9694765" y="5071700"/>
              <a:ext cx="97581" cy="61440"/>
            </a:xfrm>
            <a:custGeom>
              <a:avLst/>
              <a:gdLst/>
              <a:ahLst/>
              <a:cxnLst/>
              <a:rect l="l" t="t" r="r" b="b"/>
              <a:pathLst>
                <a:path w="98359" h="61930">
                  <a:moveTo>
                    <a:pt x="89251" y="29144"/>
                  </a:moveTo>
                  <a:lnTo>
                    <a:pt x="98359" y="29144"/>
                  </a:lnTo>
                  <a:lnTo>
                    <a:pt x="98359" y="38252"/>
                  </a:lnTo>
                  <a:lnTo>
                    <a:pt x="94716" y="40073"/>
                  </a:lnTo>
                  <a:lnTo>
                    <a:pt x="94716" y="38252"/>
                  </a:lnTo>
                  <a:lnTo>
                    <a:pt x="89251" y="32787"/>
                  </a:lnTo>
                  <a:close/>
                  <a:moveTo>
                    <a:pt x="71036" y="12750"/>
                  </a:moveTo>
                  <a:lnTo>
                    <a:pt x="72858" y="12750"/>
                  </a:lnTo>
                  <a:lnTo>
                    <a:pt x="78322" y="16393"/>
                  </a:lnTo>
                  <a:lnTo>
                    <a:pt x="81965" y="27322"/>
                  </a:lnTo>
                  <a:lnTo>
                    <a:pt x="78322" y="27322"/>
                  </a:lnTo>
                  <a:lnTo>
                    <a:pt x="72858" y="23679"/>
                  </a:lnTo>
                  <a:lnTo>
                    <a:pt x="71036" y="23679"/>
                  </a:lnTo>
                  <a:close/>
                  <a:moveTo>
                    <a:pt x="0" y="0"/>
                  </a:moveTo>
                  <a:lnTo>
                    <a:pt x="5465" y="1822"/>
                  </a:lnTo>
                  <a:lnTo>
                    <a:pt x="9108" y="1822"/>
                  </a:lnTo>
                  <a:lnTo>
                    <a:pt x="71038" y="54644"/>
                  </a:lnTo>
                  <a:lnTo>
                    <a:pt x="71038" y="56466"/>
                  </a:lnTo>
                  <a:lnTo>
                    <a:pt x="65574" y="61930"/>
                  </a:lnTo>
                  <a:lnTo>
                    <a:pt x="49180" y="51001"/>
                  </a:lnTo>
                  <a:lnTo>
                    <a:pt x="25501" y="32787"/>
                  </a:lnTo>
                  <a:lnTo>
                    <a:pt x="16394" y="29144"/>
                  </a:lnTo>
                  <a:lnTo>
                    <a:pt x="0" y="10929"/>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3" name="Australia - Mainland">
              <a:extLst>
                <a:ext uri="{FF2B5EF4-FFF2-40B4-BE49-F238E27FC236}">
                  <a16:creationId xmlns:a16="http://schemas.microsoft.com/office/drawing/2014/main" id="{ADBA5E28-99E9-3AF2-EC24-A22BCDA3ACB1}"/>
                </a:ext>
              </a:extLst>
            </p:cNvPr>
            <p:cNvSpPr>
              <a:spLocks/>
            </p:cNvSpPr>
            <p:nvPr/>
          </p:nvSpPr>
          <p:spPr bwMode="auto">
            <a:xfrm>
              <a:off x="8498488" y="4838588"/>
              <a:ext cx="955937" cy="749932"/>
            </a:xfrm>
            <a:custGeom>
              <a:avLst/>
              <a:gdLst>
                <a:gd name="T0" fmla="*/ 391 w 529"/>
                <a:gd name="T1" fmla="*/ 16 h 415"/>
                <a:gd name="T2" fmla="*/ 410 w 529"/>
                <a:gd name="T3" fmla="*/ 49 h 415"/>
                <a:gd name="T4" fmla="*/ 432 w 529"/>
                <a:gd name="T5" fmla="*/ 105 h 415"/>
                <a:gd name="T6" fmla="*/ 449 w 529"/>
                <a:gd name="T7" fmla="*/ 117 h 415"/>
                <a:gd name="T8" fmla="*/ 467 w 529"/>
                <a:gd name="T9" fmla="*/ 136 h 415"/>
                <a:gd name="T10" fmla="*/ 483 w 529"/>
                <a:gd name="T11" fmla="*/ 156 h 415"/>
                <a:gd name="T12" fmla="*/ 492 w 529"/>
                <a:gd name="T13" fmla="*/ 160 h 415"/>
                <a:gd name="T14" fmla="*/ 529 w 529"/>
                <a:gd name="T15" fmla="*/ 252 h 415"/>
                <a:gd name="T16" fmla="*/ 492 w 529"/>
                <a:gd name="T17" fmla="*/ 351 h 415"/>
                <a:gd name="T18" fmla="*/ 474 w 529"/>
                <a:gd name="T19" fmla="*/ 393 h 415"/>
                <a:gd name="T20" fmla="*/ 438 w 529"/>
                <a:gd name="T21" fmla="*/ 409 h 415"/>
                <a:gd name="T22" fmla="*/ 422 w 529"/>
                <a:gd name="T23" fmla="*/ 400 h 415"/>
                <a:gd name="T24" fmla="*/ 412 w 529"/>
                <a:gd name="T25" fmla="*/ 399 h 415"/>
                <a:gd name="T26" fmla="*/ 370 w 529"/>
                <a:gd name="T27" fmla="*/ 402 h 415"/>
                <a:gd name="T28" fmla="*/ 346 w 529"/>
                <a:gd name="T29" fmla="*/ 366 h 415"/>
                <a:gd name="T30" fmla="*/ 330 w 529"/>
                <a:gd name="T31" fmla="*/ 344 h 415"/>
                <a:gd name="T32" fmla="*/ 309 w 529"/>
                <a:gd name="T33" fmla="*/ 351 h 415"/>
                <a:gd name="T34" fmla="*/ 323 w 529"/>
                <a:gd name="T35" fmla="*/ 323 h 415"/>
                <a:gd name="T36" fmla="*/ 305 w 529"/>
                <a:gd name="T37" fmla="*/ 334 h 415"/>
                <a:gd name="T38" fmla="*/ 287 w 529"/>
                <a:gd name="T39" fmla="*/ 338 h 415"/>
                <a:gd name="T40" fmla="*/ 274 w 529"/>
                <a:gd name="T41" fmla="*/ 314 h 415"/>
                <a:gd name="T42" fmla="*/ 252 w 529"/>
                <a:gd name="T43" fmla="*/ 302 h 415"/>
                <a:gd name="T44" fmla="*/ 195 w 529"/>
                <a:gd name="T45" fmla="*/ 302 h 415"/>
                <a:gd name="T46" fmla="*/ 90 w 529"/>
                <a:gd name="T47" fmla="*/ 331 h 415"/>
                <a:gd name="T48" fmla="*/ 63 w 529"/>
                <a:gd name="T49" fmla="*/ 350 h 415"/>
                <a:gd name="T50" fmla="*/ 40 w 529"/>
                <a:gd name="T51" fmla="*/ 345 h 415"/>
                <a:gd name="T52" fmla="*/ 31 w 529"/>
                <a:gd name="T53" fmla="*/ 325 h 415"/>
                <a:gd name="T54" fmla="*/ 13 w 529"/>
                <a:gd name="T55" fmla="*/ 240 h 415"/>
                <a:gd name="T56" fmla="*/ 4 w 529"/>
                <a:gd name="T57" fmla="*/ 215 h 415"/>
                <a:gd name="T58" fmla="*/ 10 w 529"/>
                <a:gd name="T59" fmla="*/ 215 h 415"/>
                <a:gd name="T60" fmla="*/ 6 w 529"/>
                <a:gd name="T61" fmla="*/ 159 h 415"/>
                <a:gd name="T62" fmla="*/ 17 w 529"/>
                <a:gd name="T63" fmla="*/ 153 h 415"/>
                <a:gd name="T64" fmla="*/ 49 w 529"/>
                <a:gd name="T65" fmla="*/ 133 h 415"/>
                <a:gd name="T66" fmla="*/ 83 w 529"/>
                <a:gd name="T67" fmla="*/ 126 h 415"/>
                <a:gd name="T68" fmla="*/ 115 w 529"/>
                <a:gd name="T69" fmla="*/ 92 h 415"/>
                <a:gd name="T70" fmla="*/ 127 w 529"/>
                <a:gd name="T71" fmla="*/ 77 h 415"/>
                <a:gd name="T72" fmla="*/ 135 w 529"/>
                <a:gd name="T73" fmla="*/ 76 h 415"/>
                <a:gd name="T74" fmla="*/ 145 w 529"/>
                <a:gd name="T75" fmla="*/ 76 h 415"/>
                <a:gd name="T76" fmla="*/ 154 w 529"/>
                <a:gd name="T77" fmla="*/ 59 h 415"/>
                <a:gd name="T78" fmla="*/ 161 w 529"/>
                <a:gd name="T79" fmla="*/ 52 h 415"/>
                <a:gd name="T80" fmla="*/ 167 w 529"/>
                <a:gd name="T81" fmla="*/ 44 h 415"/>
                <a:gd name="T82" fmla="*/ 194 w 529"/>
                <a:gd name="T83" fmla="*/ 61 h 415"/>
                <a:gd name="T84" fmla="*/ 215 w 529"/>
                <a:gd name="T85" fmla="*/ 56 h 415"/>
                <a:gd name="T86" fmla="*/ 220 w 529"/>
                <a:gd name="T87" fmla="*/ 34 h 415"/>
                <a:gd name="T88" fmla="*/ 231 w 529"/>
                <a:gd name="T89" fmla="*/ 24 h 415"/>
                <a:gd name="T90" fmla="*/ 244 w 529"/>
                <a:gd name="T91" fmla="*/ 10 h 415"/>
                <a:gd name="T92" fmla="*/ 247 w 529"/>
                <a:gd name="T93" fmla="*/ 9 h 415"/>
                <a:gd name="T94" fmla="*/ 258 w 529"/>
                <a:gd name="T95" fmla="*/ 10 h 415"/>
                <a:gd name="T96" fmla="*/ 287 w 529"/>
                <a:gd name="T97" fmla="*/ 22 h 415"/>
                <a:gd name="T98" fmla="*/ 303 w 529"/>
                <a:gd name="T99" fmla="*/ 18 h 415"/>
                <a:gd name="T100" fmla="*/ 305 w 529"/>
                <a:gd name="T101" fmla="*/ 30 h 415"/>
                <a:gd name="T102" fmla="*/ 301 w 529"/>
                <a:gd name="T103" fmla="*/ 38 h 415"/>
                <a:gd name="T104" fmla="*/ 293 w 529"/>
                <a:gd name="T105" fmla="*/ 59 h 415"/>
                <a:gd name="T106" fmla="*/ 315 w 529"/>
                <a:gd name="T107" fmla="*/ 70 h 415"/>
                <a:gd name="T108" fmla="*/ 352 w 529"/>
                <a:gd name="T109" fmla="*/ 95 h 415"/>
                <a:gd name="T110" fmla="*/ 373 w 529"/>
                <a:gd name="T111" fmla="*/ 2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15">
                  <a:moveTo>
                    <a:pt x="385" y="0"/>
                  </a:moveTo>
                  <a:lnTo>
                    <a:pt x="386" y="0"/>
                  </a:lnTo>
                  <a:lnTo>
                    <a:pt x="388" y="4"/>
                  </a:lnTo>
                  <a:lnTo>
                    <a:pt x="388" y="15"/>
                  </a:lnTo>
                  <a:lnTo>
                    <a:pt x="391" y="16"/>
                  </a:lnTo>
                  <a:lnTo>
                    <a:pt x="391" y="22"/>
                  </a:lnTo>
                  <a:lnTo>
                    <a:pt x="395" y="27"/>
                  </a:lnTo>
                  <a:lnTo>
                    <a:pt x="401" y="49"/>
                  </a:lnTo>
                  <a:lnTo>
                    <a:pt x="403" y="50"/>
                  </a:lnTo>
                  <a:lnTo>
                    <a:pt x="410" y="49"/>
                  </a:lnTo>
                  <a:lnTo>
                    <a:pt x="412" y="49"/>
                  </a:lnTo>
                  <a:lnTo>
                    <a:pt x="421" y="59"/>
                  </a:lnTo>
                  <a:lnTo>
                    <a:pt x="424" y="80"/>
                  </a:lnTo>
                  <a:lnTo>
                    <a:pt x="428" y="84"/>
                  </a:lnTo>
                  <a:lnTo>
                    <a:pt x="432" y="105"/>
                  </a:lnTo>
                  <a:lnTo>
                    <a:pt x="434" y="107"/>
                  </a:lnTo>
                  <a:lnTo>
                    <a:pt x="435" y="113"/>
                  </a:lnTo>
                  <a:lnTo>
                    <a:pt x="441" y="116"/>
                  </a:lnTo>
                  <a:lnTo>
                    <a:pt x="449" y="116"/>
                  </a:lnTo>
                  <a:lnTo>
                    <a:pt x="449" y="117"/>
                  </a:lnTo>
                  <a:lnTo>
                    <a:pt x="452" y="123"/>
                  </a:lnTo>
                  <a:lnTo>
                    <a:pt x="458" y="124"/>
                  </a:lnTo>
                  <a:lnTo>
                    <a:pt x="467" y="130"/>
                  </a:lnTo>
                  <a:lnTo>
                    <a:pt x="468" y="130"/>
                  </a:lnTo>
                  <a:lnTo>
                    <a:pt x="467" y="136"/>
                  </a:lnTo>
                  <a:lnTo>
                    <a:pt x="469" y="138"/>
                  </a:lnTo>
                  <a:lnTo>
                    <a:pt x="475" y="147"/>
                  </a:lnTo>
                  <a:lnTo>
                    <a:pt x="478" y="160"/>
                  </a:lnTo>
                  <a:lnTo>
                    <a:pt x="480" y="160"/>
                  </a:lnTo>
                  <a:lnTo>
                    <a:pt x="483" y="156"/>
                  </a:lnTo>
                  <a:lnTo>
                    <a:pt x="489" y="162"/>
                  </a:lnTo>
                  <a:lnTo>
                    <a:pt x="490" y="160"/>
                  </a:lnTo>
                  <a:lnTo>
                    <a:pt x="490" y="159"/>
                  </a:lnTo>
                  <a:lnTo>
                    <a:pt x="492" y="159"/>
                  </a:lnTo>
                  <a:lnTo>
                    <a:pt x="492" y="160"/>
                  </a:lnTo>
                  <a:lnTo>
                    <a:pt x="495" y="175"/>
                  </a:lnTo>
                  <a:lnTo>
                    <a:pt x="512" y="191"/>
                  </a:lnTo>
                  <a:lnTo>
                    <a:pt x="523" y="209"/>
                  </a:lnTo>
                  <a:lnTo>
                    <a:pt x="523" y="228"/>
                  </a:lnTo>
                  <a:lnTo>
                    <a:pt x="529" y="252"/>
                  </a:lnTo>
                  <a:lnTo>
                    <a:pt x="521" y="291"/>
                  </a:lnTo>
                  <a:lnTo>
                    <a:pt x="514" y="307"/>
                  </a:lnTo>
                  <a:lnTo>
                    <a:pt x="499" y="326"/>
                  </a:lnTo>
                  <a:lnTo>
                    <a:pt x="501" y="329"/>
                  </a:lnTo>
                  <a:lnTo>
                    <a:pt x="492" y="351"/>
                  </a:lnTo>
                  <a:lnTo>
                    <a:pt x="490" y="351"/>
                  </a:lnTo>
                  <a:lnTo>
                    <a:pt x="486" y="360"/>
                  </a:lnTo>
                  <a:lnTo>
                    <a:pt x="483" y="388"/>
                  </a:lnTo>
                  <a:lnTo>
                    <a:pt x="481" y="388"/>
                  </a:lnTo>
                  <a:lnTo>
                    <a:pt x="474" y="393"/>
                  </a:lnTo>
                  <a:lnTo>
                    <a:pt x="458" y="394"/>
                  </a:lnTo>
                  <a:lnTo>
                    <a:pt x="441" y="408"/>
                  </a:lnTo>
                  <a:lnTo>
                    <a:pt x="434" y="408"/>
                  </a:lnTo>
                  <a:lnTo>
                    <a:pt x="434" y="409"/>
                  </a:lnTo>
                  <a:lnTo>
                    <a:pt x="438" y="409"/>
                  </a:lnTo>
                  <a:lnTo>
                    <a:pt x="438" y="411"/>
                  </a:lnTo>
                  <a:lnTo>
                    <a:pt x="435" y="415"/>
                  </a:lnTo>
                  <a:lnTo>
                    <a:pt x="434" y="415"/>
                  </a:lnTo>
                  <a:lnTo>
                    <a:pt x="424" y="405"/>
                  </a:lnTo>
                  <a:lnTo>
                    <a:pt x="422" y="400"/>
                  </a:lnTo>
                  <a:lnTo>
                    <a:pt x="415" y="402"/>
                  </a:lnTo>
                  <a:lnTo>
                    <a:pt x="416" y="397"/>
                  </a:lnTo>
                  <a:lnTo>
                    <a:pt x="415" y="394"/>
                  </a:lnTo>
                  <a:lnTo>
                    <a:pt x="410" y="397"/>
                  </a:lnTo>
                  <a:lnTo>
                    <a:pt x="412" y="399"/>
                  </a:lnTo>
                  <a:lnTo>
                    <a:pt x="395" y="409"/>
                  </a:lnTo>
                  <a:lnTo>
                    <a:pt x="384" y="403"/>
                  </a:lnTo>
                  <a:lnTo>
                    <a:pt x="375" y="400"/>
                  </a:lnTo>
                  <a:lnTo>
                    <a:pt x="372" y="402"/>
                  </a:lnTo>
                  <a:lnTo>
                    <a:pt x="370" y="402"/>
                  </a:lnTo>
                  <a:lnTo>
                    <a:pt x="357" y="394"/>
                  </a:lnTo>
                  <a:lnTo>
                    <a:pt x="351" y="387"/>
                  </a:lnTo>
                  <a:lnTo>
                    <a:pt x="346" y="379"/>
                  </a:lnTo>
                  <a:lnTo>
                    <a:pt x="348" y="372"/>
                  </a:lnTo>
                  <a:lnTo>
                    <a:pt x="346" y="366"/>
                  </a:lnTo>
                  <a:lnTo>
                    <a:pt x="341" y="359"/>
                  </a:lnTo>
                  <a:lnTo>
                    <a:pt x="342" y="354"/>
                  </a:lnTo>
                  <a:lnTo>
                    <a:pt x="327" y="357"/>
                  </a:lnTo>
                  <a:lnTo>
                    <a:pt x="330" y="351"/>
                  </a:lnTo>
                  <a:lnTo>
                    <a:pt x="330" y="344"/>
                  </a:lnTo>
                  <a:lnTo>
                    <a:pt x="326" y="336"/>
                  </a:lnTo>
                  <a:lnTo>
                    <a:pt x="321" y="350"/>
                  </a:lnTo>
                  <a:lnTo>
                    <a:pt x="318" y="350"/>
                  </a:lnTo>
                  <a:lnTo>
                    <a:pt x="314" y="351"/>
                  </a:lnTo>
                  <a:lnTo>
                    <a:pt x="309" y="351"/>
                  </a:lnTo>
                  <a:lnTo>
                    <a:pt x="309" y="350"/>
                  </a:lnTo>
                  <a:lnTo>
                    <a:pt x="311" y="345"/>
                  </a:lnTo>
                  <a:lnTo>
                    <a:pt x="317" y="344"/>
                  </a:lnTo>
                  <a:lnTo>
                    <a:pt x="317" y="334"/>
                  </a:lnTo>
                  <a:lnTo>
                    <a:pt x="323" y="323"/>
                  </a:lnTo>
                  <a:lnTo>
                    <a:pt x="324" y="317"/>
                  </a:lnTo>
                  <a:lnTo>
                    <a:pt x="323" y="311"/>
                  </a:lnTo>
                  <a:lnTo>
                    <a:pt x="321" y="314"/>
                  </a:lnTo>
                  <a:lnTo>
                    <a:pt x="315" y="328"/>
                  </a:lnTo>
                  <a:lnTo>
                    <a:pt x="305" y="334"/>
                  </a:lnTo>
                  <a:lnTo>
                    <a:pt x="299" y="341"/>
                  </a:lnTo>
                  <a:lnTo>
                    <a:pt x="299" y="348"/>
                  </a:lnTo>
                  <a:lnTo>
                    <a:pt x="298" y="348"/>
                  </a:lnTo>
                  <a:lnTo>
                    <a:pt x="287" y="342"/>
                  </a:lnTo>
                  <a:lnTo>
                    <a:pt x="287" y="338"/>
                  </a:lnTo>
                  <a:lnTo>
                    <a:pt x="290" y="339"/>
                  </a:lnTo>
                  <a:lnTo>
                    <a:pt x="290" y="336"/>
                  </a:lnTo>
                  <a:lnTo>
                    <a:pt x="281" y="319"/>
                  </a:lnTo>
                  <a:lnTo>
                    <a:pt x="274" y="316"/>
                  </a:lnTo>
                  <a:lnTo>
                    <a:pt x="274" y="314"/>
                  </a:lnTo>
                  <a:lnTo>
                    <a:pt x="275" y="310"/>
                  </a:lnTo>
                  <a:lnTo>
                    <a:pt x="265" y="304"/>
                  </a:lnTo>
                  <a:lnTo>
                    <a:pt x="265" y="305"/>
                  </a:lnTo>
                  <a:lnTo>
                    <a:pt x="255" y="301"/>
                  </a:lnTo>
                  <a:lnTo>
                    <a:pt x="252" y="302"/>
                  </a:lnTo>
                  <a:lnTo>
                    <a:pt x="250" y="302"/>
                  </a:lnTo>
                  <a:lnTo>
                    <a:pt x="243" y="295"/>
                  </a:lnTo>
                  <a:lnTo>
                    <a:pt x="232" y="293"/>
                  </a:lnTo>
                  <a:lnTo>
                    <a:pt x="210" y="295"/>
                  </a:lnTo>
                  <a:lnTo>
                    <a:pt x="195" y="302"/>
                  </a:lnTo>
                  <a:lnTo>
                    <a:pt x="170" y="305"/>
                  </a:lnTo>
                  <a:lnTo>
                    <a:pt x="143" y="317"/>
                  </a:lnTo>
                  <a:lnTo>
                    <a:pt x="137" y="328"/>
                  </a:lnTo>
                  <a:lnTo>
                    <a:pt x="137" y="329"/>
                  </a:lnTo>
                  <a:lnTo>
                    <a:pt x="90" y="331"/>
                  </a:lnTo>
                  <a:lnTo>
                    <a:pt x="83" y="338"/>
                  </a:lnTo>
                  <a:lnTo>
                    <a:pt x="75" y="339"/>
                  </a:lnTo>
                  <a:lnTo>
                    <a:pt x="68" y="347"/>
                  </a:lnTo>
                  <a:lnTo>
                    <a:pt x="63" y="347"/>
                  </a:lnTo>
                  <a:lnTo>
                    <a:pt x="63" y="350"/>
                  </a:lnTo>
                  <a:lnTo>
                    <a:pt x="59" y="350"/>
                  </a:lnTo>
                  <a:lnTo>
                    <a:pt x="54" y="348"/>
                  </a:lnTo>
                  <a:lnTo>
                    <a:pt x="51" y="348"/>
                  </a:lnTo>
                  <a:lnTo>
                    <a:pt x="43" y="345"/>
                  </a:lnTo>
                  <a:lnTo>
                    <a:pt x="40" y="345"/>
                  </a:lnTo>
                  <a:lnTo>
                    <a:pt x="31" y="336"/>
                  </a:lnTo>
                  <a:lnTo>
                    <a:pt x="26" y="335"/>
                  </a:lnTo>
                  <a:lnTo>
                    <a:pt x="25" y="335"/>
                  </a:lnTo>
                  <a:lnTo>
                    <a:pt x="25" y="325"/>
                  </a:lnTo>
                  <a:lnTo>
                    <a:pt x="31" y="325"/>
                  </a:lnTo>
                  <a:lnTo>
                    <a:pt x="34" y="317"/>
                  </a:lnTo>
                  <a:lnTo>
                    <a:pt x="34" y="295"/>
                  </a:lnTo>
                  <a:lnTo>
                    <a:pt x="23" y="276"/>
                  </a:lnTo>
                  <a:lnTo>
                    <a:pt x="22" y="258"/>
                  </a:lnTo>
                  <a:lnTo>
                    <a:pt x="13" y="240"/>
                  </a:lnTo>
                  <a:lnTo>
                    <a:pt x="10" y="227"/>
                  </a:lnTo>
                  <a:lnTo>
                    <a:pt x="0" y="215"/>
                  </a:lnTo>
                  <a:lnTo>
                    <a:pt x="0" y="213"/>
                  </a:lnTo>
                  <a:lnTo>
                    <a:pt x="1" y="213"/>
                  </a:lnTo>
                  <a:lnTo>
                    <a:pt x="4" y="215"/>
                  </a:lnTo>
                  <a:lnTo>
                    <a:pt x="7" y="219"/>
                  </a:lnTo>
                  <a:lnTo>
                    <a:pt x="9" y="218"/>
                  </a:lnTo>
                  <a:lnTo>
                    <a:pt x="7" y="212"/>
                  </a:lnTo>
                  <a:lnTo>
                    <a:pt x="9" y="212"/>
                  </a:lnTo>
                  <a:lnTo>
                    <a:pt x="10" y="215"/>
                  </a:lnTo>
                  <a:lnTo>
                    <a:pt x="13" y="212"/>
                  </a:lnTo>
                  <a:lnTo>
                    <a:pt x="3" y="190"/>
                  </a:lnTo>
                  <a:lnTo>
                    <a:pt x="3" y="182"/>
                  </a:lnTo>
                  <a:lnTo>
                    <a:pt x="7" y="173"/>
                  </a:lnTo>
                  <a:lnTo>
                    <a:pt x="6" y="159"/>
                  </a:lnTo>
                  <a:lnTo>
                    <a:pt x="10" y="153"/>
                  </a:lnTo>
                  <a:lnTo>
                    <a:pt x="10" y="150"/>
                  </a:lnTo>
                  <a:lnTo>
                    <a:pt x="11" y="150"/>
                  </a:lnTo>
                  <a:lnTo>
                    <a:pt x="13" y="159"/>
                  </a:lnTo>
                  <a:lnTo>
                    <a:pt x="17" y="153"/>
                  </a:lnTo>
                  <a:lnTo>
                    <a:pt x="17" y="151"/>
                  </a:lnTo>
                  <a:lnTo>
                    <a:pt x="29" y="148"/>
                  </a:lnTo>
                  <a:lnTo>
                    <a:pt x="35" y="141"/>
                  </a:lnTo>
                  <a:lnTo>
                    <a:pt x="46" y="133"/>
                  </a:lnTo>
                  <a:lnTo>
                    <a:pt x="49" y="133"/>
                  </a:lnTo>
                  <a:lnTo>
                    <a:pt x="51" y="135"/>
                  </a:lnTo>
                  <a:lnTo>
                    <a:pt x="57" y="135"/>
                  </a:lnTo>
                  <a:lnTo>
                    <a:pt x="72" y="129"/>
                  </a:lnTo>
                  <a:lnTo>
                    <a:pt x="77" y="126"/>
                  </a:lnTo>
                  <a:lnTo>
                    <a:pt x="83" y="126"/>
                  </a:lnTo>
                  <a:lnTo>
                    <a:pt x="100" y="120"/>
                  </a:lnTo>
                  <a:lnTo>
                    <a:pt x="108" y="114"/>
                  </a:lnTo>
                  <a:lnTo>
                    <a:pt x="112" y="105"/>
                  </a:lnTo>
                  <a:lnTo>
                    <a:pt x="118" y="99"/>
                  </a:lnTo>
                  <a:lnTo>
                    <a:pt x="115" y="92"/>
                  </a:lnTo>
                  <a:lnTo>
                    <a:pt x="117" y="92"/>
                  </a:lnTo>
                  <a:lnTo>
                    <a:pt x="118" y="86"/>
                  </a:lnTo>
                  <a:lnTo>
                    <a:pt x="124" y="81"/>
                  </a:lnTo>
                  <a:lnTo>
                    <a:pt x="126" y="77"/>
                  </a:lnTo>
                  <a:lnTo>
                    <a:pt x="127" y="77"/>
                  </a:lnTo>
                  <a:lnTo>
                    <a:pt x="135" y="90"/>
                  </a:lnTo>
                  <a:lnTo>
                    <a:pt x="135" y="86"/>
                  </a:lnTo>
                  <a:lnTo>
                    <a:pt x="137" y="86"/>
                  </a:lnTo>
                  <a:lnTo>
                    <a:pt x="135" y="80"/>
                  </a:lnTo>
                  <a:lnTo>
                    <a:pt x="135" y="76"/>
                  </a:lnTo>
                  <a:lnTo>
                    <a:pt x="140" y="74"/>
                  </a:lnTo>
                  <a:lnTo>
                    <a:pt x="143" y="79"/>
                  </a:lnTo>
                  <a:lnTo>
                    <a:pt x="146" y="79"/>
                  </a:lnTo>
                  <a:lnTo>
                    <a:pt x="145" y="77"/>
                  </a:lnTo>
                  <a:lnTo>
                    <a:pt x="145" y="76"/>
                  </a:lnTo>
                  <a:lnTo>
                    <a:pt x="148" y="70"/>
                  </a:lnTo>
                  <a:lnTo>
                    <a:pt x="148" y="65"/>
                  </a:lnTo>
                  <a:lnTo>
                    <a:pt x="154" y="64"/>
                  </a:lnTo>
                  <a:lnTo>
                    <a:pt x="152" y="59"/>
                  </a:lnTo>
                  <a:lnTo>
                    <a:pt x="154" y="59"/>
                  </a:lnTo>
                  <a:lnTo>
                    <a:pt x="154" y="58"/>
                  </a:lnTo>
                  <a:lnTo>
                    <a:pt x="157" y="59"/>
                  </a:lnTo>
                  <a:lnTo>
                    <a:pt x="155" y="53"/>
                  </a:lnTo>
                  <a:lnTo>
                    <a:pt x="160" y="53"/>
                  </a:lnTo>
                  <a:lnTo>
                    <a:pt x="161" y="52"/>
                  </a:lnTo>
                  <a:lnTo>
                    <a:pt x="164" y="52"/>
                  </a:lnTo>
                  <a:lnTo>
                    <a:pt x="164" y="53"/>
                  </a:lnTo>
                  <a:lnTo>
                    <a:pt x="166" y="52"/>
                  </a:lnTo>
                  <a:lnTo>
                    <a:pt x="166" y="44"/>
                  </a:lnTo>
                  <a:lnTo>
                    <a:pt x="167" y="44"/>
                  </a:lnTo>
                  <a:lnTo>
                    <a:pt x="169" y="47"/>
                  </a:lnTo>
                  <a:lnTo>
                    <a:pt x="179" y="43"/>
                  </a:lnTo>
                  <a:lnTo>
                    <a:pt x="188" y="46"/>
                  </a:lnTo>
                  <a:lnTo>
                    <a:pt x="197" y="55"/>
                  </a:lnTo>
                  <a:lnTo>
                    <a:pt x="194" y="61"/>
                  </a:lnTo>
                  <a:lnTo>
                    <a:pt x="195" y="59"/>
                  </a:lnTo>
                  <a:lnTo>
                    <a:pt x="200" y="56"/>
                  </a:lnTo>
                  <a:lnTo>
                    <a:pt x="209" y="56"/>
                  </a:lnTo>
                  <a:lnTo>
                    <a:pt x="215" y="59"/>
                  </a:lnTo>
                  <a:lnTo>
                    <a:pt x="215" y="56"/>
                  </a:lnTo>
                  <a:lnTo>
                    <a:pt x="210" y="50"/>
                  </a:lnTo>
                  <a:lnTo>
                    <a:pt x="218" y="38"/>
                  </a:lnTo>
                  <a:lnTo>
                    <a:pt x="222" y="37"/>
                  </a:lnTo>
                  <a:lnTo>
                    <a:pt x="222" y="36"/>
                  </a:lnTo>
                  <a:lnTo>
                    <a:pt x="220" y="34"/>
                  </a:lnTo>
                  <a:lnTo>
                    <a:pt x="222" y="30"/>
                  </a:lnTo>
                  <a:lnTo>
                    <a:pt x="222" y="28"/>
                  </a:lnTo>
                  <a:lnTo>
                    <a:pt x="228" y="25"/>
                  </a:lnTo>
                  <a:lnTo>
                    <a:pt x="231" y="28"/>
                  </a:lnTo>
                  <a:lnTo>
                    <a:pt x="231" y="24"/>
                  </a:lnTo>
                  <a:lnTo>
                    <a:pt x="232" y="22"/>
                  </a:lnTo>
                  <a:lnTo>
                    <a:pt x="247" y="22"/>
                  </a:lnTo>
                  <a:lnTo>
                    <a:pt x="252" y="19"/>
                  </a:lnTo>
                  <a:lnTo>
                    <a:pt x="252" y="15"/>
                  </a:lnTo>
                  <a:lnTo>
                    <a:pt x="244" y="10"/>
                  </a:lnTo>
                  <a:lnTo>
                    <a:pt x="241" y="10"/>
                  </a:lnTo>
                  <a:lnTo>
                    <a:pt x="241" y="9"/>
                  </a:lnTo>
                  <a:lnTo>
                    <a:pt x="243" y="9"/>
                  </a:lnTo>
                  <a:lnTo>
                    <a:pt x="246" y="7"/>
                  </a:lnTo>
                  <a:lnTo>
                    <a:pt x="247" y="9"/>
                  </a:lnTo>
                  <a:lnTo>
                    <a:pt x="249" y="7"/>
                  </a:lnTo>
                  <a:lnTo>
                    <a:pt x="250" y="7"/>
                  </a:lnTo>
                  <a:lnTo>
                    <a:pt x="255" y="12"/>
                  </a:lnTo>
                  <a:lnTo>
                    <a:pt x="256" y="10"/>
                  </a:lnTo>
                  <a:lnTo>
                    <a:pt x="258" y="10"/>
                  </a:lnTo>
                  <a:lnTo>
                    <a:pt x="260" y="15"/>
                  </a:lnTo>
                  <a:lnTo>
                    <a:pt x="268" y="15"/>
                  </a:lnTo>
                  <a:lnTo>
                    <a:pt x="275" y="19"/>
                  </a:lnTo>
                  <a:lnTo>
                    <a:pt x="281" y="19"/>
                  </a:lnTo>
                  <a:lnTo>
                    <a:pt x="287" y="22"/>
                  </a:lnTo>
                  <a:lnTo>
                    <a:pt x="298" y="18"/>
                  </a:lnTo>
                  <a:lnTo>
                    <a:pt x="298" y="19"/>
                  </a:lnTo>
                  <a:lnTo>
                    <a:pt x="299" y="19"/>
                  </a:lnTo>
                  <a:lnTo>
                    <a:pt x="299" y="24"/>
                  </a:lnTo>
                  <a:lnTo>
                    <a:pt x="303" y="18"/>
                  </a:lnTo>
                  <a:lnTo>
                    <a:pt x="305" y="18"/>
                  </a:lnTo>
                  <a:lnTo>
                    <a:pt x="306" y="22"/>
                  </a:lnTo>
                  <a:lnTo>
                    <a:pt x="309" y="22"/>
                  </a:lnTo>
                  <a:lnTo>
                    <a:pt x="309" y="24"/>
                  </a:lnTo>
                  <a:lnTo>
                    <a:pt x="305" y="30"/>
                  </a:lnTo>
                  <a:lnTo>
                    <a:pt x="306" y="33"/>
                  </a:lnTo>
                  <a:lnTo>
                    <a:pt x="305" y="36"/>
                  </a:lnTo>
                  <a:lnTo>
                    <a:pt x="302" y="36"/>
                  </a:lnTo>
                  <a:lnTo>
                    <a:pt x="302" y="38"/>
                  </a:lnTo>
                  <a:lnTo>
                    <a:pt x="301" y="38"/>
                  </a:lnTo>
                  <a:lnTo>
                    <a:pt x="299" y="37"/>
                  </a:lnTo>
                  <a:lnTo>
                    <a:pt x="298" y="41"/>
                  </a:lnTo>
                  <a:lnTo>
                    <a:pt x="299" y="40"/>
                  </a:lnTo>
                  <a:lnTo>
                    <a:pt x="299" y="41"/>
                  </a:lnTo>
                  <a:lnTo>
                    <a:pt x="293" y="59"/>
                  </a:lnTo>
                  <a:lnTo>
                    <a:pt x="303" y="64"/>
                  </a:lnTo>
                  <a:lnTo>
                    <a:pt x="305" y="71"/>
                  </a:lnTo>
                  <a:lnTo>
                    <a:pt x="308" y="71"/>
                  </a:lnTo>
                  <a:lnTo>
                    <a:pt x="311" y="70"/>
                  </a:lnTo>
                  <a:lnTo>
                    <a:pt x="315" y="70"/>
                  </a:lnTo>
                  <a:lnTo>
                    <a:pt x="315" y="71"/>
                  </a:lnTo>
                  <a:lnTo>
                    <a:pt x="326" y="80"/>
                  </a:lnTo>
                  <a:lnTo>
                    <a:pt x="338" y="83"/>
                  </a:lnTo>
                  <a:lnTo>
                    <a:pt x="342" y="89"/>
                  </a:lnTo>
                  <a:lnTo>
                    <a:pt x="352" y="95"/>
                  </a:lnTo>
                  <a:lnTo>
                    <a:pt x="361" y="92"/>
                  </a:lnTo>
                  <a:lnTo>
                    <a:pt x="366" y="80"/>
                  </a:lnTo>
                  <a:lnTo>
                    <a:pt x="370" y="59"/>
                  </a:lnTo>
                  <a:lnTo>
                    <a:pt x="370" y="40"/>
                  </a:lnTo>
                  <a:lnTo>
                    <a:pt x="373" y="27"/>
                  </a:lnTo>
                  <a:lnTo>
                    <a:pt x="370" y="24"/>
                  </a:lnTo>
                  <a:lnTo>
                    <a:pt x="379" y="4"/>
                  </a:lnTo>
                  <a:lnTo>
                    <a:pt x="38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4" name="Australia - Offshore">
              <a:extLst>
                <a:ext uri="{FF2B5EF4-FFF2-40B4-BE49-F238E27FC236}">
                  <a16:creationId xmlns:a16="http://schemas.microsoft.com/office/drawing/2014/main" id="{E2B2A5E9-0549-DC1C-05E6-F1C159055807}"/>
                </a:ext>
              </a:extLst>
            </p:cNvPr>
            <p:cNvSpPr>
              <a:spLocks/>
            </p:cNvSpPr>
            <p:nvPr/>
          </p:nvSpPr>
          <p:spPr bwMode="auto">
            <a:xfrm>
              <a:off x="8894235" y="4851238"/>
              <a:ext cx="554769" cy="646929"/>
            </a:xfrm>
            <a:custGeom>
              <a:avLst/>
              <a:gdLst/>
              <a:ahLst/>
              <a:cxnLst/>
              <a:rect l="l" t="t" r="r" b="b"/>
              <a:pathLst>
                <a:path w="559191" h="652086">
                  <a:moveTo>
                    <a:pt x="174861" y="635692"/>
                  </a:moveTo>
                  <a:lnTo>
                    <a:pt x="194897" y="646622"/>
                  </a:lnTo>
                  <a:lnTo>
                    <a:pt x="194897" y="648443"/>
                  </a:lnTo>
                  <a:lnTo>
                    <a:pt x="185790" y="648443"/>
                  </a:lnTo>
                  <a:lnTo>
                    <a:pt x="180325" y="652086"/>
                  </a:lnTo>
                  <a:lnTo>
                    <a:pt x="158468" y="652086"/>
                  </a:lnTo>
                  <a:lnTo>
                    <a:pt x="156646" y="642978"/>
                  </a:lnTo>
                  <a:lnTo>
                    <a:pt x="156646" y="641157"/>
                  </a:lnTo>
                  <a:lnTo>
                    <a:pt x="158468" y="641157"/>
                  </a:lnTo>
                  <a:close/>
                  <a:moveTo>
                    <a:pt x="553726" y="338793"/>
                  </a:moveTo>
                  <a:lnTo>
                    <a:pt x="555548" y="338793"/>
                  </a:lnTo>
                  <a:lnTo>
                    <a:pt x="559191" y="349722"/>
                  </a:lnTo>
                  <a:lnTo>
                    <a:pt x="553726" y="362473"/>
                  </a:lnTo>
                  <a:lnTo>
                    <a:pt x="550083" y="362473"/>
                  </a:lnTo>
                  <a:close/>
                  <a:moveTo>
                    <a:pt x="229505" y="127503"/>
                  </a:moveTo>
                  <a:lnTo>
                    <a:pt x="231327" y="127503"/>
                  </a:lnTo>
                  <a:lnTo>
                    <a:pt x="236791" y="131146"/>
                  </a:lnTo>
                  <a:lnTo>
                    <a:pt x="236791" y="132967"/>
                  </a:lnTo>
                  <a:lnTo>
                    <a:pt x="234970" y="132967"/>
                  </a:lnTo>
                  <a:lnTo>
                    <a:pt x="224041" y="138432"/>
                  </a:lnTo>
                  <a:lnTo>
                    <a:pt x="222219" y="138432"/>
                  </a:lnTo>
                  <a:lnTo>
                    <a:pt x="222219" y="132967"/>
                  </a:lnTo>
                  <a:close/>
                  <a:moveTo>
                    <a:pt x="153003" y="61930"/>
                  </a:moveTo>
                  <a:lnTo>
                    <a:pt x="163932" y="61930"/>
                  </a:lnTo>
                  <a:lnTo>
                    <a:pt x="163932" y="65573"/>
                  </a:lnTo>
                  <a:lnTo>
                    <a:pt x="167575" y="72859"/>
                  </a:lnTo>
                  <a:lnTo>
                    <a:pt x="167575" y="76502"/>
                  </a:lnTo>
                  <a:lnTo>
                    <a:pt x="156646" y="78324"/>
                  </a:lnTo>
                  <a:lnTo>
                    <a:pt x="156646" y="76502"/>
                  </a:lnTo>
                  <a:lnTo>
                    <a:pt x="153003" y="65573"/>
                  </a:lnTo>
                  <a:close/>
                  <a:moveTo>
                    <a:pt x="7286" y="0"/>
                  </a:moveTo>
                  <a:lnTo>
                    <a:pt x="10929" y="0"/>
                  </a:lnTo>
                  <a:lnTo>
                    <a:pt x="18215" y="5464"/>
                  </a:lnTo>
                  <a:lnTo>
                    <a:pt x="29144" y="0"/>
                  </a:lnTo>
                  <a:lnTo>
                    <a:pt x="32787" y="0"/>
                  </a:lnTo>
                  <a:lnTo>
                    <a:pt x="38252" y="9107"/>
                  </a:lnTo>
                  <a:lnTo>
                    <a:pt x="38252" y="10929"/>
                  </a:lnTo>
                  <a:lnTo>
                    <a:pt x="34609" y="10929"/>
                  </a:lnTo>
                  <a:lnTo>
                    <a:pt x="23680" y="20037"/>
                  </a:lnTo>
                  <a:lnTo>
                    <a:pt x="21858" y="20037"/>
                  </a:lnTo>
                  <a:lnTo>
                    <a:pt x="14570" y="16393"/>
                  </a:lnTo>
                  <a:lnTo>
                    <a:pt x="12751" y="16393"/>
                  </a:lnTo>
                  <a:lnTo>
                    <a:pt x="10929" y="20036"/>
                  </a:lnTo>
                  <a:lnTo>
                    <a:pt x="1821" y="20036"/>
                  </a:lnTo>
                  <a:lnTo>
                    <a:pt x="0" y="14571"/>
                  </a:lnTo>
                  <a:lnTo>
                    <a:pt x="0" y="10928"/>
                  </a:lnTo>
                  <a:lnTo>
                    <a:pt x="5464" y="5464"/>
                  </a:lnTo>
                  <a:lnTo>
                    <a:pt x="7286" y="5464"/>
                  </a:lnTo>
                  <a:lnTo>
                    <a:pt x="9561" y="8194"/>
                  </a:lnTo>
                  <a:lnTo>
                    <a:pt x="7286" y="3643"/>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5" name="Tasmania">
              <a:extLst>
                <a:ext uri="{FF2B5EF4-FFF2-40B4-BE49-F238E27FC236}">
                  <a16:creationId xmlns:a16="http://schemas.microsoft.com/office/drawing/2014/main" id="{52873FA5-363E-4FF1-F1E6-FF3E6DC9D19E}"/>
                </a:ext>
              </a:extLst>
            </p:cNvPr>
            <p:cNvSpPr>
              <a:spLocks/>
            </p:cNvSpPr>
            <p:nvPr/>
          </p:nvSpPr>
          <p:spPr bwMode="auto">
            <a:xfrm>
              <a:off x="9244806" y="5604783"/>
              <a:ext cx="88545" cy="122880"/>
            </a:xfrm>
            <a:custGeom>
              <a:avLst/>
              <a:gdLst/>
              <a:ahLst/>
              <a:cxnLst/>
              <a:rect l="l" t="t" r="r" b="b"/>
              <a:pathLst>
                <a:path w="89251" h="123859">
                  <a:moveTo>
                    <a:pt x="0" y="29143"/>
                  </a:moveTo>
                  <a:lnTo>
                    <a:pt x="3643" y="29143"/>
                  </a:lnTo>
                  <a:lnTo>
                    <a:pt x="43715" y="43715"/>
                  </a:lnTo>
                  <a:lnTo>
                    <a:pt x="78323" y="32786"/>
                  </a:lnTo>
                  <a:lnTo>
                    <a:pt x="81966" y="32786"/>
                  </a:lnTo>
                  <a:lnTo>
                    <a:pt x="81966" y="34608"/>
                  </a:lnTo>
                  <a:lnTo>
                    <a:pt x="87430" y="49179"/>
                  </a:lnTo>
                  <a:lnTo>
                    <a:pt x="87430" y="72858"/>
                  </a:lnTo>
                  <a:lnTo>
                    <a:pt x="78323" y="96537"/>
                  </a:lnTo>
                  <a:lnTo>
                    <a:pt x="76501" y="96537"/>
                  </a:lnTo>
                  <a:lnTo>
                    <a:pt x="67394" y="100180"/>
                  </a:lnTo>
                  <a:lnTo>
                    <a:pt x="61930" y="112930"/>
                  </a:lnTo>
                  <a:lnTo>
                    <a:pt x="56465" y="112930"/>
                  </a:lnTo>
                  <a:lnTo>
                    <a:pt x="51001" y="123859"/>
                  </a:lnTo>
                  <a:lnTo>
                    <a:pt x="32786" y="122038"/>
                  </a:lnTo>
                  <a:lnTo>
                    <a:pt x="29144" y="122038"/>
                  </a:lnTo>
                  <a:lnTo>
                    <a:pt x="29144" y="118395"/>
                  </a:lnTo>
                  <a:lnTo>
                    <a:pt x="34608" y="116573"/>
                  </a:lnTo>
                  <a:lnTo>
                    <a:pt x="27322" y="112930"/>
                  </a:lnTo>
                  <a:lnTo>
                    <a:pt x="14572" y="96537"/>
                  </a:lnTo>
                  <a:lnTo>
                    <a:pt x="10929" y="74680"/>
                  </a:lnTo>
                  <a:lnTo>
                    <a:pt x="14572" y="74680"/>
                  </a:lnTo>
                  <a:lnTo>
                    <a:pt x="16393" y="83787"/>
                  </a:lnTo>
                  <a:lnTo>
                    <a:pt x="20036" y="80144"/>
                  </a:lnTo>
                  <a:lnTo>
                    <a:pt x="0" y="49179"/>
                  </a:lnTo>
                  <a:close/>
                  <a:moveTo>
                    <a:pt x="83787" y="18214"/>
                  </a:moveTo>
                  <a:lnTo>
                    <a:pt x="87430" y="18214"/>
                  </a:lnTo>
                  <a:lnTo>
                    <a:pt x="89251" y="23679"/>
                  </a:lnTo>
                  <a:lnTo>
                    <a:pt x="81965" y="23679"/>
                  </a:lnTo>
                  <a:lnTo>
                    <a:pt x="81965" y="21857"/>
                  </a:lnTo>
                  <a:close/>
                  <a:moveTo>
                    <a:pt x="76501" y="0"/>
                  </a:moveTo>
                  <a:lnTo>
                    <a:pt x="76501" y="1821"/>
                  </a:lnTo>
                  <a:lnTo>
                    <a:pt x="87430" y="7286"/>
                  </a:lnTo>
                  <a:lnTo>
                    <a:pt x="87430" y="16393"/>
                  </a:lnTo>
                  <a:lnTo>
                    <a:pt x="81966" y="18215"/>
                  </a:lnTo>
                  <a:lnTo>
                    <a:pt x="72858" y="182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6" name="Solomon Islands">
              <a:extLst>
                <a:ext uri="{FF2B5EF4-FFF2-40B4-BE49-F238E27FC236}">
                  <a16:creationId xmlns:a16="http://schemas.microsoft.com/office/drawing/2014/main" id="{83AB95D6-DA38-A980-F629-AF49297569F8}"/>
                </a:ext>
              </a:extLst>
            </p:cNvPr>
            <p:cNvSpPr>
              <a:spLocks/>
            </p:cNvSpPr>
            <p:nvPr/>
          </p:nvSpPr>
          <p:spPr bwMode="auto">
            <a:xfrm>
              <a:off x="9477915" y="4715708"/>
              <a:ext cx="182514" cy="155409"/>
            </a:xfrm>
            <a:custGeom>
              <a:avLst/>
              <a:gdLst/>
              <a:ahLst/>
              <a:cxnLst/>
              <a:rect l="l" t="t" r="r" b="b"/>
              <a:pathLst>
                <a:path w="183969" h="156648">
                  <a:moveTo>
                    <a:pt x="127503" y="151183"/>
                  </a:moveTo>
                  <a:lnTo>
                    <a:pt x="134790" y="153005"/>
                  </a:lnTo>
                  <a:lnTo>
                    <a:pt x="134790" y="156648"/>
                  </a:lnTo>
                  <a:lnTo>
                    <a:pt x="122039" y="156648"/>
                  </a:lnTo>
                  <a:lnTo>
                    <a:pt x="122039" y="153005"/>
                  </a:lnTo>
                  <a:close/>
                  <a:moveTo>
                    <a:pt x="160289" y="112931"/>
                  </a:moveTo>
                  <a:lnTo>
                    <a:pt x="178505" y="118396"/>
                  </a:lnTo>
                  <a:lnTo>
                    <a:pt x="183969" y="129325"/>
                  </a:lnTo>
                  <a:lnTo>
                    <a:pt x="171218" y="129325"/>
                  </a:lnTo>
                  <a:close/>
                  <a:moveTo>
                    <a:pt x="116574" y="91074"/>
                  </a:moveTo>
                  <a:lnTo>
                    <a:pt x="134788" y="91074"/>
                  </a:lnTo>
                  <a:lnTo>
                    <a:pt x="149360" y="105646"/>
                  </a:lnTo>
                  <a:lnTo>
                    <a:pt x="149360" y="107468"/>
                  </a:lnTo>
                  <a:lnTo>
                    <a:pt x="127502" y="107468"/>
                  </a:lnTo>
                  <a:lnTo>
                    <a:pt x="116574" y="100182"/>
                  </a:lnTo>
                  <a:close/>
                  <a:moveTo>
                    <a:pt x="140254" y="69216"/>
                  </a:moveTo>
                  <a:lnTo>
                    <a:pt x="143897" y="69216"/>
                  </a:lnTo>
                  <a:lnTo>
                    <a:pt x="165755" y="100180"/>
                  </a:lnTo>
                  <a:lnTo>
                    <a:pt x="165755" y="102002"/>
                  </a:lnTo>
                  <a:lnTo>
                    <a:pt x="151183" y="91073"/>
                  </a:lnTo>
                  <a:lnTo>
                    <a:pt x="140254" y="72859"/>
                  </a:lnTo>
                  <a:close/>
                  <a:moveTo>
                    <a:pt x="54644" y="56467"/>
                  </a:moveTo>
                  <a:lnTo>
                    <a:pt x="60109" y="56467"/>
                  </a:lnTo>
                  <a:lnTo>
                    <a:pt x="60109" y="61930"/>
                  </a:lnTo>
                  <a:lnTo>
                    <a:pt x="61930" y="61930"/>
                  </a:lnTo>
                  <a:lnTo>
                    <a:pt x="67395" y="58287"/>
                  </a:lnTo>
                  <a:lnTo>
                    <a:pt x="71038" y="58287"/>
                  </a:lnTo>
                  <a:lnTo>
                    <a:pt x="76503" y="72859"/>
                  </a:lnTo>
                  <a:lnTo>
                    <a:pt x="61930" y="67394"/>
                  </a:lnTo>
                  <a:lnTo>
                    <a:pt x="60109" y="67394"/>
                  </a:lnTo>
                  <a:lnTo>
                    <a:pt x="60109" y="63753"/>
                  </a:lnTo>
                  <a:lnTo>
                    <a:pt x="56465" y="63753"/>
                  </a:lnTo>
                  <a:close/>
                  <a:moveTo>
                    <a:pt x="92896" y="47359"/>
                  </a:moveTo>
                  <a:lnTo>
                    <a:pt x="118397" y="63752"/>
                  </a:lnTo>
                  <a:lnTo>
                    <a:pt x="123862" y="72860"/>
                  </a:lnTo>
                  <a:lnTo>
                    <a:pt x="122040" y="72860"/>
                  </a:lnTo>
                  <a:lnTo>
                    <a:pt x="96539" y="58288"/>
                  </a:lnTo>
                  <a:lnTo>
                    <a:pt x="92896" y="51002"/>
                  </a:lnTo>
                  <a:close/>
                  <a:moveTo>
                    <a:pt x="43716" y="27323"/>
                  </a:moveTo>
                  <a:lnTo>
                    <a:pt x="45537" y="27323"/>
                  </a:lnTo>
                  <a:lnTo>
                    <a:pt x="67396" y="41895"/>
                  </a:lnTo>
                  <a:lnTo>
                    <a:pt x="71039" y="41895"/>
                  </a:lnTo>
                  <a:lnTo>
                    <a:pt x="71039" y="45538"/>
                  </a:lnTo>
                  <a:lnTo>
                    <a:pt x="67396" y="45538"/>
                  </a:lnTo>
                  <a:lnTo>
                    <a:pt x="54645" y="41895"/>
                  </a:lnTo>
                  <a:lnTo>
                    <a:pt x="43716" y="29144"/>
                  </a:lnTo>
                  <a:close/>
                  <a:moveTo>
                    <a:pt x="0" y="0"/>
                  </a:moveTo>
                  <a:lnTo>
                    <a:pt x="3643" y="0"/>
                  </a:lnTo>
                  <a:lnTo>
                    <a:pt x="9107" y="1821"/>
                  </a:lnTo>
                  <a:lnTo>
                    <a:pt x="32786" y="23679"/>
                  </a:lnTo>
                  <a:lnTo>
                    <a:pt x="32786" y="34608"/>
                  </a:lnTo>
                  <a:lnTo>
                    <a:pt x="21857" y="34608"/>
                  </a:lnTo>
                  <a:lnTo>
                    <a:pt x="14571" y="29143"/>
                  </a:lnTo>
                  <a:lnTo>
                    <a:pt x="14571" y="21857"/>
                  </a:lnTo>
                  <a:lnTo>
                    <a:pt x="3643" y="10929"/>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7" name="Papua New Guinea">
              <a:extLst>
                <a:ext uri="{FF2B5EF4-FFF2-40B4-BE49-F238E27FC236}">
                  <a16:creationId xmlns:a16="http://schemas.microsoft.com/office/drawing/2014/main" id="{2B058FC5-0E9C-03CC-A035-A678C5C98E12}"/>
                </a:ext>
              </a:extLst>
            </p:cNvPr>
            <p:cNvSpPr>
              <a:spLocks/>
            </p:cNvSpPr>
            <p:nvPr/>
          </p:nvSpPr>
          <p:spPr bwMode="auto">
            <a:xfrm>
              <a:off x="9154451" y="4634391"/>
              <a:ext cx="290937" cy="206006"/>
            </a:xfrm>
            <a:custGeom>
              <a:avLst/>
              <a:gdLst/>
              <a:ahLst/>
              <a:cxnLst/>
              <a:rect l="l" t="t" r="r" b="b"/>
              <a:pathLst>
                <a:path w="293256" h="207648">
                  <a:moveTo>
                    <a:pt x="225862" y="173039"/>
                  </a:moveTo>
                  <a:lnTo>
                    <a:pt x="229505" y="173039"/>
                  </a:lnTo>
                  <a:lnTo>
                    <a:pt x="236791" y="176682"/>
                  </a:lnTo>
                  <a:lnTo>
                    <a:pt x="240434" y="178504"/>
                  </a:lnTo>
                  <a:lnTo>
                    <a:pt x="240434" y="187611"/>
                  </a:lnTo>
                  <a:lnTo>
                    <a:pt x="229505" y="183968"/>
                  </a:lnTo>
                  <a:lnTo>
                    <a:pt x="225862" y="176682"/>
                  </a:lnTo>
                  <a:close/>
                  <a:moveTo>
                    <a:pt x="162110" y="83788"/>
                  </a:moveTo>
                  <a:lnTo>
                    <a:pt x="169396" y="83788"/>
                  </a:lnTo>
                  <a:lnTo>
                    <a:pt x="173039" y="87431"/>
                  </a:lnTo>
                  <a:lnTo>
                    <a:pt x="173039" y="92896"/>
                  </a:lnTo>
                  <a:lnTo>
                    <a:pt x="169396" y="92896"/>
                  </a:lnTo>
                  <a:lnTo>
                    <a:pt x="163932" y="87431"/>
                  </a:lnTo>
                  <a:lnTo>
                    <a:pt x="162110" y="87431"/>
                  </a:lnTo>
                  <a:close/>
                  <a:moveTo>
                    <a:pt x="262292" y="51001"/>
                  </a:moveTo>
                  <a:lnTo>
                    <a:pt x="269578" y="51001"/>
                  </a:lnTo>
                  <a:lnTo>
                    <a:pt x="269578" y="54644"/>
                  </a:lnTo>
                  <a:lnTo>
                    <a:pt x="271399" y="60109"/>
                  </a:lnTo>
                  <a:lnTo>
                    <a:pt x="275042" y="60109"/>
                  </a:lnTo>
                  <a:lnTo>
                    <a:pt x="264113" y="87431"/>
                  </a:lnTo>
                  <a:lnTo>
                    <a:pt x="256828" y="87431"/>
                  </a:lnTo>
                  <a:lnTo>
                    <a:pt x="251363" y="98359"/>
                  </a:lnTo>
                  <a:lnTo>
                    <a:pt x="234970" y="103824"/>
                  </a:lnTo>
                  <a:lnTo>
                    <a:pt x="229505" y="103824"/>
                  </a:lnTo>
                  <a:lnTo>
                    <a:pt x="224041" y="105645"/>
                  </a:lnTo>
                  <a:lnTo>
                    <a:pt x="209469" y="105645"/>
                  </a:lnTo>
                  <a:lnTo>
                    <a:pt x="202183" y="100181"/>
                  </a:lnTo>
                  <a:lnTo>
                    <a:pt x="196719" y="100181"/>
                  </a:lnTo>
                  <a:lnTo>
                    <a:pt x="180326" y="94716"/>
                  </a:lnTo>
                  <a:lnTo>
                    <a:pt x="174861" y="87431"/>
                  </a:lnTo>
                  <a:lnTo>
                    <a:pt x="174861" y="83788"/>
                  </a:lnTo>
                  <a:lnTo>
                    <a:pt x="209469" y="83788"/>
                  </a:lnTo>
                  <a:lnTo>
                    <a:pt x="218577" y="72859"/>
                  </a:lnTo>
                  <a:lnTo>
                    <a:pt x="220398" y="72859"/>
                  </a:lnTo>
                  <a:lnTo>
                    <a:pt x="220398" y="81966"/>
                  </a:lnTo>
                  <a:lnTo>
                    <a:pt x="234970" y="83788"/>
                  </a:lnTo>
                  <a:lnTo>
                    <a:pt x="253185" y="67394"/>
                  </a:lnTo>
                  <a:lnTo>
                    <a:pt x="253185" y="54644"/>
                  </a:lnTo>
                  <a:lnTo>
                    <a:pt x="258649" y="54644"/>
                  </a:lnTo>
                  <a:close/>
                  <a:moveTo>
                    <a:pt x="271398" y="38250"/>
                  </a:moveTo>
                  <a:lnTo>
                    <a:pt x="275041" y="38250"/>
                  </a:lnTo>
                  <a:lnTo>
                    <a:pt x="287792" y="45536"/>
                  </a:lnTo>
                  <a:lnTo>
                    <a:pt x="293256" y="56465"/>
                  </a:lnTo>
                  <a:lnTo>
                    <a:pt x="287792" y="67393"/>
                  </a:lnTo>
                  <a:lnTo>
                    <a:pt x="282327" y="67393"/>
                  </a:lnTo>
                  <a:close/>
                  <a:moveTo>
                    <a:pt x="1822" y="14572"/>
                  </a:moveTo>
                  <a:lnTo>
                    <a:pt x="83788" y="40073"/>
                  </a:lnTo>
                  <a:lnTo>
                    <a:pt x="111110" y="61931"/>
                  </a:lnTo>
                  <a:lnTo>
                    <a:pt x="118396" y="83788"/>
                  </a:lnTo>
                  <a:lnTo>
                    <a:pt x="162111" y="98360"/>
                  </a:lnTo>
                  <a:lnTo>
                    <a:pt x="167575" y="114753"/>
                  </a:lnTo>
                  <a:lnTo>
                    <a:pt x="167575" y="116575"/>
                  </a:lnTo>
                  <a:lnTo>
                    <a:pt x="163932" y="116575"/>
                  </a:lnTo>
                  <a:lnTo>
                    <a:pt x="147539" y="118396"/>
                  </a:lnTo>
                  <a:lnTo>
                    <a:pt x="153004" y="129325"/>
                  </a:lnTo>
                  <a:lnTo>
                    <a:pt x="169397" y="143897"/>
                  </a:lnTo>
                  <a:lnTo>
                    <a:pt x="183969" y="165754"/>
                  </a:lnTo>
                  <a:lnTo>
                    <a:pt x="196719" y="167576"/>
                  </a:lnTo>
                  <a:lnTo>
                    <a:pt x="198540" y="178505"/>
                  </a:lnTo>
                  <a:lnTo>
                    <a:pt x="214934" y="183969"/>
                  </a:lnTo>
                  <a:lnTo>
                    <a:pt x="214934" y="189434"/>
                  </a:lnTo>
                  <a:lnTo>
                    <a:pt x="236791" y="194898"/>
                  </a:lnTo>
                  <a:lnTo>
                    <a:pt x="236791" y="196719"/>
                  </a:lnTo>
                  <a:lnTo>
                    <a:pt x="229505" y="200362"/>
                  </a:lnTo>
                  <a:lnTo>
                    <a:pt x="231327" y="200362"/>
                  </a:lnTo>
                  <a:lnTo>
                    <a:pt x="231327" y="202184"/>
                  </a:lnTo>
                  <a:lnTo>
                    <a:pt x="224041" y="207648"/>
                  </a:lnTo>
                  <a:lnTo>
                    <a:pt x="213112" y="202184"/>
                  </a:lnTo>
                  <a:lnTo>
                    <a:pt x="163932" y="194898"/>
                  </a:lnTo>
                  <a:lnTo>
                    <a:pt x="142075" y="176683"/>
                  </a:lnTo>
                  <a:lnTo>
                    <a:pt x="142075" y="171219"/>
                  </a:lnTo>
                  <a:lnTo>
                    <a:pt x="134789" y="171219"/>
                  </a:lnTo>
                  <a:lnTo>
                    <a:pt x="123860" y="151183"/>
                  </a:lnTo>
                  <a:lnTo>
                    <a:pt x="83788" y="132968"/>
                  </a:lnTo>
                  <a:lnTo>
                    <a:pt x="74680" y="138432"/>
                  </a:lnTo>
                  <a:lnTo>
                    <a:pt x="69216" y="134789"/>
                  </a:lnTo>
                  <a:lnTo>
                    <a:pt x="72859" y="140254"/>
                  </a:lnTo>
                  <a:lnTo>
                    <a:pt x="72859" y="143897"/>
                  </a:lnTo>
                  <a:lnTo>
                    <a:pt x="69216" y="143897"/>
                  </a:lnTo>
                  <a:lnTo>
                    <a:pt x="63752" y="145718"/>
                  </a:lnTo>
                  <a:lnTo>
                    <a:pt x="61930" y="149361"/>
                  </a:lnTo>
                  <a:lnTo>
                    <a:pt x="51001" y="154826"/>
                  </a:lnTo>
                  <a:lnTo>
                    <a:pt x="58287" y="165754"/>
                  </a:lnTo>
                  <a:lnTo>
                    <a:pt x="45537" y="176683"/>
                  </a:lnTo>
                  <a:lnTo>
                    <a:pt x="29144" y="176683"/>
                  </a:lnTo>
                  <a:lnTo>
                    <a:pt x="23679" y="173040"/>
                  </a:lnTo>
                  <a:lnTo>
                    <a:pt x="7286" y="173040"/>
                  </a:lnTo>
                  <a:lnTo>
                    <a:pt x="5465" y="171219"/>
                  </a:lnTo>
                  <a:lnTo>
                    <a:pt x="0" y="116575"/>
                  </a:lnTo>
                  <a:lnTo>
                    <a:pt x="1822" y="72859"/>
                  </a:lnTo>
                  <a:close/>
                  <a:moveTo>
                    <a:pt x="214933" y="10929"/>
                  </a:moveTo>
                  <a:lnTo>
                    <a:pt x="225862" y="10929"/>
                  </a:lnTo>
                  <a:lnTo>
                    <a:pt x="229505" y="14572"/>
                  </a:lnTo>
                  <a:lnTo>
                    <a:pt x="229505" y="16394"/>
                  </a:lnTo>
                  <a:lnTo>
                    <a:pt x="225862" y="16394"/>
                  </a:lnTo>
                  <a:lnTo>
                    <a:pt x="220398" y="20037"/>
                  </a:lnTo>
                  <a:lnTo>
                    <a:pt x="214933" y="14572"/>
                  </a:lnTo>
                  <a:close/>
                  <a:moveTo>
                    <a:pt x="134789" y="0"/>
                  </a:moveTo>
                  <a:lnTo>
                    <a:pt x="147540" y="0"/>
                  </a:lnTo>
                  <a:lnTo>
                    <a:pt x="145719" y="9108"/>
                  </a:lnTo>
                  <a:lnTo>
                    <a:pt x="134789" y="9108"/>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8" name="Tonga">
              <a:extLst>
                <a:ext uri="{FF2B5EF4-FFF2-40B4-BE49-F238E27FC236}">
                  <a16:creationId xmlns:a16="http://schemas.microsoft.com/office/drawing/2014/main" id="{9A0E7AB1-14D0-89EB-A555-96E6C5A71AAB}"/>
                </a:ext>
              </a:extLst>
            </p:cNvPr>
            <p:cNvSpPr>
              <a:spLocks/>
            </p:cNvSpPr>
            <p:nvPr/>
          </p:nvSpPr>
          <p:spPr bwMode="auto">
            <a:xfrm>
              <a:off x="10177249" y="5093385"/>
              <a:ext cx="10843" cy="7228"/>
            </a:xfrm>
            <a:custGeom>
              <a:avLst/>
              <a:gdLst>
                <a:gd name="T0" fmla="*/ 1 w 6"/>
                <a:gd name="T1" fmla="*/ 0 h 4"/>
                <a:gd name="T2" fmla="*/ 4 w 6"/>
                <a:gd name="T3" fmla="*/ 1 h 4"/>
                <a:gd name="T4" fmla="*/ 6 w 6"/>
                <a:gd name="T5" fmla="*/ 1 h 4"/>
                <a:gd name="T6" fmla="*/ 6 w 6"/>
                <a:gd name="T7" fmla="*/ 4 h 4"/>
                <a:gd name="T8" fmla="*/ 4 w 6"/>
                <a:gd name="T9" fmla="*/ 4 h 4"/>
                <a:gd name="T10" fmla="*/ 1 w 6"/>
                <a:gd name="T11" fmla="*/ 1 h 4"/>
                <a:gd name="T12" fmla="*/ 0 w 6"/>
                <a:gd name="T13" fmla="*/ 1 h 4"/>
                <a:gd name="T14" fmla="*/ 1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1" y="0"/>
                  </a:moveTo>
                  <a:lnTo>
                    <a:pt x="4" y="1"/>
                  </a:lnTo>
                  <a:lnTo>
                    <a:pt x="6" y="1"/>
                  </a:lnTo>
                  <a:lnTo>
                    <a:pt x="6" y="4"/>
                  </a:lnTo>
                  <a:lnTo>
                    <a:pt x="4" y="4"/>
                  </a:lnTo>
                  <a:lnTo>
                    <a:pt x="1" y="1"/>
                  </a:lnTo>
                  <a:lnTo>
                    <a:pt x="0" y="1"/>
                  </a:lnTo>
                  <a:lnTo>
                    <a:pt x="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59" name="Vanuatu">
              <a:extLst>
                <a:ext uri="{FF2B5EF4-FFF2-40B4-BE49-F238E27FC236}">
                  <a16:creationId xmlns:a16="http://schemas.microsoft.com/office/drawing/2014/main" id="{E2AB9BBD-36A3-3A02-3B2B-E7C3E39A7E27}"/>
                </a:ext>
              </a:extLst>
            </p:cNvPr>
            <p:cNvSpPr>
              <a:spLocks/>
            </p:cNvSpPr>
            <p:nvPr/>
          </p:nvSpPr>
          <p:spPr bwMode="auto">
            <a:xfrm>
              <a:off x="9750781" y="4934363"/>
              <a:ext cx="48791" cy="77703"/>
            </a:xfrm>
            <a:custGeom>
              <a:avLst/>
              <a:gdLst/>
              <a:ahLst/>
              <a:cxnLst/>
              <a:rect l="l" t="t" r="r" b="b"/>
              <a:pathLst>
                <a:path w="49180" h="78322">
                  <a:moveTo>
                    <a:pt x="47359" y="71036"/>
                  </a:moveTo>
                  <a:lnTo>
                    <a:pt x="49180" y="71036"/>
                  </a:lnTo>
                  <a:lnTo>
                    <a:pt x="49180" y="78322"/>
                  </a:lnTo>
                  <a:lnTo>
                    <a:pt x="41894" y="78322"/>
                  </a:lnTo>
                  <a:close/>
                  <a:moveTo>
                    <a:pt x="38252" y="36429"/>
                  </a:moveTo>
                  <a:lnTo>
                    <a:pt x="41895" y="36429"/>
                  </a:lnTo>
                  <a:lnTo>
                    <a:pt x="43716" y="41894"/>
                  </a:lnTo>
                  <a:lnTo>
                    <a:pt x="43716" y="43715"/>
                  </a:lnTo>
                  <a:lnTo>
                    <a:pt x="36430" y="43715"/>
                  </a:lnTo>
                  <a:lnTo>
                    <a:pt x="36430" y="41894"/>
                  </a:lnTo>
                  <a:close/>
                  <a:moveTo>
                    <a:pt x="16393" y="30964"/>
                  </a:moveTo>
                  <a:lnTo>
                    <a:pt x="20036" y="30964"/>
                  </a:lnTo>
                  <a:lnTo>
                    <a:pt x="32787" y="47358"/>
                  </a:lnTo>
                  <a:lnTo>
                    <a:pt x="32787" y="49179"/>
                  </a:lnTo>
                  <a:lnTo>
                    <a:pt x="21858" y="49179"/>
                  </a:lnTo>
                  <a:lnTo>
                    <a:pt x="21858" y="47358"/>
                  </a:lnTo>
                  <a:lnTo>
                    <a:pt x="16393" y="32786"/>
                  </a:lnTo>
                  <a:close/>
                  <a:moveTo>
                    <a:pt x="3643" y="0"/>
                  </a:moveTo>
                  <a:lnTo>
                    <a:pt x="3643" y="3643"/>
                  </a:lnTo>
                  <a:lnTo>
                    <a:pt x="9108" y="14573"/>
                  </a:lnTo>
                  <a:lnTo>
                    <a:pt x="14573" y="9108"/>
                  </a:lnTo>
                  <a:lnTo>
                    <a:pt x="16394" y="9108"/>
                  </a:lnTo>
                  <a:lnTo>
                    <a:pt x="16394" y="10929"/>
                  </a:lnTo>
                  <a:lnTo>
                    <a:pt x="20037" y="21859"/>
                  </a:lnTo>
                  <a:lnTo>
                    <a:pt x="20037" y="25502"/>
                  </a:lnTo>
                  <a:lnTo>
                    <a:pt x="16394" y="25502"/>
                  </a:lnTo>
                  <a:lnTo>
                    <a:pt x="9108" y="27323"/>
                  </a:lnTo>
                  <a:lnTo>
                    <a:pt x="9108" y="25502"/>
                  </a:lnTo>
                  <a:lnTo>
                    <a:pt x="0" y="3643"/>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0" name="Chatham Island">
              <a:extLst>
                <a:ext uri="{FF2B5EF4-FFF2-40B4-BE49-F238E27FC236}">
                  <a16:creationId xmlns:a16="http://schemas.microsoft.com/office/drawing/2014/main" id="{846A6BF8-7892-3616-7204-8F986D90D9CE}"/>
                </a:ext>
              </a:extLst>
            </p:cNvPr>
            <p:cNvSpPr>
              <a:spLocks/>
            </p:cNvSpPr>
            <p:nvPr/>
          </p:nvSpPr>
          <p:spPr bwMode="auto">
            <a:xfrm>
              <a:off x="10148336" y="5733084"/>
              <a:ext cx="12650" cy="14457"/>
            </a:xfrm>
            <a:custGeom>
              <a:avLst/>
              <a:gdLst>
                <a:gd name="T0" fmla="*/ 4 w 7"/>
                <a:gd name="T1" fmla="*/ 0 h 8"/>
                <a:gd name="T2" fmla="*/ 7 w 7"/>
                <a:gd name="T3" fmla="*/ 0 h 8"/>
                <a:gd name="T4" fmla="*/ 7 w 7"/>
                <a:gd name="T5" fmla="*/ 2 h 8"/>
                <a:gd name="T6" fmla="*/ 4 w 7"/>
                <a:gd name="T7" fmla="*/ 8 h 8"/>
                <a:gd name="T8" fmla="*/ 3 w 7"/>
                <a:gd name="T9" fmla="*/ 8 h 8"/>
                <a:gd name="T10" fmla="*/ 3 w 7"/>
                <a:gd name="T11" fmla="*/ 6 h 8"/>
                <a:gd name="T12" fmla="*/ 1 w 7"/>
                <a:gd name="T13" fmla="*/ 3 h 8"/>
                <a:gd name="T14" fmla="*/ 0 w 7"/>
                <a:gd name="T15" fmla="*/ 3 h 8"/>
                <a:gd name="T16" fmla="*/ 0 w 7"/>
                <a:gd name="T17" fmla="*/ 2 h 8"/>
                <a:gd name="T18" fmla="*/ 3 w 7"/>
                <a:gd name="T19" fmla="*/ 2 h 8"/>
                <a:gd name="T20" fmla="*/ 4 w 7"/>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4" y="0"/>
                  </a:moveTo>
                  <a:lnTo>
                    <a:pt x="7" y="0"/>
                  </a:lnTo>
                  <a:lnTo>
                    <a:pt x="7" y="2"/>
                  </a:lnTo>
                  <a:lnTo>
                    <a:pt x="4" y="8"/>
                  </a:lnTo>
                  <a:lnTo>
                    <a:pt x="3" y="8"/>
                  </a:lnTo>
                  <a:lnTo>
                    <a:pt x="3" y="6"/>
                  </a:lnTo>
                  <a:lnTo>
                    <a:pt x="1" y="3"/>
                  </a:lnTo>
                  <a:lnTo>
                    <a:pt x="0" y="3"/>
                  </a:lnTo>
                  <a:lnTo>
                    <a:pt x="0" y="2"/>
                  </a:lnTo>
                  <a:lnTo>
                    <a:pt x="3" y="2"/>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1" name="American Samoa">
              <a:extLst>
                <a:ext uri="{FF2B5EF4-FFF2-40B4-BE49-F238E27FC236}">
                  <a16:creationId xmlns:a16="http://schemas.microsoft.com/office/drawing/2014/main" id="{FBFFDBDD-A9E0-D0A0-AAFC-D24903916127}"/>
                </a:ext>
              </a:extLst>
            </p:cNvPr>
            <p:cNvSpPr>
              <a:spLocks/>
            </p:cNvSpPr>
            <p:nvPr/>
          </p:nvSpPr>
          <p:spPr bwMode="auto">
            <a:xfrm>
              <a:off x="10233268" y="4905449"/>
              <a:ext cx="39755" cy="16264"/>
            </a:xfrm>
            <a:custGeom>
              <a:avLst/>
              <a:gdLst/>
              <a:ahLst/>
              <a:cxnLst/>
              <a:rect l="l" t="t" r="r" b="b"/>
              <a:pathLst>
                <a:path w="40072" h="16394">
                  <a:moveTo>
                    <a:pt x="0" y="0"/>
                  </a:moveTo>
                  <a:lnTo>
                    <a:pt x="9107" y="0"/>
                  </a:lnTo>
                  <a:lnTo>
                    <a:pt x="16393" y="1822"/>
                  </a:lnTo>
                  <a:lnTo>
                    <a:pt x="20037" y="1822"/>
                  </a:lnTo>
                  <a:lnTo>
                    <a:pt x="21858" y="10929"/>
                  </a:lnTo>
                  <a:lnTo>
                    <a:pt x="29143" y="10929"/>
                  </a:lnTo>
                  <a:lnTo>
                    <a:pt x="40072" y="16394"/>
                  </a:lnTo>
                  <a:lnTo>
                    <a:pt x="23679" y="16394"/>
                  </a:lnTo>
                  <a:lnTo>
                    <a:pt x="21857" y="12751"/>
                  </a:lnTo>
                  <a:lnTo>
                    <a:pt x="20037" y="12751"/>
                  </a:lnTo>
                  <a:lnTo>
                    <a:pt x="9107" y="7287"/>
                  </a:lnTo>
                  <a:lnTo>
                    <a:pt x="3643" y="1822"/>
                  </a:lnTo>
                  <a:lnTo>
                    <a:pt x="0" y="1822"/>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2" name="Galapagos">
              <a:extLst>
                <a:ext uri="{FF2B5EF4-FFF2-40B4-BE49-F238E27FC236}">
                  <a16:creationId xmlns:a16="http://schemas.microsoft.com/office/drawing/2014/main" id="{8CFA9954-6102-FD35-7D6D-C961EEDB80E4}"/>
                </a:ext>
              </a:extLst>
            </p:cNvPr>
            <p:cNvSpPr>
              <a:spLocks/>
            </p:cNvSpPr>
            <p:nvPr/>
          </p:nvSpPr>
          <p:spPr bwMode="auto">
            <a:xfrm>
              <a:off x="3662792" y="4587407"/>
              <a:ext cx="37948" cy="30721"/>
            </a:xfrm>
            <a:custGeom>
              <a:avLst/>
              <a:gdLst/>
              <a:ahLst/>
              <a:cxnLst/>
              <a:rect l="l" t="t" r="r" b="b"/>
              <a:pathLst>
                <a:path w="38251" h="30966">
                  <a:moveTo>
                    <a:pt x="34608" y="12749"/>
                  </a:moveTo>
                  <a:lnTo>
                    <a:pt x="38251" y="12749"/>
                  </a:lnTo>
                  <a:lnTo>
                    <a:pt x="38251" y="14571"/>
                  </a:lnTo>
                  <a:lnTo>
                    <a:pt x="34608" y="20035"/>
                  </a:lnTo>
                  <a:lnTo>
                    <a:pt x="29143" y="20035"/>
                  </a:lnTo>
                  <a:lnTo>
                    <a:pt x="29143" y="18214"/>
                  </a:lnTo>
                  <a:close/>
                  <a:moveTo>
                    <a:pt x="21858" y="5464"/>
                  </a:moveTo>
                  <a:lnTo>
                    <a:pt x="23679" y="5464"/>
                  </a:lnTo>
                  <a:lnTo>
                    <a:pt x="27322" y="12750"/>
                  </a:lnTo>
                  <a:lnTo>
                    <a:pt x="20036" y="12750"/>
                  </a:lnTo>
                  <a:lnTo>
                    <a:pt x="20036" y="9107"/>
                  </a:lnTo>
                  <a:close/>
                  <a:moveTo>
                    <a:pt x="9108" y="0"/>
                  </a:moveTo>
                  <a:lnTo>
                    <a:pt x="20037" y="20037"/>
                  </a:lnTo>
                  <a:lnTo>
                    <a:pt x="10929" y="29145"/>
                  </a:lnTo>
                  <a:lnTo>
                    <a:pt x="10929" y="30966"/>
                  </a:lnTo>
                  <a:lnTo>
                    <a:pt x="9108" y="30966"/>
                  </a:lnTo>
                  <a:lnTo>
                    <a:pt x="9108" y="29145"/>
                  </a:lnTo>
                  <a:lnTo>
                    <a:pt x="5465" y="20037"/>
                  </a:lnTo>
                  <a:lnTo>
                    <a:pt x="8197" y="14572"/>
                  </a:lnTo>
                  <a:lnTo>
                    <a:pt x="0" y="14572"/>
                  </a:lnTo>
                  <a:lnTo>
                    <a:pt x="0" y="12751"/>
                  </a:lnTo>
                  <a:lnTo>
                    <a:pt x="5205" y="7547"/>
                  </a:lnTo>
                  <a:lnTo>
                    <a:pt x="3643" y="5464"/>
                  </a:lnTo>
                  <a:lnTo>
                    <a:pt x="3643" y="182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3" name="Venezuela">
              <a:extLst>
                <a:ext uri="{FF2B5EF4-FFF2-40B4-BE49-F238E27FC236}">
                  <a16:creationId xmlns:a16="http://schemas.microsoft.com/office/drawing/2014/main" id="{67663718-964D-3DB7-293E-7C90DD134DAE}"/>
                </a:ext>
              </a:extLst>
            </p:cNvPr>
            <p:cNvSpPr>
              <a:spLocks noEditPoints="1"/>
            </p:cNvSpPr>
            <p:nvPr/>
          </p:nvSpPr>
          <p:spPr bwMode="auto">
            <a:xfrm>
              <a:off x="4094679" y="4300084"/>
              <a:ext cx="323464" cy="272867"/>
            </a:xfrm>
            <a:custGeom>
              <a:avLst/>
              <a:gdLst>
                <a:gd name="T0" fmla="*/ 21 w 179"/>
                <a:gd name="T1" fmla="*/ 30 h 151"/>
                <a:gd name="T2" fmla="*/ 23 w 179"/>
                <a:gd name="T3" fmla="*/ 41 h 151"/>
                <a:gd name="T4" fmla="*/ 29 w 179"/>
                <a:gd name="T5" fmla="*/ 33 h 151"/>
                <a:gd name="T6" fmla="*/ 25 w 179"/>
                <a:gd name="T7" fmla="*/ 21 h 151"/>
                <a:gd name="T8" fmla="*/ 50 w 179"/>
                <a:gd name="T9" fmla="*/ 9 h 151"/>
                <a:gd name="T10" fmla="*/ 71 w 179"/>
                <a:gd name="T11" fmla="*/ 22 h 151"/>
                <a:gd name="T12" fmla="*/ 90 w 179"/>
                <a:gd name="T13" fmla="*/ 21 h 151"/>
                <a:gd name="T14" fmla="*/ 102 w 179"/>
                <a:gd name="T15" fmla="*/ 27 h 151"/>
                <a:gd name="T16" fmla="*/ 123 w 179"/>
                <a:gd name="T17" fmla="*/ 24 h 151"/>
                <a:gd name="T18" fmla="*/ 118 w 179"/>
                <a:gd name="T19" fmla="*/ 22 h 151"/>
                <a:gd name="T20" fmla="*/ 149 w 179"/>
                <a:gd name="T21" fmla="*/ 21 h 151"/>
                <a:gd name="T22" fmla="*/ 142 w 179"/>
                <a:gd name="T23" fmla="*/ 27 h 151"/>
                <a:gd name="T24" fmla="*/ 152 w 179"/>
                <a:gd name="T25" fmla="*/ 33 h 151"/>
                <a:gd name="T26" fmla="*/ 166 w 179"/>
                <a:gd name="T27" fmla="*/ 46 h 151"/>
                <a:gd name="T28" fmla="*/ 164 w 179"/>
                <a:gd name="T29" fmla="*/ 49 h 151"/>
                <a:gd name="T30" fmla="*/ 172 w 179"/>
                <a:gd name="T31" fmla="*/ 47 h 151"/>
                <a:gd name="T32" fmla="*/ 179 w 179"/>
                <a:gd name="T33" fmla="*/ 52 h 151"/>
                <a:gd name="T34" fmla="*/ 178 w 179"/>
                <a:gd name="T35" fmla="*/ 55 h 151"/>
                <a:gd name="T36" fmla="*/ 166 w 179"/>
                <a:gd name="T37" fmla="*/ 67 h 151"/>
                <a:gd name="T38" fmla="*/ 170 w 179"/>
                <a:gd name="T39" fmla="*/ 68 h 151"/>
                <a:gd name="T40" fmla="*/ 160 w 179"/>
                <a:gd name="T41" fmla="*/ 80 h 151"/>
                <a:gd name="T42" fmla="*/ 167 w 179"/>
                <a:gd name="T43" fmla="*/ 93 h 151"/>
                <a:gd name="T44" fmla="*/ 136 w 179"/>
                <a:gd name="T45" fmla="*/ 111 h 151"/>
                <a:gd name="T46" fmla="*/ 114 w 179"/>
                <a:gd name="T47" fmla="*/ 108 h 151"/>
                <a:gd name="T48" fmla="*/ 120 w 179"/>
                <a:gd name="T49" fmla="*/ 120 h 151"/>
                <a:gd name="T50" fmla="*/ 132 w 179"/>
                <a:gd name="T51" fmla="*/ 129 h 151"/>
                <a:gd name="T52" fmla="*/ 133 w 179"/>
                <a:gd name="T53" fmla="*/ 132 h 151"/>
                <a:gd name="T54" fmla="*/ 132 w 179"/>
                <a:gd name="T55" fmla="*/ 133 h 151"/>
                <a:gd name="T56" fmla="*/ 120 w 179"/>
                <a:gd name="T57" fmla="*/ 141 h 151"/>
                <a:gd name="T58" fmla="*/ 92 w 179"/>
                <a:gd name="T59" fmla="*/ 151 h 151"/>
                <a:gd name="T60" fmla="*/ 84 w 179"/>
                <a:gd name="T61" fmla="*/ 144 h 151"/>
                <a:gd name="T62" fmla="*/ 72 w 179"/>
                <a:gd name="T63" fmla="*/ 124 h 151"/>
                <a:gd name="T64" fmla="*/ 80 w 179"/>
                <a:gd name="T65" fmla="*/ 117 h 151"/>
                <a:gd name="T66" fmla="*/ 71 w 179"/>
                <a:gd name="T67" fmla="*/ 101 h 151"/>
                <a:gd name="T68" fmla="*/ 72 w 179"/>
                <a:gd name="T69" fmla="*/ 80 h 151"/>
                <a:gd name="T70" fmla="*/ 52 w 179"/>
                <a:gd name="T71" fmla="*/ 81 h 151"/>
                <a:gd name="T72" fmla="*/ 37 w 179"/>
                <a:gd name="T73" fmla="*/ 68 h 151"/>
                <a:gd name="T74" fmla="*/ 19 w 179"/>
                <a:gd name="T75" fmla="*/ 68 h 151"/>
                <a:gd name="T76" fmla="*/ 13 w 179"/>
                <a:gd name="T77" fmla="*/ 53 h 151"/>
                <a:gd name="T78" fmla="*/ 0 w 179"/>
                <a:gd name="T79" fmla="*/ 41 h 151"/>
                <a:gd name="T80" fmla="*/ 10 w 179"/>
                <a:gd name="T81" fmla="*/ 18 h 151"/>
                <a:gd name="T82" fmla="*/ 26 w 179"/>
                <a:gd name="T83" fmla="*/ 4 h 151"/>
                <a:gd name="T84" fmla="*/ 28 w 179"/>
                <a:gd name="T85" fmla="*/ 6 h 151"/>
                <a:gd name="T86" fmla="*/ 25 w 179"/>
                <a:gd name="T87" fmla="*/ 19 h 151"/>
                <a:gd name="T88" fmla="*/ 47 w 179"/>
                <a:gd name="T89" fmla="*/ 9 h 151"/>
                <a:gd name="T90" fmla="*/ 41 w 179"/>
                <a:gd name="T91" fmla="*/ 7 h 151"/>
                <a:gd name="T92" fmla="*/ 40 w 179"/>
                <a:gd name="T93" fmla="*/ 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9" h="151">
                  <a:moveTo>
                    <a:pt x="25" y="21"/>
                  </a:moveTo>
                  <a:lnTo>
                    <a:pt x="21" y="30"/>
                  </a:lnTo>
                  <a:lnTo>
                    <a:pt x="21" y="34"/>
                  </a:lnTo>
                  <a:lnTo>
                    <a:pt x="23" y="41"/>
                  </a:lnTo>
                  <a:lnTo>
                    <a:pt x="31" y="37"/>
                  </a:lnTo>
                  <a:lnTo>
                    <a:pt x="29" y="33"/>
                  </a:lnTo>
                  <a:lnTo>
                    <a:pt x="25" y="25"/>
                  </a:lnTo>
                  <a:lnTo>
                    <a:pt x="25" y="21"/>
                  </a:lnTo>
                  <a:close/>
                  <a:moveTo>
                    <a:pt x="46" y="0"/>
                  </a:moveTo>
                  <a:lnTo>
                    <a:pt x="50" y="9"/>
                  </a:lnTo>
                  <a:lnTo>
                    <a:pt x="66" y="13"/>
                  </a:lnTo>
                  <a:lnTo>
                    <a:pt x="71" y="22"/>
                  </a:lnTo>
                  <a:lnTo>
                    <a:pt x="83" y="22"/>
                  </a:lnTo>
                  <a:lnTo>
                    <a:pt x="90" y="21"/>
                  </a:lnTo>
                  <a:lnTo>
                    <a:pt x="96" y="21"/>
                  </a:lnTo>
                  <a:lnTo>
                    <a:pt x="102" y="27"/>
                  </a:lnTo>
                  <a:lnTo>
                    <a:pt x="108" y="27"/>
                  </a:lnTo>
                  <a:lnTo>
                    <a:pt x="123" y="24"/>
                  </a:lnTo>
                  <a:lnTo>
                    <a:pt x="120" y="22"/>
                  </a:lnTo>
                  <a:lnTo>
                    <a:pt x="118" y="22"/>
                  </a:lnTo>
                  <a:lnTo>
                    <a:pt x="118" y="21"/>
                  </a:lnTo>
                  <a:lnTo>
                    <a:pt x="149" y="21"/>
                  </a:lnTo>
                  <a:lnTo>
                    <a:pt x="139" y="25"/>
                  </a:lnTo>
                  <a:lnTo>
                    <a:pt x="142" y="27"/>
                  </a:lnTo>
                  <a:lnTo>
                    <a:pt x="145" y="33"/>
                  </a:lnTo>
                  <a:lnTo>
                    <a:pt x="152" y="33"/>
                  </a:lnTo>
                  <a:lnTo>
                    <a:pt x="163" y="37"/>
                  </a:lnTo>
                  <a:lnTo>
                    <a:pt x="166" y="46"/>
                  </a:lnTo>
                  <a:lnTo>
                    <a:pt x="166" y="47"/>
                  </a:lnTo>
                  <a:lnTo>
                    <a:pt x="164" y="49"/>
                  </a:lnTo>
                  <a:lnTo>
                    <a:pt x="169" y="50"/>
                  </a:lnTo>
                  <a:lnTo>
                    <a:pt x="172" y="47"/>
                  </a:lnTo>
                  <a:lnTo>
                    <a:pt x="173" y="47"/>
                  </a:lnTo>
                  <a:lnTo>
                    <a:pt x="179" y="52"/>
                  </a:lnTo>
                  <a:lnTo>
                    <a:pt x="179" y="53"/>
                  </a:lnTo>
                  <a:lnTo>
                    <a:pt x="178" y="55"/>
                  </a:lnTo>
                  <a:lnTo>
                    <a:pt x="166" y="61"/>
                  </a:lnTo>
                  <a:lnTo>
                    <a:pt x="166" y="67"/>
                  </a:lnTo>
                  <a:lnTo>
                    <a:pt x="170" y="67"/>
                  </a:lnTo>
                  <a:lnTo>
                    <a:pt x="170" y="68"/>
                  </a:lnTo>
                  <a:lnTo>
                    <a:pt x="161" y="74"/>
                  </a:lnTo>
                  <a:lnTo>
                    <a:pt x="160" y="80"/>
                  </a:lnTo>
                  <a:lnTo>
                    <a:pt x="167" y="92"/>
                  </a:lnTo>
                  <a:lnTo>
                    <a:pt x="167" y="93"/>
                  </a:lnTo>
                  <a:lnTo>
                    <a:pt x="163" y="101"/>
                  </a:lnTo>
                  <a:lnTo>
                    <a:pt x="136" y="111"/>
                  </a:lnTo>
                  <a:lnTo>
                    <a:pt x="114" y="105"/>
                  </a:lnTo>
                  <a:lnTo>
                    <a:pt x="114" y="108"/>
                  </a:lnTo>
                  <a:lnTo>
                    <a:pt x="120" y="113"/>
                  </a:lnTo>
                  <a:lnTo>
                    <a:pt x="120" y="120"/>
                  </a:lnTo>
                  <a:lnTo>
                    <a:pt x="121" y="127"/>
                  </a:lnTo>
                  <a:lnTo>
                    <a:pt x="132" y="129"/>
                  </a:lnTo>
                  <a:lnTo>
                    <a:pt x="133" y="129"/>
                  </a:lnTo>
                  <a:lnTo>
                    <a:pt x="133" y="132"/>
                  </a:lnTo>
                  <a:lnTo>
                    <a:pt x="132" y="132"/>
                  </a:lnTo>
                  <a:lnTo>
                    <a:pt x="132" y="133"/>
                  </a:lnTo>
                  <a:lnTo>
                    <a:pt x="123" y="136"/>
                  </a:lnTo>
                  <a:lnTo>
                    <a:pt x="120" y="141"/>
                  </a:lnTo>
                  <a:lnTo>
                    <a:pt x="102" y="151"/>
                  </a:lnTo>
                  <a:lnTo>
                    <a:pt x="92" y="151"/>
                  </a:lnTo>
                  <a:lnTo>
                    <a:pt x="92" y="150"/>
                  </a:lnTo>
                  <a:lnTo>
                    <a:pt x="84" y="144"/>
                  </a:lnTo>
                  <a:lnTo>
                    <a:pt x="78" y="130"/>
                  </a:lnTo>
                  <a:lnTo>
                    <a:pt x="72" y="124"/>
                  </a:lnTo>
                  <a:lnTo>
                    <a:pt x="72" y="123"/>
                  </a:lnTo>
                  <a:lnTo>
                    <a:pt x="80" y="117"/>
                  </a:lnTo>
                  <a:lnTo>
                    <a:pt x="74" y="108"/>
                  </a:lnTo>
                  <a:lnTo>
                    <a:pt x="71" y="101"/>
                  </a:lnTo>
                  <a:lnTo>
                    <a:pt x="77" y="80"/>
                  </a:lnTo>
                  <a:lnTo>
                    <a:pt x="72" y="80"/>
                  </a:lnTo>
                  <a:lnTo>
                    <a:pt x="65" y="81"/>
                  </a:lnTo>
                  <a:lnTo>
                    <a:pt x="52" y="81"/>
                  </a:lnTo>
                  <a:lnTo>
                    <a:pt x="43" y="70"/>
                  </a:lnTo>
                  <a:lnTo>
                    <a:pt x="37" y="68"/>
                  </a:lnTo>
                  <a:lnTo>
                    <a:pt x="26" y="70"/>
                  </a:lnTo>
                  <a:lnTo>
                    <a:pt x="19" y="68"/>
                  </a:lnTo>
                  <a:lnTo>
                    <a:pt x="13" y="64"/>
                  </a:lnTo>
                  <a:lnTo>
                    <a:pt x="13" y="53"/>
                  </a:lnTo>
                  <a:lnTo>
                    <a:pt x="7" y="41"/>
                  </a:lnTo>
                  <a:lnTo>
                    <a:pt x="0" y="41"/>
                  </a:lnTo>
                  <a:lnTo>
                    <a:pt x="0" y="40"/>
                  </a:lnTo>
                  <a:lnTo>
                    <a:pt x="10" y="18"/>
                  </a:lnTo>
                  <a:lnTo>
                    <a:pt x="19" y="7"/>
                  </a:lnTo>
                  <a:lnTo>
                    <a:pt x="26" y="4"/>
                  </a:lnTo>
                  <a:lnTo>
                    <a:pt x="28" y="4"/>
                  </a:lnTo>
                  <a:lnTo>
                    <a:pt x="28" y="6"/>
                  </a:lnTo>
                  <a:lnTo>
                    <a:pt x="22" y="9"/>
                  </a:lnTo>
                  <a:lnTo>
                    <a:pt x="25" y="19"/>
                  </a:lnTo>
                  <a:lnTo>
                    <a:pt x="34" y="13"/>
                  </a:lnTo>
                  <a:lnTo>
                    <a:pt x="47" y="9"/>
                  </a:lnTo>
                  <a:lnTo>
                    <a:pt x="46" y="9"/>
                  </a:lnTo>
                  <a:lnTo>
                    <a:pt x="41" y="7"/>
                  </a:lnTo>
                  <a:lnTo>
                    <a:pt x="40" y="7"/>
                  </a:lnTo>
                  <a:lnTo>
                    <a:pt x="40" y="6"/>
                  </a:lnTo>
                  <a:lnTo>
                    <a:pt x="4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4" name="Uruguay">
              <a:extLst>
                <a:ext uri="{FF2B5EF4-FFF2-40B4-BE49-F238E27FC236}">
                  <a16:creationId xmlns:a16="http://schemas.microsoft.com/office/drawing/2014/main" id="{9158DFE6-87FA-92D3-4DBB-A40F91A2700A}"/>
                </a:ext>
              </a:extLst>
            </p:cNvPr>
            <p:cNvSpPr>
              <a:spLocks/>
            </p:cNvSpPr>
            <p:nvPr/>
          </p:nvSpPr>
          <p:spPr bwMode="auto">
            <a:xfrm>
              <a:off x="4445249" y="5328302"/>
              <a:ext cx="128302" cy="137337"/>
            </a:xfrm>
            <a:custGeom>
              <a:avLst/>
              <a:gdLst>
                <a:gd name="T0" fmla="*/ 19 w 71"/>
                <a:gd name="T1" fmla="*/ 0 h 76"/>
                <a:gd name="T2" fmla="*/ 24 w 71"/>
                <a:gd name="T3" fmla="*/ 0 h 76"/>
                <a:gd name="T4" fmla="*/ 31 w 71"/>
                <a:gd name="T5" fmla="*/ 8 h 76"/>
                <a:gd name="T6" fmla="*/ 33 w 71"/>
                <a:gd name="T7" fmla="*/ 14 h 76"/>
                <a:gd name="T8" fmla="*/ 38 w 71"/>
                <a:gd name="T9" fmla="*/ 11 h 76"/>
                <a:gd name="T10" fmla="*/ 38 w 71"/>
                <a:gd name="T11" fmla="*/ 12 h 76"/>
                <a:gd name="T12" fmla="*/ 44 w 71"/>
                <a:gd name="T13" fmla="*/ 18 h 76"/>
                <a:gd name="T14" fmla="*/ 62 w 71"/>
                <a:gd name="T15" fmla="*/ 28 h 76"/>
                <a:gd name="T16" fmla="*/ 65 w 71"/>
                <a:gd name="T17" fmla="*/ 36 h 76"/>
                <a:gd name="T18" fmla="*/ 71 w 71"/>
                <a:gd name="T19" fmla="*/ 40 h 76"/>
                <a:gd name="T20" fmla="*/ 71 w 71"/>
                <a:gd name="T21" fmla="*/ 42 h 76"/>
                <a:gd name="T22" fmla="*/ 67 w 71"/>
                <a:gd name="T23" fmla="*/ 48 h 76"/>
                <a:gd name="T24" fmla="*/ 68 w 71"/>
                <a:gd name="T25" fmla="*/ 57 h 76"/>
                <a:gd name="T26" fmla="*/ 68 w 71"/>
                <a:gd name="T27" fmla="*/ 58 h 76"/>
                <a:gd name="T28" fmla="*/ 58 w 71"/>
                <a:gd name="T29" fmla="*/ 71 h 76"/>
                <a:gd name="T30" fmla="*/ 47 w 71"/>
                <a:gd name="T31" fmla="*/ 76 h 76"/>
                <a:gd name="T32" fmla="*/ 31 w 71"/>
                <a:gd name="T33" fmla="*/ 74 h 76"/>
                <a:gd name="T34" fmla="*/ 16 w 71"/>
                <a:gd name="T35" fmla="*/ 68 h 76"/>
                <a:gd name="T36" fmla="*/ 7 w 71"/>
                <a:gd name="T37" fmla="*/ 68 h 76"/>
                <a:gd name="T38" fmla="*/ 1 w 71"/>
                <a:gd name="T39" fmla="*/ 61 h 76"/>
                <a:gd name="T40" fmla="*/ 0 w 71"/>
                <a:gd name="T41" fmla="*/ 61 h 76"/>
                <a:gd name="T42" fmla="*/ 4 w 71"/>
                <a:gd name="T43" fmla="*/ 43 h 76"/>
                <a:gd name="T44" fmla="*/ 7 w 71"/>
                <a:gd name="T45" fmla="*/ 8 h 76"/>
                <a:gd name="T46" fmla="*/ 12 w 71"/>
                <a:gd name="T47" fmla="*/ 2 h 76"/>
                <a:gd name="T48" fmla="*/ 15 w 71"/>
                <a:gd name="T49" fmla="*/ 2 h 76"/>
                <a:gd name="T50" fmla="*/ 19 w 71"/>
                <a:gd name="T5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 h="76">
                  <a:moveTo>
                    <a:pt x="19" y="0"/>
                  </a:moveTo>
                  <a:lnTo>
                    <a:pt x="24" y="0"/>
                  </a:lnTo>
                  <a:lnTo>
                    <a:pt x="31" y="8"/>
                  </a:lnTo>
                  <a:lnTo>
                    <a:pt x="33" y="14"/>
                  </a:lnTo>
                  <a:lnTo>
                    <a:pt x="38" y="11"/>
                  </a:lnTo>
                  <a:lnTo>
                    <a:pt x="38" y="12"/>
                  </a:lnTo>
                  <a:lnTo>
                    <a:pt x="44" y="18"/>
                  </a:lnTo>
                  <a:lnTo>
                    <a:pt x="62" y="28"/>
                  </a:lnTo>
                  <a:lnTo>
                    <a:pt x="65" y="36"/>
                  </a:lnTo>
                  <a:lnTo>
                    <a:pt x="71" y="40"/>
                  </a:lnTo>
                  <a:lnTo>
                    <a:pt x="71" y="42"/>
                  </a:lnTo>
                  <a:lnTo>
                    <a:pt x="67" y="48"/>
                  </a:lnTo>
                  <a:lnTo>
                    <a:pt x="68" y="57"/>
                  </a:lnTo>
                  <a:lnTo>
                    <a:pt x="68" y="58"/>
                  </a:lnTo>
                  <a:lnTo>
                    <a:pt x="58" y="71"/>
                  </a:lnTo>
                  <a:lnTo>
                    <a:pt x="47" y="76"/>
                  </a:lnTo>
                  <a:lnTo>
                    <a:pt x="31" y="74"/>
                  </a:lnTo>
                  <a:lnTo>
                    <a:pt x="16" y="68"/>
                  </a:lnTo>
                  <a:lnTo>
                    <a:pt x="7" y="68"/>
                  </a:lnTo>
                  <a:lnTo>
                    <a:pt x="1" y="61"/>
                  </a:lnTo>
                  <a:lnTo>
                    <a:pt x="0" y="61"/>
                  </a:lnTo>
                  <a:lnTo>
                    <a:pt x="4" y="43"/>
                  </a:lnTo>
                  <a:lnTo>
                    <a:pt x="7" y="8"/>
                  </a:lnTo>
                  <a:lnTo>
                    <a:pt x="12" y="2"/>
                  </a:lnTo>
                  <a:lnTo>
                    <a:pt x="15" y="2"/>
                  </a:lnTo>
                  <a:lnTo>
                    <a:pt x="1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5" name="Trinidad &amp; Tobago">
              <a:extLst>
                <a:ext uri="{FF2B5EF4-FFF2-40B4-BE49-F238E27FC236}">
                  <a16:creationId xmlns:a16="http://schemas.microsoft.com/office/drawing/2014/main" id="{351CA2E6-F29C-9584-EF1A-79CC6A170E41}"/>
                </a:ext>
              </a:extLst>
            </p:cNvPr>
            <p:cNvSpPr>
              <a:spLocks/>
            </p:cNvSpPr>
            <p:nvPr/>
          </p:nvSpPr>
          <p:spPr bwMode="auto">
            <a:xfrm>
              <a:off x="4363932" y="4334418"/>
              <a:ext cx="27107" cy="19879"/>
            </a:xfrm>
            <a:custGeom>
              <a:avLst/>
              <a:gdLst>
                <a:gd name="T0" fmla="*/ 3 w 15"/>
                <a:gd name="T1" fmla="*/ 0 h 11"/>
                <a:gd name="T2" fmla="*/ 15 w 15"/>
                <a:gd name="T3" fmla="*/ 0 h 11"/>
                <a:gd name="T4" fmla="*/ 15 w 15"/>
                <a:gd name="T5" fmla="*/ 2 h 11"/>
                <a:gd name="T6" fmla="*/ 14 w 15"/>
                <a:gd name="T7" fmla="*/ 2 h 11"/>
                <a:gd name="T8" fmla="*/ 12 w 15"/>
                <a:gd name="T9" fmla="*/ 9 h 11"/>
                <a:gd name="T10" fmla="*/ 8 w 15"/>
                <a:gd name="T11" fmla="*/ 9 h 11"/>
                <a:gd name="T12" fmla="*/ 5 w 15"/>
                <a:gd name="T13" fmla="*/ 11 h 11"/>
                <a:gd name="T14" fmla="*/ 0 w 15"/>
                <a:gd name="T15" fmla="*/ 11 h 11"/>
                <a:gd name="T16" fmla="*/ 0 w 15"/>
                <a:gd name="T17" fmla="*/ 9 h 11"/>
                <a:gd name="T18" fmla="*/ 6 w 15"/>
                <a:gd name="T19" fmla="*/ 6 h 11"/>
                <a:gd name="T20" fmla="*/ 3 w 15"/>
                <a:gd name="T21" fmla="*/ 2 h 11"/>
                <a:gd name="T22" fmla="*/ 3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3" y="0"/>
                  </a:moveTo>
                  <a:lnTo>
                    <a:pt x="15" y="0"/>
                  </a:lnTo>
                  <a:lnTo>
                    <a:pt x="15" y="2"/>
                  </a:lnTo>
                  <a:lnTo>
                    <a:pt x="14" y="2"/>
                  </a:lnTo>
                  <a:lnTo>
                    <a:pt x="12" y="9"/>
                  </a:lnTo>
                  <a:lnTo>
                    <a:pt x="8" y="9"/>
                  </a:lnTo>
                  <a:lnTo>
                    <a:pt x="5" y="11"/>
                  </a:lnTo>
                  <a:lnTo>
                    <a:pt x="0" y="11"/>
                  </a:lnTo>
                  <a:lnTo>
                    <a:pt x="0" y="9"/>
                  </a:lnTo>
                  <a:lnTo>
                    <a:pt x="6" y="6"/>
                  </a:lnTo>
                  <a:lnTo>
                    <a:pt x="3" y="2"/>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6" name="Suriname">
              <a:extLst>
                <a:ext uri="{FF2B5EF4-FFF2-40B4-BE49-F238E27FC236}">
                  <a16:creationId xmlns:a16="http://schemas.microsoft.com/office/drawing/2014/main" id="{9281EAF6-45AF-2055-D675-21705359556E}"/>
                </a:ext>
              </a:extLst>
            </p:cNvPr>
            <p:cNvSpPr>
              <a:spLocks/>
            </p:cNvSpPr>
            <p:nvPr/>
          </p:nvSpPr>
          <p:spPr bwMode="auto">
            <a:xfrm>
              <a:off x="4456091" y="4446456"/>
              <a:ext cx="99389" cy="99389"/>
            </a:xfrm>
            <a:custGeom>
              <a:avLst/>
              <a:gdLst>
                <a:gd name="T0" fmla="*/ 41 w 55"/>
                <a:gd name="T1" fmla="*/ 0 h 55"/>
                <a:gd name="T2" fmla="*/ 55 w 55"/>
                <a:gd name="T3" fmla="*/ 3 h 55"/>
                <a:gd name="T4" fmla="*/ 55 w 55"/>
                <a:gd name="T5" fmla="*/ 8 h 55"/>
                <a:gd name="T6" fmla="*/ 50 w 55"/>
                <a:gd name="T7" fmla="*/ 15 h 55"/>
                <a:gd name="T8" fmla="*/ 50 w 55"/>
                <a:gd name="T9" fmla="*/ 23 h 55"/>
                <a:gd name="T10" fmla="*/ 55 w 55"/>
                <a:gd name="T11" fmla="*/ 32 h 55"/>
                <a:gd name="T12" fmla="*/ 53 w 55"/>
                <a:gd name="T13" fmla="*/ 45 h 55"/>
                <a:gd name="T14" fmla="*/ 49 w 55"/>
                <a:gd name="T15" fmla="*/ 49 h 55"/>
                <a:gd name="T16" fmla="*/ 47 w 55"/>
                <a:gd name="T17" fmla="*/ 49 h 55"/>
                <a:gd name="T18" fmla="*/ 41 w 55"/>
                <a:gd name="T19" fmla="*/ 46 h 55"/>
                <a:gd name="T20" fmla="*/ 31 w 55"/>
                <a:gd name="T21" fmla="*/ 48 h 55"/>
                <a:gd name="T22" fmla="*/ 30 w 55"/>
                <a:gd name="T23" fmla="*/ 55 h 55"/>
                <a:gd name="T24" fmla="*/ 21 w 55"/>
                <a:gd name="T25" fmla="*/ 55 h 55"/>
                <a:gd name="T26" fmla="*/ 15 w 55"/>
                <a:gd name="T27" fmla="*/ 48 h 55"/>
                <a:gd name="T28" fmla="*/ 10 w 55"/>
                <a:gd name="T29" fmla="*/ 38 h 55"/>
                <a:gd name="T30" fmla="*/ 6 w 55"/>
                <a:gd name="T31" fmla="*/ 36 h 55"/>
                <a:gd name="T32" fmla="*/ 0 w 55"/>
                <a:gd name="T33" fmla="*/ 26 h 55"/>
                <a:gd name="T34" fmla="*/ 1 w 55"/>
                <a:gd name="T35" fmla="*/ 15 h 55"/>
                <a:gd name="T36" fmla="*/ 3 w 55"/>
                <a:gd name="T37" fmla="*/ 15 h 55"/>
                <a:gd name="T38" fmla="*/ 9 w 55"/>
                <a:gd name="T39" fmla="*/ 14 h 55"/>
                <a:gd name="T40" fmla="*/ 13 w 55"/>
                <a:gd name="T41" fmla="*/ 3 h 55"/>
                <a:gd name="T42" fmla="*/ 13 w 55"/>
                <a:gd name="T43" fmla="*/ 2 h 55"/>
                <a:gd name="T44" fmla="*/ 15 w 55"/>
                <a:gd name="T45" fmla="*/ 2 h 55"/>
                <a:gd name="T46" fmla="*/ 41 w 55"/>
                <a:gd name="T4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55">
                  <a:moveTo>
                    <a:pt x="41" y="0"/>
                  </a:moveTo>
                  <a:lnTo>
                    <a:pt x="55" y="3"/>
                  </a:lnTo>
                  <a:lnTo>
                    <a:pt x="55" y="8"/>
                  </a:lnTo>
                  <a:lnTo>
                    <a:pt x="50" y="15"/>
                  </a:lnTo>
                  <a:lnTo>
                    <a:pt x="50" y="23"/>
                  </a:lnTo>
                  <a:lnTo>
                    <a:pt x="55" y="32"/>
                  </a:lnTo>
                  <a:lnTo>
                    <a:pt x="53" y="45"/>
                  </a:lnTo>
                  <a:lnTo>
                    <a:pt x="49" y="49"/>
                  </a:lnTo>
                  <a:lnTo>
                    <a:pt x="47" y="49"/>
                  </a:lnTo>
                  <a:lnTo>
                    <a:pt x="41" y="46"/>
                  </a:lnTo>
                  <a:lnTo>
                    <a:pt x="31" y="48"/>
                  </a:lnTo>
                  <a:lnTo>
                    <a:pt x="30" y="55"/>
                  </a:lnTo>
                  <a:lnTo>
                    <a:pt x="21" y="55"/>
                  </a:lnTo>
                  <a:lnTo>
                    <a:pt x="15" y="48"/>
                  </a:lnTo>
                  <a:lnTo>
                    <a:pt x="10" y="38"/>
                  </a:lnTo>
                  <a:lnTo>
                    <a:pt x="6" y="36"/>
                  </a:lnTo>
                  <a:lnTo>
                    <a:pt x="0" y="26"/>
                  </a:lnTo>
                  <a:lnTo>
                    <a:pt x="1" y="15"/>
                  </a:lnTo>
                  <a:lnTo>
                    <a:pt x="3" y="15"/>
                  </a:lnTo>
                  <a:lnTo>
                    <a:pt x="9" y="14"/>
                  </a:lnTo>
                  <a:lnTo>
                    <a:pt x="13" y="3"/>
                  </a:lnTo>
                  <a:lnTo>
                    <a:pt x="13" y="2"/>
                  </a:lnTo>
                  <a:lnTo>
                    <a:pt x="15" y="2"/>
                  </a:lnTo>
                  <a:lnTo>
                    <a:pt x="4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7" name="Peru">
              <a:extLst>
                <a:ext uri="{FF2B5EF4-FFF2-40B4-BE49-F238E27FC236}">
                  <a16:creationId xmlns:a16="http://schemas.microsoft.com/office/drawing/2014/main" id="{E1353DD5-7F66-C239-DC28-127A11C17327}"/>
                </a:ext>
              </a:extLst>
            </p:cNvPr>
            <p:cNvSpPr>
              <a:spLocks/>
            </p:cNvSpPr>
            <p:nvPr/>
          </p:nvSpPr>
          <p:spPr bwMode="auto">
            <a:xfrm>
              <a:off x="3906744" y="4592828"/>
              <a:ext cx="298166" cy="430081"/>
            </a:xfrm>
            <a:custGeom>
              <a:avLst/>
              <a:gdLst>
                <a:gd name="T0" fmla="*/ 82 w 165"/>
                <a:gd name="T1" fmla="*/ 0 h 238"/>
                <a:gd name="T2" fmla="*/ 86 w 165"/>
                <a:gd name="T3" fmla="*/ 1 h 238"/>
                <a:gd name="T4" fmla="*/ 101 w 165"/>
                <a:gd name="T5" fmla="*/ 13 h 238"/>
                <a:gd name="T6" fmla="*/ 107 w 165"/>
                <a:gd name="T7" fmla="*/ 20 h 238"/>
                <a:gd name="T8" fmla="*/ 110 w 165"/>
                <a:gd name="T9" fmla="*/ 29 h 238"/>
                <a:gd name="T10" fmla="*/ 123 w 165"/>
                <a:gd name="T11" fmla="*/ 26 h 238"/>
                <a:gd name="T12" fmla="*/ 130 w 165"/>
                <a:gd name="T13" fmla="*/ 29 h 238"/>
                <a:gd name="T14" fmla="*/ 145 w 165"/>
                <a:gd name="T15" fmla="*/ 31 h 238"/>
                <a:gd name="T16" fmla="*/ 148 w 165"/>
                <a:gd name="T17" fmla="*/ 37 h 238"/>
                <a:gd name="T18" fmla="*/ 148 w 165"/>
                <a:gd name="T19" fmla="*/ 51 h 238"/>
                <a:gd name="T20" fmla="*/ 117 w 165"/>
                <a:gd name="T21" fmla="*/ 65 h 238"/>
                <a:gd name="T22" fmla="*/ 108 w 165"/>
                <a:gd name="T23" fmla="*/ 83 h 238"/>
                <a:gd name="T24" fmla="*/ 104 w 165"/>
                <a:gd name="T25" fmla="*/ 87 h 238"/>
                <a:gd name="T26" fmla="*/ 102 w 165"/>
                <a:gd name="T27" fmla="*/ 105 h 238"/>
                <a:gd name="T28" fmla="*/ 111 w 165"/>
                <a:gd name="T29" fmla="*/ 120 h 238"/>
                <a:gd name="T30" fmla="*/ 117 w 165"/>
                <a:gd name="T31" fmla="*/ 121 h 238"/>
                <a:gd name="T32" fmla="*/ 127 w 165"/>
                <a:gd name="T33" fmla="*/ 127 h 238"/>
                <a:gd name="T34" fmla="*/ 142 w 165"/>
                <a:gd name="T35" fmla="*/ 118 h 238"/>
                <a:gd name="T36" fmla="*/ 144 w 165"/>
                <a:gd name="T37" fmla="*/ 142 h 238"/>
                <a:gd name="T38" fmla="*/ 154 w 165"/>
                <a:gd name="T39" fmla="*/ 139 h 238"/>
                <a:gd name="T40" fmla="*/ 165 w 165"/>
                <a:gd name="T41" fmla="*/ 160 h 238"/>
                <a:gd name="T42" fmla="*/ 162 w 165"/>
                <a:gd name="T43" fmla="*/ 188 h 238"/>
                <a:gd name="T44" fmla="*/ 160 w 165"/>
                <a:gd name="T45" fmla="*/ 197 h 238"/>
                <a:gd name="T46" fmla="*/ 157 w 165"/>
                <a:gd name="T47" fmla="*/ 203 h 238"/>
                <a:gd name="T48" fmla="*/ 162 w 165"/>
                <a:gd name="T49" fmla="*/ 215 h 238"/>
                <a:gd name="T50" fmla="*/ 154 w 165"/>
                <a:gd name="T51" fmla="*/ 226 h 238"/>
                <a:gd name="T52" fmla="*/ 151 w 165"/>
                <a:gd name="T53" fmla="*/ 235 h 238"/>
                <a:gd name="T54" fmla="*/ 141 w 165"/>
                <a:gd name="T55" fmla="*/ 238 h 238"/>
                <a:gd name="T56" fmla="*/ 98 w 165"/>
                <a:gd name="T57" fmla="*/ 213 h 238"/>
                <a:gd name="T58" fmla="*/ 65 w 165"/>
                <a:gd name="T59" fmla="*/ 186 h 238"/>
                <a:gd name="T60" fmla="*/ 64 w 165"/>
                <a:gd name="T61" fmla="*/ 172 h 238"/>
                <a:gd name="T62" fmla="*/ 31 w 165"/>
                <a:gd name="T63" fmla="*/ 106 h 238"/>
                <a:gd name="T64" fmla="*/ 18 w 165"/>
                <a:gd name="T65" fmla="*/ 87 h 238"/>
                <a:gd name="T66" fmla="*/ 3 w 165"/>
                <a:gd name="T67" fmla="*/ 74 h 238"/>
                <a:gd name="T68" fmla="*/ 3 w 165"/>
                <a:gd name="T69" fmla="*/ 68 h 238"/>
                <a:gd name="T70" fmla="*/ 1 w 165"/>
                <a:gd name="T71" fmla="*/ 54 h 238"/>
                <a:gd name="T72" fmla="*/ 13 w 165"/>
                <a:gd name="T73" fmla="*/ 43 h 238"/>
                <a:gd name="T74" fmla="*/ 10 w 165"/>
                <a:gd name="T75" fmla="*/ 51 h 238"/>
                <a:gd name="T76" fmla="*/ 16 w 165"/>
                <a:gd name="T77" fmla="*/ 56 h 238"/>
                <a:gd name="T78" fmla="*/ 24 w 165"/>
                <a:gd name="T79" fmla="*/ 57 h 238"/>
                <a:gd name="T80" fmla="*/ 30 w 165"/>
                <a:gd name="T81" fmla="*/ 62 h 238"/>
                <a:gd name="T82" fmla="*/ 34 w 165"/>
                <a:gd name="T83" fmla="*/ 50 h 238"/>
                <a:gd name="T84" fmla="*/ 42 w 165"/>
                <a:gd name="T85" fmla="*/ 44 h 238"/>
                <a:gd name="T86" fmla="*/ 43 w 165"/>
                <a:gd name="T87" fmla="*/ 38 h 238"/>
                <a:gd name="T88" fmla="*/ 73 w 165"/>
                <a:gd name="T89" fmla="*/ 20 h 238"/>
                <a:gd name="T90" fmla="*/ 80 w 165"/>
                <a:gd name="T91" fmla="*/ 10 h 238"/>
                <a:gd name="T92" fmla="*/ 74 w 165"/>
                <a:gd name="T93" fmla="*/ 1 h 238"/>
                <a:gd name="T94" fmla="*/ 79 w 165"/>
                <a:gd name="T9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5" h="238">
                  <a:moveTo>
                    <a:pt x="79" y="0"/>
                  </a:moveTo>
                  <a:lnTo>
                    <a:pt x="82" y="0"/>
                  </a:lnTo>
                  <a:lnTo>
                    <a:pt x="83" y="1"/>
                  </a:lnTo>
                  <a:lnTo>
                    <a:pt x="86" y="1"/>
                  </a:lnTo>
                  <a:lnTo>
                    <a:pt x="95" y="11"/>
                  </a:lnTo>
                  <a:lnTo>
                    <a:pt x="101" y="13"/>
                  </a:lnTo>
                  <a:lnTo>
                    <a:pt x="102" y="20"/>
                  </a:lnTo>
                  <a:lnTo>
                    <a:pt x="107" y="20"/>
                  </a:lnTo>
                  <a:lnTo>
                    <a:pt x="107" y="22"/>
                  </a:lnTo>
                  <a:lnTo>
                    <a:pt x="110" y="29"/>
                  </a:lnTo>
                  <a:lnTo>
                    <a:pt x="119" y="31"/>
                  </a:lnTo>
                  <a:lnTo>
                    <a:pt x="123" y="26"/>
                  </a:lnTo>
                  <a:lnTo>
                    <a:pt x="125" y="26"/>
                  </a:lnTo>
                  <a:lnTo>
                    <a:pt x="130" y="29"/>
                  </a:lnTo>
                  <a:lnTo>
                    <a:pt x="135" y="26"/>
                  </a:lnTo>
                  <a:lnTo>
                    <a:pt x="145" y="31"/>
                  </a:lnTo>
                  <a:lnTo>
                    <a:pt x="148" y="35"/>
                  </a:lnTo>
                  <a:lnTo>
                    <a:pt x="148" y="37"/>
                  </a:lnTo>
                  <a:lnTo>
                    <a:pt x="141" y="47"/>
                  </a:lnTo>
                  <a:lnTo>
                    <a:pt x="148" y="51"/>
                  </a:lnTo>
                  <a:lnTo>
                    <a:pt x="127" y="57"/>
                  </a:lnTo>
                  <a:lnTo>
                    <a:pt x="117" y="65"/>
                  </a:lnTo>
                  <a:lnTo>
                    <a:pt x="110" y="75"/>
                  </a:lnTo>
                  <a:lnTo>
                    <a:pt x="108" y="83"/>
                  </a:lnTo>
                  <a:lnTo>
                    <a:pt x="108" y="84"/>
                  </a:lnTo>
                  <a:lnTo>
                    <a:pt x="104" y="87"/>
                  </a:lnTo>
                  <a:lnTo>
                    <a:pt x="99" y="96"/>
                  </a:lnTo>
                  <a:lnTo>
                    <a:pt x="102" y="105"/>
                  </a:lnTo>
                  <a:lnTo>
                    <a:pt x="111" y="114"/>
                  </a:lnTo>
                  <a:lnTo>
                    <a:pt x="111" y="120"/>
                  </a:lnTo>
                  <a:lnTo>
                    <a:pt x="117" y="120"/>
                  </a:lnTo>
                  <a:lnTo>
                    <a:pt x="117" y="121"/>
                  </a:lnTo>
                  <a:lnTo>
                    <a:pt x="122" y="126"/>
                  </a:lnTo>
                  <a:lnTo>
                    <a:pt x="127" y="127"/>
                  </a:lnTo>
                  <a:lnTo>
                    <a:pt x="141" y="118"/>
                  </a:lnTo>
                  <a:lnTo>
                    <a:pt x="142" y="118"/>
                  </a:lnTo>
                  <a:lnTo>
                    <a:pt x="142" y="140"/>
                  </a:lnTo>
                  <a:lnTo>
                    <a:pt x="144" y="142"/>
                  </a:lnTo>
                  <a:lnTo>
                    <a:pt x="153" y="139"/>
                  </a:lnTo>
                  <a:lnTo>
                    <a:pt x="154" y="139"/>
                  </a:lnTo>
                  <a:lnTo>
                    <a:pt x="154" y="140"/>
                  </a:lnTo>
                  <a:lnTo>
                    <a:pt x="165" y="160"/>
                  </a:lnTo>
                  <a:lnTo>
                    <a:pt x="162" y="166"/>
                  </a:lnTo>
                  <a:lnTo>
                    <a:pt x="162" y="188"/>
                  </a:lnTo>
                  <a:lnTo>
                    <a:pt x="157" y="191"/>
                  </a:lnTo>
                  <a:lnTo>
                    <a:pt x="160" y="197"/>
                  </a:lnTo>
                  <a:lnTo>
                    <a:pt x="160" y="198"/>
                  </a:lnTo>
                  <a:lnTo>
                    <a:pt x="157" y="203"/>
                  </a:lnTo>
                  <a:lnTo>
                    <a:pt x="157" y="207"/>
                  </a:lnTo>
                  <a:lnTo>
                    <a:pt x="162" y="215"/>
                  </a:lnTo>
                  <a:lnTo>
                    <a:pt x="162" y="216"/>
                  </a:lnTo>
                  <a:lnTo>
                    <a:pt x="154" y="226"/>
                  </a:lnTo>
                  <a:lnTo>
                    <a:pt x="154" y="229"/>
                  </a:lnTo>
                  <a:lnTo>
                    <a:pt x="151" y="235"/>
                  </a:lnTo>
                  <a:lnTo>
                    <a:pt x="151" y="237"/>
                  </a:lnTo>
                  <a:lnTo>
                    <a:pt x="141" y="238"/>
                  </a:lnTo>
                  <a:lnTo>
                    <a:pt x="117" y="219"/>
                  </a:lnTo>
                  <a:lnTo>
                    <a:pt x="98" y="213"/>
                  </a:lnTo>
                  <a:lnTo>
                    <a:pt x="80" y="200"/>
                  </a:lnTo>
                  <a:lnTo>
                    <a:pt x="65" y="186"/>
                  </a:lnTo>
                  <a:lnTo>
                    <a:pt x="65" y="185"/>
                  </a:lnTo>
                  <a:lnTo>
                    <a:pt x="64" y="172"/>
                  </a:lnTo>
                  <a:lnTo>
                    <a:pt x="47" y="148"/>
                  </a:lnTo>
                  <a:lnTo>
                    <a:pt x="31" y="106"/>
                  </a:lnTo>
                  <a:lnTo>
                    <a:pt x="25" y="100"/>
                  </a:lnTo>
                  <a:lnTo>
                    <a:pt x="18" y="87"/>
                  </a:lnTo>
                  <a:lnTo>
                    <a:pt x="3" y="75"/>
                  </a:lnTo>
                  <a:lnTo>
                    <a:pt x="3" y="74"/>
                  </a:lnTo>
                  <a:lnTo>
                    <a:pt x="4" y="71"/>
                  </a:lnTo>
                  <a:lnTo>
                    <a:pt x="3" y="68"/>
                  </a:lnTo>
                  <a:lnTo>
                    <a:pt x="0" y="54"/>
                  </a:lnTo>
                  <a:lnTo>
                    <a:pt x="1" y="54"/>
                  </a:lnTo>
                  <a:lnTo>
                    <a:pt x="12" y="43"/>
                  </a:lnTo>
                  <a:lnTo>
                    <a:pt x="13" y="43"/>
                  </a:lnTo>
                  <a:lnTo>
                    <a:pt x="15" y="48"/>
                  </a:lnTo>
                  <a:lnTo>
                    <a:pt x="10" y="51"/>
                  </a:lnTo>
                  <a:lnTo>
                    <a:pt x="12" y="56"/>
                  </a:lnTo>
                  <a:lnTo>
                    <a:pt x="16" y="56"/>
                  </a:lnTo>
                  <a:lnTo>
                    <a:pt x="22" y="57"/>
                  </a:lnTo>
                  <a:lnTo>
                    <a:pt x="24" y="57"/>
                  </a:lnTo>
                  <a:lnTo>
                    <a:pt x="25" y="62"/>
                  </a:lnTo>
                  <a:lnTo>
                    <a:pt x="30" y="62"/>
                  </a:lnTo>
                  <a:lnTo>
                    <a:pt x="34" y="59"/>
                  </a:lnTo>
                  <a:lnTo>
                    <a:pt x="34" y="50"/>
                  </a:lnTo>
                  <a:lnTo>
                    <a:pt x="37" y="44"/>
                  </a:lnTo>
                  <a:lnTo>
                    <a:pt x="42" y="44"/>
                  </a:lnTo>
                  <a:lnTo>
                    <a:pt x="43" y="40"/>
                  </a:lnTo>
                  <a:lnTo>
                    <a:pt x="43" y="38"/>
                  </a:lnTo>
                  <a:lnTo>
                    <a:pt x="61" y="31"/>
                  </a:lnTo>
                  <a:lnTo>
                    <a:pt x="73" y="20"/>
                  </a:lnTo>
                  <a:lnTo>
                    <a:pt x="79" y="10"/>
                  </a:lnTo>
                  <a:lnTo>
                    <a:pt x="80" y="10"/>
                  </a:lnTo>
                  <a:lnTo>
                    <a:pt x="74" y="2"/>
                  </a:lnTo>
                  <a:lnTo>
                    <a:pt x="74" y="1"/>
                  </a:lnTo>
                  <a:lnTo>
                    <a:pt x="76" y="1"/>
                  </a:lnTo>
                  <a:lnTo>
                    <a:pt x="7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8" name="Paraguay">
              <a:extLst>
                <a:ext uri="{FF2B5EF4-FFF2-40B4-BE49-F238E27FC236}">
                  <a16:creationId xmlns:a16="http://schemas.microsoft.com/office/drawing/2014/main" id="{261D62AC-351C-2B4C-0975-EC56716ACA5D}"/>
                </a:ext>
              </a:extLst>
            </p:cNvPr>
            <p:cNvSpPr>
              <a:spLocks/>
            </p:cNvSpPr>
            <p:nvPr/>
          </p:nvSpPr>
          <p:spPr bwMode="auto">
            <a:xfrm>
              <a:off x="4345861" y="5048207"/>
              <a:ext cx="200584" cy="213233"/>
            </a:xfrm>
            <a:custGeom>
              <a:avLst/>
              <a:gdLst>
                <a:gd name="T0" fmla="*/ 37 w 111"/>
                <a:gd name="T1" fmla="*/ 0 h 118"/>
                <a:gd name="T2" fmla="*/ 48 w 111"/>
                <a:gd name="T3" fmla="*/ 0 h 118"/>
                <a:gd name="T4" fmla="*/ 53 w 111"/>
                <a:gd name="T5" fmla="*/ 3 h 118"/>
                <a:gd name="T6" fmla="*/ 61 w 111"/>
                <a:gd name="T7" fmla="*/ 11 h 118"/>
                <a:gd name="T8" fmla="*/ 64 w 111"/>
                <a:gd name="T9" fmla="*/ 38 h 118"/>
                <a:gd name="T10" fmla="*/ 74 w 111"/>
                <a:gd name="T11" fmla="*/ 41 h 118"/>
                <a:gd name="T12" fmla="*/ 83 w 111"/>
                <a:gd name="T13" fmla="*/ 40 h 118"/>
                <a:gd name="T14" fmla="*/ 91 w 111"/>
                <a:gd name="T15" fmla="*/ 43 h 118"/>
                <a:gd name="T16" fmla="*/ 92 w 111"/>
                <a:gd name="T17" fmla="*/ 43 h 118"/>
                <a:gd name="T18" fmla="*/ 96 w 111"/>
                <a:gd name="T19" fmla="*/ 63 h 118"/>
                <a:gd name="T20" fmla="*/ 110 w 111"/>
                <a:gd name="T21" fmla="*/ 65 h 118"/>
                <a:gd name="T22" fmla="*/ 111 w 111"/>
                <a:gd name="T23" fmla="*/ 74 h 118"/>
                <a:gd name="T24" fmla="*/ 108 w 111"/>
                <a:gd name="T25" fmla="*/ 90 h 118"/>
                <a:gd name="T26" fmla="*/ 105 w 111"/>
                <a:gd name="T27" fmla="*/ 103 h 118"/>
                <a:gd name="T28" fmla="*/ 93 w 111"/>
                <a:gd name="T29" fmla="*/ 115 h 118"/>
                <a:gd name="T30" fmla="*/ 91 w 111"/>
                <a:gd name="T31" fmla="*/ 115 h 118"/>
                <a:gd name="T32" fmla="*/ 88 w 111"/>
                <a:gd name="T33" fmla="*/ 117 h 118"/>
                <a:gd name="T34" fmla="*/ 83 w 111"/>
                <a:gd name="T35" fmla="*/ 117 h 118"/>
                <a:gd name="T36" fmla="*/ 80 w 111"/>
                <a:gd name="T37" fmla="*/ 118 h 118"/>
                <a:gd name="T38" fmla="*/ 77 w 111"/>
                <a:gd name="T39" fmla="*/ 118 h 118"/>
                <a:gd name="T40" fmla="*/ 70 w 111"/>
                <a:gd name="T41" fmla="*/ 114 h 118"/>
                <a:gd name="T42" fmla="*/ 56 w 111"/>
                <a:gd name="T43" fmla="*/ 112 h 118"/>
                <a:gd name="T44" fmla="*/ 56 w 111"/>
                <a:gd name="T45" fmla="*/ 106 h 118"/>
                <a:gd name="T46" fmla="*/ 65 w 111"/>
                <a:gd name="T47" fmla="*/ 90 h 118"/>
                <a:gd name="T48" fmla="*/ 64 w 111"/>
                <a:gd name="T49" fmla="*/ 87 h 118"/>
                <a:gd name="T50" fmla="*/ 40 w 111"/>
                <a:gd name="T51" fmla="*/ 71 h 118"/>
                <a:gd name="T52" fmla="*/ 24 w 111"/>
                <a:gd name="T53" fmla="*/ 66 h 118"/>
                <a:gd name="T54" fmla="*/ 5 w 111"/>
                <a:gd name="T55" fmla="*/ 44 h 118"/>
                <a:gd name="T56" fmla="*/ 0 w 111"/>
                <a:gd name="T57" fmla="*/ 44 h 118"/>
                <a:gd name="T58" fmla="*/ 0 w 111"/>
                <a:gd name="T59" fmla="*/ 43 h 118"/>
                <a:gd name="T60" fmla="*/ 5 w 111"/>
                <a:gd name="T61" fmla="*/ 29 h 118"/>
                <a:gd name="T62" fmla="*/ 5 w 111"/>
                <a:gd name="T63" fmla="*/ 20 h 118"/>
                <a:gd name="T64" fmla="*/ 10 w 111"/>
                <a:gd name="T65" fmla="*/ 7 h 118"/>
                <a:gd name="T66" fmla="*/ 37 w 111"/>
                <a:gd name="T6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 h="118">
                  <a:moveTo>
                    <a:pt x="37" y="0"/>
                  </a:moveTo>
                  <a:lnTo>
                    <a:pt x="48" y="0"/>
                  </a:lnTo>
                  <a:lnTo>
                    <a:pt x="53" y="3"/>
                  </a:lnTo>
                  <a:lnTo>
                    <a:pt x="61" y="11"/>
                  </a:lnTo>
                  <a:lnTo>
                    <a:pt x="64" y="38"/>
                  </a:lnTo>
                  <a:lnTo>
                    <a:pt x="74" y="41"/>
                  </a:lnTo>
                  <a:lnTo>
                    <a:pt x="83" y="40"/>
                  </a:lnTo>
                  <a:lnTo>
                    <a:pt x="91" y="43"/>
                  </a:lnTo>
                  <a:lnTo>
                    <a:pt x="92" y="43"/>
                  </a:lnTo>
                  <a:lnTo>
                    <a:pt x="96" y="63"/>
                  </a:lnTo>
                  <a:lnTo>
                    <a:pt x="110" y="65"/>
                  </a:lnTo>
                  <a:lnTo>
                    <a:pt x="111" y="74"/>
                  </a:lnTo>
                  <a:lnTo>
                    <a:pt x="108" y="90"/>
                  </a:lnTo>
                  <a:lnTo>
                    <a:pt x="105" y="103"/>
                  </a:lnTo>
                  <a:lnTo>
                    <a:pt x="93" y="115"/>
                  </a:lnTo>
                  <a:lnTo>
                    <a:pt x="91" y="115"/>
                  </a:lnTo>
                  <a:lnTo>
                    <a:pt x="88" y="117"/>
                  </a:lnTo>
                  <a:lnTo>
                    <a:pt x="83" y="117"/>
                  </a:lnTo>
                  <a:lnTo>
                    <a:pt x="80" y="118"/>
                  </a:lnTo>
                  <a:lnTo>
                    <a:pt x="77" y="118"/>
                  </a:lnTo>
                  <a:lnTo>
                    <a:pt x="70" y="114"/>
                  </a:lnTo>
                  <a:lnTo>
                    <a:pt x="56" y="112"/>
                  </a:lnTo>
                  <a:lnTo>
                    <a:pt x="56" y="106"/>
                  </a:lnTo>
                  <a:lnTo>
                    <a:pt x="65" y="90"/>
                  </a:lnTo>
                  <a:lnTo>
                    <a:pt x="64" y="87"/>
                  </a:lnTo>
                  <a:lnTo>
                    <a:pt x="40" y="71"/>
                  </a:lnTo>
                  <a:lnTo>
                    <a:pt x="24" y="66"/>
                  </a:lnTo>
                  <a:lnTo>
                    <a:pt x="5" y="44"/>
                  </a:lnTo>
                  <a:lnTo>
                    <a:pt x="0" y="44"/>
                  </a:lnTo>
                  <a:lnTo>
                    <a:pt x="0" y="43"/>
                  </a:lnTo>
                  <a:lnTo>
                    <a:pt x="5" y="29"/>
                  </a:lnTo>
                  <a:lnTo>
                    <a:pt x="5" y="20"/>
                  </a:lnTo>
                  <a:lnTo>
                    <a:pt x="10" y="7"/>
                  </a:lnTo>
                  <a:lnTo>
                    <a:pt x="3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9" name="Isla de Margarita">
              <a:extLst>
                <a:ext uri="{FF2B5EF4-FFF2-40B4-BE49-F238E27FC236}">
                  <a16:creationId xmlns:a16="http://schemas.microsoft.com/office/drawing/2014/main" id="{225BF7F7-7FEC-3C36-6E9C-4267CB1B12AB}"/>
                </a:ext>
              </a:extLst>
            </p:cNvPr>
            <p:cNvSpPr>
              <a:spLocks/>
            </p:cNvSpPr>
            <p:nvPr/>
          </p:nvSpPr>
          <p:spPr bwMode="auto">
            <a:xfrm>
              <a:off x="4307912" y="4323576"/>
              <a:ext cx="14457" cy="10843"/>
            </a:xfrm>
            <a:custGeom>
              <a:avLst/>
              <a:gdLst>
                <a:gd name="T0" fmla="*/ 5 w 8"/>
                <a:gd name="T1" fmla="*/ 0 h 6"/>
                <a:gd name="T2" fmla="*/ 6 w 8"/>
                <a:gd name="T3" fmla="*/ 0 h 6"/>
                <a:gd name="T4" fmla="*/ 8 w 8"/>
                <a:gd name="T5" fmla="*/ 3 h 6"/>
                <a:gd name="T6" fmla="*/ 8 w 8"/>
                <a:gd name="T7" fmla="*/ 5 h 6"/>
                <a:gd name="T8" fmla="*/ 5 w 8"/>
                <a:gd name="T9" fmla="*/ 6 h 6"/>
                <a:gd name="T10" fmla="*/ 0 w 8"/>
                <a:gd name="T11" fmla="*/ 3 h 6"/>
                <a:gd name="T12" fmla="*/ 0 w 8"/>
                <a:gd name="T13" fmla="*/ 2 h 6"/>
                <a:gd name="T14" fmla="*/ 5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5" y="0"/>
                  </a:moveTo>
                  <a:lnTo>
                    <a:pt x="6" y="0"/>
                  </a:lnTo>
                  <a:lnTo>
                    <a:pt x="8" y="3"/>
                  </a:lnTo>
                  <a:lnTo>
                    <a:pt x="8" y="5"/>
                  </a:lnTo>
                  <a:lnTo>
                    <a:pt x="5" y="6"/>
                  </a:lnTo>
                  <a:lnTo>
                    <a:pt x="0" y="3"/>
                  </a:lnTo>
                  <a:lnTo>
                    <a:pt x="0" y="2"/>
                  </a:lnTo>
                  <a:lnTo>
                    <a:pt x="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0" name="French Guiana">
              <a:extLst>
                <a:ext uri="{FF2B5EF4-FFF2-40B4-BE49-F238E27FC236}">
                  <a16:creationId xmlns:a16="http://schemas.microsoft.com/office/drawing/2014/main" id="{AA881330-B906-4B33-4454-092F2875E8C4}"/>
                </a:ext>
              </a:extLst>
            </p:cNvPr>
            <p:cNvSpPr>
              <a:spLocks/>
            </p:cNvSpPr>
            <p:nvPr/>
          </p:nvSpPr>
          <p:spPr bwMode="auto">
            <a:xfrm>
              <a:off x="4541024" y="4455491"/>
              <a:ext cx="72283" cy="88546"/>
            </a:xfrm>
            <a:custGeom>
              <a:avLst/>
              <a:gdLst>
                <a:gd name="T0" fmla="*/ 9 w 40"/>
                <a:gd name="T1" fmla="*/ 0 h 49"/>
                <a:gd name="T2" fmla="*/ 26 w 40"/>
                <a:gd name="T3" fmla="*/ 7 h 49"/>
                <a:gd name="T4" fmla="*/ 36 w 40"/>
                <a:gd name="T5" fmla="*/ 16 h 49"/>
                <a:gd name="T6" fmla="*/ 40 w 40"/>
                <a:gd name="T7" fmla="*/ 21 h 49"/>
                <a:gd name="T8" fmla="*/ 40 w 40"/>
                <a:gd name="T9" fmla="*/ 22 h 49"/>
                <a:gd name="T10" fmla="*/ 27 w 40"/>
                <a:gd name="T11" fmla="*/ 41 h 49"/>
                <a:gd name="T12" fmla="*/ 20 w 40"/>
                <a:gd name="T13" fmla="*/ 47 h 49"/>
                <a:gd name="T14" fmla="*/ 17 w 40"/>
                <a:gd name="T15" fmla="*/ 47 h 49"/>
                <a:gd name="T16" fmla="*/ 14 w 40"/>
                <a:gd name="T17" fmla="*/ 49 h 49"/>
                <a:gd name="T18" fmla="*/ 6 w 40"/>
                <a:gd name="T19" fmla="*/ 49 h 49"/>
                <a:gd name="T20" fmla="*/ 0 w 40"/>
                <a:gd name="T21" fmla="*/ 44 h 49"/>
                <a:gd name="T22" fmla="*/ 0 w 40"/>
                <a:gd name="T23" fmla="*/ 43 h 49"/>
                <a:gd name="T24" fmla="*/ 5 w 40"/>
                <a:gd name="T25" fmla="*/ 40 h 49"/>
                <a:gd name="T26" fmla="*/ 6 w 40"/>
                <a:gd name="T27" fmla="*/ 27 h 49"/>
                <a:gd name="T28" fmla="*/ 2 w 40"/>
                <a:gd name="T29" fmla="*/ 19 h 49"/>
                <a:gd name="T30" fmla="*/ 2 w 40"/>
                <a:gd name="T31" fmla="*/ 9 h 49"/>
                <a:gd name="T32" fmla="*/ 6 w 40"/>
                <a:gd name="T33" fmla="*/ 3 h 49"/>
                <a:gd name="T34" fmla="*/ 9 w 40"/>
                <a:gd name="T3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9">
                  <a:moveTo>
                    <a:pt x="9" y="0"/>
                  </a:moveTo>
                  <a:lnTo>
                    <a:pt x="26" y="7"/>
                  </a:lnTo>
                  <a:lnTo>
                    <a:pt x="36" y="16"/>
                  </a:lnTo>
                  <a:lnTo>
                    <a:pt x="40" y="21"/>
                  </a:lnTo>
                  <a:lnTo>
                    <a:pt x="40" y="22"/>
                  </a:lnTo>
                  <a:lnTo>
                    <a:pt x="27" y="41"/>
                  </a:lnTo>
                  <a:lnTo>
                    <a:pt x="20" y="47"/>
                  </a:lnTo>
                  <a:lnTo>
                    <a:pt x="17" y="47"/>
                  </a:lnTo>
                  <a:lnTo>
                    <a:pt x="14" y="49"/>
                  </a:lnTo>
                  <a:lnTo>
                    <a:pt x="6" y="49"/>
                  </a:lnTo>
                  <a:lnTo>
                    <a:pt x="0" y="44"/>
                  </a:lnTo>
                  <a:lnTo>
                    <a:pt x="0" y="43"/>
                  </a:lnTo>
                  <a:lnTo>
                    <a:pt x="5" y="40"/>
                  </a:lnTo>
                  <a:lnTo>
                    <a:pt x="6" y="27"/>
                  </a:lnTo>
                  <a:lnTo>
                    <a:pt x="2" y="19"/>
                  </a:lnTo>
                  <a:lnTo>
                    <a:pt x="2" y="9"/>
                  </a:lnTo>
                  <a:lnTo>
                    <a:pt x="6" y="3"/>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1" name="Guyana">
              <a:extLst>
                <a:ext uri="{FF2B5EF4-FFF2-40B4-BE49-F238E27FC236}">
                  <a16:creationId xmlns:a16="http://schemas.microsoft.com/office/drawing/2014/main" id="{46EDE2D3-7275-47CD-F349-7BA01E5ABAD8}"/>
                </a:ext>
              </a:extLst>
            </p:cNvPr>
            <p:cNvSpPr>
              <a:spLocks/>
            </p:cNvSpPr>
            <p:nvPr/>
          </p:nvSpPr>
          <p:spPr bwMode="auto">
            <a:xfrm>
              <a:off x="4380195" y="4394051"/>
              <a:ext cx="115652" cy="166250"/>
            </a:xfrm>
            <a:custGeom>
              <a:avLst/>
              <a:gdLst>
                <a:gd name="T0" fmla="*/ 20 w 64"/>
                <a:gd name="T1" fmla="*/ 0 h 92"/>
                <a:gd name="T2" fmla="*/ 24 w 64"/>
                <a:gd name="T3" fmla="*/ 0 h 92"/>
                <a:gd name="T4" fmla="*/ 34 w 64"/>
                <a:gd name="T5" fmla="*/ 9 h 92"/>
                <a:gd name="T6" fmla="*/ 37 w 64"/>
                <a:gd name="T7" fmla="*/ 19 h 92"/>
                <a:gd name="T8" fmla="*/ 48 w 64"/>
                <a:gd name="T9" fmla="*/ 21 h 92"/>
                <a:gd name="T10" fmla="*/ 57 w 64"/>
                <a:gd name="T11" fmla="*/ 32 h 92"/>
                <a:gd name="T12" fmla="*/ 52 w 64"/>
                <a:gd name="T13" fmla="*/ 44 h 92"/>
                <a:gd name="T14" fmla="*/ 51 w 64"/>
                <a:gd name="T15" fmla="*/ 44 h 92"/>
                <a:gd name="T16" fmla="*/ 45 w 64"/>
                <a:gd name="T17" fmla="*/ 46 h 92"/>
                <a:gd name="T18" fmla="*/ 43 w 64"/>
                <a:gd name="T19" fmla="*/ 55 h 92"/>
                <a:gd name="T20" fmla="*/ 49 w 64"/>
                <a:gd name="T21" fmla="*/ 64 h 92"/>
                <a:gd name="T22" fmla="*/ 54 w 64"/>
                <a:gd name="T23" fmla="*/ 65 h 92"/>
                <a:gd name="T24" fmla="*/ 58 w 64"/>
                <a:gd name="T25" fmla="*/ 77 h 92"/>
                <a:gd name="T26" fmla="*/ 64 w 64"/>
                <a:gd name="T27" fmla="*/ 83 h 92"/>
                <a:gd name="T28" fmla="*/ 64 w 64"/>
                <a:gd name="T29" fmla="*/ 84 h 92"/>
                <a:gd name="T30" fmla="*/ 61 w 64"/>
                <a:gd name="T31" fmla="*/ 84 h 92"/>
                <a:gd name="T32" fmla="*/ 57 w 64"/>
                <a:gd name="T33" fmla="*/ 83 h 92"/>
                <a:gd name="T34" fmla="*/ 54 w 64"/>
                <a:gd name="T35" fmla="*/ 83 h 92"/>
                <a:gd name="T36" fmla="*/ 36 w 64"/>
                <a:gd name="T37" fmla="*/ 92 h 92"/>
                <a:gd name="T38" fmla="*/ 34 w 64"/>
                <a:gd name="T39" fmla="*/ 92 h 92"/>
                <a:gd name="T40" fmla="*/ 27 w 64"/>
                <a:gd name="T41" fmla="*/ 89 h 92"/>
                <a:gd name="T42" fmla="*/ 21 w 64"/>
                <a:gd name="T43" fmla="*/ 86 h 92"/>
                <a:gd name="T44" fmla="*/ 21 w 64"/>
                <a:gd name="T45" fmla="*/ 78 h 92"/>
                <a:gd name="T46" fmla="*/ 18 w 64"/>
                <a:gd name="T47" fmla="*/ 75 h 92"/>
                <a:gd name="T48" fmla="*/ 20 w 64"/>
                <a:gd name="T49" fmla="*/ 61 h 92"/>
                <a:gd name="T50" fmla="*/ 23 w 64"/>
                <a:gd name="T51" fmla="*/ 58 h 92"/>
                <a:gd name="T52" fmla="*/ 21 w 64"/>
                <a:gd name="T53" fmla="*/ 50 h 92"/>
                <a:gd name="T54" fmla="*/ 17 w 64"/>
                <a:gd name="T55" fmla="*/ 50 h 92"/>
                <a:gd name="T56" fmla="*/ 17 w 64"/>
                <a:gd name="T57" fmla="*/ 41 h 92"/>
                <a:gd name="T58" fmla="*/ 8 w 64"/>
                <a:gd name="T59" fmla="*/ 41 h 92"/>
                <a:gd name="T60" fmla="*/ 0 w 64"/>
                <a:gd name="T61" fmla="*/ 28 h 92"/>
                <a:gd name="T62" fmla="*/ 3 w 64"/>
                <a:gd name="T63" fmla="*/ 21 h 92"/>
                <a:gd name="T64" fmla="*/ 9 w 64"/>
                <a:gd name="T65" fmla="*/ 16 h 92"/>
                <a:gd name="T66" fmla="*/ 6 w 64"/>
                <a:gd name="T67" fmla="*/ 16 h 92"/>
                <a:gd name="T68" fmla="*/ 6 w 64"/>
                <a:gd name="T69" fmla="*/ 7 h 92"/>
                <a:gd name="T70" fmla="*/ 8 w 64"/>
                <a:gd name="T71" fmla="*/ 7 h 92"/>
                <a:gd name="T72" fmla="*/ 18 w 64"/>
                <a:gd name="T73" fmla="*/ 1 h 92"/>
                <a:gd name="T74" fmla="*/ 20 w 64"/>
                <a:gd name="T7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92">
                  <a:moveTo>
                    <a:pt x="20" y="0"/>
                  </a:moveTo>
                  <a:lnTo>
                    <a:pt x="24" y="0"/>
                  </a:lnTo>
                  <a:lnTo>
                    <a:pt x="34" y="9"/>
                  </a:lnTo>
                  <a:lnTo>
                    <a:pt x="37" y="19"/>
                  </a:lnTo>
                  <a:lnTo>
                    <a:pt x="48" y="21"/>
                  </a:lnTo>
                  <a:lnTo>
                    <a:pt x="57" y="32"/>
                  </a:lnTo>
                  <a:lnTo>
                    <a:pt x="52" y="44"/>
                  </a:lnTo>
                  <a:lnTo>
                    <a:pt x="51" y="44"/>
                  </a:lnTo>
                  <a:lnTo>
                    <a:pt x="45" y="46"/>
                  </a:lnTo>
                  <a:lnTo>
                    <a:pt x="43" y="55"/>
                  </a:lnTo>
                  <a:lnTo>
                    <a:pt x="49" y="64"/>
                  </a:lnTo>
                  <a:lnTo>
                    <a:pt x="54" y="65"/>
                  </a:lnTo>
                  <a:lnTo>
                    <a:pt x="58" y="77"/>
                  </a:lnTo>
                  <a:lnTo>
                    <a:pt x="64" y="83"/>
                  </a:lnTo>
                  <a:lnTo>
                    <a:pt x="64" y="84"/>
                  </a:lnTo>
                  <a:lnTo>
                    <a:pt x="61" y="84"/>
                  </a:lnTo>
                  <a:lnTo>
                    <a:pt x="57" y="83"/>
                  </a:lnTo>
                  <a:lnTo>
                    <a:pt x="54" y="83"/>
                  </a:lnTo>
                  <a:lnTo>
                    <a:pt x="36" y="92"/>
                  </a:lnTo>
                  <a:lnTo>
                    <a:pt x="34" y="92"/>
                  </a:lnTo>
                  <a:lnTo>
                    <a:pt x="27" y="89"/>
                  </a:lnTo>
                  <a:lnTo>
                    <a:pt x="21" y="86"/>
                  </a:lnTo>
                  <a:lnTo>
                    <a:pt x="21" y="78"/>
                  </a:lnTo>
                  <a:lnTo>
                    <a:pt x="18" y="75"/>
                  </a:lnTo>
                  <a:lnTo>
                    <a:pt x="20" y="61"/>
                  </a:lnTo>
                  <a:lnTo>
                    <a:pt x="23" y="58"/>
                  </a:lnTo>
                  <a:lnTo>
                    <a:pt x="21" y="50"/>
                  </a:lnTo>
                  <a:lnTo>
                    <a:pt x="17" y="50"/>
                  </a:lnTo>
                  <a:lnTo>
                    <a:pt x="17" y="41"/>
                  </a:lnTo>
                  <a:lnTo>
                    <a:pt x="8" y="41"/>
                  </a:lnTo>
                  <a:lnTo>
                    <a:pt x="0" y="28"/>
                  </a:lnTo>
                  <a:lnTo>
                    <a:pt x="3" y="21"/>
                  </a:lnTo>
                  <a:lnTo>
                    <a:pt x="9" y="16"/>
                  </a:lnTo>
                  <a:lnTo>
                    <a:pt x="6" y="16"/>
                  </a:lnTo>
                  <a:lnTo>
                    <a:pt x="6" y="7"/>
                  </a:lnTo>
                  <a:lnTo>
                    <a:pt x="8" y="7"/>
                  </a:lnTo>
                  <a:lnTo>
                    <a:pt x="18" y="1"/>
                  </a:lnTo>
                  <a:lnTo>
                    <a:pt x="2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2" name="Ecuador">
              <a:extLst>
                <a:ext uri="{FF2B5EF4-FFF2-40B4-BE49-F238E27FC236}">
                  <a16:creationId xmlns:a16="http://schemas.microsoft.com/office/drawing/2014/main" id="{AD6FCF22-1AB0-5194-1D89-7CE33262E982}"/>
                </a:ext>
              </a:extLst>
            </p:cNvPr>
            <p:cNvSpPr>
              <a:spLocks/>
            </p:cNvSpPr>
            <p:nvPr/>
          </p:nvSpPr>
          <p:spPr bwMode="auto">
            <a:xfrm>
              <a:off x="3917587" y="4556686"/>
              <a:ext cx="137336" cy="153601"/>
            </a:xfrm>
            <a:custGeom>
              <a:avLst/>
              <a:gdLst>
                <a:gd name="T0" fmla="*/ 27 w 76"/>
                <a:gd name="T1" fmla="*/ 0 h 85"/>
                <a:gd name="T2" fmla="*/ 43 w 76"/>
                <a:gd name="T3" fmla="*/ 8 h 85"/>
                <a:gd name="T4" fmla="*/ 47 w 76"/>
                <a:gd name="T5" fmla="*/ 15 h 85"/>
                <a:gd name="T6" fmla="*/ 61 w 76"/>
                <a:gd name="T7" fmla="*/ 15 h 85"/>
                <a:gd name="T8" fmla="*/ 62 w 76"/>
                <a:gd name="T9" fmla="*/ 14 h 85"/>
                <a:gd name="T10" fmla="*/ 64 w 76"/>
                <a:gd name="T11" fmla="*/ 14 h 85"/>
                <a:gd name="T12" fmla="*/ 73 w 76"/>
                <a:gd name="T13" fmla="*/ 20 h 85"/>
                <a:gd name="T14" fmla="*/ 74 w 76"/>
                <a:gd name="T15" fmla="*/ 20 h 85"/>
                <a:gd name="T16" fmla="*/ 71 w 76"/>
                <a:gd name="T17" fmla="*/ 22 h 85"/>
                <a:gd name="T18" fmla="*/ 76 w 76"/>
                <a:gd name="T19" fmla="*/ 30 h 85"/>
                <a:gd name="T20" fmla="*/ 76 w 76"/>
                <a:gd name="T21" fmla="*/ 31 h 85"/>
                <a:gd name="T22" fmla="*/ 73 w 76"/>
                <a:gd name="T23" fmla="*/ 31 h 85"/>
                <a:gd name="T24" fmla="*/ 68 w 76"/>
                <a:gd name="T25" fmla="*/ 40 h 85"/>
                <a:gd name="T26" fmla="*/ 56 w 76"/>
                <a:gd name="T27" fmla="*/ 52 h 85"/>
                <a:gd name="T28" fmla="*/ 37 w 76"/>
                <a:gd name="T29" fmla="*/ 60 h 85"/>
                <a:gd name="T30" fmla="*/ 37 w 76"/>
                <a:gd name="T31" fmla="*/ 64 h 85"/>
                <a:gd name="T32" fmla="*/ 36 w 76"/>
                <a:gd name="T33" fmla="*/ 65 h 85"/>
                <a:gd name="T34" fmla="*/ 33 w 76"/>
                <a:gd name="T35" fmla="*/ 65 h 85"/>
                <a:gd name="T36" fmla="*/ 30 w 76"/>
                <a:gd name="T37" fmla="*/ 70 h 85"/>
                <a:gd name="T38" fmla="*/ 30 w 76"/>
                <a:gd name="T39" fmla="*/ 80 h 85"/>
                <a:gd name="T40" fmla="*/ 21 w 76"/>
                <a:gd name="T41" fmla="*/ 85 h 85"/>
                <a:gd name="T42" fmla="*/ 19 w 76"/>
                <a:gd name="T43" fmla="*/ 85 h 85"/>
                <a:gd name="T44" fmla="*/ 19 w 76"/>
                <a:gd name="T45" fmla="*/ 83 h 85"/>
                <a:gd name="T46" fmla="*/ 16 w 76"/>
                <a:gd name="T47" fmla="*/ 77 h 85"/>
                <a:gd name="T48" fmla="*/ 4 w 76"/>
                <a:gd name="T49" fmla="*/ 77 h 85"/>
                <a:gd name="T50" fmla="*/ 3 w 76"/>
                <a:gd name="T51" fmla="*/ 71 h 85"/>
                <a:gd name="T52" fmla="*/ 7 w 76"/>
                <a:gd name="T53" fmla="*/ 68 h 85"/>
                <a:gd name="T54" fmla="*/ 6 w 76"/>
                <a:gd name="T55" fmla="*/ 64 h 85"/>
                <a:gd name="T56" fmla="*/ 6 w 76"/>
                <a:gd name="T57" fmla="*/ 63 h 85"/>
                <a:gd name="T58" fmla="*/ 13 w 76"/>
                <a:gd name="T59" fmla="*/ 58 h 85"/>
                <a:gd name="T60" fmla="*/ 13 w 76"/>
                <a:gd name="T61" fmla="*/ 51 h 85"/>
                <a:gd name="T62" fmla="*/ 12 w 76"/>
                <a:gd name="T63" fmla="*/ 48 h 85"/>
                <a:gd name="T64" fmla="*/ 9 w 76"/>
                <a:gd name="T65" fmla="*/ 54 h 85"/>
                <a:gd name="T66" fmla="*/ 7 w 76"/>
                <a:gd name="T67" fmla="*/ 54 h 85"/>
                <a:gd name="T68" fmla="*/ 1 w 76"/>
                <a:gd name="T69" fmla="*/ 49 h 85"/>
                <a:gd name="T70" fmla="*/ 0 w 76"/>
                <a:gd name="T71" fmla="*/ 49 h 85"/>
                <a:gd name="T72" fmla="*/ 0 w 76"/>
                <a:gd name="T73" fmla="*/ 31 h 85"/>
                <a:gd name="T74" fmla="*/ 1 w 76"/>
                <a:gd name="T75" fmla="*/ 31 h 85"/>
                <a:gd name="T76" fmla="*/ 6 w 76"/>
                <a:gd name="T77" fmla="*/ 27 h 85"/>
                <a:gd name="T78" fmla="*/ 10 w 76"/>
                <a:gd name="T79" fmla="*/ 17 h 85"/>
                <a:gd name="T80" fmla="*/ 10 w 76"/>
                <a:gd name="T81" fmla="*/ 8 h 85"/>
                <a:gd name="T82" fmla="*/ 27 w 76"/>
                <a:gd name="T8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 h="85">
                  <a:moveTo>
                    <a:pt x="27" y="0"/>
                  </a:moveTo>
                  <a:lnTo>
                    <a:pt x="43" y="8"/>
                  </a:lnTo>
                  <a:lnTo>
                    <a:pt x="47" y="15"/>
                  </a:lnTo>
                  <a:lnTo>
                    <a:pt x="61" y="15"/>
                  </a:lnTo>
                  <a:lnTo>
                    <a:pt x="62" y="14"/>
                  </a:lnTo>
                  <a:lnTo>
                    <a:pt x="64" y="14"/>
                  </a:lnTo>
                  <a:lnTo>
                    <a:pt x="73" y="20"/>
                  </a:lnTo>
                  <a:lnTo>
                    <a:pt x="74" y="20"/>
                  </a:lnTo>
                  <a:lnTo>
                    <a:pt x="71" y="22"/>
                  </a:lnTo>
                  <a:lnTo>
                    <a:pt x="76" y="30"/>
                  </a:lnTo>
                  <a:lnTo>
                    <a:pt x="76" y="31"/>
                  </a:lnTo>
                  <a:lnTo>
                    <a:pt x="73" y="31"/>
                  </a:lnTo>
                  <a:lnTo>
                    <a:pt x="68" y="40"/>
                  </a:lnTo>
                  <a:lnTo>
                    <a:pt x="56" y="52"/>
                  </a:lnTo>
                  <a:lnTo>
                    <a:pt x="37" y="60"/>
                  </a:lnTo>
                  <a:lnTo>
                    <a:pt x="37" y="64"/>
                  </a:lnTo>
                  <a:lnTo>
                    <a:pt x="36" y="65"/>
                  </a:lnTo>
                  <a:lnTo>
                    <a:pt x="33" y="65"/>
                  </a:lnTo>
                  <a:lnTo>
                    <a:pt x="30" y="70"/>
                  </a:lnTo>
                  <a:lnTo>
                    <a:pt x="30" y="80"/>
                  </a:lnTo>
                  <a:lnTo>
                    <a:pt x="21" y="85"/>
                  </a:lnTo>
                  <a:lnTo>
                    <a:pt x="19" y="85"/>
                  </a:lnTo>
                  <a:lnTo>
                    <a:pt x="19" y="83"/>
                  </a:lnTo>
                  <a:lnTo>
                    <a:pt x="16" y="77"/>
                  </a:lnTo>
                  <a:lnTo>
                    <a:pt x="4" y="77"/>
                  </a:lnTo>
                  <a:lnTo>
                    <a:pt x="3" y="71"/>
                  </a:lnTo>
                  <a:lnTo>
                    <a:pt x="7" y="68"/>
                  </a:lnTo>
                  <a:lnTo>
                    <a:pt x="6" y="64"/>
                  </a:lnTo>
                  <a:lnTo>
                    <a:pt x="6" y="63"/>
                  </a:lnTo>
                  <a:lnTo>
                    <a:pt x="13" y="58"/>
                  </a:lnTo>
                  <a:lnTo>
                    <a:pt x="13" y="51"/>
                  </a:lnTo>
                  <a:lnTo>
                    <a:pt x="12" y="48"/>
                  </a:lnTo>
                  <a:lnTo>
                    <a:pt x="9" y="54"/>
                  </a:lnTo>
                  <a:lnTo>
                    <a:pt x="7" y="54"/>
                  </a:lnTo>
                  <a:lnTo>
                    <a:pt x="1" y="49"/>
                  </a:lnTo>
                  <a:lnTo>
                    <a:pt x="0" y="49"/>
                  </a:lnTo>
                  <a:lnTo>
                    <a:pt x="0" y="31"/>
                  </a:lnTo>
                  <a:lnTo>
                    <a:pt x="1" y="31"/>
                  </a:lnTo>
                  <a:lnTo>
                    <a:pt x="6" y="27"/>
                  </a:lnTo>
                  <a:lnTo>
                    <a:pt x="10" y="17"/>
                  </a:lnTo>
                  <a:lnTo>
                    <a:pt x="10" y="8"/>
                  </a:lnTo>
                  <a:lnTo>
                    <a:pt x="2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3" name="Bolivia">
              <a:extLst>
                <a:ext uri="{FF2B5EF4-FFF2-40B4-BE49-F238E27FC236}">
                  <a16:creationId xmlns:a16="http://schemas.microsoft.com/office/drawing/2014/main" id="{097C0A04-2985-1317-6AAA-69B78F510C01}"/>
                </a:ext>
              </a:extLst>
            </p:cNvPr>
            <p:cNvSpPr>
              <a:spLocks/>
            </p:cNvSpPr>
            <p:nvPr/>
          </p:nvSpPr>
          <p:spPr bwMode="auto">
            <a:xfrm>
              <a:off x="4183224" y="4815095"/>
              <a:ext cx="283709" cy="325271"/>
            </a:xfrm>
            <a:custGeom>
              <a:avLst/>
              <a:gdLst>
                <a:gd name="T0" fmla="*/ 55 w 157"/>
                <a:gd name="T1" fmla="*/ 0 h 180"/>
                <a:gd name="T2" fmla="*/ 56 w 157"/>
                <a:gd name="T3" fmla="*/ 22 h 180"/>
                <a:gd name="T4" fmla="*/ 68 w 157"/>
                <a:gd name="T5" fmla="*/ 35 h 180"/>
                <a:gd name="T6" fmla="*/ 87 w 157"/>
                <a:gd name="T7" fmla="*/ 43 h 180"/>
                <a:gd name="T8" fmla="*/ 103 w 157"/>
                <a:gd name="T9" fmla="*/ 50 h 180"/>
                <a:gd name="T10" fmla="*/ 117 w 157"/>
                <a:gd name="T11" fmla="*/ 53 h 180"/>
                <a:gd name="T12" fmla="*/ 121 w 157"/>
                <a:gd name="T13" fmla="*/ 75 h 180"/>
                <a:gd name="T14" fmla="*/ 148 w 157"/>
                <a:gd name="T15" fmla="*/ 89 h 180"/>
                <a:gd name="T16" fmla="*/ 152 w 157"/>
                <a:gd name="T17" fmla="*/ 103 h 180"/>
                <a:gd name="T18" fmla="*/ 154 w 157"/>
                <a:gd name="T19" fmla="*/ 140 h 180"/>
                <a:gd name="T20" fmla="*/ 143 w 157"/>
                <a:gd name="T21" fmla="*/ 133 h 180"/>
                <a:gd name="T22" fmla="*/ 127 w 157"/>
                <a:gd name="T23" fmla="*/ 130 h 180"/>
                <a:gd name="T24" fmla="*/ 96 w 157"/>
                <a:gd name="T25" fmla="*/ 149 h 180"/>
                <a:gd name="T26" fmla="*/ 92 w 157"/>
                <a:gd name="T27" fmla="*/ 173 h 180"/>
                <a:gd name="T28" fmla="*/ 84 w 157"/>
                <a:gd name="T29" fmla="*/ 170 h 180"/>
                <a:gd name="T30" fmla="*/ 71 w 157"/>
                <a:gd name="T31" fmla="*/ 177 h 180"/>
                <a:gd name="T32" fmla="*/ 63 w 157"/>
                <a:gd name="T33" fmla="*/ 172 h 180"/>
                <a:gd name="T34" fmla="*/ 46 w 157"/>
                <a:gd name="T35" fmla="*/ 166 h 180"/>
                <a:gd name="T36" fmla="*/ 22 w 157"/>
                <a:gd name="T37" fmla="*/ 179 h 180"/>
                <a:gd name="T38" fmla="*/ 16 w 157"/>
                <a:gd name="T39" fmla="*/ 152 h 180"/>
                <a:gd name="T40" fmla="*/ 10 w 157"/>
                <a:gd name="T41" fmla="*/ 139 h 180"/>
                <a:gd name="T42" fmla="*/ 13 w 157"/>
                <a:gd name="T43" fmla="*/ 130 h 180"/>
                <a:gd name="T44" fmla="*/ 6 w 157"/>
                <a:gd name="T45" fmla="*/ 112 h 180"/>
                <a:gd name="T46" fmla="*/ 0 w 157"/>
                <a:gd name="T47" fmla="*/ 103 h 180"/>
                <a:gd name="T48" fmla="*/ 3 w 157"/>
                <a:gd name="T49" fmla="*/ 84 h 180"/>
                <a:gd name="T50" fmla="*/ 6 w 157"/>
                <a:gd name="T51" fmla="*/ 74 h 180"/>
                <a:gd name="T52" fmla="*/ 7 w 157"/>
                <a:gd name="T53" fmla="*/ 63 h 180"/>
                <a:gd name="T54" fmla="*/ 10 w 157"/>
                <a:gd name="T55" fmla="*/ 37 h 180"/>
                <a:gd name="T56" fmla="*/ 0 w 157"/>
                <a:gd name="T57" fmla="*/ 16 h 180"/>
                <a:gd name="T58" fmla="*/ 6 w 157"/>
                <a:gd name="T59" fmla="*/ 17 h 180"/>
                <a:gd name="T60" fmla="*/ 13 w 157"/>
                <a:gd name="T61" fmla="*/ 19 h 180"/>
                <a:gd name="T62" fmla="*/ 26 w 157"/>
                <a:gd name="T63" fmla="*/ 13 h 180"/>
                <a:gd name="T64" fmla="*/ 41 w 157"/>
                <a:gd name="T65" fmla="*/ 3 h 180"/>
                <a:gd name="T66" fmla="*/ 49 w 157"/>
                <a:gd name="T67" fmla="*/ 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7" h="180">
                  <a:moveTo>
                    <a:pt x="52" y="0"/>
                  </a:moveTo>
                  <a:lnTo>
                    <a:pt x="55" y="0"/>
                  </a:lnTo>
                  <a:lnTo>
                    <a:pt x="57" y="7"/>
                  </a:lnTo>
                  <a:lnTo>
                    <a:pt x="56" y="22"/>
                  </a:lnTo>
                  <a:lnTo>
                    <a:pt x="59" y="31"/>
                  </a:lnTo>
                  <a:lnTo>
                    <a:pt x="68" y="35"/>
                  </a:lnTo>
                  <a:lnTo>
                    <a:pt x="83" y="38"/>
                  </a:lnTo>
                  <a:lnTo>
                    <a:pt x="87" y="43"/>
                  </a:lnTo>
                  <a:lnTo>
                    <a:pt x="98" y="46"/>
                  </a:lnTo>
                  <a:lnTo>
                    <a:pt x="103" y="50"/>
                  </a:lnTo>
                  <a:lnTo>
                    <a:pt x="111" y="50"/>
                  </a:lnTo>
                  <a:lnTo>
                    <a:pt x="117" y="53"/>
                  </a:lnTo>
                  <a:lnTo>
                    <a:pt x="123" y="68"/>
                  </a:lnTo>
                  <a:lnTo>
                    <a:pt x="121" y="75"/>
                  </a:lnTo>
                  <a:lnTo>
                    <a:pt x="126" y="89"/>
                  </a:lnTo>
                  <a:lnTo>
                    <a:pt x="148" y="89"/>
                  </a:lnTo>
                  <a:lnTo>
                    <a:pt x="148" y="102"/>
                  </a:lnTo>
                  <a:lnTo>
                    <a:pt x="152" y="103"/>
                  </a:lnTo>
                  <a:lnTo>
                    <a:pt x="157" y="114"/>
                  </a:lnTo>
                  <a:lnTo>
                    <a:pt x="154" y="140"/>
                  </a:lnTo>
                  <a:lnTo>
                    <a:pt x="151" y="142"/>
                  </a:lnTo>
                  <a:lnTo>
                    <a:pt x="143" y="133"/>
                  </a:lnTo>
                  <a:lnTo>
                    <a:pt x="138" y="130"/>
                  </a:lnTo>
                  <a:lnTo>
                    <a:pt x="127" y="130"/>
                  </a:lnTo>
                  <a:lnTo>
                    <a:pt x="102" y="137"/>
                  </a:lnTo>
                  <a:lnTo>
                    <a:pt x="96" y="149"/>
                  </a:lnTo>
                  <a:lnTo>
                    <a:pt x="96" y="158"/>
                  </a:lnTo>
                  <a:lnTo>
                    <a:pt x="92" y="173"/>
                  </a:lnTo>
                  <a:lnTo>
                    <a:pt x="90" y="173"/>
                  </a:lnTo>
                  <a:lnTo>
                    <a:pt x="84" y="170"/>
                  </a:lnTo>
                  <a:lnTo>
                    <a:pt x="74" y="169"/>
                  </a:lnTo>
                  <a:lnTo>
                    <a:pt x="71" y="177"/>
                  </a:lnTo>
                  <a:lnTo>
                    <a:pt x="69" y="177"/>
                  </a:lnTo>
                  <a:lnTo>
                    <a:pt x="63" y="172"/>
                  </a:lnTo>
                  <a:lnTo>
                    <a:pt x="50" y="170"/>
                  </a:lnTo>
                  <a:lnTo>
                    <a:pt x="46" y="166"/>
                  </a:lnTo>
                  <a:lnTo>
                    <a:pt x="32" y="180"/>
                  </a:lnTo>
                  <a:lnTo>
                    <a:pt x="22" y="179"/>
                  </a:lnTo>
                  <a:lnTo>
                    <a:pt x="20" y="179"/>
                  </a:lnTo>
                  <a:lnTo>
                    <a:pt x="16" y="152"/>
                  </a:lnTo>
                  <a:lnTo>
                    <a:pt x="10" y="143"/>
                  </a:lnTo>
                  <a:lnTo>
                    <a:pt x="10" y="139"/>
                  </a:lnTo>
                  <a:lnTo>
                    <a:pt x="13" y="136"/>
                  </a:lnTo>
                  <a:lnTo>
                    <a:pt x="13" y="130"/>
                  </a:lnTo>
                  <a:lnTo>
                    <a:pt x="7" y="126"/>
                  </a:lnTo>
                  <a:lnTo>
                    <a:pt x="6" y="112"/>
                  </a:lnTo>
                  <a:lnTo>
                    <a:pt x="0" y="106"/>
                  </a:lnTo>
                  <a:lnTo>
                    <a:pt x="0" y="103"/>
                  </a:lnTo>
                  <a:lnTo>
                    <a:pt x="7" y="92"/>
                  </a:lnTo>
                  <a:lnTo>
                    <a:pt x="3" y="84"/>
                  </a:lnTo>
                  <a:lnTo>
                    <a:pt x="3" y="78"/>
                  </a:lnTo>
                  <a:lnTo>
                    <a:pt x="6" y="74"/>
                  </a:lnTo>
                  <a:lnTo>
                    <a:pt x="3" y="68"/>
                  </a:lnTo>
                  <a:lnTo>
                    <a:pt x="7" y="63"/>
                  </a:lnTo>
                  <a:lnTo>
                    <a:pt x="7" y="43"/>
                  </a:lnTo>
                  <a:lnTo>
                    <a:pt x="10" y="37"/>
                  </a:lnTo>
                  <a:lnTo>
                    <a:pt x="0" y="17"/>
                  </a:lnTo>
                  <a:lnTo>
                    <a:pt x="0" y="16"/>
                  </a:lnTo>
                  <a:lnTo>
                    <a:pt x="3" y="16"/>
                  </a:lnTo>
                  <a:lnTo>
                    <a:pt x="6" y="17"/>
                  </a:lnTo>
                  <a:lnTo>
                    <a:pt x="10" y="17"/>
                  </a:lnTo>
                  <a:lnTo>
                    <a:pt x="13" y="19"/>
                  </a:lnTo>
                  <a:lnTo>
                    <a:pt x="16" y="19"/>
                  </a:lnTo>
                  <a:lnTo>
                    <a:pt x="26" y="13"/>
                  </a:lnTo>
                  <a:lnTo>
                    <a:pt x="38" y="3"/>
                  </a:lnTo>
                  <a:lnTo>
                    <a:pt x="41" y="3"/>
                  </a:lnTo>
                  <a:lnTo>
                    <a:pt x="44" y="1"/>
                  </a:lnTo>
                  <a:lnTo>
                    <a:pt x="49" y="1"/>
                  </a:lnTo>
                  <a:lnTo>
                    <a:pt x="5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4" name="Columbia">
              <a:extLst>
                <a:ext uri="{FF2B5EF4-FFF2-40B4-BE49-F238E27FC236}">
                  <a16:creationId xmlns:a16="http://schemas.microsoft.com/office/drawing/2014/main" id="{EF0FB73A-98D2-C508-F000-0CBFCC6E8107}"/>
                </a:ext>
              </a:extLst>
            </p:cNvPr>
            <p:cNvSpPr>
              <a:spLocks/>
            </p:cNvSpPr>
            <p:nvPr/>
          </p:nvSpPr>
          <p:spPr bwMode="auto">
            <a:xfrm>
              <a:off x="3962764" y="4294663"/>
              <a:ext cx="287324" cy="390325"/>
            </a:xfrm>
            <a:custGeom>
              <a:avLst/>
              <a:gdLst>
                <a:gd name="T0" fmla="*/ 102 w 159"/>
                <a:gd name="T1" fmla="*/ 3 h 216"/>
                <a:gd name="T2" fmla="*/ 101 w 159"/>
                <a:gd name="T3" fmla="*/ 7 h 216"/>
                <a:gd name="T4" fmla="*/ 94 w 159"/>
                <a:gd name="T5" fmla="*/ 12 h 216"/>
                <a:gd name="T6" fmla="*/ 74 w 159"/>
                <a:gd name="T7" fmla="*/ 43 h 216"/>
                <a:gd name="T8" fmla="*/ 88 w 159"/>
                <a:gd name="T9" fmla="*/ 56 h 216"/>
                <a:gd name="T10" fmla="*/ 92 w 159"/>
                <a:gd name="T11" fmla="*/ 70 h 216"/>
                <a:gd name="T12" fmla="*/ 110 w 159"/>
                <a:gd name="T13" fmla="*/ 70 h 216"/>
                <a:gd name="T14" fmla="*/ 126 w 159"/>
                <a:gd name="T15" fmla="*/ 83 h 216"/>
                <a:gd name="T16" fmla="*/ 145 w 159"/>
                <a:gd name="T17" fmla="*/ 82 h 216"/>
                <a:gd name="T18" fmla="*/ 151 w 159"/>
                <a:gd name="T19" fmla="*/ 83 h 216"/>
                <a:gd name="T20" fmla="*/ 148 w 159"/>
                <a:gd name="T21" fmla="*/ 110 h 216"/>
                <a:gd name="T22" fmla="*/ 154 w 159"/>
                <a:gd name="T23" fmla="*/ 120 h 216"/>
                <a:gd name="T24" fmla="*/ 153 w 159"/>
                <a:gd name="T25" fmla="*/ 132 h 216"/>
                <a:gd name="T26" fmla="*/ 159 w 159"/>
                <a:gd name="T27" fmla="*/ 147 h 216"/>
                <a:gd name="T28" fmla="*/ 150 w 159"/>
                <a:gd name="T29" fmla="*/ 138 h 216"/>
                <a:gd name="T30" fmla="*/ 141 w 159"/>
                <a:gd name="T31" fmla="*/ 138 h 216"/>
                <a:gd name="T32" fmla="*/ 120 w 159"/>
                <a:gd name="T33" fmla="*/ 141 h 216"/>
                <a:gd name="T34" fmla="*/ 126 w 159"/>
                <a:gd name="T35" fmla="*/ 148 h 216"/>
                <a:gd name="T36" fmla="*/ 129 w 159"/>
                <a:gd name="T37" fmla="*/ 156 h 216"/>
                <a:gd name="T38" fmla="*/ 117 w 159"/>
                <a:gd name="T39" fmla="*/ 165 h 216"/>
                <a:gd name="T40" fmla="*/ 126 w 159"/>
                <a:gd name="T41" fmla="*/ 179 h 216"/>
                <a:gd name="T42" fmla="*/ 117 w 159"/>
                <a:gd name="T43" fmla="*/ 216 h 216"/>
                <a:gd name="T44" fmla="*/ 108 w 159"/>
                <a:gd name="T45" fmla="*/ 212 h 216"/>
                <a:gd name="T46" fmla="*/ 113 w 159"/>
                <a:gd name="T47" fmla="*/ 197 h 216"/>
                <a:gd name="T48" fmla="*/ 101 w 159"/>
                <a:gd name="T49" fmla="*/ 196 h 216"/>
                <a:gd name="T50" fmla="*/ 94 w 159"/>
                <a:gd name="T51" fmla="*/ 193 h 216"/>
                <a:gd name="T52" fmla="*/ 77 w 159"/>
                <a:gd name="T53" fmla="*/ 196 h 216"/>
                <a:gd name="T54" fmla="*/ 70 w 159"/>
                <a:gd name="T55" fmla="*/ 187 h 216"/>
                <a:gd name="T56" fmla="*/ 64 w 159"/>
                <a:gd name="T57" fmla="*/ 178 h 216"/>
                <a:gd name="T58" fmla="*/ 48 w 159"/>
                <a:gd name="T59" fmla="*/ 166 h 216"/>
                <a:gd name="T60" fmla="*/ 36 w 159"/>
                <a:gd name="T61" fmla="*/ 160 h 216"/>
                <a:gd name="T62" fmla="*/ 22 w 159"/>
                <a:gd name="T63" fmla="*/ 160 h 216"/>
                <a:gd name="T64" fmla="*/ 2 w 159"/>
                <a:gd name="T65" fmla="*/ 147 h 216"/>
                <a:gd name="T66" fmla="*/ 0 w 159"/>
                <a:gd name="T67" fmla="*/ 142 h 216"/>
                <a:gd name="T68" fmla="*/ 5 w 159"/>
                <a:gd name="T69" fmla="*/ 129 h 216"/>
                <a:gd name="T70" fmla="*/ 18 w 159"/>
                <a:gd name="T71" fmla="*/ 122 h 216"/>
                <a:gd name="T72" fmla="*/ 19 w 159"/>
                <a:gd name="T73" fmla="*/ 113 h 216"/>
                <a:gd name="T74" fmla="*/ 13 w 159"/>
                <a:gd name="T75" fmla="*/ 68 h 216"/>
                <a:gd name="T76" fmla="*/ 16 w 159"/>
                <a:gd name="T77" fmla="*/ 62 h 216"/>
                <a:gd name="T78" fmla="*/ 22 w 159"/>
                <a:gd name="T79" fmla="*/ 59 h 216"/>
                <a:gd name="T80" fmla="*/ 19 w 159"/>
                <a:gd name="T81" fmla="*/ 50 h 216"/>
                <a:gd name="T82" fmla="*/ 21 w 159"/>
                <a:gd name="T83" fmla="*/ 50 h 216"/>
                <a:gd name="T84" fmla="*/ 27 w 159"/>
                <a:gd name="T85" fmla="*/ 49 h 216"/>
                <a:gd name="T86" fmla="*/ 43 w 159"/>
                <a:gd name="T87" fmla="*/ 25 h 216"/>
                <a:gd name="T88" fmla="*/ 58 w 159"/>
                <a:gd name="T89" fmla="*/ 19 h 216"/>
                <a:gd name="T90" fmla="*/ 62 w 159"/>
                <a:gd name="T91" fmla="*/ 15 h 216"/>
                <a:gd name="T92" fmla="*/ 88 w 159"/>
                <a:gd name="T93" fmla="*/ 9 h 216"/>
                <a:gd name="T94" fmla="*/ 96 w 159"/>
                <a:gd name="T9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 h="216">
                  <a:moveTo>
                    <a:pt x="96" y="0"/>
                  </a:moveTo>
                  <a:lnTo>
                    <a:pt x="102" y="3"/>
                  </a:lnTo>
                  <a:lnTo>
                    <a:pt x="102" y="4"/>
                  </a:lnTo>
                  <a:lnTo>
                    <a:pt x="101" y="7"/>
                  </a:lnTo>
                  <a:lnTo>
                    <a:pt x="101" y="9"/>
                  </a:lnTo>
                  <a:lnTo>
                    <a:pt x="94" y="12"/>
                  </a:lnTo>
                  <a:lnTo>
                    <a:pt x="85" y="21"/>
                  </a:lnTo>
                  <a:lnTo>
                    <a:pt x="74" y="43"/>
                  </a:lnTo>
                  <a:lnTo>
                    <a:pt x="80" y="43"/>
                  </a:lnTo>
                  <a:lnTo>
                    <a:pt x="88" y="56"/>
                  </a:lnTo>
                  <a:lnTo>
                    <a:pt x="88" y="65"/>
                  </a:lnTo>
                  <a:lnTo>
                    <a:pt x="92" y="70"/>
                  </a:lnTo>
                  <a:lnTo>
                    <a:pt x="99" y="71"/>
                  </a:lnTo>
                  <a:lnTo>
                    <a:pt x="110" y="70"/>
                  </a:lnTo>
                  <a:lnTo>
                    <a:pt x="117" y="73"/>
                  </a:lnTo>
                  <a:lnTo>
                    <a:pt x="126" y="83"/>
                  </a:lnTo>
                  <a:lnTo>
                    <a:pt x="138" y="83"/>
                  </a:lnTo>
                  <a:lnTo>
                    <a:pt x="145" y="82"/>
                  </a:lnTo>
                  <a:lnTo>
                    <a:pt x="151" y="82"/>
                  </a:lnTo>
                  <a:lnTo>
                    <a:pt x="151" y="83"/>
                  </a:lnTo>
                  <a:lnTo>
                    <a:pt x="145" y="104"/>
                  </a:lnTo>
                  <a:lnTo>
                    <a:pt x="148" y="110"/>
                  </a:lnTo>
                  <a:lnTo>
                    <a:pt x="154" y="119"/>
                  </a:lnTo>
                  <a:lnTo>
                    <a:pt x="154" y="120"/>
                  </a:lnTo>
                  <a:lnTo>
                    <a:pt x="147" y="127"/>
                  </a:lnTo>
                  <a:lnTo>
                    <a:pt x="153" y="132"/>
                  </a:lnTo>
                  <a:lnTo>
                    <a:pt x="159" y="145"/>
                  </a:lnTo>
                  <a:lnTo>
                    <a:pt x="159" y="147"/>
                  </a:lnTo>
                  <a:lnTo>
                    <a:pt x="156" y="148"/>
                  </a:lnTo>
                  <a:lnTo>
                    <a:pt x="150" y="138"/>
                  </a:lnTo>
                  <a:lnTo>
                    <a:pt x="144" y="141"/>
                  </a:lnTo>
                  <a:lnTo>
                    <a:pt x="141" y="138"/>
                  </a:lnTo>
                  <a:lnTo>
                    <a:pt x="139" y="141"/>
                  </a:lnTo>
                  <a:lnTo>
                    <a:pt x="120" y="141"/>
                  </a:lnTo>
                  <a:lnTo>
                    <a:pt x="120" y="148"/>
                  </a:lnTo>
                  <a:lnTo>
                    <a:pt x="126" y="148"/>
                  </a:lnTo>
                  <a:lnTo>
                    <a:pt x="126" y="150"/>
                  </a:lnTo>
                  <a:lnTo>
                    <a:pt x="129" y="156"/>
                  </a:lnTo>
                  <a:lnTo>
                    <a:pt x="117" y="157"/>
                  </a:lnTo>
                  <a:lnTo>
                    <a:pt x="117" y="165"/>
                  </a:lnTo>
                  <a:lnTo>
                    <a:pt x="123" y="169"/>
                  </a:lnTo>
                  <a:lnTo>
                    <a:pt x="126" y="179"/>
                  </a:lnTo>
                  <a:lnTo>
                    <a:pt x="119" y="216"/>
                  </a:lnTo>
                  <a:lnTo>
                    <a:pt x="117" y="216"/>
                  </a:lnTo>
                  <a:lnTo>
                    <a:pt x="108" y="213"/>
                  </a:lnTo>
                  <a:lnTo>
                    <a:pt x="108" y="212"/>
                  </a:lnTo>
                  <a:lnTo>
                    <a:pt x="116" y="202"/>
                  </a:lnTo>
                  <a:lnTo>
                    <a:pt x="113" y="197"/>
                  </a:lnTo>
                  <a:lnTo>
                    <a:pt x="104" y="193"/>
                  </a:lnTo>
                  <a:lnTo>
                    <a:pt x="101" y="196"/>
                  </a:lnTo>
                  <a:lnTo>
                    <a:pt x="99" y="196"/>
                  </a:lnTo>
                  <a:lnTo>
                    <a:pt x="94" y="193"/>
                  </a:lnTo>
                  <a:lnTo>
                    <a:pt x="88" y="197"/>
                  </a:lnTo>
                  <a:lnTo>
                    <a:pt x="77" y="196"/>
                  </a:lnTo>
                  <a:lnTo>
                    <a:pt x="76" y="187"/>
                  </a:lnTo>
                  <a:lnTo>
                    <a:pt x="70" y="187"/>
                  </a:lnTo>
                  <a:lnTo>
                    <a:pt x="68" y="179"/>
                  </a:lnTo>
                  <a:lnTo>
                    <a:pt x="64" y="178"/>
                  </a:lnTo>
                  <a:lnTo>
                    <a:pt x="54" y="166"/>
                  </a:lnTo>
                  <a:lnTo>
                    <a:pt x="48" y="166"/>
                  </a:lnTo>
                  <a:lnTo>
                    <a:pt x="37" y="160"/>
                  </a:lnTo>
                  <a:lnTo>
                    <a:pt x="36" y="160"/>
                  </a:lnTo>
                  <a:lnTo>
                    <a:pt x="22" y="162"/>
                  </a:lnTo>
                  <a:lnTo>
                    <a:pt x="22" y="160"/>
                  </a:lnTo>
                  <a:lnTo>
                    <a:pt x="16" y="154"/>
                  </a:lnTo>
                  <a:lnTo>
                    <a:pt x="2" y="147"/>
                  </a:lnTo>
                  <a:lnTo>
                    <a:pt x="0" y="145"/>
                  </a:lnTo>
                  <a:lnTo>
                    <a:pt x="0" y="142"/>
                  </a:lnTo>
                  <a:lnTo>
                    <a:pt x="5" y="139"/>
                  </a:lnTo>
                  <a:lnTo>
                    <a:pt x="5" y="129"/>
                  </a:lnTo>
                  <a:lnTo>
                    <a:pt x="16" y="126"/>
                  </a:lnTo>
                  <a:lnTo>
                    <a:pt x="18" y="122"/>
                  </a:lnTo>
                  <a:lnTo>
                    <a:pt x="25" y="114"/>
                  </a:lnTo>
                  <a:lnTo>
                    <a:pt x="19" y="113"/>
                  </a:lnTo>
                  <a:lnTo>
                    <a:pt x="19" y="79"/>
                  </a:lnTo>
                  <a:lnTo>
                    <a:pt x="13" y="68"/>
                  </a:lnTo>
                  <a:lnTo>
                    <a:pt x="13" y="67"/>
                  </a:lnTo>
                  <a:lnTo>
                    <a:pt x="16" y="62"/>
                  </a:lnTo>
                  <a:lnTo>
                    <a:pt x="18" y="62"/>
                  </a:lnTo>
                  <a:lnTo>
                    <a:pt x="22" y="59"/>
                  </a:lnTo>
                  <a:lnTo>
                    <a:pt x="19" y="53"/>
                  </a:lnTo>
                  <a:lnTo>
                    <a:pt x="19" y="50"/>
                  </a:lnTo>
                  <a:lnTo>
                    <a:pt x="21" y="49"/>
                  </a:lnTo>
                  <a:lnTo>
                    <a:pt x="21" y="50"/>
                  </a:lnTo>
                  <a:lnTo>
                    <a:pt x="27" y="56"/>
                  </a:lnTo>
                  <a:lnTo>
                    <a:pt x="27" y="49"/>
                  </a:lnTo>
                  <a:lnTo>
                    <a:pt x="43" y="39"/>
                  </a:lnTo>
                  <a:lnTo>
                    <a:pt x="43" y="25"/>
                  </a:lnTo>
                  <a:lnTo>
                    <a:pt x="52" y="19"/>
                  </a:lnTo>
                  <a:lnTo>
                    <a:pt x="58" y="19"/>
                  </a:lnTo>
                  <a:lnTo>
                    <a:pt x="59" y="21"/>
                  </a:lnTo>
                  <a:lnTo>
                    <a:pt x="62" y="15"/>
                  </a:lnTo>
                  <a:lnTo>
                    <a:pt x="76" y="13"/>
                  </a:lnTo>
                  <a:lnTo>
                    <a:pt x="88" y="9"/>
                  </a:lnTo>
                  <a:lnTo>
                    <a:pt x="91" y="3"/>
                  </a:lnTo>
                  <a:lnTo>
                    <a:pt x="9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5" name="Chile - Mainland">
              <a:extLst>
                <a:ext uri="{FF2B5EF4-FFF2-40B4-BE49-F238E27FC236}">
                  <a16:creationId xmlns:a16="http://schemas.microsoft.com/office/drawing/2014/main" id="{42A976C8-8424-E0AD-C2EB-E6CA79B6CD5D}"/>
                </a:ext>
              </a:extLst>
            </p:cNvPr>
            <p:cNvSpPr>
              <a:spLocks noEditPoints="1"/>
            </p:cNvSpPr>
            <p:nvPr/>
          </p:nvSpPr>
          <p:spPr bwMode="auto">
            <a:xfrm>
              <a:off x="4040467" y="5006644"/>
              <a:ext cx="204198" cy="1087851"/>
            </a:xfrm>
            <a:custGeom>
              <a:avLst/>
              <a:gdLst>
                <a:gd name="T0" fmla="*/ 25 w 113"/>
                <a:gd name="T1" fmla="*/ 493 h 602"/>
                <a:gd name="T2" fmla="*/ 80 w 113"/>
                <a:gd name="T3" fmla="*/ 0 h 602"/>
                <a:gd name="T4" fmla="*/ 94 w 113"/>
                <a:gd name="T5" fmla="*/ 31 h 602"/>
                <a:gd name="T6" fmla="*/ 101 w 113"/>
                <a:gd name="T7" fmla="*/ 71 h 602"/>
                <a:gd name="T8" fmla="*/ 110 w 113"/>
                <a:gd name="T9" fmla="*/ 91 h 602"/>
                <a:gd name="T10" fmla="*/ 96 w 113"/>
                <a:gd name="T11" fmla="*/ 132 h 602"/>
                <a:gd name="T12" fmla="*/ 76 w 113"/>
                <a:gd name="T13" fmla="*/ 168 h 602"/>
                <a:gd name="T14" fmla="*/ 76 w 113"/>
                <a:gd name="T15" fmla="*/ 229 h 602"/>
                <a:gd name="T16" fmla="*/ 61 w 113"/>
                <a:gd name="T17" fmla="*/ 282 h 602"/>
                <a:gd name="T18" fmla="*/ 52 w 113"/>
                <a:gd name="T19" fmla="*/ 338 h 602"/>
                <a:gd name="T20" fmla="*/ 48 w 113"/>
                <a:gd name="T21" fmla="*/ 381 h 602"/>
                <a:gd name="T22" fmla="*/ 56 w 113"/>
                <a:gd name="T23" fmla="*/ 415 h 602"/>
                <a:gd name="T24" fmla="*/ 53 w 113"/>
                <a:gd name="T25" fmla="*/ 435 h 602"/>
                <a:gd name="T26" fmla="*/ 42 w 113"/>
                <a:gd name="T27" fmla="*/ 498 h 602"/>
                <a:gd name="T28" fmla="*/ 37 w 113"/>
                <a:gd name="T29" fmla="*/ 537 h 602"/>
                <a:gd name="T30" fmla="*/ 48 w 113"/>
                <a:gd name="T31" fmla="*/ 562 h 602"/>
                <a:gd name="T32" fmla="*/ 91 w 113"/>
                <a:gd name="T33" fmla="*/ 570 h 602"/>
                <a:gd name="T34" fmla="*/ 61 w 113"/>
                <a:gd name="T35" fmla="*/ 601 h 602"/>
                <a:gd name="T36" fmla="*/ 45 w 113"/>
                <a:gd name="T37" fmla="*/ 596 h 602"/>
                <a:gd name="T38" fmla="*/ 48 w 113"/>
                <a:gd name="T39" fmla="*/ 593 h 602"/>
                <a:gd name="T40" fmla="*/ 39 w 113"/>
                <a:gd name="T41" fmla="*/ 576 h 602"/>
                <a:gd name="T42" fmla="*/ 42 w 113"/>
                <a:gd name="T43" fmla="*/ 558 h 602"/>
                <a:gd name="T44" fmla="*/ 37 w 113"/>
                <a:gd name="T45" fmla="*/ 561 h 602"/>
                <a:gd name="T46" fmla="*/ 30 w 113"/>
                <a:gd name="T47" fmla="*/ 564 h 602"/>
                <a:gd name="T48" fmla="*/ 21 w 113"/>
                <a:gd name="T49" fmla="*/ 539 h 602"/>
                <a:gd name="T50" fmla="*/ 19 w 113"/>
                <a:gd name="T51" fmla="*/ 533 h 602"/>
                <a:gd name="T52" fmla="*/ 13 w 113"/>
                <a:gd name="T53" fmla="*/ 525 h 602"/>
                <a:gd name="T54" fmla="*/ 22 w 113"/>
                <a:gd name="T55" fmla="*/ 510 h 602"/>
                <a:gd name="T56" fmla="*/ 18 w 113"/>
                <a:gd name="T57" fmla="*/ 491 h 602"/>
                <a:gd name="T58" fmla="*/ 16 w 113"/>
                <a:gd name="T59" fmla="*/ 481 h 602"/>
                <a:gd name="T60" fmla="*/ 28 w 113"/>
                <a:gd name="T61" fmla="*/ 484 h 602"/>
                <a:gd name="T62" fmla="*/ 22 w 113"/>
                <a:gd name="T63" fmla="*/ 473 h 602"/>
                <a:gd name="T64" fmla="*/ 21 w 113"/>
                <a:gd name="T65" fmla="*/ 466 h 602"/>
                <a:gd name="T66" fmla="*/ 22 w 113"/>
                <a:gd name="T67" fmla="*/ 463 h 602"/>
                <a:gd name="T68" fmla="*/ 5 w 113"/>
                <a:gd name="T69" fmla="*/ 457 h 602"/>
                <a:gd name="T70" fmla="*/ 0 w 113"/>
                <a:gd name="T71" fmla="*/ 458 h 602"/>
                <a:gd name="T72" fmla="*/ 9 w 113"/>
                <a:gd name="T73" fmla="*/ 442 h 602"/>
                <a:gd name="T74" fmla="*/ 21 w 113"/>
                <a:gd name="T75" fmla="*/ 450 h 602"/>
                <a:gd name="T76" fmla="*/ 25 w 113"/>
                <a:gd name="T77" fmla="*/ 451 h 602"/>
                <a:gd name="T78" fmla="*/ 27 w 113"/>
                <a:gd name="T79" fmla="*/ 448 h 602"/>
                <a:gd name="T80" fmla="*/ 30 w 113"/>
                <a:gd name="T81" fmla="*/ 439 h 602"/>
                <a:gd name="T82" fmla="*/ 27 w 113"/>
                <a:gd name="T83" fmla="*/ 436 h 602"/>
                <a:gd name="T84" fmla="*/ 30 w 113"/>
                <a:gd name="T85" fmla="*/ 424 h 602"/>
                <a:gd name="T86" fmla="*/ 31 w 113"/>
                <a:gd name="T87" fmla="*/ 410 h 602"/>
                <a:gd name="T88" fmla="*/ 34 w 113"/>
                <a:gd name="T89" fmla="*/ 396 h 602"/>
                <a:gd name="T90" fmla="*/ 40 w 113"/>
                <a:gd name="T91" fmla="*/ 381 h 602"/>
                <a:gd name="T92" fmla="*/ 42 w 113"/>
                <a:gd name="T93" fmla="*/ 375 h 602"/>
                <a:gd name="T94" fmla="*/ 43 w 113"/>
                <a:gd name="T95" fmla="*/ 365 h 602"/>
                <a:gd name="T96" fmla="*/ 25 w 113"/>
                <a:gd name="T97" fmla="*/ 335 h 602"/>
                <a:gd name="T98" fmla="*/ 33 w 113"/>
                <a:gd name="T99" fmla="*/ 289 h 602"/>
                <a:gd name="T100" fmla="*/ 52 w 113"/>
                <a:gd name="T101" fmla="*/ 235 h 602"/>
                <a:gd name="T102" fmla="*/ 55 w 113"/>
                <a:gd name="T103" fmla="*/ 175 h 602"/>
                <a:gd name="T104" fmla="*/ 67 w 113"/>
                <a:gd name="T105" fmla="*/ 107 h 602"/>
                <a:gd name="T106" fmla="*/ 70 w 113"/>
                <a:gd name="T107" fmla="*/ 33 h 602"/>
                <a:gd name="T108" fmla="*/ 79 w 113"/>
                <a:gd name="T109"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3" h="602">
                  <a:moveTo>
                    <a:pt x="22" y="490"/>
                  </a:moveTo>
                  <a:lnTo>
                    <a:pt x="21" y="491"/>
                  </a:lnTo>
                  <a:lnTo>
                    <a:pt x="19" y="491"/>
                  </a:lnTo>
                  <a:lnTo>
                    <a:pt x="25" y="493"/>
                  </a:lnTo>
                  <a:lnTo>
                    <a:pt x="24" y="490"/>
                  </a:lnTo>
                  <a:lnTo>
                    <a:pt x="22" y="490"/>
                  </a:lnTo>
                  <a:close/>
                  <a:moveTo>
                    <a:pt x="79" y="0"/>
                  </a:moveTo>
                  <a:lnTo>
                    <a:pt x="80" y="0"/>
                  </a:lnTo>
                  <a:lnTo>
                    <a:pt x="86" y="6"/>
                  </a:lnTo>
                  <a:lnTo>
                    <a:pt x="88" y="18"/>
                  </a:lnTo>
                  <a:lnTo>
                    <a:pt x="94" y="23"/>
                  </a:lnTo>
                  <a:lnTo>
                    <a:pt x="94" y="31"/>
                  </a:lnTo>
                  <a:lnTo>
                    <a:pt x="91" y="33"/>
                  </a:lnTo>
                  <a:lnTo>
                    <a:pt x="91" y="37"/>
                  </a:lnTo>
                  <a:lnTo>
                    <a:pt x="96" y="46"/>
                  </a:lnTo>
                  <a:lnTo>
                    <a:pt x="101" y="71"/>
                  </a:lnTo>
                  <a:lnTo>
                    <a:pt x="111" y="73"/>
                  </a:lnTo>
                  <a:lnTo>
                    <a:pt x="113" y="79"/>
                  </a:lnTo>
                  <a:lnTo>
                    <a:pt x="111" y="91"/>
                  </a:lnTo>
                  <a:lnTo>
                    <a:pt x="110" y="91"/>
                  </a:lnTo>
                  <a:lnTo>
                    <a:pt x="95" y="98"/>
                  </a:lnTo>
                  <a:lnTo>
                    <a:pt x="94" y="112"/>
                  </a:lnTo>
                  <a:lnTo>
                    <a:pt x="96" y="131"/>
                  </a:lnTo>
                  <a:lnTo>
                    <a:pt x="96" y="132"/>
                  </a:lnTo>
                  <a:lnTo>
                    <a:pt x="89" y="137"/>
                  </a:lnTo>
                  <a:lnTo>
                    <a:pt x="88" y="143"/>
                  </a:lnTo>
                  <a:lnTo>
                    <a:pt x="80" y="150"/>
                  </a:lnTo>
                  <a:lnTo>
                    <a:pt x="76" y="168"/>
                  </a:lnTo>
                  <a:lnTo>
                    <a:pt x="76" y="183"/>
                  </a:lnTo>
                  <a:lnTo>
                    <a:pt x="68" y="198"/>
                  </a:lnTo>
                  <a:lnTo>
                    <a:pt x="68" y="203"/>
                  </a:lnTo>
                  <a:lnTo>
                    <a:pt x="76" y="229"/>
                  </a:lnTo>
                  <a:lnTo>
                    <a:pt x="77" y="242"/>
                  </a:lnTo>
                  <a:lnTo>
                    <a:pt x="68" y="260"/>
                  </a:lnTo>
                  <a:lnTo>
                    <a:pt x="68" y="273"/>
                  </a:lnTo>
                  <a:lnTo>
                    <a:pt x="61" y="282"/>
                  </a:lnTo>
                  <a:lnTo>
                    <a:pt x="59" y="300"/>
                  </a:lnTo>
                  <a:lnTo>
                    <a:pt x="61" y="312"/>
                  </a:lnTo>
                  <a:lnTo>
                    <a:pt x="56" y="321"/>
                  </a:lnTo>
                  <a:lnTo>
                    <a:pt x="52" y="338"/>
                  </a:lnTo>
                  <a:lnTo>
                    <a:pt x="51" y="359"/>
                  </a:lnTo>
                  <a:lnTo>
                    <a:pt x="53" y="368"/>
                  </a:lnTo>
                  <a:lnTo>
                    <a:pt x="53" y="369"/>
                  </a:lnTo>
                  <a:lnTo>
                    <a:pt x="48" y="381"/>
                  </a:lnTo>
                  <a:lnTo>
                    <a:pt x="51" y="405"/>
                  </a:lnTo>
                  <a:lnTo>
                    <a:pt x="51" y="412"/>
                  </a:lnTo>
                  <a:lnTo>
                    <a:pt x="56" y="414"/>
                  </a:lnTo>
                  <a:lnTo>
                    <a:pt x="56" y="415"/>
                  </a:lnTo>
                  <a:lnTo>
                    <a:pt x="58" y="418"/>
                  </a:lnTo>
                  <a:lnTo>
                    <a:pt x="51" y="421"/>
                  </a:lnTo>
                  <a:lnTo>
                    <a:pt x="56" y="427"/>
                  </a:lnTo>
                  <a:lnTo>
                    <a:pt x="53" y="435"/>
                  </a:lnTo>
                  <a:lnTo>
                    <a:pt x="53" y="455"/>
                  </a:lnTo>
                  <a:lnTo>
                    <a:pt x="45" y="476"/>
                  </a:lnTo>
                  <a:lnTo>
                    <a:pt x="45" y="490"/>
                  </a:lnTo>
                  <a:lnTo>
                    <a:pt x="42" y="498"/>
                  </a:lnTo>
                  <a:lnTo>
                    <a:pt x="33" y="513"/>
                  </a:lnTo>
                  <a:lnTo>
                    <a:pt x="31" y="525"/>
                  </a:lnTo>
                  <a:lnTo>
                    <a:pt x="31" y="537"/>
                  </a:lnTo>
                  <a:lnTo>
                    <a:pt x="37" y="537"/>
                  </a:lnTo>
                  <a:lnTo>
                    <a:pt x="40" y="536"/>
                  </a:lnTo>
                  <a:lnTo>
                    <a:pt x="45" y="536"/>
                  </a:lnTo>
                  <a:lnTo>
                    <a:pt x="45" y="558"/>
                  </a:lnTo>
                  <a:lnTo>
                    <a:pt x="48" y="562"/>
                  </a:lnTo>
                  <a:lnTo>
                    <a:pt x="77" y="564"/>
                  </a:lnTo>
                  <a:lnTo>
                    <a:pt x="96" y="568"/>
                  </a:lnTo>
                  <a:lnTo>
                    <a:pt x="96" y="570"/>
                  </a:lnTo>
                  <a:lnTo>
                    <a:pt x="91" y="570"/>
                  </a:lnTo>
                  <a:lnTo>
                    <a:pt x="88" y="568"/>
                  </a:lnTo>
                  <a:lnTo>
                    <a:pt x="85" y="568"/>
                  </a:lnTo>
                  <a:lnTo>
                    <a:pt x="64" y="580"/>
                  </a:lnTo>
                  <a:lnTo>
                    <a:pt x="61" y="601"/>
                  </a:lnTo>
                  <a:lnTo>
                    <a:pt x="61" y="602"/>
                  </a:lnTo>
                  <a:lnTo>
                    <a:pt x="53" y="602"/>
                  </a:lnTo>
                  <a:lnTo>
                    <a:pt x="46" y="598"/>
                  </a:lnTo>
                  <a:lnTo>
                    <a:pt x="45" y="596"/>
                  </a:lnTo>
                  <a:lnTo>
                    <a:pt x="43" y="592"/>
                  </a:lnTo>
                  <a:lnTo>
                    <a:pt x="43" y="590"/>
                  </a:lnTo>
                  <a:lnTo>
                    <a:pt x="48" y="590"/>
                  </a:lnTo>
                  <a:lnTo>
                    <a:pt x="48" y="593"/>
                  </a:lnTo>
                  <a:lnTo>
                    <a:pt x="56" y="586"/>
                  </a:lnTo>
                  <a:lnTo>
                    <a:pt x="59" y="582"/>
                  </a:lnTo>
                  <a:lnTo>
                    <a:pt x="53" y="576"/>
                  </a:lnTo>
                  <a:lnTo>
                    <a:pt x="39" y="576"/>
                  </a:lnTo>
                  <a:lnTo>
                    <a:pt x="42" y="568"/>
                  </a:lnTo>
                  <a:lnTo>
                    <a:pt x="39" y="564"/>
                  </a:lnTo>
                  <a:lnTo>
                    <a:pt x="39" y="562"/>
                  </a:lnTo>
                  <a:lnTo>
                    <a:pt x="42" y="558"/>
                  </a:lnTo>
                  <a:lnTo>
                    <a:pt x="40" y="558"/>
                  </a:lnTo>
                  <a:lnTo>
                    <a:pt x="40" y="559"/>
                  </a:lnTo>
                  <a:lnTo>
                    <a:pt x="37" y="559"/>
                  </a:lnTo>
                  <a:lnTo>
                    <a:pt x="37" y="561"/>
                  </a:lnTo>
                  <a:lnTo>
                    <a:pt x="34" y="564"/>
                  </a:lnTo>
                  <a:lnTo>
                    <a:pt x="33" y="564"/>
                  </a:lnTo>
                  <a:lnTo>
                    <a:pt x="31" y="565"/>
                  </a:lnTo>
                  <a:lnTo>
                    <a:pt x="30" y="564"/>
                  </a:lnTo>
                  <a:lnTo>
                    <a:pt x="28" y="564"/>
                  </a:lnTo>
                  <a:lnTo>
                    <a:pt x="27" y="550"/>
                  </a:lnTo>
                  <a:lnTo>
                    <a:pt x="21" y="544"/>
                  </a:lnTo>
                  <a:lnTo>
                    <a:pt x="21" y="539"/>
                  </a:lnTo>
                  <a:lnTo>
                    <a:pt x="25" y="537"/>
                  </a:lnTo>
                  <a:lnTo>
                    <a:pt x="21" y="537"/>
                  </a:lnTo>
                  <a:lnTo>
                    <a:pt x="19" y="534"/>
                  </a:lnTo>
                  <a:lnTo>
                    <a:pt x="19" y="533"/>
                  </a:lnTo>
                  <a:lnTo>
                    <a:pt x="21" y="533"/>
                  </a:lnTo>
                  <a:lnTo>
                    <a:pt x="22" y="531"/>
                  </a:lnTo>
                  <a:lnTo>
                    <a:pt x="15" y="525"/>
                  </a:lnTo>
                  <a:lnTo>
                    <a:pt x="13" y="525"/>
                  </a:lnTo>
                  <a:lnTo>
                    <a:pt x="13" y="524"/>
                  </a:lnTo>
                  <a:lnTo>
                    <a:pt x="19" y="515"/>
                  </a:lnTo>
                  <a:lnTo>
                    <a:pt x="24" y="513"/>
                  </a:lnTo>
                  <a:lnTo>
                    <a:pt x="22" y="510"/>
                  </a:lnTo>
                  <a:lnTo>
                    <a:pt x="24" y="506"/>
                  </a:lnTo>
                  <a:lnTo>
                    <a:pt x="19" y="510"/>
                  </a:lnTo>
                  <a:lnTo>
                    <a:pt x="18" y="510"/>
                  </a:lnTo>
                  <a:lnTo>
                    <a:pt x="18" y="491"/>
                  </a:lnTo>
                  <a:lnTo>
                    <a:pt x="16" y="491"/>
                  </a:lnTo>
                  <a:lnTo>
                    <a:pt x="16" y="490"/>
                  </a:lnTo>
                  <a:lnTo>
                    <a:pt x="15" y="481"/>
                  </a:lnTo>
                  <a:lnTo>
                    <a:pt x="16" y="481"/>
                  </a:lnTo>
                  <a:lnTo>
                    <a:pt x="19" y="485"/>
                  </a:lnTo>
                  <a:lnTo>
                    <a:pt x="19" y="482"/>
                  </a:lnTo>
                  <a:lnTo>
                    <a:pt x="21" y="482"/>
                  </a:lnTo>
                  <a:lnTo>
                    <a:pt x="28" y="484"/>
                  </a:lnTo>
                  <a:lnTo>
                    <a:pt x="24" y="476"/>
                  </a:lnTo>
                  <a:lnTo>
                    <a:pt x="22" y="478"/>
                  </a:lnTo>
                  <a:lnTo>
                    <a:pt x="21" y="478"/>
                  </a:lnTo>
                  <a:lnTo>
                    <a:pt x="22" y="473"/>
                  </a:lnTo>
                  <a:lnTo>
                    <a:pt x="16" y="472"/>
                  </a:lnTo>
                  <a:lnTo>
                    <a:pt x="16" y="470"/>
                  </a:lnTo>
                  <a:lnTo>
                    <a:pt x="21" y="467"/>
                  </a:lnTo>
                  <a:lnTo>
                    <a:pt x="21" y="466"/>
                  </a:lnTo>
                  <a:lnTo>
                    <a:pt x="19" y="466"/>
                  </a:lnTo>
                  <a:lnTo>
                    <a:pt x="19" y="464"/>
                  </a:lnTo>
                  <a:lnTo>
                    <a:pt x="21" y="464"/>
                  </a:lnTo>
                  <a:lnTo>
                    <a:pt x="22" y="463"/>
                  </a:lnTo>
                  <a:lnTo>
                    <a:pt x="19" y="458"/>
                  </a:lnTo>
                  <a:lnTo>
                    <a:pt x="13" y="460"/>
                  </a:lnTo>
                  <a:lnTo>
                    <a:pt x="8" y="455"/>
                  </a:lnTo>
                  <a:lnTo>
                    <a:pt x="5" y="457"/>
                  </a:lnTo>
                  <a:lnTo>
                    <a:pt x="6" y="461"/>
                  </a:lnTo>
                  <a:lnTo>
                    <a:pt x="5" y="461"/>
                  </a:lnTo>
                  <a:lnTo>
                    <a:pt x="2" y="460"/>
                  </a:lnTo>
                  <a:lnTo>
                    <a:pt x="0" y="458"/>
                  </a:lnTo>
                  <a:lnTo>
                    <a:pt x="2" y="454"/>
                  </a:lnTo>
                  <a:lnTo>
                    <a:pt x="3" y="454"/>
                  </a:lnTo>
                  <a:lnTo>
                    <a:pt x="12" y="447"/>
                  </a:lnTo>
                  <a:lnTo>
                    <a:pt x="9" y="442"/>
                  </a:lnTo>
                  <a:lnTo>
                    <a:pt x="9" y="441"/>
                  </a:lnTo>
                  <a:lnTo>
                    <a:pt x="19" y="441"/>
                  </a:lnTo>
                  <a:lnTo>
                    <a:pt x="22" y="447"/>
                  </a:lnTo>
                  <a:lnTo>
                    <a:pt x="21" y="450"/>
                  </a:lnTo>
                  <a:lnTo>
                    <a:pt x="22" y="451"/>
                  </a:lnTo>
                  <a:lnTo>
                    <a:pt x="24" y="448"/>
                  </a:lnTo>
                  <a:lnTo>
                    <a:pt x="25" y="448"/>
                  </a:lnTo>
                  <a:lnTo>
                    <a:pt x="25" y="451"/>
                  </a:lnTo>
                  <a:lnTo>
                    <a:pt x="30" y="448"/>
                  </a:lnTo>
                  <a:lnTo>
                    <a:pt x="30" y="447"/>
                  </a:lnTo>
                  <a:lnTo>
                    <a:pt x="28" y="448"/>
                  </a:lnTo>
                  <a:lnTo>
                    <a:pt x="27" y="448"/>
                  </a:lnTo>
                  <a:lnTo>
                    <a:pt x="27" y="441"/>
                  </a:lnTo>
                  <a:lnTo>
                    <a:pt x="28" y="441"/>
                  </a:lnTo>
                  <a:lnTo>
                    <a:pt x="31" y="439"/>
                  </a:lnTo>
                  <a:lnTo>
                    <a:pt x="30" y="439"/>
                  </a:lnTo>
                  <a:lnTo>
                    <a:pt x="30" y="436"/>
                  </a:lnTo>
                  <a:lnTo>
                    <a:pt x="28" y="438"/>
                  </a:lnTo>
                  <a:lnTo>
                    <a:pt x="27" y="438"/>
                  </a:lnTo>
                  <a:lnTo>
                    <a:pt x="27" y="436"/>
                  </a:lnTo>
                  <a:lnTo>
                    <a:pt x="28" y="433"/>
                  </a:lnTo>
                  <a:lnTo>
                    <a:pt x="33" y="432"/>
                  </a:lnTo>
                  <a:lnTo>
                    <a:pt x="30" y="430"/>
                  </a:lnTo>
                  <a:lnTo>
                    <a:pt x="30" y="424"/>
                  </a:lnTo>
                  <a:lnTo>
                    <a:pt x="39" y="420"/>
                  </a:lnTo>
                  <a:lnTo>
                    <a:pt x="39" y="415"/>
                  </a:lnTo>
                  <a:lnTo>
                    <a:pt x="33" y="411"/>
                  </a:lnTo>
                  <a:lnTo>
                    <a:pt x="31" y="410"/>
                  </a:lnTo>
                  <a:lnTo>
                    <a:pt x="33" y="410"/>
                  </a:lnTo>
                  <a:lnTo>
                    <a:pt x="36" y="404"/>
                  </a:lnTo>
                  <a:lnTo>
                    <a:pt x="34" y="398"/>
                  </a:lnTo>
                  <a:lnTo>
                    <a:pt x="34" y="396"/>
                  </a:lnTo>
                  <a:lnTo>
                    <a:pt x="39" y="389"/>
                  </a:lnTo>
                  <a:lnTo>
                    <a:pt x="37" y="384"/>
                  </a:lnTo>
                  <a:lnTo>
                    <a:pt x="37" y="383"/>
                  </a:lnTo>
                  <a:lnTo>
                    <a:pt x="40" y="381"/>
                  </a:lnTo>
                  <a:lnTo>
                    <a:pt x="39" y="378"/>
                  </a:lnTo>
                  <a:lnTo>
                    <a:pt x="39" y="377"/>
                  </a:lnTo>
                  <a:lnTo>
                    <a:pt x="40" y="375"/>
                  </a:lnTo>
                  <a:lnTo>
                    <a:pt x="42" y="375"/>
                  </a:lnTo>
                  <a:lnTo>
                    <a:pt x="42" y="372"/>
                  </a:lnTo>
                  <a:lnTo>
                    <a:pt x="37" y="371"/>
                  </a:lnTo>
                  <a:lnTo>
                    <a:pt x="37" y="369"/>
                  </a:lnTo>
                  <a:lnTo>
                    <a:pt x="43" y="365"/>
                  </a:lnTo>
                  <a:lnTo>
                    <a:pt x="36" y="364"/>
                  </a:lnTo>
                  <a:lnTo>
                    <a:pt x="30" y="368"/>
                  </a:lnTo>
                  <a:lnTo>
                    <a:pt x="24" y="361"/>
                  </a:lnTo>
                  <a:lnTo>
                    <a:pt x="25" y="335"/>
                  </a:lnTo>
                  <a:lnTo>
                    <a:pt x="30" y="328"/>
                  </a:lnTo>
                  <a:lnTo>
                    <a:pt x="27" y="313"/>
                  </a:lnTo>
                  <a:lnTo>
                    <a:pt x="27" y="291"/>
                  </a:lnTo>
                  <a:lnTo>
                    <a:pt x="33" y="289"/>
                  </a:lnTo>
                  <a:lnTo>
                    <a:pt x="31" y="282"/>
                  </a:lnTo>
                  <a:lnTo>
                    <a:pt x="31" y="281"/>
                  </a:lnTo>
                  <a:lnTo>
                    <a:pt x="36" y="281"/>
                  </a:lnTo>
                  <a:lnTo>
                    <a:pt x="52" y="235"/>
                  </a:lnTo>
                  <a:lnTo>
                    <a:pt x="53" y="215"/>
                  </a:lnTo>
                  <a:lnTo>
                    <a:pt x="51" y="187"/>
                  </a:lnTo>
                  <a:lnTo>
                    <a:pt x="52" y="181"/>
                  </a:lnTo>
                  <a:lnTo>
                    <a:pt x="55" y="175"/>
                  </a:lnTo>
                  <a:lnTo>
                    <a:pt x="53" y="160"/>
                  </a:lnTo>
                  <a:lnTo>
                    <a:pt x="64" y="131"/>
                  </a:lnTo>
                  <a:lnTo>
                    <a:pt x="64" y="116"/>
                  </a:lnTo>
                  <a:lnTo>
                    <a:pt x="67" y="107"/>
                  </a:lnTo>
                  <a:lnTo>
                    <a:pt x="65" y="80"/>
                  </a:lnTo>
                  <a:lnTo>
                    <a:pt x="70" y="73"/>
                  </a:lnTo>
                  <a:lnTo>
                    <a:pt x="71" y="55"/>
                  </a:lnTo>
                  <a:lnTo>
                    <a:pt x="70" y="33"/>
                  </a:lnTo>
                  <a:lnTo>
                    <a:pt x="67" y="9"/>
                  </a:lnTo>
                  <a:lnTo>
                    <a:pt x="67" y="8"/>
                  </a:lnTo>
                  <a:lnTo>
                    <a:pt x="76" y="6"/>
                  </a:lnTo>
                  <a:lnTo>
                    <a:pt x="7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6" name="Chile - Offshore">
              <a:extLst>
                <a:ext uri="{FF2B5EF4-FFF2-40B4-BE49-F238E27FC236}">
                  <a16:creationId xmlns:a16="http://schemas.microsoft.com/office/drawing/2014/main" id="{DC619E89-020F-C2E1-750C-5C6E93F30887}"/>
                </a:ext>
              </a:extLst>
            </p:cNvPr>
            <p:cNvSpPr>
              <a:spLocks/>
            </p:cNvSpPr>
            <p:nvPr/>
          </p:nvSpPr>
          <p:spPr bwMode="auto">
            <a:xfrm>
              <a:off x="4044081" y="5666222"/>
              <a:ext cx="180705" cy="505978"/>
            </a:xfrm>
            <a:custGeom>
              <a:avLst/>
              <a:gdLst/>
              <a:ahLst/>
              <a:cxnLst/>
              <a:rect l="l" t="t" r="r" b="b"/>
              <a:pathLst>
                <a:path w="182146" h="510011">
                  <a:moveTo>
                    <a:pt x="114752" y="482688"/>
                  </a:moveTo>
                  <a:lnTo>
                    <a:pt x="123860" y="482688"/>
                  </a:lnTo>
                  <a:lnTo>
                    <a:pt x="123860" y="491796"/>
                  </a:lnTo>
                  <a:lnTo>
                    <a:pt x="114752" y="486331"/>
                  </a:lnTo>
                  <a:close/>
                  <a:moveTo>
                    <a:pt x="85608" y="431688"/>
                  </a:moveTo>
                  <a:lnTo>
                    <a:pt x="89251" y="431688"/>
                  </a:lnTo>
                  <a:lnTo>
                    <a:pt x="107466" y="448082"/>
                  </a:lnTo>
                  <a:lnTo>
                    <a:pt x="109287" y="451725"/>
                  </a:lnTo>
                  <a:lnTo>
                    <a:pt x="107466" y="451725"/>
                  </a:lnTo>
                  <a:lnTo>
                    <a:pt x="83787" y="448082"/>
                  </a:lnTo>
                  <a:lnTo>
                    <a:pt x="80144" y="448082"/>
                  </a:lnTo>
                  <a:lnTo>
                    <a:pt x="80144" y="435331"/>
                  </a:lnTo>
                  <a:close/>
                  <a:moveTo>
                    <a:pt x="45537" y="413474"/>
                  </a:moveTo>
                  <a:lnTo>
                    <a:pt x="51001" y="413474"/>
                  </a:lnTo>
                  <a:lnTo>
                    <a:pt x="58287" y="415296"/>
                  </a:lnTo>
                  <a:lnTo>
                    <a:pt x="63752" y="415296"/>
                  </a:lnTo>
                  <a:lnTo>
                    <a:pt x="80145" y="431689"/>
                  </a:lnTo>
                  <a:lnTo>
                    <a:pt x="78323" y="442617"/>
                  </a:lnTo>
                  <a:lnTo>
                    <a:pt x="72859" y="442617"/>
                  </a:lnTo>
                  <a:lnTo>
                    <a:pt x="69216" y="446260"/>
                  </a:lnTo>
                  <a:lnTo>
                    <a:pt x="61930" y="446260"/>
                  </a:lnTo>
                  <a:lnTo>
                    <a:pt x="52823" y="440796"/>
                  </a:lnTo>
                  <a:lnTo>
                    <a:pt x="45537" y="415296"/>
                  </a:lnTo>
                  <a:close/>
                  <a:moveTo>
                    <a:pt x="18215" y="389794"/>
                  </a:moveTo>
                  <a:lnTo>
                    <a:pt x="20036" y="389794"/>
                  </a:lnTo>
                  <a:lnTo>
                    <a:pt x="58287" y="413474"/>
                  </a:lnTo>
                  <a:lnTo>
                    <a:pt x="58287" y="415295"/>
                  </a:lnTo>
                  <a:lnTo>
                    <a:pt x="25501" y="398902"/>
                  </a:lnTo>
                  <a:lnTo>
                    <a:pt x="20036" y="391616"/>
                  </a:lnTo>
                  <a:lnTo>
                    <a:pt x="18215" y="391616"/>
                  </a:lnTo>
                  <a:close/>
                  <a:moveTo>
                    <a:pt x="145717" y="378865"/>
                  </a:moveTo>
                  <a:lnTo>
                    <a:pt x="147539" y="378865"/>
                  </a:lnTo>
                  <a:lnTo>
                    <a:pt x="151182" y="384330"/>
                  </a:lnTo>
                  <a:lnTo>
                    <a:pt x="167575" y="384330"/>
                  </a:lnTo>
                  <a:lnTo>
                    <a:pt x="167575" y="477224"/>
                  </a:lnTo>
                  <a:lnTo>
                    <a:pt x="163932" y="477224"/>
                  </a:lnTo>
                  <a:lnTo>
                    <a:pt x="163104" y="478881"/>
                  </a:lnTo>
                  <a:lnTo>
                    <a:pt x="169396" y="477225"/>
                  </a:lnTo>
                  <a:lnTo>
                    <a:pt x="171217" y="477225"/>
                  </a:lnTo>
                  <a:lnTo>
                    <a:pt x="174860" y="482690"/>
                  </a:lnTo>
                  <a:lnTo>
                    <a:pt x="174860" y="486332"/>
                  </a:lnTo>
                  <a:lnTo>
                    <a:pt x="169396" y="486332"/>
                  </a:lnTo>
                  <a:lnTo>
                    <a:pt x="176682" y="488154"/>
                  </a:lnTo>
                  <a:lnTo>
                    <a:pt x="176682" y="491797"/>
                  </a:lnTo>
                  <a:lnTo>
                    <a:pt x="171217" y="493618"/>
                  </a:lnTo>
                  <a:lnTo>
                    <a:pt x="176682" y="493618"/>
                  </a:lnTo>
                  <a:lnTo>
                    <a:pt x="176682" y="497261"/>
                  </a:lnTo>
                  <a:lnTo>
                    <a:pt x="182146" y="508190"/>
                  </a:lnTo>
                  <a:lnTo>
                    <a:pt x="182146" y="510011"/>
                  </a:lnTo>
                  <a:lnTo>
                    <a:pt x="156646" y="491797"/>
                  </a:lnTo>
                  <a:lnTo>
                    <a:pt x="151181" y="493618"/>
                  </a:lnTo>
                  <a:lnTo>
                    <a:pt x="156646" y="502725"/>
                  </a:lnTo>
                  <a:lnTo>
                    <a:pt x="156646" y="504547"/>
                  </a:lnTo>
                  <a:lnTo>
                    <a:pt x="151181" y="504547"/>
                  </a:lnTo>
                  <a:lnTo>
                    <a:pt x="147538" y="502725"/>
                  </a:lnTo>
                  <a:lnTo>
                    <a:pt x="145717" y="502725"/>
                  </a:lnTo>
                  <a:lnTo>
                    <a:pt x="140252" y="493618"/>
                  </a:lnTo>
                  <a:lnTo>
                    <a:pt x="145717" y="488154"/>
                  </a:lnTo>
                  <a:lnTo>
                    <a:pt x="131145" y="488154"/>
                  </a:lnTo>
                  <a:lnTo>
                    <a:pt x="131145" y="486332"/>
                  </a:lnTo>
                  <a:lnTo>
                    <a:pt x="134788" y="486332"/>
                  </a:lnTo>
                  <a:lnTo>
                    <a:pt x="156016" y="480746"/>
                  </a:lnTo>
                  <a:lnTo>
                    <a:pt x="135108" y="476725"/>
                  </a:lnTo>
                  <a:lnTo>
                    <a:pt x="147539" y="480869"/>
                  </a:lnTo>
                  <a:lnTo>
                    <a:pt x="151182" y="480869"/>
                  </a:lnTo>
                  <a:lnTo>
                    <a:pt x="147539" y="482690"/>
                  </a:lnTo>
                  <a:lnTo>
                    <a:pt x="131145" y="482690"/>
                  </a:lnTo>
                  <a:lnTo>
                    <a:pt x="131145" y="475963"/>
                  </a:lnTo>
                  <a:lnTo>
                    <a:pt x="109288" y="471760"/>
                  </a:lnTo>
                  <a:lnTo>
                    <a:pt x="109288" y="468117"/>
                  </a:lnTo>
                  <a:lnTo>
                    <a:pt x="98359" y="468117"/>
                  </a:lnTo>
                  <a:lnTo>
                    <a:pt x="98359" y="459010"/>
                  </a:lnTo>
                  <a:lnTo>
                    <a:pt x="114752" y="451724"/>
                  </a:lnTo>
                  <a:lnTo>
                    <a:pt x="109289" y="442618"/>
                  </a:lnTo>
                  <a:lnTo>
                    <a:pt x="109288" y="442618"/>
                  </a:lnTo>
                  <a:lnTo>
                    <a:pt x="109288" y="442617"/>
                  </a:lnTo>
                  <a:lnTo>
                    <a:pt x="109288" y="442616"/>
                  </a:lnTo>
                  <a:lnTo>
                    <a:pt x="109288" y="440795"/>
                  </a:lnTo>
                  <a:lnTo>
                    <a:pt x="109288" y="440796"/>
                  </a:lnTo>
                  <a:lnTo>
                    <a:pt x="118396" y="420759"/>
                  </a:lnTo>
                  <a:lnTo>
                    <a:pt x="120217" y="420759"/>
                  </a:lnTo>
                  <a:lnTo>
                    <a:pt x="123860" y="440796"/>
                  </a:lnTo>
                  <a:lnTo>
                    <a:pt x="123860" y="442618"/>
                  </a:lnTo>
                  <a:lnTo>
                    <a:pt x="120217" y="442618"/>
                  </a:lnTo>
                  <a:lnTo>
                    <a:pt x="123860" y="446261"/>
                  </a:lnTo>
                  <a:lnTo>
                    <a:pt x="123860" y="448082"/>
                  </a:lnTo>
                  <a:lnTo>
                    <a:pt x="120217" y="448082"/>
                  </a:lnTo>
                  <a:lnTo>
                    <a:pt x="112931" y="442618"/>
                  </a:lnTo>
                  <a:lnTo>
                    <a:pt x="111515" y="442618"/>
                  </a:lnTo>
                  <a:lnTo>
                    <a:pt x="129324" y="457188"/>
                  </a:lnTo>
                  <a:lnTo>
                    <a:pt x="129324" y="453545"/>
                  </a:lnTo>
                  <a:lnTo>
                    <a:pt x="125681" y="453545"/>
                  </a:lnTo>
                  <a:lnTo>
                    <a:pt x="125681" y="451724"/>
                  </a:lnTo>
                  <a:lnTo>
                    <a:pt x="129324" y="448081"/>
                  </a:lnTo>
                  <a:lnTo>
                    <a:pt x="129324" y="446259"/>
                  </a:lnTo>
                  <a:lnTo>
                    <a:pt x="131146" y="448081"/>
                  </a:lnTo>
                  <a:lnTo>
                    <a:pt x="131146" y="446259"/>
                  </a:lnTo>
                  <a:lnTo>
                    <a:pt x="129324" y="429866"/>
                  </a:lnTo>
                  <a:lnTo>
                    <a:pt x="129324" y="426223"/>
                  </a:lnTo>
                  <a:lnTo>
                    <a:pt x="145717" y="415295"/>
                  </a:lnTo>
                  <a:lnTo>
                    <a:pt x="120217" y="413473"/>
                  </a:lnTo>
                  <a:lnTo>
                    <a:pt x="120217" y="397080"/>
                  </a:lnTo>
                  <a:lnTo>
                    <a:pt x="125681" y="397080"/>
                  </a:lnTo>
                  <a:lnTo>
                    <a:pt x="120217" y="391615"/>
                  </a:lnTo>
                  <a:lnTo>
                    <a:pt x="120217" y="389794"/>
                  </a:lnTo>
                  <a:lnTo>
                    <a:pt x="136610" y="386151"/>
                  </a:lnTo>
                  <a:close/>
                  <a:moveTo>
                    <a:pt x="36429" y="378865"/>
                  </a:moveTo>
                  <a:lnTo>
                    <a:pt x="45537" y="378865"/>
                  </a:lnTo>
                  <a:lnTo>
                    <a:pt x="41894" y="386151"/>
                  </a:lnTo>
                  <a:lnTo>
                    <a:pt x="40072" y="389794"/>
                  </a:lnTo>
                  <a:lnTo>
                    <a:pt x="40072" y="386151"/>
                  </a:lnTo>
                  <a:lnTo>
                    <a:pt x="36429" y="380687"/>
                  </a:lnTo>
                  <a:close/>
                  <a:moveTo>
                    <a:pt x="63752" y="358830"/>
                  </a:moveTo>
                  <a:lnTo>
                    <a:pt x="67395" y="358830"/>
                  </a:lnTo>
                  <a:lnTo>
                    <a:pt x="67395" y="362473"/>
                  </a:lnTo>
                  <a:lnTo>
                    <a:pt x="72859" y="373402"/>
                  </a:lnTo>
                  <a:lnTo>
                    <a:pt x="63752" y="386153"/>
                  </a:lnTo>
                  <a:lnTo>
                    <a:pt x="74681" y="395260"/>
                  </a:lnTo>
                  <a:lnTo>
                    <a:pt x="83788" y="386153"/>
                  </a:lnTo>
                  <a:lnTo>
                    <a:pt x="96538" y="386153"/>
                  </a:lnTo>
                  <a:lnTo>
                    <a:pt x="98360" y="395260"/>
                  </a:lnTo>
                  <a:lnTo>
                    <a:pt x="74681" y="408010"/>
                  </a:lnTo>
                  <a:lnTo>
                    <a:pt x="74681" y="418939"/>
                  </a:lnTo>
                  <a:lnTo>
                    <a:pt x="69216" y="418939"/>
                  </a:lnTo>
                  <a:lnTo>
                    <a:pt x="56466" y="408010"/>
                  </a:lnTo>
                  <a:lnTo>
                    <a:pt x="56466" y="404367"/>
                  </a:lnTo>
                  <a:lnTo>
                    <a:pt x="67395" y="404367"/>
                  </a:lnTo>
                  <a:lnTo>
                    <a:pt x="63752" y="398903"/>
                  </a:lnTo>
                  <a:lnTo>
                    <a:pt x="61930" y="398903"/>
                  </a:lnTo>
                  <a:lnTo>
                    <a:pt x="58287" y="402546"/>
                  </a:lnTo>
                  <a:lnTo>
                    <a:pt x="52823" y="402546"/>
                  </a:lnTo>
                  <a:lnTo>
                    <a:pt x="52823" y="398903"/>
                  </a:lnTo>
                  <a:lnTo>
                    <a:pt x="45537" y="391617"/>
                  </a:lnTo>
                  <a:lnTo>
                    <a:pt x="45537" y="378865"/>
                  </a:lnTo>
                  <a:lnTo>
                    <a:pt x="45537" y="367937"/>
                  </a:lnTo>
                  <a:lnTo>
                    <a:pt x="52823" y="367937"/>
                  </a:lnTo>
                  <a:lnTo>
                    <a:pt x="56466" y="364294"/>
                  </a:lnTo>
                  <a:lnTo>
                    <a:pt x="58287" y="364294"/>
                  </a:lnTo>
                  <a:lnTo>
                    <a:pt x="61930" y="369759"/>
                  </a:lnTo>
                  <a:lnTo>
                    <a:pt x="63752" y="362473"/>
                  </a:lnTo>
                  <a:close/>
                  <a:moveTo>
                    <a:pt x="30965" y="342436"/>
                  </a:moveTo>
                  <a:lnTo>
                    <a:pt x="34608" y="342436"/>
                  </a:lnTo>
                  <a:lnTo>
                    <a:pt x="41894" y="353365"/>
                  </a:lnTo>
                  <a:lnTo>
                    <a:pt x="41894" y="357008"/>
                  </a:lnTo>
                  <a:lnTo>
                    <a:pt x="40072" y="357008"/>
                  </a:lnTo>
                  <a:lnTo>
                    <a:pt x="34608" y="353365"/>
                  </a:lnTo>
                  <a:lnTo>
                    <a:pt x="30965" y="351543"/>
                  </a:lnTo>
                  <a:close/>
                  <a:moveTo>
                    <a:pt x="40072" y="335150"/>
                  </a:moveTo>
                  <a:lnTo>
                    <a:pt x="45537" y="340614"/>
                  </a:lnTo>
                  <a:lnTo>
                    <a:pt x="45537" y="351544"/>
                  </a:lnTo>
                  <a:lnTo>
                    <a:pt x="41894" y="351544"/>
                  </a:lnTo>
                  <a:lnTo>
                    <a:pt x="40072" y="336971"/>
                  </a:lnTo>
                  <a:close/>
                  <a:moveTo>
                    <a:pt x="16394" y="307829"/>
                  </a:moveTo>
                  <a:lnTo>
                    <a:pt x="18215" y="307829"/>
                  </a:lnTo>
                  <a:lnTo>
                    <a:pt x="29145" y="318758"/>
                  </a:lnTo>
                  <a:lnTo>
                    <a:pt x="29145" y="320579"/>
                  </a:lnTo>
                  <a:lnTo>
                    <a:pt x="25502" y="326044"/>
                  </a:lnTo>
                  <a:lnTo>
                    <a:pt x="25502" y="329687"/>
                  </a:lnTo>
                  <a:lnTo>
                    <a:pt x="23680" y="329687"/>
                  </a:lnTo>
                  <a:lnTo>
                    <a:pt x="23680" y="336972"/>
                  </a:lnTo>
                  <a:lnTo>
                    <a:pt x="18215" y="340615"/>
                  </a:lnTo>
                  <a:lnTo>
                    <a:pt x="16394" y="340615"/>
                  </a:lnTo>
                  <a:lnTo>
                    <a:pt x="16394" y="336972"/>
                  </a:lnTo>
                  <a:lnTo>
                    <a:pt x="20037" y="326043"/>
                  </a:lnTo>
                  <a:close/>
                  <a:moveTo>
                    <a:pt x="20037" y="300543"/>
                  </a:moveTo>
                  <a:lnTo>
                    <a:pt x="30966" y="307829"/>
                  </a:lnTo>
                  <a:lnTo>
                    <a:pt x="34609" y="313294"/>
                  </a:lnTo>
                  <a:lnTo>
                    <a:pt x="34609" y="316937"/>
                  </a:lnTo>
                  <a:lnTo>
                    <a:pt x="25501" y="311472"/>
                  </a:lnTo>
                  <a:close/>
                  <a:moveTo>
                    <a:pt x="12751" y="291435"/>
                  </a:moveTo>
                  <a:lnTo>
                    <a:pt x="18216" y="291435"/>
                  </a:lnTo>
                  <a:lnTo>
                    <a:pt x="18216" y="295078"/>
                  </a:lnTo>
                  <a:lnTo>
                    <a:pt x="16394" y="302364"/>
                  </a:lnTo>
                  <a:lnTo>
                    <a:pt x="12751" y="302364"/>
                  </a:lnTo>
                  <a:lnTo>
                    <a:pt x="1822" y="296899"/>
                  </a:lnTo>
                  <a:lnTo>
                    <a:pt x="1822" y="295078"/>
                  </a:lnTo>
                  <a:lnTo>
                    <a:pt x="10930" y="295078"/>
                  </a:lnTo>
                  <a:close/>
                  <a:moveTo>
                    <a:pt x="1821" y="269577"/>
                  </a:moveTo>
                  <a:lnTo>
                    <a:pt x="5464" y="269577"/>
                  </a:lnTo>
                  <a:lnTo>
                    <a:pt x="10929" y="278685"/>
                  </a:lnTo>
                  <a:lnTo>
                    <a:pt x="7286" y="278685"/>
                  </a:lnTo>
                  <a:lnTo>
                    <a:pt x="1821" y="275042"/>
                  </a:lnTo>
                  <a:lnTo>
                    <a:pt x="0" y="275042"/>
                  </a:lnTo>
                  <a:lnTo>
                    <a:pt x="0" y="273220"/>
                  </a:lnTo>
                  <a:close/>
                  <a:moveTo>
                    <a:pt x="16393" y="234970"/>
                  </a:moveTo>
                  <a:lnTo>
                    <a:pt x="18215" y="234970"/>
                  </a:lnTo>
                  <a:lnTo>
                    <a:pt x="25501" y="245899"/>
                  </a:lnTo>
                  <a:lnTo>
                    <a:pt x="23679" y="285971"/>
                  </a:lnTo>
                  <a:lnTo>
                    <a:pt x="16393" y="284149"/>
                  </a:lnTo>
                  <a:lnTo>
                    <a:pt x="16393" y="267756"/>
                  </a:lnTo>
                  <a:lnTo>
                    <a:pt x="7286" y="258649"/>
                  </a:lnTo>
                  <a:lnTo>
                    <a:pt x="7286" y="256827"/>
                  </a:lnTo>
                  <a:lnTo>
                    <a:pt x="10929" y="258649"/>
                  </a:lnTo>
                  <a:lnTo>
                    <a:pt x="7286" y="253184"/>
                  </a:lnTo>
                  <a:lnTo>
                    <a:pt x="7286" y="251363"/>
                  </a:lnTo>
                  <a:lnTo>
                    <a:pt x="12750" y="245899"/>
                  </a:lnTo>
                  <a:close/>
                  <a:moveTo>
                    <a:pt x="1822" y="227684"/>
                  </a:moveTo>
                  <a:lnTo>
                    <a:pt x="5465" y="227684"/>
                  </a:lnTo>
                  <a:lnTo>
                    <a:pt x="7287" y="234970"/>
                  </a:lnTo>
                  <a:lnTo>
                    <a:pt x="5465" y="240435"/>
                  </a:lnTo>
                  <a:lnTo>
                    <a:pt x="1822" y="240435"/>
                  </a:lnTo>
                  <a:close/>
                  <a:moveTo>
                    <a:pt x="5465" y="213112"/>
                  </a:moveTo>
                  <a:lnTo>
                    <a:pt x="7286" y="213112"/>
                  </a:lnTo>
                  <a:lnTo>
                    <a:pt x="12751" y="233148"/>
                  </a:lnTo>
                  <a:lnTo>
                    <a:pt x="12751" y="234970"/>
                  </a:lnTo>
                  <a:lnTo>
                    <a:pt x="10929" y="234970"/>
                  </a:lnTo>
                  <a:lnTo>
                    <a:pt x="1822" y="218576"/>
                  </a:lnTo>
                  <a:lnTo>
                    <a:pt x="1822" y="216755"/>
                  </a:lnTo>
                  <a:close/>
                  <a:moveTo>
                    <a:pt x="23680" y="196719"/>
                  </a:moveTo>
                  <a:lnTo>
                    <a:pt x="25501" y="196719"/>
                  </a:lnTo>
                  <a:lnTo>
                    <a:pt x="30966" y="205827"/>
                  </a:lnTo>
                  <a:lnTo>
                    <a:pt x="29144" y="205827"/>
                  </a:lnTo>
                  <a:lnTo>
                    <a:pt x="20037" y="200362"/>
                  </a:lnTo>
                  <a:close/>
                  <a:moveTo>
                    <a:pt x="40072" y="107467"/>
                  </a:moveTo>
                  <a:lnTo>
                    <a:pt x="41894" y="107467"/>
                  </a:lnTo>
                  <a:lnTo>
                    <a:pt x="41894" y="111110"/>
                  </a:lnTo>
                  <a:lnTo>
                    <a:pt x="45537" y="118396"/>
                  </a:lnTo>
                  <a:lnTo>
                    <a:pt x="45537" y="122039"/>
                  </a:lnTo>
                  <a:lnTo>
                    <a:pt x="41894" y="122039"/>
                  </a:lnTo>
                  <a:lnTo>
                    <a:pt x="41894" y="118396"/>
                  </a:lnTo>
                  <a:lnTo>
                    <a:pt x="30965" y="112931"/>
                  </a:lnTo>
                  <a:lnTo>
                    <a:pt x="30965" y="111110"/>
                  </a:lnTo>
                  <a:close/>
                  <a:moveTo>
                    <a:pt x="58287" y="85610"/>
                  </a:moveTo>
                  <a:lnTo>
                    <a:pt x="67395" y="94717"/>
                  </a:lnTo>
                  <a:lnTo>
                    <a:pt x="63752" y="102003"/>
                  </a:lnTo>
                  <a:lnTo>
                    <a:pt x="52823" y="107468"/>
                  </a:lnTo>
                  <a:lnTo>
                    <a:pt x="51001" y="107468"/>
                  </a:lnTo>
                  <a:lnTo>
                    <a:pt x="51001" y="105646"/>
                  </a:lnTo>
                  <a:lnTo>
                    <a:pt x="45537" y="94717"/>
                  </a:lnTo>
                  <a:lnTo>
                    <a:pt x="47358" y="94717"/>
                  </a:lnTo>
                  <a:close/>
                  <a:moveTo>
                    <a:pt x="40072" y="0"/>
                  </a:moveTo>
                  <a:lnTo>
                    <a:pt x="47358" y="5464"/>
                  </a:lnTo>
                  <a:lnTo>
                    <a:pt x="52823" y="23679"/>
                  </a:lnTo>
                  <a:lnTo>
                    <a:pt x="51001" y="23679"/>
                  </a:lnTo>
                  <a:lnTo>
                    <a:pt x="45537" y="32786"/>
                  </a:lnTo>
                  <a:lnTo>
                    <a:pt x="47358" y="38251"/>
                  </a:lnTo>
                  <a:lnTo>
                    <a:pt x="47358" y="51001"/>
                  </a:lnTo>
                  <a:lnTo>
                    <a:pt x="45537" y="51001"/>
                  </a:lnTo>
                  <a:lnTo>
                    <a:pt x="41894" y="56466"/>
                  </a:lnTo>
                  <a:lnTo>
                    <a:pt x="41894" y="60109"/>
                  </a:lnTo>
                  <a:lnTo>
                    <a:pt x="29143" y="56466"/>
                  </a:lnTo>
                  <a:lnTo>
                    <a:pt x="29143" y="54644"/>
                  </a:lnTo>
                  <a:lnTo>
                    <a:pt x="25500" y="49180"/>
                  </a:lnTo>
                  <a:lnTo>
                    <a:pt x="30964" y="10929"/>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7" name="Brazil">
              <a:extLst>
                <a:ext uri="{FF2B5EF4-FFF2-40B4-BE49-F238E27FC236}">
                  <a16:creationId xmlns:a16="http://schemas.microsoft.com/office/drawing/2014/main" id="{B66A2E02-8724-EBEE-3E0D-A164AA2777B5}"/>
                </a:ext>
              </a:extLst>
            </p:cNvPr>
            <p:cNvSpPr>
              <a:spLocks/>
            </p:cNvSpPr>
            <p:nvPr/>
          </p:nvSpPr>
          <p:spPr bwMode="auto">
            <a:xfrm>
              <a:off x="4083837" y="4466333"/>
              <a:ext cx="921601" cy="966779"/>
            </a:xfrm>
            <a:custGeom>
              <a:avLst/>
              <a:gdLst/>
              <a:ahLst/>
              <a:cxnLst/>
              <a:rect l="l" t="t" r="r" b="b"/>
              <a:pathLst>
                <a:path w="928948" h="974486">
                  <a:moveTo>
                    <a:pt x="555547" y="162107"/>
                  </a:moveTo>
                  <a:lnTo>
                    <a:pt x="555547" y="167575"/>
                  </a:lnTo>
                  <a:lnTo>
                    <a:pt x="559190" y="167575"/>
                  </a:lnTo>
                  <a:lnTo>
                    <a:pt x="566841" y="165875"/>
                  </a:lnTo>
                  <a:lnTo>
                    <a:pt x="555548" y="162111"/>
                  </a:lnTo>
                  <a:close/>
                  <a:moveTo>
                    <a:pt x="564655" y="111109"/>
                  </a:moveTo>
                  <a:lnTo>
                    <a:pt x="566476" y="111109"/>
                  </a:lnTo>
                  <a:lnTo>
                    <a:pt x="575584" y="122038"/>
                  </a:lnTo>
                  <a:lnTo>
                    <a:pt x="575584" y="123860"/>
                  </a:lnTo>
                  <a:lnTo>
                    <a:pt x="561012" y="123860"/>
                  </a:lnTo>
                  <a:lnTo>
                    <a:pt x="559190" y="116573"/>
                  </a:lnTo>
                  <a:close/>
                  <a:moveTo>
                    <a:pt x="313292" y="0"/>
                  </a:moveTo>
                  <a:lnTo>
                    <a:pt x="331507" y="0"/>
                  </a:lnTo>
                  <a:lnTo>
                    <a:pt x="331507" y="16393"/>
                  </a:lnTo>
                  <a:lnTo>
                    <a:pt x="340614" y="16393"/>
                  </a:lnTo>
                  <a:lnTo>
                    <a:pt x="340614" y="18215"/>
                  </a:lnTo>
                  <a:lnTo>
                    <a:pt x="342436" y="32787"/>
                  </a:lnTo>
                  <a:lnTo>
                    <a:pt x="336971" y="38251"/>
                  </a:lnTo>
                  <a:lnTo>
                    <a:pt x="335150" y="63752"/>
                  </a:lnTo>
                  <a:lnTo>
                    <a:pt x="340614" y="69216"/>
                  </a:lnTo>
                  <a:lnTo>
                    <a:pt x="340614" y="80145"/>
                  </a:lnTo>
                  <a:lnTo>
                    <a:pt x="347900" y="85609"/>
                  </a:lnTo>
                  <a:lnTo>
                    <a:pt x="364293" y="91074"/>
                  </a:lnTo>
                  <a:lnTo>
                    <a:pt x="397080" y="74680"/>
                  </a:lnTo>
                  <a:lnTo>
                    <a:pt x="415295" y="78323"/>
                  </a:lnTo>
                  <a:lnTo>
                    <a:pt x="426223" y="78323"/>
                  </a:lnTo>
                  <a:lnTo>
                    <a:pt x="431688" y="67395"/>
                  </a:lnTo>
                  <a:lnTo>
                    <a:pt x="431688" y="63752"/>
                  </a:lnTo>
                  <a:lnTo>
                    <a:pt x="449902" y="61930"/>
                  </a:lnTo>
                  <a:lnTo>
                    <a:pt x="464474" y="67395"/>
                  </a:lnTo>
                  <a:lnTo>
                    <a:pt x="475403" y="74680"/>
                  </a:lnTo>
                  <a:lnTo>
                    <a:pt x="497261" y="72859"/>
                  </a:lnTo>
                  <a:lnTo>
                    <a:pt x="510011" y="61930"/>
                  </a:lnTo>
                  <a:lnTo>
                    <a:pt x="531868" y="27322"/>
                  </a:lnTo>
                  <a:lnTo>
                    <a:pt x="533690" y="23679"/>
                  </a:lnTo>
                  <a:lnTo>
                    <a:pt x="537333" y="23679"/>
                  </a:lnTo>
                  <a:lnTo>
                    <a:pt x="542797" y="29144"/>
                  </a:lnTo>
                  <a:lnTo>
                    <a:pt x="561012" y="80145"/>
                  </a:lnTo>
                  <a:lnTo>
                    <a:pt x="571941" y="83788"/>
                  </a:lnTo>
                  <a:lnTo>
                    <a:pt x="571941" y="85609"/>
                  </a:lnTo>
                  <a:lnTo>
                    <a:pt x="570119" y="100181"/>
                  </a:lnTo>
                  <a:lnTo>
                    <a:pt x="537333" y="134789"/>
                  </a:lnTo>
                  <a:lnTo>
                    <a:pt x="539154" y="151182"/>
                  </a:lnTo>
                  <a:lnTo>
                    <a:pt x="550083" y="142075"/>
                  </a:lnTo>
                  <a:lnTo>
                    <a:pt x="550083" y="140253"/>
                  </a:lnTo>
                  <a:lnTo>
                    <a:pt x="553726" y="140253"/>
                  </a:lnTo>
                  <a:lnTo>
                    <a:pt x="553726" y="142075"/>
                  </a:lnTo>
                  <a:lnTo>
                    <a:pt x="550083" y="147539"/>
                  </a:lnTo>
                  <a:lnTo>
                    <a:pt x="553726" y="153004"/>
                  </a:lnTo>
                  <a:lnTo>
                    <a:pt x="554940" y="153004"/>
                  </a:lnTo>
                  <a:lnTo>
                    <a:pt x="553726" y="134789"/>
                  </a:lnTo>
                  <a:lnTo>
                    <a:pt x="553726" y="132968"/>
                  </a:lnTo>
                  <a:lnTo>
                    <a:pt x="544619" y="142075"/>
                  </a:lnTo>
                  <a:lnTo>
                    <a:pt x="542797" y="142075"/>
                  </a:lnTo>
                  <a:lnTo>
                    <a:pt x="539154" y="134789"/>
                  </a:lnTo>
                  <a:lnTo>
                    <a:pt x="548262" y="127503"/>
                  </a:lnTo>
                  <a:lnTo>
                    <a:pt x="553727" y="123860"/>
                  </a:lnTo>
                  <a:lnTo>
                    <a:pt x="555548" y="123860"/>
                  </a:lnTo>
                  <a:lnTo>
                    <a:pt x="555548" y="127503"/>
                  </a:lnTo>
                  <a:lnTo>
                    <a:pt x="553727" y="129325"/>
                  </a:lnTo>
                  <a:lnTo>
                    <a:pt x="555548" y="129325"/>
                  </a:lnTo>
                  <a:lnTo>
                    <a:pt x="555548" y="130691"/>
                  </a:lnTo>
                  <a:lnTo>
                    <a:pt x="561012" y="129325"/>
                  </a:lnTo>
                  <a:lnTo>
                    <a:pt x="575584" y="128558"/>
                  </a:lnTo>
                  <a:lnTo>
                    <a:pt x="575584" y="127503"/>
                  </a:lnTo>
                  <a:lnTo>
                    <a:pt x="581049" y="122038"/>
                  </a:lnTo>
                  <a:lnTo>
                    <a:pt x="582870" y="123859"/>
                  </a:lnTo>
                  <a:lnTo>
                    <a:pt x="582870" y="127503"/>
                  </a:lnTo>
                  <a:lnTo>
                    <a:pt x="580477" y="128300"/>
                  </a:lnTo>
                  <a:lnTo>
                    <a:pt x="595620" y="127503"/>
                  </a:lnTo>
                  <a:lnTo>
                    <a:pt x="606549" y="129325"/>
                  </a:lnTo>
                  <a:lnTo>
                    <a:pt x="606549" y="131146"/>
                  </a:lnTo>
                  <a:lnTo>
                    <a:pt x="604728" y="142075"/>
                  </a:lnTo>
                  <a:lnTo>
                    <a:pt x="590156" y="162111"/>
                  </a:lnTo>
                  <a:lnTo>
                    <a:pt x="584084" y="163932"/>
                  </a:lnTo>
                  <a:lnTo>
                    <a:pt x="584691" y="163932"/>
                  </a:lnTo>
                  <a:lnTo>
                    <a:pt x="584691" y="178504"/>
                  </a:lnTo>
                  <a:lnTo>
                    <a:pt x="593798" y="163932"/>
                  </a:lnTo>
                  <a:lnTo>
                    <a:pt x="604727" y="158468"/>
                  </a:lnTo>
                  <a:lnTo>
                    <a:pt x="612013" y="140253"/>
                  </a:lnTo>
                  <a:lnTo>
                    <a:pt x="637513" y="140253"/>
                  </a:lnTo>
                  <a:lnTo>
                    <a:pt x="677586" y="153004"/>
                  </a:lnTo>
                  <a:lnTo>
                    <a:pt x="679407" y="162111"/>
                  </a:lnTo>
                  <a:lnTo>
                    <a:pt x="690336" y="158468"/>
                  </a:lnTo>
                  <a:lnTo>
                    <a:pt x="699443" y="167575"/>
                  </a:lnTo>
                  <a:lnTo>
                    <a:pt x="699443" y="169397"/>
                  </a:lnTo>
                  <a:lnTo>
                    <a:pt x="695800" y="174861"/>
                  </a:lnTo>
                  <a:lnTo>
                    <a:pt x="704908" y="174861"/>
                  </a:lnTo>
                  <a:lnTo>
                    <a:pt x="704908" y="178504"/>
                  </a:lnTo>
                  <a:lnTo>
                    <a:pt x="701265" y="185790"/>
                  </a:lnTo>
                  <a:lnTo>
                    <a:pt x="721301" y="178504"/>
                  </a:lnTo>
                  <a:lnTo>
                    <a:pt x="723122" y="178504"/>
                  </a:lnTo>
                  <a:lnTo>
                    <a:pt x="761373" y="191254"/>
                  </a:lnTo>
                  <a:lnTo>
                    <a:pt x="806910" y="191254"/>
                  </a:lnTo>
                  <a:lnTo>
                    <a:pt x="819660" y="196719"/>
                  </a:lnTo>
                  <a:lnTo>
                    <a:pt x="877947" y="242256"/>
                  </a:lnTo>
                  <a:lnTo>
                    <a:pt x="912555" y="245899"/>
                  </a:lnTo>
                  <a:lnTo>
                    <a:pt x="914376" y="245899"/>
                  </a:lnTo>
                  <a:lnTo>
                    <a:pt x="914376" y="247720"/>
                  </a:lnTo>
                  <a:lnTo>
                    <a:pt x="923484" y="258649"/>
                  </a:lnTo>
                  <a:lnTo>
                    <a:pt x="928948" y="291435"/>
                  </a:lnTo>
                  <a:lnTo>
                    <a:pt x="919841" y="336972"/>
                  </a:lnTo>
                  <a:lnTo>
                    <a:pt x="892519" y="371580"/>
                  </a:lnTo>
                  <a:lnTo>
                    <a:pt x="868840" y="393438"/>
                  </a:lnTo>
                  <a:lnTo>
                    <a:pt x="850625" y="429867"/>
                  </a:lnTo>
                  <a:lnTo>
                    <a:pt x="830589" y="440796"/>
                  </a:lnTo>
                  <a:lnTo>
                    <a:pt x="828767" y="469939"/>
                  </a:lnTo>
                  <a:lnTo>
                    <a:pt x="830589" y="502726"/>
                  </a:lnTo>
                  <a:lnTo>
                    <a:pt x="825125" y="548262"/>
                  </a:lnTo>
                  <a:lnTo>
                    <a:pt x="814196" y="561013"/>
                  </a:lnTo>
                  <a:lnTo>
                    <a:pt x="810553" y="593799"/>
                  </a:lnTo>
                  <a:lnTo>
                    <a:pt x="783231" y="637514"/>
                  </a:lnTo>
                  <a:lnTo>
                    <a:pt x="777766" y="655729"/>
                  </a:lnTo>
                  <a:lnTo>
                    <a:pt x="757730" y="672122"/>
                  </a:lnTo>
                  <a:lnTo>
                    <a:pt x="752266" y="679408"/>
                  </a:lnTo>
                  <a:lnTo>
                    <a:pt x="699443" y="683051"/>
                  </a:lnTo>
                  <a:lnTo>
                    <a:pt x="695800" y="688516"/>
                  </a:lnTo>
                  <a:lnTo>
                    <a:pt x="695800" y="690337"/>
                  </a:lnTo>
                  <a:lnTo>
                    <a:pt x="648442" y="710373"/>
                  </a:lnTo>
                  <a:lnTo>
                    <a:pt x="610191" y="748624"/>
                  </a:lnTo>
                  <a:lnTo>
                    <a:pt x="599263" y="763196"/>
                  </a:lnTo>
                  <a:lnTo>
                    <a:pt x="601084" y="785053"/>
                  </a:lnTo>
                  <a:lnTo>
                    <a:pt x="604727" y="790518"/>
                  </a:lnTo>
                  <a:lnTo>
                    <a:pt x="604727" y="794161"/>
                  </a:lnTo>
                  <a:lnTo>
                    <a:pt x="601084" y="795982"/>
                  </a:lnTo>
                  <a:lnTo>
                    <a:pt x="599263" y="823304"/>
                  </a:lnTo>
                  <a:lnTo>
                    <a:pt x="571941" y="852448"/>
                  </a:lnTo>
                  <a:lnTo>
                    <a:pt x="561012" y="883413"/>
                  </a:lnTo>
                  <a:lnTo>
                    <a:pt x="542797" y="908913"/>
                  </a:lnTo>
                  <a:lnTo>
                    <a:pt x="511832" y="930771"/>
                  </a:lnTo>
                  <a:lnTo>
                    <a:pt x="510011" y="947164"/>
                  </a:lnTo>
                  <a:lnTo>
                    <a:pt x="486332" y="974486"/>
                  </a:lnTo>
                  <a:lnTo>
                    <a:pt x="486332" y="972665"/>
                  </a:lnTo>
                  <a:lnTo>
                    <a:pt x="482689" y="956272"/>
                  </a:lnTo>
                  <a:lnTo>
                    <a:pt x="491796" y="945343"/>
                  </a:lnTo>
                  <a:lnTo>
                    <a:pt x="480867" y="934414"/>
                  </a:lnTo>
                  <a:lnTo>
                    <a:pt x="475403" y="923485"/>
                  </a:lnTo>
                  <a:lnTo>
                    <a:pt x="444438" y="905270"/>
                  </a:lnTo>
                  <a:lnTo>
                    <a:pt x="433509" y="890699"/>
                  </a:lnTo>
                  <a:lnTo>
                    <a:pt x="424402" y="896163"/>
                  </a:lnTo>
                  <a:lnTo>
                    <a:pt x="420759" y="896163"/>
                  </a:lnTo>
                  <a:lnTo>
                    <a:pt x="420759" y="885234"/>
                  </a:lnTo>
                  <a:lnTo>
                    <a:pt x="404366" y="872484"/>
                  </a:lnTo>
                  <a:lnTo>
                    <a:pt x="398901" y="872484"/>
                  </a:lnTo>
                  <a:lnTo>
                    <a:pt x="391615" y="874305"/>
                  </a:lnTo>
                  <a:lnTo>
                    <a:pt x="386151" y="874305"/>
                  </a:lnTo>
                  <a:lnTo>
                    <a:pt x="386151" y="872484"/>
                  </a:lnTo>
                  <a:lnTo>
                    <a:pt x="455367" y="799625"/>
                  </a:lnTo>
                  <a:lnTo>
                    <a:pt x="477224" y="788696"/>
                  </a:lnTo>
                  <a:lnTo>
                    <a:pt x="480867" y="768660"/>
                  </a:lnTo>
                  <a:lnTo>
                    <a:pt x="475403" y="752267"/>
                  </a:lnTo>
                  <a:lnTo>
                    <a:pt x="459010" y="750445"/>
                  </a:lnTo>
                  <a:lnTo>
                    <a:pt x="464474" y="721302"/>
                  </a:lnTo>
                  <a:lnTo>
                    <a:pt x="460831" y="706730"/>
                  </a:lnTo>
                  <a:lnTo>
                    <a:pt x="437152" y="704909"/>
                  </a:lnTo>
                  <a:lnTo>
                    <a:pt x="429866" y="666658"/>
                  </a:lnTo>
                  <a:lnTo>
                    <a:pt x="415295" y="661194"/>
                  </a:lnTo>
                  <a:lnTo>
                    <a:pt x="398901" y="664836"/>
                  </a:lnTo>
                  <a:lnTo>
                    <a:pt x="380687" y="659372"/>
                  </a:lnTo>
                  <a:lnTo>
                    <a:pt x="377044" y="659372"/>
                  </a:lnTo>
                  <a:lnTo>
                    <a:pt x="375222" y="610192"/>
                  </a:lnTo>
                  <a:lnTo>
                    <a:pt x="375222" y="606549"/>
                  </a:lnTo>
                  <a:lnTo>
                    <a:pt x="377044" y="606549"/>
                  </a:lnTo>
                  <a:lnTo>
                    <a:pt x="382508" y="559191"/>
                  </a:lnTo>
                  <a:lnTo>
                    <a:pt x="377044" y="542798"/>
                  </a:lnTo>
                  <a:lnTo>
                    <a:pt x="366115" y="537334"/>
                  </a:lnTo>
                  <a:lnTo>
                    <a:pt x="366115" y="515476"/>
                  </a:lnTo>
                  <a:lnTo>
                    <a:pt x="326043" y="515476"/>
                  </a:lnTo>
                  <a:lnTo>
                    <a:pt x="326043" y="513655"/>
                  </a:lnTo>
                  <a:lnTo>
                    <a:pt x="318757" y="488154"/>
                  </a:lnTo>
                  <a:lnTo>
                    <a:pt x="320578" y="475404"/>
                  </a:lnTo>
                  <a:lnTo>
                    <a:pt x="309649" y="449903"/>
                  </a:lnTo>
                  <a:lnTo>
                    <a:pt x="302364" y="444439"/>
                  </a:lnTo>
                  <a:lnTo>
                    <a:pt x="285970" y="444439"/>
                  </a:lnTo>
                  <a:lnTo>
                    <a:pt x="278685" y="437153"/>
                  </a:lnTo>
                  <a:lnTo>
                    <a:pt x="256827" y="431688"/>
                  </a:lnTo>
                  <a:lnTo>
                    <a:pt x="251363" y="424403"/>
                  </a:lnTo>
                  <a:lnTo>
                    <a:pt x="220398" y="418938"/>
                  </a:lnTo>
                  <a:lnTo>
                    <a:pt x="204004" y="408009"/>
                  </a:lnTo>
                  <a:lnTo>
                    <a:pt x="200361" y="393438"/>
                  </a:lnTo>
                  <a:lnTo>
                    <a:pt x="202183" y="364294"/>
                  </a:lnTo>
                  <a:lnTo>
                    <a:pt x="196719" y="353365"/>
                  </a:lnTo>
                  <a:lnTo>
                    <a:pt x="169397" y="357008"/>
                  </a:lnTo>
                  <a:lnTo>
                    <a:pt x="151182" y="377044"/>
                  </a:lnTo>
                  <a:lnTo>
                    <a:pt x="131146" y="387973"/>
                  </a:lnTo>
                  <a:lnTo>
                    <a:pt x="100181" y="382509"/>
                  </a:lnTo>
                  <a:lnTo>
                    <a:pt x="83788" y="387973"/>
                  </a:lnTo>
                  <a:lnTo>
                    <a:pt x="78323" y="382509"/>
                  </a:lnTo>
                  <a:lnTo>
                    <a:pt x="78323" y="346079"/>
                  </a:lnTo>
                  <a:lnTo>
                    <a:pt x="52823" y="362473"/>
                  </a:lnTo>
                  <a:lnTo>
                    <a:pt x="40072" y="358830"/>
                  </a:lnTo>
                  <a:lnTo>
                    <a:pt x="34608" y="347901"/>
                  </a:lnTo>
                  <a:lnTo>
                    <a:pt x="21858" y="347901"/>
                  </a:lnTo>
                  <a:lnTo>
                    <a:pt x="21858" y="336972"/>
                  </a:lnTo>
                  <a:lnTo>
                    <a:pt x="5465" y="320579"/>
                  </a:lnTo>
                  <a:lnTo>
                    <a:pt x="0" y="304186"/>
                  </a:lnTo>
                  <a:lnTo>
                    <a:pt x="0" y="302364"/>
                  </a:lnTo>
                  <a:lnTo>
                    <a:pt x="7286" y="284149"/>
                  </a:lnTo>
                  <a:lnTo>
                    <a:pt x="16393" y="278685"/>
                  </a:lnTo>
                  <a:lnTo>
                    <a:pt x="18215" y="264113"/>
                  </a:lnTo>
                  <a:lnTo>
                    <a:pt x="32787" y="242256"/>
                  </a:lnTo>
                  <a:lnTo>
                    <a:pt x="52823" y="231327"/>
                  </a:lnTo>
                  <a:lnTo>
                    <a:pt x="91073" y="220398"/>
                  </a:lnTo>
                  <a:lnTo>
                    <a:pt x="105645" y="153004"/>
                  </a:lnTo>
                  <a:lnTo>
                    <a:pt x="100181" y="136610"/>
                  </a:lnTo>
                  <a:lnTo>
                    <a:pt x="89252" y="129325"/>
                  </a:lnTo>
                  <a:lnTo>
                    <a:pt x="89252" y="111110"/>
                  </a:lnTo>
                  <a:lnTo>
                    <a:pt x="91073" y="111110"/>
                  </a:lnTo>
                  <a:lnTo>
                    <a:pt x="111110" y="107467"/>
                  </a:lnTo>
                  <a:lnTo>
                    <a:pt x="107467" y="100181"/>
                  </a:lnTo>
                  <a:lnTo>
                    <a:pt x="94716" y="100181"/>
                  </a:lnTo>
                  <a:lnTo>
                    <a:pt x="94716" y="80145"/>
                  </a:lnTo>
                  <a:lnTo>
                    <a:pt x="129324" y="80145"/>
                  </a:lnTo>
                  <a:lnTo>
                    <a:pt x="131146" y="74680"/>
                  </a:lnTo>
                  <a:lnTo>
                    <a:pt x="134789" y="74680"/>
                  </a:lnTo>
                  <a:lnTo>
                    <a:pt x="140253" y="80145"/>
                  </a:lnTo>
                  <a:lnTo>
                    <a:pt x="151182" y="74680"/>
                  </a:lnTo>
                  <a:lnTo>
                    <a:pt x="153003" y="74680"/>
                  </a:lnTo>
                  <a:lnTo>
                    <a:pt x="162111" y="94717"/>
                  </a:lnTo>
                  <a:lnTo>
                    <a:pt x="163932" y="91074"/>
                  </a:lnTo>
                  <a:lnTo>
                    <a:pt x="167575" y="91074"/>
                  </a:lnTo>
                  <a:lnTo>
                    <a:pt x="178504" y="105645"/>
                  </a:lnTo>
                  <a:lnTo>
                    <a:pt x="196719" y="105645"/>
                  </a:lnTo>
                  <a:lnTo>
                    <a:pt x="225862" y="85609"/>
                  </a:lnTo>
                  <a:lnTo>
                    <a:pt x="234969" y="78323"/>
                  </a:lnTo>
                  <a:lnTo>
                    <a:pt x="251363" y="72859"/>
                  </a:lnTo>
                  <a:lnTo>
                    <a:pt x="251363" y="69216"/>
                  </a:lnTo>
                  <a:lnTo>
                    <a:pt x="229505" y="67395"/>
                  </a:lnTo>
                  <a:lnTo>
                    <a:pt x="225862" y="51001"/>
                  </a:lnTo>
                  <a:lnTo>
                    <a:pt x="225862" y="38251"/>
                  </a:lnTo>
                  <a:lnTo>
                    <a:pt x="218576" y="32787"/>
                  </a:lnTo>
                  <a:lnTo>
                    <a:pt x="214933" y="32787"/>
                  </a:lnTo>
                  <a:lnTo>
                    <a:pt x="214933" y="21858"/>
                  </a:lnTo>
                  <a:lnTo>
                    <a:pt x="218576" y="21858"/>
                  </a:lnTo>
                  <a:lnTo>
                    <a:pt x="258648" y="32787"/>
                  </a:lnTo>
                  <a:lnTo>
                    <a:pt x="307828" y="1275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8" name="Argentina">
              <a:extLst>
                <a:ext uri="{FF2B5EF4-FFF2-40B4-BE49-F238E27FC236}">
                  <a16:creationId xmlns:a16="http://schemas.microsoft.com/office/drawing/2014/main" id="{FDED3D12-22D9-38A1-B54F-648F3EDE10D2}"/>
                </a:ext>
              </a:extLst>
            </p:cNvPr>
            <p:cNvSpPr>
              <a:spLocks/>
            </p:cNvSpPr>
            <p:nvPr/>
          </p:nvSpPr>
          <p:spPr bwMode="auto">
            <a:xfrm>
              <a:off x="4094679" y="5111453"/>
              <a:ext cx="468029" cy="1042676"/>
            </a:xfrm>
            <a:custGeom>
              <a:avLst/>
              <a:gdLst/>
              <a:ahLst/>
              <a:cxnLst/>
              <a:rect l="l" t="t" r="r" b="b"/>
              <a:pathLst>
                <a:path w="471760" h="1050988">
                  <a:moveTo>
                    <a:pt x="213112" y="1029130"/>
                  </a:moveTo>
                  <a:lnTo>
                    <a:pt x="231327" y="1029130"/>
                  </a:lnTo>
                  <a:lnTo>
                    <a:pt x="213112" y="1036416"/>
                  </a:lnTo>
                  <a:lnTo>
                    <a:pt x="207647" y="1036416"/>
                  </a:lnTo>
                  <a:lnTo>
                    <a:pt x="207647" y="1034595"/>
                  </a:lnTo>
                  <a:close/>
                  <a:moveTo>
                    <a:pt x="112931" y="943520"/>
                  </a:moveTo>
                  <a:lnTo>
                    <a:pt x="116574" y="943520"/>
                  </a:lnTo>
                  <a:lnTo>
                    <a:pt x="125681" y="961735"/>
                  </a:lnTo>
                  <a:lnTo>
                    <a:pt x="125681" y="963556"/>
                  </a:lnTo>
                  <a:lnTo>
                    <a:pt x="118396" y="967199"/>
                  </a:lnTo>
                  <a:lnTo>
                    <a:pt x="131146" y="985414"/>
                  </a:lnTo>
                  <a:lnTo>
                    <a:pt x="174861" y="1021843"/>
                  </a:lnTo>
                  <a:lnTo>
                    <a:pt x="198540" y="1027308"/>
                  </a:lnTo>
                  <a:lnTo>
                    <a:pt x="198540" y="1029129"/>
                  </a:lnTo>
                  <a:lnTo>
                    <a:pt x="189433" y="1036415"/>
                  </a:lnTo>
                  <a:lnTo>
                    <a:pt x="185790" y="1036415"/>
                  </a:lnTo>
                  <a:lnTo>
                    <a:pt x="183968" y="1040058"/>
                  </a:lnTo>
                  <a:lnTo>
                    <a:pt x="174861" y="1040058"/>
                  </a:lnTo>
                  <a:lnTo>
                    <a:pt x="173040" y="1041879"/>
                  </a:lnTo>
                  <a:lnTo>
                    <a:pt x="169397" y="1041879"/>
                  </a:lnTo>
                  <a:lnTo>
                    <a:pt x="151342" y="1037365"/>
                  </a:lnTo>
                  <a:lnTo>
                    <a:pt x="153005" y="1047345"/>
                  </a:lnTo>
                  <a:lnTo>
                    <a:pt x="145719" y="1047345"/>
                  </a:lnTo>
                  <a:lnTo>
                    <a:pt x="142076" y="1050988"/>
                  </a:lnTo>
                  <a:lnTo>
                    <a:pt x="136611" y="1050988"/>
                  </a:lnTo>
                  <a:lnTo>
                    <a:pt x="125682" y="1047345"/>
                  </a:lnTo>
                  <a:lnTo>
                    <a:pt x="125682" y="1040059"/>
                  </a:lnTo>
                  <a:lnTo>
                    <a:pt x="136611" y="1040059"/>
                  </a:lnTo>
                  <a:lnTo>
                    <a:pt x="145719" y="1036416"/>
                  </a:lnTo>
                  <a:lnTo>
                    <a:pt x="147545" y="1036416"/>
                  </a:lnTo>
                  <a:lnTo>
                    <a:pt x="125681" y="1030950"/>
                  </a:lnTo>
                  <a:lnTo>
                    <a:pt x="116574" y="1036415"/>
                  </a:lnTo>
                  <a:lnTo>
                    <a:pt x="112931" y="1036415"/>
                  </a:lnTo>
                  <a:close/>
                  <a:moveTo>
                    <a:pt x="169397" y="0"/>
                  </a:moveTo>
                  <a:lnTo>
                    <a:pt x="173040" y="0"/>
                  </a:lnTo>
                  <a:lnTo>
                    <a:pt x="180325" y="9108"/>
                  </a:lnTo>
                  <a:lnTo>
                    <a:pt x="207647" y="10929"/>
                  </a:lnTo>
                  <a:lnTo>
                    <a:pt x="214933" y="21858"/>
                  </a:lnTo>
                  <a:lnTo>
                    <a:pt x="220398" y="5465"/>
                  </a:lnTo>
                  <a:lnTo>
                    <a:pt x="225862" y="5465"/>
                  </a:lnTo>
                  <a:lnTo>
                    <a:pt x="231326" y="9108"/>
                  </a:lnTo>
                  <a:lnTo>
                    <a:pt x="242255" y="9108"/>
                  </a:lnTo>
                  <a:lnTo>
                    <a:pt x="256827" y="14572"/>
                  </a:lnTo>
                  <a:lnTo>
                    <a:pt x="262291" y="14572"/>
                  </a:lnTo>
                  <a:lnTo>
                    <a:pt x="298721" y="56466"/>
                  </a:lnTo>
                  <a:lnTo>
                    <a:pt x="326043" y="61930"/>
                  </a:lnTo>
                  <a:lnTo>
                    <a:pt x="371579" y="92895"/>
                  </a:lnTo>
                  <a:lnTo>
                    <a:pt x="375222" y="100181"/>
                  </a:lnTo>
                  <a:lnTo>
                    <a:pt x="375222" y="102002"/>
                  </a:lnTo>
                  <a:lnTo>
                    <a:pt x="358829" y="129324"/>
                  </a:lnTo>
                  <a:lnTo>
                    <a:pt x="358829" y="138432"/>
                  </a:lnTo>
                  <a:lnTo>
                    <a:pt x="380687" y="140253"/>
                  </a:lnTo>
                  <a:lnTo>
                    <a:pt x="393437" y="149361"/>
                  </a:lnTo>
                  <a:lnTo>
                    <a:pt x="420759" y="145718"/>
                  </a:lnTo>
                  <a:lnTo>
                    <a:pt x="444438" y="122039"/>
                  </a:lnTo>
                  <a:lnTo>
                    <a:pt x="448081" y="100181"/>
                  </a:lnTo>
                  <a:lnTo>
                    <a:pt x="448081" y="98359"/>
                  </a:lnTo>
                  <a:lnTo>
                    <a:pt x="453545" y="98359"/>
                  </a:lnTo>
                  <a:lnTo>
                    <a:pt x="459010" y="100181"/>
                  </a:lnTo>
                  <a:lnTo>
                    <a:pt x="466296" y="100181"/>
                  </a:lnTo>
                  <a:lnTo>
                    <a:pt x="471760" y="118396"/>
                  </a:lnTo>
                  <a:lnTo>
                    <a:pt x="466296" y="138432"/>
                  </a:lnTo>
                  <a:lnTo>
                    <a:pt x="466296" y="140253"/>
                  </a:lnTo>
                  <a:lnTo>
                    <a:pt x="444438" y="151182"/>
                  </a:lnTo>
                  <a:lnTo>
                    <a:pt x="375222" y="224041"/>
                  </a:lnTo>
                  <a:lnTo>
                    <a:pt x="369758" y="233148"/>
                  </a:lnTo>
                  <a:lnTo>
                    <a:pt x="364294" y="296899"/>
                  </a:lnTo>
                  <a:lnTo>
                    <a:pt x="355186" y="329686"/>
                  </a:lnTo>
                  <a:lnTo>
                    <a:pt x="358829" y="346079"/>
                  </a:lnTo>
                  <a:lnTo>
                    <a:pt x="386151" y="364294"/>
                  </a:lnTo>
                  <a:lnTo>
                    <a:pt x="386151" y="367937"/>
                  </a:lnTo>
                  <a:lnTo>
                    <a:pt x="380687" y="384330"/>
                  </a:lnTo>
                  <a:lnTo>
                    <a:pt x="387973" y="395259"/>
                  </a:lnTo>
                  <a:lnTo>
                    <a:pt x="398901" y="395259"/>
                  </a:lnTo>
                  <a:lnTo>
                    <a:pt x="398901" y="397080"/>
                  </a:lnTo>
                  <a:lnTo>
                    <a:pt x="397080" y="418938"/>
                  </a:lnTo>
                  <a:lnTo>
                    <a:pt x="380687" y="440795"/>
                  </a:lnTo>
                  <a:lnTo>
                    <a:pt x="377044" y="451724"/>
                  </a:lnTo>
                  <a:lnTo>
                    <a:pt x="364294" y="462653"/>
                  </a:lnTo>
                  <a:lnTo>
                    <a:pt x="293256" y="475403"/>
                  </a:lnTo>
                  <a:lnTo>
                    <a:pt x="269577" y="475403"/>
                  </a:lnTo>
                  <a:lnTo>
                    <a:pt x="264113" y="473582"/>
                  </a:lnTo>
                  <a:lnTo>
                    <a:pt x="264113" y="484510"/>
                  </a:lnTo>
                  <a:lnTo>
                    <a:pt x="271399" y="488153"/>
                  </a:lnTo>
                  <a:lnTo>
                    <a:pt x="271399" y="491796"/>
                  </a:lnTo>
                  <a:lnTo>
                    <a:pt x="264113" y="510011"/>
                  </a:lnTo>
                  <a:lnTo>
                    <a:pt x="264113" y="530047"/>
                  </a:lnTo>
                  <a:lnTo>
                    <a:pt x="262291" y="537333"/>
                  </a:lnTo>
                  <a:lnTo>
                    <a:pt x="245898" y="546440"/>
                  </a:lnTo>
                  <a:lnTo>
                    <a:pt x="229505" y="546440"/>
                  </a:lnTo>
                  <a:lnTo>
                    <a:pt x="202183" y="530047"/>
                  </a:lnTo>
                  <a:lnTo>
                    <a:pt x="196719" y="535511"/>
                  </a:lnTo>
                  <a:lnTo>
                    <a:pt x="202183" y="571941"/>
                  </a:lnTo>
                  <a:lnTo>
                    <a:pt x="213112" y="582870"/>
                  </a:lnTo>
                  <a:lnTo>
                    <a:pt x="218576" y="581048"/>
                  </a:lnTo>
                  <a:lnTo>
                    <a:pt x="214933" y="577405"/>
                  </a:lnTo>
                  <a:lnTo>
                    <a:pt x="214933" y="575584"/>
                  </a:lnTo>
                  <a:lnTo>
                    <a:pt x="229505" y="570119"/>
                  </a:lnTo>
                  <a:lnTo>
                    <a:pt x="229505" y="571941"/>
                  </a:lnTo>
                  <a:lnTo>
                    <a:pt x="231326" y="577405"/>
                  </a:lnTo>
                  <a:lnTo>
                    <a:pt x="234969" y="588334"/>
                  </a:lnTo>
                  <a:lnTo>
                    <a:pt x="231326" y="597441"/>
                  </a:lnTo>
                  <a:lnTo>
                    <a:pt x="218576" y="597441"/>
                  </a:lnTo>
                  <a:lnTo>
                    <a:pt x="209469" y="588334"/>
                  </a:lnTo>
                  <a:lnTo>
                    <a:pt x="202183" y="593798"/>
                  </a:lnTo>
                  <a:lnTo>
                    <a:pt x="218576" y="602906"/>
                  </a:lnTo>
                  <a:lnTo>
                    <a:pt x="218576" y="604727"/>
                  </a:lnTo>
                  <a:lnTo>
                    <a:pt x="202183" y="613835"/>
                  </a:lnTo>
                  <a:lnTo>
                    <a:pt x="196719" y="621120"/>
                  </a:lnTo>
                  <a:lnTo>
                    <a:pt x="196719" y="648442"/>
                  </a:lnTo>
                  <a:lnTo>
                    <a:pt x="185790" y="659371"/>
                  </a:lnTo>
                  <a:lnTo>
                    <a:pt x="189433" y="670300"/>
                  </a:lnTo>
                  <a:lnTo>
                    <a:pt x="173040" y="670300"/>
                  </a:lnTo>
                  <a:lnTo>
                    <a:pt x="156646" y="677586"/>
                  </a:lnTo>
                  <a:lnTo>
                    <a:pt x="140253" y="703086"/>
                  </a:lnTo>
                  <a:lnTo>
                    <a:pt x="140253" y="710372"/>
                  </a:lnTo>
                  <a:lnTo>
                    <a:pt x="147539" y="721301"/>
                  </a:lnTo>
                  <a:lnTo>
                    <a:pt x="158468" y="734051"/>
                  </a:lnTo>
                  <a:lnTo>
                    <a:pt x="180325" y="739516"/>
                  </a:lnTo>
                  <a:lnTo>
                    <a:pt x="183968" y="739516"/>
                  </a:lnTo>
                  <a:lnTo>
                    <a:pt x="185790" y="755909"/>
                  </a:lnTo>
                  <a:lnTo>
                    <a:pt x="178504" y="777767"/>
                  </a:lnTo>
                  <a:lnTo>
                    <a:pt x="140253" y="810553"/>
                  </a:lnTo>
                  <a:lnTo>
                    <a:pt x="134789" y="843339"/>
                  </a:lnTo>
                  <a:lnTo>
                    <a:pt x="131146" y="843339"/>
                  </a:lnTo>
                  <a:lnTo>
                    <a:pt x="120217" y="848804"/>
                  </a:lnTo>
                  <a:lnTo>
                    <a:pt x="120217" y="850625"/>
                  </a:lnTo>
                  <a:lnTo>
                    <a:pt x="116574" y="845161"/>
                  </a:lnTo>
                  <a:lnTo>
                    <a:pt x="118395" y="850625"/>
                  </a:lnTo>
                  <a:lnTo>
                    <a:pt x="105645" y="861554"/>
                  </a:lnTo>
                  <a:lnTo>
                    <a:pt x="96538" y="883412"/>
                  </a:lnTo>
                  <a:lnTo>
                    <a:pt x="100181" y="883412"/>
                  </a:lnTo>
                  <a:lnTo>
                    <a:pt x="102002" y="879769"/>
                  </a:lnTo>
                  <a:lnTo>
                    <a:pt x="102002" y="883412"/>
                  </a:lnTo>
                  <a:lnTo>
                    <a:pt x="105645" y="901626"/>
                  </a:lnTo>
                  <a:lnTo>
                    <a:pt x="100181" y="905269"/>
                  </a:lnTo>
                  <a:lnTo>
                    <a:pt x="105645" y="905269"/>
                  </a:lnTo>
                  <a:lnTo>
                    <a:pt x="120217" y="932591"/>
                  </a:lnTo>
                  <a:lnTo>
                    <a:pt x="85609" y="923484"/>
                  </a:lnTo>
                  <a:lnTo>
                    <a:pt x="32787" y="921662"/>
                  </a:lnTo>
                  <a:lnTo>
                    <a:pt x="29144" y="921662"/>
                  </a:lnTo>
                  <a:lnTo>
                    <a:pt x="27322" y="910734"/>
                  </a:lnTo>
                  <a:lnTo>
                    <a:pt x="23679" y="872483"/>
                  </a:lnTo>
                  <a:lnTo>
                    <a:pt x="18215" y="872483"/>
                  </a:lnTo>
                  <a:lnTo>
                    <a:pt x="12750" y="876126"/>
                  </a:lnTo>
                  <a:lnTo>
                    <a:pt x="1822" y="876126"/>
                  </a:lnTo>
                  <a:lnTo>
                    <a:pt x="0" y="850625"/>
                  </a:lnTo>
                  <a:lnTo>
                    <a:pt x="1822" y="828768"/>
                  </a:lnTo>
                  <a:lnTo>
                    <a:pt x="18215" y="801446"/>
                  </a:lnTo>
                  <a:lnTo>
                    <a:pt x="23679" y="786874"/>
                  </a:lnTo>
                  <a:lnTo>
                    <a:pt x="23679" y="761373"/>
                  </a:lnTo>
                  <a:lnTo>
                    <a:pt x="40072" y="723123"/>
                  </a:lnTo>
                  <a:lnTo>
                    <a:pt x="40072" y="686693"/>
                  </a:lnTo>
                  <a:lnTo>
                    <a:pt x="45537" y="672121"/>
                  </a:lnTo>
                  <a:lnTo>
                    <a:pt x="34608" y="661193"/>
                  </a:lnTo>
                  <a:lnTo>
                    <a:pt x="34608" y="659371"/>
                  </a:lnTo>
                  <a:lnTo>
                    <a:pt x="47358" y="655728"/>
                  </a:lnTo>
                  <a:lnTo>
                    <a:pt x="45537" y="650264"/>
                  </a:lnTo>
                  <a:lnTo>
                    <a:pt x="34608" y="648442"/>
                  </a:lnTo>
                  <a:lnTo>
                    <a:pt x="34608" y="632049"/>
                  </a:lnTo>
                  <a:lnTo>
                    <a:pt x="29144" y="588334"/>
                  </a:lnTo>
                  <a:lnTo>
                    <a:pt x="40072" y="564655"/>
                  </a:lnTo>
                  <a:lnTo>
                    <a:pt x="34608" y="548262"/>
                  </a:lnTo>
                  <a:lnTo>
                    <a:pt x="38251" y="510011"/>
                  </a:lnTo>
                  <a:lnTo>
                    <a:pt x="47358" y="475403"/>
                  </a:lnTo>
                  <a:lnTo>
                    <a:pt x="52823" y="462653"/>
                  </a:lnTo>
                  <a:lnTo>
                    <a:pt x="51001" y="440795"/>
                  </a:lnTo>
                  <a:lnTo>
                    <a:pt x="52823" y="408009"/>
                  </a:lnTo>
                  <a:lnTo>
                    <a:pt x="67394" y="389794"/>
                  </a:lnTo>
                  <a:lnTo>
                    <a:pt x="67394" y="364294"/>
                  </a:lnTo>
                  <a:lnTo>
                    <a:pt x="83788" y="333329"/>
                  </a:lnTo>
                  <a:lnTo>
                    <a:pt x="80145" y="311471"/>
                  </a:lnTo>
                  <a:lnTo>
                    <a:pt x="67394" y="264113"/>
                  </a:lnTo>
                  <a:lnTo>
                    <a:pt x="67394" y="251363"/>
                  </a:lnTo>
                  <a:lnTo>
                    <a:pt x="80145" y="224041"/>
                  </a:lnTo>
                  <a:lnTo>
                    <a:pt x="80145" y="200362"/>
                  </a:lnTo>
                  <a:lnTo>
                    <a:pt x="91073" y="167575"/>
                  </a:lnTo>
                  <a:lnTo>
                    <a:pt x="102002" y="154825"/>
                  </a:lnTo>
                  <a:lnTo>
                    <a:pt x="105645" y="143896"/>
                  </a:lnTo>
                  <a:lnTo>
                    <a:pt x="118395" y="132967"/>
                  </a:lnTo>
                  <a:lnTo>
                    <a:pt x="112931" y="98359"/>
                  </a:lnTo>
                  <a:lnTo>
                    <a:pt x="116574" y="71037"/>
                  </a:lnTo>
                  <a:lnTo>
                    <a:pt x="145718" y="56466"/>
                  </a:lnTo>
                  <a:lnTo>
                    <a:pt x="147539" y="38251"/>
                  </a:lnTo>
                  <a:lnTo>
                    <a:pt x="145718" y="27322"/>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9" name="The Bahamas">
              <a:extLst>
                <a:ext uri="{FF2B5EF4-FFF2-40B4-BE49-F238E27FC236}">
                  <a16:creationId xmlns:a16="http://schemas.microsoft.com/office/drawing/2014/main" id="{CE24177F-8AC1-2D35-213D-95CF4FB5E983}"/>
                </a:ext>
              </a:extLst>
            </p:cNvPr>
            <p:cNvSpPr>
              <a:spLocks/>
            </p:cNvSpPr>
            <p:nvPr/>
          </p:nvSpPr>
          <p:spPr bwMode="auto">
            <a:xfrm>
              <a:off x="3962763" y="3933249"/>
              <a:ext cx="142759" cy="151794"/>
            </a:xfrm>
            <a:custGeom>
              <a:avLst/>
              <a:gdLst/>
              <a:ahLst/>
              <a:cxnLst/>
              <a:rect l="l" t="t" r="r" b="b"/>
              <a:pathLst>
                <a:path w="143897" h="153004">
                  <a:moveTo>
                    <a:pt x="140254" y="140253"/>
                  </a:moveTo>
                  <a:lnTo>
                    <a:pt x="143897" y="140253"/>
                  </a:lnTo>
                  <a:lnTo>
                    <a:pt x="143897" y="142075"/>
                  </a:lnTo>
                  <a:lnTo>
                    <a:pt x="140254" y="147539"/>
                  </a:lnTo>
                  <a:lnTo>
                    <a:pt x="140254" y="151183"/>
                  </a:lnTo>
                  <a:lnTo>
                    <a:pt x="127503" y="153004"/>
                  </a:lnTo>
                  <a:lnTo>
                    <a:pt x="123860" y="153004"/>
                  </a:lnTo>
                  <a:lnTo>
                    <a:pt x="123860" y="147539"/>
                  </a:lnTo>
                  <a:lnTo>
                    <a:pt x="127503" y="147539"/>
                  </a:lnTo>
                  <a:lnTo>
                    <a:pt x="127503" y="145718"/>
                  </a:lnTo>
                  <a:close/>
                  <a:moveTo>
                    <a:pt x="107467" y="105645"/>
                  </a:moveTo>
                  <a:lnTo>
                    <a:pt x="112932" y="105645"/>
                  </a:lnTo>
                  <a:lnTo>
                    <a:pt x="116575" y="107467"/>
                  </a:lnTo>
                  <a:lnTo>
                    <a:pt x="122039" y="107467"/>
                  </a:lnTo>
                  <a:lnTo>
                    <a:pt x="116575" y="118396"/>
                  </a:lnTo>
                  <a:lnTo>
                    <a:pt x="116575" y="122039"/>
                  </a:lnTo>
                  <a:lnTo>
                    <a:pt x="112932" y="118396"/>
                  </a:lnTo>
                  <a:lnTo>
                    <a:pt x="112932" y="112931"/>
                  </a:lnTo>
                  <a:lnTo>
                    <a:pt x="107467" y="107467"/>
                  </a:lnTo>
                  <a:close/>
                  <a:moveTo>
                    <a:pt x="29145" y="67395"/>
                  </a:moveTo>
                  <a:lnTo>
                    <a:pt x="32788" y="67395"/>
                  </a:lnTo>
                  <a:lnTo>
                    <a:pt x="32788" y="83789"/>
                  </a:lnTo>
                  <a:lnTo>
                    <a:pt x="29145" y="83789"/>
                  </a:lnTo>
                  <a:lnTo>
                    <a:pt x="23680" y="74681"/>
                  </a:lnTo>
                  <a:lnTo>
                    <a:pt x="29145" y="69217"/>
                  </a:lnTo>
                  <a:close/>
                  <a:moveTo>
                    <a:pt x="72859" y="56466"/>
                  </a:moveTo>
                  <a:lnTo>
                    <a:pt x="76502" y="56466"/>
                  </a:lnTo>
                  <a:lnTo>
                    <a:pt x="89253" y="69217"/>
                  </a:lnTo>
                  <a:lnTo>
                    <a:pt x="89253" y="72860"/>
                  </a:lnTo>
                  <a:lnTo>
                    <a:pt x="81967" y="72860"/>
                  </a:lnTo>
                  <a:close/>
                  <a:moveTo>
                    <a:pt x="65574" y="43715"/>
                  </a:moveTo>
                  <a:lnTo>
                    <a:pt x="67395" y="43715"/>
                  </a:lnTo>
                  <a:lnTo>
                    <a:pt x="67395" y="58287"/>
                  </a:lnTo>
                  <a:lnTo>
                    <a:pt x="65574" y="58287"/>
                  </a:lnTo>
                  <a:lnTo>
                    <a:pt x="60109" y="52823"/>
                  </a:lnTo>
                  <a:lnTo>
                    <a:pt x="60109" y="51001"/>
                  </a:lnTo>
                  <a:close/>
                  <a:moveTo>
                    <a:pt x="16394" y="43715"/>
                  </a:moveTo>
                  <a:lnTo>
                    <a:pt x="20037" y="43715"/>
                  </a:lnTo>
                  <a:lnTo>
                    <a:pt x="21858" y="45537"/>
                  </a:lnTo>
                  <a:lnTo>
                    <a:pt x="27323" y="56466"/>
                  </a:lnTo>
                  <a:lnTo>
                    <a:pt x="23680" y="63752"/>
                  </a:lnTo>
                  <a:lnTo>
                    <a:pt x="23680" y="67395"/>
                  </a:lnTo>
                  <a:lnTo>
                    <a:pt x="14572" y="56466"/>
                  </a:lnTo>
                  <a:lnTo>
                    <a:pt x="10929" y="56466"/>
                  </a:lnTo>
                  <a:close/>
                  <a:moveTo>
                    <a:pt x="40074" y="5465"/>
                  </a:moveTo>
                  <a:lnTo>
                    <a:pt x="43717" y="5465"/>
                  </a:lnTo>
                  <a:lnTo>
                    <a:pt x="43717" y="7287"/>
                  </a:lnTo>
                  <a:lnTo>
                    <a:pt x="45538" y="12751"/>
                  </a:lnTo>
                  <a:lnTo>
                    <a:pt x="43717" y="27323"/>
                  </a:lnTo>
                  <a:lnTo>
                    <a:pt x="40074" y="27323"/>
                  </a:lnTo>
                  <a:lnTo>
                    <a:pt x="38252" y="16394"/>
                  </a:lnTo>
                  <a:close/>
                  <a:moveTo>
                    <a:pt x="10929" y="0"/>
                  </a:moveTo>
                  <a:lnTo>
                    <a:pt x="21859" y="0"/>
                  </a:lnTo>
                  <a:lnTo>
                    <a:pt x="21859" y="1822"/>
                  </a:lnTo>
                  <a:lnTo>
                    <a:pt x="27323" y="5465"/>
                  </a:lnTo>
                  <a:lnTo>
                    <a:pt x="27323" y="10929"/>
                  </a:lnTo>
                  <a:lnTo>
                    <a:pt x="23680" y="10929"/>
                  </a:lnTo>
                  <a:lnTo>
                    <a:pt x="0" y="5465"/>
                  </a:lnTo>
                  <a:lnTo>
                    <a:pt x="0" y="1822"/>
                  </a:lnTo>
                  <a:lnTo>
                    <a:pt x="5465" y="1822"/>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0" name="Canada - Offshore">
              <a:extLst>
                <a:ext uri="{FF2B5EF4-FFF2-40B4-BE49-F238E27FC236}">
                  <a16:creationId xmlns:a16="http://schemas.microsoft.com/office/drawing/2014/main" id="{A5171EE2-D9D2-2033-3827-DFE964DE035B}"/>
                </a:ext>
              </a:extLst>
            </p:cNvPr>
            <p:cNvSpPr>
              <a:spLocks/>
            </p:cNvSpPr>
            <p:nvPr/>
          </p:nvSpPr>
          <p:spPr bwMode="auto">
            <a:xfrm>
              <a:off x="2616501" y="788821"/>
              <a:ext cx="1967892" cy="2596891"/>
            </a:xfrm>
            <a:custGeom>
              <a:avLst/>
              <a:gdLst/>
              <a:ahLst/>
              <a:cxnLst/>
              <a:rect l="l" t="t" r="r" b="b"/>
              <a:pathLst>
                <a:path w="1983579" h="2617593">
                  <a:moveTo>
                    <a:pt x="1256814" y="2601199"/>
                  </a:moveTo>
                  <a:lnTo>
                    <a:pt x="1289600" y="2601199"/>
                  </a:lnTo>
                  <a:lnTo>
                    <a:pt x="1289600" y="2612128"/>
                  </a:lnTo>
                  <a:lnTo>
                    <a:pt x="1287779" y="2617593"/>
                  </a:lnTo>
                  <a:lnTo>
                    <a:pt x="1284136" y="2617593"/>
                  </a:lnTo>
                  <a:lnTo>
                    <a:pt x="1256814" y="2604842"/>
                  </a:lnTo>
                  <a:lnTo>
                    <a:pt x="1254992" y="2604842"/>
                  </a:lnTo>
                  <a:close/>
                  <a:moveTo>
                    <a:pt x="1794147" y="2564770"/>
                  </a:moveTo>
                  <a:lnTo>
                    <a:pt x="1797790" y="2564770"/>
                  </a:lnTo>
                  <a:lnTo>
                    <a:pt x="1803254" y="2570235"/>
                  </a:lnTo>
                  <a:lnTo>
                    <a:pt x="1803254" y="2572056"/>
                  </a:lnTo>
                  <a:lnTo>
                    <a:pt x="1794147" y="2597556"/>
                  </a:lnTo>
                  <a:lnTo>
                    <a:pt x="1803254" y="2597556"/>
                  </a:lnTo>
                  <a:lnTo>
                    <a:pt x="1808718" y="2588449"/>
                  </a:lnTo>
                  <a:lnTo>
                    <a:pt x="1810540" y="2588449"/>
                  </a:lnTo>
                  <a:lnTo>
                    <a:pt x="1816004" y="2599378"/>
                  </a:lnTo>
                  <a:lnTo>
                    <a:pt x="1816004" y="2601199"/>
                  </a:lnTo>
                  <a:lnTo>
                    <a:pt x="1797790" y="2612128"/>
                  </a:lnTo>
                  <a:lnTo>
                    <a:pt x="1792325" y="2612128"/>
                  </a:lnTo>
                  <a:lnTo>
                    <a:pt x="1783218" y="2615771"/>
                  </a:lnTo>
                  <a:lnTo>
                    <a:pt x="1777754" y="2615771"/>
                  </a:lnTo>
                  <a:lnTo>
                    <a:pt x="1777754" y="2612128"/>
                  </a:lnTo>
                  <a:lnTo>
                    <a:pt x="1772289" y="2606664"/>
                  </a:lnTo>
                  <a:lnTo>
                    <a:pt x="1775932" y="2593914"/>
                  </a:lnTo>
                  <a:close/>
                  <a:moveTo>
                    <a:pt x="1714002" y="2564770"/>
                  </a:moveTo>
                  <a:lnTo>
                    <a:pt x="1715823" y="2564770"/>
                  </a:lnTo>
                  <a:lnTo>
                    <a:pt x="1715823" y="2566592"/>
                  </a:lnTo>
                  <a:lnTo>
                    <a:pt x="1714002" y="2572056"/>
                  </a:lnTo>
                  <a:lnTo>
                    <a:pt x="1721287" y="2581163"/>
                  </a:lnTo>
                  <a:lnTo>
                    <a:pt x="1761360" y="2586628"/>
                  </a:lnTo>
                  <a:lnTo>
                    <a:pt x="1761360" y="2588449"/>
                  </a:lnTo>
                  <a:lnTo>
                    <a:pt x="1748610" y="2601199"/>
                  </a:lnTo>
                  <a:lnTo>
                    <a:pt x="1746788" y="2601199"/>
                  </a:lnTo>
                  <a:lnTo>
                    <a:pt x="1737681" y="2592092"/>
                  </a:lnTo>
                  <a:lnTo>
                    <a:pt x="1726752" y="2593913"/>
                  </a:lnTo>
                  <a:lnTo>
                    <a:pt x="1724930" y="2593913"/>
                  </a:lnTo>
                  <a:lnTo>
                    <a:pt x="1704894" y="2577520"/>
                  </a:lnTo>
                  <a:lnTo>
                    <a:pt x="1704894" y="2575699"/>
                  </a:lnTo>
                  <a:close/>
                  <a:moveTo>
                    <a:pt x="1714002" y="2459125"/>
                  </a:moveTo>
                  <a:lnTo>
                    <a:pt x="1748610" y="2471875"/>
                  </a:lnTo>
                  <a:lnTo>
                    <a:pt x="1765004" y="2480982"/>
                  </a:lnTo>
                  <a:lnTo>
                    <a:pt x="1770468" y="2488268"/>
                  </a:lnTo>
                  <a:lnTo>
                    <a:pt x="1770468" y="2491911"/>
                  </a:lnTo>
                  <a:lnTo>
                    <a:pt x="1754075" y="2491911"/>
                  </a:lnTo>
                  <a:lnTo>
                    <a:pt x="1726752" y="2482804"/>
                  </a:lnTo>
                  <a:lnTo>
                    <a:pt x="1721288" y="2475518"/>
                  </a:lnTo>
                  <a:lnTo>
                    <a:pt x="1703073" y="2466411"/>
                  </a:lnTo>
                  <a:lnTo>
                    <a:pt x="1703073" y="2464589"/>
                  </a:lnTo>
                  <a:close/>
                  <a:moveTo>
                    <a:pt x="187613" y="2424516"/>
                  </a:moveTo>
                  <a:lnTo>
                    <a:pt x="191256" y="2424516"/>
                  </a:lnTo>
                  <a:lnTo>
                    <a:pt x="247721" y="2444552"/>
                  </a:lnTo>
                  <a:lnTo>
                    <a:pt x="269579" y="2475517"/>
                  </a:lnTo>
                  <a:lnTo>
                    <a:pt x="291437" y="2491911"/>
                  </a:lnTo>
                  <a:lnTo>
                    <a:pt x="304187" y="2513768"/>
                  </a:lnTo>
                  <a:lnTo>
                    <a:pt x="304187" y="2515590"/>
                  </a:lnTo>
                  <a:lnTo>
                    <a:pt x="302366" y="2515590"/>
                  </a:lnTo>
                  <a:lnTo>
                    <a:pt x="293258" y="2521054"/>
                  </a:lnTo>
                  <a:lnTo>
                    <a:pt x="265936" y="2510125"/>
                  </a:lnTo>
                  <a:lnTo>
                    <a:pt x="265936" y="2508304"/>
                  </a:lnTo>
                  <a:lnTo>
                    <a:pt x="258650" y="2502839"/>
                  </a:lnTo>
                  <a:lnTo>
                    <a:pt x="260472" y="2497375"/>
                  </a:lnTo>
                  <a:lnTo>
                    <a:pt x="255007" y="2497375"/>
                  </a:lnTo>
                  <a:lnTo>
                    <a:pt x="253186" y="2499196"/>
                  </a:lnTo>
                  <a:lnTo>
                    <a:pt x="247721" y="2499196"/>
                  </a:lnTo>
                  <a:lnTo>
                    <a:pt x="242257" y="2493732"/>
                  </a:lnTo>
                  <a:lnTo>
                    <a:pt x="242257" y="2491911"/>
                  </a:lnTo>
                  <a:lnTo>
                    <a:pt x="247721" y="2491911"/>
                  </a:lnTo>
                  <a:lnTo>
                    <a:pt x="242257" y="2486446"/>
                  </a:lnTo>
                  <a:lnTo>
                    <a:pt x="229507" y="2480982"/>
                  </a:lnTo>
                  <a:lnTo>
                    <a:pt x="225864" y="2480982"/>
                  </a:lnTo>
                  <a:lnTo>
                    <a:pt x="225864" y="2471874"/>
                  </a:lnTo>
                  <a:lnTo>
                    <a:pt x="231328" y="2471874"/>
                  </a:lnTo>
                  <a:lnTo>
                    <a:pt x="213114" y="2466410"/>
                  </a:lnTo>
                  <a:lnTo>
                    <a:pt x="213114" y="2464589"/>
                  </a:lnTo>
                  <a:lnTo>
                    <a:pt x="207649" y="2455481"/>
                  </a:lnTo>
                  <a:lnTo>
                    <a:pt x="207649" y="2459124"/>
                  </a:lnTo>
                  <a:lnTo>
                    <a:pt x="202185" y="2459124"/>
                  </a:lnTo>
                  <a:lnTo>
                    <a:pt x="198542" y="2455481"/>
                  </a:lnTo>
                  <a:lnTo>
                    <a:pt x="193077" y="2455481"/>
                  </a:lnTo>
                  <a:lnTo>
                    <a:pt x="191256" y="2442731"/>
                  </a:lnTo>
                  <a:lnTo>
                    <a:pt x="202185" y="2442731"/>
                  </a:lnTo>
                  <a:lnTo>
                    <a:pt x="202185" y="2437266"/>
                  </a:lnTo>
                  <a:lnTo>
                    <a:pt x="182149" y="2435445"/>
                  </a:lnTo>
                  <a:lnTo>
                    <a:pt x="180327" y="2435445"/>
                  </a:lnTo>
                  <a:lnTo>
                    <a:pt x="180327" y="2431802"/>
                  </a:lnTo>
                  <a:lnTo>
                    <a:pt x="182149" y="2431802"/>
                  </a:lnTo>
                  <a:lnTo>
                    <a:pt x="187613" y="2426338"/>
                  </a:lnTo>
                  <a:close/>
                  <a:moveTo>
                    <a:pt x="1908899" y="2399016"/>
                  </a:moveTo>
                  <a:lnTo>
                    <a:pt x="1916185" y="2399016"/>
                  </a:lnTo>
                  <a:lnTo>
                    <a:pt x="1916185" y="2402659"/>
                  </a:lnTo>
                  <a:lnTo>
                    <a:pt x="1908899" y="2408123"/>
                  </a:lnTo>
                  <a:lnTo>
                    <a:pt x="1910720" y="2415409"/>
                  </a:lnTo>
                  <a:lnTo>
                    <a:pt x="1908899" y="2424517"/>
                  </a:lnTo>
                  <a:lnTo>
                    <a:pt x="1908899" y="2426338"/>
                  </a:lnTo>
                  <a:lnTo>
                    <a:pt x="1899791" y="2426338"/>
                  </a:lnTo>
                  <a:lnTo>
                    <a:pt x="1899791" y="2437267"/>
                  </a:lnTo>
                  <a:lnTo>
                    <a:pt x="1887041" y="2455482"/>
                  </a:lnTo>
                  <a:lnTo>
                    <a:pt x="1888863" y="2470053"/>
                  </a:lnTo>
                  <a:lnTo>
                    <a:pt x="1903434" y="2453660"/>
                  </a:lnTo>
                  <a:lnTo>
                    <a:pt x="1903434" y="2459125"/>
                  </a:lnTo>
                  <a:lnTo>
                    <a:pt x="1916185" y="2460946"/>
                  </a:lnTo>
                  <a:lnTo>
                    <a:pt x="1918006" y="2460946"/>
                  </a:lnTo>
                  <a:lnTo>
                    <a:pt x="1918006" y="2464589"/>
                  </a:lnTo>
                  <a:lnTo>
                    <a:pt x="1916185" y="2464589"/>
                  </a:lnTo>
                  <a:lnTo>
                    <a:pt x="1905256" y="2470053"/>
                  </a:lnTo>
                  <a:lnTo>
                    <a:pt x="1908899" y="2477339"/>
                  </a:lnTo>
                  <a:lnTo>
                    <a:pt x="1910720" y="2477339"/>
                  </a:lnTo>
                  <a:lnTo>
                    <a:pt x="1912542" y="2475518"/>
                  </a:lnTo>
                  <a:lnTo>
                    <a:pt x="1918006" y="2475518"/>
                  </a:lnTo>
                  <a:lnTo>
                    <a:pt x="1921649" y="2471875"/>
                  </a:lnTo>
                  <a:lnTo>
                    <a:pt x="1923471" y="2471875"/>
                  </a:lnTo>
                  <a:lnTo>
                    <a:pt x="1923471" y="2475518"/>
                  </a:lnTo>
                  <a:lnTo>
                    <a:pt x="1921649" y="2482804"/>
                  </a:lnTo>
                  <a:lnTo>
                    <a:pt x="1939864" y="2477339"/>
                  </a:lnTo>
                  <a:lnTo>
                    <a:pt x="1961721" y="2480982"/>
                  </a:lnTo>
                  <a:lnTo>
                    <a:pt x="1965364" y="2480982"/>
                  </a:lnTo>
                  <a:lnTo>
                    <a:pt x="1965364" y="2482804"/>
                  </a:lnTo>
                  <a:lnTo>
                    <a:pt x="1954436" y="2513769"/>
                  </a:lnTo>
                  <a:lnTo>
                    <a:pt x="1972650" y="2508304"/>
                  </a:lnTo>
                  <a:lnTo>
                    <a:pt x="1976293" y="2508304"/>
                  </a:lnTo>
                  <a:lnTo>
                    <a:pt x="1972650" y="2515590"/>
                  </a:lnTo>
                  <a:lnTo>
                    <a:pt x="1956257" y="2526519"/>
                  </a:lnTo>
                  <a:lnTo>
                    <a:pt x="1961721" y="2528340"/>
                  </a:lnTo>
                  <a:lnTo>
                    <a:pt x="1959900" y="2539269"/>
                  </a:lnTo>
                  <a:lnTo>
                    <a:pt x="1961721" y="2542912"/>
                  </a:lnTo>
                  <a:lnTo>
                    <a:pt x="1978115" y="2522876"/>
                  </a:lnTo>
                  <a:lnTo>
                    <a:pt x="1981758" y="2522876"/>
                  </a:lnTo>
                  <a:lnTo>
                    <a:pt x="1981758" y="2526519"/>
                  </a:lnTo>
                  <a:lnTo>
                    <a:pt x="1976293" y="2544734"/>
                  </a:lnTo>
                  <a:lnTo>
                    <a:pt x="1978115" y="2539269"/>
                  </a:lnTo>
                  <a:lnTo>
                    <a:pt x="1981758" y="2539269"/>
                  </a:lnTo>
                  <a:lnTo>
                    <a:pt x="1983579" y="2550198"/>
                  </a:lnTo>
                  <a:lnTo>
                    <a:pt x="1976293" y="2577520"/>
                  </a:lnTo>
                  <a:lnTo>
                    <a:pt x="1972650" y="2577520"/>
                  </a:lnTo>
                  <a:lnTo>
                    <a:pt x="1965364" y="2581163"/>
                  </a:lnTo>
                  <a:lnTo>
                    <a:pt x="1959900" y="2564770"/>
                  </a:lnTo>
                  <a:lnTo>
                    <a:pt x="1950793" y="2572056"/>
                  </a:lnTo>
                  <a:lnTo>
                    <a:pt x="1948971" y="2572056"/>
                  </a:lnTo>
                  <a:lnTo>
                    <a:pt x="1948971" y="2570234"/>
                  </a:lnTo>
                  <a:lnTo>
                    <a:pt x="1954436" y="2553841"/>
                  </a:lnTo>
                  <a:lnTo>
                    <a:pt x="1948971" y="2533805"/>
                  </a:lnTo>
                  <a:lnTo>
                    <a:pt x="1943507" y="2550198"/>
                  </a:lnTo>
                  <a:lnTo>
                    <a:pt x="1912542" y="2572056"/>
                  </a:lnTo>
                  <a:lnTo>
                    <a:pt x="1910720" y="2572056"/>
                  </a:lnTo>
                  <a:lnTo>
                    <a:pt x="1905256" y="2566591"/>
                  </a:lnTo>
                  <a:lnTo>
                    <a:pt x="1905256" y="2564770"/>
                  </a:lnTo>
                  <a:lnTo>
                    <a:pt x="1928935" y="2544734"/>
                  </a:lnTo>
                  <a:lnTo>
                    <a:pt x="1921649" y="2542912"/>
                  </a:lnTo>
                  <a:lnTo>
                    <a:pt x="1918006" y="2550198"/>
                  </a:lnTo>
                  <a:lnTo>
                    <a:pt x="1899791" y="2550198"/>
                  </a:lnTo>
                  <a:lnTo>
                    <a:pt x="1899791" y="2548377"/>
                  </a:lnTo>
                  <a:lnTo>
                    <a:pt x="1908899" y="2542912"/>
                  </a:lnTo>
                  <a:lnTo>
                    <a:pt x="1908899" y="2539269"/>
                  </a:lnTo>
                  <a:lnTo>
                    <a:pt x="1887041" y="2548377"/>
                  </a:lnTo>
                  <a:lnTo>
                    <a:pt x="1832397" y="2548377"/>
                  </a:lnTo>
                  <a:lnTo>
                    <a:pt x="1825111" y="2542912"/>
                  </a:lnTo>
                  <a:lnTo>
                    <a:pt x="1825111" y="2533805"/>
                  </a:lnTo>
                  <a:lnTo>
                    <a:pt x="1843326" y="2519233"/>
                  </a:lnTo>
                  <a:lnTo>
                    <a:pt x="1830576" y="2515590"/>
                  </a:lnTo>
                  <a:lnTo>
                    <a:pt x="1826933" y="2513769"/>
                  </a:lnTo>
                  <a:lnTo>
                    <a:pt x="1839683" y="2508304"/>
                  </a:lnTo>
                  <a:lnTo>
                    <a:pt x="1845147" y="2491911"/>
                  </a:lnTo>
                  <a:lnTo>
                    <a:pt x="1854255" y="2491911"/>
                  </a:lnTo>
                  <a:lnTo>
                    <a:pt x="1850612" y="2480982"/>
                  </a:lnTo>
                  <a:lnTo>
                    <a:pt x="1859719" y="2475518"/>
                  </a:lnTo>
                  <a:lnTo>
                    <a:pt x="1865183" y="2453660"/>
                  </a:lnTo>
                  <a:lnTo>
                    <a:pt x="1870648" y="2450017"/>
                  </a:lnTo>
                  <a:lnTo>
                    <a:pt x="1867005" y="2450017"/>
                  </a:lnTo>
                  <a:lnTo>
                    <a:pt x="1867005" y="2448196"/>
                  </a:lnTo>
                  <a:lnTo>
                    <a:pt x="1872469" y="2437267"/>
                  </a:lnTo>
                  <a:lnTo>
                    <a:pt x="1870648" y="2431803"/>
                  </a:lnTo>
                  <a:lnTo>
                    <a:pt x="1888863" y="2408123"/>
                  </a:lnTo>
                  <a:lnTo>
                    <a:pt x="1899791" y="2402659"/>
                  </a:lnTo>
                  <a:lnTo>
                    <a:pt x="1905256" y="2402659"/>
                  </a:lnTo>
                  <a:close/>
                  <a:moveTo>
                    <a:pt x="1284136" y="2340729"/>
                  </a:moveTo>
                  <a:lnTo>
                    <a:pt x="1307815" y="2340729"/>
                  </a:lnTo>
                  <a:lnTo>
                    <a:pt x="1316922" y="2357123"/>
                  </a:lnTo>
                  <a:lnTo>
                    <a:pt x="1316922" y="2358944"/>
                  </a:lnTo>
                  <a:lnTo>
                    <a:pt x="1313279" y="2358944"/>
                  </a:lnTo>
                  <a:lnTo>
                    <a:pt x="1282314" y="2346194"/>
                  </a:lnTo>
                  <a:close/>
                  <a:moveTo>
                    <a:pt x="1621107" y="2012865"/>
                  </a:moveTo>
                  <a:lnTo>
                    <a:pt x="1624750" y="2012865"/>
                  </a:lnTo>
                  <a:lnTo>
                    <a:pt x="1624750" y="2021973"/>
                  </a:lnTo>
                  <a:lnTo>
                    <a:pt x="1613821" y="2029259"/>
                  </a:lnTo>
                  <a:lnTo>
                    <a:pt x="1610178" y="2029259"/>
                  </a:lnTo>
                  <a:lnTo>
                    <a:pt x="1610178" y="2018330"/>
                  </a:lnTo>
                  <a:close/>
                  <a:moveTo>
                    <a:pt x="466296" y="1983721"/>
                  </a:moveTo>
                  <a:lnTo>
                    <a:pt x="473582" y="1994650"/>
                  </a:lnTo>
                  <a:lnTo>
                    <a:pt x="471760" y="1994650"/>
                  </a:lnTo>
                  <a:lnTo>
                    <a:pt x="460831" y="1991007"/>
                  </a:lnTo>
                  <a:lnTo>
                    <a:pt x="460831" y="1989186"/>
                  </a:lnTo>
                  <a:close/>
                  <a:moveTo>
                    <a:pt x="1688501" y="1960043"/>
                  </a:moveTo>
                  <a:lnTo>
                    <a:pt x="1697608" y="1965508"/>
                  </a:lnTo>
                  <a:lnTo>
                    <a:pt x="1697608" y="1976437"/>
                  </a:lnTo>
                  <a:lnTo>
                    <a:pt x="1693965" y="1976437"/>
                  </a:lnTo>
                  <a:lnTo>
                    <a:pt x="1679393" y="1967329"/>
                  </a:lnTo>
                  <a:lnTo>
                    <a:pt x="1675750" y="1967329"/>
                  </a:lnTo>
                  <a:lnTo>
                    <a:pt x="1675750" y="1965508"/>
                  </a:lnTo>
                  <a:lnTo>
                    <a:pt x="1679393" y="1965508"/>
                  </a:lnTo>
                  <a:close/>
                  <a:moveTo>
                    <a:pt x="568299" y="1945470"/>
                  </a:moveTo>
                  <a:lnTo>
                    <a:pt x="566478" y="1956399"/>
                  </a:lnTo>
                  <a:lnTo>
                    <a:pt x="557370" y="1960042"/>
                  </a:lnTo>
                  <a:lnTo>
                    <a:pt x="546441" y="1954578"/>
                  </a:lnTo>
                  <a:lnTo>
                    <a:pt x="544619" y="1954578"/>
                  </a:lnTo>
                  <a:lnTo>
                    <a:pt x="544619" y="1950935"/>
                  </a:lnTo>
                  <a:lnTo>
                    <a:pt x="546441" y="1950935"/>
                  </a:lnTo>
                  <a:close/>
                  <a:moveTo>
                    <a:pt x="1329673" y="1923613"/>
                  </a:moveTo>
                  <a:lnTo>
                    <a:pt x="1349709" y="1929078"/>
                  </a:lnTo>
                  <a:lnTo>
                    <a:pt x="1335137" y="1967328"/>
                  </a:lnTo>
                  <a:lnTo>
                    <a:pt x="1324208" y="1956399"/>
                  </a:lnTo>
                  <a:lnTo>
                    <a:pt x="1324208" y="1932720"/>
                  </a:lnTo>
                  <a:close/>
                  <a:moveTo>
                    <a:pt x="590156" y="1910863"/>
                  </a:moveTo>
                  <a:lnTo>
                    <a:pt x="595620" y="1910863"/>
                  </a:lnTo>
                  <a:lnTo>
                    <a:pt x="599263" y="1912685"/>
                  </a:lnTo>
                  <a:lnTo>
                    <a:pt x="604728" y="1912685"/>
                  </a:lnTo>
                  <a:lnTo>
                    <a:pt x="604728" y="1916328"/>
                  </a:lnTo>
                  <a:lnTo>
                    <a:pt x="579227" y="1923614"/>
                  </a:lnTo>
                  <a:lnTo>
                    <a:pt x="577405" y="1921793"/>
                  </a:lnTo>
                  <a:lnTo>
                    <a:pt x="579227" y="1921793"/>
                  </a:lnTo>
                  <a:close/>
                  <a:moveTo>
                    <a:pt x="1271385" y="1898113"/>
                  </a:moveTo>
                  <a:lnTo>
                    <a:pt x="1287778" y="1898113"/>
                  </a:lnTo>
                  <a:lnTo>
                    <a:pt x="1287778" y="1899935"/>
                  </a:lnTo>
                  <a:lnTo>
                    <a:pt x="1282314" y="1910863"/>
                  </a:lnTo>
                  <a:lnTo>
                    <a:pt x="1256813" y="1934543"/>
                  </a:lnTo>
                  <a:lnTo>
                    <a:pt x="1240420" y="1940007"/>
                  </a:lnTo>
                  <a:lnTo>
                    <a:pt x="1240420" y="1938186"/>
                  </a:lnTo>
                  <a:lnTo>
                    <a:pt x="1254992" y="1907221"/>
                  </a:lnTo>
                  <a:close/>
                  <a:moveTo>
                    <a:pt x="1367923" y="1870790"/>
                  </a:moveTo>
                  <a:lnTo>
                    <a:pt x="1386139" y="1870790"/>
                  </a:lnTo>
                  <a:lnTo>
                    <a:pt x="1391603" y="1881719"/>
                  </a:lnTo>
                  <a:lnTo>
                    <a:pt x="1391603" y="1883541"/>
                  </a:lnTo>
                  <a:lnTo>
                    <a:pt x="1384317" y="1889005"/>
                  </a:lnTo>
                  <a:lnTo>
                    <a:pt x="1380674" y="1889005"/>
                  </a:lnTo>
                  <a:lnTo>
                    <a:pt x="1367923" y="1872612"/>
                  </a:lnTo>
                  <a:close/>
                  <a:moveTo>
                    <a:pt x="1205812" y="1736002"/>
                  </a:moveTo>
                  <a:lnTo>
                    <a:pt x="1209455" y="1736002"/>
                  </a:lnTo>
                  <a:lnTo>
                    <a:pt x="1209455" y="1737824"/>
                  </a:lnTo>
                  <a:lnTo>
                    <a:pt x="1214919" y="1748752"/>
                  </a:lnTo>
                  <a:lnTo>
                    <a:pt x="1214919" y="1765146"/>
                  </a:lnTo>
                  <a:lnTo>
                    <a:pt x="1225848" y="1756038"/>
                  </a:lnTo>
                  <a:lnTo>
                    <a:pt x="1227670" y="1756038"/>
                  </a:lnTo>
                  <a:lnTo>
                    <a:pt x="1234956" y="1765146"/>
                  </a:lnTo>
                  <a:lnTo>
                    <a:pt x="1234956" y="1772432"/>
                  </a:lnTo>
                  <a:lnTo>
                    <a:pt x="1284135" y="1803397"/>
                  </a:lnTo>
                  <a:lnTo>
                    <a:pt x="1287778" y="1803397"/>
                  </a:lnTo>
                  <a:lnTo>
                    <a:pt x="1293243" y="1832540"/>
                  </a:lnTo>
                  <a:lnTo>
                    <a:pt x="1311457" y="1832540"/>
                  </a:lnTo>
                  <a:lnTo>
                    <a:pt x="1329672" y="1850755"/>
                  </a:lnTo>
                  <a:lnTo>
                    <a:pt x="1329672" y="1854398"/>
                  </a:lnTo>
                  <a:lnTo>
                    <a:pt x="1305993" y="1870791"/>
                  </a:lnTo>
                  <a:lnTo>
                    <a:pt x="1273206" y="1859862"/>
                  </a:lnTo>
                  <a:lnTo>
                    <a:pt x="1273206" y="1843469"/>
                  </a:lnTo>
                  <a:lnTo>
                    <a:pt x="1256813" y="1839826"/>
                  </a:lnTo>
                  <a:lnTo>
                    <a:pt x="1260456" y="1832540"/>
                  </a:lnTo>
                  <a:lnTo>
                    <a:pt x="1245884" y="1834362"/>
                  </a:lnTo>
                  <a:lnTo>
                    <a:pt x="1245884" y="1854398"/>
                  </a:lnTo>
                  <a:lnTo>
                    <a:pt x="1209455" y="1887184"/>
                  </a:lnTo>
                  <a:lnTo>
                    <a:pt x="1205812" y="1887184"/>
                  </a:lnTo>
                  <a:lnTo>
                    <a:pt x="1198526" y="1878077"/>
                  </a:lnTo>
                  <a:lnTo>
                    <a:pt x="1194883" y="1854398"/>
                  </a:lnTo>
                  <a:lnTo>
                    <a:pt x="1194883" y="1856219"/>
                  </a:lnTo>
                  <a:lnTo>
                    <a:pt x="1165740" y="1865326"/>
                  </a:lnTo>
                  <a:lnTo>
                    <a:pt x="1162097" y="1865326"/>
                  </a:lnTo>
                  <a:lnTo>
                    <a:pt x="1160275" y="1856219"/>
                  </a:lnTo>
                  <a:lnTo>
                    <a:pt x="1165740" y="1843469"/>
                  </a:lnTo>
                  <a:lnTo>
                    <a:pt x="1182133" y="1828897"/>
                  </a:lnTo>
                  <a:lnTo>
                    <a:pt x="1178490" y="1808861"/>
                  </a:lnTo>
                  <a:lnTo>
                    <a:pt x="1183954" y="1759681"/>
                  </a:lnTo>
                  <a:lnTo>
                    <a:pt x="1193062" y="1741467"/>
                  </a:lnTo>
                  <a:lnTo>
                    <a:pt x="1194883" y="1741467"/>
                  </a:lnTo>
                  <a:close/>
                  <a:moveTo>
                    <a:pt x="1225849" y="1719609"/>
                  </a:moveTo>
                  <a:lnTo>
                    <a:pt x="1227671" y="1719609"/>
                  </a:lnTo>
                  <a:lnTo>
                    <a:pt x="1240421" y="1730538"/>
                  </a:lnTo>
                  <a:lnTo>
                    <a:pt x="1254992" y="1748754"/>
                  </a:lnTo>
                  <a:lnTo>
                    <a:pt x="1254992" y="1750575"/>
                  </a:lnTo>
                  <a:lnTo>
                    <a:pt x="1251349" y="1750575"/>
                  </a:lnTo>
                  <a:lnTo>
                    <a:pt x="1234956" y="1741467"/>
                  </a:lnTo>
                  <a:lnTo>
                    <a:pt x="1225849" y="1721431"/>
                  </a:lnTo>
                  <a:close/>
                  <a:moveTo>
                    <a:pt x="1464463" y="1597570"/>
                  </a:moveTo>
                  <a:lnTo>
                    <a:pt x="1468106" y="1597570"/>
                  </a:lnTo>
                  <a:lnTo>
                    <a:pt x="1486321" y="1615786"/>
                  </a:lnTo>
                  <a:lnTo>
                    <a:pt x="1486321" y="1619429"/>
                  </a:lnTo>
                  <a:lnTo>
                    <a:pt x="1475392" y="1619429"/>
                  </a:lnTo>
                  <a:lnTo>
                    <a:pt x="1469927" y="1621250"/>
                  </a:lnTo>
                  <a:lnTo>
                    <a:pt x="1462641" y="1621250"/>
                  </a:lnTo>
                  <a:lnTo>
                    <a:pt x="1455355" y="1604856"/>
                  </a:lnTo>
                  <a:close/>
                  <a:moveTo>
                    <a:pt x="1173026" y="1586641"/>
                  </a:moveTo>
                  <a:lnTo>
                    <a:pt x="1176669" y="1588463"/>
                  </a:lnTo>
                  <a:lnTo>
                    <a:pt x="1176669" y="1621249"/>
                  </a:lnTo>
                  <a:lnTo>
                    <a:pt x="1165740" y="1613963"/>
                  </a:lnTo>
                  <a:lnTo>
                    <a:pt x="1165740" y="1588463"/>
                  </a:lnTo>
                  <a:close/>
                  <a:moveTo>
                    <a:pt x="1418924" y="1584820"/>
                  </a:moveTo>
                  <a:lnTo>
                    <a:pt x="1418924" y="1586642"/>
                  </a:lnTo>
                  <a:lnTo>
                    <a:pt x="1444425" y="1592106"/>
                  </a:lnTo>
                  <a:lnTo>
                    <a:pt x="1446246" y="1592106"/>
                  </a:lnTo>
                  <a:lnTo>
                    <a:pt x="1449889" y="1604856"/>
                  </a:lnTo>
                  <a:lnTo>
                    <a:pt x="1449889" y="1635821"/>
                  </a:lnTo>
                  <a:lnTo>
                    <a:pt x="1435317" y="1652215"/>
                  </a:lnTo>
                  <a:lnTo>
                    <a:pt x="1435317" y="1654036"/>
                  </a:lnTo>
                  <a:lnTo>
                    <a:pt x="1402531" y="1654036"/>
                  </a:lnTo>
                  <a:lnTo>
                    <a:pt x="1402531" y="1652215"/>
                  </a:lnTo>
                  <a:lnTo>
                    <a:pt x="1395245" y="1635821"/>
                  </a:lnTo>
                  <a:lnTo>
                    <a:pt x="1397067" y="1615785"/>
                  </a:lnTo>
                  <a:lnTo>
                    <a:pt x="1417103" y="1586642"/>
                  </a:lnTo>
                  <a:close/>
                  <a:moveTo>
                    <a:pt x="1360639" y="1524710"/>
                  </a:moveTo>
                  <a:lnTo>
                    <a:pt x="1362461" y="1524710"/>
                  </a:lnTo>
                  <a:lnTo>
                    <a:pt x="1367925" y="1530175"/>
                  </a:lnTo>
                  <a:lnTo>
                    <a:pt x="1367925" y="1531996"/>
                  </a:lnTo>
                  <a:lnTo>
                    <a:pt x="1360639" y="1542925"/>
                  </a:lnTo>
                  <a:lnTo>
                    <a:pt x="1346067" y="1552033"/>
                  </a:lnTo>
                  <a:lnTo>
                    <a:pt x="1346067" y="1548390"/>
                  </a:lnTo>
                  <a:close/>
                  <a:moveTo>
                    <a:pt x="0" y="1521068"/>
                  </a:moveTo>
                  <a:lnTo>
                    <a:pt x="1821" y="1521068"/>
                  </a:lnTo>
                  <a:lnTo>
                    <a:pt x="25501" y="1542926"/>
                  </a:lnTo>
                  <a:lnTo>
                    <a:pt x="23679" y="1542926"/>
                  </a:lnTo>
                  <a:lnTo>
                    <a:pt x="7286" y="1541105"/>
                  </a:lnTo>
                  <a:lnTo>
                    <a:pt x="5464" y="1541105"/>
                  </a:lnTo>
                  <a:lnTo>
                    <a:pt x="5464" y="1537462"/>
                  </a:lnTo>
                  <a:lnTo>
                    <a:pt x="0" y="1524711"/>
                  </a:lnTo>
                  <a:close/>
                  <a:moveTo>
                    <a:pt x="1318743" y="1486461"/>
                  </a:moveTo>
                  <a:lnTo>
                    <a:pt x="1327851" y="1486461"/>
                  </a:lnTo>
                  <a:lnTo>
                    <a:pt x="1346066" y="1490104"/>
                  </a:lnTo>
                  <a:lnTo>
                    <a:pt x="1346066" y="1491926"/>
                  </a:lnTo>
                  <a:lnTo>
                    <a:pt x="1333315" y="1501033"/>
                  </a:lnTo>
                  <a:lnTo>
                    <a:pt x="1333315" y="1511962"/>
                  </a:lnTo>
                  <a:lnTo>
                    <a:pt x="1329672" y="1511962"/>
                  </a:lnTo>
                  <a:lnTo>
                    <a:pt x="1318743" y="1490104"/>
                  </a:lnTo>
                  <a:close/>
                  <a:moveTo>
                    <a:pt x="34609" y="1486461"/>
                  </a:moveTo>
                  <a:lnTo>
                    <a:pt x="36430" y="1486461"/>
                  </a:lnTo>
                  <a:lnTo>
                    <a:pt x="36430" y="1490104"/>
                  </a:lnTo>
                  <a:lnTo>
                    <a:pt x="41895" y="1501033"/>
                  </a:lnTo>
                  <a:lnTo>
                    <a:pt x="51002" y="1501033"/>
                  </a:lnTo>
                  <a:lnTo>
                    <a:pt x="51002" y="1502854"/>
                  </a:lnTo>
                  <a:lnTo>
                    <a:pt x="30966" y="1535641"/>
                  </a:lnTo>
                  <a:lnTo>
                    <a:pt x="30966" y="1537462"/>
                  </a:lnTo>
                  <a:lnTo>
                    <a:pt x="29144" y="1537462"/>
                  </a:lnTo>
                  <a:lnTo>
                    <a:pt x="23680" y="1535641"/>
                  </a:lnTo>
                  <a:lnTo>
                    <a:pt x="23680" y="1531998"/>
                  </a:lnTo>
                  <a:lnTo>
                    <a:pt x="29144" y="1526533"/>
                  </a:lnTo>
                  <a:lnTo>
                    <a:pt x="20037" y="1526533"/>
                  </a:lnTo>
                  <a:lnTo>
                    <a:pt x="12751" y="1511962"/>
                  </a:lnTo>
                  <a:lnTo>
                    <a:pt x="12751" y="1508319"/>
                  </a:lnTo>
                  <a:lnTo>
                    <a:pt x="14572" y="1508319"/>
                  </a:lnTo>
                  <a:lnTo>
                    <a:pt x="23680" y="1511962"/>
                  </a:lnTo>
                  <a:lnTo>
                    <a:pt x="34609" y="1508319"/>
                  </a:lnTo>
                  <a:lnTo>
                    <a:pt x="30966" y="1502854"/>
                  </a:lnTo>
                  <a:lnTo>
                    <a:pt x="34609" y="1490104"/>
                  </a:lnTo>
                  <a:close/>
                  <a:moveTo>
                    <a:pt x="903448" y="1479175"/>
                  </a:moveTo>
                  <a:lnTo>
                    <a:pt x="907091" y="1479175"/>
                  </a:lnTo>
                  <a:lnTo>
                    <a:pt x="930770" y="1502854"/>
                  </a:lnTo>
                  <a:lnTo>
                    <a:pt x="965378" y="1553855"/>
                  </a:lnTo>
                  <a:lnTo>
                    <a:pt x="970842" y="1552034"/>
                  </a:lnTo>
                  <a:lnTo>
                    <a:pt x="947163" y="1575713"/>
                  </a:lnTo>
                  <a:lnTo>
                    <a:pt x="943520" y="1575713"/>
                  </a:lnTo>
                  <a:lnTo>
                    <a:pt x="868840" y="1548391"/>
                  </a:lnTo>
                  <a:lnTo>
                    <a:pt x="868840" y="1535641"/>
                  </a:lnTo>
                  <a:lnTo>
                    <a:pt x="892519" y="1519248"/>
                  </a:lnTo>
                  <a:lnTo>
                    <a:pt x="890698" y="1508319"/>
                  </a:lnTo>
                  <a:lnTo>
                    <a:pt x="890698" y="1506497"/>
                  </a:lnTo>
                  <a:lnTo>
                    <a:pt x="897983" y="1506497"/>
                  </a:lnTo>
                  <a:lnTo>
                    <a:pt x="896162" y="1502854"/>
                  </a:lnTo>
                  <a:lnTo>
                    <a:pt x="896162" y="1501033"/>
                  </a:lnTo>
                  <a:close/>
                  <a:moveTo>
                    <a:pt x="932592" y="1235099"/>
                  </a:moveTo>
                  <a:lnTo>
                    <a:pt x="938057" y="1249671"/>
                  </a:lnTo>
                  <a:lnTo>
                    <a:pt x="938057" y="1251493"/>
                  </a:lnTo>
                  <a:lnTo>
                    <a:pt x="936236" y="1251493"/>
                  </a:lnTo>
                  <a:lnTo>
                    <a:pt x="927128" y="1260600"/>
                  </a:lnTo>
                  <a:lnTo>
                    <a:pt x="921663" y="1240564"/>
                  </a:lnTo>
                  <a:close/>
                  <a:moveTo>
                    <a:pt x="506367" y="1216884"/>
                  </a:moveTo>
                  <a:lnTo>
                    <a:pt x="517296" y="1224170"/>
                  </a:lnTo>
                  <a:lnTo>
                    <a:pt x="520939" y="1224170"/>
                  </a:lnTo>
                  <a:lnTo>
                    <a:pt x="522761" y="1249671"/>
                  </a:lnTo>
                  <a:lnTo>
                    <a:pt x="511832" y="1280636"/>
                  </a:lnTo>
                  <a:lnTo>
                    <a:pt x="531868" y="1273350"/>
                  </a:lnTo>
                  <a:lnTo>
                    <a:pt x="531868" y="1255135"/>
                  </a:lnTo>
                  <a:lnTo>
                    <a:pt x="533689" y="1255135"/>
                  </a:lnTo>
                  <a:lnTo>
                    <a:pt x="544618" y="1246028"/>
                  </a:lnTo>
                  <a:lnTo>
                    <a:pt x="546440" y="1246028"/>
                  </a:lnTo>
                  <a:lnTo>
                    <a:pt x="588333" y="1273350"/>
                  </a:lnTo>
                  <a:lnTo>
                    <a:pt x="590155" y="1273350"/>
                  </a:lnTo>
                  <a:lnTo>
                    <a:pt x="588333" y="1276993"/>
                  </a:lnTo>
                  <a:lnTo>
                    <a:pt x="573762" y="1300672"/>
                  </a:lnTo>
                  <a:lnTo>
                    <a:pt x="617477" y="1280636"/>
                  </a:lnTo>
                  <a:lnTo>
                    <a:pt x="612012" y="1273350"/>
                  </a:lnTo>
                  <a:lnTo>
                    <a:pt x="615655" y="1271528"/>
                  </a:lnTo>
                  <a:lnTo>
                    <a:pt x="619298" y="1271528"/>
                  </a:lnTo>
                  <a:lnTo>
                    <a:pt x="604727" y="1249671"/>
                  </a:lnTo>
                  <a:lnTo>
                    <a:pt x="604727" y="1246028"/>
                  </a:lnTo>
                  <a:lnTo>
                    <a:pt x="606548" y="1246028"/>
                  </a:lnTo>
                  <a:lnTo>
                    <a:pt x="628406" y="1255135"/>
                  </a:lnTo>
                  <a:lnTo>
                    <a:pt x="652085" y="1284279"/>
                  </a:lnTo>
                  <a:lnTo>
                    <a:pt x="655728" y="1324351"/>
                  </a:lnTo>
                  <a:lnTo>
                    <a:pt x="661192" y="1329815"/>
                  </a:lnTo>
                  <a:lnTo>
                    <a:pt x="657549" y="1346209"/>
                  </a:lnTo>
                  <a:lnTo>
                    <a:pt x="663014" y="1351673"/>
                  </a:lnTo>
                  <a:lnTo>
                    <a:pt x="677585" y="1333458"/>
                  </a:lnTo>
                  <a:lnTo>
                    <a:pt x="668478" y="1307958"/>
                  </a:lnTo>
                  <a:lnTo>
                    <a:pt x="657549" y="1235099"/>
                  </a:lnTo>
                  <a:lnTo>
                    <a:pt x="661192" y="1235099"/>
                  </a:lnTo>
                  <a:lnTo>
                    <a:pt x="666657" y="1229634"/>
                  </a:lnTo>
                  <a:lnTo>
                    <a:pt x="663014" y="1222348"/>
                  </a:lnTo>
                  <a:lnTo>
                    <a:pt x="690336" y="1233277"/>
                  </a:lnTo>
                  <a:lnTo>
                    <a:pt x="690336" y="1224170"/>
                  </a:lnTo>
                  <a:lnTo>
                    <a:pt x="697622" y="1224170"/>
                  </a:lnTo>
                  <a:lnTo>
                    <a:pt x="728586" y="1262421"/>
                  </a:lnTo>
                  <a:lnTo>
                    <a:pt x="728586" y="1271528"/>
                  </a:lnTo>
                  <a:lnTo>
                    <a:pt x="734051" y="1278814"/>
                  </a:lnTo>
                  <a:lnTo>
                    <a:pt x="739515" y="1324351"/>
                  </a:lnTo>
                  <a:lnTo>
                    <a:pt x="752266" y="1357137"/>
                  </a:lnTo>
                  <a:lnTo>
                    <a:pt x="750444" y="1395388"/>
                  </a:lnTo>
                  <a:lnTo>
                    <a:pt x="775945" y="1428175"/>
                  </a:lnTo>
                  <a:lnTo>
                    <a:pt x="792338" y="1428175"/>
                  </a:lnTo>
                  <a:lnTo>
                    <a:pt x="823303" y="1459140"/>
                  </a:lnTo>
                  <a:lnTo>
                    <a:pt x="836053" y="1459140"/>
                  </a:lnTo>
                  <a:lnTo>
                    <a:pt x="839696" y="1470069"/>
                  </a:lnTo>
                  <a:lnTo>
                    <a:pt x="836053" y="1495569"/>
                  </a:lnTo>
                  <a:lnTo>
                    <a:pt x="834232" y="1497391"/>
                  </a:lnTo>
                  <a:lnTo>
                    <a:pt x="828767" y="1497391"/>
                  </a:lnTo>
                  <a:lnTo>
                    <a:pt x="825124" y="1495569"/>
                  </a:lnTo>
                  <a:lnTo>
                    <a:pt x="823303" y="1484641"/>
                  </a:lnTo>
                  <a:lnTo>
                    <a:pt x="819660" y="1495569"/>
                  </a:lnTo>
                  <a:lnTo>
                    <a:pt x="819660" y="1497391"/>
                  </a:lnTo>
                  <a:lnTo>
                    <a:pt x="812374" y="1495569"/>
                  </a:lnTo>
                  <a:lnTo>
                    <a:pt x="812374" y="1491926"/>
                  </a:lnTo>
                  <a:lnTo>
                    <a:pt x="806910" y="1480998"/>
                  </a:lnTo>
                  <a:lnTo>
                    <a:pt x="795981" y="1490105"/>
                  </a:lnTo>
                  <a:lnTo>
                    <a:pt x="797802" y="1502855"/>
                  </a:lnTo>
                  <a:lnTo>
                    <a:pt x="797802" y="1506498"/>
                  </a:lnTo>
                  <a:lnTo>
                    <a:pt x="792338" y="1506498"/>
                  </a:lnTo>
                  <a:lnTo>
                    <a:pt x="790516" y="1502855"/>
                  </a:lnTo>
                  <a:lnTo>
                    <a:pt x="785052" y="1502855"/>
                  </a:lnTo>
                  <a:lnTo>
                    <a:pt x="785052" y="1521070"/>
                  </a:lnTo>
                  <a:lnTo>
                    <a:pt x="806910" y="1506498"/>
                  </a:lnTo>
                  <a:lnTo>
                    <a:pt x="808731" y="1506498"/>
                  </a:lnTo>
                  <a:lnTo>
                    <a:pt x="812374" y="1508320"/>
                  </a:lnTo>
                  <a:lnTo>
                    <a:pt x="812374" y="1511963"/>
                  </a:lnTo>
                  <a:lnTo>
                    <a:pt x="806910" y="1524713"/>
                  </a:lnTo>
                  <a:lnTo>
                    <a:pt x="819660" y="1530177"/>
                  </a:lnTo>
                  <a:lnTo>
                    <a:pt x="823303" y="1530177"/>
                  </a:lnTo>
                  <a:lnTo>
                    <a:pt x="823303" y="1531999"/>
                  </a:lnTo>
                  <a:lnTo>
                    <a:pt x="786873" y="1557499"/>
                  </a:lnTo>
                  <a:lnTo>
                    <a:pt x="781409" y="1557499"/>
                  </a:lnTo>
                  <a:lnTo>
                    <a:pt x="768659" y="1553856"/>
                  </a:lnTo>
                  <a:lnTo>
                    <a:pt x="752266" y="1548392"/>
                  </a:lnTo>
                  <a:lnTo>
                    <a:pt x="739515" y="1546571"/>
                  </a:lnTo>
                  <a:lnTo>
                    <a:pt x="730408" y="1546571"/>
                  </a:lnTo>
                  <a:lnTo>
                    <a:pt x="730408" y="1542928"/>
                  </a:lnTo>
                  <a:lnTo>
                    <a:pt x="735872" y="1535642"/>
                  </a:lnTo>
                  <a:lnTo>
                    <a:pt x="706729" y="1526534"/>
                  </a:lnTo>
                  <a:lnTo>
                    <a:pt x="703086" y="1526534"/>
                  </a:lnTo>
                  <a:lnTo>
                    <a:pt x="703086" y="1513784"/>
                  </a:lnTo>
                  <a:lnTo>
                    <a:pt x="701264" y="1508320"/>
                  </a:lnTo>
                  <a:lnTo>
                    <a:pt x="683050" y="1541106"/>
                  </a:lnTo>
                  <a:lnTo>
                    <a:pt x="652085" y="1542928"/>
                  </a:lnTo>
                  <a:lnTo>
                    <a:pt x="630227" y="1564785"/>
                  </a:lnTo>
                  <a:lnTo>
                    <a:pt x="624763" y="1564785"/>
                  </a:lnTo>
                  <a:lnTo>
                    <a:pt x="606548" y="1568428"/>
                  </a:lnTo>
                  <a:lnTo>
                    <a:pt x="584690" y="1570250"/>
                  </a:lnTo>
                  <a:lnTo>
                    <a:pt x="546440" y="1575714"/>
                  </a:lnTo>
                  <a:lnTo>
                    <a:pt x="540975" y="1575714"/>
                  </a:lnTo>
                  <a:lnTo>
                    <a:pt x="540975" y="1573893"/>
                  </a:lnTo>
                  <a:lnTo>
                    <a:pt x="544618" y="1568428"/>
                  </a:lnTo>
                  <a:lnTo>
                    <a:pt x="533689" y="1559321"/>
                  </a:lnTo>
                  <a:lnTo>
                    <a:pt x="531868" y="1548392"/>
                  </a:lnTo>
                  <a:lnTo>
                    <a:pt x="531868" y="1537463"/>
                  </a:lnTo>
                  <a:lnTo>
                    <a:pt x="504546" y="1521070"/>
                  </a:lnTo>
                  <a:lnTo>
                    <a:pt x="460831" y="1511963"/>
                  </a:lnTo>
                  <a:lnTo>
                    <a:pt x="442616" y="1470069"/>
                  </a:lnTo>
                  <a:lnTo>
                    <a:pt x="515475" y="1448211"/>
                  </a:lnTo>
                  <a:lnTo>
                    <a:pt x="557368" y="1453675"/>
                  </a:lnTo>
                  <a:lnTo>
                    <a:pt x="566476" y="1442747"/>
                  </a:lnTo>
                  <a:lnTo>
                    <a:pt x="526403" y="1424532"/>
                  </a:lnTo>
                  <a:lnTo>
                    <a:pt x="489974" y="1437282"/>
                  </a:lnTo>
                  <a:lnTo>
                    <a:pt x="438973" y="1429996"/>
                  </a:lnTo>
                  <a:lnTo>
                    <a:pt x="437151" y="1429996"/>
                  </a:lnTo>
                  <a:lnTo>
                    <a:pt x="420758" y="1400853"/>
                  </a:lnTo>
                  <a:lnTo>
                    <a:pt x="420758" y="1397210"/>
                  </a:lnTo>
                  <a:lnTo>
                    <a:pt x="422580" y="1397210"/>
                  </a:lnTo>
                  <a:lnTo>
                    <a:pt x="477224" y="1375352"/>
                  </a:lnTo>
                  <a:lnTo>
                    <a:pt x="473581" y="1369888"/>
                  </a:lnTo>
                  <a:lnTo>
                    <a:pt x="479045" y="1364423"/>
                  </a:lnTo>
                  <a:lnTo>
                    <a:pt x="473581" y="1364423"/>
                  </a:lnTo>
                  <a:lnTo>
                    <a:pt x="460831" y="1368066"/>
                  </a:lnTo>
                  <a:lnTo>
                    <a:pt x="444437" y="1373531"/>
                  </a:lnTo>
                  <a:lnTo>
                    <a:pt x="431687" y="1375352"/>
                  </a:lnTo>
                  <a:lnTo>
                    <a:pt x="422580" y="1375352"/>
                  </a:lnTo>
                  <a:lnTo>
                    <a:pt x="420758" y="1369888"/>
                  </a:lnTo>
                  <a:lnTo>
                    <a:pt x="420758" y="1368066"/>
                  </a:lnTo>
                  <a:lnTo>
                    <a:pt x="422580" y="1368066"/>
                  </a:lnTo>
                  <a:lnTo>
                    <a:pt x="431687" y="1362602"/>
                  </a:lnTo>
                  <a:lnTo>
                    <a:pt x="431687" y="1355316"/>
                  </a:lnTo>
                  <a:lnTo>
                    <a:pt x="417115" y="1355316"/>
                  </a:lnTo>
                  <a:lnTo>
                    <a:pt x="411651" y="1357137"/>
                  </a:lnTo>
                  <a:lnTo>
                    <a:pt x="406187" y="1357137"/>
                  </a:lnTo>
                  <a:lnTo>
                    <a:pt x="406187" y="1355316"/>
                  </a:lnTo>
                  <a:lnTo>
                    <a:pt x="404365" y="1338923"/>
                  </a:lnTo>
                  <a:lnTo>
                    <a:pt x="426223" y="1307958"/>
                  </a:lnTo>
                  <a:lnTo>
                    <a:pt x="417115" y="1300672"/>
                  </a:lnTo>
                  <a:lnTo>
                    <a:pt x="417115" y="1297029"/>
                  </a:lnTo>
                  <a:lnTo>
                    <a:pt x="422580" y="1276993"/>
                  </a:lnTo>
                  <a:close/>
                  <a:moveTo>
                    <a:pt x="1311456" y="1198669"/>
                  </a:moveTo>
                  <a:lnTo>
                    <a:pt x="1356993" y="1198669"/>
                  </a:lnTo>
                  <a:lnTo>
                    <a:pt x="1395244" y="1207777"/>
                  </a:lnTo>
                  <a:lnTo>
                    <a:pt x="1397065" y="1207777"/>
                  </a:lnTo>
                  <a:lnTo>
                    <a:pt x="1424387" y="1256957"/>
                  </a:lnTo>
                  <a:lnTo>
                    <a:pt x="1428030" y="1256957"/>
                  </a:lnTo>
                  <a:lnTo>
                    <a:pt x="1428030" y="1260600"/>
                  </a:lnTo>
                  <a:lnTo>
                    <a:pt x="1418923" y="1260600"/>
                  </a:lnTo>
                  <a:lnTo>
                    <a:pt x="1402530" y="1262421"/>
                  </a:lnTo>
                  <a:lnTo>
                    <a:pt x="1384315" y="1266064"/>
                  </a:lnTo>
                  <a:lnTo>
                    <a:pt x="1367922" y="1271529"/>
                  </a:lnTo>
                  <a:lnTo>
                    <a:pt x="1351528" y="1273350"/>
                  </a:lnTo>
                  <a:lnTo>
                    <a:pt x="1346064" y="1273350"/>
                  </a:lnTo>
                  <a:lnTo>
                    <a:pt x="1329671" y="1262421"/>
                  </a:lnTo>
                  <a:lnTo>
                    <a:pt x="1329671" y="1260600"/>
                  </a:lnTo>
                  <a:lnTo>
                    <a:pt x="1324206" y="1235099"/>
                  </a:lnTo>
                  <a:lnTo>
                    <a:pt x="1307813" y="1222348"/>
                  </a:lnTo>
                  <a:close/>
                  <a:moveTo>
                    <a:pt x="701265" y="1187742"/>
                  </a:moveTo>
                  <a:lnTo>
                    <a:pt x="719480" y="1187742"/>
                  </a:lnTo>
                  <a:lnTo>
                    <a:pt x="724944" y="1189564"/>
                  </a:lnTo>
                  <a:lnTo>
                    <a:pt x="744981" y="1189564"/>
                  </a:lnTo>
                  <a:lnTo>
                    <a:pt x="750445" y="1200492"/>
                  </a:lnTo>
                  <a:lnTo>
                    <a:pt x="750445" y="1202314"/>
                  </a:lnTo>
                  <a:lnTo>
                    <a:pt x="739516" y="1240565"/>
                  </a:lnTo>
                  <a:lnTo>
                    <a:pt x="730409" y="1256958"/>
                  </a:lnTo>
                  <a:lnTo>
                    <a:pt x="728587" y="1256958"/>
                  </a:lnTo>
                  <a:lnTo>
                    <a:pt x="688515" y="1211421"/>
                  </a:lnTo>
                  <a:lnTo>
                    <a:pt x="688515" y="1207778"/>
                  </a:lnTo>
                  <a:close/>
                  <a:moveTo>
                    <a:pt x="1151166" y="1187739"/>
                  </a:moveTo>
                  <a:lnTo>
                    <a:pt x="1214917" y="1187739"/>
                  </a:lnTo>
                  <a:lnTo>
                    <a:pt x="1183952" y="1235097"/>
                  </a:lnTo>
                  <a:lnTo>
                    <a:pt x="1173023" y="1278813"/>
                  </a:lnTo>
                  <a:lnTo>
                    <a:pt x="1182131" y="1297027"/>
                  </a:lnTo>
                  <a:lnTo>
                    <a:pt x="1176666" y="1324349"/>
                  </a:lnTo>
                  <a:lnTo>
                    <a:pt x="1182131" y="1335278"/>
                  </a:lnTo>
                  <a:lnTo>
                    <a:pt x="1214917" y="1380815"/>
                  </a:lnTo>
                  <a:lnTo>
                    <a:pt x="1183952" y="1395387"/>
                  </a:lnTo>
                  <a:lnTo>
                    <a:pt x="1209453" y="1389922"/>
                  </a:lnTo>
                  <a:lnTo>
                    <a:pt x="1211274" y="1389922"/>
                  </a:lnTo>
                  <a:lnTo>
                    <a:pt x="1211274" y="1391744"/>
                  </a:lnTo>
                  <a:lnTo>
                    <a:pt x="1214917" y="1400851"/>
                  </a:lnTo>
                  <a:lnTo>
                    <a:pt x="1214917" y="1397208"/>
                  </a:lnTo>
                  <a:lnTo>
                    <a:pt x="1216738" y="1357136"/>
                  </a:lnTo>
                  <a:lnTo>
                    <a:pt x="1203988" y="1351671"/>
                  </a:lnTo>
                  <a:lnTo>
                    <a:pt x="1200345" y="1351671"/>
                  </a:lnTo>
                  <a:lnTo>
                    <a:pt x="1187595" y="1329814"/>
                  </a:lnTo>
                  <a:lnTo>
                    <a:pt x="1187595" y="1327992"/>
                  </a:lnTo>
                  <a:lnTo>
                    <a:pt x="1211274" y="1300670"/>
                  </a:lnTo>
                  <a:lnTo>
                    <a:pt x="1198524" y="1295206"/>
                  </a:lnTo>
                  <a:lnTo>
                    <a:pt x="1193059" y="1260598"/>
                  </a:lnTo>
                  <a:lnTo>
                    <a:pt x="1193059" y="1256955"/>
                  </a:lnTo>
                  <a:lnTo>
                    <a:pt x="1194881" y="1256955"/>
                  </a:lnTo>
                  <a:lnTo>
                    <a:pt x="1227667" y="1266062"/>
                  </a:lnTo>
                  <a:lnTo>
                    <a:pt x="1198524" y="1244205"/>
                  </a:lnTo>
                  <a:lnTo>
                    <a:pt x="1198524" y="1240562"/>
                  </a:lnTo>
                  <a:lnTo>
                    <a:pt x="1211274" y="1240562"/>
                  </a:lnTo>
                  <a:lnTo>
                    <a:pt x="1216738" y="1244205"/>
                  </a:lnTo>
                  <a:lnTo>
                    <a:pt x="1229489" y="1244205"/>
                  </a:lnTo>
                  <a:lnTo>
                    <a:pt x="1214917" y="1235097"/>
                  </a:lnTo>
                  <a:lnTo>
                    <a:pt x="1209453" y="1229633"/>
                  </a:lnTo>
                  <a:lnTo>
                    <a:pt x="1209453" y="1222347"/>
                  </a:lnTo>
                  <a:lnTo>
                    <a:pt x="1211274" y="1222347"/>
                  </a:lnTo>
                  <a:lnTo>
                    <a:pt x="1225846" y="1227811"/>
                  </a:lnTo>
                  <a:lnTo>
                    <a:pt x="1222203" y="1213240"/>
                  </a:lnTo>
                  <a:lnTo>
                    <a:pt x="1225846" y="1213240"/>
                  </a:lnTo>
                  <a:lnTo>
                    <a:pt x="1244061" y="1222347"/>
                  </a:lnTo>
                  <a:lnTo>
                    <a:pt x="1244061" y="1216882"/>
                  </a:lnTo>
                  <a:lnTo>
                    <a:pt x="1234953" y="1211418"/>
                  </a:lnTo>
                  <a:lnTo>
                    <a:pt x="1234953" y="1207775"/>
                  </a:lnTo>
                  <a:lnTo>
                    <a:pt x="1244061" y="1200489"/>
                  </a:lnTo>
                  <a:lnTo>
                    <a:pt x="1295062" y="1187739"/>
                  </a:lnTo>
                  <a:lnTo>
                    <a:pt x="1302348" y="1222347"/>
                  </a:lnTo>
                  <a:lnTo>
                    <a:pt x="1298705" y="1229633"/>
                  </a:lnTo>
                  <a:lnTo>
                    <a:pt x="1316919" y="1240562"/>
                  </a:lnTo>
                  <a:lnTo>
                    <a:pt x="1316919" y="1244205"/>
                  </a:lnTo>
                  <a:lnTo>
                    <a:pt x="1313276" y="1256955"/>
                  </a:lnTo>
                  <a:lnTo>
                    <a:pt x="1322384" y="1271527"/>
                  </a:lnTo>
                  <a:lnTo>
                    <a:pt x="1324205" y="1271527"/>
                  </a:lnTo>
                  <a:lnTo>
                    <a:pt x="1324205" y="1273348"/>
                  </a:lnTo>
                  <a:lnTo>
                    <a:pt x="1311455" y="1313421"/>
                  </a:lnTo>
                  <a:lnTo>
                    <a:pt x="1316919" y="1318885"/>
                  </a:lnTo>
                  <a:lnTo>
                    <a:pt x="1316919" y="1322528"/>
                  </a:lnTo>
                  <a:lnTo>
                    <a:pt x="1307812" y="1324349"/>
                  </a:lnTo>
                  <a:lnTo>
                    <a:pt x="1307812" y="1333457"/>
                  </a:lnTo>
                  <a:lnTo>
                    <a:pt x="1327848" y="1311599"/>
                  </a:lnTo>
                  <a:lnTo>
                    <a:pt x="1333313" y="1286098"/>
                  </a:lnTo>
                  <a:lnTo>
                    <a:pt x="1335134" y="1286098"/>
                  </a:lnTo>
                  <a:lnTo>
                    <a:pt x="1335134" y="1300670"/>
                  </a:lnTo>
                  <a:lnTo>
                    <a:pt x="1355170" y="1307956"/>
                  </a:lnTo>
                  <a:lnTo>
                    <a:pt x="1367920" y="1297027"/>
                  </a:lnTo>
                  <a:lnTo>
                    <a:pt x="1362456" y="1286098"/>
                  </a:lnTo>
                  <a:lnTo>
                    <a:pt x="1362456" y="1284277"/>
                  </a:lnTo>
                  <a:lnTo>
                    <a:pt x="1386135" y="1271527"/>
                  </a:lnTo>
                  <a:lnTo>
                    <a:pt x="1386135" y="1267884"/>
                  </a:lnTo>
                  <a:lnTo>
                    <a:pt x="1389778" y="1267884"/>
                  </a:lnTo>
                  <a:lnTo>
                    <a:pt x="1435315" y="1280634"/>
                  </a:lnTo>
                  <a:lnTo>
                    <a:pt x="1451708" y="1302492"/>
                  </a:lnTo>
                  <a:lnTo>
                    <a:pt x="1451708" y="1306135"/>
                  </a:lnTo>
                  <a:lnTo>
                    <a:pt x="1449887" y="1318885"/>
                  </a:lnTo>
                  <a:lnTo>
                    <a:pt x="1468101" y="1322528"/>
                  </a:lnTo>
                  <a:lnTo>
                    <a:pt x="1468101" y="1340743"/>
                  </a:lnTo>
                  <a:lnTo>
                    <a:pt x="1455351" y="1349850"/>
                  </a:lnTo>
                  <a:lnTo>
                    <a:pt x="1484495" y="1344386"/>
                  </a:lnTo>
                  <a:lnTo>
                    <a:pt x="1486316" y="1344386"/>
                  </a:lnTo>
                  <a:lnTo>
                    <a:pt x="1475387" y="1364422"/>
                  </a:lnTo>
                  <a:lnTo>
                    <a:pt x="1484495" y="1358957"/>
                  </a:lnTo>
                  <a:lnTo>
                    <a:pt x="1484495" y="1369886"/>
                  </a:lnTo>
                  <a:lnTo>
                    <a:pt x="1489959" y="1375351"/>
                  </a:lnTo>
                  <a:lnTo>
                    <a:pt x="1489959" y="1362600"/>
                  </a:lnTo>
                  <a:lnTo>
                    <a:pt x="1500888" y="1362600"/>
                  </a:lnTo>
                  <a:lnTo>
                    <a:pt x="1508174" y="1349850"/>
                  </a:lnTo>
                  <a:lnTo>
                    <a:pt x="1511817" y="1349850"/>
                  </a:lnTo>
                  <a:lnTo>
                    <a:pt x="1537317" y="1364422"/>
                  </a:lnTo>
                  <a:lnTo>
                    <a:pt x="1546424" y="1386279"/>
                  </a:lnTo>
                  <a:lnTo>
                    <a:pt x="1542782" y="1391744"/>
                  </a:lnTo>
                  <a:lnTo>
                    <a:pt x="1542782" y="1395387"/>
                  </a:lnTo>
                  <a:lnTo>
                    <a:pt x="1530031" y="1397208"/>
                  </a:lnTo>
                  <a:lnTo>
                    <a:pt x="1557353" y="1397208"/>
                  </a:lnTo>
                  <a:lnTo>
                    <a:pt x="1557353" y="1400851"/>
                  </a:lnTo>
                  <a:lnTo>
                    <a:pt x="1559175" y="1408137"/>
                  </a:lnTo>
                  <a:lnTo>
                    <a:pt x="1551889" y="1424530"/>
                  </a:lnTo>
                  <a:lnTo>
                    <a:pt x="1573747" y="1413601"/>
                  </a:lnTo>
                  <a:lnTo>
                    <a:pt x="1573747" y="1417244"/>
                  </a:lnTo>
                  <a:lnTo>
                    <a:pt x="1564639" y="1433638"/>
                  </a:lnTo>
                  <a:lnTo>
                    <a:pt x="1581032" y="1419066"/>
                  </a:lnTo>
                  <a:lnTo>
                    <a:pt x="1608354" y="1429995"/>
                  </a:lnTo>
                  <a:lnTo>
                    <a:pt x="1608354" y="1448209"/>
                  </a:lnTo>
                  <a:lnTo>
                    <a:pt x="1606533" y="1448209"/>
                  </a:lnTo>
                  <a:lnTo>
                    <a:pt x="1584675" y="1462781"/>
                  </a:lnTo>
                  <a:lnTo>
                    <a:pt x="1590140" y="1462781"/>
                  </a:lnTo>
                  <a:lnTo>
                    <a:pt x="1597426" y="1459138"/>
                  </a:lnTo>
                  <a:lnTo>
                    <a:pt x="1606533" y="1459138"/>
                  </a:lnTo>
                  <a:lnTo>
                    <a:pt x="1606533" y="1462781"/>
                  </a:lnTo>
                  <a:lnTo>
                    <a:pt x="1597426" y="1473710"/>
                  </a:lnTo>
                  <a:lnTo>
                    <a:pt x="1610176" y="1464603"/>
                  </a:lnTo>
                  <a:lnTo>
                    <a:pt x="1613819" y="1453674"/>
                  </a:lnTo>
                  <a:lnTo>
                    <a:pt x="1613819" y="1451852"/>
                  </a:lnTo>
                  <a:lnTo>
                    <a:pt x="1615640" y="1451852"/>
                  </a:lnTo>
                  <a:lnTo>
                    <a:pt x="1615640" y="1453674"/>
                  </a:lnTo>
                  <a:lnTo>
                    <a:pt x="1637498" y="1479174"/>
                  </a:lnTo>
                  <a:lnTo>
                    <a:pt x="1641141" y="1484639"/>
                  </a:lnTo>
                  <a:lnTo>
                    <a:pt x="1641141" y="1486460"/>
                  </a:lnTo>
                  <a:lnTo>
                    <a:pt x="1637498" y="1491925"/>
                  </a:lnTo>
                  <a:lnTo>
                    <a:pt x="1602890" y="1506496"/>
                  </a:lnTo>
                  <a:lnTo>
                    <a:pt x="1653891" y="1521068"/>
                  </a:lnTo>
                  <a:lnTo>
                    <a:pt x="1653891" y="1524711"/>
                  </a:lnTo>
                  <a:lnTo>
                    <a:pt x="1608354" y="1530176"/>
                  </a:lnTo>
                  <a:lnTo>
                    <a:pt x="1624748" y="1541104"/>
                  </a:lnTo>
                  <a:lnTo>
                    <a:pt x="1615640" y="1548390"/>
                  </a:lnTo>
                  <a:lnTo>
                    <a:pt x="1626569" y="1562962"/>
                  </a:lnTo>
                  <a:lnTo>
                    <a:pt x="1624748" y="1562962"/>
                  </a:lnTo>
                  <a:lnTo>
                    <a:pt x="1624748" y="1564783"/>
                  </a:lnTo>
                  <a:lnTo>
                    <a:pt x="1613819" y="1568426"/>
                  </a:lnTo>
                  <a:lnTo>
                    <a:pt x="1648427" y="1581177"/>
                  </a:lnTo>
                  <a:lnTo>
                    <a:pt x="1652070" y="1581177"/>
                  </a:lnTo>
                  <a:lnTo>
                    <a:pt x="1646605" y="1592106"/>
                  </a:lnTo>
                  <a:lnTo>
                    <a:pt x="1662999" y="1592106"/>
                  </a:lnTo>
                  <a:lnTo>
                    <a:pt x="1664820" y="1597570"/>
                  </a:lnTo>
                  <a:lnTo>
                    <a:pt x="1664820" y="1599391"/>
                  </a:lnTo>
                  <a:lnTo>
                    <a:pt x="1662999" y="1604856"/>
                  </a:lnTo>
                  <a:lnTo>
                    <a:pt x="1668463" y="1610320"/>
                  </a:lnTo>
                  <a:lnTo>
                    <a:pt x="1688499" y="1603034"/>
                  </a:lnTo>
                  <a:lnTo>
                    <a:pt x="1692142" y="1603034"/>
                  </a:lnTo>
                  <a:lnTo>
                    <a:pt x="1688499" y="1615785"/>
                  </a:lnTo>
                  <a:lnTo>
                    <a:pt x="1703071" y="1619428"/>
                  </a:lnTo>
                  <a:lnTo>
                    <a:pt x="1715821" y="1643107"/>
                  </a:lnTo>
                  <a:lnTo>
                    <a:pt x="1715821" y="1646750"/>
                  </a:lnTo>
                  <a:lnTo>
                    <a:pt x="1710357" y="1654036"/>
                  </a:lnTo>
                  <a:lnTo>
                    <a:pt x="1719464" y="1654036"/>
                  </a:lnTo>
                  <a:lnTo>
                    <a:pt x="1724929" y="1652214"/>
                  </a:lnTo>
                  <a:lnTo>
                    <a:pt x="1737679" y="1652214"/>
                  </a:lnTo>
                  <a:lnTo>
                    <a:pt x="1732214" y="1672250"/>
                  </a:lnTo>
                  <a:lnTo>
                    <a:pt x="1757715" y="1666786"/>
                  </a:lnTo>
                  <a:lnTo>
                    <a:pt x="1775930" y="1692286"/>
                  </a:lnTo>
                  <a:lnTo>
                    <a:pt x="1777751" y="1692286"/>
                  </a:lnTo>
                  <a:lnTo>
                    <a:pt x="1775930" y="1694108"/>
                  </a:lnTo>
                  <a:lnTo>
                    <a:pt x="1770465" y="1705037"/>
                  </a:lnTo>
                  <a:lnTo>
                    <a:pt x="1772287" y="1708680"/>
                  </a:lnTo>
                  <a:lnTo>
                    <a:pt x="1772287" y="1710501"/>
                  </a:lnTo>
                  <a:lnTo>
                    <a:pt x="1770465" y="1714144"/>
                  </a:lnTo>
                  <a:lnTo>
                    <a:pt x="1754072" y="1714144"/>
                  </a:lnTo>
                  <a:lnTo>
                    <a:pt x="1748608" y="1725073"/>
                  </a:lnTo>
                  <a:lnTo>
                    <a:pt x="1759536" y="1725073"/>
                  </a:lnTo>
                  <a:lnTo>
                    <a:pt x="1761358" y="1726894"/>
                  </a:lnTo>
                  <a:lnTo>
                    <a:pt x="1759536" y="1726894"/>
                  </a:lnTo>
                  <a:lnTo>
                    <a:pt x="1752251" y="1732359"/>
                  </a:lnTo>
                  <a:lnTo>
                    <a:pt x="1746786" y="1754216"/>
                  </a:lnTo>
                  <a:lnTo>
                    <a:pt x="1743143" y="1754216"/>
                  </a:lnTo>
                  <a:lnTo>
                    <a:pt x="1730393" y="1745109"/>
                  </a:lnTo>
                  <a:lnTo>
                    <a:pt x="1732214" y="1766967"/>
                  </a:lnTo>
                  <a:lnTo>
                    <a:pt x="1724929" y="1792467"/>
                  </a:lnTo>
                  <a:lnTo>
                    <a:pt x="1721286" y="1792467"/>
                  </a:lnTo>
                  <a:lnTo>
                    <a:pt x="1708535" y="1772431"/>
                  </a:lnTo>
                  <a:lnTo>
                    <a:pt x="1699428" y="1776074"/>
                  </a:lnTo>
                  <a:lnTo>
                    <a:pt x="1693964" y="1770610"/>
                  </a:lnTo>
                  <a:lnTo>
                    <a:pt x="1693964" y="1759681"/>
                  </a:lnTo>
                  <a:lnTo>
                    <a:pt x="1692142" y="1761502"/>
                  </a:lnTo>
                  <a:lnTo>
                    <a:pt x="1688499" y="1761502"/>
                  </a:lnTo>
                  <a:lnTo>
                    <a:pt x="1681213" y="1745109"/>
                  </a:lnTo>
                  <a:lnTo>
                    <a:pt x="1681213" y="1730537"/>
                  </a:lnTo>
                  <a:lnTo>
                    <a:pt x="1675749" y="1730537"/>
                  </a:lnTo>
                  <a:lnTo>
                    <a:pt x="1673927" y="1732359"/>
                  </a:lnTo>
                  <a:lnTo>
                    <a:pt x="1668463" y="1732359"/>
                  </a:lnTo>
                  <a:lnTo>
                    <a:pt x="1668463" y="1730537"/>
                  </a:lnTo>
                  <a:lnTo>
                    <a:pt x="1664820" y="1721430"/>
                  </a:lnTo>
                  <a:lnTo>
                    <a:pt x="1642962" y="1710501"/>
                  </a:lnTo>
                  <a:lnTo>
                    <a:pt x="1641141" y="1708680"/>
                  </a:lnTo>
                  <a:lnTo>
                    <a:pt x="1642962" y="1697751"/>
                  </a:lnTo>
                  <a:lnTo>
                    <a:pt x="1632034" y="1697751"/>
                  </a:lnTo>
                  <a:lnTo>
                    <a:pt x="1637498" y="1708680"/>
                  </a:lnTo>
                  <a:lnTo>
                    <a:pt x="1637498" y="1710501"/>
                  </a:lnTo>
                  <a:lnTo>
                    <a:pt x="1635677" y="1710501"/>
                  </a:lnTo>
                  <a:lnTo>
                    <a:pt x="1624748" y="1703215"/>
                  </a:lnTo>
                  <a:lnTo>
                    <a:pt x="1615640" y="1705037"/>
                  </a:lnTo>
                  <a:lnTo>
                    <a:pt x="1641141" y="1730537"/>
                  </a:lnTo>
                  <a:lnTo>
                    <a:pt x="1641141" y="1732359"/>
                  </a:lnTo>
                  <a:lnTo>
                    <a:pt x="1621105" y="1736002"/>
                  </a:lnTo>
                  <a:lnTo>
                    <a:pt x="1621105" y="1748752"/>
                  </a:lnTo>
                  <a:lnTo>
                    <a:pt x="1637498" y="1748752"/>
                  </a:lnTo>
                  <a:lnTo>
                    <a:pt x="1637498" y="1770610"/>
                  </a:lnTo>
                  <a:lnTo>
                    <a:pt x="1642962" y="1772431"/>
                  </a:lnTo>
                  <a:lnTo>
                    <a:pt x="1648427" y="1792467"/>
                  </a:lnTo>
                  <a:lnTo>
                    <a:pt x="1652070" y="1788824"/>
                  </a:lnTo>
                  <a:lnTo>
                    <a:pt x="1664820" y="1788824"/>
                  </a:lnTo>
                  <a:lnTo>
                    <a:pt x="1662999" y="1794289"/>
                  </a:lnTo>
                  <a:lnTo>
                    <a:pt x="1673927" y="1792467"/>
                  </a:lnTo>
                  <a:lnTo>
                    <a:pt x="1675749" y="1792467"/>
                  </a:lnTo>
                  <a:lnTo>
                    <a:pt x="1675749" y="1803396"/>
                  </a:lnTo>
                  <a:lnTo>
                    <a:pt x="1681213" y="1799753"/>
                  </a:lnTo>
                  <a:lnTo>
                    <a:pt x="1692142" y="1808860"/>
                  </a:lnTo>
                  <a:lnTo>
                    <a:pt x="1686678" y="1832540"/>
                  </a:lnTo>
                  <a:lnTo>
                    <a:pt x="1699428" y="1838004"/>
                  </a:lnTo>
                  <a:lnTo>
                    <a:pt x="1704892" y="1854397"/>
                  </a:lnTo>
                  <a:lnTo>
                    <a:pt x="1703071" y="1878076"/>
                  </a:lnTo>
                  <a:lnTo>
                    <a:pt x="1699428" y="1878076"/>
                  </a:lnTo>
                  <a:lnTo>
                    <a:pt x="1692142" y="1872612"/>
                  </a:lnTo>
                  <a:lnTo>
                    <a:pt x="1692142" y="1878076"/>
                  </a:lnTo>
                  <a:lnTo>
                    <a:pt x="1699428" y="1889005"/>
                  </a:lnTo>
                  <a:lnTo>
                    <a:pt x="1703071" y="1899934"/>
                  </a:lnTo>
                  <a:lnTo>
                    <a:pt x="1703071" y="1901755"/>
                  </a:lnTo>
                  <a:lnTo>
                    <a:pt x="1699428" y="1901755"/>
                  </a:lnTo>
                  <a:lnTo>
                    <a:pt x="1697606" y="1899934"/>
                  </a:lnTo>
                  <a:lnTo>
                    <a:pt x="1692142" y="1899934"/>
                  </a:lnTo>
                  <a:lnTo>
                    <a:pt x="1697606" y="1912684"/>
                  </a:lnTo>
                  <a:lnTo>
                    <a:pt x="1697606" y="1916327"/>
                  </a:lnTo>
                  <a:lnTo>
                    <a:pt x="1693964" y="1918149"/>
                  </a:lnTo>
                  <a:lnTo>
                    <a:pt x="1692142" y="1918149"/>
                  </a:lnTo>
                  <a:lnTo>
                    <a:pt x="1679392" y="1894470"/>
                  </a:lnTo>
                  <a:lnTo>
                    <a:pt x="1648427" y="1892648"/>
                  </a:lnTo>
                  <a:lnTo>
                    <a:pt x="1626569" y="1865326"/>
                  </a:lnTo>
                  <a:lnTo>
                    <a:pt x="1619283" y="1870790"/>
                  </a:lnTo>
                  <a:lnTo>
                    <a:pt x="1615640" y="1870790"/>
                  </a:lnTo>
                  <a:lnTo>
                    <a:pt x="1602890" y="1854397"/>
                  </a:lnTo>
                  <a:lnTo>
                    <a:pt x="1601069" y="1854397"/>
                  </a:lnTo>
                  <a:lnTo>
                    <a:pt x="1606533" y="1861683"/>
                  </a:lnTo>
                  <a:lnTo>
                    <a:pt x="1626569" y="1892648"/>
                  </a:lnTo>
                  <a:lnTo>
                    <a:pt x="1664820" y="1927256"/>
                  </a:lnTo>
                  <a:lnTo>
                    <a:pt x="1668463" y="1949114"/>
                  </a:lnTo>
                  <a:lnTo>
                    <a:pt x="1668463" y="1950935"/>
                  </a:lnTo>
                  <a:lnTo>
                    <a:pt x="1657534" y="1950935"/>
                  </a:lnTo>
                  <a:lnTo>
                    <a:pt x="1646605" y="1940006"/>
                  </a:lnTo>
                  <a:lnTo>
                    <a:pt x="1635677" y="1943649"/>
                  </a:lnTo>
                  <a:lnTo>
                    <a:pt x="1606533" y="1932720"/>
                  </a:lnTo>
                  <a:lnTo>
                    <a:pt x="1601069" y="1921792"/>
                  </a:lnTo>
                  <a:lnTo>
                    <a:pt x="1595604" y="1923613"/>
                  </a:lnTo>
                  <a:lnTo>
                    <a:pt x="1591961" y="1923613"/>
                  </a:lnTo>
                  <a:lnTo>
                    <a:pt x="1584675" y="1905398"/>
                  </a:lnTo>
                  <a:lnTo>
                    <a:pt x="1575568" y="1907220"/>
                  </a:lnTo>
                  <a:lnTo>
                    <a:pt x="1573747" y="1907220"/>
                  </a:lnTo>
                  <a:lnTo>
                    <a:pt x="1573747" y="1899934"/>
                  </a:lnTo>
                  <a:lnTo>
                    <a:pt x="1564639" y="1905398"/>
                  </a:lnTo>
                  <a:lnTo>
                    <a:pt x="1562818" y="1905398"/>
                  </a:lnTo>
                  <a:lnTo>
                    <a:pt x="1540960" y="1894470"/>
                  </a:lnTo>
                  <a:lnTo>
                    <a:pt x="1519102" y="1865326"/>
                  </a:lnTo>
                  <a:lnTo>
                    <a:pt x="1519102" y="1861683"/>
                  </a:lnTo>
                  <a:lnTo>
                    <a:pt x="1522745" y="1861683"/>
                  </a:lnTo>
                  <a:lnTo>
                    <a:pt x="1528210" y="1867148"/>
                  </a:lnTo>
                  <a:lnTo>
                    <a:pt x="1535496" y="1861683"/>
                  </a:lnTo>
                  <a:lnTo>
                    <a:pt x="1500888" y="1843468"/>
                  </a:lnTo>
                  <a:lnTo>
                    <a:pt x="1484495" y="1808860"/>
                  </a:lnTo>
                  <a:lnTo>
                    <a:pt x="1458994" y="1803396"/>
                  </a:lnTo>
                  <a:lnTo>
                    <a:pt x="1458994" y="1794289"/>
                  </a:lnTo>
                  <a:lnTo>
                    <a:pt x="1455351" y="1797932"/>
                  </a:lnTo>
                  <a:lnTo>
                    <a:pt x="1462637" y="1814325"/>
                  </a:lnTo>
                  <a:lnTo>
                    <a:pt x="1458994" y="1819789"/>
                  </a:lnTo>
                  <a:lnTo>
                    <a:pt x="1435315" y="1808860"/>
                  </a:lnTo>
                  <a:lnTo>
                    <a:pt x="1429850" y="1810682"/>
                  </a:lnTo>
                  <a:lnTo>
                    <a:pt x="1433493" y="1819789"/>
                  </a:lnTo>
                  <a:lnTo>
                    <a:pt x="1429850" y="1819789"/>
                  </a:lnTo>
                  <a:lnTo>
                    <a:pt x="1411636" y="1828897"/>
                  </a:lnTo>
                  <a:lnTo>
                    <a:pt x="1407993" y="1828897"/>
                  </a:lnTo>
                  <a:lnTo>
                    <a:pt x="1386135" y="1819789"/>
                  </a:lnTo>
                  <a:lnTo>
                    <a:pt x="1377028" y="1805218"/>
                  </a:lnTo>
                  <a:lnTo>
                    <a:pt x="1377028" y="1803396"/>
                  </a:lnTo>
                  <a:lnTo>
                    <a:pt x="1378849" y="1783360"/>
                  </a:lnTo>
                  <a:lnTo>
                    <a:pt x="1391600" y="1772431"/>
                  </a:lnTo>
                  <a:lnTo>
                    <a:pt x="1391600" y="1765145"/>
                  </a:lnTo>
                  <a:lnTo>
                    <a:pt x="1395243" y="1765145"/>
                  </a:lnTo>
                  <a:lnTo>
                    <a:pt x="1391600" y="1761502"/>
                  </a:lnTo>
                  <a:lnTo>
                    <a:pt x="1391600" y="1759681"/>
                  </a:lnTo>
                  <a:lnTo>
                    <a:pt x="1402528" y="1759681"/>
                  </a:lnTo>
                  <a:lnTo>
                    <a:pt x="1418922" y="1761502"/>
                  </a:lnTo>
                  <a:lnTo>
                    <a:pt x="1435315" y="1766967"/>
                  </a:lnTo>
                  <a:lnTo>
                    <a:pt x="1444422" y="1766967"/>
                  </a:lnTo>
                  <a:lnTo>
                    <a:pt x="1469923" y="1754216"/>
                  </a:lnTo>
                  <a:lnTo>
                    <a:pt x="1484495" y="1759681"/>
                  </a:lnTo>
                  <a:lnTo>
                    <a:pt x="1484495" y="1748752"/>
                  </a:lnTo>
                  <a:lnTo>
                    <a:pt x="1462637" y="1719608"/>
                  </a:lnTo>
                  <a:lnTo>
                    <a:pt x="1462637" y="1715966"/>
                  </a:lnTo>
                  <a:lnTo>
                    <a:pt x="1497245" y="1683179"/>
                  </a:lnTo>
                  <a:lnTo>
                    <a:pt x="1500888" y="1670429"/>
                  </a:lnTo>
                  <a:lnTo>
                    <a:pt x="1513638" y="1652214"/>
                  </a:lnTo>
                  <a:lnTo>
                    <a:pt x="1497245" y="1597570"/>
                  </a:lnTo>
                  <a:lnTo>
                    <a:pt x="1479030" y="1586641"/>
                  </a:lnTo>
                  <a:lnTo>
                    <a:pt x="1475387" y="1562962"/>
                  </a:lnTo>
                  <a:lnTo>
                    <a:pt x="1469923" y="1562962"/>
                  </a:lnTo>
                  <a:lnTo>
                    <a:pt x="1469923" y="1573891"/>
                  </a:lnTo>
                  <a:lnTo>
                    <a:pt x="1468101" y="1573891"/>
                  </a:lnTo>
                  <a:lnTo>
                    <a:pt x="1451708" y="1553855"/>
                  </a:lnTo>
                  <a:lnTo>
                    <a:pt x="1451708" y="1546569"/>
                  </a:lnTo>
                  <a:lnTo>
                    <a:pt x="1438958" y="1546569"/>
                  </a:lnTo>
                  <a:lnTo>
                    <a:pt x="1413457" y="1564783"/>
                  </a:lnTo>
                  <a:lnTo>
                    <a:pt x="1411636" y="1564783"/>
                  </a:lnTo>
                  <a:lnTo>
                    <a:pt x="1411636" y="1537461"/>
                  </a:lnTo>
                  <a:lnTo>
                    <a:pt x="1424386" y="1537461"/>
                  </a:lnTo>
                  <a:lnTo>
                    <a:pt x="1433493" y="1531997"/>
                  </a:lnTo>
                  <a:lnTo>
                    <a:pt x="1429850" y="1524711"/>
                  </a:lnTo>
                  <a:lnTo>
                    <a:pt x="1400707" y="1501032"/>
                  </a:lnTo>
                  <a:lnTo>
                    <a:pt x="1400707" y="1497389"/>
                  </a:lnTo>
                  <a:lnTo>
                    <a:pt x="1406171" y="1495568"/>
                  </a:lnTo>
                  <a:lnTo>
                    <a:pt x="1402528" y="1486460"/>
                  </a:lnTo>
                  <a:lnTo>
                    <a:pt x="1386135" y="1486460"/>
                  </a:lnTo>
                  <a:lnTo>
                    <a:pt x="1386135" y="1459138"/>
                  </a:lnTo>
                  <a:lnTo>
                    <a:pt x="1380671" y="1459138"/>
                  </a:lnTo>
                  <a:lnTo>
                    <a:pt x="1378849" y="1462781"/>
                  </a:lnTo>
                  <a:lnTo>
                    <a:pt x="1373385" y="1462781"/>
                  </a:lnTo>
                  <a:lnTo>
                    <a:pt x="1360635" y="1448209"/>
                  </a:lnTo>
                  <a:lnTo>
                    <a:pt x="1351527" y="1448209"/>
                  </a:lnTo>
                  <a:lnTo>
                    <a:pt x="1355170" y="1451852"/>
                  </a:lnTo>
                  <a:lnTo>
                    <a:pt x="1362456" y="1475531"/>
                  </a:lnTo>
                  <a:lnTo>
                    <a:pt x="1362456" y="1479174"/>
                  </a:lnTo>
                  <a:lnTo>
                    <a:pt x="1360635" y="1480996"/>
                  </a:lnTo>
                  <a:lnTo>
                    <a:pt x="1338777" y="1486460"/>
                  </a:lnTo>
                  <a:lnTo>
                    <a:pt x="1335134" y="1486460"/>
                  </a:lnTo>
                  <a:lnTo>
                    <a:pt x="1333313" y="1475531"/>
                  </a:lnTo>
                  <a:lnTo>
                    <a:pt x="1295062" y="1468246"/>
                  </a:lnTo>
                  <a:lnTo>
                    <a:pt x="1307812" y="1484639"/>
                  </a:lnTo>
                  <a:lnTo>
                    <a:pt x="1311455" y="1490103"/>
                  </a:lnTo>
                  <a:lnTo>
                    <a:pt x="1311455" y="1491925"/>
                  </a:lnTo>
                  <a:lnTo>
                    <a:pt x="1302348" y="1491925"/>
                  </a:lnTo>
                  <a:lnTo>
                    <a:pt x="1293240" y="1479174"/>
                  </a:lnTo>
                  <a:lnTo>
                    <a:pt x="1287776" y="1490103"/>
                  </a:lnTo>
                  <a:lnTo>
                    <a:pt x="1284133" y="1490103"/>
                  </a:lnTo>
                  <a:lnTo>
                    <a:pt x="1256811" y="1473710"/>
                  </a:lnTo>
                  <a:lnTo>
                    <a:pt x="1189416" y="1473710"/>
                  </a:lnTo>
                  <a:lnTo>
                    <a:pt x="1176666" y="1457317"/>
                  </a:lnTo>
                  <a:lnTo>
                    <a:pt x="1173023" y="1442745"/>
                  </a:lnTo>
                  <a:lnTo>
                    <a:pt x="1162094" y="1453674"/>
                  </a:lnTo>
                  <a:lnTo>
                    <a:pt x="1154809" y="1453674"/>
                  </a:lnTo>
                  <a:lnTo>
                    <a:pt x="1149344" y="1451852"/>
                  </a:lnTo>
                  <a:lnTo>
                    <a:pt x="1136594" y="1451852"/>
                  </a:lnTo>
                  <a:lnTo>
                    <a:pt x="1105629" y="1411780"/>
                  </a:lnTo>
                  <a:lnTo>
                    <a:pt x="1109272" y="1402673"/>
                  </a:lnTo>
                  <a:lnTo>
                    <a:pt x="1105629" y="1400851"/>
                  </a:lnTo>
                  <a:lnTo>
                    <a:pt x="1105629" y="1397208"/>
                  </a:lnTo>
                  <a:lnTo>
                    <a:pt x="1127486" y="1397208"/>
                  </a:lnTo>
                  <a:lnTo>
                    <a:pt x="1143880" y="1400851"/>
                  </a:lnTo>
                  <a:lnTo>
                    <a:pt x="1151166" y="1400851"/>
                  </a:lnTo>
                  <a:lnTo>
                    <a:pt x="1092879" y="1369886"/>
                  </a:lnTo>
                  <a:lnTo>
                    <a:pt x="1089236" y="1369886"/>
                  </a:lnTo>
                  <a:lnTo>
                    <a:pt x="1094700" y="1346207"/>
                  </a:lnTo>
                  <a:lnTo>
                    <a:pt x="1087414" y="1329814"/>
                  </a:lnTo>
                  <a:lnTo>
                    <a:pt x="1087414" y="1327992"/>
                  </a:lnTo>
                  <a:lnTo>
                    <a:pt x="1098343" y="1317063"/>
                  </a:lnTo>
                  <a:lnTo>
                    <a:pt x="1094700" y="1317063"/>
                  </a:lnTo>
                  <a:lnTo>
                    <a:pt x="1094700" y="1313421"/>
                  </a:lnTo>
                  <a:lnTo>
                    <a:pt x="1092879" y="1297027"/>
                  </a:lnTo>
                  <a:lnTo>
                    <a:pt x="1103807" y="1267884"/>
                  </a:lnTo>
                  <a:lnTo>
                    <a:pt x="1105629" y="1267884"/>
                  </a:lnTo>
                  <a:lnTo>
                    <a:pt x="1105629" y="1266062"/>
                  </a:lnTo>
                  <a:lnTo>
                    <a:pt x="1111093" y="1238740"/>
                  </a:lnTo>
                  <a:close/>
                  <a:moveTo>
                    <a:pt x="848802" y="1173169"/>
                  </a:moveTo>
                  <a:lnTo>
                    <a:pt x="852445" y="1173169"/>
                  </a:lnTo>
                  <a:lnTo>
                    <a:pt x="881588" y="1187741"/>
                  </a:lnTo>
                  <a:lnTo>
                    <a:pt x="918018" y="1173169"/>
                  </a:lnTo>
                  <a:lnTo>
                    <a:pt x="919839" y="1173169"/>
                  </a:lnTo>
                  <a:lnTo>
                    <a:pt x="927125" y="1184098"/>
                  </a:lnTo>
                  <a:lnTo>
                    <a:pt x="930768" y="1187741"/>
                  </a:lnTo>
                  <a:lnTo>
                    <a:pt x="927125" y="1187741"/>
                  </a:lnTo>
                  <a:lnTo>
                    <a:pt x="914375" y="1207777"/>
                  </a:lnTo>
                  <a:lnTo>
                    <a:pt x="921661" y="1222349"/>
                  </a:lnTo>
                  <a:lnTo>
                    <a:pt x="921661" y="1224170"/>
                  </a:lnTo>
                  <a:lnTo>
                    <a:pt x="908910" y="1233277"/>
                  </a:lnTo>
                  <a:lnTo>
                    <a:pt x="897982" y="1255135"/>
                  </a:lnTo>
                  <a:lnTo>
                    <a:pt x="912553" y="1246028"/>
                  </a:lnTo>
                  <a:lnTo>
                    <a:pt x="914375" y="1246028"/>
                  </a:lnTo>
                  <a:lnTo>
                    <a:pt x="914375" y="1249671"/>
                  </a:lnTo>
                  <a:lnTo>
                    <a:pt x="927125" y="1271528"/>
                  </a:lnTo>
                  <a:lnTo>
                    <a:pt x="925303" y="1276993"/>
                  </a:lnTo>
                  <a:lnTo>
                    <a:pt x="936232" y="1271528"/>
                  </a:lnTo>
                  <a:lnTo>
                    <a:pt x="938054" y="1271528"/>
                  </a:lnTo>
                  <a:lnTo>
                    <a:pt x="943518" y="1291564"/>
                  </a:lnTo>
                  <a:lnTo>
                    <a:pt x="938054" y="1306136"/>
                  </a:lnTo>
                  <a:lnTo>
                    <a:pt x="941697" y="1340744"/>
                  </a:lnTo>
                  <a:lnTo>
                    <a:pt x="921661" y="1358959"/>
                  </a:lnTo>
                  <a:lnTo>
                    <a:pt x="907089" y="1358959"/>
                  </a:lnTo>
                  <a:lnTo>
                    <a:pt x="907089" y="1369887"/>
                  </a:lnTo>
                  <a:lnTo>
                    <a:pt x="896160" y="1384459"/>
                  </a:lnTo>
                  <a:lnTo>
                    <a:pt x="879767" y="1380816"/>
                  </a:lnTo>
                  <a:lnTo>
                    <a:pt x="879767" y="1378995"/>
                  </a:lnTo>
                  <a:lnTo>
                    <a:pt x="870660" y="1351673"/>
                  </a:lnTo>
                  <a:lnTo>
                    <a:pt x="857909" y="1335280"/>
                  </a:lnTo>
                  <a:lnTo>
                    <a:pt x="848802" y="1322529"/>
                  </a:lnTo>
                  <a:lnTo>
                    <a:pt x="823302" y="1317065"/>
                  </a:lnTo>
                  <a:lnTo>
                    <a:pt x="823302" y="1313422"/>
                  </a:lnTo>
                  <a:lnTo>
                    <a:pt x="797801" y="1273350"/>
                  </a:lnTo>
                  <a:lnTo>
                    <a:pt x="797801" y="1271528"/>
                  </a:lnTo>
                  <a:lnTo>
                    <a:pt x="801444" y="1255135"/>
                  </a:lnTo>
                  <a:lnTo>
                    <a:pt x="808730" y="1249671"/>
                  </a:lnTo>
                  <a:lnTo>
                    <a:pt x="812373" y="1249671"/>
                  </a:lnTo>
                  <a:lnTo>
                    <a:pt x="812373" y="1251492"/>
                  </a:lnTo>
                  <a:lnTo>
                    <a:pt x="830587" y="1276993"/>
                  </a:lnTo>
                  <a:lnTo>
                    <a:pt x="852445" y="1271528"/>
                  </a:lnTo>
                  <a:lnTo>
                    <a:pt x="848802" y="1260599"/>
                  </a:lnTo>
                  <a:lnTo>
                    <a:pt x="854266" y="1255135"/>
                  </a:lnTo>
                  <a:lnTo>
                    <a:pt x="846981" y="1235099"/>
                  </a:lnTo>
                  <a:lnTo>
                    <a:pt x="854266" y="1235099"/>
                  </a:lnTo>
                  <a:lnTo>
                    <a:pt x="823302" y="1213241"/>
                  </a:lnTo>
                  <a:lnTo>
                    <a:pt x="823302" y="1211420"/>
                  </a:lnTo>
                  <a:lnTo>
                    <a:pt x="830587" y="1211420"/>
                  </a:lnTo>
                  <a:lnTo>
                    <a:pt x="836052" y="1213241"/>
                  </a:lnTo>
                  <a:lnTo>
                    <a:pt x="841516" y="1213241"/>
                  </a:lnTo>
                  <a:lnTo>
                    <a:pt x="839695" y="1202313"/>
                  </a:lnTo>
                  <a:lnTo>
                    <a:pt x="828766" y="1195027"/>
                  </a:lnTo>
                  <a:lnTo>
                    <a:pt x="825123" y="1195027"/>
                  </a:lnTo>
                  <a:lnTo>
                    <a:pt x="825123" y="1193205"/>
                  </a:lnTo>
                  <a:lnTo>
                    <a:pt x="828766" y="1193205"/>
                  </a:lnTo>
                  <a:lnTo>
                    <a:pt x="848802" y="1189562"/>
                  </a:lnTo>
                  <a:lnTo>
                    <a:pt x="845159" y="1178633"/>
                  </a:lnTo>
                  <a:close/>
                  <a:moveTo>
                    <a:pt x="907092" y="1154954"/>
                  </a:moveTo>
                  <a:lnTo>
                    <a:pt x="908913" y="1154954"/>
                  </a:lnTo>
                  <a:lnTo>
                    <a:pt x="908913" y="1156776"/>
                  </a:lnTo>
                  <a:lnTo>
                    <a:pt x="890699" y="1182277"/>
                  </a:lnTo>
                  <a:lnTo>
                    <a:pt x="868841" y="1178634"/>
                  </a:lnTo>
                  <a:lnTo>
                    <a:pt x="868841" y="1176812"/>
                  </a:lnTo>
                  <a:lnTo>
                    <a:pt x="907092" y="1156776"/>
                  </a:lnTo>
                  <a:close/>
                  <a:moveTo>
                    <a:pt x="1010915" y="1149489"/>
                  </a:moveTo>
                  <a:lnTo>
                    <a:pt x="1087417" y="1171347"/>
                  </a:lnTo>
                  <a:lnTo>
                    <a:pt x="1087417" y="1173168"/>
                  </a:lnTo>
                  <a:lnTo>
                    <a:pt x="1076488" y="1200490"/>
                  </a:lnTo>
                  <a:lnTo>
                    <a:pt x="1071024" y="1200490"/>
                  </a:lnTo>
                  <a:lnTo>
                    <a:pt x="1065559" y="1224169"/>
                  </a:lnTo>
                  <a:lnTo>
                    <a:pt x="1060095" y="1229634"/>
                  </a:lnTo>
                  <a:lnTo>
                    <a:pt x="1063738" y="1229634"/>
                  </a:lnTo>
                  <a:lnTo>
                    <a:pt x="1060095" y="1240563"/>
                  </a:lnTo>
                  <a:lnTo>
                    <a:pt x="1043702" y="1273349"/>
                  </a:lnTo>
                  <a:lnTo>
                    <a:pt x="1036416" y="1273349"/>
                  </a:lnTo>
                  <a:lnTo>
                    <a:pt x="1016380" y="1271528"/>
                  </a:lnTo>
                  <a:lnTo>
                    <a:pt x="992701" y="1271528"/>
                  </a:lnTo>
                  <a:lnTo>
                    <a:pt x="1014558" y="1289742"/>
                  </a:lnTo>
                  <a:lnTo>
                    <a:pt x="1014558" y="1291564"/>
                  </a:lnTo>
                  <a:lnTo>
                    <a:pt x="998165" y="1322529"/>
                  </a:lnTo>
                  <a:lnTo>
                    <a:pt x="976307" y="1327993"/>
                  </a:lnTo>
                  <a:lnTo>
                    <a:pt x="970843" y="1324350"/>
                  </a:lnTo>
                  <a:lnTo>
                    <a:pt x="970843" y="1322529"/>
                  </a:lnTo>
                  <a:lnTo>
                    <a:pt x="976307" y="1317064"/>
                  </a:lnTo>
                  <a:lnTo>
                    <a:pt x="970843" y="1313421"/>
                  </a:lnTo>
                  <a:lnTo>
                    <a:pt x="970843" y="1295207"/>
                  </a:lnTo>
                  <a:lnTo>
                    <a:pt x="976307" y="1284278"/>
                  </a:lnTo>
                  <a:lnTo>
                    <a:pt x="959914" y="1273349"/>
                  </a:lnTo>
                  <a:lnTo>
                    <a:pt x="959914" y="1187740"/>
                  </a:lnTo>
                  <a:lnTo>
                    <a:pt x="981772" y="1193204"/>
                  </a:lnTo>
                  <a:lnTo>
                    <a:pt x="965378" y="1173168"/>
                  </a:lnTo>
                  <a:lnTo>
                    <a:pt x="965378" y="1171347"/>
                  </a:lnTo>
                  <a:lnTo>
                    <a:pt x="974486" y="1156775"/>
                  </a:lnTo>
                  <a:lnTo>
                    <a:pt x="974486" y="1154953"/>
                  </a:lnTo>
                  <a:close/>
                  <a:moveTo>
                    <a:pt x="338793" y="1109417"/>
                  </a:moveTo>
                  <a:lnTo>
                    <a:pt x="344258" y="1109417"/>
                  </a:lnTo>
                  <a:lnTo>
                    <a:pt x="344258" y="1111238"/>
                  </a:lnTo>
                  <a:lnTo>
                    <a:pt x="347901" y="1111238"/>
                  </a:lnTo>
                  <a:lnTo>
                    <a:pt x="389794" y="1144025"/>
                  </a:lnTo>
                  <a:lnTo>
                    <a:pt x="389794" y="1145846"/>
                  </a:lnTo>
                  <a:lnTo>
                    <a:pt x="387973" y="1154954"/>
                  </a:lnTo>
                  <a:lnTo>
                    <a:pt x="398902" y="1144025"/>
                  </a:lnTo>
                  <a:lnTo>
                    <a:pt x="400723" y="1144025"/>
                  </a:lnTo>
                  <a:lnTo>
                    <a:pt x="400723" y="1154954"/>
                  </a:lnTo>
                  <a:lnTo>
                    <a:pt x="406188" y="1140382"/>
                  </a:lnTo>
                  <a:lnTo>
                    <a:pt x="438974" y="1140382"/>
                  </a:lnTo>
                  <a:lnTo>
                    <a:pt x="493618" y="1205955"/>
                  </a:lnTo>
                  <a:lnTo>
                    <a:pt x="493618" y="1207777"/>
                  </a:lnTo>
                  <a:lnTo>
                    <a:pt x="404366" y="1273349"/>
                  </a:lnTo>
                  <a:lnTo>
                    <a:pt x="395259" y="1300672"/>
                  </a:lnTo>
                  <a:lnTo>
                    <a:pt x="377044" y="1307957"/>
                  </a:lnTo>
                  <a:lnTo>
                    <a:pt x="369758" y="1329815"/>
                  </a:lnTo>
                  <a:lnTo>
                    <a:pt x="371580" y="1346208"/>
                  </a:lnTo>
                  <a:lnTo>
                    <a:pt x="366115" y="1362602"/>
                  </a:lnTo>
                  <a:lnTo>
                    <a:pt x="347901" y="1373530"/>
                  </a:lnTo>
                  <a:lnTo>
                    <a:pt x="344258" y="1373530"/>
                  </a:lnTo>
                  <a:lnTo>
                    <a:pt x="338793" y="1364423"/>
                  </a:lnTo>
                  <a:lnTo>
                    <a:pt x="304186" y="1395388"/>
                  </a:lnTo>
                  <a:lnTo>
                    <a:pt x="280507" y="1346208"/>
                  </a:lnTo>
                  <a:lnTo>
                    <a:pt x="238613" y="1329815"/>
                  </a:lnTo>
                  <a:lnTo>
                    <a:pt x="238613" y="1327994"/>
                  </a:lnTo>
                  <a:lnTo>
                    <a:pt x="260471" y="1278814"/>
                  </a:lnTo>
                  <a:lnTo>
                    <a:pt x="255006" y="1255135"/>
                  </a:lnTo>
                  <a:lnTo>
                    <a:pt x="255006" y="1251492"/>
                  </a:lnTo>
                  <a:lnTo>
                    <a:pt x="265935" y="1249670"/>
                  </a:lnTo>
                  <a:lnTo>
                    <a:pt x="260471" y="1238742"/>
                  </a:lnTo>
                  <a:lnTo>
                    <a:pt x="260471" y="1235099"/>
                  </a:lnTo>
                  <a:lnTo>
                    <a:pt x="285971" y="1176812"/>
                  </a:lnTo>
                  <a:lnTo>
                    <a:pt x="276864" y="1162240"/>
                  </a:lnTo>
                  <a:lnTo>
                    <a:pt x="275042" y="1151311"/>
                  </a:lnTo>
                  <a:lnTo>
                    <a:pt x="276864" y="1144025"/>
                  </a:lnTo>
                  <a:lnTo>
                    <a:pt x="269578" y="1129453"/>
                  </a:lnTo>
                  <a:lnTo>
                    <a:pt x="269578" y="1127632"/>
                  </a:lnTo>
                  <a:lnTo>
                    <a:pt x="302364" y="1116703"/>
                  </a:lnTo>
                  <a:lnTo>
                    <a:pt x="304186" y="1116703"/>
                  </a:lnTo>
                  <a:lnTo>
                    <a:pt x="307829" y="1123989"/>
                  </a:lnTo>
                  <a:lnTo>
                    <a:pt x="307829" y="1116703"/>
                  </a:lnTo>
                  <a:lnTo>
                    <a:pt x="313293" y="1116703"/>
                  </a:lnTo>
                  <a:lnTo>
                    <a:pt x="316936" y="1114881"/>
                  </a:lnTo>
                  <a:lnTo>
                    <a:pt x="326043" y="1111238"/>
                  </a:lnTo>
                  <a:lnTo>
                    <a:pt x="333329" y="1111238"/>
                  </a:lnTo>
                  <a:close/>
                  <a:moveTo>
                    <a:pt x="746681" y="1035982"/>
                  </a:moveTo>
                  <a:cubicBezTo>
                    <a:pt x="757327" y="1032398"/>
                    <a:pt x="761619" y="1046132"/>
                    <a:pt x="764037" y="1053775"/>
                  </a:cubicBezTo>
                  <a:cubicBezTo>
                    <a:pt x="769843" y="1065482"/>
                    <a:pt x="754061" y="1077546"/>
                    <a:pt x="743298" y="1071631"/>
                  </a:cubicBezTo>
                  <a:cubicBezTo>
                    <a:pt x="739910" y="1069604"/>
                    <a:pt x="736826" y="1066977"/>
                    <a:pt x="734226" y="1063988"/>
                  </a:cubicBezTo>
                  <a:cubicBezTo>
                    <a:pt x="736221" y="1054137"/>
                    <a:pt x="738699" y="1042967"/>
                    <a:pt x="746681" y="1035982"/>
                  </a:cubicBezTo>
                  <a:close/>
                  <a:moveTo>
                    <a:pt x="948319" y="1035367"/>
                  </a:moveTo>
                  <a:cubicBezTo>
                    <a:pt x="949315" y="1036037"/>
                    <a:pt x="949827" y="1037305"/>
                    <a:pt x="948717" y="1038474"/>
                  </a:cubicBezTo>
                  <a:cubicBezTo>
                    <a:pt x="947066" y="1040925"/>
                    <a:pt x="942911" y="1038246"/>
                    <a:pt x="945017" y="1035852"/>
                  </a:cubicBezTo>
                  <a:cubicBezTo>
                    <a:pt x="945842" y="1034626"/>
                    <a:pt x="947322" y="1034697"/>
                    <a:pt x="948319" y="1035367"/>
                  </a:cubicBezTo>
                  <a:close/>
                  <a:moveTo>
                    <a:pt x="839340" y="1018550"/>
                  </a:moveTo>
                  <a:cubicBezTo>
                    <a:pt x="842979" y="1017445"/>
                    <a:pt x="846779" y="1017243"/>
                    <a:pt x="850608" y="1018643"/>
                  </a:cubicBezTo>
                  <a:cubicBezTo>
                    <a:pt x="843884" y="1022127"/>
                    <a:pt x="836404" y="1023123"/>
                    <a:pt x="829037" y="1023869"/>
                  </a:cubicBezTo>
                  <a:cubicBezTo>
                    <a:pt x="832223" y="1021660"/>
                    <a:pt x="835701" y="1019654"/>
                    <a:pt x="839340" y="1018550"/>
                  </a:cubicBezTo>
                  <a:close/>
                  <a:moveTo>
                    <a:pt x="981895" y="1016474"/>
                  </a:moveTo>
                  <a:cubicBezTo>
                    <a:pt x="990778" y="1023222"/>
                    <a:pt x="996626" y="1033069"/>
                    <a:pt x="1002887" y="1042199"/>
                  </a:cubicBezTo>
                  <a:cubicBezTo>
                    <a:pt x="1008430" y="1050021"/>
                    <a:pt x="1006699" y="1060284"/>
                    <a:pt x="1007835" y="1069240"/>
                  </a:cubicBezTo>
                  <a:cubicBezTo>
                    <a:pt x="1008247" y="1080945"/>
                    <a:pt x="1010634" y="1092757"/>
                    <a:pt x="1009147" y="1104462"/>
                  </a:cubicBezTo>
                  <a:cubicBezTo>
                    <a:pt x="1001926" y="1112159"/>
                    <a:pt x="989588" y="1108519"/>
                    <a:pt x="980408" y="1109051"/>
                  </a:cubicBezTo>
                  <a:cubicBezTo>
                    <a:pt x="972180" y="1108403"/>
                    <a:pt x="968665" y="1100222"/>
                    <a:pt x="964250" y="1094432"/>
                  </a:cubicBezTo>
                  <a:lnTo>
                    <a:pt x="959065" y="1100880"/>
                  </a:lnTo>
                  <a:lnTo>
                    <a:pt x="959957" y="1093357"/>
                  </a:lnTo>
                  <a:cubicBezTo>
                    <a:pt x="949168" y="1088816"/>
                    <a:pt x="935817" y="1082668"/>
                    <a:pt x="934383" y="1069482"/>
                  </a:cubicBezTo>
                  <a:cubicBezTo>
                    <a:pt x="935931" y="1053187"/>
                    <a:pt x="954536" y="1044174"/>
                    <a:pt x="954056" y="1027105"/>
                  </a:cubicBezTo>
                  <a:cubicBezTo>
                    <a:pt x="962642" y="1022031"/>
                    <a:pt x="971166" y="1015341"/>
                    <a:pt x="981895" y="1016474"/>
                  </a:cubicBezTo>
                  <a:close/>
                  <a:moveTo>
                    <a:pt x="940548" y="1015341"/>
                  </a:moveTo>
                  <a:cubicBezTo>
                    <a:pt x="944045" y="1016313"/>
                    <a:pt x="948929" y="1017403"/>
                    <a:pt x="950436" y="1021044"/>
                  </a:cubicBezTo>
                  <a:cubicBezTo>
                    <a:pt x="949471" y="1025656"/>
                    <a:pt x="946698" y="1029601"/>
                    <a:pt x="944528" y="1033724"/>
                  </a:cubicBezTo>
                  <a:lnTo>
                    <a:pt x="936933" y="1025170"/>
                  </a:lnTo>
                  <a:cubicBezTo>
                    <a:pt x="935063" y="1031904"/>
                    <a:pt x="931565" y="1038093"/>
                    <a:pt x="927164" y="1043433"/>
                  </a:cubicBezTo>
                  <a:cubicBezTo>
                    <a:pt x="925960" y="1039489"/>
                    <a:pt x="924272" y="1035666"/>
                    <a:pt x="923849" y="1031601"/>
                  </a:cubicBezTo>
                  <a:cubicBezTo>
                    <a:pt x="927468" y="1024564"/>
                    <a:pt x="934460" y="1020013"/>
                    <a:pt x="940548" y="1015341"/>
                  </a:cubicBezTo>
                  <a:close/>
                  <a:moveTo>
                    <a:pt x="350966" y="985240"/>
                  </a:moveTo>
                  <a:cubicBezTo>
                    <a:pt x="350019" y="992304"/>
                    <a:pt x="348894" y="999245"/>
                    <a:pt x="347828" y="1006309"/>
                  </a:cubicBezTo>
                  <a:lnTo>
                    <a:pt x="341435" y="1003996"/>
                  </a:lnTo>
                  <a:cubicBezTo>
                    <a:pt x="344750" y="997785"/>
                    <a:pt x="347651" y="991390"/>
                    <a:pt x="350966" y="985240"/>
                  </a:cubicBezTo>
                  <a:close/>
                  <a:moveTo>
                    <a:pt x="952788" y="983359"/>
                  </a:moveTo>
                  <a:cubicBezTo>
                    <a:pt x="956457" y="983236"/>
                    <a:pt x="956208" y="989256"/>
                    <a:pt x="952601" y="989133"/>
                  </a:cubicBezTo>
                  <a:cubicBezTo>
                    <a:pt x="948932" y="989133"/>
                    <a:pt x="949243" y="983236"/>
                    <a:pt x="952788" y="983359"/>
                  </a:cubicBezTo>
                  <a:close/>
                  <a:moveTo>
                    <a:pt x="984468" y="982232"/>
                  </a:moveTo>
                  <a:cubicBezTo>
                    <a:pt x="986059" y="989657"/>
                    <a:pt x="987709" y="997145"/>
                    <a:pt x="989064" y="1004691"/>
                  </a:cubicBezTo>
                  <a:cubicBezTo>
                    <a:pt x="973512" y="1009823"/>
                    <a:pt x="977694" y="993583"/>
                    <a:pt x="975456" y="985190"/>
                  </a:cubicBezTo>
                  <a:close/>
                  <a:moveTo>
                    <a:pt x="794632" y="982154"/>
                  </a:moveTo>
                  <a:cubicBezTo>
                    <a:pt x="798103" y="981311"/>
                    <a:pt x="801742" y="981394"/>
                    <a:pt x="805460" y="982787"/>
                  </a:cubicBezTo>
                  <a:cubicBezTo>
                    <a:pt x="800740" y="989376"/>
                    <a:pt x="794830" y="995008"/>
                    <a:pt x="789394" y="1001061"/>
                  </a:cubicBezTo>
                  <a:cubicBezTo>
                    <a:pt x="784678" y="1006813"/>
                    <a:pt x="776735" y="1004655"/>
                    <a:pt x="770344" y="1004356"/>
                  </a:cubicBezTo>
                  <a:cubicBezTo>
                    <a:pt x="775316" y="995547"/>
                    <a:pt x="784218" y="984684"/>
                    <a:pt x="794632" y="982154"/>
                  </a:cubicBezTo>
                  <a:close/>
                  <a:moveTo>
                    <a:pt x="974722" y="968186"/>
                  </a:moveTo>
                  <a:cubicBezTo>
                    <a:pt x="975784" y="969983"/>
                    <a:pt x="976906" y="971780"/>
                    <a:pt x="978027" y="973637"/>
                  </a:cubicBezTo>
                  <a:cubicBezTo>
                    <a:pt x="975844" y="974475"/>
                    <a:pt x="973659" y="975314"/>
                    <a:pt x="971476" y="976212"/>
                  </a:cubicBezTo>
                  <a:cubicBezTo>
                    <a:pt x="970650" y="973637"/>
                    <a:pt x="969823" y="971001"/>
                    <a:pt x="968997" y="968426"/>
                  </a:cubicBezTo>
                  <a:cubicBezTo>
                    <a:pt x="970886" y="968366"/>
                    <a:pt x="972833" y="968246"/>
                    <a:pt x="974722" y="968186"/>
                  </a:cubicBezTo>
                  <a:close/>
                  <a:moveTo>
                    <a:pt x="431732" y="967182"/>
                  </a:moveTo>
                  <a:cubicBezTo>
                    <a:pt x="428395" y="988374"/>
                    <a:pt x="423565" y="1011297"/>
                    <a:pt x="407597" y="1026639"/>
                  </a:cubicBezTo>
                  <a:cubicBezTo>
                    <a:pt x="399672" y="1026878"/>
                    <a:pt x="393176" y="1020908"/>
                    <a:pt x="386082" y="1018282"/>
                  </a:cubicBezTo>
                  <a:cubicBezTo>
                    <a:pt x="391802" y="1007895"/>
                    <a:pt x="396869" y="996791"/>
                    <a:pt x="405155" y="988195"/>
                  </a:cubicBezTo>
                  <a:cubicBezTo>
                    <a:pt x="413732" y="980852"/>
                    <a:pt x="422374" y="973510"/>
                    <a:pt x="431732" y="967182"/>
                  </a:cubicBezTo>
                  <a:close/>
                  <a:moveTo>
                    <a:pt x="1357850" y="966180"/>
                  </a:moveTo>
                  <a:cubicBezTo>
                    <a:pt x="1360785" y="973635"/>
                    <a:pt x="1355737" y="979649"/>
                    <a:pt x="1351453" y="984997"/>
                  </a:cubicBezTo>
                  <a:lnTo>
                    <a:pt x="1357791" y="994138"/>
                  </a:lnTo>
                  <a:cubicBezTo>
                    <a:pt x="1352098" y="993538"/>
                    <a:pt x="1343707" y="998286"/>
                    <a:pt x="1339716" y="992876"/>
                  </a:cubicBezTo>
                  <a:cubicBezTo>
                    <a:pt x="1343825" y="982833"/>
                    <a:pt x="1349810" y="973394"/>
                    <a:pt x="1357850" y="966180"/>
                  </a:cubicBezTo>
                  <a:close/>
                  <a:moveTo>
                    <a:pt x="787978" y="948622"/>
                  </a:moveTo>
                  <a:cubicBezTo>
                    <a:pt x="792164" y="956597"/>
                    <a:pt x="791570" y="965954"/>
                    <a:pt x="784627" y="972133"/>
                  </a:cubicBezTo>
                  <a:cubicBezTo>
                    <a:pt x="790071" y="971290"/>
                    <a:pt x="795636" y="971772"/>
                    <a:pt x="799942" y="975668"/>
                  </a:cubicBezTo>
                  <a:cubicBezTo>
                    <a:pt x="790369" y="984308"/>
                    <a:pt x="773144" y="982988"/>
                    <a:pt x="768060" y="996179"/>
                  </a:cubicBezTo>
                  <a:cubicBezTo>
                    <a:pt x="761477" y="996781"/>
                    <a:pt x="760162" y="990482"/>
                    <a:pt x="757829" y="986224"/>
                  </a:cubicBezTo>
                  <a:cubicBezTo>
                    <a:pt x="765543" y="982868"/>
                    <a:pt x="773024" y="979029"/>
                    <a:pt x="780144" y="974589"/>
                  </a:cubicBezTo>
                  <a:cubicBezTo>
                    <a:pt x="771828" y="975129"/>
                    <a:pt x="763393" y="976872"/>
                    <a:pt x="755078" y="975432"/>
                  </a:cubicBezTo>
                  <a:cubicBezTo>
                    <a:pt x="749634" y="973573"/>
                    <a:pt x="746345" y="968415"/>
                    <a:pt x="742754" y="964216"/>
                  </a:cubicBezTo>
                  <a:cubicBezTo>
                    <a:pt x="755135" y="953178"/>
                    <a:pt x="772126" y="950842"/>
                    <a:pt x="787978" y="948622"/>
                  </a:cubicBezTo>
                  <a:close/>
                  <a:moveTo>
                    <a:pt x="1233853" y="931004"/>
                  </a:moveTo>
                  <a:cubicBezTo>
                    <a:pt x="1236285" y="929058"/>
                    <a:pt x="1239386" y="933253"/>
                    <a:pt x="1236954" y="935139"/>
                  </a:cubicBezTo>
                  <a:cubicBezTo>
                    <a:pt x="1234522" y="937084"/>
                    <a:pt x="1231360" y="932889"/>
                    <a:pt x="1233853" y="931004"/>
                  </a:cubicBezTo>
                  <a:close/>
                  <a:moveTo>
                    <a:pt x="746579" y="913463"/>
                  </a:moveTo>
                  <a:cubicBezTo>
                    <a:pt x="757831" y="908992"/>
                    <a:pt x="761780" y="920625"/>
                    <a:pt x="768302" y="926229"/>
                  </a:cubicBezTo>
                  <a:cubicBezTo>
                    <a:pt x="771776" y="930289"/>
                    <a:pt x="777997" y="932854"/>
                    <a:pt x="779374" y="938221"/>
                  </a:cubicBezTo>
                  <a:cubicBezTo>
                    <a:pt x="774588" y="950628"/>
                    <a:pt x="759448" y="947647"/>
                    <a:pt x="748733" y="948659"/>
                  </a:cubicBezTo>
                  <a:cubicBezTo>
                    <a:pt x="745864" y="940132"/>
                    <a:pt x="741972" y="931958"/>
                    <a:pt x="740119" y="923190"/>
                  </a:cubicBezTo>
                  <a:cubicBezTo>
                    <a:pt x="738741" y="918714"/>
                    <a:pt x="743589" y="915791"/>
                    <a:pt x="746579" y="913463"/>
                  </a:cubicBezTo>
                  <a:close/>
                  <a:moveTo>
                    <a:pt x="879824" y="910692"/>
                  </a:moveTo>
                  <a:cubicBezTo>
                    <a:pt x="888845" y="909495"/>
                    <a:pt x="892786" y="917030"/>
                    <a:pt x="893504" y="924615"/>
                  </a:cubicBezTo>
                  <a:cubicBezTo>
                    <a:pt x="896782" y="923839"/>
                    <a:pt x="900073" y="923064"/>
                    <a:pt x="903365" y="922407"/>
                  </a:cubicBezTo>
                  <a:cubicBezTo>
                    <a:pt x="902525" y="924025"/>
                    <a:pt x="901631" y="925643"/>
                    <a:pt x="900791" y="927312"/>
                  </a:cubicBezTo>
                  <a:cubicBezTo>
                    <a:pt x="902823" y="928390"/>
                    <a:pt x="904855" y="929520"/>
                    <a:pt x="906886" y="930666"/>
                  </a:cubicBezTo>
                  <a:cubicBezTo>
                    <a:pt x="906642" y="955241"/>
                    <a:pt x="918833" y="984536"/>
                    <a:pt x="902457" y="1006128"/>
                  </a:cubicBezTo>
                  <a:lnTo>
                    <a:pt x="913808" y="1011151"/>
                  </a:lnTo>
                  <a:cubicBezTo>
                    <a:pt x="914227" y="1021011"/>
                    <a:pt x="914647" y="1030939"/>
                    <a:pt x="915487" y="1040867"/>
                  </a:cubicBezTo>
                  <a:cubicBezTo>
                    <a:pt x="912859" y="1034344"/>
                    <a:pt x="910286" y="1028006"/>
                    <a:pt x="906940" y="1021837"/>
                  </a:cubicBezTo>
                  <a:cubicBezTo>
                    <a:pt x="906548" y="1025933"/>
                    <a:pt x="906141" y="1030012"/>
                    <a:pt x="905749" y="1034108"/>
                  </a:cubicBezTo>
                  <a:cubicBezTo>
                    <a:pt x="904435" y="1031596"/>
                    <a:pt x="903175" y="1029085"/>
                    <a:pt x="901861" y="1026624"/>
                  </a:cubicBezTo>
                  <a:cubicBezTo>
                    <a:pt x="901685" y="1033198"/>
                    <a:pt x="901089" y="1039721"/>
                    <a:pt x="898638" y="1045940"/>
                  </a:cubicBezTo>
                  <a:cubicBezTo>
                    <a:pt x="903893" y="1050609"/>
                    <a:pt x="907238" y="1056880"/>
                    <a:pt x="910056" y="1063217"/>
                  </a:cubicBezTo>
                  <a:cubicBezTo>
                    <a:pt x="902281" y="1068611"/>
                    <a:pt x="894452" y="1075960"/>
                    <a:pt x="884416" y="1075960"/>
                  </a:cubicBezTo>
                  <a:cubicBezTo>
                    <a:pt x="871806" y="1076263"/>
                    <a:pt x="859264" y="1077039"/>
                    <a:pt x="846721" y="1078050"/>
                  </a:cubicBezTo>
                  <a:cubicBezTo>
                    <a:pt x="844026" y="1070870"/>
                    <a:pt x="841642" y="1063639"/>
                    <a:pt x="838893" y="1056526"/>
                  </a:cubicBezTo>
                  <a:lnTo>
                    <a:pt x="849471" y="1053407"/>
                  </a:lnTo>
                  <a:cubicBezTo>
                    <a:pt x="844324" y="1050121"/>
                    <a:pt x="838947" y="1047070"/>
                    <a:pt x="833637" y="1044036"/>
                  </a:cubicBezTo>
                  <a:cubicBezTo>
                    <a:pt x="835073" y="1043311"/>
                    <a:pt x="836495" y="1042536"/>
                    <a:pt x="837931" y="1041811"/>
                  </a:cubicBezTo>
                  <a:cubicBezTo>
                    <a:pt x="844270" y="1031478"/>
                    <a:pt x="859142" y="1025613"/>
                    <a:pt x="858370" y="1011741"/>
                  </a:cubicBezTo>
                  <a:cubicBezTo>
                    <a:pt x="834829" y="1017067"/>
                    <a:pt x="810991" y="1021180"/>
                    <a:pt x="787992" y="1028596"/>
                  </a:cubicBezTo>
                  <a:cubicBezTo>
                    <a:pt x="786435" y="1024719"/>
                    <a:pt x="784945" y="1020826"/>
                    <a:pt x="783387" y="1017000"/>
                  </a:cubicBezTo>
                  <a:cubicBezTo>
                    <a:pt x="788588" y="1012752"/>
                    <a:pt x="795929" y="1010544"/>
                    <a:pt x="799817" y="1004931"/>
                  </a:cubicBezTo>
                  <a:cubicBezTo>
                    <a:pt x="798381" y="1002285"/>
                    <a:pt x="796471" y="1000026"/>
                    <a:pt x="794737" y="997633"/>
                  </a:cubicBezTo>
                  <a:cubicBezTo>
                    <a:pt x="798449" y="994632"/>
                    <a:pt x="802092" y="991177"/>
                    <a:pt x="806806" y="990031"/>
                  </a:cubicBezTo>
                  <a:cubicBezTo>
                    <a:pt x="812359" y="994278"/>
                    <a:pt x="816720" y="999790"/>
                    <a:pt x="821623" y="1004678"/>
                  </a:cubicBezTo>
                  <a:cubicBezTo>
                    <a:pt x="819118" y="999419"/>
                    <a:pt x="816490" y="994228"/>
                    <a:pt x="813618" y="989205"/>
                  </a:cubicBezTo>
                  <a:cubicBezTo>
                    <a:pt x="814810" y="987047"/>
                    <a:pt x="815948" y="984890"/>
                    <a:pt x="817140" y="982800"/>
                  </a:cubicBezTo>
                  <a:cubicBezTo>
                    <a:pt x="813375" y="981367"/>
                    <a:pt x="808187" y="980895"/>
                    <a:pt x="806806" y="976344"/>
                  </a:cubicBezTo>
                  <a:cubicBezTo>
                    <a:pt x="803636" y="969939"/>
                    <a:pt x="810029" y="964444"/>
                    <a:pt x="812846" y="959185"/>
                  </a:cubicBezTo>
                  <a:cubicBezTo>
                    <a:pt x="808783" y="958949"/>
                    <a:pt x="804720" y="958764"/>
                    <a:pt x="800711" y="958646"/>
                  </a:cubicBezTo>
                  <a:cubicBezTo>
                    <a:pt x="802444" y="950640"/>
                    <a:pt x="800480" y="940172"/>
                    <a:pt x="807469" y="934543"/>
                  </a:cubicBezTo>
                  <a:cubicBezTo>
                    <a:pt x="814878" y="932520"/>
                    <a:pt x="821325" y="938082"/>
                    <a:pt x="823831" y="944588"/>
                  </a:cubicBezTo>
                  <a:cubicBezTo>
                    <a:pt x="829330" y="959354"/>
                    <a:pt x="841100" y="970124"/>
                    <a:pt x="848333" y="983811"/>
                  </a:cubicBezTo>
                  <a:cubicBezTo>
                    <a:pt x="850243" y="988598"/>
                    <a:pt x="855674" y="988901"/>
                    <a:pt x="859860" y="990267"/>
                  </a:cubicBezTo>
                  <a:cubicBezTo>
                    <a:pt x="853886" y="983036"/>
                    <a:pt x="849403" y="974844"/>
                    <a:pt x="846776" y="965826"/>
                  </a:cubicBezTo>
                  <a:lnTo>
                    <a:pt x="858546" y="964444"/>
                  </a:lnTo>
                  <a:cubicBezTo>
                    <a:pt x="852993" y="961579"/>
                    <a:pt x="846897" y="959893"/>
                    <a:pt x="840802" y="958696"/>
                  </a:cubicBezTo>
                  <a:lnTo>
                    <a:pt x="852518" y="948667"/>
                  </a:lnTo>
                  <a:cubicBezTo>
                    <a:pt x="844568" y="943510"/>
                    <a:pt x="832256" y="943459"/>
                    <a:pt x="828734" y="933413"/>
                  </a:cubicBezTo>
                  <a:cubicBezTo>
                    <a:pt x="825930" y="928087"/>
                    <a:pt x="833935" y="925289"/>
                    <a:pt x="836387" y="921631"/>
                  </a:cubicBezTo>
                  <a:cubicBezTo>
                    <a:pt x="842062" y="914451"/>
                    <a:pt x="852220" y="914586"/>
                    <a:pt x="860036" y="917451"/>
                  </a:cubicBezTo>
                  <a:cubicBezTo>
                    <a:pt x="867336" y="922525"/>
                    <a:pt x="869666" y="931745"/>
                    <a:pt x="872889" y="939565"/>
                  </a:cubicBezTo>
                  <a:cubicBezTo>
                    <a:pt x="879878" y="930902"/>
                    <a:pt x="869124" y="914990"/>
                    <a:pt x="886989" y="915108"/>
                  </a:cubicBezTo>
                  <a:close/>
                  <a:moveTo>
                    <a:pt x="838216" y="903076"/>
                  </a:moveTo>
                  <a:cubicBezTo>
                    <a:pt x="840857" y="903395"/>
                    <a:pt x="843596" y="904313"/>
                    <a:pt x="846093" y="904638"/>
                  </a:cubicBezTo>
                  <a:cubicBezTo>
                    <a:pt x="836041" y="912871"/>
                    <a:pt x="824845" y="926550"/>
                    <a:pt x="809975" y="921930"/>
                  </a:cubicBezTo>
                  <a:cubicBezTo>
                    <a:pt x="816899" y="916245"/>
                    <a:pt x="823880" y="910678"/>
                    <a:pt x="830924" y="905111"/>
                  </a:cubicBezTo>
                  <a:cubicBezTo>
                    <a:pt x="833031" y="903039"/>
                    <a:pt x="835575" y="902758"/>
                    <a:pt x="838216" y="903076"/>
                  </a:cubicBezTo>
                  <a:close/>
                  <a:moveTo>
                    <a:pt x="863283" y="902971"/>
                  </a:moveTo>
                  <a:cubicBezTo>
                    <a:pt x="863986" y="906630"/>
                    <a:pt x="864629" y="910289"/>
                    <a:pt x="865156" y="914008"/>
                  </a:cubicBezTo>
                  <a:cubicBezTo>
                    <a:pt x="861586" y="911142"/>
                    <a:pt x="858075" y="908215"/>
                    <a:pt x="854622" y="905227"/>
                  </a:cubicBezTo>
                  <a:cubicBezTo>
                    <a:pt x="857489" y="904435"/>
                    <a:pt x="860416" y="903703"/>
                    <a:pt x="863283" y="902971"/>
                  </a:cubicBezTo>
                  <a:close/>
                  <a:moveTo>
                    <a:pt x="630401" y="896864"/>
                  </a:moveTo>
                  <a:cubicBezTo>
                    <a:pt x="638478" y="893442"/>
                    <a:pt x="650922" y="901482"/>
                    <a:pt x="645606" y="910814"/>
                  </a:cubicBezTo>
                  <a:cubicBezTo>
                    <a:pt x="643675" y="917538"/>
                    <a:pt x="645843" y="924358"/>
                    <a:pt x="646972" y="931010"/>
                  </a:cubicBezTo>
                  <a:cubicBezTo>
                    <a:pt x="647803" y="938620"/>
                    <a:pt x="655584" y="942807"/>
                    <a:pt x="657485" y="949938"/>
                  </a:cubicBezTo>
                  <a:cubicBezTo>
                    <a:pt x="656713" y="958146"/>
                    <a:pt x="652050" y="965468"/>
                    <a:pt x="650209" y="973436"/>
                  </a:cubicBezTo>
                  <a:cubicBezTo>
                    <a:pt x="657069" y="972814"/>
                    <a:pt x="664256" y="973173"/>
                    <a:pt x="669750" y="977983"/>
                  </a:cubicBezTo>
                  <a:cubicBezTo>
                    <a:pt x="666780" y="984324"/>
                    <a:pt x="663899" y="990737"/>
                    <a:pt x="660900" y="997150"/>
                  </a:cubicBezTo>
                  <a:cubicBezTo>
                    <a:pt x="666899" y="992412"/>
                    <a:pt x="673700" y="989062"/>
                    <a:pt x="681362" y="988272"/>
                  </a:cubicBezTo>
                  <a:cubicBezTo>
                    <a:pt x="682490" y="993489"/>
                    <a:pt x="683619" y="998777"/>
                    <a:pt x="684836" y="1003970"/>
                  </a:cubicBezTo>
                  <a:cubicBezTo>
                    <a:pt x="687568" y="1002247"/>
                    <a:pt x="690330" y="1000572"/>
                    <a:pt x="693151" y="998825"/>
                  </a:cubicBezTo>
                  <a:lnTo>
                    <a:pt x="686380" y="995953"/>
                  </a:lnTo>
                  <a:cubicBezTo>
                    <a:pt x="685965" y="987674"/>
                    <a:pt x="686677" y="978150"/>
                    <a:pt x="693508" y="972455"/>
                  </a:cubicBezTo>
                  <a:cubicBezTo>
                    <a:pt x="708624" y="974441"/>
                    <a:pt x="724898" y="986956"/>
                    <a:pt x="722314" y="1003922"/>
                  </a:cubicBezTo>
                  <a:cubicBezTo>
                    <a:pt x="725195" y="1015719"/>
                    <a:pt x="717414" y="1025195"/>
                    <a:pt x="714979" y="1035963"/>
                  </a:cubicBezTo>
                  <a:cubicBezTo>
                    <a:pt x="714385" y="1047783"/>
                    <a:pt x="711386" y="1059868"/>
                    <a:pt x="705090" y="1070013"/>
                  </a:cubicBezTo>
                  <a:cubicBezTo>
                    <a:pt x="696181" y="1074440"/>
                    <a:pt x="687806" y="1080662"/>
                    <a:pt x="678125" y="1083414"/>
                  </a:cubicBezTo>
                  <a:cubicBezTo>
                    <a:pt x="671561" y="1083653"/>
                    <a:pt x="668324" y="1077144"/>
                    <a:pt x="665978" y="1072047"/>
                  </a:cubicBezTo>
                  <a:cubicBezTo>
                    <a:pt x="662236" y="1078221"/>
                    <a:pt x="657425" y="1083964"/>
                    <a:pt x="649912" y="1085041"/>
                  </a:cubicBezTo>
                  <a:cubicBezTo>
                    <a:pt x="647625" y="1079944"/>
                    <a:pt x="647744" y="1071497"/>
                    <a:pt x="641121" y="1070061"/>
                  </a:cubicBezTo>
                  <a:cubicBezTo>
                    <a:pt x="631975" y="1076714"/>
                    <a:pt x="625263" y="1087864"/>
                    <a:pt x="613354" y="1089898"/>
                  </a:cubicBezTo>
                  <a:cubicBezTo>
                    <a:pt x="607860" y="1090784"/>
                    <a:pt x="602841" y="1093201"/>
                    <a:pt x="598001" y="1095881"/>
                  </a:cubicBezTo>
                  <a:cubicBezTo>
                    <a:pt x="597585" y="1106481"/>
                    <a:pt x="586805" y="1110621"/>
                    <a:pt x="579291" y="1116196"/>
                  </a:cubicBezTo>
                  <a:cubicBezTo>
                    <a:pt x="565036" y="1125792"/>
                    <a:pt x="547396" y="1132731"/>
                    <a:pt x="530112" y="1129070"/>
                  </a:cubicBezTo>
                  <a:cubicBezTo>
                    <a:pt x="518827" y="1125552"/>
                    <a:pt x="509324" y="1116244"/>
                    <a:pt x="504899" y="1105476"/>
                  </a:cubicBezTo>
                  <a:cubicBezTo>
                    <a:pt x="510334" y="1095235"/>
                    <a:pt x="521737" y="1091262"/>
                    <a:pt x="532399" y="1089348"/>
                  </a:cubicBezTo>
                  <a:cubicBezTo>
                    <a:pt x="536111" y="1072406"/>
                    <a:pt x="556365" y="1077671"/>
                    <a:pt x="569164" y="1075804"/>
                  </a:cubicBezTo>
                  <a:cubicBezTo>
                    <a:pt x="578549" y="1070779"/>
                    <a:pt x="584310" y="1061088"/>
                    <a:pt x="590161" y="1052450"/>
                  </a:cubicBezTo>
                  <a:cubicBezTo>
                    <a:pt x="588260" y="1051851"/>
                    <a:pt x="586330" y="1051181"/>
                    <a:pt x="584429" y="1050583"/>
                  </a:cubicBezTo>
                  <a:cubicBezTo>
                    <a:pt x="578935" y="1062572"/>
                    <a:pt x="565155" y="1062883"/>
                    <a:pt x="553930" y="1064247"/>
                  </a:cubicBezTo>
                  <a:cubicBezTo>
                    <a:pt x="554702" y="1061447"/>
                    <a:pt x="555474" y="1058743"/>
                    <a:pt x="556246" y="1055991"/>
                  </a:cubicBezTo>
                  <a:cubicBezTo>
                    <a:pt x="553395" y="1056278"/>
                    <a:pt x="550455" y="1056589"/>
                    <a:pt x="547574" y="1056637"/>
                  </a:cubicBezTo>
                  <a:cubicBezTo>
                    <a:pt x="546802" y="1059461"/>
                    <a:pt x="545971" y="1062332"/>
                    <a:pt x="545139" y="1065204"/>
                  </a:cubicBezTo>
                  <a:cubicBezTo>
                    <a:pt x="536111" y="1067190"/>
                    <a:pt x="527202" y="1069535"/>
                    <a:pt x="518174" y="1071808"/>
                  </a:cubicBezTo>
                  <a:cubicBezTo>
                    <a:pt x="518530" y="1064199"/>
                    <a:pt x="518708" y="1056637"/>
                    <a:pt x="518827" y="1049100"/>
                  </a:cubicBezTo>
                  <a:cubicBezTo>
                    <a:pt x="522777" y="1044649"/>
                    <a:pt x="526667" y="1040294"/>
                    <a:pt x="530647" y="1035915"/>
                  </a:cubicBezTo>
                  <a:cubicBezTo>
                    <a:pt x="524737" y="1037901"/>
                    <a:pt x="518055" y="1039983"/>
                    <a:pt x="513363" y="1034359"/>
                  </a:cubicBezTo>
                  <a:cubicBezTo>
                    <a:pt x="511581" y="1045032"/>
                    <a:pt x="511462" y="1056637"/>
                    <a:pt x="506265" y="1066472"/>
                  </a:cubicBezTo>
                  <a:cubicBezTo>
                    <a:pt x="501662" y="1072047"/>
                    <a:pt x="495426" y="1076044"/>
                    <a:pt x="490050" y="1080781"/>
                  </a:cubicBezTo>
                  <a:cubicBezTo>
                    <a:pt x="488447" y="1074967"/>
                    <a:pt x="487051" y="1068937"/>
                    <a:pt x="485625" y="1063050"/>
                  </a:cubicBezTo>
                  <a:cubicBezTo>
                    <a:pt x="478201" y="1065036"/>
                    <a:pt x="477904" y="1072574"/>
                    <a:pt x="477488" y="1078987"/>
                  </a:cubicBezTo>
                  <a:cubicBezTo>
                    <a:pt x="472588" y="1076761"/>
                    <a:pt x="466619" y="1075517"/>
                    <a:pt x="463560" y="1070779"/>
                  </a:cubicBezTo>
                  <a:cubicBezTo>
                    <a:pt x="461244" y="1066113"/>
                    <a:pt x="461778" y="1060705"/>
                    <a:pt x="461481" y="1055680"/>
                  </a:cubicBezTo>
                  <a:cubicBezTo>
                    <a:pt x="456938" y="1058432"/>
                    <a:pt x="452750" y="1061806"/>
                    <a:pt x="447761" y="1063768"/>
                  </a:cubicBezTo>
                  <a:cubicBezTo>
                    <a:pt x="440545" y="1063002"/>
                    <a:pt x="433061" y="1059748"/>
                    <a:pt x="428220" y="1054244"/>
                  </a:cubicBezTo>
                  <a:cubicBezTo>
                    <a:pt x="428636" y="1046396"/>
                    <a:pt x="430626" y="1037781"/>
                    <a:pt x="436832" y="1032445"/>
                  </a:cubicBezTo>
                  <a:cubicBezTo>
                    <a:pt x="445148" y="1030220"/>
                    <a:pt x="453819" y="1029861"/>
                    <a:pt x="462253" y="1031727"/>
                  </a:cubicBezTo>
                  <a:cubicBezTo>
                    <a:pt x="470628" y="1025195"/>
                    <a:pt x="482893" y="1022012"/>
                    <a:pt x="486991" y="1011412"/>
                  </a:cubicBezTo>
                  <a:cubicBezTo>
                    <a:pt x="470569" y="1017226"/>
                    <a:pt x="454413" y="1026391"/>
                    <a:pt x="436417" y="1021366"/>
                  </a:cubicBezTo>
                  <a:cubicBezTo>
                    <a:pt x="438971" y="1014762"/>
                    <a:pt x="440545" y="1006985"/>
                    <a:pt x="446276" y="1002295"/>
                  </a:cubicBezTo>
                  <a:cubicBezTo>
                    <a:pt x="455067" y="1000093"/>
                    <a:pt x="464035" y="998657"/>
                    <a:pt x="472410" y="995116"/>
                  </a:cubicBezTo>
                  <a:lnTo>
                    <a:pt x="449038" y="990450"/>
                  </a:lnTo>
                  <a:cubicBezTo>
                    <a:pt x="451295" y="986549"/>
                    <a:pt x="453641" y="982649"/>
                    <a:pt x="456076" y="978868"/>
                  </a:cubicBezTo>
                  <a:cubicBezTo>
                    <a:pt x="447108" y="974800"/>
                    <a:pt x="454116" y="964128"/>
                    <a:pt x="461125" y="962453"/>
                  </a:cubicBezTo>
                  <a:cubicBezTo>
                    <a:pt x="473063" y="959581"/>
                    <a:pt x="485388" y="961926"/>
                    <a:pt x="497356" y="963410"/>
                  </a:cubicBezTo>
                  <a:cubicBezTo>
                    <a:pt x="488981" y="957906"/>
                    <a:pt x="478646" y="956830"/>
                    <a:pt x="469975" y="952403"/>
                  </a:cubicBezTo>
                  <a:cubicBezTo>
                    <a:pt x="467510" y="941060"/>
                    <a:pt x="479478" y="931967"/>
                    <a:pt x="489575" y="930699"/>
                  </a:cubicBezTo>
                  <a:cubicBezTo>
                    <a:pt x="496287" y="928857"/>
                    <a:pt x="505909" y="925626"/>
                    <a:pt x="510987" y="932326"/>
                  </a:cubicBezTo>
                  <a:cubicBezTo>
                    <a:pt x="513363" y="941372"/>
                    <a:pt x="514462" y="950847"/>
                    <a:pt x="517491" y="959773"/>
                  </a:cubicBezTo>
                  <a:cubicBezTo>
                    <a:pt x="524499" y="957906"/>
                    <a:pt x="531152" y="954078"/>
                    <a:pt x="538487" y="953719"/>
                  </a:cubicBezTo>
                  <a:cubicBezTo>
                    <a:pt x="548168" y="956399"/>
                    <a:pt x="554286" y="965157"/>
                    <a:pt x="555058" y="975159"/>
                  </a:cubicBezTo>
                  <a:cubicBezTo>
                    <a:pt x="561146" y="978222"/>
                    <a:pt x="566967" y="982122"/>
                    <a:pt x="571451" y="987387"/>
                  </a:cubicBezTo>
                  <a:cubicBezTo>
                    <a:pt x="566789" y="989852"/>
                    <a:pt x="562185" y="992364"/>
                    <a:pt x="557523" y="994924"/>
                  </a:cubicBezTo>
                  <a:cubicBezTo>
                    <a:pt x="560136" y="996360"/>
                    <a:pt x="562779" y="997940"/>
                    <a:pt x="565333" y="999423"/>
                  </a:cubicBezTo>
                  <a:cubicBezTo>
                    <a:pt x="567145" y="996241"/>
                    <a:pt x="568986" y="993130"/>
                    <a:pt x="570976" y="990019"/>
                  </a:cubicBezTo>
                  <a:cubicBezTo>
                    <a:pt x="571095" y="992292"/>
                    <a:pt x="571154" y="994566"/>
                    <a:pt x="571273" y="996911"/>
                  </a:cubicBezTo>
                  <a:cubicBezTo>
                    <a:pt x="572817" y="996719"/>
                    <a:pt x="574421" y="996552"/>
                    <a:pt x="576054" y="996432"/>
                  </a:cubicBezTo>
                  <a:cubicBezTo>
                    <a:pt x="577420" y="1006434"/>
                    <a:pt x="578935" y="1016437"/>
                    <a:pt x="580776" y="1026439"/>
                  </a:cubicBezTo>
                  <a:cubicBezTo>
                    <a:pt x="599248" y="1016389"/>
                    <a:pt x="619472" y="1027468"/>
                    <a:pt x="638538" y="1029262"/>
                  </a:cubicBezTo>
                  <a:cubicBezTo>
                    <a:pt x="638122" y="1022562"/>
                    <a:pt x="639369" y="1015838"/>
                    <a:pt x="638597" y="1009138"/>
                  </a:cubicBezTo>
                  <a:cubicBezTo>
                    <a:pt x="630757" y="1001457"/>
                    <a:pt x="620897" y="996312"/>
                    <a:pt x="611632" y="990617"/>
                  </a:cubicBezTo>
                  <a:cubicBezTo>
                    <a:pt x="612939" y="984922"/>
                    <a:pt x="614394" y="979347"/>
                    <a:pt x="615463" y="973676"/>
                  </a:cubicBezTo>
                  <a:lnTo>
                    <a:pt x="618522" y="985999"/>
                  </a:lnTo>
                  <a:cubicBezTo>
                    <a:pt x="623303" y="981094"/>
                    <a:pt x="630698" y="976786"/>
                    <a:pt x="627728" y="968220"/>
                  </a:cubicBezTo>
                  <a:cubicBezTo>
                    <a:pt x="621373" y="955322"/>
                    <a:pt x="599723" y="954915"/>
                    <a:pt x="601594" y="936873"/>
                  </a:cubicBezTo>
                  <a:cubicBezTo>
                    <a:pt x="606494" y="934073"/>
                    <a:pt x="612760" y="932614"/>
                    <a:pt x="616294" y="927947"/>
                  </a:cubicBezTo>
                  <a:cubicBezTo>
                    <a:pt x="620838" y="917538"/>
                    <a:pt x="624550" y="906627"/>
                    <a:pt x="630401" y="896864"/>
                  </a:cubicBezTo>
                  <a:close/>
                  <a:moveTo>
                    <a:pt x="919258" y="893258"/>
                  </a:moveTo>
                  <a:cubicBezTo>
                    <a:pt x="921691" y="891434"/>
                    <a:pt x="924852" y="895368"/>
                    <a:pt x="922420" y="897135"/>
                  </a:cubicBezTo>
                  <a:cubicBezTo>
                    <a:pt x="919987" y="898959"/>
                    <a:pt x="916826" y="895026"/>
                    <a:pt x="919258" y="893258"/>
                  </a:cubicBezTo>
                  <a:close/>
                  <a:moveTo>
                    <a:pt x="1091620" y="892939"/>
                  </a:moveTo>
                  <a:cubicBezTo>
                    <a:pt x="1102438" y="903535"/>
                    <a:pt x="1091801" y="918342"/>
                    <a:pt x="1099175" y="930260"/>
                  </a:cubicBezTo>
                  <a:lnTo>
                    <a:pt x="1089867" y="932068"/>
                  </a:lnTo>
                  <a:cubicBezTo>
                    <a:pt x="1085575" y="922497"/>
                    <a:pt x="1078928" y="913529"/>
                    <a:pt x="1077355" y="902933"/>
                  </a:cubicBezTo>
                  <a:cubicBezTo>
                    <a:pt x="1080014" y="897333"/>
                    <a:pt x="1086603" y="895709"/>
                    <a:pt x="1091620" y="892939"/>
                  </a:cubicBezTo>
                  <a:close/>
                  <a:moveTo>
                    <a:pt x="522180" y="886919"/>
                  </a:moveTo>
                  <a:cubicBezTo>
                    <a:pt x="525723" y="891837"/>
                    <a:pt x="534069" y="902464"/>
                    <a:pt x="525901" y="906530"/>
                  </a:cubicBezTo>
                  <a:cubicBezTo>
                    <a:pt x="515153" y="907988"/>
                    <a:pt x="504825" y="904588"/>
                    <a:pt x="494438" y="902342"/>
                  </a:cubicBezTo>
                  <a:cubicBezTo>
                    <a:pt x="497379" y="888984"/>
                    <a:pt x="510893" y="888133"/>
                    <a:pt x="522180" y="886919"/>
                  </a:cubicBezTo>
                  <a:close/>
                  <a:moveTo>
                    <a:pt x="916945" y="873542"/>
                  </a:moveTo>
                  <a:cubicBezTo>
                    <a:pt x="920518" y="872370"/>
                    <a:pt x="921843" y="878345"/>
                    <a:pt x="918271" y="879107"/>
                  </a:cubicBezTo>
                  <a:cubicBezTo>
                    <a:pt x="914640" y="880396"/>
                    <a:pt x="913315" y="874303"/>
                    <a:pt x="916945" y="873542"/>
                  </a:cubicBezTo>
                  <a:close/>
                  <a:moveTo>
                    <a:pt x="950483" y="870794"/>
                  </a:moveTo>
                  <a:cubicBezTo>
                    <a:pt x="954222" y="870351"/>
                    <a:pt x="958163" y="871096"/>
                    <a:pt x="961477" y="872830"/>
                  </a:cubicBezTo>
                  <a:cubicBezTo>
                    <a:pt x="970867" y="877607"/>
                    <a:pt x="981320" y="880381"/>
                    <a:pt x="989478" y="887316"/>
                  </a:cubicBezTo>
                  <a:cubicBezTo>
                    <a:pt x="993344" y="890655"/>
                    <a:pt x="998231" y="882410"/>
                    <a:pt x="1002140" y="886648"/>
                  </a:cubicBezTo>
                  <a:cubicBezTo>
                    <a:pt x="1008216" y="892864"/>
                    <a:pt x="1011997" y="901083"/>
                    <a:pt x="1015566" y="908916"/>
                  </a:cubicBezTo>
                  <a:cubicBezTo>
                    <a:pt x="1013442" y="917880"/>
                    <a:pt x="1010638" y="926742"/>
                    <a:pt x="1008131" y="935603"/>
                  </a:cubicBezTo>
                  <a:cubicBezTo>
                    <a:pt x="1011997" y="930081"/>
                    <a:pt x="1014972" y="923916"/>
                    <a:pt x="1019221" y="918651"/>
                  </a:cubicBezTo>
                  <a:cubicBezTo>
                    <a:pt x="1025679" y="917701"/>
                    <a:pt x="1032562" y="919678"/>
                    <a:pt x="1038723" y="916879"/>
                  </a:cubicBezTo>
                  <a:cubicBezTo>
                    <a:pt x="1046414" y="913642"/>
                    <a:pt x="1055167" y="909019"/>
                    <a:pt x="1063580" y="911844"/>
                  </a:cubicBezTo>
                  <a:cubicBezTo>
                    <a:pt x="1072885" y="916211"/>
                    <a:pt x="1078876" y="925355"/>
                    <a:pt x="1081765" y="934986"/>
                  </a:cubicBezTo>
                  <a:cubicBezTo>
                    <a:pt x="1072800" y="933368"/>
                    <a:pt x="1064047" y="930980"/>
                    <a:pt x="1055464" y="928180"/>
                  </a:cubicBezTo>
                  <a:cubicBezTo>
                    <a:pt x="1074457" y="937863"/>
                    <a:pt x="1091368" y="943437"/>
                    <a:pt x="1107514" y="950731"/>
                  </a:cubicBezTo>
                  <a:cubicBezTo>
                    <a:pt x="1112953" y="953428"/>
                    <a:pt x="1110276" y="961262"/>
                    <a:pt x="1105177" y="962392"/>
                  </a:cubicBezTo>
                  <a:cubicBezTo>
                    <a:pt x="1090136" y="966219"/>
                    <a:pt x="1074797" y="962803"/>
                    <a:pt x="1059713" y="961801"/>
                  </a:cubicBezTo>
                  <a:cubicBezTo>
                    <a:pt x="1064345" y="964138"/>
                    <a:pt x="1069146" y="966296"/>
                    <a:pt x="1073777" y="968556"/>
                  </a:cubicBezTo>
                  <a:cubicBezTo>
                    <a:pt x="1073565" y="970174"/>
                    <a:pt x="1073310" y="971792"/>
                    <a:pt x="1073098" y="973410"/>
                  </a:cubicBezTo>
                  <a:cubicBezTo>
                    <a:pt x="1078281" y="971202"/>
                    <a:pt x="1083720" y="971921"/>
                    <a:pt x="1088606" y="974592"/>
                  </a:cubicBezTo>
                  <a:cubicBezTo>
                    <a:pt x="1080618" y="976518"/>
                    <a:pt x="1072800" y="978856"/>
                    <a:pt x="1065067" y="981655"/>
                  </a:cubicBezTo>
                  <a:cubicBezTo>
                    <a:pt x="1074202" y="984583"/>
                    <a:pt x="1083975" y="983505"/>
                    <a:pt x="1093280" y="982092"/>
                  </a:cubicBezTo>
                  <a:cubicBezTo>
                    <a:pt x="1095362" y="986638"/>
                    <a:pt x="1096934" y="991415"/>
                    <a:pt x="1097997" y="996321"/>
                  </a:cubicBezTo>
                  <a:cubicBezTo>
                    <a:pt x="1103520" y="996373"/>
                    <a:pt x="1112868" y="998042"/>
                    <a:pt x="1112103" y="1005234"/>
                  </a:cubicBezTo>
                  <a:cubicBezTo>
                    <a:pt x="1115502" y="1015045"/>
                    <a:pt x="1105900" y="1016304"/>
                    <a:pt x="1100291" y="1019540"/>
                  </a:cubicBezTo>
                  <a:cubicBezTo>
                    <a:pt x="1110191" y="1019001"/>
                    <a:pt x="1112698" y="1028196"/>
                    <a:pt x="1116182" y="1034899"/>
                  </a:cubicBezTo>
                  <a:lnTo>
                    <a:pt x="1120176" y="1036107"/>
                  </a:lnTo>
                  <a:cubicBezTo>
                    <a:pt x="1119581" y="1027554"/>
                    <a:pt x="1119624" y="1018872"/>
                    <a:pt x="1121833" y="1010550"/>
                  </a:cubicBezTo>
                  <a:cubicBezTo>
                    <a:pt x="1126890" y="1016843"/>
                    <a:pt x="1130501" y="1024086"/>
                    <a:pt x="1133985" y="1031432"/>
                  </a:cubicBezTo>
                  <a:lnTo>
                    <a:pt x="1145118" y="1022288"/>
                  </a:lnTo>
                  <a:cubicBezTo>
                    <a:pt x="1147242" y="1024446"/>
                    <a:pt x="1149409" y="1026655"/>
                    <a:pt x="1151576" y="1028812"/>
                  </a:cubicBezTo>
                  <a:cubicBezTo>
                    <a:pt x="1152808" y="1024985"/>
                    <a:pt x="1154168" y="1021210"/>
                    <a:pt x="1155868" y="1017562"/>
                  </a:cubicBezTo>
                  <a:cubicBezTo>
                    <a:pt x="1162326" y="1024677"/>
                    <a:pt x="1169549" y="1031021"/>
                    <a:pt x="1177792" y="1035927"/>
                  </a:cubicBezTo>
                  <a:cubicBezTo>
                    <a:pt x="1176602" y="1037956"/>
                    <a:pt x="1175413" y="1039934"/>
                    <a:pt x="1174266" y="1041963"/>
                  </a:cubicBezTo>
                  <a:cubicBezTo>
                    <a:pt x="1179662" y="1039702"/>
                    <a:pt x="1185143" y="1037673"/>
                    <a:pt x="1190837" y="1036055"/>
                  </a:cubicBezTo>
                  <a:cubicBezTo>
                    <a:pt x="1188542" y="1033101"/>
                    <a:pt x="1186290" y="1030173"/>
                    <a:pt x="1184081" y="1027194"/>
                  </a:cubicBezTo>
                  <a:cubicBezTo>
                    <a:pt x="1203923" y="1020542"/>
                    <a:pt x="1224276" y="1013016"/>
                    <a:pt x="1239615" y="998170"/>
                  </a:cubicBezTo>
                  <a:cubicBezTo>
                    <a:pt x="1244331" y="1001047"/>
                    <a:pt x="1248877" y="1004463"/>
                    <a:pt x="1254231" y="1005953"/>
                  </a:cubicBezTo>
                  <a:cubicBezTo>
                    <a:pt x="1261752" y="1004515"/>
                    <a:pt x="1267573" y="998710"/>
                    <a:pt x="1274966" y="996912"/>
                  </a:cubicBezTo>
                  <a:cubicBezTo>
                    <a:pt x="1285121" y="996989"/>
                    <a:pt x="1294936" y="999737"/>
                    <a:pt x="1304369" y="1003384"/>
                  </a:cubicBezTo>
                  <a:cubicBezTo>
                    <a:pt x="1303052" y="1007160"/>
                    <a:pt x="1301862" y="1010987"/>
                    <a:pt x="1300630" y="1014814"/>
                  </a:cubicBezTo>
                  <a:cubicBezTo>
                    <a:pt x="1309510" y="1016432"/>
                    <a:pt x="1320090" y="1013119"/>
                    <a:pt x="1327696" y="1019103"/>
                  </a:cubicBezTo>
                  <a:cubicBezTo>
                    <a:pt x="1333135" y="1023187"/>
                    <a:pt x="1326124" y="1029095"/>
                    <a:pt x="1323914" y="1033101"/>
                  </a:cubicBezTo>
                  <a:cubicBezTo>
                    <a:pt x="1328588" y="1032768"/>
                    <a:pt x="1333390" y="1031869"/>
                    <a:pt x="1338021" y="1032768"/>
                  </a:cubicBezTo>
                  <a:cubicBezTo>
                    <a:pt x="1342057" y="1039035"/>
                    <a:pt x="1343884" y="1047228"/>
                    <a:pt x="1342397" y="1054651"/>
                  </a:cubicBezTo>
                  <a:cubicBezTo>
                    <a:pt x="1336534" y="1062844"/>
                    <a:pt x="1327738" y="1068521"/>
                    <a:pt x="1320813" y="1075892"/>
                  </a:cubicBezTo>
                  <a:cubicBezTo>
                    <a:pt x="1327356" y="1080669"/>
                    <a:pt x="1334197" y="1076483"/>
                    <a:pt x="1340443" y="1073606"/>
                  </a:cubicBezTo>
                  <a:cubicBezTo>
                    <a:pt x="1342695" y="1078461"/>
                    <a:pt x="1344989" y="1083264"/>
                    <a:pt x="1347241" y="1088092"/>
                  </a:cubicBezTo>
                  <a:cubicBezTo>
                    <a:pt x="1340825" y="1089762"/>
                    <a:pt x="1334409" y="1091277"/>
                    <a:pt x="1327823" y="1092048"/>
                  </a:cubicBezTo>
                  <a:cubicBezTo>
                    <a:pt x="1327059" y="1099214"/>
                    <a:pt x="1326931" y="1106457"/>
                    <a:pt x="1327356" y="1113648"/>
                  </a:cubicBezTo>
                  <a:cubicBezTo>
                    <a:pt x="1313292" y="1113597"/>
                    <a:pt x="1298633" y="1114059"/>
                    <a:pt x="1288180" y="1125078"/>
                  </a:cubicBezTo>
                  <a:cubicBezTo>
                    <a:pt x="1279767" y="1121302"/>
                    <a:pt x="1270717" y="1118965"/>
                    <a:pt x="1261454" y="1118734"/>
                  </a:cubicBezTo>
                  <a:cubicBezTo>
                    <a:pt x="1260520" y="1105275"/>
                    <a:pt x="1257036" y="1091868"/>
                    <a:pt x="1245691" y="1083726"/>
                  </a:cubicBezTo>
                  <a:cubicBezTo>
                    <a:pt x="1248665" y="1092176"/>
                    <a:pt x="1253041" y="1101191"/>
                    <a:pt x="1248793" y="1110053"/>
                  </a:cubicBezTo>
                  <a:cubicBezTo>
                    <a:pt x="1247475" y="1119196"/>
                    <a:pt x="1237108" y="1119505"/>
                    <a:pt x="1229715" y="1120583"/>
                  </a:cubicBezTo>
                  <a:cubicBezTo>
                    <a:pt x="1221302" y="1120994"/>
                    <a:pt x="1212889" y="1119864"/>
                    <a:pt x="1204518" y="1120943"/>
                  </a:cubicBezTo>
                  <a:cubicBezTo>
                    <a:pt x="1203244" y="1118554"/>
                    <a:pt x="1201926" y="1116217"/>
                    <a:pt x="1200609" y="1113880"/>
                  </a:cubicBezTo>
                  <a:cubicBezTo>
                    <a:pt x="1199250" y="1116448"/>
                    <a:pt x="1197932" y="1119094"/>
                    <a:pt x="1196615" y="1121662"/>
                  </a:cubicBezTo>
                  <a:lnTo>
                    <a:pt x="1185270" y="1124230"/>
                  </a:lnTo>
                  <a:cubicBezTo>
                    <a:pt x="1185143" y="1120943"/>
                    <a:pt x="1185015" y="1117707"/>
                    <a:pt x="1184973" y="1114419"/>
                  </a:cubicBezTo>
                  <a:cubicBezTo>
                    <a:pt x="1181744" y="1118143"/>
                    <a:pt x="1178217" y="1122201"/>
                    <a:pt x="1172948" y="1122561"/>
                  </a:cubicBezTo>
                  <a:cubicBezTo>
                    <a:pt x="1158119" y="1124359"/>
                    <a:pt x="1142611" y="1126208"/>
                    <a:pt x="1128207" y="1121354"/>
                  </a:cubicBezTo>
                  <a:cubicBezTo>
                    <a:pt x="1125445" y="1110720"/>
                    <a:pt x="1131436" y="1099650"/>
                    <a:pt x="1127060" y="1089043"/>
                  </a:cubicBezTo>
                  <a:cubicBezTo>
                    <a:pt x="1124128" y="1094077"/>
                    <a:pt x="1121918" y="1099291"/>
                    <a:pt x="1120346" y="1105018"/>
                  </a:cubicBezTo>
                  <a:cubicBezTo>
                    <a:pt x="1118986" y="1102167"/>
                    <a:pt x="1117627" y="1099342"/>
                    <a:pt x="1116182" y="1096542"/>
                  </a:cubicBezTo>
                  <a:cubicBezTo>
                    <a:pt x="1113718" y="1104248"/>
                    <a:pt x="1112486" y="1114188"/>
                    <a:pt x="1103605" y="1117244"/>
                  </a:cubicBezTo>
                  <a:cubicBezTo>
                    <a:pt x="1089796" y="1123280"/>
                    <a:pt x="1078579" y="1109333"/>
                    <a:pt x="1067659" y="1102810"/>
                  </a:cubicBezTo>
                  <a:cubicBezTo>
                    <a:pt x="1070038" y="1097364"/>
                    <a:pt x="1071993" y="1091739"/>
                    <a:pt x="1073735" y="1086012"/>
                  </a:cubicBezTo>
                  <a:cubicBezTo>
                    <a:pt x="1067701" y="1093255"/>
                    <a:pt x="1061243" y="1101371"/>
                    <a:pt x="1063452" y="1111491"/>
                  </a:cubicBezTo>
                  <a:cubicBezTo>
                    <a:pt x="1056272" y="1107715"/>
                    <a:pt x="1047434" y="1104479"/>
                    <a:pt x="1043610" y="1096902"/>
                  </a:cubicBezTo>
                  <a:cubicBezTo>
                    <a:pt x="1041698" y="1086731"/>
                    <a:pt x="1039913" y="1076123"/>
                    <a:pt x="1041400" y="1065721"/>
                  </a:cubicBezTo>
                  <a:cubicBezTo>
                    <a:pt x="1028271" y="1057528"/>
                    <a:pt x="1031798" y="1037905"/>
                    <a:pt x="1038553" y="1026475"/>
                  </a:cubicBezTo>
                  <a:cubicBezTo>
                    <a:pt x="1046287" y="1016663"/>
                    <a:pt x="1039871" y="1003795"/>
                    <a:pt x="1038723" y="993136"/>
                  </a:cubicBezTo>
                  <a:cubicBezTo>
                    <a:pt x="1027591" y="978856"/>
                    <a:pt x="1023597" y="960953"/>
                    <a:pt x="1017011" y="944387"/>
                  </a:cubicBezTo>
                  <a:cubicBezTo>
                    <a:pt x="1012125" y="946185"/>
                    <a:pt x="1007323" y="948214"/>
                    <a:pt x="1002437" y="950063"/>
                  </a:cubicBezTo>
                  <a:cubicBezTo>
                    <a:pt x="1002267" y="951990"/>
                    <a:pt x="1002055" y="953890"/>
                    <a:pt x="1001970" y="955868"/>
                  </a:cubicBezTo>
                  <a:cubicBezTo>
                    <a:pt x="994364" y="954430"/>
                    <a:pt x="986886" y="952118"/>
                    <a:pt x="979238" y="951681"/>
                  </a:cubicBezTo>
                  <a:cubicBezTo>
                    <a:pt x="973374" y="953608"/>
                    <a:pt x="968020" y="956844"/>
                    <a:pt x="962029" y="958385"/>
                  </a:cubicBezTo>
                  <a:cubicBezTo>
                    <a:pt x="964834" y="953839"/>
                    <a:pt x="968020" y="949601"/>
                    <a:pt x="971335" y="945414"/>
                  </a:cubicBezTo>
                  <a:cubicBezTo>
                    <a:pt x="960712" y="944027"/>
                    <a:pt x="949495" y="940791"/>
                    <a:pt x="943801" y="930877"/>
                  </a:cubicBezTo>
                  <a:lnTo>
                    <a:pt x="954381" y="925483"/>
                  </a:lnTo>
                  <a:cubicBezTo>
                    <a:pt x="943929" y="921117"/>
                    <a:pt x="936876" y="911613"/>
                    <a:pt x="926423" y="907221"/>
                  </a:cubicBezTo>
                  <a:cubicBezTo>
                    <a:pt x="926211" y="904293"/>
                    <a:pt x="925998" y="901365"/>
                    <a:pt x="925701" y="898437"/>
                  </a:cubicBezTo>
                  <a:cubicBezTo>
                    <a:pt x="929525" y="900004"/>
                    <a:pt x="933349" y="901442"/>
                    <a:pt x="937173" y="902855"/>
                  </a:cubicBezTo>
                  <a:cubicBezTo>
                    <a:pt x="937088" y="894019"/>
                    <a:pt x="923534" y="890732"/>
                    <a:pt x="930545" y="881511"/>
                  </a:cubicBezTo>
                  <a:cubicBezTo>
                    <a:pt x="927783" y="881922"/>
                    <a:pt x="925021" y="882410"/>
                    <a:pt x="922344" y="882949"/>
                  </a:cubicBezTo>
                  <a:cubicBezTo>
                    <a:pt x="928760" y="881280"/>
                    <a:pt x="936153" y="881331"/>
                    <a:pt x="940700" y="875886"/>
                  </a:cubicBezTo>
                  <a:cubicBezTo>
                    <a:pt x="943207" y="872868"/>
                    <a:pt x="946744" y="871237"/>
                    <a:pt x="950483" y="870794"/>
                  </a:cubicBezTo>
                  <a:close/>
                  <a:moveTo>
                    <a:pt x="520598" y="860251"/>
                  </a:moveTo>
                  <a:cubicBezTo>
                    <a:pt x="524000" y="858825"/>
                    <a:pt x="526041" y="864184"/>
                    <a:pt x="522392" y="865040"/>
                  </a:cubicBezTo>
                  <a:cubicBezTo>
                    <a:pt x="518928" y="866351"/>
                    <a:pt x="517011" y="861163"/>
                    <a:pt x="520598" y="860251"/>
                  </a:cubicBezTo>
                  <a:close/>
                  <a:moveTo>
                    <a:pt x="753457" y="856821"/>
                  </a:moveTo>
                  <a:lnTo>
                    <a:pt x="757804" y="863373"/>
                  </a:lnTo>
                  <a:cubicBezTo>
                    <a:pt x="753698" y="865981"/>
                    <a:pt x="749170" y="867862"/>
                    <a:pt x="744761" y="869864"/>
                  </a:cubicBezTo>
                  <a:cubicBezTo>
                    <a:pt x="747055" y="865072"/>
                    <a:pt x="750015" y="860764"/>
                    <a:pt x="753457" y="856821"/>
                  </a:cubicBezTo>
                  <a:close/>
                  <a:moveTo>
                    <a:pt x="1069801" y="850894"/>
                  </a:moveTo>
                  <a:cubicBezTo>
                    <a:pt x="1073296" y="851767"/>
                    <a:pt x="1075771" y="854647"/>
                    <a:pt x="1074691" y="859810"/>
                  </a:cubicBezTo>
                  <a:cubicBezTo>
                    <a:pt x="1069831" y="866853"/>
                    <a:pt x="1062690" y="857720"/>
                    <a:pt x="1058791" y="854021"/>
                  </a:cubicBezTo>
                  <a:cubicBezTo>
                    <a:pt x="1061791" y="851156"/>
                    <a:pt x="1066306" y="850021"/>
                    <a:pt x="1069801" y="850894"/>
                  </a:cubicBezTo>
                  <a:close/>
                  <a:moveTo>
                    <a:pt x="956456" y="848793"/>
                  </a:moveTo>
                  <a:cubicBezTo>
                    <a:pt x="960508" y="850805"/>
                    <a:pt x="964561" y="852934"/>
                    <a:pt x="968495" y="855242"/>
                  </a:cubicBezTo>
                  <a:lnTo>
                    <a:pt x="964384" y="861334"/>
                  </a:lnTo>
                  <a:cubicBezTo>
                    <a:pt x="961565" y="857252"/>
                    <a:pt x="958982" y="853052"/>
                    <a:pt x="956456" y="848793"/>
                  </a:cubicBezTo>
                  <a:close/>
                  <a:moveTo>
                    <a:pt x="448747" y="816184"/>
                  </a:moveTo>
                  <a:cubicBezTo>
                    <a:pt x="455680" y="816366"/>
                    <a:pt x="462362" y="818345"/>
                    <a:pt x="468287" y="822050"/>
                  </a:cubicBezTo>
                  <a:lnTo>
                    <a:pt x="458255" y="826717"/>
                  </a:lnTo>
                  <a:cubicBezTo>
                    <a:pt x="463676" y="827843"/>
                    <a:pt x="469187" y="828623"/>
                    <a:pt x="474626" y="829350"/>
                  </a:cubicBezTo>
                  <a:cubicBezTo>
                    <a:pt x="477075" y="834307"/>
                    <a:pt x="479939" y="839265"/>
                    <a:pt x="480893" y="844767"/>
                  </a:cubicBezTo>
                  <a:cubicBezTo>
                    <a:pt x="474806" y="851468"/>
                    <a:pt x="463622" y="853212"/>
                    <a:pt x="459984" y="862001"/>
                  </a:cubicBezTo>
                  <a:cubicBezTo>
                    <a:pt x="463856" y="870736"/>
                    <a:pt x="469907" y="878327"/>
                    <a:pt x="474554" y="886644"/>
                  </a:cubicBezTo>
                  <a:cubicBezTo>
                    <a:pt x="469187" y="885754"/>
                    <a:pt x="463802" y="884737"/>
                    <a:pt x="458490" y="883720"/>
                  </a:cubicBezTo>
                  <a:cubicBezTo>
                    <a:pt x="463334" y="891910"/>
                    <a:pt x="472051" y="899809"/>
                    <a:pt x="470862" y="910088"/>
                  </a:cubicBezTo>
                  <a:cubicBezTo>
                    <a:pt x="464937" y="919004"/>
                    <a:pt x="452745" y="919731"/>
                    <a:pt x="444623" y="925887"/>
                  </a:cubicBezTo>
                  <a:cubicBezTo>
                    <a:pt x="441165" y="934495"/>
                    <a:pt x="446477" y="947479"/>
                    <a:pt x="436915" y="952509"/>
                  </a:cubicBezTo>
                  <a:cubicBezTo>
                    <a:pt x="428198" y="955069"/>
                    <a:pt x="421553" y="945209"/>
                    <a:pt x="419644" y="937854"/>
                  </a:cubicBezTo>
                  <a:cubicBezTo>
                    <a:pt x="418563" y="923853"/>
                    <a:pt x="423048" y="910088"/>
                    <a:pt x="425569" y="896450"/>
                  </a:cubicBezTo>
                  <a:cubicBezTo>
                    <a:pt x="421733" y="898484"/>
                    <a:pt x="417681" y="900227"/>
                    <a:pt x="414097" y="902788"/>
                  </a:cubicBezTo>
                  <a:cubicBezTo>
                    <a:pt x="410801" y="910451"/>
                    <a:pt x="413142" y="919894"/>
                    <a:pt x="408478" y="927140"/>
                  </a:cubicBezTo>
                  <a:cubicBezTo>
                    <a:pt x="404894" y="927739"/>
                    <a:pt x="401184" y="927376"/>
                    <a:pt x="397546" y="927267"/>
                  </a:cubicBezTo>
                  <a:cubicBezTo>
                    <a:pt x="400230" y="931026"/>
                    <a:pt x="403273" y="934622"/>
                    <a:pt x="405074" y="938980"/>
                  </a:cubicBezTo>
                  <a:cubicBezTo>
                    <a:pt x="402805" y="950348"/>
                    <a:pt x="398501" y="961171"/>
                    <a:pt x="394485" y="971994"/>
                  </a:cubicBezTo>
                  <a:cubicBezTo>
                    <a:pt x="387029" y="964876"/>
                    <a:pt x="386363" y="954234"/>
                    <a:pt x="384040" y="944791"/>
                  </a:cubicBezTo>
                  <a:cubicBezTo>
                    <a:pt x="382725" y="945499"/>
                    <a:pt x="381338" y="946280"/>
                    <a:pt x="380024" y="947061"/>
                  </a:cubicBezTo>
                  <a:cubicBezTo>
                    <a:pt x="380690" y="958066"/>
                    <a:pt x="382239" y="969071"/>
                    <a:pt x="382725" y="980075"/>
                  </a:cubicBezTo>
                  <a:cubicBezTo>
                    <a:pt x="381284" y="990790"/>
                    <a:pt x="370659" y="995148"/>
                    <a:pt x="361564" y="997781"/>
                  </a:cubicBezTo>
                  <a:cubicBezTo>
                    <a:pt x="359007" y="983671"/>
                    <a:pt x="355585" y="969670"/>
                    <a:pt x="351713" y="955905"/>
                  </a:cubicBezTo>
                  <a:cubicBezTo>
                    <a:pt x="349624" y="964821"/>
                    <a:pt x="349084" y="973974"/>
                    <a:pt x="348417" y="983072"/>
                  </a:cubicBezTo>
                  <a:cubicBezTo>
                    <a:pt x="339161" y="986304"/>
                    <a:pt x="332173" y="979240"/>
                    <a:pt x="326374" y="973011"/>
                  </a:cubicBezTo>
                  <a:cubicBezTo>
                    <a:pt x="321296" y="979785"/>
                    <a:pt x="316163" y="986413"/>
                    <a:pt x="310472" y="992642"/>
                  </a:cubicBezTo>
                  <a:cubicBezTo>
                    <a:pt x="310130" y="987848"/>
                    <a:pt x="309824" y="983126"/>
                    <a:pt x="309698" y="978405"/>
                  </a:cubicBezTo>
                  <a:cubicBezTo>
                    <a:pt x="306708" y="978169"/>
                    <a:pt x="303737" y="977987"/>
                    <a:pt x="300801" y="977805"/>
                  </a:cubicBezTo>
                  <a:lnTo>
                    <a:pt x="300801" y="974391"/>
                  </a:lnTo>
                  <a:cubicBezTo>
                    <a:pt x="304745" y="974573"/>
                    <a:pt x="308689" y="974864"/>
                    <a:pt x="312633" y="975172"/>
                  </a:cubicBezTo>
                  <a:cubicBezTo>
                    <a:pt x="311318" y="970378"/>
                    <a:pt x="309770" y="965657"/>
                    <a:pt x="308275" y="960935"/>
                  </a:cubicBezTo>
                  <a:cubicBezTo>
                    <a:pt x="305754" y="963695"/>
                    <a:pt x="303250" y="966437"/>
                    <a:pt x="300801" y="969252"/>
                  </a:cubicBezTo>
                  <a:lnTo>
                    <a:pt x="300801" y="966982"/>
                  </a:lnTo>
                  <a:cubicBezTo>
                    <a:pt x="305393" y="954779"/>
                    <a:pt x="312093" y="942757"/>
                    <a:pt x="322376" y="934495"/>
                  </a:cubicBezTo>
                  <a:cubicBezTo>
                    <a:pt x="328823" y="935275"/>
                    <a:pt x="334316" y="938980"/>
                    <a:pt x="339827" y="942267"/>
                  </a:cubicBezTo>
                  <a:cubicBezTo>
                    <a:pt x="338332" y="935221"/>
                    <a:pt x="335937" y="927321"/>
                    <a:pt x="340115" y="920748"/>
                  </a:cubicBezTo>
                  <a:cubicBezTo>
                    <a:pt x="342799" y="914809"/>
                    <a:pt x="348958" y="909743"/>
                    <a:pt x="347535" y="902624"/>
                  </a:cubicBezTo>
                  <a:cubicBezTo>
                    <a:pt x="350867" y="903750"/>
                    <a:pt x="354216" y="904949"/>
                    <a:pt x="357620" y="906147"/>
                  </a:cubicBezTo>
                  <a:cubicBezTo>
                    <a:pt x="360249" y="899501"/>
                    <a:pt x="362338" y="892618"/>
                    <a:pt x="365634" y="886281"/>
                  </a:cubicBezTo>
                  <a:cubicBezTo>
                    <a:pt x="373216" y="870554"/>
                    <a:pt x="387984" y="858896"/>
                    <a:pt x="391675" y="841244"/>
                  </a:cubicBezTo>
                  <a:cubicBezTo>
                    <a:pt x="394017" y="843169"/>
                    <a:pt x="396412" y="845022"/>
                    <a:pt x="398861" y="846874"/>
                  </a:cubicBezTo>
                  <a:cubicBezTo>
                    <a:pt x="400104" y="843750"/>
                    <a:pt x="401364" y="840645"/>
                    <a:pt x="402625" y="837540"/>
                  </a:cubicBezTo>
                  <a:cubicBezTo>
                    <a:pt x="417014" y="835452"/>
                    <a:pt x="431530" y="837540"/>
                    <a:pt x="443614" y="846093"/>
                  </a:cubicBezTo>
                  <a:cubicBezTo>
                    <a:pt x="442227" y="843278"/>
                    <a:pt x="440913" y="840409"/>
                    <a:pt x="439598" y="837594"/>
                  </a:cubicBezTo>
                  <a:lnTo>
                    <a:pt x="450115" y="840645"/>
                  </a:lnTo>
                  <a:cubicBezTo>
                    <a:pt x="450421" y="839628"/>
                    <a:pt x="450710" y="838611"/>
                    <a:pt x="451016" y="837594"/>
                  </a:cubicBezTo>
                  <a:cubicBezTo>
                    <a:pt x="447018" y="833345"/>
                    <a:pt x="443362" y="828805"/>
                    <a:pt x="440210" y="823902"/>
                  </a:cubicBezTo>
                  <a:cubicBezTo>
                    <a:pt x="444677" y="825627"/>
                    <a:pt x="449161" y="827498"/>
                    <a:pt x="453591" y="829531"/>
                  </a:cubicBezTo>
                  <a:cubicBezTo>
                    <a:pt x="451916" y="825028"/>
                    <a:pt x="450295" y="820615"/>
                    <a:pt x="448747" y="816184"/>
                  </a:cubicBezTo>
                  <a:close/>
                  <a:moveTo>
                    <a:pt x="1211561" y="813676"/>
                  </a:moveTo>
                  <a:cubicBezTo>
                    <a:pt x="1213105" y="817237"/>
                    <a:pt x="1214648" y="820860"/>
                    <a:pt x="1216311" y="824421"/>
                  </a:cubicBezTo>
                  <a:lnTo>
                    <a:pt x="1209305" y="828224"/>
                  </a:lnTo>
                  <a:cubicBezTo>
                    <a:pt x="1206929" y="823756"/>
                    <a:pt x="1204376" y="819411"/>
                    <a:pt x="1201763" y="815125"/>
                  </a:cubicBezTo>
                  <a:cubicBezTo>
                    <a:pt x="1205029" y="814702"/>
                    <a:pt x="1208295" y="814219"/>
                    <a:pt x="1211561" y="813676"/>
                  </a:cubicBezTo>
                  <a:close/>
                  <a:moveTo>
                    <a:pt x="1073870" y="807288"/>
                  </a:moveTo>
                  <a:cubicBezTo>
                    <a:pt x="1077973" y="807146"/>
                    <a:pt x="1082023" y="807864"/>
                    <a:pt x="1085619" y="810078"/>
                  </a:cubicBezTo>
                  <a:cubicBezTo>
                    <a:pt x="1094990" y="818097"/>
                    <a:pt x="1100429" y="830781"/>
                    <a:pt x="1099463" y="843052"/>
                  </a:cubicBezTo>
                  <a:cubicBezTo>
                    <a:pt x="1097466" y="849456"/>
                    <a:pt x="1090695" y="859327"/>
                    <a:pt x="1082958" y="854781"/>
                  </a:cubicBezTo>
                  <a:cubicBezTo>
                    <a:pt x="1075522" y="849751"/>
                    <a:pt x="1067484" y="844067"/>
                    <a:pt x="1063556" y="835811"/>
                  </a:cubicBezTo>
                  <a:cubicBezTo>
                    <a:pt x="1061864" y="827255"/>
                    <a:pt x="1062347" y="818334"/>
                    <a:pt x="1061802" y="809659"/>
                  </a:cubicBezTo>
                  <a:cubicBezTo>
                    <a:pt x="1065611" y="808433"/>
                    <a:pt x="1069767" y="807430"/>
                    <a:pt x="1073870" y="807288"/>
                  </a:cubicBezTo>
                  <a:close/>
                  <a:moveTo>
                    <a:pt x="712017" y="793108"/>
                  </a:moveTo>
                  <a:cubicBezTo>
                    <a:pt x="723790" y="802208"/>
                    <a:pt x="734601" y="815253"/>
                    <a:pt x="732199" y="831056"/>
                  </a:cubicBezTo>
                  <a:cubicBezTo>
                    <a:pt x="743911" y="835067"/>
                    <a:pt x="750277" y="850929"/>
                    <a:pt x="745173" y="862005"/>
                  </a:cubicBezTo>
                  <a:cubicBezTo>
                    <a:pt x="736764" y="866850"/>
                    <a:pt x="725891" y="860265"/>
                    <a:pt x="722770" y="852065"/>
                  </a:cubicBezTo>
                  <a:cubicBezTo>
                    <a:pt x="715742" y="833570"/>
                    <a:pt x="711959" y="814176"/>
                    <a:pt x="706132" y="795320"/>
                  </a:cubicBezTo>
                  <a:close/>
                  <a:moveTo>
                    <a:pt x="1006431" y="791604"/>
                  </a:moveTo>
                  <a:cubicBezTo>
                    <a:pt x="1010561" y="795152"/>
                    <a:pt x="1014506" y="798881"/>
                    <a:pt x="1018159" y="802903"/>
                  </a:cubicBezTo>
                  <a:cubicBezTo>
                    <a:pt x="1010619" y="809705"/>
                    <a:pt x="1007444" y="819288"/>
                    <a:pt x="1007511" y="829228"/>
                  </a:cubicBezTo>
                  <a:cubicBezTo>
                    <a:pt x="992608" y="828340"/>
                    <a:pt x="978006" y="824081"/>
                    <a:pt x="962985" y="825680"/>
                  </a:cubicBezTo>
                  <a:cubicBezTo>
                    <a:pt x="954549" y="828754"/>
                    <a:pt x="946414" y="824672"/>
                    <a:pt x="942703" y="817395"/>
                  </a:cubicBezTo>
                  <a:cubicBezTo>
                    <a:pt x="934384" y="807399"/>
                    <a:pt x="946289" y="794031"/>
                    <a:pt x="956643" y="791841"/>
                  </a:cubicBezTo>
                  <a:cubicBezTo>
                    <a:pt x="964903" y="793022"/>
                    <a:pt x="973164" y="794087"/>
                    <a:pt x="981474" y="792609"/>
                  </a:cubicBezTo>
                  <a:cubicBezTo>
                    <a:pt x="989977" y="791604"/>
                    <a:pt x="998715" y="797579"/>
                    <a:pt x="1006431" y="791604"/>
                  </a:cubicBezTo>
                  <a:close/>
                  <a:moveTo>
                    <a:pt x="1390884" y="782073"/>
                  </a:moveTo>
                  <a:cubicBezTo>
                    <a:pt x="1389120" y="786699"/>
                    <a:pt x="1385776" y="790244"/>
                    <a:pt x="1381094" y="792106"/>
                  </a:cubicBezTo>
                  <a:lnTo>
                    <a:pt x="1380851" y="784356"/>
                  </a:lnTo>
                  <a:cubicBezTo>
                    <a:pt x="1384195" y="783515"/>
                    <a:pt x="1387479" y="782734"/>
                    <a:pt x="1390884" y="782073"/>
                  </a:cubicBezTo>
                  <a:close/>
                  <a:moveTo>
                    <a:pt x="803614" y="778388"/>
                  </a:moveTo>
                  <a:cubicBezTo>
                    <a:pt x="807692" y="777971"/>
                    <a:pt x="811709" y="778135"/>
                    <a:pt x="815458" y="780217"/>
                  </a:cubicBezTo>
                  <a:cubicBezTo>
                    <a:pt x="822711" y="783250"/>
                    <a:pt x="826908" y="790091"/>
                    <a:pt x="831045" y="796275"/>
                  </a:cubicBezTo>
                  <a:cubicBezTo>
                    <a:pt x="821573" y="797107"/>
                    <a:pt x="812759" y="801154"/>
                    <a:pt x="803525" y="802640"/>
                  </a:cubicBezTo>
                  <a:cubicBezTo>
                    <a:pt x="793994" y="799606"/>
                    <a:pt x="791775" y="788722"/>
                    <a:pt x="791414" y="780039"/>
                  </a:cubicBezTo>
                  <a:cubicBezTo>
                    <a:pt x="795401" y="779801"/>
                    <a:pt x="799537" y="778804"/>
                    <a:pt x="803614" y="778388"/>
                  </a:cubicBezTo>
                  <a:close/>
                  <a:moveTo>
                    <a:pt x="507330" y="758997"/>
                  </a:moveTo>
                  <a:cubicBezTo>
                    <a:pt x="514603" y="768348"/>
                    <a:pt x="521037" y="778232"/>
                    <a:pt x="527045" y="788414"/>
                  </a:cubicBezTo>
                  <a:cubicBezTo>
                    <a:pt x="522538" y="794073"/>
                    <a:pt x="516826" y="798661"/>
                    <a:pt x="510095" y="801637"/>
                  </a:cubicBezTo>
                  <a:cubicBezTo>
                    <a:pt x="502522" y="792167"/>
                    <a:pt x="494771" y="782760"/>
                    <a:pt x="489421" y="771802"/>
                  </a:cubicBezTo>
                  <a:cubicBezTo>
                    <a:pt x="495369" y="767512"/>
                    <a:pt x="501261" y="763167"/>
                    <a:pt x="507330" y="758997"/>
                  </a:cubicBezTo>
                  <a:close/>
                  <a:moveTo>
                    <a:pt x="613413" y="753132"/>
                  </a:moveTo>
                  <a:cubicBezTo>
                    <a:pt x="616710" y="753506"/>
                    <a:pt x="619888" y="754639"/>
                    <a:pt x="622878" y="757032"/>
                  </a:cubicBezTo>
                  <a:cubicBezTo>
                    <a:pt x="625870" y="775949"/>
                    <a:pt x="602362" y="779301"/>
                    <a:pt x="589256" y="782479"/>
                  </a:cubicBezTo>
                  <a:cubicBezTo>
                    <a:pt x="593206" y="791812"/>
                    <a:pt x="602296" y="791812"/>
                    <a:pt x="610729" y="793257"/>
                  </a:cubicBezTo>
                  <a:cubicBezTo>
                    <a:pt x="610073" y="803312"/>
                    <a:pt x="613609" y="816893"/>
                    <a:pt x="604754" y="824502"/>
                  </a:cubicBezTo>
                  <a:cubicBezTo>
                    <a:pt x="592727" y="831918"/>
                    <a:pt x="578187" y="833479"/>
                    <a:pt x="565748" y="840125"/>
                  </a:cubicBezTo>
                  <a:cubicBezTo>
                    <a:pt x="559462" y="843775"/>
                    <a:pt x="555213" y="837129"/>
                    <a:pt x="551620" y="833065"/>
                  </a:cubicBezTo>
                  <a:cubicBezTo>
                    <a:pt x="547314" y="827555"/>
                    <a:pt x="541273" y="823905"/>
                    <a:pt x="536610" y="818810"/>
                  </a:cubicBezTo>
                  <a:cubicBezTo>
                    <a:pt x="535888" y="814745"/>
                    <a:pt x="536488" y="810613"/>
                    <a:pt x="536667" y="806539"/>
                  </a:cubicBezTo>
                  <a:cubicBezTo>
                    <a:pt x="534697" y="797206"/>
                    <a:pt x="532061" y="787324"/>
                    <a:pt x="535410" y="778588"/>
                  </a:cubicBezTo>
                  <a:cubicBezTo>
                    <a:pt x="548871" y="767512"/>
                    <a:pt x="566039" y="762002"/>
                    <a:pt x="582380" y="756734"/>
                  </a:cubicBezTo>
                  <a:cubicBezTo>
                    <a:pt x="592561" y="757723"/>
                    <a:pt x="603523" y="752011"/>
                    <a:pt x="613413" y="753132"/>
                  </a:cubicBezTo>
                  <a:close/>
                  <a:moveTo>
                    <a:pt x="809642" y="741170"/>
                  </a:moveTo>
                  <a:cubicBezTo>
                    <a:pt x="813239" y="738930"/>
                    <a:pt x="815996" y="745287"/>
                    <a:pt x="812820" y="747346"/>
                  </a:cubicBezTo>
                  <a:cubicBezTo>
                    <a:pt x="809283" y="749465"/>
                    <a:pt x="806465" y="743228"/>
                    <a:pt x="809642" y="741170"/>
                  </a:cubicBezTo>
                  <a:close/>
                  <a:moveTo>
                    <a:pt x="779986" y="732912"/>
                  </a:moveTo>
                  <a:cubicBezTo>
                    <a:pt x="782270" y="735265"/>
                    <a:pt x="784554" y="737621"/>
                    <a:pt x="786899" y="739854"/>
                  </a:cubicBezTo>
                  <a:cubicBezTo>
                    <a:pt x="782991" y="744624"/>
                    <a:pt x="779024" y="749453"/>
                    <a:pt x="774815" y="753981"/>
                  </a:cubicBezTo>
                  <a:cubicBezTo>
                    <a:pt x="772351" y="746314"/>
                    <a:pt x="775777" y="739191"/>
                    <a:pt x="779986" y="732912"/>
                  </a:cubicBezTo>
                  <a:close/>
                  <a:moveTo>
                    <a:pt x="1138054" y="713348"/>
                  </a:moveTo>
                  <a:cubicBezTo>
                    <a:pt x="1137995" y="722322"/>
                    <a:pt x="1135858" y="731118"/>
                    <a:pt x="1132592" y="739434"/>
                  </a:cubicBezTo>
                  <a:cubicBezTo>
                    <a:pt x="1128021" y="730460"/>
                    <a:pt x="1133542" y="721127"/>
                    <a:pt x="1138054" y="713348"/>
                  </a:cubicBezTo>
                  <a:close/>
                  <a:moveTo>
                    <a:pt x="596367" y="676881"/>
                  </a:moveTo>
                  <a:cubicBezTo>
                    <a:pt x="608187" y="676224"/>
                    <a:pt x="613937" y="688653"/>
                    <a:pt x="621314" y="695763"/>
                  </a:cubicBezTo>
                  <a:cubicBezTo>
                    <a:pt x="630908" y="703535"/>
                    <a:pt x="631387" y="717993"/>
                    <a:pt x="627015" y="728750"/>
                  </a:cubicBezTo>
                  <a:cubicBezTo>
                    <a:pt x="618080" y="729884"/>
                    <a:pt x="609086" y="730362"/>
                    <a:pt x="600390" y="733054"/>
                  </a:cubicBezTo>
                  <a:cubicBezTo>
                    <a:pt x="593672" y="730720"/>
                    <a:pt x="589240" y="724267"/>
                    <a:pt x="583540" y="720082"/>
                  </a:cubicBezTo>
                  <a:cubicBezTo>
                    <a:pt x="582102" y="724506"/>
                    <a:pt x="580485" y="728870"/>
                    <a:pt x="578089" y="732869"/>
                  </a:cubicBezTo>
                  <a:cubicBezTo>
                    <a:pt x="569753" y="734427"/>
                    <a:pt x="566329" y="726177"/>
                    <a:pt x="559920" y="723252"/>
                  </a:cubicBezTo>
                  <a:cubicBezTo>
                    <a:pt x="549548" y="723909"/>
                    <a:pt x="542650" y="735920"/>
                    <a:pt x="531559" y="732451"/>
                  </a:cubicBezTo>
                  <a:cubicBezTo>
                    <a:pt x="533536" y="713868"/>
                    <a:pt x="552363" y="699768"/>
                    <a:pt x="570592" y="700544"/>
                  </a:cubicBezTo>
                  <a:cubicBezTo>
                    <a:pt x="578209" y="691823"/>
                    <a:pt x="585217" y="681245"/>
                    <a:pt x="596367" y="676881"/>
                  </a:cubicBezTo>
                  <a:close/>
                  <a:moveTo>
                    <a:pt x="896454" y="668811"/>
                  </a:moveTo>
                  <a:cubicBezTo>
                    <a:pt x="913458" y="667195"/>
                    <a:pt x="925210" y="682213"/>
                    <a:pt x="938926" y="690049"/>
                  </a:cubicBezTo>
                  <a:cubicBezTo>
                    <a:pt x="945664" y="692555"/>
                    <a:pt x="941432" y="699799"/>
                    <a:pt x="940718" y="704821"/>
                  </a:cubicBezTo>
                  <a:cubicBezTo>
                    <a:pt x="946560" y="707092"/>
                    <a:pt x="952698" y="706191"/>
                    <a:pt x="958789" y="706561"/>
                  </a:cubicBezTo>
                  <a:cubicBezTo>
                    <a:pt x="965585" y="710979"/>
                    <a:pt x="971018" y="717149"/>
                    <a:pt x="976498" y="723061"/>
                  </a:cubicBezTo>
                  <a:cubicBezTo>
                    <a:pt x="971847" y="728565"/>
                    <a:pt x="967014" y="733957"/>
                    <a:pt x="961944" y="739091"/>
                  </a:cubicBezTo>
                  <a:cubicBezTo>
                    <a:pt x="970531" y="745558"/>
                    <a:pt x="978528" y="759848"/>
                    <a:pt x="969102" y="768709"/>
                  </a:cubicBezTo>
                  <a:cubicBezTo>
                    <a:pt x="957769" y="774509"/>
                    <a:pt x="945721" y="781506"/>
                    <a:pt x="932664" y="779828"/>
                  </a:cubicBezTo>
                  <a:cubicBezTo>
                    <a:pt x="929861" y="782888"/>
                    <a:pt x="928546" y="786948"/>
                    <a:pt x="926697" y="790601"/>
                  </a:cubicBezTo>
                  <a:cubicBezTo>
                    <a:pt x="925324" y="789700"/>
                    <a:pt x="924009" y="788812"/>
                    <a:pt x="922703" y="787911"/>
                  </a:cubicBezTo>
                  <a:cubicBezTo>
                    <a:pt x="925506" y="775348"/>
                    <a:pt x="914230" y="769128"/>
                    <a:pt x="906062" y="763020"/>
                  </a:cubicBezTo>
                  <a:cubicBezTo>
                    <a:pt x="906958" y="761354"/>
                    <a:pt x="907844" y="759737"/>
                    <a:pt x="908807" y="758120"/>
                  </a:cubicBezTo>
                  <a:cubicBezTo>
                    <a:pt x="915364" y="756985"/>
                    <a:pt x="922227" y="756800"/>
                    <a:pt x="928727" y="755011"/>
                  </a:cubicBezTo>
                  <a:cubicBezTo>
                    <a:pt x="923533" y="746335"/>
                    <a:pt x="913753" y="742991"/>
                    <a:pt x="905042" y="739338"/>
                  </a:cubicBezTo>
                  <a:cubicBezTo>
                    <a:pt x="898189" y="729885"/>
                    <a:pt x="895082" y="718038"/>
                    <a:pt x="889601" y="707746"/>
                  </a:cubicBezTo>
                  <a:cubicBezTo>
                    <a:pt x="892041" y="705722"/>
                    <a:pt x="894672" y="703859"/>
                    <a:pt x="896873" y="701526"/>
                  </a:cubicBezTo>
                  <a:cubicBezTo>
                    <a:pt x="894843" y="690889"/>
                    <a:pt x="883215" y="676166"/>
                    <a:pt x="896454" y="668811"/>
                  </a:cubicBezTo>
                  <a:close/>
                  <a:moveTo>
                    <a:pt x="1196856" y="637796"/>
                  </a:moveTo>
                  <a:cubicBezTo>
                    <a:pt x="1201010" y="638428"/>
                    <a:pt x="1205387" y="640264"/>
                    <a:pt x="1209287" y="640927"/>
                  </a:cubicBezTo>
                  <a:cubicBezTo>
                    <a:pt x="1202440" y="653088"/>
                    <a:pt x="1188266" y="656339"/>
                    <a:pt x="1176178" y="660673"/>
                  </a:cubicBezTo>
                  <a:cubicBezTo>
                    <a:pt x="1178797" y="654171"/>
                    <a:pt x="1179989" y="646467"/>
                    <a:pt x="1185766" y="641891"/>
                  </a:cubicBezTo>
                  <a:cubicBezTo>
                    <a:pt x="1188773" y="637737"/>
                    <a:pt x="1192703" y="637165"/>
                    <a:pt x="1196856" y="637796"/>
                  </a:cubicBezTo>
                  <a:close/>
                  <a:moveTo>
                    <a:pt x="759819" y="598469"/>
                  </a:moveTo>
                  <a:cubicBezTo>
                    <a:pt x="766155" y="603000"/>
                    <a:pt x="773689" y="606292"/>
                    <a:pt x="779263" y="611888"/>
                  </a:cubicBezTo>
                  <a:cubicBezTo>
                    <a:pt x="790200" y="626818"/>
                    <a:pt x="785777" y="645969"/>
                    <a:pt x="790978" y="662680"/>
                  </a:cubicBezTo>
                  <a:cubicBezTo>
                    <a:pt x="793668" y="653017"/>
                    <a:pt x="793846" y="640953"/>
                    <a:pt x="804086" y="635938"/>
                  </a:cubicBezTo>
                  <a:cubicBezTo>
                    <a:pt x="807311" y="632724"/>
                    <a:pt x="810713" y="636713"/>
                    <a:pt x="813111" y="638920"/>
                  </a:cubicBezTo>
                  <a:cubicBezTo>
                    <a:pt x="817665" y="643935"/>
                    <a:pt x="821958" y="649241"/>
                    <a:pt x="827581" y="653075"/>
                  </a:cubicBezTo>
                  <a:cubicBezTo>
                    <a:pt x="825977" y="659930"/>
                    <a:pt x="824243" y="667094"/>
                    <a:pt x="826268" y="674065"/>
                  </a:cubicBezTo>
                  <a:cubicBezTo>
                    <a:pt x="831534" y="672226"/>
                    <a:pt x="836736" y="669651"/>
                    <a:pt x="842358" y="669070"/>
                  </a:cubicBezTo>
                  <a:cubicBezTo>
                    <a:pt x="850022" y="673949"/>
                    <a:pt x="855580" y="682314"/>
                    <a:pt x="853490" y="691609"/>
                  </a:cubicBezTo>
                  <a:cubicBezTo>
                    <a:pt x="857071" y="693294"/>
                    <a:pt x="860716" y="694843"/>
                    <a:pt x="864313" y="696450"/>
                  </a:cubicBezTo>
                  <a:cubicBezTo>
                    <a:pt x="860959" y="706229"/>
                    <a:pt x="852825" y="715853"/>
                    <a:pt x="858027" y="726774"/>
                  </a:cubicBezTo>
                  <a:cubicBezTo>
                    <a:pt x="863536" y="737753"/>
                    <a:pt x="872917" y="746932"/>
                    <a:pt x="875980" y="759169"/>
                  </a:cubicBezTo>
                  <a:cubicBezTo>
                    <a:pt x="876693" y="767709"/>
                    <a:pt x="874003" y="776113"/>
                    <a:pt x="872561" y="784478"/>
                  </a:cubicBezTo>
                  <a:cubicBezTo>
                    <a:pt x="863892" y="786085"/>
                    <a:pt x="854024" y="792107"/>
                    <a:pt x="845404" y="786802"/>
                  </a:cubicBezTo>
                  <a:cubicBezTo>
                    <a:pt x="830935" y="777004"/>
                    <a:pt x="833511" y="757911"/>
                    <a:pt x="827954" y="743175"/>
                  </a:cubicBezTo>
                  <a:lnTo>
                    <a:pt x="821310" y="745092"/>
                  </a:lnTo>
                  <a:cubicBezTo>
                    <a:pt x="816109" y="739651"/>
                    <a:pt x="810065" y="733396"/>
                    <a:pt x="802045" y="733203"/>
                  </a:cubicBezTo>
                  <a:cubicBezTo>
                    <a:pt x="795823" y="734345"/>
                    <a:pt x="789601" y="738218"/>
                    <a:pt x="783508" y="734461"/>
                  </a:cubicBezTo>
                  <a:cubicBezTo>
                    <a:pt x="784821" y="730279"/>
                    <a:pt x="786133" y="726057"/>
                    <a:pt x="787446" y="721817"/>
                  </a:cubicBezTo>
                  <a:cubicBezTo>
                    <a:pt x="776930" y="723075"/>
                    <a:pt x="767240" y="727665"/>
                    <a:pt x="759155" y="734345"/>
                  </a:cubicBezTo>
                  <a:cubicBezTo>
                    <a:pt x="752820" y="740425"/>
                    <a:pt x="742174" y="734229"/>
                    <a:pt x="739727" y="727122"/>
                  </a:cubicBezTo>
                  <a:cubicBezTo>
                    <a:pt x="734640" y="719241"/>
                    <a:pt x="726506" y="706171"/>
                    <a:pt x="736373" y="698425"/>
                  </a:cubicBezTo>
                  <a:cubicBezTo>
                    <a:pt x="748088" y="697457"/>
                    <a:pt x="757243" y="706771"/>
                    <a:pt x="769023" y="706422"/>
                  </a:cubicBezTo>
                  <a:cubicBezTo>
                    <a:pt x="769865" y="702066"/>
                    <a:pt x="770578" y="697709"/>
                    <a:pt x="771356" y="693352"/>
                  </a:cubicBezTo>
                  <a:cubicBezTo>
                    <a:pt x="766819" y="692984"/>
                    <a:pt x="762217" y="692635"/>
                    <a:pt x="757729" y="691551"/>
                  </a:cubicBezTo>
                  <a:cubicBezTo>
                    <a:pt x="764000" y="686245"/>
                    <a:pt x="773462" y="682373"/>
                    <a:pt x="772798" y="672652"/>
                  </a:cubicBezTo>
                  <a:lnTo>
                    <a:pt x="761132" y="676931"/>
                  </a:lnTo>
                  <a:cubicBezTo>
                    <a:pt x="761667" y="674782"/>
                    <a:pt x="762153" y="672652"/>
                    <a:pt x="762687" y="670503"/>
                  </a:cubicBezTo>
                  <a:lnTo>
                    <a:pt x="755688" y="676041"/>
                  </a:lnTo>
                  <a:lnTo>
                    <a:pt x="749174" y="674065"/>
                  </a:lnTo>
                  <a:cubicBezTo>
                    <a:pt x="752528" y="668876"/>
                    <a:pt x="756238" y="663880"/>
                    <a:pt x="760176" y="659097"/>
                  </a:cubicBezTo>
                  <a:lnTo>
                    <a:pt x="751621" y="648118"/>
                  </a:lnTo>
                  <a:cubicBezTo>
                    <a:pt x="742709" y="654624"/>
                    <a:pt x="743017" y="668760"/>
                    <a:pt x="731286" y="671935"/>
                  </a:cubicBezTo>
                  <a:cubicBezTo>
                    <a:pt x="733927" y="661421"/>
                    <a:pt x="737151" y="651042"/>
                    <a:pt x="739954" y="640605"/>
                  </a:cubicBezTo>
                  <a:cubicBezTo>
                    <a:pt x="733198" y="642096"/>
                    <a:pt x="726571" y="643819"/>
                    <a:pt x="719927" y="645620"/>
                  </a:cubicBezTo>
                  <a:cubicBezTo>
                    <a:pt x="714661" y="632356"/>
                    <a:pt x="716995" y="618104"/>
                    <a:pt x="720219" y="604743"/>
                  </a:cubicBezTo>
                  <a:cubicBezTo>
                    <a:pt x="733797" y="609332"/>
                    <a:pt x="746484" y="599670"/>
                    <a:pt x="759819" y="598469"/>
                  </a:cubicBezTo>
                  <a:close/>
                  <a:moveTo>
                    <a:pt x="856893" y="493124"/>
                  </a:moveTo>
                  <a:cubicBezTo>
                    <a:pt x="862068" y="497363"/>
                    <a:pt x="868374" y="498855"/>
                    <a:pt x="874742" y="496646"/>
                  </a:cubicBezTo>
                  <a:cubicBezTo>
                    <a:pt x="883548" y="515744"/>
                    <a:pt x="886227" y="538429"/>
                    <a:pt x="881111" y="558840"/>
                  </a:cubicBezTo>
                  <a:cubicBezTo>
                    <a:pt x="871469" y="552630"/>
                    <a:pt x="869269" y="541708"/>
                    <a:pt x="865758" y="531620"/>
                  </a:cubicBezTo>
                  <a:cubicBezTo>
                    <a:pt x="860043" y="529472"/>
                    <a:pt x="853797" y="529892"/>
                    <a:pt x="847904" y="528755"/>
                  </a:cubicBezTo>
                  <a:cubicBezTo>
                    <a:pt x="847845" y="516342"/>
                    <a:pt x="846597" y="502134"/>
                    <a:pt x="856893" y="493124"/>
                  </a:cubicBezTo>
                  <a:close/>
                  <a:moveTo>
                    <a:pt x="870400" y="488706"/>
                  </a:moveTo>
                  <a:cubicBezTo>
                    <a:pt x="871459" y="489428"/>
                    <a:pt x="872003" y="490796"/>
                    <a:pt x="870824" y="492073"/>
                  </a:cubicBezTo>
                  <a:cubicBezTo>
                    <a:pt x="869009" y="494627"/>
                    <a:pt x="864654" y="491769"/>
                    <a:pt x="866892" y="489215"/>
                  </a:cubicBezTo>
                  <a:cubicBezTo>
                    <a:pt x="867769" y="487908"/>
                    <a:pt x="869342" y="487984"/>
                    <a:pt x="870400" y="488706"/>
                  </a:cubicBezTo>
                  <a:close/>
                  <a:moveTo>
                    <a:pt x="961904" y="412895"/>
                  </a:moveTo>
                  <a:cubicBezTo>
                    <a:pt x="968331" y="413977"/>
                    <a:pt x="973409" y="418366"/>
                    <a:pt x="972805" y="426904"/>
                  </a:cubicBezTo>
                  <a:cubicBezTo>
                    <a:pt x="962498" y="425582"/>
                    <a:pt x="952614" y="422215"/>
                    <a:pt x="942910" y="418726"/>
                  </a:cubicBezTo>
                  <a:cubicBezTo>
                    <a:pt x="947701" y="414037"/>
                    <a:pt x="955477" y="411812"/>
                    <a:pt x="961904" y="412895"/>
                  </a:cubicBezTo>
                  <a:close/>
                  <a:moveTo>
                    <a:pt x="1005529" y="309016"/>
                  </a:moveTo>
                  <a:cubicBezTo>
                    <a:pt x="1022396" y="317379"/>
                    <a:pt x="1043017" y="327511"/>
                    <a:pt x="1047085" y="347775"/>
                  </a:cubicBezTo>
                  <a:cubicBezTo>
                    <a:pt x="1050071" y="364987"/>
                    <a:pt x="1057011" y="381181"/>
                    <a:pt x="1063127" y="397463"/>
                  </a:cubicBezTo>
                  <a:cubicBezTo>
                    <a:pt x="1064776" y="405958"/>
                    <a:pt x="1071973" y="411002"/>
                    <a:pt x="1076211" y="417949"/>
                  </a:cubicBezTo>
                  <a:cubicBezTo>
                    <a:pt x="1075557" y="422860"/>
                    <a:pt x="1074959" y="427949"/>
                    <a:pt x="1073992" y="432860"/>
                  </a:cubicBezTo>
                  <a:cubicBezTo>
                    <a:pt x="1081729" y="434143"/>
                    <a:pt x="1089323" y="437107"/>
                    <a:pt x="1094756" y="442992"/>
                  </a:cubicBezTo>
                  <a:cubicBezTo>
                    <a:pt x="1097202" y="440559"/>
                    <a:pt x="1099591" y="438037"/>
                    <a:pt x="1102521" y="436178"/>
                  </a:cubicBezTo>
                  <a:cubicBezTo>
                    <a:pt x="1107982" y="438125"/>
                    <a:pt x="1113842" y="442815"/>
                    <a:pt x="1114069" y="448788"/>
                  </a:cubicBezTo>
                  <a:cubicBezTo>
                    <a:pt x="1108636" y="464186"/>
                    <a:pt x="1109461" y="483388"/>
                    <a:pt x="1121379" y="495512"/>
                  </a:cubicBezTo>
                  <a:cubicBezTo>
                    <a:pt x="1124167" y="498565"/>
                    <a:pt x="1128490" y="498874"/>
                    <a:pt x="1131590" y="496175"/>
                  </a:cubicBezTo>
                  <a:cubicBezTo>
                    <a:pt x="1131761" y="485955"/>
                    <a:pt x="1122858" y="478300"/>
                    <a:pt x="1123569" y="467902"/>
                  </a:cubicBezTo>
                  <a:cubicBezTo>
                    <a:pt x="1121123" y="461487"/>
                    <a:pt x="1124821" y="454717"/>
                    <a:pt x="1130396" y="452107"/>
                  </a:cubicBezTo>
                  <a:cubicBezTo>
                    <a:pt x="1136369" y="452107"/>
                    <a:pt x="1142370" y="453876"/>
                    <a:pt x="1147547" y="456841"/>
                  </a:cubicBezTo>
                  <a:cubicBezTo>
                    <a:pt x="1150847" y="469982"/>
                    <a:pt x="1155085" y="490423"/>
                    <a:pt x="1138587" y="496529"/>
                  </a:cubicBezTo>
                  <a:cubicBezTo>
                    <a:pt x="1139071" y="499228"/>
                    <a:pt x="1139555" y="501883"/>
                    <a:pt x="1139953" y="504582"/>
                  </a:cubicBezTo>
                  <a:cubicBezTo>
                    <a:pt x="1144817" y="503387"/>
                    <a:pt x="1149823" y="502016"/>
                    <a:pt x="1154857" y="502679"/>
                  </a:cubicBezTo>
                  <a:cubicBezTo>
                    <a:pt x="1161257" y="509980"/>
                    <a:pt x="1165552" y="521218"/>
                    <a:pt x="1158100" y="529360"/>
                  </a:cubicBezTo>
                  <a:lnTo>
                    <a:pt x="1166092" y="527501"/>
                  </a:lnTo>
                  <a:cubicBezTo>
                    <a:pt x="1164613" y="543386"/>
                    <a:pt x="1164130" y="560995"/>
                    <a:pt x="1153350" y="573871"/>
                  </a:cubicBezTo>
                  <a:cubicBezTo>
                    <a:pt x="1153776" y="575818"/>
                    <a:pt x="1154260" y="577764"/>
                    <a:pt x="1154743" y="579711"/>
                  </a:cubicBezTo>
                  <a:cubicBezTo>
                    <a:pt x="1160773" y="572986"/>
                    <a:pt x="1166405" y="564845"/>
                    <a:pt x="1174540" y="560730"/>
                  </a:cubicBezTo>
                  <a:cubicBezTo>
                    <a:pt x="1185292" y="558872"/>
                    <a:pt x="1187141" y="572145"/>
                    <a:pt x="1186202" y="579977"/>
                  </a:cubicBezTo>
                  <a:lnTo>
                    <a:pt x="1189956" y="579048"/>
                  </a:lnTo>
                  <a:cubicBezTo>
                    <a:pt x="1191407" y="573871"/>
                    <a:pt x="1192886" y="568827"/>
                    <a:pt x="1194451" y="563739"/>
                  </a:cubicBezTo>
                  <a:cubicBezTo>
                    <a:pt x="1200623" y="579092"/>
                    <a:pt x="1207250" y="594224"/>
                    <a:pt x="1214304" y="609179"/>
                  </a:cubicBezTo>
                  <a:cubicBezTo>
                    <a:pt x="1206056" y="629576"/>
                    <a:pt x="1174113" y="627187"/>
                    <a:pt x="1171724" y="651212"/>
                  </a:cubicBezTo>
                  <a:cubicBezTo>
                    <a:pt x="1169392" y="649044"/>
                    <a:pt x="1167003" y="646876"/>
                    <a:pt x="1164613" y="644752"/>
                  </a:cubicBezTo>
                  <a:cubicBezTo>
                    <a:pt x="1165751" y="661477"/>
                    <a:pt x="1153776" y="674884"/>
                    <a:pt x="1149368" y="690370"/>
                  </a:cubicBezTo>
                  <a:cubicBezTo>
                    <a:pt x="1135544" y="679707"/>
                    <a:pt x="1141176" y="659929"/>
                    <a:pt x="1141887" y="644752"/>
                  </a:cubicBezTo>
                  <a:lnTo>
                    <a:pt x="1136084" y="645283"/>
                  </a:lnTo>
                  <a:cubicBezTo>
                    <a:pt x="1134179" y="658336"/>
                    <a:pt x="1133923" y="671831"/>
                    <a:pt x="1137165" y="684706"/>
                  </a:cubicBezTo>
                  <a:cubicBezTo>
                    <a:pt x="1136682" y="688865"/>
                    <a:pt x="1141773" y="692361"/>
                    <a:pt x="1142541" y="698024"/>
                  </a:cubicBezTo>
                  <a:cubicBezTo>
                    <a:pt x="1143309" y="704042"/>
                    <a:pt x="1138417" y="708599"/>
                    <a:pt x="1135487" y="713245"/>
                  </a:cubicBezTo>
                  <a:cubicBezTo>
                    <a:pt x="1131420" y="705856"/>
                    <a:pt x="1127893" y="698024"/>
                    <a:pt x="1122204" y="691741"/>
                  </a:cubicBezTo>
                  <a:cubicBezTo>
                    <a:pt x="1122375" y="701431"/>
                    <a:pt x="1125617" y="710679"/>
                    <a:pt x="1126328" y="720280"/>
                  </a:cubicBezTo>
                  <a:cubicBezTo>
                    <a:pt x="1125845" y="730368"/>
                    <a:pt x="1123029" y="740235"/>
                    <a:pt x="1120412" y="749969"/>
                  </a:cubicBezTo>
                  <a:cubicBezTo>
                    <a:pt x="1106588" y="733465"/>
                    <a:pt x="1100302" y="712183"/>
                    <a:pt x="1091656" y="692759"/>
                  </a:cubicBezTo>
                  <a:cubicBezTo>
                    <a:pt x="1090575" y="712891"/>
                    <a:pt x="1102948" y="729704"/>
                    <a:pt x="1104569" y="749394"/>
                  </a:cubicBezTo>
                  <a:cubicBezTo>
                    <a:pt x="1096918" y="742270"/>
                    <a:pt x="1092168" y="732801"/>
                    <a:pt x="1084516" y="725722"/>
                  </a:cubicBezTo>
                  <a:cubicBezTo>
                    <a:pt x="1084175" y="734261"/>
                    <a:pt x="1084459" y="742934"/>
                    <a:pt x="1084061" y="751473"/>
                  </a:cubicBezTo>
                  <a:cubicBezTo>
                    <a:pt x="1057011" y="750057"/>
                    <a:pt x="1028056" y="736607"/>
                    <a:pt x="1018982" y="709130"/>
                  </a:cubicBezTo>
                  <a:lnTo>
                    <a:pt x="1053001" y="701962"/>
                  </a:lnTo>
                  <a:cubicBezTo>
                    <a:pt x="1039974" y="698024"/>
                    <a:pt x="1026036" y="689573"/>
                    <a:pt x="1012639" y="697139"/>
                  </a:cubicBezTo>
                  <a:cubicBezTo>
                    <a:pt x="1008288" y="688910"/>
                    <a:pt x="1003537" y="680857"/>
                    <a:pt x="1000380" y="672052"/>
                  </a:cubicBezTo>
                  <a:cubicBezTo>
                    <a:pt x="1006723" y="674176"/>
                    <a:pt x="1012952" y="676654"/>
                    <a:pt x="1019352" y="678689"/>
                  </a:cubicBezTo>
                  <a:cubicBezTo>
                    <a:pt x="1015683" y="670238"/>
                    <a:pt x="1006894" y="668203"/>
                    <a:pt x="999072" y="665415"/>
                  </a:cubicBezTo>
                  <a:cubicBezTo>
                    <a:pt x="993980" y="660460"/>
                    <a:pt x="991961" y="652938"/>
                    <a:pt x="988292" y="646965"/>
                  </a:cubicBezTo>
                  <a:cubicBezTo>
                    <a:pt x="998588" y="642186"/>
                    <a:pt x="1008999" y="636567"/>
                    <a:pt x="1012156" y="624665"/>
                  </a:cubicBezTo>
                  <a:cubicBezTo>
                    <a:pt x="1032977" y="629930"/>
                    <a:pt x="1054622" y="623382"/>
                    <a:pt x="1074590" y="617763"/>
                  </a:cubicBezTo>
                  <a:cubicBezTo>
                    <a:pt x="1068787" y="613913"/>
                    <a:pt x="1062046" y="614488"/>
                    <a:pt x="1055817" y="616922"/>
                  </a:cubicBezTo>
                  <a:cubicBezTo>
                    <a:pt x="1046430" y="620240"/>
                    <a:pt x="1036134" y="618426"/>
                    <a:pt x="1027117" y="614975"/>
                  </a:cubicBezTo>
                  <a:cubicBezTo>
                    <a:pt x="1030815" y="608913"/>
                    <a:pt x="1037471" y="606790"/>
                    <a:pt x="1043671" y="604135"/>
                  </a:cubicBezTo>
                  <a:cubicBezTo>
                    <a:pt x="1038523" y="602277"/>
                    <a:pt x="1033460" y="600374"/>
                    <a:pt x="1028369" y="598339"/>
                  </a:cubicBezTo>
                  <a:cubicBezTo>
                    <a:pt x="1032209" y="594711"/>
                    <a:pt x="1036020" y="591127"/>
                    <a:pt x="1039718" y="587366"/>
                  </a:cubicBezTo>
                  <a:cubicBezTo>
                    <a:pt x="1028198" y="587764"/>
                    <a:pt x="1019949" y="595551"/>
                    <a:pt x="1012583" y="603294"/>
                  </a:cubicBezTo>
                  <a:cubicBezTo>
                    <a:pt x="1012156" y="600197"/>
                    <a:pt x="1011672" y="597144"/>
                    <a:pt x="1011217" y="594047"/>
                  </a:cubicBezTo>
                  <a:cubicBezTo>
                    <a:pt x="1006240" y="602232"/>
                    <a:pt x="1001945" y="611878"/>
                    <a:pt x="992018" y="614975"/>
                  </a:cubicBezTo>
                  <a:cubicBezTo>
                    <a:pt x="990624" y="608559"/>
                    <a:pt x="992957" y="602409"/>
                    <a:pt x="995886" y="596834"/>
                  </a:cubicBezTo>
                  <a:lnTo>
                    <a:pt x="985021" y="592056"/>
                  </a:lnTo>
                  <a:cubicBezTo>
                    <a:pt x="985248" y="594799"/>
                    <a:pt x="985476" y="597498"/>
                    <a:pt x="985675" y="600197"/>
                  </a:cubicBezTo>
                  <a:cubicBezTo>
                    <a:pt x="979872" y="604666"/>
                    <a:pt x="974127" y="609223"/>
                    <a:pt x="967613" y="612719"/>
                  </a:cubicBezTo>
                  <a:cubicBezTo>
                    <a:pt x="966902" y="607321"/>
                    <a:pt x="966163" y="602011"/>
                    <a:pt x="965622" y="596657"/>
                  </a:cubicBezTo>
                  <a:cubicBezTo>
                    <a:pt x="953619" y="599710"/>
                    <a:pt x="951287" y="584711"/>
                    <a:pt x="955354" y="576216"/>
                  </a:cubicBezTo>
                  <a:cubicBezTo>
                    <a:pt x="966902" y="570287"/>
                    <a:pt x="990880" y="567544"/>
                    <a:pt x="986983" y="549093"/>
                  </a:cubicBezTo>
                  <a:cubicBezTo>
                    <a:pt x="978792" y="558473"/>
                    <a:pt x="967187" y="567190"/>
                    <a:pt x="953960" y="563739"/>
                  </a:cubicBezTo>
                  <a:cubicBezTo>
                    <a:pt x="943692" y="553695"/>
                    <a:pt x="938544" y="539315"/>
                    <a:pt x="931120" y="527147"/>
                  </a:cubicBezTo>
                  <a:lnTo>
                    <a:pt x="942185" y="525997"/>
                  </a:lnTo>
                  <a:cubicBezTo>
                    <a:pt x="930779" y="518696"/>
                    <a:pt x="929869" y="504494"/>
                    <a:pt x="930694" y="492282"/>
                  </a:cubicBezTo>
                  <a:cubicBezTo>
                    <a:pt x="938544" y="496839"/>
                    <a:pt x="945826" y="502370"/>
                    <a:pt x="953847" y="506617"/>
                  </a:cubicBezTo>
                  <a:cubicBezTo>
                    <a:pt x="962949" y="510378"/>
                    <a:pt x="973103" y="508520"/>
                    <a:pt x="982489" y="511175"/>
                  </a:cubicBezTo>
                  <a:cubicBezTo>
                    <a:pt x="979929" y="507414"/>
                    <a:pt x="977426" y="503564"/>
                    <a:pt x="974952" y="499759"/>
                  </a:cubicBezTo>
                  <a:cubicBezTo>
                    <a:pt x="980811" y="496175"/>
                    <a:pt x="986670" y="492636"/>
                    <a:pt x="992672" y="489273"/>
                  </a:cubicBezTo>
                  <a:cubicBezTo>
                    <a:pt x="989003" y="488211"/>
                    <a:pt x="985305" y="487061"/>
                    <a:pt x="981721" y="485866"/>
                  </a:cubicBezTo>
                  <a:cubicBezTo>
                    <a:pt x="977057" y="491574"/>
                    <a:pt x="971567" y="497016"/>
                    <a:pt x="964086" y="498565"/>
                  </a:cubicBezTo>
                  <a:cubicBezTo>
                    <a:pt x="960417" y="496175"/>
                    <a:pt x="957146" y="493255"/>
                    <a:pt x="953960" y="490246"/>
                  </a:cubicBezTo>
                  <a:lnTo>
                    <a:pt x="963603" y="484495"/>
                  </a:lnTo>
                  <a:cubicBezTo>
                    <a:pt x="956549" y="484008"/>
                    <a:pt x="948585" y="487370"/>
                    <a:pt x="942498" y="482415"/>
                  </a:cubicBezTo>
                  <a:cubicBezTo>
                    <a:pt x="935956" y="478167"/>
                    <a:pt x="933936" y="470823"/>
                    <a:pt x="931604" y="463920"/>
                  </a:cubicBezTo>
                  <a:lnTo>
                    <a:pt x="939426" y="464938"/>
                  </a:lnTo>
                  <a:cubicBezTo>
                    <a:pt x="945712" y="455514"/>
                    <a:pt x="955354" y="463920"/>
                    <a:pt x="962749" y="467283"/>
                  </a:cubicBezTo>
                  <a:cubicBezTo>
                    <a:pt x="958824" y="459451"/>
                    <a:pt x="953079" y="452682"/>
                    <a:pt x="947930" y="445691"/>
                  </a:cubicBezTo>
                  <a:cubicBezTo>
                    <a:pt x="948755" y="441089"/>
                    <a:pt x="948755" y="436444"/>
                    <a:pt x="948158" y="431754"/>
                  </a:cubicBezTo>
                  <a:cubicBezTo>
                    <a:pt x="966362" y="425559"/>
                    <a:pt x="983286" y="434099"/>
                    <a:pt x="1000864" y="437461"/>
                  </a:cubicBezTo>
                  <a:cubicBezTo>
                    <a:pt x="994748" y="428302"/>
                    <a:pt x="977768" y="429718"/>
                    <a:pt x="979275" y="415825"/>
                  </a:cubicBezTo>
                  <a:lnTo>
                    <a:pt x="993013" y="413038"/>
                  </a:lnTo>
                  <a:cubicBezTo>
                    <a:pt x="991762" y="411489"/>
                    <a:pt x="990510" y="409985"/>
                    <a:pt x="989316" y="408436"/>
                  </a:cubicBezTo>
                  <a:cubicBezTo>
                    <a:pt x="985789" y="409056"/>
                    <a:pt x="982205" y="409896"/>
                    <a:pt x="978621" y="409941"/>
                  </a:cubicBezTo>
                  <a:cubicBezTo>
                    <a:pt x="974497" y="408082"/>
                    <a:pt x="973530" y="403171"/>
                    <a:pt x="971738" y="399499"/>
                  </a:cubicBezTo>
                  <a:cubicBezTo>
                    <a:pt x="967414" y="399499"/>
                    <a:pt x="962693" y="400383"/>
                    <a:pt x="958824" y="397994"/>
                  </a:cubicBezTo>
                  <a:cubicBezTo>
                    <a:pt x="957630" y="391933"/>
                    <a:pt x="963489" y="389676"/>
                    <a:pt x="967727" y="387242"/>
                  </a:cubicBezTo>
                  <a:cubicBezTo>
                    <a:pt x="964968" y="386402"/>
                    <a:pt x="962294" y="385605"/>
                    <a:pt x="959535" y="384897"/>
                  </a:cubicBezTo>
                  <a:cubicBezTo>
                    <a:pt x="963830" y="375916"/>
                    <a:pt x="965878" y="364854"/>
                    <a:pt x="974838" y="359191"/>
                  </a:cubicBezTo>
                  <a:cubicBezTo>
                    <a:pt x="981835" y="359545"/>
                    <a:pt x="983513" y="367509"/>
                    <a:pt x="986016" y="372641"/>
                  </a:cubicBezTo>
                  <a:cubicBezTo>
                    <a:pt x="988832" y="369367"/>
                    <a:pt x="991876" y="366358"/>
                    <a:pt x="994208" y="362730"/>
                  </a:cubicBezTo>
                  <a:cubicBezTo>
                    <a:pt x="991819" y="358881"/>
                    <a:pt x="988775" y="355607"/>
                    <a:pt x="986016" y="352111"/>
                  </a:cubicBezTo>
                  <a:cubicBezTo>
                    <a:pt x="995545" y="353218"/>
                    <a:pt x="1004988" y="354501"/>
                    <a:pt x="1014431" y="356270"/>
                  </a:cubicBezTo>
                  <a:cubicBezTo>
                    <a:pt x="1015455" y="349634"/>
                    <a:pt x="1020177" y="341227"/>
                    <a:pt x="1013407" y="336360"/>
                  </a:cubicBezTo>
                  <a:cubicBezTo>
                    <a:pt x="1005756" y="334767"/>
                    <a:pt x="997877" y="336714"/>
                    <a:pt x="990226" y="337112"/>
                  </a:cubicBezTo>
                  <a:cubicBezTo>
                    <a:pt x="985135" y="328750"/>
                    <a:pt x="988121" y="319370"/>
                    <a:pt x="990994" y="310874"/>
                  </a:cubicBezTo>
                  <a:cubicBezTo>
                    <a:pt x="996683" y="313573"/>
                    <a:pt x="1002229" y="316449"/>
                    <a:pt x="1007548" y="319724"/>
                  </a:cubicBezTo>
                  <a:cubicBezTo>
                    <a:pt x="1006837" y="316140"/>
                    <a:pt x="1006183" y="312556"/>
                    <a:pt x="1005529" y="309016"/>
                  </a:cubicBezTo>
                  <a:close/>
                  <a:moveTo>
                    <a:pt x="1648413" y="276576"/>
                  </a:moveTo>
                  <a:cubicBezTo>
                    <a:pt x="1650857" y="274704"/>
                    <a:pt x="1656233" y="274402"/>
                    <a:pt x="1657761" y="277482"/>
                  </a:cubicBezTo>
                  <a:cubicBezTo>
                    <a:pt x="1656356" y="280924"/>
                    <a:pt x="1648230" y="280381"/>
                    <a:pt x="1648413" y="276576"/>
                  </a:cubicBezTo>
                  <a:close/>
                  <a:moveTo>
                    <a:pt x="1692235" y="251326"/>
                  </a:moveTo>
                  <a:lnTo>
                    <a:pt x="1692877" y="259352"/>
                  </a:lnTo>
                  <a:lnTo>
                    <a:pt x="1685352" y="258667"/>
                  </a:lnTo>
                  <a:cubicBezTo>
                    <a:pt x="1687569" y="256117"/>
                    <a:pt x="1689844" y="253690"/>
                    <a:pt x="1692235" y="251326"/>
                  </a:cubicBezTo>
                  <a:close/>
                  <a:moveTo>
                    <a:pt x="1640423" y="65828"/>
                  </a:moveTo>
                  <a:cubicBezTo>
                    <a:pt x="1643717" y="65884"/>
                    <a:pt x="1643158" y="70731"/>
                    <a:pt x="1640050" y="70562"/>
                  </a:cubicBezTo>
                  <a:cubicBezTo>
                    <a:pt x="1636694" y="70562"/>
                    <a:pt x="1637316" y="65715"/>
                    <a:pt x="1640423" y="65828"/>
                  </a:cubicBezTo>
                  <a:close/>
                  <a:moveTo>
                    <a:pt x="1377339" y="28091"/>
                  </a:moveTo>
                  <a:cubicBezTo>
                    <a:pt x="1376353" y="34149"/>
                    <a:pt x="1374381" y="39972"/>
                    <a:pt x="1371132" y="45147"/>
                  </a:cubicBezTo>
                  <a:cubicBezTo>
                    <a:pt x="1370262" y="40736"/>
                    <a:pt x="1369043" y="36326"/>
                    <a:pt x="1368811" y="31796"/>
                  </a:cubicBezTo>
                  <a:cubicBezTo>
                    <a:pt x="1371538" y="30267"/>
                    <a:pt x="1374439" y="29268"/>
                    <a:pt x="1377339" y="28091"/>
                  </a:cubicBezTo>
                  <a:close/>
                  <a:moveTo>
                    <a:pt x="1476165" y="4014"/>
                  </a:moveTo>
                  <a:cubicBezTo>
                    <a:pt x="1475282" y="6226"/>
                    <a:pt x="1474340" y="8381"/>
                    <a:pt x="1473457" y="10536"/>
                  </a:cubicBezTo>
                  <a:cubicBezTo>
                    <a:pt x="1470514" y="8495"/>
                    <a:pt x="1467512" y="6396"/>
                    <a:pt x="1464627" y="4354"/>
                  </a:cubicBezTo>
                  <a:cubicBezTo>
                    <a:pt x="1468453" y="4184"/>
                    <a:pt x="1472339" y="4128"/>
                    <a:pt x="1476165" y="4014"/>
                  </a:cubicBezTo>
                  <a:close/>
                  <a:moveTo>
                    <a:pt x="1579062" y="0"/>
                  </a:moveTo>
                  <a:cubicBezTo>
                    <a:pt x="1578643" y="4485"/>
                    <a:pt x="1578165" y="9030"/>
                    <a:pt x="1577746" y="13515"/>
                  </a:cubicBezTo>
                  <a:lnTo>
                    <a:pt x="1583010" y="15667"/>
                  </a:lnTo>
                  <a:cubicBezTo>
                    <a:pt x="1581874" y="18239"/>
                    <a:pt x="1580737" y="20930"/>
                    <a:pt x="1579660" y="23561"/>
                  </a:cubicBezTo>
                  <a:lnTo>
                    <a:pt x="1593120" y="17162"/>
                  </a:lnTo>
                  <a:cubicBezTo>
                    <a:pt x="1594795" y="23561"/>
                    <a:pt x="1596649" y="29959"/>
                    <a:pt x="1598863" y="36238"/>
                  </a:cubicBezTo>
                  <a:cubicBezTo>
                    <a:pt x="1600538" y="31096"/>
                    <a:pt x="1601674" y="25534"/>
                    <a:pt x="1605263" y="21229"/>
                  </a:cubicBezTo>
                  <a:cubicBezTo>
                    <a:pt x="1611724" y="19255"/>
                    <a:pt x="1615672" y="26670"/>
                    <a:pt x="1616450" y="31993"/>
                  </a:cubicBezTo>
                  <a:cubicBezTo>
                    <a:pt x="1623748" y="29660"/>
                    <a:pt x="1631285" y="30498"/>
                    <a:pt x="1637866" y="34265"/>
                  </a:cubicBezTo>
                  <a:cubicBezTo>
                    <a:pt x="1639062" y="33189"/>
                    <a:pt x="1640199" y="32112"/>
                    <a:pt x="1641395" y="30976"/>
                  </a:cubicBezTo>
                  <a:cubicBezTo>
                    <a:pt x="1646540" y="32949"/>
                    <a:pt x="1651864" y="34265"/>
                    <a:pt x="1656709" y="36777"/>
                  </a:cubicBezTo>
                  <a:cubicBezTo>
                    <a:pt x="1658444" y="43235"/>
                    <a:pt x="1654077" y="49275"/>
                    <a:pt x="1650129" y="53879"/>
                  </a:cubicBezTo>
                  <a:cubicBezTo>
                    <a:pt x="1636669" y="70803"/>
                    <a:pt x="1613100" y="75527"/>
                    <a:pt x="1601435" y="94364"/>
                  </a:cubicBezTo>
                  <a:cubicBezTo>
                    <a:pt x="1612023" y="91673"/>
                    <a:pt x="1623090" y="89819"/>
                    <a:pt x="1632960" y="84915"/>
                  </a:cubicBezTo>
                  <a:cubicBezTo>
                    <a:pt x="1648813" y="74271"/>
                    <a:pt x="1660657" y="58304"/>
                    <a:pt x="1677586" y="49155"/>
                  </a:cubicBezTo>
                  <a:cubicBezTo>
                    <a:pt x="1679082" y="53281"/>
                    <a:pt x="1680577" y="57467"/>
                    <a:pt x="1682133" y="61593"/>
                  </a:cubicBezTo>
                  <a:cubicBezTo>
                    <a:pt x="1684645" y="55972"/>
                    <a:pt x="1687098" y="49992"/>
                    <a:pt x="1686081" y="43713"/>
                  </a:cubicBezTo>
                  <a:cubicBezTo>
                    <a:pt x="1688534" y="41860"/>
                    <a:pt x="1690926" y="39946"/>
                    <a:pt x="1693319" y="37973"/>
                  </a:cubicBezTo>
                  <a:cubicBezTo>
                    <a:pt x="1695054" y="38690"/>
                    <a:pt x="1696849" y="39348"/>
                    <a:pt x="1698643" y="40006"/>
                  </a:cubicBezTo>
                  <a:cubicBezTo>
                    <a:pt x="1696011" y="49095"/>
                    <a:pt x="1699241" y="58125"/>
                    <a:pt x="1703907" y="65899"/>
                  </a:cubicBezTo>
                  <a:cubicBezTo>
                    <a:pt x="1708155" y="61534"/>
                    <a:pt x="1711744" y="56451"/>
                    <a:pt x="1716948" y="53221"/>
                  </a:cubicBezTo>
                  <a:cubicBezTo>
                    <a:pt x="1721614" y="53461"/>
                    <a:pt x="1725921" y="55374"/>
                    <a:pt x="1730348" y="56690"/>
                  </a:cubicBezTo>
                  <a:cubicBezTo>
                    <a:pt x="1735792" y="67394"/>
                    <a:pt x="1716649" y="74689"/>
                    <a:pt x="1725383" y="83540"/>
                  </a:cubicBezTo>
                  <a:cubicBezTo>
                    <a:pt x="1729750" y="90357"/>
                    <a:pt x="1734655" y="96815"/>
                    <a:pt x="1738484" y="103991"/>
                  </a:cubicBezTo>
                  <a:cubicBezTo>
                    <a:pt x="1739620" y="111526"/>
                    <a:pt x="1736330" y="119240"/>
                    <a:pt x="1735313" y="126775"/>
                  </a:cubicBezTo>
                  <a:cubicBezTo>
                    <a:pt x="1739680" y="120556"/>
                    <a:pt x="1743868" y="112303"/>
                    <a:pt x="1752541" y="111885"/>
                  </a:cubicBezTo>
                  <a:cubicBezTo>
                    <a:pt x="1773299" y="118283"/>
                    <a:pt x="1792202" y="139452"/>
                    <a:pt x="1784067" y="162356"/>
                  </a:cubicBezTo>
                  <a:cubicBezTo>
                    <a:pt x="1782153" y="174435"/>
                    <a:pt x="1765941" y="177545"/>
                    <a:pt x="1763967" y="189564"/>
                  </a:cubicBezTo>
                  <a:cubicBezTo>
                    <a:pt x="1762053" y="199969"/>
                    <a:pt x="1752123" y="205650"/>
                    <a:pt x="1746440" y="213783"/>
                  </a:cubicBezTo>
                  <a:cubicBezTo>
                    <a:pt x="1738125" y="225085"/>
                    <a:pt x="1724605" y="231065"/>
                    <a:pt x="1717008" y="242965"/>
                  </a:cubicBezTo>
                  <a:cubicBezTo>
                    <a:pt x="1713897" y="240753"/>
                    <a:pt x="1710906" y="238480"/>
                    <a:pt x="1707915" y="236208"/>
                  </a:cubicBezTo>
                  <a:cubicBezTo>
                    <a:pt x="1709889" y="241949"/>
                    <a:pt x="1714137" y="249782"/>
                    <a:pt x="1706540" y="253370"/>
                  </a:cubicBezTo>
                  <a:cubicBezTo>
                    <a:pt x="1700079" y="254506"/>
                    <a:pt x="1693379" y="246852"/>
                    <a:pt x="1686440" y="249962"/>
                  </a:cubicBezTo>
                  <a:cubicBezTo>
                    <a:pt x="1679321" y="253191"/>
                    <a:pt x="1672203" y="256420"/>
                    <a:pt x="1664725" y="258812"/>
                  </a:cubicBezTo>
                  <a:cubicBezTo>
                    <a:pt x="1670887" y="259769"/>
                    <a:pt x="1677108" y="260427"/>
                    <a:pt x="1683329" y="260785"/>
                  </a:cubicBezTo>
                  <a:cubicBezTo>
                    <a:pt x="1676928" y="264852"/>
                    <a:pt x="1669870" y="267722"/>
                    <a:pt x="1662272" y="268380"/>
                  </a:cubicBezTo>
                  <a:cubicBezTo>
                    <a:pt x="1645224" y="269696"/>
                    <a:pt x="1629012" y="275974"/>
                    <a:pt x="1611963" y="277170"/>
                  </a:cubicBezTo>
                  <a:cubicBezTo>
                    <a:pt x="1603708" y="270234"/>
                    <a:pt x="1597427" y="261324"/>
                    <a:pt x="1589052" y="254566"/>
                  </a:cubicBezTo>
                  <a:cubicBezTo>
                    <a:pt x="1595273" y="264433"/>
                    <a:pt x="1602990" y="273224"/>
                    <a:pt x="1609271" y="283031"/>
                  </a:cubicBezTo>
                  <a:lnTo>
                    <a:pt x="1601614" y="287157"/>
                  </a:lnTo>
                  <a:cubicBezTo>
                    <a:pt x="1614835" y="289011"/>
                    <a:pt x="1626978" y="281177"/>
                    <a:pt x="1639840" y="279921"/>
                  </a:cubicBezTo>
                  <a:cubicBezTo>
                    <a:pt x="1644446" y="281057"/>
                    <a:pt x="1648394" y="283988"/>
                    <a:pt x="1652402" y="286439"/>
                  </a:cubicBezTo>
                  <a:cubicBezTo>
                    <a:pt x="1636729" y="301329"/>
                    <a:pt x="1618125" y="312572"/>
                    <a:pt x="1600418" y="324950"/>
                  </a:cubicBezTo>
                  <a:cubicBezTo>
                    <a:pt x="1595812" y="328419"/>
                    <a:pt x="1589890" y="328000"/>
                    <a:pt x="1584446" y="327940"/>
                  </a:cubicBezTo>
                  <a:cubicBezTo>
                    <a:pt x="1584446" y="329555"/>
                    <a:pt x="1584506" y="331169"/>
                    <a:pt x="1584566" y="332784"/>
                  </a:cubicBezTo>
                  <a:cubicBezTo>
                    <a:pt x="1579062" y="336432"/>
                    <a:pt x="1573678" y="340079"/>
                    <a:pt x="1568235" y="343787"/>
                  </a:cubicBezTo>
                  <a:lnTo>
                    <a:pt x="1576490" y="344564"/>
                  </a:lnTo>
                  <a:cubicBezTo>
                    <a:pt x="1576310" y="346478"/>
                    <a:pt x="1576131" y="348451"/>
                    <a:pt x="1575951" y="350425"/>
                  </a:cubicBezTo>
                  <a:cubicBezTo>
                    <a:pt x="1582472" y="344325"/>
                    <a:pt x="1588454" y="337269"/>
                    <a:pt x="1596829" y="333502"/>
                  </a:cubicBezTo>
                  <a:cubicBezTo>
                    <a:pt x="1625662" y="319389"/>
                    <a:pt x="1653000" y="302226"/>
                    <a:pt x="1681893" y="288114"/>
                  </a:cubicBezTo>
                  <a:cubicBezTo>
                    <a:pt x="1688892" y="285064"/>
                    <a:pt x="1696490" y="283748"/>
                    <a:pt x="1703848" y="281895"/>
                  </a:cubicBezTo>
                  <a:cubicBezTo>
                    <a:pt x="1709889" y="303482"/>
                    <a:pt x="1689790" y="321422"/>
                    <a:pt x="1673578" y="332066"/>
                  </a:cubicBezTo>
                  <a:cubicBezTo>
                    <a:pt x="1662033" y="336312"/>
                    <a:pt x="1657965" y="348990"/>
                    <a:pt x="1653359" y="359215"/>
                  </a:cubicBezTo>
                  <a:cubicBezTo>
                    <a:pt x="1648334" y="371115"/>
                    <a:pt x="1634635" y="375720"/>
                    <a:pt x="1628294" y="386723"/>
                  </a:cubicBezTo>
                  <a:cubicBezTo>
                    <a:pt x="1620039" y="399879"/>
                    <a:pt x="1609391" y="411301"/>
                    <a:pt x="1600119" y="423679"/>
                  </a:cubicBezTo>
                  <a:cubicBezTo>
                    <a:pt x="1592402" y="433845"/>
                    <a:pt x="1592940" y="447778"/>
                    <a:pt x="1586420" y="458542"/>
                  </a:cubicBezTo>
                  <a:cubicBezTo>
                    <a:pt x="1582053" y="465419"/>
                    <a:pt x="1572422" y="464941"/>
                    <a:pt x="1565662" y="466854"/>
                  </a:cubicBezTo>
                  <a:cubicBezTo>
                    <a:pt x="1567756" y="455791"/>
                    <a:pt x="1564047" y="445626"/>
                    <a:pt x="1556330" y="437852"/>
                  </a:cubicBezTo>
                  <a:cubicBezTo>
                    <a:pt x="1558663" y="445865"/>
                    <a:pt x="1561654" y="453938"/>
                    <a:pt x="1561355" y="462429"/>
                  </a:cubicBezTo>
                  <a:cubicBezTo>
                    <a:pt x="1560398" y="469904"/>
                    <a:pt x="1568773" y="473133"/>
                    <a:pt x="1573200" y="477618"/>
                  </a:cubicBezTo>
                  <a:cubicBezTo>
                    <a:pt x="1571226" y="482462"/>
                    <a:pt x="1569969" y="490057"/>
                    <a:pt x="1562970" y="488621"/>
                  </a:cubicBezTo>
                  <a:cubicBezTo>
                    <a:pt x="1551126" y="486110"/>
                    <a:pt x="1542691" y="494841"/>
                    <a:pt x="1532940" y="499266"/>
                  </a:cubicBezTo>
                  <a:cubicBezTo>
                    <a:pt x="1527377" y="495558"/>
                    <a:pt x="1522831" y="490535"/>
                    <a:pt x="1517567" y="486528"/>
                  </a:cubicBezTo>
                  <a:cubicBezTo>
                    <a:pt x="1520258" y="490774"/>
                    <a:pt x="1523070" y="494960"/>
                    <a:pt x="1526001" y="499086"/>
                  </a:cubicBezTo>
                  <a:cubicBezTo>
                    <a:pt x="1523190" y="501598"/>
                    <a:pt x="1520498" y="504229"/>
                    <a:pt x="1517806" y="506860"/>
                  </a:cubicBezTo>
                  <a:cubicBezTo>
                    <a:pt x="1532402" y="507040"/>
                    <a:pt x="1545503" y="500641"/>
                    <a:pt x="1558304" y="494542"/>
                  </a:cubicBezTo>
                  <a:cubicBezTo>
                    <a:pt x="1559919" y="501598"/>
                    <a:pt x="1560637" y="509910"/>
                    <a:pt x="1554835" y="515412"/>
                  </a:cubicBezTo>
                  <a:cubicBezTo>
                    <a:pt x="1548314" y="519478"/>
                    <a:pt x="1540956" y="522229"/>
                    <a:pt x="1535453" y="527790"/>
                  </a:cubicBezTo>
                  <a:cubicBezTo>
                    <a:pt x="1541136" y="528029"/>
                    <a:pt x="1546759" y="528209"/>
                    <a:pt x="1552442" y="528627"/>
                  </a:cubicBezTo>
                  <a:cubicBezTo>
                    <a:pt x="1546041" y="544295"/>
                    <a:pt x="1532462" y="558706"/>
                    <a:pt x="1514875" y="560142"/>
                  </a:cubicBezTo>
                  <a:cubicBezTo>
                    <a:pt x="1501116" y="562534"/>
                    <a:pt x="1501355" y="548301"/>
                    <a:pt x="1496091" y="540527"/>
                  </a:cubicBezTo>
                  <a:cubicBezTo>
                    <a:pt x="1491305" y="538733"/>
                    <a:pt x="1486161" y="538554"/>
                    <a:pt x="1481076" y="538255"/>
                  </a:cubicBezTo>
                  <a:cubicBezTo>
                    <a:pt x="1479640" y="535863"/>
                    <a:pt x="1478205" y="533531"/>
                    <a:pt x="1476769" y="531258"/>
                  </a:cubicBezTo>
                  <a:cubicBezTo>
                    <a:pt x="1468873" y="532634"/>
                    <a:pt x="1461096" y="534607"/>
                    <a:pt x="1453439" y="537059"/>
                  </a:cubicBezTo>
                  <a:cubicBezTo>
                    <a:pt x="1464984" y="542202"/>
                    <a:pt x="1477786" y="543338"/>
                    <a:pt x="1489511" y="548002"/>
                  </a:cubicBezTo>
                  <a:cubicBezTo>
                    <a:pt x="1495194" y="556434"/>
                    <a:pt x="1497228" y="567198"/>
                    <a:pt x="1496091" y="577244"/>
                  </a:cubicBezTo>
                  <a:cubicBezTo>
                    <a:pt x="1492382" y="580653"/>
                    <a:pt x="1487477" y="582088"/>
                    <a:pt x="1482990" y="584061"/>
                  </a:cubicBezTo>
                  <a:cubicBezTo>
                    <a:pt x="1481315" y="581968"/>
                    <a:pt x="1479760" y="579875"/>
                    <a:pt x="1478145" y="577842"/>
                  </a:cubicBezTo>
                  <a:lnTo>
                    <a:pt x="1475453" y="591656"/>
                  </a:lnTo>
                  <a:cubicBezTo>
                    <a:pt x="1467018" y="592134"/>
                    <a:pt x="1459421" y="588905"/>
                    <a:pt x="1452901" y="584002"/>
                  </a:cubicBezTo>
                  <a:cubicBezTo>
                    <a:pt x="1453260" y="589383"/>
                    <a:pt x="1453678" y="594706"/>
                    <a:pt x="1454097" y="600088"/>
                  </a:cubicBezTo>
                  <a:cubicBezTo>
                    <a:pt x="1433579" y="596858"/>
                    <a:pt x="1420717" y="575988"/>
                    <a:pt x="1398344" y="578799"/>
                  </a:cubicBezTo>
                  <a:cubicBezTo>
                    <a:pt x="1405942" y="581968"/>
                    <a:pt x="1414137" y="583942"/>
                    <a:pt x="1421555" y="587709"/>
                  </a:cubicBezTo>
                  <a:cubicBezTo>
                    <a:pt x="1425563" y="592194"/>
                    <a:pt x="1427058" y="598353"/>
                    <a:pt x="1429690" y="603735"/>
                  </a:cubicBezTo>
                  <a:cubicBezTo>
                    <a:pt x="1421256" y="603018"/>
                    <a:pt x="1413000" y="602181"/>
                    <a:pt x="1404685" y="601044"/>
                  </a:cubicBezTo>
                  <a:cubicBezTo>
                    <a:pt x="1403429" y="597038"/>
                    <a:pt x="1402053" y="593031"/>
                    <a:pt x="1400857" y="589025"/>
                  </a:cubicBezTo>
                  <a:lnTo>
                    <a:pt x="1395652" y="588128"/>
                  </a:lnTo>
                  <a:cubicBezTo>
                    <a:pt x="1397028" y="593749"/>
                    <a:pt x="1398344" y="599430"/>
                    <a:pt x="1399660" y="605051"/>
                  </a:cubicBezTo>
                  <a:cubicBezTo>
                    <a:pt x="1392362" y="603676"/>
                    <a:pt x="1385124" y="602300"/>
                    <a:pt x="1377826" y="601224"/>
                  </a:cubicBezTo>
                  <a:cubicBezTo>
                    <a:pt x="1382791" y="604274"/>
                    <a:pt x="1387876" y="607443"/>
                    <a:pt x="1393499" y="609177"/>
                  </a:cubicBezTo>
                  <a:cubicBezTo>
                    <a:pt x="1417666" y="612406"/>
                    <a:pt x="1441953" y="615576"/>
                    <a:pt x="1466420" y="616532"/>
                  </a:cubicBezTo>
                  <a:cubicBezTo>
                    <a:pt x="1463608" y="618984"/>
                    <a:pt x="1460737" y="621376"/>
                    <a:pt x="1457806" y="623649"/>
                  </a:cubicBezTo>
                  <a:cubicBezTo>
                    <a:pt x="1460976" y="629509"/>
                    <a:pt x="1463728" y="635608"/>
                    <a:pt x="1466181" y="641828"/>
                  </a:cubicBezTo>
                  <a:cubicBezTo>
                    <a:pt x="1455174" y="643861"/>
                    <a:pt x="1444645" y="641230"/>
                    <a:pt x="1434596" y="636804"/>
                  </a:cubicBezTo>
                  <a:cubicBezTo>
                    <a:pt x="1431784" y="630705"/>
                    <a:pt x="1431006" y="620120"/>
                    <a:pt x="1421914" y="621615"/>
                  </a:cubicBezTo>
                  <a:cubicBezTo>
                    <a:pt x="1409052" y="623230"/>
                    <a:pt x="1396310" y="621675"/>
                    <a:pt x="1383509" y="620898"/>
                  </a:cubicBezTo>
                  <a:cubicBezTo>
                    <a:pt x="1397626" y="627117"/>
                    <a:pt x="1413539" y="626639"/>
                    <a:pt x="1427597" y="633097"/>
                  </a:cubicBezTo>
                  <a:cubicBezTo>
                    <a:pt x="1407616" y="631901"/>
                    <a:pt x="1390089" y="639675"/>
                    <a:pt x="1380219" y="653608"/>
                  </a:cubicBezTo>
                  <a:cubicBezTo>
                    <a:pt x="1397985" y="644220"/>
                    <a:pt x="1420538" y="637821"/>
                    <a:pt x="1434476" y="652233"/>
                  </a:cubicBezTo>
                  <a:lnTo>
                    <a:pt x="1421973" y="660963"/>
                  </a:lnTo>
                  <a:cubicBezTo>
                    <a:pt x="1431904" y="662638"/>
                    <a:pt x="1445423" y="656777"/>
                    <a:pt x="1453020" y="665927"/>
                  </a:cubicBezTo>
                  <a:cubicBezTo>
                    <a:pt x="1458883" y="672923"/>
                    <a:pt x="1466779" y="677588"/>
                    <a:pt x="1473359" y="683867"/>
                  </a:cubicBezTo>
                  <a:cubicBezTo>
                    <a:pt x="1468095" y="684405"/>
                    <a:pt x="1462831" y="683687"/>
                    <a:pt x="1457686" y="682372"/>
                  </a:cubicBezTo>
                  <a:cubicBezTo>
                    <a:pt x="1458404" y="687215"/>
                    <a:pt x="1459301" y="692119"/>
                    <a:pt x="1460139" y="696963"/>
                  </a:cubicBezTo>
                  <a:cubicBezTo>
                    <a:pt x="1448893" y="703122"/>
                    <a:pt x="1436570" y="706411"/>
                    <a:pt x="1424247" y="709461"/>
                  </a:cubicBezTo>
                  <a:cubicBezTo>
                    <a:pt x="1433638" y="714125"/>
                    <a:pt x="1443449" y="718311"/>
                    <a:pt x="1450029" y="727042"/>
                  </a:cubicBezTo>
                  <a:cubicBezTo>
                    <a:pt x="1445303" y="731228"/>
                    <a:pt x="1441535" y="736311"/>
                    <a:pt x="1438364" y="741753"/>
                  </a:cubicBezTo>
                  <a:cubicBezTo>
                    <a:pt x="1427656" y="739600"/>
                    <a:pt x="1416590" y="737208"/>
                    <a:pt x="1405762" y="739839"/>
                  </a:cubicBezTo>
                  <a:lnTo>
                    <a:pt x="1407258" y="745699"/>
                  </a:lnTo>
                  <a:lnTo>
                    <a:pt x="1438065" y="752995"/>
                  </a:lnTo>
                  <a:cubicBezTo>
                    <a:pt x="1435971" y="758377"/>
                    <a:pt x="1433818" y="763759"/>
                    <a:pt x="1431545" y="769081"/>
                  </a:cubicBezTo>
                  <a:cubicBezTo>
                    <a:pt x="1427597" y="768004"/>
                    <a:pt x="1423648" y="766569"/>
                    <a:pt x="1419521" y="766510"/>
                  </a:cubicBezTo>
                  <a:cubicBezTo>
                    <a:pt x="1414735" y="769739"/>
                    <a:pt x="1411624" y="774822"/>
                    <a:pt x="1408454" y="779546"/>
                  </a:cubicBezTo>
                  <a:cubicBezTo>
                    <a:pt x="1396550" y="772310"/>
                    <a:pt x="1382552" y="771234"/>
                    <a:pt x="1369092" y="773805"/>
                  </a:cubicBezTo>
                  <a:cubicBezTo>
                    <a:pt x="1377527" y="785107"/>
                    <a:pt x="1381176" y="798622"/>
                    <a:pt x="1384466" y="812077"/>
                  </a:cubicBezTo>
                  <a:cubicBezTo>
                    <a:pt x="1380279" y="825233"/>
                    <a:pt x="1372921" y="837611"/>
                    <a:pt x="1360657" y="844667"/>
                  </a:cubicBezTo>
                  <a:cubicBezTo>
                    <a:pt x="1360897" y="842156"/>
                    <a:pt x="1361136" y="839644"/>
                    <a:pt x="1361435" y="837133"/>
                  </a:cubicBezTo>
                  <a:cubicBezTo>
                    <a:pt x="1352462" y="847478"/>
                    <a:pt x="1337985" y="847059"/>
                    <a:pt x="1325543" y="846162"/>
                  </a:cubicBezTo>
                  <a:cubicBezTo>
                    <a:pt x="1310468" y="843531"/>
                    <a:pt x="1302213" y="829897"/>
                    <a:pt x="1292402" y="819731"/>
                  </a:cubicBezTo>
                  <a:lnTo>
                    <a:pt x="1288095" y="830674"/>
                  </a:lnTo>
                  <a:cubicBezTo>
                    <a:pt x="1293658" y="834621"/>
                    <a:pt x="1299222" y="838628"/>
                    <a:pt x="1304127" y="843352"/>
                  </a:cubicBezTo>
                  <a:cubicBezTo>
                    <a:pt x="1295872" y="844010"/>
                    <a:pt x="1287617" y="844129"/>
                    <a:pt x="1279361" y="844249"/>
                  </a:cubicBezTo>
                  <a:cubicBezTo>
                    <a:pt x="1282532" y="849511"/>
                    <a:pt x="1285702" y="854833"/>
                    <a:pt x="1288514" y="860395"/>
                  </a:cubicBezTo>
                  <a:lnTo>
                    <a:pt x="1305264" y="847717"/>
                  </a:lnTo>
                  <a:cubicBezTo>
                    <a:pt x="1312980" y="850169"/>
                    <a:pt x="1320398" y="853757"/>
                    <a:pt x="1328414" y="855132"/>
                  </a:cubicBezTo>
                  <a:cubicBezTo>
                    <a:pt x="1335952" y="855073"/>
                    <a:pt x="1345044" y="849511"/>
                    <a:pt x="1351325" y="856269"/>
                  </a:cubicBezTo>
                  <a:cubicBezTo>
                    <a:pt x="1360119" y="864760"/>
                    <a:pt x="1349950" y="876301"/>
                    <a:pt x="1346001" y="884255"/>
                  </a:cubicBezTo>
                  <a:cubicBezTo>
                    <a:pt x="1354496" y="883537"/>
                    <a:pt x="1357666" y="890294"/>
                    <a:pt x="1360777" y="896155"/>
                  </a:cubicBezTo>
                  <a:cubicBezTo>
                    <a:pt x="1364486" y="887962"/>
                    <a:pt x="1369331" y="880248"/>
                    <a:pt x="1376091" y="874208"/>
                  </a:cubicBezTo>
                  <a:cubicBezTo>
                    <a:pt x="1383210" y="886886"/>
                    <a:pt x="1390627" y="905902"/>
                    <a:pt x="1379321" y="918101"/>
                  </a:cubicBezTo>
                  <a:cubicBezTo>
                    <a:pt x="1375134" y="923782"/>
                    <a:pt x="1371724" y="930061"/>
                    <a:pt x="1367477" y="935742"/>
                  </a:cubicBezTo>
                  <a:cubicBezTo>
                    <a:pt x="1366759" y="931735"/>
                    <a:pt x="1365981" y="927729"/>
                    <a:pt x="1365264" y="923722"/>
                  </a:cubicBezTo>
                  <a:cubicBezTo>
                    <a:pt x="1356949" y="932752"/>
                    <a:pt x="1353898" y="942081"/>
                    <a:pt x="1347676" y="948718"/>
                  </a:cubicBezTo>
                  <a:cubicBezTo>
                    <a:pt x="1333379" y="953562"/>
                    <a:pt x="1320279" y="961336"/>
                    <a:pt x="1305981" y="966180"/>
                  </a:cubicBezTo>
                  <a:cubicBezTo>
                    <a:pt x="1306998" y="956193"/>
                    <a:pt x="1311964" y="947104"/>
                    <a:pt x="1312681" y="937177"/>
                  </a:cubicBezTo>
                  <a:cubicBezTo>
                    <a:pt x="1307178" y="926652"/>
                    <a:pt x="1293359" y="931855"/>
                    <a:pt x="1284207" y="930779"/>
                  </a:cubicBezTo>
                  <a:cubicBezTo>
                    <a:pt x="1284147" y="919955"/>
                    <a:pt x="1276191" y="912540"/>
                    <a:pt x="1267876" y="906799"/>
                  </a:cubicBezTo>
                  <a:cubicBezTo>
                    <a:pt x="1270927" y="912659"/>
                    <a:pt x="1275054" y="917802"/>
                    <a:pt x="1279780" y="922347"/>
                  </a:cubicBezTo>
                  <a:cubicBezTo>
                    <a:pt x="1279002" y="928805"/>
                    <a:pt x="1278344" y="935084"/>
                    <a:pt x="1277985" y="941662"/>
                  </a:cubicBezTo>
                  <a:cubicBezTo>
                    <a:pt x="1273020" y="939270"/>
                    <a:pt x="1265423" y="942798"/>
                    <a:pt x="1261176" y="938254"/>
                  </a:cubicBezTo>
                  <a:cubicBezTo>
                    <a:pt x="1258783" y="929044"/>
                    <a:pt x="1257587" y="918998"/>
                    <a:pt x="1250229" y="912181"/>
                  </a:cubicBezTo>
                  <a:cubicBezTo>
                    <a:pt x="1251784" y="921510"/>
                    <a:pt x="1253938" y="930719"/>
                    <a:pt x="1255852" y="939988"/>
                  </a:cubicBezTo>
                  <a:cubicBezTo>
                    <a:pt x="1240897" y="941602"/>
                    <a:pt x="1236709" y="926712"/>
                    <a:pt x="1230967" y="916606"/>
                  </a:cubicBezTo>
                  <a:cubicBezTo>
                    <a:pt x="1230368" y="922526"/>
                    <a:pt x="1229950" y="928506"/>
                    <a:pt x="1230129" y="934426"/>
                  </a:cubicBezTo>
                  <a:cubicBezTo>
                    <a:pt x="1227078" y="935084"/>
                    <a:pt x="1224087" y="935862"/>
                    <a:pt x="1221096" y="936759"/>
                  </a:cubicBezTo>
                  <a:cubicBezTo>
                    <a:pt x="1217567" y="931197"/>
                    <a:pt x="1213918" y="925755"/>
                    <a:pt x="1209850" y="920613"/>
                  </a:cubicBezTo>
                  <a:cubicBezTo>
                    <a:pt x="1207457" y="933529"/>
                    <a:pt x="1216729" y="941782"/>
                    <a:pt x="1225164" y="949197"/>
                  </a:cubicBezTo>
                  <a:cubicBezTo>
                    <a:pt x="1209012" y="954160"/>
                    <a:pt x="1194536" y="946566"/>
                    <a:pt x="1179940" y="941124"/>
                  </a:cubicBezTo>
                  <a:cubicBezTo>
                    <a:pt x="1178923" y="938313"/>
                    <a:pt x="1178025" y="935563"/>
                    <a:pt x="1177068" y="932812"/>
                  </a:cubicBezTo>
                  <a:lnTo>
                    <a:pt x="1172821" y="932274"/>
                  </a:lnTo>
                  <a:lnTo>
                    <a:pt x="1169292" y="945788"/>
                  </a:lnTo>
                  <a:cubicBezTo>
                    <a:pt x="1162173" y="940167"/>
                    <a:pt x="1156131" y="933290"/>
                    <a:pt x="1151525" y="925456"/>
                  </a:cubicBezTo>
                  <a:cubicBezTo>
                    <a:pt x="1152662" y="932632"/>
                    <a:pt x="1152482" y="940107"/>
                    <a:pt x="1149790" y="946925"/>
                  </a:cubicBezTo>
                  <a:cubicBezTo>
                    <a:pt x="1143509" y="944652"/>
                    <a:pt x="1137108" y="942619"/>
                    <a:pt x="1130767" y="940466"/>
                  </a:cubicBezTo>
                  <a:cubicBezTo>
                    <a:pt x="1129092" y="928207"/>
                    <a:pt x="1131724" y="913915"/>
                    <a:pt x="1124187" y="903151"/>
                  </a:cubicBezTo>
                  <a:cubicBezTo>
                    <a:pt x="1124366" y="914095"/>
                    <a:pt x="1126221" y="924978"/>
                    <a:pt x="1125742" y="936041"/>
                  </a:cubicBezTo>
                  <a:cubicBezTo>
                    <a:pt x="1124965" y="931556"/>
                    <a:pt x="1124247" y="927071"/>
                    <a:pt x="1123589" y="922586"/>
                  </a:cubicBezTo>
                  <a:cubicBezTo>
                    <a:pt x="1121555" y="928147"/>
                    <a:pt x="1119641" y="933828"/>
                    <a:pt x="1117846" y="939450"/>
                  </a:cubicBezTo>
                  <a:cubicBezTo>
                    <a:pt x="1110548" y="935503"/>
                    <a:pt x="1105942" y="928626"/>
                    <a:pt x="1100977" y="922227"/>
                  </a:cubicBezTo>
                  <a:cubicBezTo>
                    <a:pt x="1106121" y="912719"/>
                    <a:pt x="1105284" y="901776"/>
                    <a:pt x="1105882" y="891490"/>
                  </a:cubicBezTo>
                  <a:cubicBezTo>
                    <a:pt x="1114795" y="883118"/>
                    <a:pt x="1125144" y="876002"/>
                    <a:pt x="1131545" y="865298"/>
                  </a:cubicBezTo>
                  <a:cubicBezTo>
                    <a:pt x="1138903" y="864222"/>
                    <a:pt x="1146560" y="864162"/>
                    <a:pt x="1153798" y="866255"/>
                  </a:cubicBezTo>
                  <a:cubicBezTo>
                    <a:pt x="1154337" y="863684"/>
                    <a:pt x="1154875" y="861172"/>
                    <a:pt x="1155473" y="858660"/>
                  </a:cubicBezTo>
                  <a:cubicBezTo>
                    <a:pt x="1161216" y="859617"/>
                    <a:pt x="1166959" y="860454"/>
                    <a:pt x="1172761" y="860634"/>
                  </a:cubicBezTo>
                  <a:cubicBezTo>
                    <a:pt x="1169052" y="858541"/>
                    <a:pt x="1165224" y="856687"/>
                    <a:pt x="1161336" y="854893"/>
                  </a:cubicBezTo>
                  <a:cubicBezTo>
                    <a:pt x="1162412" y="852621"/>
                    <a:pt x="1163489" y="850348"/>
                    <a:pt x="1164626" y="848076"/>
                  </a:cubicBezTo>
                  <a:lnTo>
                    <a:pt x="1158644" y="846760"/>
                  </a:lnTo>
                  <a:cubicBezTo>
                    <a:pt x="1162053" y="843711"/>
                    <a:pt x="1164925" y="840063"/>
                    <a:pt x="1168394" y="837073"/>
                  </a:cubicBezTo>
                  <a:cubicBezTo>
                    <a:pt x="1162711" y="838209"/>
                    <a:pt x="1157148" y="840541"/>
                    <a:pt x="1151345" y="840601"/>
                  </a:cubicBezTo>
                  <a:cubicBezTo>
                    <a:pt x="1144287" y="840182"/>
                    <a:pt x="1146620" y="831990"/>
                    <a:pt x="1146979" y="827326"/>
                  </a:cubicBezTo>
                  <a:cubicBezTo>
                    <a:pt x="1150747" y="813153"/>
                    <a:pt x="1125623" y="808728"/>
                    <a:pt x="1135493" y="792821"/>
                  </a:cubicBezTo>
                  <a:cubicBezTo>
                    <a:pt x="1135254" y="785645"/>
                    <a:pt x="1143569" y="784629"/>
                    <a:pt x="1148414" y="781938"/>
                  </a:cubicBezTo>
                  <a:cubicBezTo>
                    <a:pt x="1159062" y="775420"/>
                    <a:pt x="1172163" y="781041"/>
                    <a:pt x="1180418" y="788695"/>
                  </a:cubicBezTo>
                  <a:cubicBezTo>
                    <a:pt x="1191425" y="799100"/>
                    <a:pt x="1188913" y="815844"/>
                    <a:pt x="1194775" y="828821"/>
                  </a:cubicBezTo>
                  <a:cubicBezTo>
                    <a:pt x="1204287" y="835159"/>
                    <a:pt x="1215294" y="839345"/>
                    <a:pt x="1224446" y="846461"/>
                  </a:cubicBezTo>
                  <a:cubicBezTo>
                    <a:pt x="1223310" y="842335"/>
                    <a:pt x="1222113" y="838209"/>
                    <a:pt x="1220977" y="834083"/>
                  </a:cubicBezTo>
                  <a:cubicBezTo>
                    <a:pt x="1230189" y="835040"/>
                    <a:pt x="1239282" y="837073"/>
                    <a:pt x="1248195" y="839465"/>
                  </a:cubicBezTo>
                  <a:cubicBezTo>
                    <a:pt x="1245563" y="835877"/>
                    <a:pt x="1242871" y="832289"/>
                    <a:pt x="1240299" y="828701"/>
                  </a:cubicBezTo>
                  <a:cubicBezTo>
                    <a:pt x="1262552" y="811419"/>
                    <a:pt x="1268773" y="781758"/>
                    <a:pt x="1275054" y="755805"/>
                  </a:cubicBezTo>
                  <a:cubicBezTo>
                    <a:pt x="1272003" y="758496"/>
                    <a:pt x="1267577" y="760410"/>
                    <a:pt x="1266560" y="764716"/>
                  </a:cubicBezTo>
                  <a:cubicBezTo>
                    <a:pt x="1260937" y="785227"/>
                    <a:pt x="1253459" y="805439"/>
                    <a:pt x="1241435" y="823080"/>
                  </a:cubicBezTo>
                  <a:cubicBezTo>
                    <a:pt x="1231924" y="820209"/>
                    <a:pt x="1217447" y="824635"/>
                    <a:pt x="1212542" y="813332"/>
                  </a:cubicBezTo>
                  <a:cubicBezTo>
                    <a:pt x="1206679" y="807054"/>
                    <a:pt x="1208235" y="798084"/>
                    <a:pt x="1205483" y="790609"/>
                  </a:cubicBezTo>
                  <a:cubicBezTo>
                    <a:pt x="1202671" y="784689"/>
                    <a:pt x="1199082" y="779247"/>
                    <a:pt x="1195493" y="773865"/>
                  </a:cubicBezTo>
                  <a:cubicBezTo>
                    <a:pt x="1201236" y="767765"/>
                    <a:pt x="1210029" y="763101"/>
                    <a:pt x="1211704" y="754251"/>
                  </a:cubicBezTo>
                  <a:cubicBezTo>
                    <a:pt x="1213978" y="744443"/>
                    <a:pt x="1214576" y="734337"/>
                    <a:pt x="1215593" y="724351"/>
                  </a:cubicBezTo>
                  <a:cubicBezTo>
                    <a:pt x="1208354" y="735414"/>
                    <a:pt x="1206859" y="752696"/>
                    <a:pt x="1192801" y="757360"/>
                  </a:cubicBezTo>
                  <a:cubicBezTo>
                    <a:pt x="1188733" y="758915"/>
                    <a:pt x="1184247" y="758437"/>
                    <a:pt x="1180000" y="758377"/>
                  </a:cubicBezTo>
                  <a:cubicBezTo>
                    <a:pt x="1183708" y="749347"/>
                    <a:pt x="1187716" y="740437"/>
                    <a:pt x="1191306" y="731347"/>
                  </a:cubicBezTo>
                  <a:cubicBezTo>
                    <a:pt x="1183768" y="738165"/>
                    <a:pt x="1176769" y="745639"/>
                    <a:pt x="1168873" y="752098"/>
                  </a:cubicBezTo>
                  <a:cubicBezTo>
                    <a:pt x="1162951" y="756942"/>
                    <a:pt x="1155593" y="753294"/>
                    <a:pt x="1149611" y="750782"/>
                  </a:cubicBezTo>
                  <a:cubicBezTo>
                    <a:pt x="1153379" y="747852"/>
                    <a:pt x="1157208" y="745161"/>
                    <a:pt x="1161156" y="742530"/>
                  </a:cubicBezTo>
                  <a:cubicBezTo>
                    <a:pt x="1158285" y="741753"/>
                    <a:pt x="1155413" y="741095"/>
                    <a:pt x="1152542" y="740557"/>
                  </a:cubicBezTo>
                  <a:cubicBezTo>
                    <a:pt x="1152243" y="732842"/>
                    <a:pt x="1150927" y="725068"/>
                    <a:pt x="1151585" y="717414"/>
                  </a:cubicBezTo>
                  <a:cubicBezTo>
                    <a:pt x="1155054" y="707487"/>
                    <a:pt x="1161635" y="698936"/>
                    <a:pt x="1164446" y="688770"/>
                  </a:cubicBezTo>
                  <a:cubicBezTo>
                    <a:pt x="1166899" y="683747"/>
                    <a:pt x="1166959" y="674957"/>
                    <a:pt x="1173479" y="672684"/>
                  </a:cubicBezTo>
                  <a:cubicBezTo>
                    <a:pt x="1186101" y="668737"/>
                    <a:pt x="1198245" y="663415"/>
                    <a:pt x="1209611" y="656718"/>
                  </a:cubicBezTo>
                  <a:cubicBezTo>
                    <a:pt x="1217866" y="662638"/>
                    <a:pt x="1228155" y="663176"/>
                    <a:pt x="1237427" y="666585"/>
                  </a:cubicBezTo>
                  <a:cubicBezTo>
                    <a:pt x="1254057" y="674119"/>
                    <a:pt x="1264047" y="690086"/>
                    <a:pt x="1277746" y="701448"/>
                  </a:cubicBezTo>
                  <a:cubicBezTo>
                    <a:pt x="1275952" y="685182"/>
                    <a:pt x="1261236" y="677229"/>
                    <a:pt x="1252801" y="665030"/>
                  </a:cubicBezTo>
                  <a:cubicBezTo>
                    <a:pt x="1265662" y="665329"/>
                    <a:pt x="1278464" y="664492"/>
                    <a:pt x="1291266" y="663475"/>
                  </a:cubicBezTo>
                  <a:cubicBezTo>
                    <a:pt x="1291266" y="656179"/>
                    <a:pt x="1291864" y="648944"/>
                    <a:pt x="1292821" y="641768"/>
                  </a:cubicBezTo>
                  <a:cubicBezTo>
                    <a:pt x="1286779" y="647389"/>
                    <a:pt x="1282532" y="655402"/>
                    <a:pt x="1274935" y="658990"/>
                  </a:cubicBezTo>
                  <a:cubicBezTo>
                    <a:pt x="1259680" y="655641"/>
                    <a:pt x="1244007" y="653608"/>
                    <a:pt x="1228933" y="649482"/>
                  </a:cubicBezTo>
                  <a:cubicBezTo>
                    <a:pt x="1220378" y="647030"/>
                    <a:pt x="1213320" y="634054"/>
                    <a:pt x="1223190" y="628791"/>
                  </a:cubicBezTo>
                  <a:cubicBezTo>
                    <a:pt x="1233838" y="627595"/>
                    <a:pt x="1236530" y="642426"/>
                    <a:pt x="1246699" y="644279"/>
                  </a:cubicBezTo>
                  <a:cubicBezTo>
                    <a:pt x="1243828" y="634831"/>
                    <a:pt x="1236769" y="627835"/>
                    <a:pt x="1230787" y="620300"/>
                  </a:cubicBezTo>
                  <a:cubicBezTo>
                    <a:pt x="1224326" y="610493"/>
                    <a:pt x="1226360" y="597337"/>
                    <a:pt x="1218703" y="588068"/>
                  </a:cubicBezTo>
                  <a:cubicBezTo>
                    <a:pt x="1212602" y="580174"/>
                    <a:pt x="1212362" y="569769"/>
                    <a:pt x="1207278" y="561517"/>
                  </a:cubicBezTo>
                  <a:cubicBezTo>
                    <a:pt x="1198364" y="555716"/>
                    <a:pt x="1187716" y="553324"/>
                    <a:pt x="1178863" y="547464"/>
                  </a:cubicBezTo>
                  <a:cubicBezTo>
                    <a:pt x="1173479" y="536581"/>
                    <a:pt x="1181854" y="523604"/>
                    <a:pt x="1176111" y="512661"/>
                  </a:cubicBezTo>
                  <a:cubicBezTo>
                    <a:pt x="1170428" y="500282"/>
                    <a:pt x="1171625" y="485990"/>
                    <a:pt x="1174317" y="473014"/>
                  </a:cubicBezTo>
                  <a:cubicBezTo>
                    <a:pt x="1179581" y="466675"/>
                    <a:pt x="1189212" y="467692"/>
                    <a:pt x="1195672" y="471758"/>
                  </a:cubicBezTo>
                  <a:cubicBezTo>
                    <a:pt x="1208654" y="479771"/>
                    <a:pt x="1225463" y="472894"/>
                    <a:pt x="1238923" y="479233"/>
                  </a:cubicBezTo>
                  <a:cubicBezTo>
                    <a:pt x="1250468" y="491851"/>
                    <a:pt x="1257946" y="507578"/>
                    <a:pt x="1270029" y="519837"/>
                  </a:cubicBezTo>
                  <a:cubicBezTo>
                    <a:pt x="1283070" y="531199"/>
                    <a:pt x="1280259" y="551889"/>
                    <a:pt x="1293958" y="562653"/>
                  </a:cubicBezTo>
                  <a:cubicBezTo>
                    <a:pt x="1300059" y="566121"/>
                    <a:pt x="1306819" y="567975"/>
                    <a:pt x="1313220" y="570786"/>
                  </a:cubicBezTo>
                  <a:cubicBezTo>
                    <a:pt x="1320937" y="566420"/>
                    <a:pt x="1329371" y="562892"/>
                    <a:pt x="1335772" y="556494"/>
                  </a:cubicBezTo>
                  <a:cubicBezTo>
                    <a:pt x="1328055" y="557510"/>
                    <a:pt x="1320937" y="560799"/>
                    <a:pt x="1313399" y="562414"/>
                  </a:cubicBezTo>
                  <a:cubicBezTo>
                    <a:pt x="1307238" y="559843"/>
                    <a:pt x="1302033" y="555417"/>
                    <a:pt x="1296291" y="552128"/>
                  </a:cubicBezTo>
                  <a:cubicBezTo>
                    <a:pt x="1294616" y="542022"/>
                    <a:pt x="1293658" y="531737"/>
                    <a:pt x="1290967" y="521870"/>
                  </a:cubicBezTo>
                  <a:cubicBezTo>
                    <a:pt x="1285942" y="515113"/>
                    <a:pt x="1277866" y="511106"/>
                    <a:pt x="1273678" y="503571"/>
                  </a:cubicBezTo>
                  <a:cubicBezTo>
                    <a:pt x="1266201" y="491791"/>
                    <a:pt x="1259800" y="479293"/>
                    <a:pt x="1253579" y="466795"/>
                  </a:cubicBezTo>
                  <a:cubicBezTo>
                    <a:pt x="1274935" y="459080"/>
                    <a:pt x="1297846" y="456748"/>
                    <a:pt x="1318843" y="448077"/>
                  </a:cubicBezTo>
                  <a:cubicBezTo>
                    <a:pt x="1334277" y="431034"/>
                    <a:pt x="1360298" y="437852"/>
                    <a:pt x="1380338" y="430975"/>
                  </a:cubicBezTo>
                  <a:cubicBezTo>
                    <a:pt x="1364665" y="424815"/>
                    <a:pt x="1347916" y="426789"/>
                    <a:pt x="1331644" y="427925"/>
                  </a:cubicBezTo>
                  <a:cubicBezTo>
                    <a:pt x="1343190" y="416264"/>
                    <a:pt x="1356769" y="406277"/>
                    <a:pt x="1372083" y="400118"/>
                  </a:cubicBezTo>
                  <a:cubicBezTo>
                    <a:pt x="1385244" y="393540"/>
                    <a:pt x="1400318" y="394916"/>
                    <a:pt x="1414496" y="392464"/>
                  </a:cubicBezTo>
                  <a:lnTo>
                    <a:pt x="1414615" y="386783"/>
                  </a:lnTo>
                  <a:cubicBezTo>
                    <a:pt x="1395114" y="382477"/>
                    <a:pt x="1374715" y="382118"/>
                    <a:pt x="1356590" y="392045"/>
                  </a:cubicBezTo>
                  <a:cubicBezTo>
                    <a:pt x="1356649" y="385288"/>
                    <a:pt x="1355274" y="378232"/>
                    <a:pt x="1357128" y="371713"/>
                  </a:cubicBezTo>
                  <a:cubicBezTo>
                    <a:pt x="1361854" y="363581"/>
                    <a:pt x="1368374" y="356285"/>
                    <a:pt x="1370049" y="346717"/>
                  </a:cubicBezTo>
                  <a:cubicBezTo>
                    <a:pt x="1376510" y="324591"/>
                    <a:pt x="1402292" y="316698"/>
                    <a:pt x="1411086" y="296426"/>
                  </a:cubicBezTo>
                  <a:cubicBezTo>
                    <a:pt x="1398943" y="303422"/>
                    <a:pt x="1387457" y="311675"/>
                    <a:pt x="1376390" y="320286"/>
                  </a:cubicBezTo>
                  <a:cubicBezTo>
                    <a:pt x="1368075" y="329136"/>
                    <a:pt x="1364007" y="341096"/>
                    <a:pt x="1360179" y="352338"/>
                  </a:cubicBezTo>
                  <a:cubicBezTo>
                    <a:pt x="1356590" y="350963"/>
                    <a:pt x="1353060" y="349588"/>
                    <a:pt x="1349531" y="348093"/>
                  </a:cubicBezTo>
                  <a:cubicBezTo>
                    <a:pt x="1351266" y="351860"/>
                    <a:pt x="1352761" y="355926"/>
                    <a:pt x="1350488" y="359813"/>
                  </a:cubicBezTo>
                  <a:cubicBezTo>
                    <a:pt x="1346959" y="366750"/>
                    <a:pt x="1350727" y="374703"/>
                    <a:pt x="1347617" y="381700"/>
                  </a:cubicBezTo>
                  <a:cubicBezTo>
                    <a:pt x="1342233" y="400896"/>
                    <a:pt x="1322432" y="409626"/>
                    <a:pt x="1307776" y="420510"/>
                  </a:cubicBezTo>
                  <a:cubicBezTo>
                    <a:pt x="1290907" y="428941"/>
                    <a:pt x="1272721" y="438988"/>
                    <a:pt x="1253280" y="437433"/>
                  </a:cubicBezTo>
                  <a:cubicBezTo>
                    <a:pt x="1255852" y="428044"/>
                    <a:pt x="1258604" y="416922"/>
                    <a:pt x="1269072" y="413693"/>
                  </a:cubicBezTo>
                  <a:cubicBezTo>
                    <a:pt x="1278344" y="410703"/>
                    <a:pt x="1290129" y="404842"/>
                    <a:pt x="1286719" y="393002"/>
                  </a:cubicBezTo>
                  <a:cubicBezTo>
                    <a:pt x="1272901" y="400776"/>
                    <a:pt x="1261894" y="419194"/>
                    <a:pt x="1244247" y="415786"/>
                  </a:cubicBezTo>
                  <a:cubicBezTo>
                    <a:pt x="1247956" y="408012"/>
                    <a:pt x="1253280" y="401195"/>
                    <a:pt x="1256869" y="393361"/>
                  </a:cubicBezTo>
                  <a:cubicBezTo>
                    <a:pt x="1251006" y="398324"/>
                    <a:pt x="1244665" y="403347"/>
                    <a:pt x="1240837" y="410164"/>
                  </a:cubicBezTo>
                  <a:cubicBezTo>
                    <a:pt x="1240179" y="417998"/>
                    <a:pt x="1243529" y="425952"/>
                    <a:pt x="1240957" y="433606"/>
                  </a:cubicBezTo>
                  <a:cubicBezTo>
                    <a:pt x="1238564" y="439406"/>
                    <a:pt x="1231445" y="440363"/>
                    <a:pt x="1226001" y="441260"/>
                  </a:cubicBezTo>
                  <a:cubicBezTo>
                    <a:pt x="1214516" y="441559"/>
                    <a:pt x="1202911" y="441260"/>
                    <a:pt x="1191605" y="438808"/>
                  </a:cubicBezTo>
                  <a:cubicBezTo>
                    <a:pt x="1192083" y="436775"/>
                    <a:pt x="1192562" y="434742"/>
                    <a:pt x="1193040" y="432769"/>
                  </a:cubicBezTo>
                  <a:cubicBezTo>
                    <a:pt x="1186400" y="441499"/>
                    <a:pt x="1175573" y="437313"/>
                    <a:pt x="1169770" y="429838"/>
                  </a:cubicBezTo>
                  <a:cubicBezTo>
                    <a:pt x="1171924" y="412616"/>
                    <a:pt x="1183349" y="398264"/>
                    <a:pt x="1189511" y="382358"/>
                  </a:cubicBezTo>
                  <a:cubicBezTo>
                    <a:pt x="1195194" y="367647"/>
                    <a:pt x="1213320" y="365793"/>
                    <a:pt x="1226121" y="361428"/>
                  </a:cubicBezTo>
                  <a:cubicBezTo>
                    <a:pt x="1242632" y="354431"/>
                    <a:pt x="1260937" y="351441"/>
                    <a:pt x="1276370" y="341993"/>
                  </a:cubicBezTo>
                  <a:cubicBezTo>
                    <a:pt x="1261296" y="341395"/>
                    <a:pt x="1248494" y="350544"/>
                    <a:pt x="1234077" y="353355"/>
                  </a:cubicBezTo>
                  <a:cubicBezTo>
                    <a:pt x="1217507" y="358139"/>
                    <a:pt x="1196510" y="356225"/>
                    <a:pt x="1185324" y="371713"/>
                  </a:cubicBezTo>
                  <a:cubicBezTo>
                    <a:pt x="1174257" y="388936"/>
                    <a:pt x="1165762" y="407713"/>
                    <a:pt x="1156370" y="425892"/>
                  </a:cubicBezTo>
                  <a:cubicBezTo>
                    <a:pt x="1149192" y="426490"/>
                    <a:pt x="1143150" y="421945"/>
                    <a:pt x="1137587" y="418058"/>
                  </a:cubicBezTo>
                  <a:cubicBezTo>
                    <a:pt x="1125024" y="407234"/>
                    <a:pt x="1111385" y="396590"/>
                    <a:pt x="1102951" y="381999"/>
                  </a:cubicBezTo>
                  <a:cubicBezTo>
                    <a:pt x="1113419" y="376677"/>
                    <a:pt x="1123589" y="368544"/>
                    <a:pt x="1136091" y="369561"/>
                  </a:cubicBezTo>
                  <a:cubicBezTo>
                    <a:pt x="1147696" y="368903"/>
                    <a:pt x="1159601" y="373089"/>
                    <a:pt x="1170727" y="367767"/>
                  </a:cubicBezTo>
                  <a:cubicBezTo>
                    <a:pt x="1181316" y="362743"/>
                    <a:pt x="1190408" y="354671"/>
                    <a:pt x="1195972" y="344325"/>
                  </a:cubicBezTo>
                  <a:cubicBezTo>
                    <a:pt x="1200638" y="334817"/>
                    <a:pt x="1210568" y="330452"/>
                    <a:pt x="1219182" y="325429"/>
                  </a:cubicBezTo>
                  <a:cubicBezTo>
                    <a:pt x="1216011" y="323934"/>
                    <a:pt x="1212961" y="319807"/>
                    <a:pt x="1209192" y="321781"/>
                  </a:cubicBezTo>
                  <a:cubicBezTo>
                    <a:pt x="1199980" y="325847"/>
                    <a:pt x="1190947" y="331528"/>
                    <a:pt x="1184905" y="339780"/>
                  </a:cubicBezTo>
                  <a:cubicBezTo>
                    <a:pt x="1176769" y="353714"/>
                    <a:pt x="1159182" y="357063"/>
                    <a:pt x="1144466" y="359275"/>
                  </a:cubicBezTo>
                  <a:cubicBezTo>
                    <a:pt x="1126640" y="359454"/>
                    <a:pt x="1109411" y="364179"/>
                    <a:pt x="1092063" y="367527"/>
                  </a:cubicBezTo>
                  <a:cubicBezTo>
                    <a:pt x="1086201" y="358079"/>
                    <a:pt x="1076749" y="340558"/>
                    <a:pt x="1089970" y="333442"/>
                  </a:cubicBezTo>
                  <a:cubicBezTo>
                    <a:pt x="1096789" y="331229"/>
                    <a:pt x="1104147" y="333681"/>
                    <a:pt x="1111206" y="333621"/>
                  </a:cubicBezTo>
                  <a:lnTo>
                    <a:pt x="1091645" y="317356"/>
                  </a:lnTo>
                  <a:cubicBezTo>
                    <a:pt x="1104685" y="311675"/>
                    <a:pt x="1112582" y="299356"/>
                    <a:pt x="1121615" y="288951"/>
                  </a:cubicBezTo>
                  <a:cubicBezTo>
                    <a:pt x="1129212" y="284107"/>
                    <a:pt x="1139022" y="286499"/>
                    <a:pt x="1147577" y="286499"/>
                  </a:cubicBezTo>
                  <a:cubicBezTo>
                    <a:pt x="1141236" y="281715"/>
                    <a:pt x="1132681" y="277529"/>
                    <a:pt x="1124845" y="281476"/>
                  </a:cubicBezTo>
                  <a:cubicBezTo>
                    <a:pt x="1108813" y="288532"/>
                    <a:pt x="1096370" y="301688"/>
                    <a:pt x="1081894" y="311376"/>
                  </a:cubicBezTo>
                  <a:cubicBezTo>
                    <a:pt x="1078006" y="307130"/>
                    <a:pt x="1073998" y="303064"/>
                    <a:pt x="1069930" y="298997"/>
                  </a:cubicBezTo>
                  <a:cubicBezTo>
                    <a:pt x="1079860" y="288174"/>
                    <a:pt x="1091346" y="279084"/>
                    <a:pt x="1102771" y="269935"/>
                  </a:cubicBezTo>
                  <a:lnTo>
                    <a:pt x="1091286" y="271250"/>
                  </a:lnTo>
                  <a:cubicBezTo>
                    <a:pt x="1089551" y="267423"/>
                    <a:pt x="1087756" y="263596"/>
                    <a:pt x="1085902" y="259769"/>
                  </a:cubicBezTo>
                  <a:cubicBezTo>
                    <a:pt x="1080159" y="263656"/>
                    <a:pt x="1072622" y="266227"/>
                    <a:pt x="1070109" y="273284"/>
                  </a:cubicBezTo>
                  <a:cubicBezTo>
                    <a:pt x="1069032" y="280758"/>
                    <a:pt x="1063589" y="284885"/>
                    <a:pt x="1057367" y="287576"/>
                  </a:cubicBezTo>
                  <a:cubicBezTo>
                    <a:pt x="1056650" y="283748"/>
                    <a:pt x="1055872" y="279921"/>
                    <a:pt x="1055094" y="276094"/>
                  </a:cubicBezTo>
                  <a:cubicBezTo>
                    <a:pt x="1053778" y="278964"/>
                    <a:pt x="1052522" y="281835"/>
                    <a:pt x="1051206" y="284705"/>
                  </a:cubicBezTo>
                  <a:cubicBezTo>
                    <a:pt x="1049411" y="283808"/>
                    <a:pt x="1047617" y="282851"/>
                    <a:pt x="1045822" y="282014"/>
                  </a:cubicBezTo>
                  <a:cubicBezTo>
                    <a:pt x="1046839" y="271071"/>
                    <a:pt x="1044745" y="257496"/>
                    <a:pt x="1054556" y="249902"/>
                  </a:cubicBezTo>
                  <a:cubicBezTo>
                    <a:pt x="1062692" y="243982"/>
                    <a:pt x="1069391" y="236447"/>
                    <a:pt x="1076630" y="229451"/>
                  </a:cubicBezTo>
                  <a:cubicBezTo>
                    <a:pt x="1082313" y="223650"/>
                    <a:pt x="1090987" y="223949"/>
                    <a:pt x="1098404" y="222155"/>
                  </a:cubicBezTo>
                  <a:cubicBezTo>
                    <a:pt x="1099900" y="228075"/>
                    <a:pt x="1103609" y="232919"/>
                    <a:pt x="1107677" y="237284"/>
                  </a:cubicBezTo>
                  <a:cubicBezTo>
                    <a:pt x="1106002" y="230288"/>
                    <a:pt x="1104985" y="223052"/>
                    <a:pt x="1106002" y="215876"/>
                  </a:cubicBezTo>
                  <a:cubicBezTo>
                    <a:pt x="1109052" y="218148"/>
                    <a:pt x="1112043" y="220540"/>
                    <a:pt x="1114915" y="222992"/>
                  </a:cubicBezTo>
                  <a:cubicBezTo>
                    <a:pt x="1106959" y="202122"/>
                    <a:pt x="1134117" y="183345"/>
                    <a:pt x="1152243" y="192853"/>
                  </a:cubicBezTo>
                  <a:cubicBezTo>
                    <a:pt x="1159003" y="198534"/>
                    <a:pt x="1158105" y="207803"/>
                    <a:pt x="1158045" y="215637"/>
                  </a:cubicBezTo>
                  <a:cubicBezTo>
                    <a:pt x="1162532" y="209836"/>
                    <a:pt x="1165164" y="203019"/>
                    <a:pt x="1166241" y="195843"/>
                  </a:cubicBezTo>
                  <a:cubicBezTo>
                    <a:pt x="1179521" y="195245"/>
                    <a:pt x="1188853" y="202900"/>
                    <a:pt x="1193698" y="214800"/>
                  </a:cubicBezTo>
                  <a:cubicBezTo>
                    <a:pt x="1194237" y="211929"/>
                    <a:pt x="1194835" y="209119"/>
                    <a:pt x="1195792" y="206368"/>
                  </a:cubicBezTo>
                  <a:cubicBezTo>
                    <a:pt x="1201774" y="203797"/>
                    <a:pt x="1206021" y="207863"/>
                    <a:pt x="1209312" y="211511"/>
                  </a:cubicBezTo>
                  <a:cubicBezTo>
                    <a:pt x="1210867" y="209717"/>
                    <a:pt x="1212482" y="207983"/>
                    <a:pt x="1214037" y="206189"/>
                  </a:cubicBezTo>
                  <a:cubicBezTo>
                    <a:pt x="1216131" y="212886"/>
                    <a:pt x="1218045" y="219703"/>
                    <a:pt x="1220259" y="226401"/>
                  </a:cubicBezTo>
                  <a:cubicBezTo>
                    <a:pt x="1218045" y="219404"/>
                    <a:pt x="1221694" y="205710"/>
                    <a:pt x="1211884" y="202840"/>
                  </a:cubicBezTo>
                  <a:cubicBezTo>
                    <a:pt x="1198484" y="198654"/>
                    <a:pt x="1185682" y="192793"/>
                    <a:pt x="1173659" y="185558"/>
                  </a:cubicBezTo>
                  <a:cubicBezTo>
                    <a:pt x="1167676" y="182149"/>
                    <a:pt x="1167078" y="174614"/>
                    <a:pt x="1164925" y="168754"/>
                  </a:cubicBezTo>
                  <a:cubicBezTo>
                    <a:pt x="1177846" y="166960"/>
                    <a:pt x="1191425" y="165046"/>
                    <a:pt x="1202612" y="157751"/>
                  </a:cubicBezTo>
                  <a:cubicBezTo>
                    <a:pt x="1199322" y="147166"/>
                    <a:pt x="1199322" y="134369"/>
                    <a:pt x="1188793" y="127851"/>
                  </a:cubicBezTo>
                  <a:cubicBezTo>
                    <a:pt x="1199082" y="121273"/>
                    <a:pt x="1211465" y="118941"/>
                    <a:pt x="1222652" y="124562"/>
                  </a:cubicBezTo>
                  <a:cubicBezTo>
                    <a:pt x="1220378" y="126894"/>
                    <a:pt x="1218045" y="129107"/>
                    <a:pt x="1215772" y="131379"/>
                  </a:cubicBezTo>
                  <a:cubicBezTo>
                    <a:pt x="1220498" y="135565"/>
                    <a:pt x="1225104" y="140887"/>
                    <a:pt x="1231744" y="141784"/>
                  </a:cubicBezTo>
                  <a:cubicBezTo>
                    <a:pt x="1238085" y="142861"/>
                    <a:pt x="1245563" y="144655"/>
                    <a:pt x="1247178" y="152010"/>
                  </a:cubicBezTo>
                  <a:cubicBezTo>
                    <a:pt x="1251724" y="166302"/>
                    <a:pt x="1265662" y="182149"/>
                    <a:pt x="1256390" y="197219"/>
                  </a:cubicBezTo>
                  <a:cubicBezTo>
                    <a:pt x="1264945" y="195604"/>
                    <a:pt x="1273499" y="194348"/>
                    <a:pt x="1282113" y="193092"/>
                  </a:cubicBezTo>
                  <a:lnTo>
                    <a:pt x="1268534" y="190401"/>
                  </a:lnTo>
                  <a:cubicBezTo>
                    <a:pt x="1264646" y="179339"/>
                    <a:pt x="1259920" y="168575"/>
                    <a:pt x="1257288" y="157153"/>
                  </a:cubicBezTo>
                  <a:cubicBezTo>
                    <a:pt x="1267457" y="153206"/>
                    <a:pt x="1272123" y="163910"/>
                    <a:pt x="1277926" y="170249"/>
                  </a:cubicBezTo>
                  <a:cubicBezTo>
                    <a:pt x="1292342" y="187112"/>
                    <a:pt x="1310229" y="201106"/>
                    <a:pt x="1329730" y="211750"/>
                  </a:cubicBezTo>
                  <a:cubicBezTo>
                    <a:pt x="1334994" y="221079"/>
                    <a:pt x="1339122" y="232082"/>
                    <a:pt x="1348992" y="237763"/>
                  </a:cubicBezTo>
                  <a:cubicBezTo>
                    <a:pt x="1344745" y="225982"/>
                    <a:pt x="1339002" y="214740"/>
                    <a:pt x="1332302" y="204275"/>
                  </a:cubicBezTo>
                  <a:cubicBezTo>
                    <a:pt x="1323210" y="197876"/>
                    <a:pt x="1306101" y="194288"/>
                    <a:pt x="1308853" y="179757"/>
                  </a:cubicBezTo>
                  <a:cubicBezTo>
                    <a:pt x="1288454" y="174674"/>
                    <a:pt x="1279481" y="154582"/>
                    <a:pt x="1266141" y="140588"/>
                  </a:cubicBezTo>
                  <a:cubicBezTo>
                    <a:pt x="1266560" y="132097"/>
                    <a:pt x="1268594" y="123785"/>
                    <a:pt x="1272482" y="116250"/>
                  </a:cubicBezTo>
                  <a:lnTo>
                    <a:pt x="1294436" y="118223"/>
                  </a:lnTo>
                  <a:cubicBezTo>
                    <a:pt x="1287796" y="112842"/>
                    <a:pt x="1280139" y="108177"/>
                    <a:pt x="1275114" y="101181"/>
                  </a:cubicBezTo>
                  <a:cubicBezTo>
                    <a:pt x="1270747" y="95141"/>
                    <a:pt x="1276011" y="88623"/>
                    <a:pt x="1279122" y="83420"/>
                  </a:cubicBezTo>
                  <a:cubicBezTo>
                    <a:pt x="1288275" y="88384"/>
                    <a:pt x="1296949" y="94124"/>
                    <a:pt x="1304366" y="101480"/>
                  </a:cubicBezTo>
                  <a:cubicBezTo>
                    <a:pt x="1303290" y="103214"/>
                    <a:pt x="1302213" y="105008"/>
                    <a:pt x="1301136" y="106742"/>
                  </a:cubicBezTo>
                  <a:cubicBezTo>
                    <a:pt x="1306639" y="108416"/>
                    <a:pt x="1312143" y="109911"/>
                    <a:pt x="1317886" y="110390"/>
                  </a:cubicBezTo>
                  <a:cubicBezTo>
                    <a:pt x="1312442" y="91493"/>
                    <a:pt x="1299461" y="76244"/>
                    <a:pt x="1291385" y="58544"/>
                  </a:cubicBezTo>
                  <a:cubicBezTo>
                    <a:pt x="1301196" y="57826"/>
                    <a:pt x="1312083" y="55972"/>
                    <a:pt x="1320578" y="62251"/>
                  </a:cubicBezTo>
                  <a:cubicBezTo>
                    <a:pt x="1327995" y="68231"/>
                    <a:pt x="1327278" y="78816"/>
                    <a:pt x="1329311" y="87367"/>
                  </a:cubicBezTo>
                  <a:cubicBezTo>
                    <a:pt x="1330927" y="84198"/>
                    <a:pt x="1332482" y="80968"/>
                    <a:pt x="1333918" y="77739"/>
                  </a:cubicBezTo>
                  <a:cubicBezTo>
                    <a:pt x="1342592" y="82882"/>
                    <a:pt x="1352103" y="86530"/>
                    <a:pt x="1362452" y="86410"/>
                  </a:cubicBezTo>
                  <a:cubicBezTo>
                    <a:pt x="1350787" y="80191"/>
                    <a:pt x="1331465" y="77141"/>
                    <a:pt x="1331704" y="60457"/>
                  </a:cubicBezTo>
                  <a:lnTo>
                    <a:pt x="1338823" y="57706"/>
                  </a:lnTo>
                  <a:cubicBezTo>
                    <a:pt x="1331286" y="55195"/>
                    <a:pt x="1320039" y="52683"/>
                    <a:pt x="1321774" y="42458"/>
                  </a:cubicBezTo>
                  <a:cubicBezTo>
                    <a:pt x="1327816" y="35102"/>
                    <a:pt x="1336968" y="29361"/>
                    <a:pt x="1346420" y="27807"/>
                  </a:cubicBezTo>
                  <a:cubicBezTo>
                    <a:pt x="1351684" y="30976"/>
                    <a:pt x="1353299" y="37375"/>
                    <a:pt x="1356231" y="42398"/>
                  </a:cubicBezTo>
                  <a:lnTo>
                    <a:pt x="1363409" y="32890"/>
                  </a:lnTo>
                  <a:cubicBezTo>
                    <a:pt x="1366101" y="38750"/>
                    <a:pt x="1368314" y="44730"/>
                    <a:pt x="1370827" y="50650"/>
                  </a:cubicBezTo>
                  <a:cubicBezTo>
                    <a:pt x="1374835" y="45687"/>
                    <a:pt x="1378843" y="40723"/>
                    <a:pt x="1382791" y="35640"/>
                  </a:cubicBezTo>
                  <a:cubicBezTo>
                    <a:pt x="1388534" y="41142"/>
                    <a:pt x="1395234" y="45687"/>
                    <a:pt x="1400378" y="51786"/>
                  </a:cubicBezTo>
                  <a:cubicBezTo>
                    <a:pt x="1406300" y="62311"/>
                    <a:pt x="1408215" y="74630"/>
                    <a:pt x="1413658" y="85394"/>
                  </a:cubicBezTo>
                  <a:cubicBezTo>
                    <a:pt x="1417846" y="90895"/>
                    <a:pt x="1424247" y="94244"/>
                    <a:pt x="1428494" y="99686"/>
                  </a:cubicBezTo>
                  <a:cubicBezTo>
                    <a:pt x="1427716" y="109852"/>
                    <a:pt x="1423050" y="119240"/>
                    <a:pt x="1420777" y="129047"/>
                  </a:cubicBezTo>
                  <a:cubicBezTo>
                    <a:pt x="1427896" y="117984"/>
                    <a:pt x="1434237" y="106443"/>
                    <a:pt x="1440996" y="95201"/>
                  </a:cubicBezTo>
                  <a:cubicBezTo>
                    <a:pt x="1433100" y="89340"/>
                    <a:pt x="1423888" y="83241"/>
                    <a:pt x="1420777" y="73493"/>
                  </a:cubicBezTo>
                  <a:cubicBezTo>
                    <a:pt x="1419521" y="67693"/>
                    <a:pt x="1426221" y="65361"/>
                    <a:pt x="1429750" y="62251"/>
                  </a:cubicBezTo>
                  <a:cubicBezTo>
                    <a:pt x="1426280" y="62431"/>
                    <a:pt x="1422751" y="62670"/>
                    <a:pt x="1419281" y="62311"/>
                  </a:cubicBezTo>
                  <a:cubicBezTo>
                    <a:pt x="1412641" y="55195"/>
                    <a:pt x="1412163" y="43952"/>
                    <a:pt x="1404147" y="37674"/>
                  </a:cubicBezTo>
                  <a:cubicBezTo>
                    <a:pt x="1399720" y="32770"/>
                    <a:pt x="1389431" y="25714"/>
                    <a:pt x="1397088" y="19016"/>
                  </a:cubicBezTo>
                  <a:cubicBezTo>
                    <a:pt x="1404984" y="19196"/>
                    <a:pt x="1413359" y="21229"/>
                    <a:pt x="1420418" y="16265"/>
                  </a:cubicBezTo>
                  <a:cubicBezTo>
                    <a:pt x="1429989" y="9747"/>
                    <a:pt x="1440697" y="19495"/>
                    <a:pt x="1450388" y="14830"/>
                  </a:cubicBezTo>
                  <a:cubicBezTo>
                    <a:pt x="1457686" y="11721"/>
                    <a:pt x="1465164" y="17222"/>
                    <a:pt x="1470308" y="21886"/>
                  </a:cubicBezTo>
                  <a:cubicBezTo>
                    <a:pt x="1475752" y="31096"/>
                    <a:pt x="1477128" y="41919"/>
                    <a:pt x="1481196" y="51667"/>
                  </a:cubicBezTo>
                  <a:cubicBezTo>
                    <a:pt x="1488195" y="63208"/>
                    <a:pt x="1498364" y="72417"/>
                    <a:pt x="1508833" y="80789"/>
                  </a:cubicBezTo>
                  <a:lnTo>
                    <a:pt x="1511943" y="75766"/>
                  </a:lnTo>
                  <a:cubicBezTo>
                    <a:pt x="1502671" y="66856"/>
                    <a:pt x="1494117" y="56989"/>
                    <a:pt x="1489511" y="44849"/>
                  </a:cubicBezTo>
                  <a:cubicBezTo>
                    <a:pt x="1481674" y="29959"/>
                    <a:pt x="1497646" y="17581"/>
                    <a:pt x="1505363" y="6339"/>
                  </a:cubicBezTo>
                  <a:cubicBezTo>
                    <a:pt x="1514635" y="5322"/>
                    <a:pt x="1523728" y="3169"/>
                    <a:pt x="1532940" y="1674"/>
                  </a:cubicBezTo>
                  <a:cubicBezTo>
                    <a:pt x="1531624" y="8611"/>
                    <a:pt x="1530129" y="15548"/>
                    <a:pt x="1528753" y="22484"/>
                  </a:cubicBezTo>
                  <a:cubicBezTo>
                    <a:pt x="1534376" y="32112"/>
                    <a:pt x="1542033" y="40544"/>
                    <a:pt x="1552801" y="44371"/>
                  </a:cubicBezTo>
                  <a:cubicBezTo>
                    <a:pt x="1548075" y="35102"/>
                    <a:pt x="1542452" y="26371"/>
                    <a:pt x="1537068" y="17521"/>
                  </a:cubicBezTo>
                  <a:cubicBezTo>
                    <a:pt x="1540956" y="13275"/>
                    <a:pt x="1544007" y="8013"/>
                    <a:pt x="1548853" y="4784"/>
                  </a:cubicBezTo>
                  <a:cubicBezTo>
                    <a:pt x="1558304" y="717"/>
                    <a:pt x="1568952" y="1136"/>
                    <a:pt x="1579062" y="0"/>
                  </a:cubicBez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1" name="Canada - Mainland">
              <a:extLst>
                <a:ext uri="{FF2B5EF4-FFF2-40B4-BE49-F238E27FC236}">
                  <a16:creationId xmlns:a16="http://schemas.microsoft.com/office/drawing/2014/main" id="{8E4EAD92-12E8-1C73-8433-267B9425FA75}"/>
                </a:ext>
              </a:extLst>
            </p:cNvPr>
            <p:cNvSpPr>
              <a:spLocks noEditPoints="1"/>
            </p:cNvSpPr>
            <p:nvPr/>
          </p:nvSpPr>
          <p:spPr bwMode="auto">
            <a:xfrm>
              <a:off x="2497236" y="2108118"/>
              <a:ext cx="2016681" cy="1393245"/>
            </a:xfrm>
            <a:custGeom>
              <a:avLst/>
              <a:gdLst>
                <a:gd name="T0" fmla="*/ 581 w 1116"/>
                <a:gd name="T1" fmla="*/ 586 h 771"/>
                <a:gd name="T2" fmla="*/ 568 w 1116"/>
                <a:gd name="T3" fmla="*/ 575 h 771"/>
                <a:gd name="T4" fmla="*/ 564 w 1116"/>
                <a:gd name="T5" fmla="*/ 531 h 771"/>
                <a:gd name="T6" fmla="*/ 426 w 1116"/>
                <a:gd name="T7" fmla="*/ 408 h 771"/>
                <a:gd name="T8" fmla="*/ 344 w 1116"/>
                <a:gd name="T9" fmla="*/ 340 h 771"/>
                <a:gd name="T10" fmla="*/ 381 w 1116"/>
                <a:gd name="T11" fmla="*/ 340 h 771"/>
                <a:gd name="T12" fmla="*/ 374 w 1116"/>
                <a:gd name="T13" fmla="*/ 335 h 771"/>
                <a:gd name="T14" fmla="*/ 684 w 1116"/>
                <a:gd name="T15" fmla="*/ 228 h 771"/>
                <a:gd name="T16" fmla="*/ 257 w 1116"/>
                <a:gd name="T17" fmla="*/ 223 h 771"/>
                <a:gd name="T18" fmla="*/ 269 w 1116"/>
                <a:gd name="T19" fmla="*/ 243 h 771"/>
                <a:gd name="T20" fmla="*/ 272 w 1116"/>
                <a:gd name="T21" fmla="*/ 209 h 771"/>
                <a:gd name="T22" fmla="*/ 610 w 1116"/>
                <a:gd name="T23" fmla="*/ 2 h 771"/>
                <a:gd name="T24" fmla="*/ 656 w 1116"/>
                <a:gd name="T25" fmla="*/ 97 h 771"/>
                <a:gd name="T26" fmla="*/ 676 w 1116"/>
                <a:gd name="T27" fmla="*/ 105 h 771"/>
                <a:gd name="T28" fmla="*/ 736 w 1116"/>
                <a:gd name="T29" fmla="*/ 114 h 771"/>
                <a:gd name="T30" fmla="*/ 780 w 1116"/>
                <a:gd name="T31" fmla="*/ 131 h 771"/>
                <a:gd name="T32" fmla="*/ 749 w 1116"/>
                <a:gd name="T33" fmla="*/ 212 h 771"/>
                <a:gd name="T34" fmla="*/ 693 w 1116"/>
                <a:gd name="T35" fmla="*/ 240 h 771"/>
                <a:gd name="T36" fmla="*/ 639 w 1116"/>
                <a:gd name="T37" fmla="*/ 288 h 771"/>
                <a:gd name="T38" fmla="*/ 638 w 1116"/>
                <a:gd name="T39" fmla="*/ 319 h 771"/>
                <a:gd name="T40" fmla="*/ 611 w 1116"/>
                <a:gd name="T41" fmla="*/ 427 h 771"/>
                <a:gd name="T42" fmla="*/ 728 w 1116"/>
                <a:gd name="T43" fmla="*/ 504 h 771"/>
                <a:gd name="T44" fmla="*/ 786 w 1116"/>
                <a:gd name="T45" fmla="*/ 596 h 771"/>
                <a:gd name="T46" fmla="*/ 839 w 1116"/>
                <a:gd name="T47" fmla="*/ 485 h 771"/>
                <a:gd name="T48" fmla="*/ 827 w 1116"/>
                <a:gd name="T49" fmla="*/ 393 h 771"/>
                <a:gd name="T50" fmla="*/ 862 w 1116"/>
                <a:gd name="T51" fmla="*/ 332 h 771"/>
                <a:gd name="T52" fmla="*/ 934 w 1116"/>
                <a:gd name="T53" fmla="*/ 362 h 771"/>
                <a:gd name="T54" fmla="*/ 930 w 1116"/>
                <a:gd name="T55" fmla="*/ 420 h 771"/>
                <a:gd name="T56" fmla="*/ 980 w 1116"/>
                <a:gd name="T57" fmla="*/ 429 h 771"/>
                <a:gd name="T58" fmla="*/ 1007 w 1116"/>
                <a:gd name="T59" fmla="*/ 402 h 771"/>
                <a:gd name="T60" fmla="*/ 1023 w 1116"/>
                <a:gd name="T61" fmla="*/ 427 h 771"/>
                <a:gd name="T62" fmla="*/ 1041 w 1116"/>
                <a:gd name="T63" fmla="*/ 466 h 771"/>
                <a:gd name="T64" fmla="*/ 1042 w 1116"/>
                <a:gd name="T65" fmla="*/ 485 h 771"/>
                <a:gd name="T66" fmla="*/ 1094 w 1116"/>
                <a:gd name="T67" fmla="*/ 522 h 771"/>
                <a:gd name="T68" fmla="*/ 1085 w 1116"/>
                <a:gd name="T69" fmla="*/ 532 h 771"/>
                <a:gd name="T70" fmla="*/ 1114 w 1116"/>
                <a:gd name="T71" fmla="*/ 567 h 771"/>
                <a:gd name="T72" fmla="*/ 971 w 1116"/>
                <a:gd name="T73" fmla="*/ 621 h 771"/>
                <a:gd name="T74" fmla="*/ 992 w 1116"/>
                <a:gd name="T75" fmla="*/ 658 h 771"/>
                <a:gd name="T76" fmla="*/ 1025 w 1116"/>
                <a:gd name="T77" fmla="*/ 703 h 771"/>
                <a:gd name="T78" fmla="*/ 1007 w 1116"/>
                <a:gd name="T79" fmla="*/ 725 h 771"/>
                <a:gd name="T80" fmla="*/ 986 w 1116"/>
                <a:gd name="T81" fmla="*/ 712 h 771"/>
                <a:gd name="T82" fmla="*/ 909 w 1116"/>
                <a:gd name="T83" fmla="*/ 718 h 771"/>
                <a:gd name="T84" fmla="*/ 756 w 1116"/>
                <a:gd name="T85" fmla="*/ 771 h 771"/>
                <a:gd name="T86" fmla="*/ 781 w 1116"/>
                <a:gd name="T87" fmla="*/ 712 h 771"/>
                <a:gd name="T88" fmla="*/ 736 w 1116"/>
                <a:gd name="T89" fmla="*/ 681 h 771"/>
                <a:gd name="T90" fmla="*/ 682 w 1116"/>
                <a:gd name="T91" fmla="*/ 650 h 771"/>
                <a:gd name="T92" fmla="*/ 227 w 1116"/>
                <a:gd name="T93" fmla="*/ 632 h 771"/>
                <a:gd name="T94" fmla="*/ 186 w 1116"/>
                <a:gd name="T95" fmla="*/ 602 h 771"/>
                <a:gd name="T96" fmla="*/ 166 w 1116"/>
                <a:gd name="T97" fmla="*/ 567 h 771"/>
                <a:gd name="T98" fmla="*/ 86 w 1116"/>
                <a:gd name="T99" fmla="*/ 421 h 771"/>
                <a:gd name="T100" fmla="*/ 76 w 1116"/>
                <a:gd name="T101" fmla="*/ 128 h 771"/>
                <a:gd name="T102" fmla="*/ 132 w 1116"/>
                <a:gd name="T103" fmla="*/ 97 h 771"/>
                <a:gd name="T104" fmla="*/ 196 w 1116"/>
                <a:gd name="T105" fmla="*/ 101 h 771"/>
                <a:gd name="T106" fmla="*/ 275 w 1116"/>
                <a:gd name="T107" fmla="*/ 101 h 771"/>
                <a:gd name="T108" fmla="*/ 409 w 1116"/>
                <a:gd name="T109" fmla="*/ 159 h 771"/>
                <a:gd name="T110" fmla="*/ 438 w 1116"/>
                <a:gd name="T111" fmla="*/ 181 h 771"/>
                <a:gd name="T112" fmla="*/ 448 w 1116"/>
                <a:gd name="T113" fmla="*/ 141 h 771"/>
                <a:gd name="T114" fmla="*/ 466 w 1116"/>
                <a:gd name="T115" fmla="*/ 132 h 771"/>
                <a:gd name="T116" fmla="*/ 572 w 1116"/>
                <a:gd name="T117" fmla="*/ 162 h 771"/>
                <a:gd name="T118" fmla="*/ 589 w 1116"/>
                <a:gd name="T119" fmla="*/ 142 h 771"/>
                <a:gd name="T120" fmla="*/ 605 w 1116"/>
                <a:gd name="T121" fmla="*/ 148 h 771"/>
                <a:gd name="T122" fmla="*/ 583 w 1116"/>
                <a:gd name="T123" fmla="*/ 48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6" h="771">
                  <a:moveTo>
                    <a:pt x="1004" y="710"/>
                  </a:moveTo>
                  <a:lnTo>
                    <a:pt x="1005" y="713"/>
                  </a:lnTo>
                  <a:lnTo>
                    <a:pt x="1013" y="710"/>
                  </a:lnTo>
                  <a:lnTo>
                    <a:pt x="1004" y="710"/>
                  </a:lnTo>
                  <a:close/>
                  <a:moveTo>
                    <a:pt x="581" y="586"/>
                  </a:moveTo>
                  <a:lnTo>
                    <a:pt x="578" y="595"/>
                  </a:lnTo>
                  <a:lnTo>
                    <a:pt x="581" y="593"/>
                  </a:lnTo>
                  <a:lnTo>
                    <a:pt x="583" y="593"/>
                  </a:lnTo>
                  <a:lnTo>
                    <a:pt x="583" y="595"/>
                  </a:lnTo>
                  <a:lnTo>
                    <a:pt x="577" y="607"/>
                  </a:lnTo>
                  <a:lnTo>
                    <a:pt x="578" y="611"/>
                  </a:lnTo>
                  <a:lnTo>
                    <a:pt x="580" y="611"/>
                  </a:lnTo>
                  <a:lnTo>
                    <a:pt x="581" y="607"/>
                  </a:lnTo>
                  <a:lnTo>
                    <a:pt x="583" y="607"/>
                  </a:lnTo>
                  <a:lnTo>
                    <a:pt x="586" y="595"/>
                  </a:lnTo>
                  <a:lnTo>
                    <a:pt x="581" y="586"/>
                  </a:lnTo>
                  <a:close/>
                  <a:moveTo>
                    <a:pt x="559" y="529"/>
                  </a:moveTo>
                  <a:lnTo>
                    <a:pt x="562" y="531"/>
                  </a:lnTo>
                  <a:lnTo>
                    <a:pt x="561" y="535"/>
                  </a:lnTo>
                  <a:lnTo>
                    <a:pt x="564" y="541"/>
                  </a:lnTo>
                  <a:lnTo>
                    <a:pt x="564" y="543"/>
                  </a:lnTo>
                  <a:lnTo>
                    <a:pt x="552" y="540"/>
                  </a:lnTo>
                  <a:lnTo>
                    <a:pt x="547" y="549"/>
                  </a:lnTo>
                  <a:lnTo>
                    <a:pt x="549" y="552"/>
                  </a:lnTo>
                  <a:lnTo>
                    <a:pt x="558" y="555"/>
                  </a:lnTo>
                  <a:lnTo>
                    <a:pt x="558" y="556"/>
                  </a:lnTo>
                  <a:lnTo>
                    <a:pt x="552" y="559"/>
                  </a:lnTo>
                  <a:lnTo>
                    <a:pt x="555" y="565"/>
                  </a:lnTo>
                  <a:lnTo>
                    <a:pt x="561" y="571"/>
                  </a:lnTo>
                  <a:lnTo>
                    <a:pt x="562" y="580"/>
                  </a:lnTo>
                  <a:lnTo>
                    <a:pt x="565" y="580"/>
                  </a:lnTo>
                  <a:lnTo>
                    <a:pt x="568" y="575"/>
                  </a:lnTo>
                  <a:lnTo>
                    <a:pt x="570" y="575"/>
                  </a:lnTo>
                  <a:lnTo>
                    <a:pt x="574" y="589"/>
                  </a:lnTo>
                  <a:lnTo>
                    <a:pt x="575" y="584"/>
                  </a:lnTo>
                  <a:lnTo>
                    <a:pt x="577" y="584"/>
                  </a:lnTo>
                  <a:lnTo>
                    <a:pt x="580" y="586"/>
                  </a:lnTo>
                  <a:lnTo>
                    <a:pt x="581" y="586"/>
                  </a:lnTo>
                  <a:lnTo>
                    <a:pt x="575" y="575"/>
                  </a:lnTo>
                  <a:lnTo>
                    <a:pt x="572" y="558"/>
                  </a:lnTo>
                  <a:lnTo>
                    <a:pt x="568" y="553"/>
                  </a:lnTo>
                  <a:lnTo>
                    <a:pt x="565" y="541"/>
                  </a:lnTo>
                  <a:lnTo>
                    <a:pt x="565" y="537"/>
                  </a:lnTo>
                  <a:lnTo>
                    <a:pt x="568" y="535"/>
                  </a:lnTo>
                  <a:lnTo>
                    <a:pt x="567" y="534"/>
                  </a:lnTo>
                  <a:lnTo>
                    <a:pt x="562" y="537"/>
                  </a:lnTo>
                  <a:lnTo>
                    <a:pt x="562" y="535"/>
                  </a:lnTo>
                  <a:lnTo>
                    <a:pt x="564" y="531"/>
                  </a:lnTo>
                  <a:lnTo>
                    <a:pt x="562" y="529"/>
                  </a:lnTo>
                  <a:lnTo>
                    <a:pt x="559" y="529"/>
                  </a:lnTo>
                  <a:close/>
                  <a:moveTo>
                    <a:pt x="415" y="395"/>
                  </a:moveTo>
                  <a:lnTo>
                    <a:pt x="414" y="396"/>
                  </a:lnTo>
                  <a:lnTo>
                    <a:pt x="417" y="398"/>
                  </a:lnTo>
                  <a:lnTo>
                    <a:pt x="417" y="399"/>
                  </a:lnTo>
                  <a:lnTo>
                    <a:pt x="411" y="400"/>
                  </a:lnTo>
                  <a:lnTo>
                    <a:pt x="395" y="420"/>
                  </a:lnTo>
                  <a:lnTo>
                    <a:pt x="402" y="420"/>
                  </a:lnTo>
                  <a:lnTo>
                    <a:pt x="402" y="418"/>
                  </a:lnTo>
                  <a:lnTo>
                    <a:pt x="404" y="418"/>
                  </a:lnTo>
                  <a:lnTo>
                    <a:pt x="417" y="412"/>
                  </a:lnTo>
                  <a:lnTo>
                    <a:pt x="449" y="409"/>
                  </a:lnTo>
                  <a:lnTo>
                    <a:pt x="436" y="406"/>
                  </a:lnTo>
                  <a:lnTo>
                    <a:pt x="429" y="406"/>
                  </a:lnTo>
                  <a:lnTo>
                    <a:pt x="426" y="408"/>
                  </a:lnTo>
                  <a:lnTo>
                    <a:pt x="420" y="408"/>
                  </a:lnTo>
                  <a:lnTo>
                    <a:pt x="420" y="406"/>
                  </a:lnTo>
                  <a:lnTo>
                    <a:pt x="421" y="406"/>
                  </a:lnTo>
                  <a:lnTo>
                    <a:pt x="423" y="405"/>
                  </a:lnTo>
                  <a:lnTo>
                    <a:pt x="417" y="405"/>
                  </a:lnTo>
                  <a:lnTo>
                    <a:pt x="417" y="399"/>
                  </a:lnTo>
                  <a:lnTo>
                    <a:pt x="423" y="395"/>
                  </a:lnTo>
                  <a:lnTo>
                    <a:pt x="415" y="395"/>
                  </a:lnTo>
                  <a:close/>
                  <a:moveTo>
                    <a:pt x="323" y="310"/>
                  </a:moveTo>
                  <a:lnTo>
                    <a:pt x="332" y="323"/>
                  </a:lnTo>
                  <a:lnTo>
                    <a:pt x="343" y="329"/>
                  </a:lnTo>
                  <a:lnTo>
                    <a:pt x="343" y="331"/>
                  </a:lnTo>
                  <a:lnTo>
                    <a:pt x="341" y="334"/>
                  </a:lnTo>
                  <a:lnTo>
                    <a:pt x="347" y="335"/>
                  </a:lnTo>
                  <a:lnTo>
                    <a:pt x="347" y="337"/>
                  </a:lnTo>
                  <a:lnTo>
                    <a:pt x="344" y="340"/>
                  </a:lnTo>
                  <a:lnTo>
                    <a:pt x="346" y="341"/>
                  </a:lnTo>
                  <a:lnTo>
                    <a:pt x="346" y="343"/>
                  </a:lnTo>
                  <a:lnTo>
                    <a:pt x="338" y="343"/>
                  </a:lnTo>
                  <a:lnTo>
                    <a:pt x="337" y="353"/>
                  </a:lnTo>
                  <a:lnTo>
                    <a:pt x="331" y="353"/>
                  </a:lnTo>
                  <a:lnTo>
                    <a:pt x="331" y="360"/>
                  </a:lnTo>
                  <a:lnTo>
                    <a:pt x="329" y="360"/>
                  </a:lnTo>
                  <a:lnTo>
                    <a:pt x="300" y="350"/>
                  </a:lnTo>
                  <a:lnTo>
                    <a:pt x="295" y="355"/>
                  </a:lnTo>
                  <a:lnTo>
                    <a:pt x="304" y="353"/>
                  </a:lnTo>
                  <a:lnTo>
                    <a:pt x="306" y="353"/>
                  </a:lnTo>
                  <a:lnTo>
                    <a:pt x="325" y="369"/>
                  </a:lnTo>
                  <a:lnTo>
                    <a:pt x="355" y="365"/>
                  </a:lnTo>
                  <a:lnTo>
                    <a:pt x="358" y="356"/>
                  </a:lnTo>
                  <a:lnTo>
                    <a:pt x="374" y="349"/>
                  </a:lnTo>
                  <a:lnTo>
                    <a:pt x="381" y="340"/>
                  </a:lnTo>
                  <a:lnTo>
                    <a:pt x="383" y="334"/>
                  </a:lnTo>
                  <a:lnTo>
                    <a:pt x="392" y="329"/>
                  </a:lnTo>
                  <a:lnTo>
                    <a:pt x="392" y="323"/>
                  </a:lnTo>
                  <a:lnTo>
                    <a:pt x="398" y="323"/>
                  </a:lnTo>
                  <a:lnTo>
                    <a:pt x="402" y="325"/>
                  </a:lnTo>
                  <a:lnTo>
                    <a:pt x="405" y="325"/>
                  </a:lnTo>
                  <a:lnTo>
                    <a:pt x="401" y="320"/>
                  </a:lnTo>
                  <a:lnTo>
                    <a:pt x="404" y="319"/>
                  </a:lnTo>
                  <a:lnTo>
                    <a:pt x="405" y="319"/>
                  </a:lnTo>
                  <a:lnTo>
                    <a:pt x="412" y="322"/>
                  </a:lnTo>
                  <a:lnTo>
                    <a:pt x="417" y="319"/>
                  </a:lnTo>
                  <a:lnTo>
                    <a:pt x="405" y="313"/>
                  </a:lnTo>
                  <a:lnTo>
                    <a:pt x="395" y="314"/>
                  </a:lnTo>
                  <a:lnTo>
                    <a:pt x="384" y="320"/>
                  </a:lnTo>
                  <a:lnTo>
                    <a:pt x="375" y="335"/>
                  </a:lnTo>
                  <a:lnTo>
                    <a:pt x="374" y="335"/>
                  </a:lnTo>
                  <a:lnTo>
                    <a:pt x="365" y="337"/>
                  </a:lnTo>
                  <a:lnTo>
                    <a:pt x="361" y="337"/>
                  </a:lnTo>
                  <a:lnTo>
                    <a:pt x="361" y="329"/>
                  </a:lnTo>
                  <a:lnTo>
                    <a:pt x="355" y="332"/>
                  </a:lnTo>
                  <a:lnTo>
                    <a:pt x="352" y="323"/>
                  </a:lnTo>
                  <a:lnTo>
                    <a:pt x="350" y="323"/>
                  </a:lnTo>
                  <a:lnTo>
                    <a:pt x="346" y="326"/>
                  </a:lnTo>
                  <a:lnTo>
                    <a:pt x="332" y="317"/>
                  </a:lnTo>
                  <a:lnTo>
                    <a:pt x="329" y="310"/>
                  </a:lnTo>
                  <a:lnTo>
                    <a:pt x="323" y="310"/>
                  </a:lnTo>
                  <a:close/>
                  <a:moveTo>
                    <a:pt x="666" y="223"/>
                  </a:moveTo>
                  <a:lnTo>
                    <a:pt x="664" y="224"/>
                  </a:lnTo>
                  <a:lnTo>
                    <a:pt x="679" y="239"/>
                  </a:lnTo>
                  <a:lnTo>
                    <a:pt x="693" y="240"/>
                  </a:lnTo>
                  <a:lnTo>
                    <a:pt x="693" y="239"/>
                  </a:lnTo>
                  <a:lnTo>
                    <a:pt x="684" y="228"/>
                  </a:lnTo>
                  <a:lnTo>
                    <a:pt x="666" y="223"/>
                  </a:lnTo>
                  <a:close/>
                  <a:moveTo>
                    <a:pt x="276" y="187"/>
                  </a:moveTo>
                  <a:lnTo>
                    <a:pt x="251" y="202"/>
                  </a:lnTo>
                  <a:lnTo>
                    <a:pt x="211" y="211"/>
                  </a:lnTo>
                  <a:lnTo>
                    <a:pt x="209" y="215"/>
                  </a:lnTo>
                  <a:lnTo>
                    <a:pt x="212" y="220"/>
                  </a:lnTo>
                  <a:lnTo>
                    <a:pt x="215" y="214"/>
                  </a:lnTo>
                  <a:lnTo>
                    <a:pt x="218" y="214"/>
                  </a:lnTo>
                  <a:lnTo>
                    <a:pt x="223" y="215"/>
                  </a:lnTo>
                  <a:lnTo>
                    <a:pt x="226" y="215"/>
                  </a:lnTo>
                  <a:lnTo>
                    <a:pt x="230" y="217"/>
                  </a:lnTo>
                  <a:lnTo>
                    <a:pt x="233" y="217"/>
                  </a:lnTo>
                  <a:lnTo>
                    <a:pt x="235" y="212"/>
                  </a:lnTo>
                  <a:lnTo>
                    <a:pt x="258" y="217"/>
                  </a:lnTo>
                  <a:lnTo>
                    <a:pt x="258" y="218"/>
                  </a:lnTo>
                  <a:lnTo>
                    <a:pt x="257" y="223"/>
                  </a:lnTo>
                  <a:lnTo>
                    <a:pt x="254" y="223"/>
                  </a:lnTo>
                  <a:lnTo>
                    <a:pt x="249" y="221"/>
                  </a:lnTo>
                  <a:lnTo>
                    <a:pt x="243" y="221"/>
                  </a:lnTo>
                  <a:lnTo>
                    <a:pt x="246" y="226"/>
                  </a:lnTo>
                  <a:lnTo>
                    <a:pt x="246" y="231"/>
                  </a:lnTo>
                  <a:lnTo>
                    <a:pt x="239" y="237"/>
                  </a:lnTo>
                  <a:lnTo>
                    <a:pt x="238" y="243"/>
                  </a:lnTo>
                  <a:lnTo>
                    <a:pt x="238" y="245"/>
                  </a:lnTo>
                  <a:lnTo>
                    <a:pt x="232" y="246"/>
                  </a:lnTo>
                  <a:lnTo>
                    <a:pt x="249" y="252"/>
                  </a:lnTo>
                  <a:lnTo>
                    <a:pt x="254" y="248"/>
                  </a:lnTo>
                  <a:lnTo>
                    <a:pt x="255" y="239"/>
                  </a:lnTo>
                  <a:lnTo>
                    <a:pt x="269" y="233"/>
                  </a:lnTo>
                  <a:lnTo>
                    <a:pt x="270" y="233"/>
                  </a:lnTo>
                  <a:lnTo>
                    <a:pt x="270" y="239"/>
                  </a:lnTo>
                  <a:lnTo>
                    <a:pt x="269" y="243"/>
                  </a:lnTo>
                  <a:lnTo>
                    <a:pt x="257" y="254"/>
                  </a:lnTo>
                  <a:lnTo>
                    <a:pt x="258" y="258"/>
                  </a:lnTo>
                  <a:lnTo>
                    <a:pt x="276" y="240"/>
                  </a:lnTo>
                  <a:lnTo>
                    <a:pt x="280" y="240"/>
                  </a:lnTo>
                  <a:lnTo>
                    <a:pt x="276" y="234"/>
                  </a:lnTo>
                  <a:lnTo>
                    <a:pt x="280" y="227"/>
                  </a:lnTo>
                  <a:lnTo>
                    <a:pt x="288" y="227"/>
                  </a:lnTo>
                  <a:lnTo>
                    <a:pt x="292" y="228"/>
                  </a:lnTo>
                  <a:lnTo>
                    <a:pt x="295" y="228"/>
                  </a:lnTo>
                  <a:lnTo>
                    <a:pt x="306" y="214"/>
                  </a:lnTo>
                  <a:lnTo>
                    <a:pt x="304" y="211"/>
                  </a:lnTo>
                  <a:lnTo>
                    <a:pt x="306" y="206"/>
                  </a:lnTo>
                  <a:lnTo>
                    <a:pt x="304" y="206"/>
                  </a:lnTo>
                  <a:lnTo>
                    <a:pt x="306" y="200"/>
                  </a:lnTo>
                  <a:lnTo>
                    <a:pt x="295" y="209"/>
                  </a:lnTo>
                  <a:lnTo>
                    <a:pt x="272" y="209"/>
                  </a:lnTo>
                  <a:lnTo>
                    <a:pt x="269" y="206"/>
                  </a:lnTo>
                  <a:lnTo>
                    <a:pt x="272" y="200"/>
                  </a:lnTo>
                  <a:lnTo>
                    <a:pt x="286" y="191"/>
                  </a:lnTo>
                  <a:lnTo>
                    <a:pt x="276" y="187"/>
                  </a:lnTo>
                  <a:close/>
                  <a:moveTo>
                    <a:pt x="596" y="172"/>
                  </a:moveTo>
                  <a:lnTo>
                    <a:pt x="595" y="175"/>
                  </a:lnTo>
                  <a:lnTo>
                    <a:pt x="596" y="177"/>
                  </a:lnTo>
                  <a:lnTo>
                    <a:pt x="596" y="172"/>
                  </a:lnTo>
                  <a:close/>
                  <a:moveTo>
                    <a:pt x="618" y="101"/>
                  </a:moveTo>
                  <a:lnTo>
                    <a:pt x="617" y="107"/>
                  </a:lnTo>
                  <a:lnTo>
                    <a:pt x="618" y="105"/>
                  </a:lnTo>
                  <a:lnTo>
                    <a:pt x="618" y="101"/>
                  </a:lnTo>
                  <a:close/>
                  <a:moveTo>
                    <a:pt x="601" y="0"/>
                  </a:moveTo>
                  <a:lnTo>
                    <a:pt x="602" y="0"/>
                  </a:lnTo>
                  <a:lnTo>
                    <a:pt x="608" y="2"/>
                  </a:lnTo>
                  <a:lnTo>
                    <a:pt x="610" y="2"/>
                  </a:lnTo>
                  <a:lnTo>
                    <a:pt x="610" y="3"/>
                  </a:lnTo>
                  <a:lnTo>
                    <a:pt x="608" y="8"/>
                  </a:lnTo>
                  <a:lnTo>
                    <a:pt x="610" y="11"/>
                  </a:lnTo>
                  <a:lnTo>
                    <a:pt x="617" y="8"/>
                  </a:lnTo>
                  <a:lnTo>
                    <a:pt x="618" y="8"/>
                  </a:lnTo>
                  <a:lnTo>
                    <a:pt x="618" y="9"/>
                  </a:lnTo>
                  <a:lnTo>
                    <a:pt x="620" y="18"/>
                  </a:lnTo>
                  <a:lnTo>
                    <a:pt x="627" y="27"/>
                  </a:lnTo>
                  <a:lnTo>
                    <a:pt x="629" y="48"/>
                  </a:lnTo>
                  <a:lnTo>
                    <a:pt x="648" y="74"/>
                  </a:lnTo>
                  <a:lnTo>
                    <a:pt x="644" y="74"/>
                  </a:lnTo>
                  <a:lnTo>
                    <a:pt x="641" y="73"/>
                  </a:lnTo>
                  <a:lnTo>
                    <a:pt x="638" y="73"/>
                  </a:lnTo>
                  <a:lnTo>
                    <a:pt x="642" y="80"/>
                  </a:lnTo>
                  <a:lnTo>
                    <a:pt x="632" y="91"/>
                  </a:lnTo>
                  <a:lnTo>
                    <a:pt x="656" y="97"/>
                  </a:lnTo>
                  <a:lnTo>
                    <a:pt x="657" y="97"/>
                  </a:lnTo>
                  <a:lnTo>
                    <a:pt x="657" y="98"/>
                  </a:lnTo>
                  <a:lnTo>
                    <a:pt x="656" y="104"/>
                  </a:lnTo>
                  <a:lnTo>
                    <a:pt x="656" y="105"/>
                  </a:lnTo>
                  <a:lnTo>
                    <a:pt x="654" y="105"/>
                  </a:lnTo>
                  <a:lnTo>
                    <a:pt x="651" y="104"/>
                  </a:lnTo>
                  <a:lnTo>
                    <a:pt x="661" y="122"/>
                  </a:lnTo>
                  <a:lnTo>
                    <a:pt x="663" y="122"/>
                  </a:lnTo>
                  <a:lnTo>
                    <a:pt x="663" y="123"/>
                  </a:lnTo>
                  <a:lnTo>
                    <a:pt x="660" y="134"/>
                  </a:lnTo>
                  <a:lnTo>
                    <a:pt x="663" y="140"/>
                  </a:lnTo>
                  <a:lnTo>
                    <a:pt x="669" y="126"/>
                  </a:lnTo>
                  <a:lnTo>
                    <a:pt x="669" y="114"/>
                  </a:lnTo>
                  <a:lnTo>
                    <a:pt x="673" y="107"/>
                  </a:lnTo>
                  <a:lnTo>
                    <a:pt x="675" y="107"/>
                  </a:lnTo>
                  <a:lnTo>
                    <a:pt x="676" y="105"/>
                  </a:lnTo>
                  <a:lnTo>
                    <a:pt x="681" y="105"/>
                  </a:lnTo>
                  <a:lnTo>
                    <a:pt x="691" y="120"/>
                  </a:lnTo>
                  <a:lnTo>
                    <a:pt x="696" y="141"/>
                  </a:lnTo>
                  <a:lnTo>
                    <a:pt x="693" y="141"/>
                  </a:lnTo>
                  <a:lnTo>
                    <a:pt x="691" y="142"/>
                  </a:lnTo>
                  <a:lnTo>
                    <a:pt x="690" y="142"/>
                  </a:lnTo>
                  <a:lnTo>
                    <a:pt x="688" y="154"/>
                  </a:lnTo>
                  <a:lnTo>
                    <a:pt x="701" y="177"/>
                  </a:lnTo>
                  <a:lnTo>
                    <a:pt x="712" y="171"/>
                  </a:lnTo>
                  <a:lnTo>
                    <a:pt x="712" y="160"/>
                  </a:lnTo>
                  <a:lnTo>
                    <a:pt x="721" y="140"/>
                  </a:lnTo>
                  <a:lnTo>
                    <a:pt x="722" y="128"/>
                  </a:lnTo>
                  <a:lnTo>
                    <a:pt x="734" y="125"/>
                  </a:lnTo>
                  <a:lnTo>
                    <a:pt x="730" y="122"/>
                  </a:lnTo>
                  <a:lnTo>
                    <a:pt x="730" y="120"/>
                  </a:lnTo>
                  <a:lnTo>
                    <a:pt x="736" y="114"/>
                  </a:lnTo>
                  <a:lnTo>
                    <a:pt x="725" y="105"/>
                  </a:lnTo>
                  <a:lnTo>
                    <a:pt x="725" y="86"/>
                  </a:lnTo>
                  <a:lnTo>
                    <a:pt x="730" y="86"/>
                  </a:lnTo>
                  <a:lnTo>
                    <a:pt x="739" y="88"/>
                  </a:lnTo>
                  <a:lnTo>
                    <a:pt x="750" y="89"/>
                  </a:lnTo>
                  <a:lnTo>
                    <a:pt x="759" y="91"/>
                  </a:lnTo>
                  <a:lnTo>
                    <a:pt x="764" y="91"/>
                  </a:lnTo>
                  <a:lnTo>
                    <a:pt x="765" y="98"/>
                  </a:lnTo>
                  <a:lnTo>
                    <a:pt x="764" y="100"/>
                  </a:lnTo>
                  <a:lnTo>
                    <a:pt x="768" y="107"/>
                  </a:lnTo>
                  <a:lnTo>
                    <a:pt x="781" y="111"/>
                  </a:lnTo>
                  <a:lnTo>
                    <a:pt x="781" y="113"/>
                  </a:lnTo>
                  <a:lnTo>
                    <a:pt x="774" y="120"/>
                  </a:lnTo>
                  <a:lnTo>
                    <a:pt x="781" y="122"/>
                  </a:lnTo>
                  <a:lnTo>
                    <a:pt x="781" y="123"/>
                  </a:lnTo>
                  <a:lnTo>
                    <a:pt x="780" y="131"/>
                  </a:lnTo>
                  <a:lnTo>
                    <a:pt x="773" y="138"/>
                  </a:lnTo>
                  <a:lnTo>
                    <a:pt x="770" y="134"/>
                  </a:lnTo>
                  <a:lnTo>
                    <a:pt x="765" y="135"/>
                  </a:lnTo>
                  <a:lnTo>
                    <a:pt x="768" y="140"/>
                  </a:lnTo>
                  <a:lnTo>
                    <a:pt x="768" y="145"/>
                  </a:lnTo>
                  <a:lnTo>
                    <a:pt x="771" y="144"/>
                  </a:lnTo>
                  <a:lnTo>
                    <a:pt x="773" y="144"/>
                  </a:lnTo>
                  <a:lnTo>
                    <a:pt x="771" y="154"/>
                  </a:lnTo>
                  <a:lnTo>
                    <a:pt x="781" y="168"/>
                  </a:lnTo>
                  <a:lnTo>
                    <a:pt x="781" y="178"/>
                  </a:lnTo>
                  <a:lnTo>
                    <a:pt x="764" y="200"/>
                  </a:lnTo>
                  <a:lnTo>
                    <a:pt x="755" y="206"/>
                  </a:lnTo>
                  <a:lnTo>
                    <a:pt x="753" y="206"/>
                  </a:lnTo>
                  <a:lnTo>
                    <a:pt x="746" y="197"/>
                  </a:lnTo>
                  <a:lnTo>
                    <a:pt x="744" y="200"/>
                  </a:lnTo>
                  <a:lnTo>
                    <a:pt x="749" y="212"/>
                  </a:lnTo>
                  <a:lnTo>
                    <a:pt x="749" y="214"/>
                  </a:lnTo>
                  <a:lnTo>
                    <a:pt x="740" y="208"/>
                  </a:lnTo>
                  <a:lnTo>
                    <a:pt x="740" y="212"/>
                  </a:lnTo>
                  <a:lnTo>
                    <a:pt x="736" y="212"/>
                  </a:lnTo>
                  <a:lnTo>
                    <a:pt x="733" y="211"/>
                  </a:lnTo>
                  <a:lnTo>
                    <a:pt x="730" y="211"/>
                  </a:lnTo>
                  <a:lnTo>
                    <a:pt x="728" y="200"/>
                  </a:lnTo>
                  <a:lnTo>
                    <a:pt x="713" y="200"/>
                  </a:lnTo>
                  <a:lnTo>
                    <a:pt x="712" y="206"/>
                  </a:lnTo>
                  <a:lnTo>
                    <a:pt x="719" y="208"/>
                  </a:lnTo>
                  <a:lnTo>
                    <a:pt x="719" y="215"/>
                  </a:lnTo>
                  <a:lnTo>
                    <a:pt x="703" y="237"/>
                  </a:lnTo>
                  <a:lnTo>
                    <a:pt x="703" y="239"/>
                  </a:lnTo>
                  <a:lnTo>
                    <a:pt x="700" y="239"/>
                  </a:lnTo>
                  <a:lnTo>
                    <a:pt x="697" y="240"/>
                  </a:lnTo>
                  <a:lnTo>
                    <a:pt x="693" y="240"/>
                  </a:lnTo>
                  <a:lnTo>
                    <a:pt x="707" y="242"/>
                  </a:lnTo>
                  <a:lnTo>
                    <a:pt x="709" y="242"/>
                  </a:lnTo>
                  <a:lnTo>
                    <a:pt x="709" y="243"/>
                  </a:lnTo>
                  <a:lnTo>
                    <a:pt x="693" y="274"/>
                  </a:lnTo>
                  <a:lnTo>
                    <a:pt x="693" y="276"/>
                  </a:lnTo>
                  <a:lnTo>
                    <a:pt x="679" y="280"/>
                  </a:lnTo>
                  <a:lnTo>
                    <a:pt x="678" y="280"/>
                  </a:lnTo>
                  <a:lnTo>
                    <a:pt x="670" y="277"/>
                  </a:lnTo>
                  <a:lnTo>
                    <a:pt x="670" y="282"/>
                  </a:lnTo>
                  <a:lnTo>
                    <a:pt x="667" y="282"/>
                  </a:lnTo>
                  <a:lnTo>
                    <a:pt x="667" y="289"/>
                  </a:lnTo>
                  <a:lnTo>
                    <a:pt x="666" y="289"/>
                  </a:lnTo>
                  <a:lnTo>
                    <a:pt x="660" y="295"/>
                  </a:lnTo>
                  <a:lnTo>
                    <a:pt x="658" y="295"/>
                  </a:lnTo>
                  <a:lnTo>
                    <a:pt x="647" y="286"/>
                  </a:lnTo>
                  <a:lnTo>
                    <a:pt x="639" y="288"/>
                  </a:lnTo>
                  <a:lnTo>
                    <a:pt x="623" y="279"/>
                  </a:lnTo>
                  <a:lnTo>
                    <a:pt x="621" y="282"/>
                  </a:lnTo>
                  <a:lnTo>
                    <a:pt x="623" y="283"/>
                  </a:lnTo>
                  <a:lnTo>
                    <a:pt x="623" y="280"/>
                  </a:lnTo>
                  <a:lnTo>
                    <a:pt x="624" y="280"/>
                  </a:lnTo>
                  <a:lnTo>
                    <a:pt x="639" y="289"/>
                  </a:lnTo>
                  <a:lnTo>
                    <a:pt x="639" y="291"/>
                  </a:lnTo>
                  <a:lnTo>
                    <a:pt x="644" y="288"/>
                  </a:lnTo>
                  <a:lnTo>
                    <a:pt x="656" y="294"/>
                  </a:lnTo>
                  <a:lnTo>
                    <a:pt x="657" y="295"/>
                  </a:lnTo>
                  <a:lnTo>
                    <a:pt x="660" y="309"/>
                  </a:lnTo>
                  <a:lnTo>
                    <a:pt x="660" y="310"/>
                  </a:lnTo>
                  <a:lnTo>
                    <a:pt x="658" y="310"/>
                  </a:lnTo>
                  <a:lnTo>
                    <a:pt x="648" y="314"/>
                  </a:lnTo>
                  <a:lnTo>
                    <a:pt x="636" y="314"/>
                  </a:lnTo>
                  <a:lnTo>
                    <a:pt x="638" y="319"/>
                  </a:lnTo>
                  <a:lnTo>
                    <a:pt x="642" y="320"/>
                  </a:lnTo>
                  <a:lnTo>
                    <a:pt x="642" y="322"/>
                  </a:lnTo>
                  <a:lnTo>
                    <a:pt x="633" y="322"/>
                  </a:lnTo>
                  <a:lnTo>
                    <a:pt x="633" y="337"/>
                  </a:lnTo>
                  <a:lnTo>
                    <a:pt x="629" y="334"/>
                  </a:lnTo>
                  <a:lnTo>
                    <a:pt x="624" y="340"/>
                  </a:lnTo>
                  <a:lnTo>
                    <a:pt x="623" y="340"/>
                  </a:lnTo>
                  <a:lnTo>
                    <a:pt x="624" y="343"/>
                  </a:lnTo>
                  <a:lnTo>
                    <a:pt x="621" y="349"/>
                  </a:lnTo>
                  <a:lnTo>
                    <a:pt x="608" y="355"/>
                  </a:lnTo>
                  <a:lnTo>
                    <a:pt x="613" y="360"/>
                  </a:lnTo>
                  <a:lnTo>
                    <a:pt x="605" y="380"/>
                  </a:lnTo>
                  <a:lnTo>
                    <a:pt x="605" y="412"/>
                  </a:lnTo>
                  <a:lnTo>
                    <a:pt x="604" y="415"/>
                  </a:lnTo>
                  <a:lnTo>
                    <a:pt x="610" y="421"/>
                  </a:lnTo>
                  <a:lnTo>
                    <a:pt x="611" y="427"/>
                  </a:lnTo>
                  <a:lnTo>
                    <a:pt x="613" y="423"/>
                  </a:lnTo>
                  <a:lnTo>
                    <a:pt x="613" y="421"/>
                  </a:lnTo>
                  <a:lnTo>
                    <a:pt x="614" y="421"/>
                  </a:lnTo>
                  <a:lnTo>
                    <a:pt x="615" y="423"/>
                  </a:lnTo>
                  <a:lnTo>
                    <a:pt x="621" y="423"/>
                  </a:lnTo>
                  <a:lnTo>
                    <a:pt x="623" y="424"/>
                  </a:lnTo>
                  <a:lnTo>
                    <a:pt x="626" y="424"/>
                  </a:lnTo>
                  <a:lnTo>
                    <a:pt x="636" y="455"/>
                  </a:lnTo>
                  <a:lnTo>
                    <a:pt x="636" y="463"/>
                  </a:lnTo>
                  <a:lnTo>
                    <a:pt x="633" y="466"/>
                  </a:lnTo>
                  <a:lnTo>
                    <a:pt x="653" y="458"/>
                  </a:lnTo>
                  <a:lnTo>
                    <a:pt x="678" y="470"/>
                  </a:lnTo>
                  <a:lnTo>
                    <a:pt x="691" y="479"/>
                  </a:lnTo>
                  <a:lnTo>
                    <a:pt x="698" y="491"/>
                  </a:lnTo>
                  <a:lnTo>
                    <a:pt x="721" y="497"/>
                  </a:lnTo>
                  <a:lnTo>
                    <a:pt x="728" y="504"/>
                  </a:lnTo>
                  <a:lnTo>
                    <a:pt x="728" y="506"/>
                  </a:lnTo>
                  <a:lnTo>
                    <a:pt x="733" y="506"/>
                  </a:lnTo>
                  <a:lnTo>
                    <a:pt x="764" y="510"/>
                  </a:lnTo>
                  <a:lnTo>
                    <a:pt x="768" y="510"/>
                  </a:lnTo>
                  <a:lnTo>
                    <a:pt x="767" y="532"/>
                  </a:lnTo>
                  <a:lnTo>
                    <a:pt x="770" y="552"/>
                  </a:lnTo>
                  <a:lnTo>
                    <a:pt x="768" y="558"/>
                  </a:lnTo>
                  <a:lnTo>
                    <a:pt x="780" y="571"/>
                  </a:lnTo>
                  <a:lnTo>
                    <a:pt x="780" y="572"/>
                  </a:lnTo>
                  <a:lnTo>
                    <a:pt x="779" y="572"/>
                  </a:lnTo>
                  <a:lnTo>
                    <a:pt x="773" y="577"/>
                  </a:lnTo>
                  <a:lnTo>
                    <a:pt x="783" y="577"/>
                  </a:lnTo>
                  <a:lnTo>
                    <a:pt x="789" y="583"/>
                  </a:lnTo>
                  <a:lnTo>
                    <a:pt x="790" y="590"/>
                  </a:lnTo>
                  <a:lnTo>
                    <a:pt x="790" y="592"/>
                  </a:lnTo>
                  <a:lnTo>
                    <a:pt x="786" y="596"/>
                  </a:lnTo>
                  <a:lnTo>
                    <a:pt x="792" y="592"/>
                  </a:lnTo>
                  <a:lnTo>
                    <a:pt x="793" y="592"/>
                  </a:lnTo>
                  <a:lnTo>
                    <a:pt x="801" y="596"/>
                  </a:lnTo>
                  <a:lnTo>
                    <a:pt x="801" y="590"/>
                  </a:lnTo>
                  <a:lnTo>
                    <a:pt x="802" y="590"/>
                  </a:lnTo>
                  <a:lnTo>
                    <a:pt x="805" y="589"/>
                  </a:lnTo>
                  <a:lnTo>
                    <a:pt x="813" y="593"/>
                  </a:lnTo>
                  <a:lnTo>
                    <a:pt x="814" y="589"/>
                  </a:lnTo>
                  <a:lnTo>
                    <a:pt x="810" y="583"/>
                  </a:lnTo>
                  <a:lnTo>
                    <a:pt x="810" y="581"/>
                  </a:lnTo>
                  <a:lnTo>
                    <a:pt x="819" y="574"/>
                  </a:lnTo>
                  <a:lnTo>
                    <a:pt x="814" y="568"/>
                  </a:lnTo>
                  <a:lnTo>
                    <a:pt x="811" y="537"/>
                  </a:lnTo>
                  <a:lnTo>
                    <a:pt x="802" y="524"/>
                  </a:lnTo>
                  <a:lnTo>
                    <a:pt x="827" y="504"/>
                  </a:lnTo>
                  <a:lnTo>
                    <a:pt x="839" y="485"/>
                  </a:lnTo>
                  <a:lnTo>
                    <a:pt x="841" y="485"/>
                  </a:lnTo>
                  <a:lnTo>
                    <a:pt x="847" y="483"/>
                  </a:lnTo>
                  <a:lnTo>
                    <a:pt x="844" y="478"/>
                  </a:lnTo>
                  <a:lnTo>
                    <a:pt x="841" y="483"/>
                  </a:lnTo>
                  <a:lnTo>
                    <a:pt x="839" y="483"/>
                  </a:lnTo>
                  <a:lnTo>
                    <a:pt x="838" y="467"/>
                  </a:lnTo>
                  <a:lnTo>
                    <a:pt x="829" y="435"/>
                  </a:lnTo>
                  <a:lnTo>
                    <a:pt x="813" y="423"/>
                  </a:lnTo>
                  <a:lnTo>
                    <a:pt x="813" y="415"/>
                  </a:lnTo>
                  <a:lnTo>
                    <a:pt x="814" y="414"/>
                  </a:lnTo>
                  <a:lnTo>
                    <a:pt x="827" y="409"/>
                  </a:lnTo>
                  <a:lnTo>
                    <a:pt x="827" y="400"/>
                  </a:lnTo>
                  <a:lnTo>
                    <a:pt x="830" y="400"/>
                  </a:lnTo>
                  <a:lnTo>
                    <a:pt x="830" y="399"/>
                  </a:lnTo>
                  <a:lnTo>
                    <a:pt x="833" y="393"/>
                  </a:lnTo>
                  <a:lnTo>
                    <a:pt x="827" y="393"/>
                  </a:lnTo>
                  <a:lnTo>
                    <a:pt x="827" y="392"/>
                  </a:lnTo>
                  <a:lnTo>
                    <a:pt x="829" y="387"/>
                  </a:lnTo>
                  <a:lnTo>
                    <a:pt x="826" y="380"/>
                  </a:lnTo>
                  <a:lnTo>
                    <a:pt x="824" y="374"/>
                  </a:lnTo>
                  <a:lnTo>
                    <a:pt x="824" y="372"/>
                  </a:lnTo>
                  <a:lnTo>
                    <a:pt x="827" y="372"/>
                  </a:lnTo>
                  <a:lnTo>
                    <a:pt x="822" y="371"/>
                  </a:lnTo>
                  <a:lnTo>
                    <a:pt x="822" y="369"/>
                  </a:lnTo>
                  <a:lnTo>
                    <a:pt x="830" y="346"/>
                  </a:lnTo>
                  <a:lnTo>
                    <a:pt x="822" y="344"/>
                  </a:lnTo>
                  <a:lnTo>
                    <a:pt x="822" y="343"/>
                  </a:lnTo>
                  <a:lnTo>
                    <a:pt x="820" y="331"/>
                  </a:lnTo>
                  <a:lnTo>
                    <a:pt x="820" y="329"/>
                  </a:lnTo>
                  <a:lnTo>
                    <a:pt x="829" y="320"/>
                  </a:lnTo>
                  <a:lnTo>
                    <a:pt x="830" y="320"/>
                  </a:lnTo>
                  <a:lnTo>
                    <a:pt x="862" y="332"/>
                  </a:lnTo>
                  <a:lnTo>
                    <a:pt x="878" y="323"/>
                  </a:lnTo>
                  <a:lnTo>
                    <a:pt x="894" y="332"/>
                  </a:lnTo>
                  <a:lnTo>
                    <a:pt x="894" y="334"/>
                  </a:lnTo>
                  <a:lnTo>
                    <a:pt x="893" y="341"/>
                  </a:lnTo>
                  <a:lnTo>
                    <a:pt x="899" y="340"/>
                  </a:lnTo>
                  <a:lnTo>
                    <a:pt x="902" y="347"/>
                  </a:lnTo>
                  <a:lnTo>
                    <a:pt x="900" y="349"/>
                  </a:lnTo>
                  <a:lnTo>
                    <a:pt x="909" y="349"/>
                  </a:lnTo>
                  <a:lnTo>
                    <a:pt x="909" y="350"/>
                  </a:lnTo>
                  <a:lnTo>
                    <a:pt x="905" y="353"/>
                  </a:lnTo>
                  <a:lnTo>
                    <a:pt x="907" y="360"/>
                  </a:lnTo>
                  <a:lnTo>
                    <a:pt x="924" y="362"/>
                  </a:lnTo>
                  <a:lnTo>
                    <a:pt x="925" y="362"/>
                  </a:lnTo>
                  <a:lnTo>
                    <a:pt x="927" y="368"/>
                  </a:lnTo>
                  <a:lnTo>
                    <a:pt x="933" y="362"/>
                  </a:lnTo>
                  <a:lnTo>
                    <a:pt x="934" y="362"/>
                  </a:lnTo>
                  <a:lnTo>
                    <a:pt x="937" y="366"/>
                  </a:lnTo>
                  <a:lnTo>
                    <a:pt x="933" y="378"/>
                  </a:lnTo>
                  <a:lnTo>
                    <a:pt x="937" y="389"/>
                  </a:lnTo>
                  <a:lnTo>
                    <a:pt x="937" y="390"/>
                  </a:lnTo>
                  <a:lnTo>
                    <a:pt x="919" y="390"/>
                  </a:lnTo>
                  <a:lnTo>
                    <a:pt x="933" y="393"/>
                  </a:lnTo>
                  <a:lnTo>
                    <a:pt x="934" y="393"/>
                  </a:lnTo>
                  <a:lnTo>
                    <a:pt x="937" y="400"/>
                  </a:lnTo>
                  <a:lnTo>
                    <a:pt x="934" y="408"/>
                  </a:lnTo>
                  <a:lnTo>
                    <a:pt x="939" y="408"/>
                  </a:lnTo>
                  <a:lnTo>
                    <a:pt x="939" y="409"/>
                  </a:lnTo>
                  <a:lnTo>
                    <a:pt x="936" y="412"/>
                  </a:lnTo>
                  <a:lnTo>
                    <a:pt x="939" y="417"/>
                  </a:lnTo>
                  <a:lnTo>
                    <a:pt x="939" y="418"/>
                  </a:lnTo>
                  <a:lnTo>
                    <a:pt x="933" y="421"/>
                  </a:lnTo>
                  <a:lnTo>
                    <a:pt x="930" y="420"/>
                  </a:lnTo>
                  <a:lnTo>
                    <a:pt x="930" y="423"/>
                  </a:lnTo>
                  <a:lnTo>
                    <a:pt x="948" y="420"/>
                  </a:lnTo>
                  <a:lnTo>
                    <a:pt x="949" y="420"/>
                  </a:lnTo>
                  <a:lnTo>
                    <a:pt x="952" y="430"/>
                  </a:lnTo>
                  <a:lnTo>
                    <a:pt x="952" y="435"/>
                  </a:lnTo>
                  <a:lnTo>
                    <a:pt x="955" y="426"/>
                  </a:lnTo>
                  <a:lnTo>
                    <a:pt x="956" y="426"/>
                  </a:lnTo>
                  <a:lnTo>
                    <a:pt x="956" y="430"/>
                  </a:lnTo>
                  <a:lnTo>
                    <a:pt x="958" y="430"/>
                  </a:lnTo>
                  <a:lnTo>
                    <a:pt x="958" y="432"/>
                  </a:lnTo>
                  <a:lnTo>
                    <a:pt x="959" y="438"/>
                  </a:lnTo>
                  <a:lnTo>
                    <a:pt x="971" y="429"/>
                  </a:lnTo>
                  <a:lnTo>
                    <a:pt x="974" y="420"/>
                  </a:lnTo>
                  <a:lnTo>
                    <a:pt x="976" y="420"/>
                  </a:lnTo>
                  <a:lnTo>
                    <a:pt x="980" y="424"/>
                  </a:lnTo>
                  <a:lnTo>
                    <a:pt x="980" y="429"/>
                  </a:lnTo>
                  <a:lnTo>
                    <a:pt x="983" y="426"/>
                  </a:lnTo>
                  <a:lnTo>
                    <a:pt x="979" y="420"/>
                  </a:lnTo>
                  <a:lnTo>
                    <a:pt x="979" y="418"/>
                  </a:lnTo>
                  <a:lnTo>
                    <a:pt x="983" y="418"/>
                  </a:lnTo>
                  <a:lnTo>
                    <a:pt x="985" y="412"/>
                  </a:lnTo>
                  <a:lnTo>
                    <a:pt x="985" y="408"/>
                  </a:lnTo>
                  <a:lnTo>
                    <a:pt x="989" y="405"/>
                  </a:lnTo>
                  <a:lnTo>
                    <a:pt x="986" y="399"/>
                  </a:lnTo>
                  <a:lnTo>
                    <a:pt x="986" y="398"/>
                  </a:lnTo>
                  <a:lnTo>
                    <a:pt x="995" y="383"/>
                  </a:lnTo>
                  <a:lnTo>
                    <a:pt x="1001" y="383"/>
                  </a:lnTo>
                  <a:lnTo>
                    <a:pt x="1004" y="390"/>
                  </a:lnTo>
                  <a:lnTo>
                    <a:pt x="1002" y="393"/>
                  </a:lnTo>
                  <a:lnTo>
                    <a:pt x="1004" y="393"/>
                  </a:lnTo>
                  <a:lnTo>
                    <a:pt x="1004" y="395"/>
                  </a:lnTo>
                  <a:lnTo>
                    <a:pt x="1007" y="402"/>
                  </a:lnTo>
                  <a:lnTo>
                    <a:pt x="1011" y="402"/>
                  </a:lnTo>
                  <a:lnTo>
                    <a:pt x="1011" y="403"/>
                  </a:lnTo>
                  <a:lnTo>
                    <a:pt x="1008" y="406"/>
                  </a:lnTo>
                  <a:lnTo>
                    <a:pt x="1016" y="411"/>
                  </a:lnTo>
                  <a:lnTo>
                    <a:pt x="1017" y="411"/>
                  </a:lnTo>
                  <a:lnTo>
                    <a:pt x="1016" y="412"/>
                  </a:lnTo>
                  <a:lnTo>
                    <a:pt x="1008" y="417"/>
                  </a:lnTo>
                  <a:lnTo>
                    <a:pt x="1010" y="417"/>
                  </a:lnTo>
                  <a:lnTo>
                    <a:pt x="1011" y="415"/>
                  </a:lnTo>
                  <a:lnTo>
                    <a:pt x="1014" y="415"/>
                  </a:lnTo>
                  <a:lnTo>
                    <a:pt x="1016" y="414"/>
                  </a:lnTo>
                  <a:lnTo>
                    <a:pt x="1019" y="414"/>
                  </a:lnTo>
                  <a:lnTo>
                    <a:pt x="1019" y="415"/>
                  </a:lnTo>
                  <a:lnTo>
                    <a:pt x="1017" y="421"/>
                  </a:lnTo>
                  <a:lnTo>
                    <a:pt x="1023" y="426"/>
                  </a:lnTo>
                  <a:lnTo>
                    <a:pt x="1023" y="427"/>
                  </a:lnTo>
                  <a:lnTo>
                    <a:pt x="1016" y="430"/>
                  </a:lnTo>
                  <a:lnTo>
                    <a:pt x="1026" y="432"/>
                  </a:lnTo>
                  <a:lnTo>
                    <a:pt x="1028" y="432"/>
                  </a:lnTo>
                  <a:lnTo>
                    <a:pt x="1028" y="433"/>
                  </a:lnTo>
                  <a:lnTo>
                    <a:pt x="1020" y="439"/>
                  </a:lnTo>
                  <a:lnTo>
                    <a:pt x="1026" y="438"/>
                  </a:lnTo>
                  <a:lnTo>
                    <a:pt x="1028" y="438"/>
                  </a:lnTo>
                  <a:lnTo>
                    <a:pt x="1029" y="440"/>
                  </a:lnTo>
                  <a:lnTo>
                    <a:pt x="1029" y="442"/>
                  </a:lnTo>
                  <a:lnTo>
                    <a:pt x="1028" y="443"/>
                  </a:lnTo>
                  <a:lnTo>
                    <a:pt x="1031" y="443"/>
                  </a:lnTo>
                  <a:lnTo>
                    <a:pt x="1036" y="451"/>
                  </a:lnTo>
                  <a:lnTo>
                    <a:pt x="1036" y="452"/>
                  </a:lnTo>
                  <a:lnTo>
                    <a:pt x="1031" y="455"/>
                  </a:lnTo>
                  <a:lnTo>
                    <a:pt x="1035" y="455"/>
                  </a:lnTo>
                  <a:lnTo>
                    <a:pt x="1041" y="466"/>
                  </a:lnTo>
                  <a:lnTo>
                    <a:pt x="1036" y="472"/>
                  </a:lnTo>
                  <a:lnTo>
                    <a:pt x="1038" y="473"/>
                  </a:lnTo>
                  <a:lnTo>
                    <a:pt x="1038" y="475"/>
                  </a:lnTo>
                  <a:lnTo>
                    <a:pt x="1036" y="475"/>
                  </a:lnTo>
                  <a:lnTo>
                    <a:pt x="1032" y="473"/>
                  </a:lnTo>
                  <a:lnTo>
                    <a:pt x="1031" y="473"/>
                  </a:lnTo>
                  <a:lnTo>
                    <a:pt x="1026" y="475"/>
                  </a:lnTo>
                  <a:lnTo>
                    <a:pt x="1036" y="476"/>
                  </a:lnTo>
                  <a:lnTo>
                    <a:pt x="1035" y="479"/>
                  </a:lnTo>
                  <a:lnTo>
                    <a:pt x="1038" y="482"/>
                  </a:lnTo>
                  <a:lnTo>
                    <a:pt x="1038" y="483"/>
                  </a:lnTo>
                  <a:lnTo>
                    <a:pt x="1036" y="485"/>
                  </a:lnTo>
                  <a:lnTo>
                    <a:pt x="1038" y="485"/>
                  </a:lnTo>
                  <a:lnTo>
                    <a:pt x="1039" y="483"/>
                  </a:lnTo>
                  <a:lnTo>
                    <a:pt x="1042" y="483"/>
                  </a:lnTo>
                  <a:lnTo>
                    <a:pt x="1042" y="485"/>
                  </a:lnTo>
                  <a:lnTo>
                    <a:pt x="1044" y="491"/>
                  </a:lnTo>
                  <a:lnTo>
                    <a:pt x="1056" y="494"/>
                  </a:lnTo>
                  <a:lnTo>
                    <a:pt x="1056" y="495"/>
                  </a:lnTo>
                  <a:lnTo>
                    <a:pt x="1057" y="503"/>
                  </a:lnTo>
                  <a:lnTo>
                    <a:pt x="1054" y="506"/>
                  </a:lnTo>
                  <a:lnTo>
                    <a:pt x="1057" y="506"/>
                  </a:lnTo>
                  <a:lnTo>
                    <a:pt x="1060" y="504"/>
                  </a:lnTo>
                  <a:lnTo>
                    <a:pt x="1065" y="504"/>
                  </a:lnTo>
                  <a:lnTo>
                    <a:pt x="1066" y="507"/>
                  </a:lnTo>
                  <a:lnTo>
                    <a:pt x="1066" y="512"/>
                  </a:lnTo>
                  <a:lnTo>
                    <a:pt x="1069" y="507"/>
                  </a:lnTo>
                  <a:lnTo>
                    <a:pt x="1071" y="507"/>
                  </a:lnTo>
                  <a:lnTo>
                    <a:pt x="1076" y="516"/>
                  </a:lnTo>
                  <a:lnTo>
                    <a:pt x="1081" y="518"/>
                  </a:lnTo>
                  <a:lnTo>
                    <a:pt x="1085" y="513"/>
                  </a:lnTo>
                  <a:lnTo>
                    <a:pt x="1094" y="522"/>
                  </a:lnTo>
                  <a:lnTo>
                    <a:pt x="1094" y="524"/>
                  </a:lnTo>
                  <a:lnTo>
                    <a:pt x="1093" y="524"/>
                  </a:lnTo>
                  <a:lnTo>
                    <a:pt x="1075" y="531"/>
                  </a:lnTo>
                  <a:lnTo>
                    <a:pt x="1076" y="531"/>
                  </a:lnTo>
                  <a:lnTo>
                    <a:pt x="1078" y="532"/>
                  </a:lnTo>
                  <a:lnTo>
                    <a:pt x="1076" y="532"/>
                  </a:lnTo>
                  <a:lnTo>
                    <a:pt x="1062" y="538"/>
                  </a:lnTo>
                  <a:lnTo>
                    <a:pt x="1059" y="544"/>
                  </a:lnTo>
                  <a:lnTo>
                    <a:pt x="1057" y="544"/>
                  </a:lnTo>
                  <a:lnTo>
                    <a:pt x="1048" y="540"/>
                  </a:lnTo>
                  <a:lnTo>
                    <a:pt x="1047" y="541"/>
                  </a:lnTo>
                  <a:lnTo>
                    <a:pt x="1056" y="544"/>
                  </a:lnTo>
                  <a:lnTo>
                    <a:pt x="1057" y="546"/>
                  </a:lnTo>
                  <a:lnTo>
                    <a:pt x="1056" y="550"/>
                  </a:lnTo>
                  <a:lnTo>
                    <a:pt x="1076" y="534"/>
                  </a:lnTo>
                  <a:lnTo>
                    <a:pt x="1085" y="532"/>
                  </a:lnTo>
                  <a:lnTo>
                    <a:pt x="1084" y="532"/>
                  </a:lnTo>
                  <a:lnTo>
                    <a:pt x="1084" y="531"/>
                  </a:lnTo>
                  <a:lnTo>
                    <a:pt x="1096" y="531"/>
                  </a:lnTo>
                  <a:lnTo>
                    <a:pt x="1096" y="546"/>
                  </a:lnTo>
                  <a:lnTo>
                    <a:pt x="1099" y="540"/>
                  </a:lnTo>
                  <a:lnTo>
                    <a:pt x="1099" y="538"/>
                  </a:lnTo>
                  <a:lnTo>
                    <a:pt x="1100" y="538"/>
                  </a:lnTo>
                  <a:lnTo>
                    <a:pt x="1114" y="544"/>
                  </a:lnTo>
                  <a:lnTo>
                    <a:pt x="1114" y="546"/>
                  </a:lnTo>
                  <a:lnTo>
                    <a:pt x="1112" y="546"/>
                  </a:lnTo>
                  <a:lnTo>
                    <a:pt x="1116" y="553"/>
                  </a:lnTo>
                  <a:lnTo>
                    <a:pt x="1109" y="553"/>
                  </a:lnTo>
                  <a:lnTo>
                    <a:pt x="1114" y="556"/>
                  </a:lnTo>
                  <a:lnTo>
                    <a:pt x="1116" y="565"/>
                  </a:lnTo>
                  <a:lnTo>
                    <a:pt x="1115" y="565"/>
                  </a:lnTo>
                  <a:lnTo>
                    <a:pt x="1114" y="567"/>
                  </a:lnTo>
                  <a:lnTo>
                    <a:pt x="1116" y="571"/>
                  </a:lnTo>
                  <a:lnTo>
                    <a:pt x="1114" y="571"/>
                  </a:lnTo>
                  <a:lnTo>
                    <a:pt x="1116" y="574"/>
                  </a:lnTo>
                  <a:lnTo>
                    <a:pt x="1116" y="575"/>
                  </a:lnTo>
                  <a:lnTo>
                    <a:pt x="1105" y="589"/>
                  </a:lnTo>
                  <a:lnTo>
                    <a:pt x="1081" y="593"/>
                  </a:lnTo>
                  <a:lnTo>
                    <a:pt x="1060" y="615"/>
                  </a:lnTo>
                  <a:lnTo>
                    <a:pt x="1059" y="615"/>
                  </a:lnTo>
                  <a:lnTo>
                    <a:pt x="1057" y="614"/>
                  </a:lnTo>
                  <a:lnTo>
                    <a:pt x="1056" y="614"/>
                  </a:lnTo>
                  <a:lnTo>
                    <a:pt x="1056" y="612"/>
                  </a:lnTo>
                  <a:lnTo>
                    <a:pt x="1039" y="618"/>
                  </a:lnTo>
                  <a:lnTo>
                    <a:pt x="1038" y="618"/>
                  </a:lnTo>
                  <a:lnTo>
                    <a:pt x="1031" y="615"/>
                  </a:lnTo>
                  <a:lnTo>
                    <a:pt x="977" y="615"/>
                  </a:lnTo>
                  <a:lnTo>
                    <a:pt x="971" y="621"/>
                  </a:lnTo>
                  <a:lnTo>
                    <a:pt x="965" y="633"/>
                  </a:lnTo>
                  <a:lnTo>
                    <a:pt x="964" y="633"/>
                  </a:lnTo>
                  <a:lnTo>
                    <a:pt x="955" y="635"/>
                  </a:lnTo>
                  <a:lnTo>
                    <a:pt x="945" y="644"/>
                  </a:lnTo>
                  <a:lnTo>
                    <a:pt x="937" y="654"/>
                  </a:lnTo>
                  <a:lnTo>
                    <a:pt x="933" y="657"/>
                  </a:lnTo>
                  <a:lnTo>
                    <a:pt x="925" y="670"/>
                  </a:lnTo>
                  <a:lnTo>
                    <a:pt x="918" y="679"/>
                  </a:lnTo>
                  <a:lnTo>
                    <a:pt x="919" y="678"/>
                  </a:lnTo>
                  <a:lnTo>
                    <a:pt x="934" y="660"/>
                  </a:lnTo>
                  <a:lnTo>
                    <a:pt x="949" y="647"/>
                  </a:lnTo>
                  <a:lnTo>
                    <a:pt x="973" y="636"/>
                  </a:lnTo>
                  <a:lnTo>
                    <a:pt x="993" y="635"/>
                  </a:lnTo>
                  <a:lnTo>
                    <a:pt x="1004" y="639"/>
                  </a:lnTo>
                  <a:lnTo>
                    <a:pt x="1004" y="650"/>
                  </a:lnTo>
                  <a:lnTo>
                    <a:pt x="992" y="658"/>
                  </a:lnTo>
                  <a:lnTo>
                    <a:pt x="990" y="658"/>
                  </a:lnTo>
                  <a:lnTo>
                    <a:pt x="983" y="657"/>
                  </a:lnTo>
                  <a:lnTo>
                    <a:pt x="977" y="658"/>
                  </a:lnTo>
                  <a:lnTo>
                    <a:pt x="985" y="660"/>
                  </a:lnTo>
                  <a:lnTo>
                    <a:pt x="986" y="664"/>
                  </a:lnTo>
                  <a:lnTo>
                    <a:pt x="993" y="661"/>
                  </a:lnTo>
                  <a:lnTo>
                    <a:pt x="998" y="663"/>
                  </a:lnTo>
                  <a:lnTo>
                    <a:pt x="998" y="664"/>
                  </a:lnTo>
                  <a:lnTo>
                    <a:pt x="992" y="676"/>
                  </a:lnTo>
                  <a:lnTo>
                    <a:pt x="998" y="676"/>
                  </a:lnTo>
                  <a:lnTo>
                    <a:pt x="998" y="688"/>
                  </a:lnTo>
                  <a:lnTo>
                    <a:pt x="1001" y="691"/>
                  </a:lnTo>
                  <a:lnTo>
                    <a:pt x="1011" y="696"/>
                  </a:lnTo>
                  <a:lnTo>
                    <a:pt x="1011" y="697"/>
                  </a:lnTo>
                  <a:lnTo>
                    <a:pt x="1010" y="697"/>
                  </a:lnTo>
                  <a:lnTo>
                    <a:pt x="1025" y="703"/>
                  </a:lnTo>
                  <a:lnTo>
                    <a:pt x="1033" y="700"/>
                  </a:lnTo>
                  <a:lnTo>
                    <a:pt x="1033" y="698"/>
                  </a:lnTo>
                  <a:lnTo>
                    <a:pt x="1035" y="698"/>
                  </a:lnTo>
                  <a:lnTo>
                    <a:pt x="1035" y="700"/>
                  </a:lnTo>
                  <a:lnTo>
                    <a:pt x="1036" y="703"/>
                  </a:lnTo>
                  <a:lnTo>
                    <a:pt x="1042" y="704"/>
                  </a:lnTo>
                  <a:lnTo>
                    <a:pt x="1044" y="704"/>
                  </a:lnTo>
                  <a:lnTo>
                    <a:pt x="1044" y="706"/>
                  </a:lnTo>
                  <a:lnTo>
                    <a:pt x="1042" y="709"/>
                  </a:lnTo>
                  <a:lnTo>
                    <a:pt x="1047" y="710"/>
                  </a:lnTo>
                  <a:lnTo>
                    <a:pt x="1048" y="710"/>
                  </a:lnTo>
                  <a:lnTo>
                    <a:pt x="1047" y="712"/>
                  </a:lnTo>
                  <a:lnTo>
                    <a:pt x="1023" y="721"/>
                  </a:lnTo>
                  <a:lnTo>
                    <a:pt x="1014" y="722"/>
                  </a:lnTo>
                  <a:lnTo>
                    <a:pt x="1014" y="725"/>
                  </a:lnTo>
                  <a:lnTo>
                    <a:pt x="1007" y="725"/>
                  </a:lnTo>
                  <a:lnTo>
                    <a:pt x="1004" y="730"/>
                  </a:lnTo>
                  <a:lnTo>
                    <a:pt x="990" y="744"/>
                  </a:lnTo>
                  <a:lnTo>
                    <a:pt x="989" y="744"/>
                  </a:lnTo>
                  <a:lnTo>
                    <a:pt x="980" y="738"/>
                  </a:lnTo>
                  <a:lnTo>
                    <a:pt x="980" y="737"/>
                  </a:lnTo>
                  <a:lnTo>
                    <a:pt x="979" y="731"/>
                  </a:lnTo>
                  <a:lnTo>
                    <a:pt x="982" y="725"/>
                  </a:lnTo>
                  <a:lnTo>
                    <a:pt x="979" y="725"/>
                  </a:lnTo>
                  <a:lnTo>
                    <a:pt x="979" y="724"/>
                  </a:lnTo>
                  <a:lnTo>
                    <a:pt x="980" y="724"/>
                  </a:lnTo>
                  <a:lnTo>
                    <a:pt x="1001" y="710"/>
                  </a:lnTo>
                  <a:lnTo>
                    <a:pt x="996" y="710"/>
                  </a:lnTo>
                  <a:lnTo>
                    <a:pt x="996" y="707"/>
                  </a:lnTo>
                  <a:lnTo>
                    <a:pt x="1002" y="700"/>
                  </a:lnTo>
                  <a:lnTo>
                    <a:pt x="1001" y="700"/>
                  </a:lnTo>
                  <a:lnTo>
                    <a:pt x="986" y="712"/>
                  </a:lnTo>
                  <a:lnTo>
                    <a:pt x="967" y="713"/>
                  </a:lnTo>
                  <a:lnTo>
                    <a:pt x="961" y="713"/>
                  </a:lnTo>
                  <a:lnTo>
                    <a:pt x="961" y="712"/>
                  </a:lnTo>
                  <a:lnTo>
                    <a:pt x="959" y="706"/>
                  </a:lnTo>
                  <a:lnTo>
                    <a:pt x="958" y="704"/>
                  </a:lnTo>
                  <a:lnTo>
                    <a:pt x="956" y="704"/>
                  </a:lnTo>
                  <a:lnTo>
                    <a:pt x="956" y="679"/>
                  </a:lnTo>
                  <a:lnTo>
                    <a:pt x="950" y="673"/>
                  </a:lnTo>
                  <a:lnTo>
                    <a:pt x="945" y="676"/>
                  </a:lnTo>
                  <a:lnTo>
                    <a:pt x="943" y="676"/>
                  </a:lnTo>
                  <a:lnTo>
                    <a:pt x="937" y="672"/>
                  </a:lnTo>
                  <a:lnTo>
                    <a:pt x="928" y="684"/>
                  </a:lnTo>
                  <a:lnTo>
                    <a:pt x="921" y="710"/>
                  </a:lnTo>
                  <a:lnTo>
                    <a:pt x="921" y="712"/>
                  </a:lnTo>
                  <a:lnTo>
                    <a:pt x="910" y="712"/>
                  </a:lnTo>
                  <a:lnTo>
                    <a:pt x="909" y="718"/>
                  </a:lnTo>
                  <a:lnTo>
                    <a:pt x="863" y="718"/>
                  </a:lnTo>
                  <a:lnTo>
                    <a:pt x="854" y="725"/>
                  </a:lnTo>
                  <a:lnTo>
                    <a:pt x="838" y="734"/>
                  </a:lnTo>
                  <a:lnTo>
                    <a:pt x="836" y="733"/>
                  </a:lnTo>
                  <a:lnTo>
                    <a:pt x="836" y="737"/>
                  </a:lnTo>
                  <a:lnTo>
                    <a:pt x="823" y="737"/>
                  </a:lnTo>
                  <a:lnTo>
                    <a:pt x="808" y="740"/>
                  </a:lnTo>
                  <a:lnTo>
                    <a:pt x="802" y="747"/>
                  </a:lnTo>
                  <a:lnTo>
                    <a:pt x="810" y="749"/>
                  </a:lnTo>
                  <a:lnTo>
                    <a:pt x="811" y="749"/>
                  </a:lnTo>
                  <a:lnTo>
                    <a:pt x="813" y="756"/>
                  </a:lnTo>
                  <a:lnTo>
                    <a:pt x="796" y="756"/>
                  </a:lnTo>
                  <a:lnTo>
                    <a:pt x="790" y="761"/>
                  </a:lnTo>
                  <a:lnTo>
                    <a:pt x="783" y="759"/>
                  </a:lnTo>
                  <a:lnTo>
                    <a:pt x="765" y="771"/>
                  </a:lnTo>
                  <a:lnTo>
                    <a:pt x="756" y="771"/>
                  </a:lnTo>
                  <a:lnTo>
                    <a:pt x="756" y="770"/>
                  </a:lnTo>
                  <a:lnTo>
                    <a:pt x="759" y="764"/>
                  </a:lnTo>
                  <a:lnTo>
                    <a:pt x="759" y="762"/>
                  </a:lnTo>
                  <a:lnTo>
                    <a:pt x="761" y="762"/>
                  </a:lnTo>
                  <a:lnTo>
                    <a:pt x="764" y="764"/>
                  </a:lnTo>
                  <a:lnTo>
                    <a:pt x="762" y="759"/>
                  </a:lnTo>
                  <a:lnTo>
                    <a:pt x="765" y="752"/>
                  </a:lnTo>
                  <a:lnTo>
                    <a:pt x="765" y="750"/>
                  </a:lnTo>
                  <a:lnTo>
                    <a:pt x="774" y="746"/>
                  </a:lnTo>
                  <a:lnTo>
                    <a:pt x="774" y="731"/>
                  </a:lnTo>
                  <a:lnTo>
                    <a:pt x="779" y="721"/>
                  </a:lnTo>
                  <a:lnTo>
                    <a:pt x="776" y="712"/>
                  </a:lnTo>
                  <a:lnTo>
                    <a:pt x="776" y="710"/>
                  </a:lnTo>
                  <a:lnTo>
                    <a:pt x="779" y="710"/>
                  </a:lnTo>
                  <a:lnTo>
                    <a:pt x="780" y="712"/>
                  </a:lnTo>
                  <a:lnTo>
                    <a:pt x="781" y="712"/>
                  </a:lnTo>
                  <a:lnTo>
                    <a:pt x="783" y="716"/>
                  </a:lnTo>
                  <a:lnTo>
                    <a:pt x="786" y="716"/>
                  </a:lnTo>
                  <a:lnTo>
                    <a:pt x="786" y="722"/>
                  </a:lnTo>
                  <a:lnTo>
                    <a:pt x="787" y="721"/>
                  </a:lnTo>
                  <a:lnTo>
                    <a:pt x="789" y="721"/>
                  </a:lnTo>
                  <a:lnTo>
                    <a:pt x="796" y="724"/>
                  </a:lnTo>
                  <a:lnTo>
                    <a:pt x="796" y="718"/>
                  </a:lnTo>
                  <a:lnTo>
                    <a:pt x="799" y="719"/>
                  </a:lnTo>
                  <a:lnTo>
                    <a:pt x="796" y="715"/>
                  </a:lnTo>
                  <a:lnTo>
                    <a:pt x="796" y="710"/>
                  </a:lnTo>
                  <a:lnTo>
                    <a:pt x="787" y="700"/>
                  </a:lnTo>
                  <a:lnTo>
                    <a:pt x="743" y="693"/>
                  </a:lnTo>
                  <a:lnTo>
                    <a:pt x="741" y="690"/>
                  </a:lnTo>
                  <a:lnTo>
                    <a:pt x="739" y="690"/>
                  </a:lnTo>
                  <a:lnTo>
                    <a:pt x="739" y="682"/>
                  </a:lnTo>
                  <a:lnTo>
                    <a:pt x="736" y="681"/>
                  </a:lnTo>
                  <a:lnTo>
                    <a:pt x="736" y="672"/>
                  </a:lnTo>
                  <a:lnTo>
                    <a:pt x="731" y="667"/>
                  </a:lnTo>
                  <a:lnTo>
                    <a:pt x="733" y="661"/>
                  </a:lnTo>
                  <a:lnTo>
                    <a:pt x="722" y="661"/>
                  </a:lnTo>
                  <a:lnTo>
                    <a:pt x="713" y="645"/>
                  </a:lnTo>
                  <a:lnTo>
                    <a:pt x="706" y="645"/>
                  </a:lnTo>
                  <a:lnTo>
                    <a:pt x="706" y="654"/>
                  </a:lnTo>
                  <a:lnTo>
                    <a:pt x="704" y="654"/>
                  </a:lnTo>
                  <a:lnTo>
                    <a:pt x="700" y="644"/>
                  </a:lnTo>
                  <a:lnTo>
                    <a:pt x="693" y="641"/>
                  </a:lnTo>
                  <a:lnTo>
                    <a:pt x="688" y="651"/>
                  </a:lnTo>
                  <a:lnTo>
                    <a:pt x="687" y="651"/>
                  </a:lnTo>
                  <a:lnTo>
                    <a:pt x="687" y="647"/>
                  </a:lnTo>
                  <a:lnTo>
                    <a:pt x="684" y="653"/>
                  </a:lnTo>
                  <a:lnTo>
                    <a:pt x="682" y="653"/>
                  </a:lnTo>
                  <a:lnTo>
                    <a:pt x="682" y="650"/>
                  </a:lnTo>
                  <a:lnTo>
                    <a:pt x="676" y="658"/>
                  </a:lnTo>
                  <a:lnTo>
                    <a:pt x="670" y="661"/>
                  </a:lnTo>
                  <a:lnTo>
                    <a:pt x="656" y="657"/>
                  </a:lnTo>
                  <a:lnTo>
                    <a:pt x="650" y="658"/>
                  </a:lnTo>
                  <a:lnTo>
                    <a:pt x="630" y="648"/>
                  </a:lnTo>
                  <a:lnTo>
                    <a:pt x="607" y="647"/>
                  </a:lnTo>
                  <a:lnTo>
                    <a:pt x="601" y="635"/>
                  </a:lnTo>
                  <a:lnTo>
                    <a:pt x="601" y="642"/>
                  </a:lnTo>
                  <a:lnTo>
                    <a:pt x="239" y="641"/>
                  </a:lnTo>
                  <a:lnTo>
                    <a:pt x="236" y="638"/>
                  </a:lnTo>
                  <a:lnTo>
                    <a:pt x="236" y="636"/>
                  </a:lnTo>
                  <a:lnTo>
                    <a:pt x="239" y="636"/>
                  </a:lnTo>
                  <a:lnTo>
                    <a:pt x="233" y="635"/>
                  </a:lnTo>
                  <a:lnTo>
                    <a:pt x="233" y="627"/>
                  </a:lnTo>
                  <a:lnTo>
                    <a:pt x="229" y="632"/>
                  </a:lnTo>
                  <a:lnTo>
                    <a:pt x="227" y="632"/>
                  </a:lnTo>
                  <a:lnTo>
                    <a:pt x="227" y="626"/>
                  </a:lnTo>
                  <a:lnTo>
                    <a:pt x="224" y="621"/>
                  </a:lnTo>
                  <a:lnTo>
                    <a:pt x="224" y="624"/>
                  </a:lnTo>
                  <a:lnTo>
                    <a:pt x="221" y="624"/>
                  </a:lnTo>
                  <a:lnTo>
                    <a:pt x="215" y="621"/>
                  </a:lnTo>
                  <a:lnTo>
                    <a:pt x="212" y="618"/>
                  </a:lnTo>
                  <a:lnTo>
                    <a:pt x="212" y="617"/>
                  </a:lnTo>
                  <a:lnTo>
                    <a:pt x="214" y="612"/>
                  </a:lnTo>
                  <a:lnTo>
                    <a:pt x="196" y="610"/>
                  </a:lnTo>
                  <a:lnTo>
                    <a:pt x="195" y="610"/>
                  </a:lnTo>
                  <a:lnTo>
                    <a:pt x="195" y="608"/>
                  </a:lnTo>
                  <a:lnTo>
                    <a:pt x="197" y="605"/>
                  </a:lnTo>
                  <a:lnTo>
                    <a:pt x="192" y="602"/>
                  </a:lnTo>
                  <a:lnTo>
                    <a:pt x="192" y="601"/>
                  </a:lnTo>
                  <a:lnTo>
                    <a:pt x="189" y="601"/>
                  </a:lnTo>
                  <a:lnTo>
                    <a:pt x="186" y="602"/>
                  </a:lnTo>
                  <a:lnTo>
                    <a:pt x="181" y="602"/>
                  </a:lnTo>
                  <a:lnTo>
                    <a:pt x="175" y="598"/>
                  </a:lnTo>
                  <a:lnTo>
                    <a:pt x="174" y="595"/>
                  </a:lnTo>
                  <a:lnTo>
                    <a:pt x="174" y="593"/>
                  </a:lnTo>
                  <a:lnTo>
                    <a:pt x="177" y="593"/>
                  </a:lnTo>
                  <a:lnTo>
                    <a:pt x="174" y="592"/>
                  </a:lnTo>
                  <a:lnTo>
                    <a:pt x="174" y="590"/>
                  </a:lnTo>
                  <a:lnTo>
                    <a:pt x="178" y="589"/>
                  </a:lnTo>
                  <a:lnTo>
                    <a:pt x="177" y="589"/>
                  </a:lnTo>
                  <a:lnTo>
                    <a:pt x="177" y="584"/>
                  </a:lnTo>
                  <a:lnTo>
                    <a:pt x="174" y="587"/>
                  </a:lnTo>
                  <a:lnTo>
                    <a:pt x="172" y="587"/>
                  </a:lnTo>
                  <a:lnTo>
                    <a:pt x="172" y="569"/>
                  </a:lnTo>
                  <a:lnTo>
                    <a:pt x="168" y="571"/>
                  </a:lnTo>
                  <a:lnTo>
                    <a:pt x="166" y="571"/>
                  </a:lnTo>
                  <a:lnTo>
                    <a:pt x="166" y="567"/>
                  </a:lnTo>
                  <a:lnTo>
                    <a:pt x="160" y="568"/>
                  </a:lnTo>
                  <a:lnTo>
                    <a:pt x="156" y="558"/>
                  </a:lnTo>
                  <a:lnTo>
                    <a:pt x="156" y="547"/>
                  </a:lnTo>
                  <a:lnTo>
                    <a:pt x="154" y="549"/>
                  </a:lnTo>
                  <a:lnTo>
                    <a:pt x="153" y="549"/>
                  </a:lnTo>
                  <a:lnTo>
                    <a:pt x="143" y="537"/>
                  </a:lnTo>
                  <a:lnTo>
                    <a:pt x="143" y="535"/>
                  </a:lnTo>
                  <a:lnTo>
                    <a:pt x="144" y="531"/>
                  </a:lnTo>
                  <a:lnTo>
                    <a:pt x="138" y="526"/>
                  </a:lnTo>
                  <a:lnTo>
                    <a:pt x="138" y="525"/>
                  </a:lnTo>
                  <a:lnTo>
                    <a:pt x="140" y="519"/>
                  </a:lnTo>
                  <a:lnTo>
                    <a:pt x="143" y="519"/>
                  </a:lnTo>
                  <a:lnTo>
                    <a:pt x="143" y="489"/>
                  </a:lnTo>
                  <a:lnTo>
                    <a:pt x="119" y="476"/>
                  </a:lnTo>
                  <a:lnTo>
                    <a:pt x="94" y="426"/>
                  </a:lnTo>
                  <a:lnTo>
                    <a:pt x="86" y="421"/>
                  </a:lnTo>
                  <a:lnTo>
                    <a:pt x="73" y="398"/>
                  </a:lnTo>
                  <a:lnTo>
                    <a:pt x="63" y="403"/>
                  </a:lnTo>
                  <a:lnTo>
                    <a:pt x="58" y="414"/>
                  </a:lnTo>
                  <a:lnTo>
                    <a:pt x="46" y="420"/>
                  </a:lnTo>
                  <a:lnTo>
                    <a:pt x="42" y="411"/>
                  </a:lnTo>
                  <a:lnTo>
                    <a:pt x="24" y="390"/>
                  </a:lnTo>
                  <a:lnTo>
                    <a:pt x="23" y="390"/>
                  </a:lnTo>
                  <a:lnTo>
                    <a:pt x="24" y="384"/>
                  </a:lnTo>
                  <a:lnTo>
                    <a:pt x="14" y="387"/>
                  </a:lnTo>
                  <a:lnTo>
                    <a:pt x="0" y="384"/>
                  </a:lnTo>
                  <a:lnTo>
                    <a:pt x="0" y="88"/>
                  </a:lnTo>
                  <a:lnTo>
                    <a:pt x="24" y="94"/>
                  </a:lnTo>
                  <a:lnTo>
                    <a:pt x="46" y="117"/>
                  </a:lnTo>
                  <a:lnTo>
                    <a:pt x="60" y="117"/>
                  </a:lnTo>
                  <a:lnTo>
                    <a:pt x="74" y="128"/>
                  </a:lnTo>
                  <a:lnTo>
                    <a:pt x="76" y="128"/>
                  </a:lnTo>
                  <a:lnTo>
                    <a:pt x="73" y="120"/>
                  </a:lnTo>
                  <a:lnTo>
                    <a:pt x="71" y="120"/>
                  </a:lnTo>
                  <a:lnTo>
                    <a:pt x="73" y="119"/>
                  </a:lnTo>
                  <a:lnTo>
                    <a:pt x="76" y="119"/>
                  </a:lnTo>
                  <a:lnTo>
                    <a:pt x="79" y="120"/>
                  </a:lnTo>
                  <a:lnTo>
                    <a:pt x="83" y="120"/>
                  </a:lnTo>
                  <a:lnTo>
                    <a:pt x="89" y="129"/>
                  </a:lnTo>
                  <a:lnTo>
                    <a:pt x="89" y="126"/>
                  </a:lnTo>
                  <a:lnTo>
                    <a:pt x="83" y="114"/>
                  </a:lnTo>
                  <a:lnTo>
                    <a:pt x="83" y="113"/>
                  </a:lnTo>
                  <a:lnTo>
                    <a:pt x="92" y="104"/>
                  </a:lnTo>
                  <a:lnTo>
                    <a:pt x="149" y="68"/>
                  </a:lnTo>
                  <a:lnTo>
                    <a:pt x="150" y="68"/>
                  </a:lnTo>
                  <a:lnTo>
                    <a:pt x="153" y="76"/>
                  </a:lnTo>
                  <a:lnTo>
                    <a:pt x="150" y="80"/>
                  </a:lnTo>
                  <a:lnTo>
                    <a:pt x="132" y="97"/>
                  </a:lnTo>
                  <a:lnTo>
                    <a:pt x="120" y="97"/>
                  </a:lnTo>
                  <a:lnTo>
                    <a:pt x="110" y="108"/>
                  </a:lnTo>
                  <a:lnTo>
                    <a:pt x="131" y="98"/>
                  </a:lnTo>
                  <a:lnTo>
                    <a:pt x="131" y="105"/>
                  </a:lnTo>
                  <a:lnTo>
                    <a:pt x="140" y="91"/>
                  </a:lnTo>
                  <a:lnTo>
                    <a:pt x="159" y="79"/>
                  </a:lnTo>
                  <a:lnTo>
                    <a:pt x="159" y="80"/>
                  </a:lnTo>
                  <a:lnTo>
                    <a:pt x="157" y="86"/>
                  </a:lnTo>
                  <a:lnTo>
                    <a:pt x="174" y="70"/>
                  </a:lnTo>
                  <a:lnTo>
                    <a:pt x="166" y="64"/>
                  </a:lnTo>
                  <a:lnTo>
                    <a:pt x="166" y="62"/>
                  </a:lnTo>
                  <a:lnTo>
                    <a:pt x="169" y="57"/>
                  </a:lnTo>
                  <a:lnTo>
                    <a:pt x="171" y="57"/>
                  </a:lnTo>
                  <a:lnTo>
                    <a:pt x="180" y="67"/>
                  </a:lnTo>
                  <a:lnTo>
                    <a:pt x="187" y="89"/>
                  </a:lnTo>
                  <a:lnTo>
                    <a:pt x="196" y="101"/>
                  </a:lnTo>
                  <a:lnTo>
                    <a:pt x="200" y="100"/>
                  </a:lnTo>
                  <a:lnTo>
                    <a:pt x="206" y="97"/>
                  </a:lnTo>
                  <a:lnTo>
                    <a:pt x="203" y="94"/>
                  </a:lnTo>
                  <a:lnTo>
                    <a:pt x="211" y="79"/>
                  </a:lnTo>
                  <a:lnTo>
                    <a:pt x="214" y="79"/>
                  </a:lnTo>
                  <a:lnTo>
                    <a:pt x="214" y="77"/>
                  </a:lnTo>
                  <a:lnTo>
                    <a:pt x="212" y="74"/>
                  </a:lnTo>
                  <a:lnTo>
                    <a:pt x="212" y="73"/>
                  </a:lnTo>
                  <a:lnTo>
                    <a:pt x="217" y="73"/>
                  </a:lnTo>
                  <a:lnTo>
                    <a:pt x="217" y="88"/>
                  </a:lnTo>
                  <a:lnTo>
                    <a:pt x="223" y="89"/>
                  </a:lnTo>
                  <a:lnTo>
                    <a:pt x="217" y="101"/>
                  </a:lnTo>
                  <a:lnTo>
                    <a:pt x="229" y="101"/>
                  </a:lnTo>
                  <a:lnTo>
                    <a:pt x="235" y="86"/>
                  </a:lnTo>
                  <a:lnTo>
                    <a:pt x="252" y="86"/>
                  </a:lnTo>
                  <a:lnTo>
                    <a:pt x="275" y="101"/>
                  </a:lnTo>
                  <a:lnTo>
                    <a:pt x="315" y="117"/>
                  </a:lnTo>
                  <a:lnTo>
                    <a:pt x="326" y="122"/>
                  </a:lnTo>
                  <a:lnTo>
                    <a:pt x="323" y="116"/>
                  </a:lnTo>
                  <a:lnTo>
                    <a:pt x="338" y="116"/>
                  </a:lnTo>
                  <a:lnTo>
                    <a:pt x="338" y="117"/>
                  </a:lnTo>
                  <a:lnTo>
                    <a:pt x="352" y="131"/>
                  </a:lnTo>
                  <a:lnTo>
                    <a:pt x="353" y="141"/>
                  </a:lnTo>
                  <a:lnTo>
                    <a:pt x="344" y="141"/>
                  </a:lnTo>
                  <a:lnTo>
                    <a:pt x="344" y="142"/>
                  </a:lnTo>
                  <a:lnTo>
                    <a:pt x="337" y="145"/>
                  </a:lnTo>
                  <a:lnTo>
                    <a:pt x="337" y="151"/>
                  </a:lnTo>
                  <a:lnTo>
                    <a:pt x="334" y="153"/>
                  </a:lnTo>
                  <a:lnTo>
                    <a:pt x="344" y="159"/>
                  </a:lnTo>
                  <a:lnTo>
                    <a:pt x="381" y="160"/>
                  </a:lnTo>
                  <a:lnTo>
                    <a:pt x="405" y="148"/>
                  </a:lnTo>
                  <a:lnTo>
                    <a:pt x="409" y="159"/>
                  </a:lnTo>
                  <a:lnTo>
                    <a:pt x="420" y="159"/>
                  </a:lnTo>
                  <a:lnTo>
                    <a:pt x="421" y="168"/>
                  </a:lnTo>
                  <a:lnTo>
                    <a:pt x="423" y="162"/>
                  </a:lnTo>
                  <a:lnTo>
                    <a:pt x="424" y="162"/>
                  </a:lnTo>
                  <a:lnTo>
                    <a:pt x="424" y="171"/>
                  </a:lnTo>
                  <a:lnTo>
                    <a:pt x="432" y="172"/>
                  </a:lnTo>
                  <a:lnTo>
                    <a:pt x="432" y="174"/>
                  </a:lnTo>
                  <a:lnTo>
                    <a:pt x="435" y="180"/>
                  </a:lnTo>
                  <a:lnTo>
                    <a:pt x="435" y="181"/>
                  </a:lnTo>
                  <a:lnTo>
                    <a:pt x="427" y="183"/>
                  </a:lnTo>
                  <a:lnTo>
                    <a:pt x="433" y="191"/>
                  </a:lnTo>
                  <a:lnTo>
                    <a:pt x="433" y="187"/>
                  </a:lnTo>
                  <a:lnTo>
                    <a:pt x="441" y="187"/>
                  </a:lnTo>
                  <a:lnTo>
                    <a:pt x="439" y="183"/>
                  </a:lnTo>
                  <a:lnTo>
                    <a:pt x="438" y="183"/>
                  </a:lnTo>
                  <a:lnTo>
                    <a:pt x="438" y="181"/>
                  </a:lnTo>
                  <a:lnTo>
                    <a:pt x="441" y="181"/>
                  </a:lnTo>
                  <a:lnTo>
                    <a:pt x="430" y="160"/>
                  </a:lnTo>
                  <a:lnTo>
                    <a:pt x="430" y="159"/>
                  </a:lnTo>
                  <a:lnTo>
                    <a:pt x="435" y="153"/>
                  </a:lnTo>
                  <a:lnTo>
                    <a:pt x="433" y="151"/>
                  </a:lnTo>
                  <a:lnTo>
                    <a:pt x="436" y="148"/>
                  </a:lnTo>
                  <a:lnTo>
                    <a:pt x="451" y="141"/>
                  </a:lnTo>
                  <a:lnTo>
                    <a:pt x="457" y="128"/>
                  </a:lnTo>
                  <a:lnTo>
                    <a:pt x="451" y="131"/>
                  </a:lnTo>
                  <a:lnTo>
                    <a:pt x="451" y="132"/>
                  </a:lnTo>
                  <a:lnTo>
                    <a:pt x="452" y="134"/>
                  </a:lnTo>
                  <a:lnTo>
                    <a:pt x="449" y="134"/>
                  </a:lnTo>
                  <a:lnTo>
                    <a:pt x="449" y="135"/>
                  </a:lnTo>
                  <a:lnTo>
                    <a:pt x="451" y="135"/>
                  </a:lnTo>
                  <a:lnTo>
                    <a:pt x="449" y="141"/>
                  </a:lnTo>
                  <a:lnTo>
                    <a:pt x="448" y="141"/>
                  </a:lnTo>
                  <a:lnTo>
                    <a:pt x="438" y="138"/>
                  </a:lnTo>
                  <a:lnTo>
                    <a:pt x="433" y="141"/>
                  </a:lnTo>
                  <a:lnTo>
                    <a:pt x="438" y="144"/>
                  </a:lnTo>
                  <a:lnTo>
                    <a:pt x="438" y="145"/>
                  </a:lnTo>
                  <a:lnTo>
                    <a:pt x="436" y="145"/>
                  </a:lnTo>
                  <a:lnTo>
                    <a:pt x="432" y="147"/>
                  </a:lnTo>
                  <a:lnTo>
                    <a:pt x="421" y="138"/>
                  </a:lnTo>
                  <a:lnTo>
                    <a:pt x="420" y="138"/>
                  </a:lnTo>
                  <a:lnTo>
                    <a:pt x="420" y="137"/>
                  </a:lnTo>
                  <a:lnTo>
                    <a:pt x="427" y="128"/>
                  </a:lnTo>
                  <a:lnTo>
                    <a:pt x="454" y="116"/>
                  </a:lnTo>
                  <a:lnTo>
                    <a:pt x="455" y="116"/>
                  </a:lnTo>
                  <a:lnTo>
                    <a:pt x="464" y="123"/>
                  </a:lnTo>
                  <a:lnTo>
                    <a:pt x="464" y="125"/>
                  </a:lnTo>
                  <a:lnTo>
                    <a:pt x="463" y="126"/>
                  </a:lnTo>
                  <a:lnTo>
                    <a:pt x="466" y="132"/>
                  </a:lnTo>
                  <a:lnTo>
                    <a:pt x="466" y="134"/>
                  </a:lnTo>
                  <a:lnTo>
                    <a:pt x="464" y="135"/>
                  </a:lnTo>
                  <a:lnTo>
                    <a:pt x="475" y="141"/>
                  </a:lnTo>
                  <a:lnTo>
                    <a:pt x="476" y="142"/>
                  </a:lnTo>
                  <a:lnTo>
                    <a:pt x="476" y="145"/>
                  </a:lnTo>
                  <a:lnTo>
                    <a:pt x="494" y="145"/>
                  </a:lnTo>
                  <a:lnTo>
                    <a:pt x="507" y="160"/>
                  </a:lnTo>
                  <a:lnTo>
                    <a:pt x="531" y="154"/>
                  </a:lnTo>
                  <a:lnTo>
                    <a:pt x="556" y="159"/>
                  </a:lnTo>
                  <a:lnTo>
                    <a:pt x="552" y="150"/>
                  </a:lnTo>
                  <a:lnTo>
                    <a:pt x="555" y="147"/>
                  </a:lnTo>
                  <a:lnTo>
                    <a:pt x="556" y="147"/>
                  </a:lnTo>
                  <a:lnTo>
                    <a:pt x="556" y="148"/>
                  </a:lnTo>
                  <a:lnTo>
                    <a:pt x="561" y="159"/>
                  </a:lnTo>
                  <a:lnTo>
                    <a:pt x="571" y="163"/>
                  </a:lnTo>
                  <a:lnTo>
                    <a:pt x="572" y="162"/>
                  </a:lnTo>
                  <a:lnTo>
                    <a:pt x="572" y="154"/>
                  </a:lnTo>
                  <a:lnTo>
                    <a:pt x="570" y="154"/>
                  </a:lnTo>
                  <a:lnTo>
                    <a:pt x="565" y="156"/>
                  </a:lnTo>
                  <a:lnTo>
                    <a:pt x="562" y="156"/>
                  </a:lnTo>
                  <a:lnTo>
                    <a:pt x="553" y="138"/>
                  </a:lnTo>
                  <a:lnTo>
                    <a:pt x="553" y="137"/>
                  </a:lnTo>
                  <a:lnTo>
                    <a:pt x="556" y="137"/>
                  </a:lnTo>
                  <a:lnTo>
                    <a:pt x="561" y="135"/>
                  </a:lnTo>
                  <a:lnTo>
                    <a:pt x="564" y="135"/>
                  </a:lnTo>
                  <a:lnTo>
                    <a:pt x="568" y="134"/>
                  </a:lnTo>
                  <a:lnTo>
                    <a:pt x="572" y="134"/>
                  </a:lnTo>
                  <a:lnTo>
                    <a:pt x="577" y="140"/>
                  </a:lnTo>
                  <a:lnTo>
                    <a:pt x="583" y="140"/>
                  </a:lnTo>
                  <a:lnTo>
                    <a:pt x="583" y="141"/>
                  </a:lnTo>
                  <a:lnTo>
                    <a:pt x="581" y="148"/>
                  </a:lnTo>
                  <a:lnTo>
                    <a:pt x="589" y="142"/>
                  </a:lnTo>
                  <a:lnTo>
                    <a:pt x="587" y="159"/>
                  </a:lnTo>
                  <a:lnTo>
                    <a:pt x="589" y="162"/>
                  </a:lnTo>
                  <a:lnTo>
                    <a:pt x="589" y="163"/>
                  </a:lnTo>
                  <a:lnTo>
                    <a:pt x="584" y="166"/>
                  </a:lnTo>
                  <a:lnTo>
                    <a:pt x="589" y="168"/>
                  </a:lnTo>
                  <a:lnTo>
                    <a:pt x="589" y="174"/>
                  </a:lnTo>
                  <a:lnTo>
                    <a:pt x="595" y="171"/>
                  </a:lnTo>
                  <a:lnTo>
                    <a:pt x="596" y="171"/>
                  </a:lnTo>
                  <a:lnTo>
                    <a:pt x="596" y="166"/>
                  </a:lnTo>
                  <a:lnTo>
                    <a:pt x="593" y="160"/>
                  </a:lnTo>
                  <a:lnTo>
                    <a:pt x="595" y="151"/>
                  </a:lnTo>
                  <a:lnTo>
                    <a:pt x="593" y="148"/>
                  </a:lnTo>
                  <a:lnTo>
                    <a:pt x="593" y="147"/>
                  </a:lnTo>
                  <a:lnTo>
                    <a:pt x="599" y="147"/>
                  </a:lnTo>
                  <a:lnTo>
                    <a:pt x="602" y="148"/>
                  </a:lnTo>
                  <a:lnTo>
                    <a:pt x="605" y="148"/>
                  </a:lnTo>
                  <a:lnTo>
                    <a:pt x="620" y="131"/>
                  </a:lnTo>
                  <a:lnTo>
                    <a:pt x="617" y="120"/>
                  </a:lnTo>
                  <a:lnTo>
                    <a:pt x="614" y="125"/>
                  </a:lnTo>
                  <a:lnTo>
                    <a:pt x="610" y="125"/>
                  </a:lnTo>
                  <a:lnTo>
                    <a:pt x="608" y="126"/>
                  </a:lnTo>
                  <a:lnTo>
                    <a:pt x="605" y="126"/>
                  </a:lnTo>
                  <a:lnTo>
                    <a:pt x="605" y="125"/>
                  </a:lnTo>
                  <a:lnTo>
                    <a:pt x="613" y="102"/>
                  </a:lnTo>
                  <a:lnTo>
                    <a:pt x="617" y="100"/>
                  </a:lnTo>
                  <a:lnTo>
                    <a:pt x="617" y="98"/>
                  </a:lnTo>
                  <a:lnTo>
                    <a:pt x="610" y="101"/>
                  </a:lnTo>
                  <a:lnTo>
                    <a:pt x="608" y="101"/>
                  </a:lnTo>
                  <a:lnTo>
                    <a:pt x="580" y="76"/>
                  </a:lnTo>
                  <a:lnTo>
                    <a:pt x="580" y="64"/>
                  </a:lnTo>
                  <a:lnTo>
                    <a:pt x="587" y="54"/>
                  </a:lnTo>
                  <a:lnTo>
                    <a:pt x="583" y="48"/>
                  </a:lnTo>
                  <a:lnTo>
                    <a:pt x="581" y="48"/>
                  </a:lnTo>
                  <a:lnTo>
                    <a:pt x="583" y="28"/>
                  </a:lnTo>
                  <a:lnTo>
                    <a:pt x="589" y="24"/>
                  </a:lnTo>
                  <a:lnTo>
                    <a:pt x="590" y="24"/>
                  </a:lnTo>
                  <a:lnTo>
                    <a:pt x="593" y="27"/>
                  </a:lnTo>
                  <a:lnTo>
                    <a:pt x="595" y="21"/>
                  </a:lnTo>
                  <a:lnTo>
                    <a:pt x="590" y="16"/>
                  </a:lnTo>
                  <a:lnTo>
                    <a:pt x="590" y="15"/>
                  </a:lnTo>
                  <a:lnTo>
                    <a:pt x="60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2" name="Alaska - Mainland">
              <a:extLst>
                <a:ext uri="{FF2B5EF4-FFF2-40B4-BE49-F238E27FC236}">
                  <a16:creationId xmlns:a16="http://schemas.microsoft.com/office/drawing/2014/main" id="{CE4C52AA-CC53-3358-8765-27791B42F162}"/>
                </a:ext>
              </a:extLst>
            </p:cNvPr>
            <p:cNvSpPr>
              <a:spLocks noEditPoints="1"/>
            </p:cNvSpPr>
            <p:nvPr/>
          </p:nvSpPr>
          <p:spPr bwMode="auto">
            <a:xfrm>
              <a:off x="1857537" y="2153295"/>
              <a:ext cx="899916" cy="892689"/>
            </a:xfrm>
            <a:custGeom>
              <a:avLst/>
              <a:gdLst>
                <a:gd name="T0" fmla="*/ 234 w 498"/>
                <a:gd name="T1" fmla="*/ 318 h 494"/>
                <a:gd name="T2" fmla="*/ 166 w 498"/>
                <a:gd name="T3" fmla="*/ 8 h 494"/>
                <a:gd name="T4" fmla="*/ 196 w 498"/>
                <a:gd name="T5" fmla="*/ 17 h 494"/>
                <a:gd name="T6" fmla="*/ 212 w 498"/>
                <a:gd name="T7" fmla="*/ 30 h 494"/>
                <a:gd name="T8" fmla="*/ 308 w 498"/>
                <a:gd name="T9" fmla="*/ 52 h 494"/>
                <a:gd name="T10" fmla="*/ 356 w 498"/>
                <a:gd name="T11" fmla="*/ 358 h 494"/>
                <a:gd name="T12" fmla="*/ 393 w 498"/>
                <a:gd name="T13" fmla="*/ 375 h 494"/>
                <a:gd name="T14" fmla="*/ 415 w 498"/>
                <a:gd name="T15" fmla="*/ 377 h 494"/>
                <a:gd name="T16" fmla="*/ 498 w 498"/>
                <a:gd name="T17" fmla="*/ 488 h 494"/>
                <a:gd name="T18" fmla="*/ 483 w 498"/>
                <a:gd name="T19" fmla="*/ 463 h 494"/>
                <a:gd name="T20" fmla="*/ 476 w 498"/>
                <a:gd name="T21" fmla="*/ 460 h 494"/>
                <a:gd name="T22" fmla="*/ 461 w 498"/>
                <a:gd name="T23" fmla="*/ 441 h 494"/>
                <a:gd name="T24" fmla="*/ 454 w 498"/>
                <a:gd name="T25" fmla="*/ 427 h 494"/>
                <a:gd name="T26" fmla="*/ 448 w 498"/>
                <a:gd name="T27" fmla="*/ 417 h 494"/>
                <a:gd name="T28" fmla="*/ 433 w 498"/>
                <a:gd name="T29" fmla="*/ 405 h 494"/>
                <a:gd name="T30" fmla="*/ 420 w 498"/>
                <a:gd name="T31" fmla="*/ 407 h 494"/>
                <a:gd name="T32" fmla="*/ 411 w 498"/>
                <a:gd name="T33" fmla="*/ 411 h 494"/>
                <a:gd name="T34" fmla="*/ 369 w 498"/>
                <a:gd name="T35" fmla="*/ 378 h 494"/>
                <a:gd name="T36" fmla="*/ 359 w 498"/>
                <a:gd name="T37" fmla="*/ 374 h 494"/>
                <a:gd name="T38" fmla="*/ 302 w 498"/>
                <a:gd name="T39" fmla="*/ 355 h 494"/>
                <a:gd name="T40" fmla="*/ 279 w 498"/>
                <a:gd name="T41" fmla="*/ 346 h 494"/>
                <a:gd name="T42" fmla="*/ 267 w 498"/>
                <a:gd name="T43" fmla="*/ 341 h 494"/>
                <a:gd name="T44" fmla="*/ 257 w 498"/>
                <a:gd name="T45" fmla="*/ 353 h 494"/>
                <a:gd name="T46" fmla="*/ 240 w 498"/>
                <a:gd name="T47" fmla="*/ 375 h 494"/>
                <a:gd name="T48" fmla="*/ 214 w 498"/>
                <a:gd name="T49" fmla="*/ 389 h 494"/>
                <a:gd name="T50" fmla="*/ 216 w 498"/>
                <a:gd name="T51" fmla="*/ 377 h 494"/>
                <a:gd name="T52" fmla="*/ 243 w 498"/>
                <a:gd name="T53" fmla="*/ 341 h 494"/>
                <a:gd name="T54" fmla="*/ 214 w 498"/>
                <a:gd name="T55" fmla="*/ 343 h 494"/>
                <a:gd name="T56" fmla="*/ 188 w 498"/>
                <a:gd name="T57" fmla="*/ 390 h 494"/>
                <a:gd name="T58" fmla="*/ 182 w 498"/>
                <a:gd name="T59" fmla="*/ 413 h 494"/>
                <a:gd name="T60" fmla="*/ 153 w 498"/>
                <a:gd name="T61" fmla="*/ 439 h 494"/>
                <a:gd name="T62" fmla="*/ 133 w 498"/>
                <a:gd name="T63" fmla="*/ 454 h 494"/>
                <a:gd name="T64" fmla="*/ 110 w 498"/>
                <a:gd name="T65" fmla="*/ 475 h 494"/>
                <a:gd name="T66" fmla="*/ 73 w 498"/>
                <a:gd name="T67" fmla="*/ 485 h 494"/>
                <a:gd name="T68" fmla="*/ 59 w 498"/>
                <a:gd name="T69" fmla="*/ 484 h 494"/>
                <a:gd name="T70" fmla="*/ 99 w 498"/>
                <a:gd name="T71" fmla="*/ 460 h 494"/>
                <a:gd name="T72" fmla="*/ 138 w 498"/>
                <a:gd name="T73" fmla="*/ 410 h 494"/>
                <a:gd name="T74" fmla="*/ 125 w 498"/>
                <a:gd name="T75" fmla="*/ 396 h 494"/>
                <a:gd name="T76" fmla="*/ 119 w 498"/>
                <a:gd name="T77" fmla="*/ 407 h 494"/>
                <a:gd name="T78" fmla="*/ 77 w 498"/>
                <a:gd name="T79" fmla="*/ 401 h 494"/>
                <a:gd name="T80" fmla="*/ 79 w 498"/>
                <a:gd name="T81" fmla="*/ 386 h 494"/>
                <a:gd name="T82" fmla="*/ 67 w 498"/>
                <a:gd name="T83" fmla="*/ 375 h 494"/>
                <a:gd name="T84" fmla="*/ 49 w 498"/>
                <a:gd name="T85" fmla="*/ 367 h 494"/>
                <a:gd name="T86" fmla="*/ 43 w 498"/>
                <a:gd name="T87" fmla="*/ 338 h 494"/>
                <a:gd name="T88" fmla="*/ 28 w 498"/>
                <a:gd name="T89" fmla="*/ 328 h 494"/>
                <a:gd name="T90" fmla="*/ 30 w 498"/>
                <a:gd name="T91" fmla="*/ 315 h 494"/>
                <a:gd name="T92" fmla="*/ 77 w 498"/>
                <a:gd name="T93" fmla="*/ 269 h 494"/>
                <a:gd name="T94" fmla="*/ 71 w 498"/>
                <a:gd name="T95" fmla="*/ 248 h 494"/>
                <a:gd name="T96" fmla="*/ 27 w 498"/>
                <a:gd name="T97" fmla="*/ 238 h 494"/>
                <a:gd name="T98" fmla="*/ 33 w 498"/>
                <a:gd name="T99" fmla="*/ 189 h 494"/>
                <a:gd name="T100" fmla="*/ 58 w 498"/>
                <a:gd name="T101" fmla="*/ 184 h 494"/>
                <a:gd name="T102" fmla="*/ 82 w 498"/>
                <a:gd name="T103" fmla="*/ 178 h 494"/>
                <a:gd name="T104" fmla="*/ 90 w 498"/>
                <a:gd name="T105" fmla="*/ 171 h 494"/>
                <a:gd name="T106" fmla="*/ 80 w 498"/>
                <a:gd name="T107" fmla="*/ 160 h 494"/>
                <a:gd name="T108" fmla="*/ 55 w 498"/>
                <a:gd name="T109" fmla="*/ 143 h 494"/>
                <a:gd name="T110" fmla="*/ 55 w 498"/>
                <a:gd name="T111" fmla="*/ 91 h 494"/>
                <a:gd name="T112" fmla="*/ 68 w 498"/>
                <a:gd name="T113" fmla="*/ 63 h 494"/>
                <a:gd name="T114" fmla="*/ 80 w 498"/>
                <a:gd name="T115" fmla="*/ 42 h 494"/>
                <a:gd name="T116" fmla="*/ 105 w 498"/>
                <a:gd name="T117" fmla="*/ 40 h 494"/>
                <a:gd name="T118" fmla="*/ 120 w 498"/>
                <a:gd name="T119" fmla="*/ 1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8" h="494">
                  <a:moveTo>
                    <a:pt x="375" y="368"/>
                  </a:moveTo>
                  <a:lnTo>
                    <a:pt x="377" y="371"/>
                  </a:lnTo>
                  <a:lnTo>
                    <a:pt x="378" y="370"/>
                  </a:lnTo>
                  <a:lnTo>
                    <a:pt x="375" y="368"/>
                  </a:lnTo>
                  <a:close/>
                  <a:moveTo>
                    <a:pt x="233" y="310"/>
                  </a:moveTo>
                  <a:lnTo>
                    <a:pt x="228" y="330"/>
                  </a:lnTo>
                  <a:lnTo>
                    <a:pt x="234" y="318"/>
                  </a:lnTo>
                  <a:lnTo>
                    <a:pt x="233" y="310"/>
                  </a:lnTo>
                  <a:close/>
                  <a:moveTo>
                    <a:pt x="89" y="184"/>
                  </a:moveTo>
                  <a:lnTo>
                    <a:pt x="92" y="187"/>
                  </a:lnTo>
                  <a:lnTo>
                    <a:pt x="93" y="186"/>
                  </a:lnTo>
                  <a:lnTo>
                    <a:pt x="89" y="184"/>
                  </a:lnTo>
                  <a:close/>
                  <a:moveTo>
                    <a:pt x="150" y="0"/>
                  </a:moveTo>
                  <a:lnTo>
                    <a:pt x="166" y="8"/>
                  </a:lnTo>
                  <a:lnTo>
                    <a:pt x="166" y="9"/>
                  </a:lnTo>
                  <a:lnTo>
                    <a:pt x="157" y="20"/>
                  </a:lnTo>
                  <a:lnTo>
                    <a:pt x="168" y="24"/>
                  </a:lnTo>
                  <a:lnTo>
                    <a:pt x="166" y="14"/>
                  </a:lnTo>
                  <a:lnTo>
                    <a:pt x="172" y="9"/>
                  </a:lnTo>
                  <a:lnTo>
                    <a:pt x="182" y="21"/>
                  </a:lnTo>
                  <a:lnTo>
                    <a:pt x="196" y="17"/>
                  </a:lnTo>
                  <a:lnTo>
                    <a:pt x="200" y="23"/>
                  </a:lnTo>
                  <a:lnTo>
                    <a:pt x="203" y="23"/>
                  </a:lnTo>
                  <a:lnTo>
                    <a:pt x="206" y="21"/>
                  </a:lnTo>
                  <a:lnTo>
                    <a:pt x="211" y="21"/>
                  </a:lnTo>
                  <a:lnTo>
                    <a:pt x="211" y="23"/>
                  </a:lnTo>
                  <a:lnTo>
                    <a:pt x="209" y="29"/>
                  </a:lnTo>
                  <a:lnTo>
                    <a:pt x="212" y="30"/>
                  </a:lnTo>
                  <a:lnTo>
                    <a:pt x="218" y="32"/>
                  </a:lnTo>
                  <a:lnTo>
                    <a:pt x="218" y="33"/>
                  </a:lnTo>
                  <a:lnTo>
                    <a:pt x="216" y="34"/>
                  </a:lnTo>
                  <a:lnTo>
                    <a:pt x="246" y="34"/>
                  </a:lnTo>
                  <a:lnTo>
                    <a:pt x="299" y="54"/>
                  </a:lnTo>
                  <a:lnTo>
                    <a:pt x="302" y="54"/>
                  </a:lnTo>
                  <a:lnTo>
                    <a:pt x="308" y="52"/>
                  </a:lnTo>
                  <a:lnTo>
                    <a:pt x="317" y="49"/>
                  </a:lnTo>
                  <a:lnTo>
                    <a:pt x="323" y="48"/>
                  </a:lnTo>
                  <a:lnTo>
                    <a:pt x="326" y="48"/>
                  </a:lnTo>
                  <a:lnTo>
                    <a:pt x="351" y="66"/>
                  </a:lnTo>
                  <a:lnTo>
                    <a:pt x="354" y="63"/>
                  </a:lnTo>
                  <a:lnTo>
                    <a:pt x="356" y="63"/>
                  </a:lnTo>
                  <a:lnTo>
                    <a:pt x="356" y="358"/>
                  </a:lnTo>
                  <a:lnTo>
                    <a:pt x="368" y="361"/>
                  </a:lnTo>
                  <a:lnTo>
                    <a:pt x="378" y="358"/>
                  </a:lnTo>
                  <a:lnTo>
                    <a:pt x="380" y="358"/>
                  </a:lnTo>
                  <a:lnTo>
                    <a:pt x="378" y="365"/>
                  </a:lnTo>
                  <a:lnTo>
                    <a:pt x="393" y="380"/>
                  </a:lnTo>
                  <a:lnTo>
                    <a:pt x="394" y="378"/>
                  </a:lnTo>
                  <a:lnTo>
                    <a:pt x="393" y="375"/>
                  </a:lnTo>
                  <a:lnTo>
                    <a:pt x="394" y="375"/>
                  </a:lnTo>
                  <a:lnTo>
                    <a:pt x="396" y="378"/>
                  </a:lnTo>
                  <a:lnTo>
                    <a:pt x="394" y="381"/>
                  </a:lnTo>
                  <a:lnTo>
                    <a:pt x="397" y="386"/>
                  </a:lnTo>
                  <a:lnTo>
                    <a:pt x="400" y="393"/>
                  </a:lnTo>
                  <a:lnTo>
                    <a:pt x="411" y="387"/>
                  </a:lnTo>
                  <a:lnTo>
                    <a:pt x="415" y="377"/>
                  </a:lnTo>
                  <a:lnTo>
                    <a:pt x="427" y="371"/>
                  </a:lnTo>
                  <a:lnTo>
                    <a:pt x="428" y="371"/>
                  </a:lnTo>
                  <a:lnTo>
                    <a:pt x="442" y="395"/>
                  </a:lnTo>
                  <a:lnTo>
                    <a:pt x="449" y="401"/>
                  </a:lnTo>
                  <a:lnTo>
                    <a:pt x="474" y="450"/>
                  </a:lnTo>
                  <a:lnTo>
                    <a:pt x="498" y="464"/>
                  </a:lnTo>
                  <a:lnTo>
                    <a:pt x="498" y="488"/>
                  </a:lnTo>
                  <a:lnTo>
                    <a:pt x="488" y="494"/>
                  </a:lnTo>
                  <a:lnTo>
                    <a:pt x="486" y="494"/>
                  </a:lnTo>
                  <a:lnTo>
                    <a:pt x="486" y="487"/>
                  </a:lnTo>
                  <a:lnTo>
                    <a:pt x="491" y="484"/>
                  </a:lnTo>
                  <a:lnTo>
                    <a:pt x="489" y="481"/>
                  </a:lnTo>
                  <a:lnTo>
                    <a:pt x="486" y="481"/>
                  </a:lnTo>
                  <a:lnTo>
                    <a:pt x="483" y="463"/>
                  </a:lnTo>
                  <a:lnTo>
                    <a:pt x="476" y="467"/>
                  </a:lnTo>
                  <a:lnTo>
                    <a:pt x="471" y="475"/>
                  </a:lnTo>
                  <a:lnTo>
                    <a:pt x="470" y="475"/>
                  </a:lnTo>
                  <a:lnTo>
                    <a:pt x="468" y="472"/>
                  </a:lnTo>
                  <a:lnTo>
                    <a:pt x="468" y="470"/>
                  </a:lnTo>
                  <a:lnTo>
                    <a:pt x="473" y="460"/>
                  </a:lnTo>
                  <a:lnTo>
                    <a:pt x="476" y="460"/>
                  </a:lnTo>
                  <a:lnTo>
                    <a:pt x="470" y="456"/>
                  </a:lnTo>
                  <a:lnTo>
                    <a:pt x="467" y="448"/>
                  </a:lnTo>
                  <a:lnTo>
                    <a:pt x="461" y="444"/>
                  </a:lnTo>
                  <a:lnTo>
                    <a:pt x="458" y="441"/>
                  </a:lnTo>
                  <a:lnTo>
                    <a:pt x="458" y="439"/>
                  </a:lnTo>
                  <a:lnTo>
                    <a:pt x="460" y="439"/>
                  </a:lnTo>
                  <a:lnTo>
                    <a:pt x="461" y="441"/>
                  </a:lnTo>
                  <a:lnTo>
                    <a:pt x="461" y="439"/>
                  </a:lnTo>
                  <a:lnTo>
                    <a:pt x="454" y="438"/>
                  </a:lnTo>
                  <a:lnTo>
                    <a:pt x="452" y="436"/>
                  </a:lnTo>
                  <a:lnTo>
                    <a:pt x="454" y="436"/>
                  </a:lnTo>
                  <a:lnTo>
                    <a:pt x="455" y="433"/>
                  </a:lnTo>
                  <a:lnTo>
                    <a:pt x="454" y="433"/>
                  </a:lnTo>
                  <a:lnTo>
                    <a:pt x="454" y="427"/>
                  </a:lnTo>
                  <a:lnTo>
                    <a:pt x="451" y="427"/>
                  </a:lnTo>
                  <a:lnTo>
                    <a:pt x="451" y="423"/>
                  </a:lnTo>
                  <a:lnTo>
                    <a:pt x="452" y="423"/>
                  </a:lnTo>
                  <a:lnTo>
                    <a:pt x="457" y="426"/>
                  </a:lnTo>
                  <a:lnTo>
                    <a:pt x="452" y="421"/>
                  </a:lnTo>
                  <a:lnTo>
                    <a:pt x="449" y="421"/>
                  </a:lnTo>
                  <a:lnTo>
                    <a:pt x="448" y="417"/>
                  </a:lnTo>
                  <a:lnTo>
                    <a:pt x="446" y="417"/>
                  </a:lnTo>
                  <a:lnTo>
                    <a:pt x="443" y="411"/>
                  </a:lnTo>
                  <a:lnTo>
                    <a:pt x="436" y="408"/>
                  </a:lnTo>
                  <a:lnTo>
                    <a:pt x="436" y="407"/>
                  </a:lnTo>
                  <a:lnTo>
                    <a:pt x="427" y="384"/>
                  </a:lnTo>
                  <a:lnTo>
                    <a:pt x="427" y="387"/>
                  </a:lnTo>
                  <a:lnTo>
                    <a:pt x="433" y="405"/>
                  </a:lnTo>
                  <a:lnTo>
                    <a:pt x="431" y="410"/>
                  </a:lnTo>
                  <a:lnTo>
                    <a:pt x="431" y="411"/>
                  </a:lnTo>
                  <a:lnTo>
                    <a:pt x="427" y="411"/>
                  </a:lnTo>
                  <a:lnTo>
                    <a:pt x="425" y="405"/>
                  </a:lnTo>
                  <a:lnTo>
                    <a:pt x="421" y="408"/>
                  </a:lnTo>
                  <a:lnTo>
                    <a:pt x="421" y="407"/>
                  </a:lnTo>
                  <a:lnTo>
                    <a:pt x="420" y="407"/>
                  </a:lnTo>
                  <a:lnTo>
                    <a:pt x="421" y="402"/>
                  </a:lnTo>
                  <a:lnTo>
                    <a:pt x="418" y="395"/>
                  </a:lnTo>
                  <a:lnTo>
                    <a:pt x="417" y="398"/>
                  </a:lnTo>
                  <a:lnTo>
                    <a:pt x="408" y="393"/>
                  </a:lnTo>
                  <a:lnTo>
                    <a:pt x="418" y="404"/>
                  </a:lnTo>
                  <a:lnTo>
                    <a:pt x="418" y="408"/>
                  </a:lnTo>
                  <a:lnTo>
                    <a:pt x="411" y="411"/>
                  </a:lnTo>
                  <a:lnTo>
                    <a:pt x="397" y="402"/>
                  </a:lnTo>
                  <a:lnTo>
                    <a:pt x="399" y="399"/>
                  </a:lnTo>
                  <a:lnTo>
                    <a:pt x="391" y="392"/>
                  </a:lnTo>
                  <a:lnTo>
                    <a:pt x="390" y="392"/>
                  </a:lnTo>
                  <a:lnTo>
                    <a:pt x="390" y="384"/>
                  </a:lnTo>
                  <a:lnTo>
                    <a:pt x="385" y="389"/>
                  </a:lnTo>
                  <a:lnTo>
                    <a:pt x="369" y="378"/>
                  </a:lnTo>
                  <a:lnTo>
                    <a:pt x="369" y="377"/>
                  </a:lnTo>
                  <a:lnTo>
                    <a:pt x="372" y="375"/>
                  </a:lnTo>
                  <a:lnTo>
                    <a:pt x="374" y="367"/>
                  </a:lnTo>
                  <a:lnTo>
                    <a:pt x="372" y="365"/>
                  </a:lnTo>
                  <a:lnTo>
                    <a:pt x="369" y="371"/>
                  </a:lnTo>
                  <a:lnTo>
                    <a:pt x="368" y="371"/>
                  </a:lnTo>
                  <a:lnTo>
                    <a:pt x="359" y="374"/>
                  </a:lnTo>
                  <a:lnTo>
                    <a:pt x="350" y="370"/>
                  </a:lnTo>
                  <a:lnTo>
                    <a:pt x="348" y="370"/>
                  </a:lnTo>
                  <a:lnTo>
                    <a:pt x="348" y="365"/>
                  </a:lnTo>
                  <a:lnTo>
                    <a:pt x="337" y="365"/>
                  </a:lnTo>
                  <a:lnTo>
                    <a:pt x="326" y="367"/>
                  </a:lnTo>
                  <a:lnTo>
                    <a:pt x="314" y="367"/>
                  </a:lnTo>
                  <a:lnTo>
                    <a:pt x="302" y="355"/>
                  </a:lnTo>
                  <a:lnTo>
                    <a:pt x="298" y="358"/>
                  </a:lnTo>
                  <a:lnTo>
                    <a:pt x="291" y="352"/>
                  </a:lnTo>
                  <a:lnTo>
                    <a:pt x="291" y="349"/>
                  </a:lnTo>
                  <a:lnTo>
                    <a:pt x="283" y="349"/>
                  </a:lnTo>
                  <a:lnTo>
                    <a:pt x="286" y="346"/>
                  </a:lnTo>
                  <a:lnTo>
                    <a:pt x="279" y="347"/>
                  </a:lnTo>
                  <a:lnTo>
                    <a:pt x="279" y="346"/>
                  </a:lnTo>
                  <a:lnTo>
                    <a:pt x="282" y="344"/>
                  </a:lnTo>
                  <a:lnTo>
                    <a:pt x="279" y="344"/>
                  </a:lnTo>
                  <a:lnTo>
                    <a:pt x="280" y="338"/>
                  </a:lnTo>
                  <a:lnTo>
                    <a:pt x="270" y="341"/>
                  </a:lnTo>
                  <a:lnTo>
                    <a:pt x="268" y="341"/>
                  </a:lnTo>
                  <a:lnTo>
                    <a:pt x="267" y="338"/>
                  </a:lnTo>
                  <a:lnTo>
                    <a:pt x="267" y="341"/>
                  </a:lnTo>
                  <a:lnTo>
                    <a:pt x="264" y="343"/>
                  </a:lnTo>
                  <a:lnTo>
                    <a:pt x="262" y="343"/>
                  </a:lnTo>
                  <a:lnTo>
                    <a:pt x="264" y="335"/>
                  </a:lnTo>
                  <a:lnTo>
                    <a:pt x="255" y="344"/>
                  </a:lnTo>
                  <a:lnTo>
                    <a:pt x="259" y="346"/>
                  </a:lnTo>
                  <a:lnTo>
                    <a:pt x="259" y="347"/>
                  </a:lnTo>
                  <a:lnTo>
                    <a:pt x="257" y="353"/>
                  </a:lnTo>
                  <a:lnTo>
                    <a:pt x="262" y="352"/>
                  </a:lnTo>
                  <a:lnTo>
                    <a:pt x="257" y="367"/>
                  </a:lnTo>
                  <a:lnTo>
                    <a:pt x="255" y="367"/>
                  </a:lnTo>
                  <a:lnTo>
                    <a:pt x="245" y="365"/>
                  </a:lnTo>
                  <a:lnTo>
                    <a:pt x="242" y="374"/>
                  </a:lnTo>
                  <a:lnTo>
                    <a:pt x="240" y="374"/>
                  </a:lnTo>
                  <a:lnTo>
                    <a:pt x="240" y="375"/>
                  </a:lnTo>
                  <a:lnTo>
                    <a:pt x="236" y="375"/>
                  </a:lnTo>
                  <a:lnTo>
                    <a:pt x="233" y="383"/>
                  </a:lnTo>
                  <a:lnTo>
                    <a:pt x="231" y="383"/>
                  </a:lnTo>
                  <a:lnTo>
                    <a:pt x="231" y="378"/>
                  </a:lnTo>
                  <a:lnTo>
                    <a:pt x="224" y="386"/>
                  </a:lnTo>
                  <a:lnTo>
                    <a:pt x="215" y="389"/>
                  </a:lnTo>
                  <a:lnTo>
                    <a:pt x="214" y="389"/>
                  </a:lnTo>
                  <a:lnTo>
                    <a:pt x="214" y="387"/>
                  </a:lnTo>
                  <a:lnTo>
                    <a:pt x="211" y="386"/>
                  </a:lnTo>
                  <a:lnTo>
                    <a:pt x="211" y="384"/>
                  </a:lnTo>
                  <a:lnTo>
                    <a:pt x="212" y="380"/>
                  </a:lnTo>
                  <a:lnTo>
                    <a:pt x="218" y="380"/>
                  </a:lnTo>
                  <a:lnTo>
                    <a:pt x="222" y="374"/>
                  </a:lnTo>
                  <a:lnTo>
                    <a:pt x="216" y="377"/>
                  </a:lnTo>
                  <a:lnTo>
                    <a:pt x="216" y="375"/>
                  </a:lnTo>
                  <a:lnTo>
                    <a:pt x="212" y="374"/>
                  </a:lnTo>
                  <a:lnTo>
                    <a:pt x="212" y="373"/>
                  </a:lnTo>
                  <a:lnTo>
                    <a:pt x="218" y="358"/>
                  </a:lnTo>
                  <a:lnTo>
                    <a:pt x="219" y="346"/>
                  </a:lnTo>
                  <a:lnTo>
                    <a:pt x="231" y="340"/>
                  </a:lnTo>
                  <a:lnTo>
                    <a:pt x="243" y="341"/>
                  </a:lnTo>
                  <a:lnTo>
                    <a:pt x="236" y="338"/>
                  </a:lnTo>
                  <a:lnTo>
                    <a:pt x="236" y="337"/>
                  </a:lnTo>
                  <a:lnTo>
                    <a:pt x="242" y="330"/>
                  </a:lnTo>
                  <a:lnTo>
                    <a:pt x="236" y="334"/>
                  </a:lnTo>
                  <a:lnTo>
                    <a:pt x="234" y="334"/>
                  </a:lnTo>
                  <a:lnTo>
                    <a:pt x="228" y="332"/>
                  </a:lnTo>
                  <a:lnTo>
                    <a:pt x="214" y="343"/>
                  </a:lnTo>
                  <a:lnTo>
                    <a:pt x="203" y="361"/>
                  </a:lnTo>
                  <a:lnTo>
                    <a:pt x="202" y="361"/>
                  </a:lnTo>
                  <a:lnTo>
                    <a:pt x="197" y="359"/>
                  </a:lnTo>
                  <a:lnTo>
                    <a:pt x="202" y="367"/>
                  </a:lnTo>
                  <a:lnTo>
                    <a:pt x="184" y="381"/>
                  </a:lnTo>
                  <a:lnTo>
                    <a:pt x="182" y="389"/>
                  </a:lnTo>
                  <a:lnTo>
                    <a:pt x="188" y="390"/>
                  </a:lnTo>
                  <a:lnTo>
                    <a:pt x="193" y="395"/>
                  </a:lnTo>
                  <a:lnTo>
                    <a:pt x="193" y="396"/>
                  </a:lnTo>
                  <a:lnTo>
                    <a:pt x="184" y="405"/>
                  </a:lnTo>
                  <a:lnTo>
                    <a:pt x="182" y="408"/>
                  </a:lnTo>
                  <a:lnTo>
                    <a:pt x="184" y="411"/>
                  </a:lnTo>
                  <a:lnTo>
                    <a:pt x="184" y="413"/>
                  </a:lnTo>
                  <a:lnTo>
                    <a:pt x="182" y="413"/>
                  </a:lnTo>
                  <a:lnTo>
                    <a:pt x="171" y="417"/>
                  </a:lnTo>
                  <a:lnTo>
                    <a:pt x="166" y="424"/>
                  </a:lnTo>
                  <a:lnTo>
                    <a:pt x="163" y="423"/>
                  </a:lnTo>
                  <a:lnTo>
                    <a:pt x="162" y="427"/>
                  </a:lnTo>
                  <a:lnTo>
                    <a:pt x="153" y="433"/>
                  </a:lnTo>
                  <a:lnTo>
                    <a:pt x="154" y="433"/>
                  </a:lnTo>
                  <a:lnTo>
                    <a:pt x="153" y="439"/>
                  </a:lnTo>
                  <a:lnTo>
                    <a:pt x="139" y="445"/>
                  </a:lnTo>
                  <a:lnTo>
                    <a:pt x="139" y="451"/>
                  </a:lnTo>
                  <a:lnTo>
                    <a:pt x="133" y="451"/>
                  </a:lnTo>
                  <a:lnTo>
                    <a:pt x="133" y="453"/>
                  </a:lnTo>
                  <a:lnTo>
                    <a:pt x="135" y="453"/>
                  </a:lnTo>
                  <a:lnTo>
                    <a:pt x="135" y="454"/>
                  </a:lnTo>
                  <a:lnTo>
                    <a:pt x="133" y="454"/>
                  </a:lnTo>
                  <a:lnTo>
                    <a:pt x="123" y="457"/>
                  </a:lnTo>
                  <a:lnTo>
                    <a:pt x="120" y="456"/>
                  </a:lnTo>
                  <a:lnTo>
                    <a:pt x="125" y="463"/>
                  </a:lnTo>
                  <a:lnTo>
                    <a:pt x="125" y="464"/>
                  </a:lnTo>
                  <a:lnTo>
                    <a:pt x="114" y="467"/>
                  </a:lnTo>
                  <a:lnTo>
                    <a:pt x="111" y="475"/>
                  </a:lnTo>
                  <a:lnTo>
                    <a:pt x="110" y="475"/>
                  </a:lnTo>
                  <a:lnTo>
                    <a:pt x="107" y="469"/>
                  </a:lnTo>
                  <a:lnTo>
                    <a:pt x="88" y="479"/>
                  </a:lnTo>
                  <a:lnTo>
                    <a:pt x="86" y="479"/>
                  </a:lnTo>
                  <a:lnTo>
                    <a:pt x="86" y="473"/>
                  </a:lnTo>
                  <a:lnTo>
                    <a:pt x="80" y="485"/>
                  </a:lnTo>
                  <a:lnTo>
                    <a:pt x="74" y="487"/>
                  </a:lnTo>
                  <a:lnTo>
                    <a:pt x="73" y="485"/>
                  </a:lnTo>
                  <a:lnTo>
                    <a:pt x="73" y="487"/>
                  </a:lnTo>
                  <a:lnTo>
                    <a:pt x="65" y="485"/>
                  </a:lnTo>
                  <a:lnTo>
                    <a:pt x="64" y="490"/>
                  </a:lnTo>
                  <a:lnTo>
                    <a:pt x="64" y="491"/>
                  </a:lnTo>
                  <a:lnTo>
                    <a:pt x="62" y="491"/>
                  </a:lnTo>
                  <a:lnTo>
                    <a:pt x="59" y="485"/>
                  </a:lnTo>
                  <a:lnTo>
                    <a:pt x="59" y="484"/>
                  </a:lnTo>
                  <a:lnTo>
                    <a:pt x="61" y="484"/>
                  </a:lnTo>
                  <a:lnTo>
                    <a:pt x="62" y="482"/>
                  </a:lnTo>
                  <a:lnTo>
                    <a:pt x="89" y="463"/>
                  </a:lnTo>
                  <a:lnTo>
                    <a:pt x="98" y="466"/>
                  </a:lnTo>
                  <a:lnTo>
                    <a:pt x="98" y="464"/>
                  </a:lnTo>
                  <a:lnTo>
                    <a:pt x="99" y="463"/>
                  </a:lnTo>
                  <a:lnTo>
                    <a:pt x="99" y="460"/>
                  </a:lnTo>
                  <a:lnTo>
                    <a:pt x="102" y="457"/>
                  </a:lnTo>
                  <a:lnTo>
                    <a:pt x="102" y="454"/>
                  </a:lnTo>
                  <a:lnTo>
                    <a:pt x="123" y="444"/>
                  </a:lnTo>
                  <a:lnTo>
                    <a:pt x="125" y="438"/>
                  </a:lnTo>
                  <a:lnTo>
                    <a:pt x="132" y="433"/>
                  </a:lnTo>
                  <a:lnTo>
                    <a:pt x="141" y="410"/>
                  </a:lnTo>
                  <a:lnTo>
                    <a:pt x="138" y="410"/>
                  </a:lnTo>
                  <a:lnTo>
                    <a:pt x="138" y="408"/>
                  </a:lnTo>
                  <a:lnTo>
                    <a:pt x="139" y="402"/>
                  </a:lnTo>
                  <a:lnTo>
                    <a:pt x="147" y="392"/>
                  </a:lnTo>
                  <a:lnTo>
                    <a:pt x="132" y="401"/>
                  </a:lnTo>
                  <a:lnTo>
                    <a:pt x="131" y="402"/>
                  </a:lnTo>
                  <a:lnTo>
                    <a:pt x="131" y="401"/>
                  </a:lnTo>
                  <a:lnTo>
                    <a:pt x="125" y="396"/>
                  </a:lnTo>
                  <a:lnTo>
                    <a:pt x="125" y="393"/>
                  </a:lnTo>
                  <a:lnTo>
                    <a:pt x="122" y="398"/>
                  </a:lnTo>
                  <a:lnTo>
                    <a:pt x="123" y="404"/>
                  </a:lnTo>
                  <a:lnTo>
                    <a:pt x="123" y="405"/>
                  </a:lnTo>
                  <a:lnTo>
                    <a:pt x="120" y="407"/>
                  </a:lnTo>
                  <a:lnTo>
                    <a:pt x="120" y="408"/>
                  </a:lnTo>
                  <a:lnTo>
                    <a:pt x="119" y="407"/>
                  </a:lnTo>
                  <a:lnTo>
                    <a:pt x="111" y="395"/>
                  </a:lnTo>
                  <a:lnTo>
                    <a:pt x="102" y="395"/>
                  </a:lnTo>
                  <a:lnTo>
                    <a:pt x="102" y="387"/>
                  </a:lnTo>
                  <a:lnTo>
                    <a:pt x="96" y="393"/>
                  </a:lnTo>
                  <a:lnTo>
                    <a:pt x="79" y="402"/>
                  </a:lnTo>
                  <a:lnTo>
                    <a:pt x="77" y="402"/>
                  </a:lnTo>
                  <a:lnTo>
                    <a:pt x="77" y="401"/>
                  </a:lnTo>
                  <a:lnTo>
                    <a:pt x="85" y="396"/>
                  </a:lnTo>
                  <a:lnTo>
                    <a:pt x="83" y="392"/>
                  </a:lnTo>
                  <a:lnTo>
                    <a:pt x="83" y="390"/>
                  </a:lnTo>
                  <a:lnTo>
                    <a:pt x="85" y="389"/>
                  </a:lnTo>
                  <a:lnTo>
                    <a:pt x="80" y="387"/>
                  </a:lnTo>
                  <a:lnTo>
                    <a:pt x="79" y="387"/>
                  </a:lnTo>
                  <a:lnTo>
                    <a:pt x="79" y="386"/>
                  </a:lnTo>
                  <a:lnTo>
                    <a:pt x="83" y="377"/>
                  </a:lnTo>
                  <a:lnTo>
                    <a:pt x="74" y="358"/>
                  </a:lnTo>
                  <a:lnTo>
                    <a:pt x="83" y="347"/>
                  </a:lnTo>
                  <a:lnTo>
                    <a:pt x="77" y="352"/>
                  </a:lnTo>
                  <a:lnTo>
                    <a:pt x="74" y="358"/>
                  </a:lnTo>
                  <a:lnTo>
                    <a:pt x="76" y="362"/>
                  </a:lnTo>
                  <a:lnTo>
                    <a:pt x="67" y="375"/>
                  </a:lnTo>
                  <a:lnTo>
                    <a:pt x="64" y="375"/>
                  </a:lnTo>
                  <a:lnTo>
                    <a:pt x="59" y="374"/>
                  </a:lnTo>
                  <a:lnTo>
                    <a:pt x="55" y="374"/>
                  </a:lnTo>
                  <a:lnTo>
                    <a:pt x="50" y="368"/>
                  </a:lnTo>
                  <a:lnTo>
                    <a:pt x="52" y="368"/>
                  </a:lnTo>
                  <a:lnTo>
                    <a:pt x="52" y="367"/>
                  </a:lnTo>
                  <a:lnTo>
                    <a:pt x="49" y="367"/>
                  </a:lnTo>
                  <a:lnTo>
                    <a:pt x="48" y="361"/>
                  </a:lnTo>
                  <a:lnTo>
                    <a:pt x="48" y="359"/>
                  </a:lnTo>
                  <a:lnTo>
                    <a:pt x="56" y="344"/>
                  </a:lnTo>
                  <a:lnTo>
                    <a:pt x="48" y="344"/>
                  </a:lnTo>
                  <a:lnTo>
                    <a:pt x="45" y="343"/>
                  </a:lnTo>
                  <a:lnTo>
                    <a:pt x="46" y="338"/>
                  </a:lnTo>
                  <a:lnTo>
                    <a:pt x="43" y="338"/>
                  </a:lnTo>
                  <a:lnTo>
                    <a:pt x="39" y="340"/>
                  </a:lnTo>
                  <a:lnTo>
                    <a:pt x="37" y="340"/>
                  </a:lnTo>
                  <a:lnTo>
                    <a:pt x="34" y="334"/>
                  </a:lnTo>
                  <a:lnTo>
                    <a:pt x="34" y="332"/>
                  </a:lnTo>
                  <a:lnTo>
                    <a:pt x="36" y="330"/>
                  </a:lnTo>
                  <a:lnTo>
                    <a:pt x="28" y="330"/>
                  </a:lnTo>
                  <a:lnTo>
                    <a:pt x="28" y="328"/>
                  </a:lnTo>
                  <a:lnTo>
                    <a:pt x="30" y="328"/>
                  </a:lnTo>
                  <a:lnTo>
                    <a:pt x="34" y="324"/>
                  </a:lnTo>
                  <a:lnTo>
                    <a:pt x="25" y="327"/>
                  </a:lnTo>
                  <a:lnTo>
                    <a:pt x="24" y="327"/>
                  </a:lnTo>
                  <a:lnTo>
                    <a:pt x="27" y="321"/>
                  </a:lnTo>
                  <a:lnTo>
                    <a:pt x="25" y="318"/>
                  </a:lnTo>
                  <a:lnTo>
                    <a:pt x="30" y="315"/>
                  </a:lnTo>
                  <a:lnTo>
                    <a:pt x="34" y="301"/>
                  </a:lnTo>
                  <a:lnTo>
                    <a:pt x="46" y="291"/>
                  </a:lnTo>
                  <a:lnTo>
                    <a:pt x="53" y="291"/>
                  </a:lnTo>
                  <a:lnTo>
                    <a:pt x="53" y="287"/>
                  </a:lnTo>
                  <a:lnTo>
                    <a:pt x="58" y="284"/>
                  </a:lnTo>
                  <a:lnTo>
                    <a:pt x="67" y="282"/>
                  </a:lnTo>
                  <a:lnTo>
                    <a:pt x="77" y="269"/>
                  </a:lnTo>
                  <a:lnTo>
                    <a:pt x="92" y="267"/>
                  </a:lnTo>
                  <a:lnTo>
                    <a:pt x="96" y="258"/>
                  </a:lnTo>
                  <a:lnTo>
                    <a:pt x="88" y="239"/>
                  </a:lnTo>
                  <a:lnTo>
                    <a:pt x="93" y="239"/>
                  </a:lnTo>
                  <a:lnTo>
                    <a:pt x="96" y="233"/>
                  </a:lnTo>
                  <a:lnTo>
                    <a:pt x="85" y="230"/>
                  </a:lnTo>
                  <a:lnTo>
                    <a:pt x="71" y="248"/>
                  </a:lnTo>
                  <a:lnTo>
                    <a:pt x="68" y="241"/>
                  </a:lnTo>
                  <a:lnTo>
                    <a:pt x="67" y="242"/>
                  </a:lnTo>
                  <a:lnTo>
                    <a:pt x="67" y="244"/>
                  </a:lnTo>
                  <a:lnTo>
                    <a:pt x="59" y="239"/>
                  </a:lnTo>
                  <a:lnTo>
                    <a:pt x="43" y="242"/>
                  </a:lnTo>
                  <a:lnTo>
                    <a:pt x="27" y="239"/>
                  </a:lnTo>
                  <a:lnTo>
                    <a:pt x="27" y="238"/>
                  </a:lnTo>
                  <a:lnTo>
                    <a:pt x="16" y="218"/>
                  </a:lnTo>
                  <a:lnTo>
                    <a:pt x="24" y="215"/>
                  </a:lnTo>
                  <a:lnTo>
                    <a:pt x="10" y="214"/>
                  </a:lnTo>
                  <a:lnTo>
                    <a:pt x="0" y="203"/>
                  </a:lnTo>
                  <a:lnTo>
                    <a:pt x="0" y="202"/>
                  </a:lnTo>
                  <a:lnTo>
                    <a:pt x="24" y="187"/>
                  </a:lnTo>
                  <a:lnTo>
                    <a:pt x="33" y="189"/>
                  </a:lnTo>
                  <a:lnTo>
                    <a:pt x="30" y="186"/>
                  </a:lnTo>
                  <a:lnTo>
                    <a:pt x="30" y="184"/>
                  </a:lnTo>
                  <a:lnTo>
                    <a:pt x="31" y="184"/>
                  </a:lnTo>
                  <a:lnTo>
                    <a:pt x="46" y="174"/>
                  </a:lnTo>
                  <a:lnTo>
                    <a:pt x="55" y="174"/>
                  </a:lnTo>
                  <a:lnTo>
                    <a:pt x="58" y="175"/>
                  </a:lnTo>
                  <a:lnTo>
                    <a:pt x="58" y="184"/>
                  </a:lnTo>
                  <a:lnTo>
                    <a:pt x="55" y="186"/>
                  </a:lnTo>
                  <a:lnTo>
                    <a:pt x="59" y="192"/>
                  </a:lnTo>
                  <a:lnTo>
                    <a:pt x="83" y="195"/>
                  </a:lnTo>
                  <a:lnTo>
                    <a:pt x="86" y="184"/>
                  </a:lnTo>
                  <a:lnTo>
                    <a:pt x="82" y="184"/>
                  </a:lnTo>
                  <a:lnTo>
                    <a:pt x="80" y="183"/>
                  </a:lnTo>
                  <a:lnTo>
                    <a:pt x="82" y="178"/>
                  </a:lnTo>
                  <a:lnTo>
                    <a:pt x="79" y="172"/>
                  </a:lnTo>
                  <a:lnTo>
                    <a:pt x="79" y="171"/>
                  </a:lnTo>
                  <a:lnTo>
                    <a:pt x="80" y="171"/>
                  </a:lnTo>
                  <a:lnTo>
                    <a:pt x="85" y="178"/>
                  </a:lnTo>
                  <a:lnTo>
                    <a:pt x="98" y="181"/>
                  </a:lnTo>
                  <a:lnTo>
                    <a:pt x="111" y="175"/>
                  </a:lnTo>
                  <a:lnTo>
                    <a:pt x="90" y="171"/>
                  </a:lnTo>
                  <a:lnTo>
                    <a:pt x="90" y="177"/>
                  </a:lnTo>
                  <a:lnTo>
                    <a:pt x="89" y="177"/>
                  </a:lnTo>
                  <a:lnTo>
                    <a:pt x="82" y="169"/>
                  </a:lnTo>
                  <a:lnTo>
                    <a:pt x="82" y="168"/>
                  </a:lnTo>
                  <a:lnTo>
                    <a:pt x="86" y="162"/>
                  </a:lnTo>
                  <a:lnTo>
                    <a:pt x="86" y="160"/>
                  </a:lnTo>
                  <a:lnTo>
                    <a:pt x="80" y="160"/>
                  </a:lnTo>
                  <a:lnTo>
                    <a:pt x="77" y="162"/>
                  </a:lnTo>
                  <a:lnTo>
                    <a:pt x="74" y="162"/>
                  </a:lnTo>
                  <a:lnTo>
                    <a:pt x="74" y="158"/>
                  </a:lnTo>
                  <a:lnTo>
                    <a:pt x="71" y="162"/>
                  </a:lnTo>
                  <a:lnTo>
                    <a:pt x="70" y="162"/>
                  </a:lnTo>
                  <a:lnTo>
                    <a:pt x="59" y="158"/>
                  </a:lnTo>
                  <a:lnTo>
                    <a:pt x="55" y="143"/>
                  </a:lnTo>
                  <a:lnTo>
                    <a:pt x="49" y="137"/>
                  </a:lnTo>
                  <a:lnTo>
                    <a:pt x="16" y="115"/>
                  </a:lnTo>
                  <a:lnTo>
                    <a:pt x="16" y="113"/>
                  </a:lnTo>
                  <a:lnTo>
                    <a:pt x="24" y="109"/>
                  </a:lnTo>
                  <a:lnTo>
                    <a:pt x="24" y="95"/>
                  </a:lnTo>
                  <a:lnTo>
                    <a:pt x="25" y="95"/>
                  </a:lnTo>
                  <a:lnTo>
                    <a:pt x="55" y="91"/>
                  </a:lnTo>
                  <a:lnTo>
                    <a:pt x="65" y="76"/>
                  </a:lnTo>
                  <a:lnTo>
                    <a:pt x="67" y="67"/>
                  </a:lnTo>
                  <a:lnTo>
                    <a:pt x="67" y="66"/>
                  </a:lnTo>
                  <a:lnTo>
                    <a:pt x="68" y="66"/>
                  </a:lnTo>
                  <a:lnTo>
                    <a:pt x="67" y="64"/>
                  </a:lnTo>
                  <a:lnTo>
                    <a:pt x="67" y="63"/>
                  </a:lnTo>
                  <a:lnTo>
                    <a:pt x="68" y="63"/>
                  </a:lnTo>
                  <a:lnTo>
                    <a:pt x="68" y="61"/>
                  </a:lnTo>
                  <a:lnTo>
                    <a:pt x="74" y="52"/>
                  </a:lnTo>
                  <a:lnTo>
                    <a:pt x="76" y="52"/>
                  </a:lnTo>
                  <a:lnTo>
                    <a:pt x="80" y="55"/>
                  </a:lnTo>
                  <a:lnTo>
                    <a:pt x="77" y="52"/>
                  </a:lnTo>
                  <a:lnTo>
                    <a:pt x="77" y="51"/>
                  </a:lnTo>
                  <a:lnTo>
                    <a:pt x="80" y="42"/>
                  </a:lnTo>
                  <a:lnTo>
                    <a:pt x="83" y="42"/>
                  </a:lnTo>
                  <a:lnTo>
                    <a:pt x="85" y="43"/>
                  </a:lnTo>
                  <a:lnTo>
                    <a:pt x="83" y="46"/>
                  </a:lnTo>
                  <a:lnTo>
                    <a:pt x="104" y="30"/>
                  </a:lnTo>
                  <a:lnTo>
                    <a:pt x="107" y="33"/>
                  </a:lnTo>
                  <a:lnTo>
                    <a:pt x="107" y="34"/>
                  </a:lnTo>
                  <a:lnTo>
                    <a:pt x="105" y="40"/>
                  </a:lnTo>
                  <a:lnTo>
                    <a:pt x="107" y="42"/>
                  </a:lnTo>
                  <a:lnTo>
                    <a:pt x="108" y="34"/>
                  </a:lnTo>
                  <a:lnTo>
                    <a:pt x="113" y="33"/>
                  </a:lnTo>
                  <a:lnTo>
                    <a:pt x="105" y="29"/>
                  </a:lnTo>
                  <a:lnTo>
                    <a:pt x="108" y="24"/>
                  </a:lnTo>
                  <a:lnTo>
                    <a:pt x="119" y="17"/>
                  </a:lnTo>
                  <a:lnTo>
                    <a:pt x="120" y="17"/>
                  </a:lnTo>
                  <a:lnTo>
                    <a:pt x="120" y="18"/>
                  </a:lnTo>
                  <a:lnTo>
                    <a:pt x="114" y="24"/>
                  </a:lnTo>
                  <a:lnTo>
                    <a:pt x="117" y="26"/>
                  </a:lnTo>
                  <a:lnTo>
                    <a:pt x="117" y="23"/>
                  </a:lnTo>
                  <a:lnTo>
                    <a:pt x="133" y="20"/>
                  </a:lnTo>
                  <a:lnTo>
                    <a:pt x="15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3" name="Alaska - Offshore">
              <a:extLst>
                <a:ext uri="{FF2B5EF4-FFF2-40B4-BE49-F238E27FC236}">
                  <a16:creationId xmlns:a16="http://schemas.microsoft.com/office/drawing/2014/main" id="{26903BEF-FD1A-B0AF-782E-9179C768256A}"/>
                </a:ext>
              </a:extLst>
            </p:cNvPr>
            <p:cNvSpPr>
              <a:spLocks/>
            </p:cNvSpPr>
            <p:nvPr/>
          </p:nvSpPr>
          <p:spPr bwMode="auto">
            <a:xfrm>
              <a:off x="1866572" y="2446039"/>
              <a:ext cx="907145" cy="701140"/>
            </a:xfrm>
            <a:custGeom>
              <a:avLst/>
              <a:gdLst/>
              <a:ahLst/>
              <a:cxnLst/>
              <a:rect l="l" t="t" r="r" b="b"/>
              <a:pathLst>
                <a:path w="914377" h="706729">
                  <a:moveTo>
                    <a:pt x="892519" y="639334"/>
                  </a:moveTo>
                  <a:lnTo>
                    <a:pt x="903448" y="644799"/>
                  </a:lnTo>
                  <a:lnTo>
                    <a:pt x="912556" y="655728"/>
                  </a:lnTo>
                  <a:lnTo>
                    <a:pt x="914377" y="655728"/>
                  </a:lnTo>
                  <a:lnTo>
                    <a:pt x="912556" y="666657"/>
                  </a:lnTo>
                  <a:lnTo>
                    <a:pt x="908913" y="666657"/>
                  </a:lnTo>
                  <a:lnTo>
                    <a:pt x="901741" y="654704"/>
                  </a:lnTo>
                  <a:lnTo>
                    <a:pt x="903448" y="666656"/>
                  </a:lnTo>
                  <a:lnTo>
                    <a:pt x="887054" y="648441"/>
                  </a:lnTo>
                  <a:lnTo>
                    <a:pt x="887054" y="644798"/>
                  </a:lnTo>
                  <a:lnTo>
                    <a:pt x="898336" y="649029"/>
                  </a:lnTo>
                  <a:close/>
                  <a:moveTo>
                    <a:pt x="25501" y="633870"/>
                  </a:moveTo>
                  <a:lnTo>
                    <a:pt x="34608" y="633870"/>
                  </a:lnTo>
                  <a:lnTo>
                    <a:pt x="29144" y="644799"/>
                  </a:lnTo>
                  <a:lnTo>
                    <a:pt x="30965" y="644799"/>
                  </a:lnTo>
                  <a:lnTo>
                    <a:pt x="30965" y="648442"/>
                  </a:lnTo>
                  <a:lnTo>
                    <a:pt x="29144" y="648442"/>
                  </a:lnTo>
                  <a:lnTo>
                    <a:pt x="20036" y="655728"/>
                  </a:lnTo>
                  <a:lnTo>
                    <a:pt x="0" y="664836"/>
                  </a:lnTo>
                  <a:lnTo>
                    <a:pt x="0" y="661193"/>
                  </a:lnTo>
                  <a:lnTo>
                    <a:pt x="14572" y="644799"/>
                  </a:lnTo>
                  <a:lnTo>
                    <a:pt x="12750" y="637513"/>
                  </a:lnTo>
                  <a:lnTo>
                    <a:pt x="18215" y="637513"/>
                  </a:lnTo>
                  <a:close/>
                  <a:moveTo>
                    <a:pt x="887056" y="628405"/>
                  </a:moveTo>
                  <a:lnTo>
                    <a:pt x="890699" y="628405"/>
                  </a:lnTo>
                  <a:lnTo>
                    <a:pt x="892520" y="637513"/>
                  </a:lnTo>
                  <a:lnTo>
                    <a:pt x="892520" y="639334"/>
                  </a:lnTo>
                  <a:lnTo>
                    <a:pt x="885234" y="637513"/>
                  </a:lnTo>
                  <a:lnTo>
                    <a:pt x="881591" y="633870"/>
                  </a:lnTo>
                  <a:close/>
                  <a:moveTo>
                    <a:pt x="823304" y="626583"/>
                  </a:moveTo>
                  <a:lnTo>
                    <a:pt x="839697" y="626583"/>
                  </a:lnTo>
                  <a:lnTo>
                    <a:pt x="839697" y="632048"/>
                  </a:lnTo>
                  <a:lnTo>
                    <a:pt x="843340" y="626583"/>
                  </a:lnTo>
                  <a:lnTo>
                    <a:pt x="843340" y="628405"/>
                  </a:lnTo>
                  <a:lnTo>
                    <a:pt x="846983" y="637512"/>
                  </a:lnTo>
                  <a:lnTo>
                    <a:pt x="848804" y="632048"/>
                  </a:lnTo>
                  <a:lnTo>
                    <a:pt x="854269" y="626583"/>
                  </a:lnTo>
                  <a:lnTo>
                    <a:pt x="857912" y="626583"/>
                  </a:lnTo>
                  <a:lnTo>
                    <a:pt x="859733" y="633869"/>
                  </a:lnTo>
                  <a:lnTo>
                    <a:pt x="854269" y="659369"/>
                  </a:lnTo>
                  <a:lnTo>
                    <a:pt x="854269" y="661191"/>
                  </a:lnTo>
                  <a:lnTo>
                    <a:pt x="854257" y="661200"/>
                  </a:lnTo>
                  <a:lnTo>
                    <a:pt x="854269" y="661192"/>
                  </a:lnTo>
                  <a:lnTo>
                    <a:pt x="854269" y="664835"/>
                  </a:lnTo>
                  <a:lnTo>
                    <a:pt x="857912" y="664835"/>
                  </a:lnTo>
                  <a:lnTo>
                    <a:pt x="859733" y="670300"/>
                  </a:lnTo>
                  <a:lnTo>
                    <a:pt x="859733" y="672121"/>
                  </a:lnTo>
                  <a:lnTo>
                    <a:pt x="857912" y="672121"/>
                  </a:lnTo>
                  <a:lnTo>
                    <a:pt x="859733" y="675764"/>
                  </a:lnTo>
                  <a:lnTo>
                    <a:pt x="859733" y="677585"/>
                  </a:lnTo>
                  <a:lnTo>
                    <a:pt x="854269" y="677585"/>
                  </a:lnTo>
                  <a:lnTo>
                    <a:pt x="854269" y="686693"/>
                  </a:lnTo>
                  <a:lnTo>
                    <a:pt x="868841" y="706729"/>
                  </a:lnTo>
                  <a:lnTo>
                    <a:pt x="846983" y="686693"/>
                  </a:lnTo>
                  <a:lnTo>
                    <a:pt x="846983" y="681228"/>
                  </a:lnTo>
                  <a:lnTo>
                    <a:pt x="843340" y="681228"/>
                  </a:lnTo>
                  <a:lnTo>
                    <a:pt x="843340" y="672121"/>
                  </a:lnTo>
                  <a:lnTo>
                    <a:pt x="841518" y="672121"/>
                  </a:lnTo>
                  <a:lnTo>
                    <a:pt x="841518" y="670300"/>
                  </a:lnTo>
                  <a:lnTo>
                    <a:pt x="841520" y="670298"/>
                  </a:lnTo>
                  <a:lnTo>
                    <a:pt x="841519" y="670298"/>
                  </a:lnTo>
                  <a:lnTo>
                    <a:pt x="839697" y="659369"/>
                  </a:lnTo>
                  <a:lnTo>
                    <a:pt x="841519" y="655726"/>
                  </a:lnTo>
                  <a:lnTo>
                    <a:pt x="830590" y="650262"/>
                  </a:lnTo>
                  <a:lnTo>
                    <a:pt x="823304" y="633869"/>
                  </a:lnTo>
                  <a:close/>
                  <a:moveTo>
                    <a:pt x="40072" y="621119"/>
                  </a:moveTo>
                  <a:lnTo>
                    <a:pt x="41893" y="621119"/>
                  </a:lnTo>
                  <a:lnTo>
                    <a:pt x="47358" y="628405"/>
                  </a:lnTo>
                  <a:lnTo>
                    <a:pt x="41893" y="628405"/>
                  </a:lnTo>
                  <a:lnTo>
                    <a:pt x="40072" y="632048"/>
                  </a:lnTo>
                  <a:lnTo>
                    <a:pt x="36429" y="632048"/>
                  </a:lnTo>
                  <a:lnTo>
                    <a:pt x="36429" y="628405"/>
                  </a:lnTo>
                  <a:lnTo>
                    <a:pt x="40072" y="622941"/>
                  </a:lnTo>
                  <a:close/>
                  <a:moveTo>
                    <a:pt x="96539" y="588333"/>
                  </a:moveTo>
                  <a:lnTo>
                    <a:pt x="109289" y="602905"/>
                  </a:lnTo>
                  <a:lnTo>
                    <a:pt x="109289" y="604726"/>
                  </a:lnTo>
                  <a:lnTo>
                    <a:pt x="107468" y="604726"/>
                  </a:lnTo>
                  <a:lnTo>
                    <a:pt x="85610" y="608369"/>
                  </a:lnTo>
                  <a:lnTo>
                    <a:pt x="78324" y="617476"/>
                  </a:lnTo>
                  <a:lnTo>
                    <a:pt x="74681" y="617476"/>
                  </a:lnTo>
                  <a:lnTo>
                    <a:pt x="63752" y="610190"/>
                  </a:lnTo>
                  <a:lnTo>
                    <a:pt x="63752" y="608369"/>
                  </a:lnTo>
                  <a:lnTo>
                    <a:pt x="74681" y="593797"/>
                  </a:lnTo>
                  <a:close/>
                  <a:moveTo>
                    <a:pt x="163932" y="575583"/>
                  </a:moveTo>
                  <a:lnTo>
                    <a:pt x="165753" y="575583"/>
                  </a:lnTo>
                  <a:lnTo>
                    <a:pt x="169396" y="577405"/>
                  </a:lnTo>
                  <a:lnTo>
                    <a:pt x="171218" y="586512"/>
                  </a:lnTo>
                  <a:lnTo>
                    <a:pt x="163932" y="586512"/>
                  </a:lnTo>
                  <a:close/>
                  <a:moveTo>
                    <a:pt x="870662" y="553725"/>
                  </a:moveTo>
                  <a:lnTo>
                    <a:pt x="879769" y="586511"/>
                  </a:lnTo>
                  <a:lnTo>
                    <a:pt x="876126" y="586511"/>
                  </a:lnTo>
                  <a:lnTo>
                    <a:pt x="865197" y="582868"/>
                  </a:lnTo>
                  <a:lnTo>
                    <a:pt x="865197" y="575582"/>
                  </a:lnTo>
                  <a:lnTo>
                    <a:pt x="863376" y="581047"/>
                  </a:lnTo>
                  <a:lnTo>
                    <a:pt x="859733" y="581047"/>
                  </a:lnTo>
                  <a:lnTo>
                    <a:pt x="854268" y="575582"/>
                  </a:lnTo>
                  <a:lnTo>
                    <a:pt x="857911" y="559189"/>
                  </a:lnTo>
                  <a:lnTo>
                    <a:pt x="857911" y="555546"/>
                  </a:lnTo>
                  <a:lnTo>
                    <a:pt x="859733" y="555546"/>
                  </a:lnTo>
                  <a:close/>
                  <a:moveTo>
                    <a:pt x="218576" y="537332"/>
                  </a:moveTo>
                  <a:lnTo>
                    <a:pt x="220397" y="537332"/>
                  </a:lnTo>
                  <a:lnTo>
                    <a:pt x="225862" y="542797"/>
                  </a:lnTo>
                  <a:lnTo>
                    <a:pt x="224040" y="553726"/>
                  </a:lnTo>
                  <a:lnTo>
                    <a:pt x="220397" y="553726"/>
                  </a:lnTo>
                  <a:lnTo>
                    <a:pt x="218576" y="539154"/>
                  </a:lnTo>
                  <a:close/>
                  <a:moveTo>
                    <a:pt x="812374" y="535510"/>
                  </a:moveTo>
                  <a:lnTo>
                    <a:pt x="817838" y="535510"/>
                  </a:lnTo>
                  <a:lnTo>
                    <a:pt x="823303" y="537331"/>
                  </a:lnTo>
                  <a:lnTo>
                    <a:pt x="825124" y="537331"/>
                  </a:lnTo>
                  <a:lnTo>
                    <a:pt x="825124" y="548260"/>
                  </a:lnTo>
                  <a:lnTo>
                    <a:pt x="834231" y="548260"/>
                  </a:lnTo>
                  <a:lnTo>
                    <a:pt x="846982" y="571939"/>
                  </a:lnTo>
                  <a:lnTo>
                    <a:pt x="846982" y="575582"/>
                  </a:lnTo>
                  <a:lnTo>
                    <a:pt x="841517" y="571939"/>
                  </a:lnTo>
                  <a:lnTo>
                    <a:pt x="843339" y="577404"/>
                  </a:lnTo>
                  <a:lnTo>
                    <a:pt x="852446" y="582868"/>
                  </a:lnTo>
                  <a:lnTo>
                    <a:pt x="852446" y="586511"/>
                  </a:lnTo>
                  <a:lnTo>
                    <a:pt x="848803" y="591976"/>
                  </a:lnTo>
                  <a:lnTo>
                    <a:pt x="852446" y="591976"/>
                  </a:lnTo>
                  <a:lnTo>
                    <a:pt x="852446" y="604726"/>
                  </a:lnTo>
                  <a:lnTo>
                    <a:pt x="843339" y="604726"/>
                  </a:lnTo>
                  <a:lnTo>
                    <a:pt x="836053" y="586511"/>
                  </a:lnTo>
                  <a:lnTo>
                    <a:pt x="823304" y="581047"/>
                  </a:lnTo>
                  <a:lnTo>
                    <a:pt x="834232" y="602904"/>
                  </a:lnTo>
                  <a:lnTo>
                    <a:pt x="834232" y="604726"/>
                  </a:lnTo>
                  <a:lnTo>
                    <a:pt x="830589" y="604726"/>
                  </a:lnTo>
                  <a:lnTo>
                    <a:pt x="823303" y="593797"/>
                  </a:lnTo>
                  <a:lnTo>
                    <a:pt x="823303" y="581047"/>
                  </a:lnTo>
                  <a:lnTo>
                    <a:pt x="823303" y="577404"/>
                  </a:lnTo>
                  <a:lnTo>
                    <a:pt x="828767" y="575582"/>
                  </a:lnTo>
                  <a:lnTo>
                    <a:pt x="828767" y="570118"/>
                  </a:lnTo>
                  <a:lnTo>
                    <a:pt x="817838" y="566475"/>
                  </a:lnTo>
                  <a:lnTo>
                    <a:pt x="819660" y="548260"/>
                  </a:lnTo>
                  <a:lnTo>
                    <a:pt x="812374" y="555546"/>
                  </a:lnTo>
                  <a:lnTo>
                    <a:pt x="808731" y="555546"/>
                  </a:lnTo>
                  <a:lnTo>
                    <a:pt x="808731" y="553725"/>
                  </a:lnTo>
                  <a:lnTo>
                    <a:pt x="814195" y="542796"/>
                  </a:lnTo>
                  <a:lnTo>
                    <a:pt x="812374" y="537331"/>
                  </a:lnTo>
                  <a:close/>
                  <a:moveTo>
                    <a:pt x="841517" y="531867"/>
                  </a:moveTo>
                  <a:lnTo>
                    <a:pt x="843339" y="531867"/>
                  </a:lnTo>
                  <a:lnTo>
                    <a:pt x="848803" y="537332"/>
                  </a:lnTo>
                  <a:lnTo>
                    <a:pt x="848803" y="544618"/>
                  </a:lnTo>
                  <a:lnTo>
                    <a:pt x="846982" y="542796"/>
                  </a:lnTo>
                  <a:close/>
                  <a:moveTo>
                    <a:pt x="825125" y="531867"/>
                  </a:moveTo>
                  <a:lnTo>
                    <a:pt x="836054" y="531867"/>
                  </a:lnTo>
                  <a:lnTo>
                    <a:pt x="834233" y="539153"/>
                  </a:lnTo>
                  <a:lnTo>
                    <a:pt x="830590" y="539153"/>
                  </a:lnTo>
                  <a:lnTo>
                    <a:pt x="825125" y="535510"/>
                  </a:lnTo>
                  <a:close/>
                  <a:moveTo>
                    <a:pt x="309649" y="526403"/>
                  </a:moveTo>
                  <a:lnTo>
                    <a:pt x="315114" y="530046"/>
                  </a:lnTo>
                  <a:lnTo>
                    <a:pt x="315114" y="531868"/>
                  </a:lnTo>
                  <a:lnTo>
                    <a:pt x="311471" y="535511"/>
                  </a:lnTo>
                  <a:lnTo>
                    <a:pt x="309649" y="535511"/>
                  </a:lnTo>
                  <a:close/>
                  <a:moveTo>
                    <a:pt x="806910" y="502724"/>
                  </a:moveTo>
                  <a:lnTo>
                    <a:pt x="808731" y="502724"/>
                  </a:lnTo>
                  <a:lnTo>
                    <a:pt x="812374" y="504545"/>
                  </a:lnTo>
                  <a:lnTo>
                    <a:pt x="819660" y="504545"/>
                  </a:lnTo>
                  <a:lnTo>
                    <a:pt x="823303" y="508188"/>
                  </a:lnTo>
                  <a:lnTo>
                    <a:pt x="825125" y="508188"/>
                  </a:lnTo>
                  <a:lnTo>
                    <a:pt x="828768" y="520938"/>
                  </a:lnTo>
                  <a:lnTo>
                    <a:pt x="828768" y="524580"/>
                  </a:lnTo>
                  <a:lnTo>
                    <a:pt x="830590" y="519116"/>
                  </a:lnTo>
                  <a:lnTo>
                    <a:pt x="830590" y="515473"/>
                  </a:lnTo>
                  <a:lnTo>
                    <a:pt x="834233" y="515473"/>
                  </a:lnTo>
                  <a:lnTo>
                    <a:pt x="834233" y="519116"/>
                  </a:lnTo>
                  <a:lnTo>
                    <a:pt x="836054" y="526402"/>
                  </a:lnTo>
                  <a:lnTo>
                    <a:pt x="828768" y="526402"/>
                  </a:lnTo>
                  <a:lnTo>
                    <a:pt x="828768" y="524581"/>
                  </a:lnTo>
                  <a:lnTo>
                    <a:pt x="823303" y="519117"/>
                  </a:lnTo>
                  <a:lnTo>
                    <a:pt x="825125" y="530045"/>
                  </a:lnTo>
                  <a:lnTo>
                    <a:pt x="825125" y="531867"/>
                  </a:lnTo>
                  <a:lnTo>
                    <a:pt x="812374" y="531867"/>
                  </a:lnTo>
                  <a:lnTo>
                    <a:pt x="808732" y="519726"/>
                  </a:lnTo>
                  <a:lnTo>
                    <a:pt x="808732" y="526402"/>
                  </a:lnTo>
                  <a:lnTo>
                    <a:pt x="806910" y="526402"/>
                  </a:lnTo>
                  <a:lnTo>
                    <a:pt x="806910" y="548260"/>
                  </a:lnTo>
                  <a:lnTo>
                    <a:pt x="803267" y="548260"/>
                  </a:lnTo>
                  <a:lnTo>
                    <a:pt x="803267" y="544617"/>
                  </a:lnTo>
                  <a:lnTo>
                    <a:pt x="797803" y="539153"/>
                  </a:lnTo>
                  <a:lnTo>
                    <a:pt x="797803" y="530045"/>
                  </a:lnTo>
                  <a:lnTo>
                    <a:pt x="801446" y="530045"/>
                  </a:lnTo>
                  <a:lnTo>
                    <a:pt x="792338" y="513652"/>
                  </a:lnTo>
                  <a:lnTo>
                    <a:pt x="806910" y="515473"/>
                  </a:lnTo>
                  <a:lnTo>
                    <a:pt x="807456" y="515473"/>
                  </a:lnTo>
                  <a:lnTo>
                    <a:pt x="806910" y="513652"/>
                  </a:lnTo>
                  <a:lnTo>
                    <a:pt x="803267" y="504545"/>
                  </a:lnTo>
                  <a:lnTo>
                    <a:pt x="806910" y="504545"/>
                  </a:lnTo>
                  <a:close/>
                  <a:moveTo>
                    <a:pt x="344258" y="464473"/>
                  </a:moveTo>
                  <a:lnTo>
                    <a:pt x="347901" y="464473"/>
                  </a:lnTo>
                  <a:lnTo>
                    <a:pt x="355187" y="471759"/>
                  </a:lnTo>
                  <a:lnTo>
                    <a:pt x="360651" y="466295"/>
                  </a:lnTo>
                  <a:lnTo>
                    <a:pt x="364294" y="466295"/>
                  </a:lnTo>
                  <a:lnTo>
                    <a:pt x="364294" y="480866"/>
                  </a:lnTo>
                  <a:lnTo>
                    <a:pt x="371580" y="480866"/>
                  </a:lnTo>
                  <a:lnTo>
                    <a:pt x="371580" y="482688"/>
                  </a:lnTo>
                  <a:lnTo>
                    <a:pt x="369759" y="488152"/>
                  </a:lnTo>
                  <a:lnTo>
                    <a:pt x="366116" y="488152"/>
                  </a:lnTo>
                  <a:lnTo>
                    <a:pt x="355187" y="486331"/>
                  </a:lnTo>
                  <a:lnTo>
                    <a:pt x="360651" y="493617"/>
                  </a:lnTo>
                  <a:lnTo>
                    <a:pt x="360651" y="497260"/>
                  </a:lnTo>
                  <a:lnTo>
                    <a:pt x="355187" y="497260"/>
                  </a:lnTo>
                  <a:lnTo>
                    <a:pt x="353365" y="493617"/>
                  </a:lnTo>
                  <a:lnTo>
                    <a:pt x="347901" y="493617"/>
                  </a:lnTo>
                  <a:lnTo>
                    <a:pt x="331507" y="519117"/>
                  </a:lnTo>
                  <a:lnTo>
                    <a:pt x="327864" y="519117"/>
                  </a:lnTo>
                  <a:lnTo>
                    <a:pt x="327864" y="510010"/>
                  </a:lnTo>
                  <a:lnTo>
                    <a:pt x="326043" y="504545"/>
                  </a:lnTo>
                  <a:lnTo>
                    <a:pt x="326043" y="502724"/>
                  </a:lnTo>
                  <a:lnTo>
                    <a:pt x="322400" y="513653"/>
                  </a:lnTo>
                  <a:lnTo>
                    <a:pt x="322400" y="515474"/>
                  </a:lnTo>
                  <a:lnTo>
                    <a:pt x="320578" y="515474"/>
                  </a:lnTo>
                  <a:lnTo>
                    <a:pt x="320578" y="513653"/>
                  </a:lnTo>
                  <a:lnTo>
                    <a:pt x="307828" y="493617"/>
                  </a:lnTo>
                  <a:lnTo>
                    <a:pt x="307828" y="491795"/>
                  </a:lnTo>
                  <a:lnTo>
                    <a:pt x="322400" y="477223"/>
                  </a:lnTo>
                  <a:lnTo>
                    <a:pt x="326043" y="477223"/>
                  </a:lnTo>
                  <a:lnTo>
                    <a:pt x="331507" y="486331"/>
                  </a:lnTo>
                  <a:lnTo>
                    <a:pt x="333329" y="480866"/>
                  </a:lnTo>
                  <a:lnTo>
                    <a:pt x="327864" y="469938"/>
                  </a:lnTo>
                  <a:lnTo>
                    <a:pt x="331507" y="469938"/>
                  </a:lnTo>
                  <a:lnTo>
                    <a:pt x="338793" y="475402"/>
                  </a:lnTo>
                  <a:lnTo>
                    <a:pt x="347901" y="469938"/>
                  </a:lnTo>
                  <a:lnTo>
                    <a:pt x="344258" y="466295"/>
                  </a:lnTo>
                  <a:close/>
                  <a:moveTo>
                    <a:pt x="792338" y="457186"/>
                  </a:moveTo>
                  <a:lnTo>
                    <a:pt x="795981" y="457186"/>
                  </a:lnTo>
                  <a:lnTo>
                    <a:pt x="797802" y="460829"/>
                  </a:lnTo>
                  <a:lnTo>
                    <a:pt x="806910" y="491794"/>
                  </a:lnTo>
                  <a:lnTo>
                    <a:pt x="806910" y="493615"/>
                  </a:lnTo>
                  <a:lnTo>
                    <a:pt x="801445" y="491794"/>
                  </a:lnTo>
                  <a:lnTo>
                    <a:pt x="801445" y="499080"/>
                  </a:lnTo>
                  <a:lnTo>
                    <a:pt x="792338" y="508187"/>
                  </a:lnTo>
                  <a:lnTo>
                    <a:pt x="790516" y="508187"/>
                  </a:lnTo>
                  <a:lnTo>
                    <a:pt x="790516" y="491794"/>
                  </a:lnTo>
                  <a:lnTo>
                    <a:pt x="792338" y="488151"/>
                  </a:lnTo>
                  <a:lnTo>
                    <a:pt x="790516" y="486329"/>
                  </a:lnTo>
                  <a:lnTo>
                    <a:pt x="790516" y="482686"/>
                  </a:lnTo>
                  <a:lnTo>
                    <a:pt x="786873" y="482686"/>
                  </a:lnTo>
                  <a:lnTo>
                    <a:pt x="785052" y="460829"/>
                  </a:lnTo>
                  <a:lnTo>
                    <a:pt x="785052" y="459007"/>
                  </a:lnTo>
                  <a:close/>
                  <a:moveTo>
                    <a:pt x="757730" y="448080"/>
                  </a:moveTo>
                  <a:lnTo>
                    <a:pt x="775945" y="459009"/>
                  </a:lnTo>
                  <a:lnTo>
                    <a:pt x="781409" y="464473"/>
                  </a:lnTo>
                  <a:lnTo>
                    <a:pt x="781409" y="466294"/>
                  </a:lnTo>
                  <a:lnTo>
                    <a:pt x="775945" y="466294"/>
                  </a:lnTo>
                  <a:lnTo>
                    <a:pt x="779587" y="471759"/>
                  </a:lnTo>
                  <a:lnTo>
                    <a:pt x="775945" y="471759"/>
                  </a:lnTo>
                  <a:lnTo>
                    <a:pt x="781409" y="475402"/>
                  </a:lnTo>
                  <a:lnTo>
                    <a:pt x="781409" y="488152"/>
                  </a:lnTo>
                  <a:lnTo>
                    <a:pt x="779587" y="488152"/>
                  </a:lnTo>
                  <a:lnTo>
                    <a:pt x="763194" y="475402"/>
                  </a:lnTo>
                  <a:lnTo>
                    <a:pt x="764713" y="484510"/>
                  </a:lnTo>
                  <a:lnTo>
                    <a:pt x="765016" y="482687"/>
                  </a:lnTo>
                  <a:lnTo>
                    <a:pt x="768660" y="482687"/>
                  </a:lnTo>
                  <a:lnTo>
                    <a:pt x="781410" y="493616"/>
                  </a:lnTo>
                  <a:lnTo>
                    <a:pt x="790518" y="524581"/>
                  </a:lnTo>
                  <a:lnTo>
                    <a:pt x="786875" y="542796"/>
                  </a:lnTo>
                  <a:lnTo>
                    <a:pt x="785053" y="542796"/>
                  </a:lnTo>
                  <a:lnTo>
                    <a:pt x="779589" y="526403"/>
                  </a:lnTo>
                  <a:lnTo>
                    <a:pt x="779589" y="520938"/>
                  </a:lnTo>
                  <a:lnTo>
                    <a:pt x="770481" y="513652"/>
                  </a:lnTo>
                  <a:lnTo>
                    <a:pt x="768660" y="513652"/>
                  </a:lnTo>
                  <a:lnTo>
                    <a:pt x="774124" y="504545"/>
                  </a:lnTo>
                  <a:lnTo>
                    <a:pt x="763195" y="493616"/>
                  </a:lnTo>
                  <a:lnTo>
                    <a:pt x="763802" y="489971"/>
                  </a:lnTo>
                  <a:lnTo>
                    <a:pt x="763194" y="491795"/>
                  </a:lnTo>
                  <a:lnTo>
                    <a:pt x="761373" y="491795"/>
                  </a:lnTo>
                  <a:lnTo>
                    <a:pt x="746801" y="471759"/>
                  </a:lnTo>
                  <a:lnTo>
                    <a:pt x="750444" y="466294"/>
                  </a:lnTo>
                  <a:lnTo>
                    <a:pt x="744980" y="459009"/>
                  </a:lnTo>
                  <a:lnTo>
                    <a:pt x="744980" y="457187"/>
                  </a:lnTo>
                  <a:lnTo>
                    <a:pt x="746801" y="457187"/>
                  </a:lnTo>
                  <a:close/>
                  <a:moveTo>
                    <a:pt x="355186" y="442616"/>
                  </a:moveTo>
                  <a:lnTo>
                    <a:pt x="369758" y="442616"/>
                  </a:lnTo>
                  <a:lnTo>
                    <a:pt x="369758" y="446259"/>
                  </a:lnTo>
                  <a:lnTo>
                    <a:pt x="371580" y="446259"/>
                  </a:lnTo>
                  <a:lnTo>
                    <a:pt x="375223" y="453545"/>
                  </a:lnTo>
                  <a:lnTo>
                    <a:pt x="375223" y="457188"/>
                  </a:lnTo>
                  <a:lnTo>
                    <a:pt x="353365" y="460831"/>
                  </a:lnTo>
                  <a:lnTo>
                    <a:pt x="347900" y="457188"/>
                  </a:lnTo>
                  <a:lnTo>
                    <a:pt x="347900" y="453545"/>
                  </a:lnTo>
                  <a:lnTo>
                    <a:pt x="355186" y="451723"/>
                  </a:lnTo>
                  <a:lnTo>
                    <a:pt x="353365" y="448080"/>
                  </a:lnTo>
                  <a:close/>
                  <a:moveTo>
                    <a:pt x="488154" y="351542"/>
                  </a:moveTo>
                  <a:lnTo>
                    <a:pt x="489975" y="351542"/>
                  </a:lnTo>
                  <a:lnTo>
                    <a:pt x="495440" y="357006"/>
                  </a:lnTo>
                  <a:lnTo>
                    <a:pt x="495440" y="358828"/>
                  </a:lnTo>
                  <a:lnTo>
                    <a:pt x="482689" y="378863"/>
                  </a:lnTo>
                  <a:lnTo>
                    <a:pt x="471760" y="380685"/>
                  </a:lnTo>
                  <a:lnTo>
                    <a:pt x="468117" y="380685"/>
                  </a:lnTo>
                  <a:lnTo>
                    <a:pt x="473582" y="373399"/>
                  </a:lnTo>
                  <a:close/>
                  <a:moveTo>
                    <a:pt x="36430" y="351542"/>
                  </a:moveTo>
                  <a:lnTo>
                    <a:pt x="51001" y="357006"/>
                  </a:lnTo>
                  <a:lnTo>
                    <a:pt x="52823" y="357006"/>
                  </a:lnTo>
                  <a:lnTo>
                    <a:pt x="52823" y="369756"/>
                  </a:lnTo>
                  <a:lnTo>
                    <a:pt x="40073" y="384328"/>
                  </a:lnTo>
                  <a:lnTo>
                    <a:pt x="14572" y="373399"/>
                  </a:lnTo>
                  <a:lnTo>
                    <a:pt x="3643" y="362471"/>
                  </a:lnTo>
                  <a:lnTo>
                    <a:pt x="3643" y="358828"/>
                  </a:lnTo>
                  <a:close/>
                  <a:moveTo>
                    <a:pt x="500904" y="346077"/>
                  </a:moveTo>
                  <a:lnTo>
                    <a:pt x="504547" y="346077"/>
                  </a:lnTo>
                  <a:lnTo>
                    <a:pt x="515476" y="351541"/>
                  </a:lnTo>
                  <a:lnTo>
                    <a:pt x="515476" y="353363"/>
                  </a:lnTo>
                  <a:lnTo>
                    <a:pt x="499082" y="353363"/>
                  </a:lnTo>
                  <a:lnTo>
                    <a:pt x="499082" y="351541"/>
                  </a:lnTo>
                  <a:lnTo>
                    <a:pt x="500904" y="347898"/>
                  </a:lnTo>
                  <a:close/>
                  <a:moveTo>
                    <a:pt x="67395" y="329685"/>
                  </a:moveTo>
                  <a:lnTo>
                    <a:pt x="85609" y="342436"/>
                  </a:lnTo>
                  <a:lnTo>
                    <a:pt x="74680" y="353365"/>
                  </a:lnTo>
                  <a:lnTo>
                    <a:pt x="72859" y="353365"/>
                  </a:lnTo>
                  <a:lnTo>
                    <a:pt x="58287" y="340614"/>
                  </a:lnTo>
                  <a:lnTo>
                    <a:pt x="56466" y="340614"/>
                  </a:lnTo>
                  <a:close/>
                  <a:moveTo>
                    <a:pt x="74681" y="216754"/>
                  </a:moveTo>
                  <a:lnTo>
                    <a:pt x="78324" y="216754"/>
                  </a:lnTo>
                  <a:lnTo>
                    <a:pt x="81967" y="218575"/>
                  </a:lnTo>
                  <a:lnTo>
                    <a:pt x="81967" y="231326"/>
                  </a:lnTo>
                  <a:lnTo>
                    <a:pt x="80145" y="231326"/>
                  </a:lnTo>
                  <a:lnTo>
                    <a:pt x="69216" y="236791"/>
                  </a:lnTo>
                  <a:lnTo>
                    <a:pt x="67395" y="236791"/>
                  </a:lnTo>
                  <a:lnTo>
                    <a:pt x="67395" y="227683"/>
                  </a:lnTo>
                  <a:close/>
                  <a:moveTo>
                    <a:pt x="125682" y="0"/>
                  </a:moveTo>
                  <a:lnTo>
                    <a:pt x="129325" y="0"/>
                  </a:lnTo>
                  <a:lnTo>
                    <a:pt x="140254" y="10930"/>
                  </a:lnTo>
                  <a:lnTo>
                    <a:pt x="140254" y="12751"/>
                  </a:lnTo>
                  <a:lnTo>
                    <a:pt x="129325" y="12751"/>
                  </a:lnTo>
                  <a:lnTo>
                    <a:pt x="125682" y="1822"/>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4" name="USA - Mainland">
              <a:extLst>
                <a:ext uri="{FF2B5EF4-FFF2-40B4-BE49-F238E27FC236}">
                  <a16:creationId xmlns:a16="http://schemas.microsoft.com/office/drawing/2014/main" id="{1DD7BD2D-8259-249F-97B1-DFA196F6FC1D}"/>
                </a:ext>
              </a:extLst>
            </p:cNvPr>
            <p:cNvSpPr>
              <a:spLocks noEditPoints="1"/>
            </p:cNvSpPr>
            <p:nvPr/>
          </p:nvSpPr>
          <p:spPr bwMode="auto">
            <a:xfrm>
              <a:off x="2885754" y="3250181"/>
              <a:ext cx="1360718" cy="728247"/>
            </a:xfrm>
            <a:custGeom>
              <a:avLst/>
              <a:gdLst>
                <a:gd name="T0" fmla="*/ 162 w 753"/>
                <a:gd name="T1" fmla="*/ 160 h 403"/>
                <a:gd name="T2" fmla="*/ 151 w 753"/>
                <a:gd name="T3" fmla="*/ 144 h 403"/>
                <a:gd name="T4" fmla="*/ 393 w 753"/>
                <a:gd name="T5" fmla="*/ 13 h 403"/>
                <a:gd name="T6" fmla="*/ 436 w 753"/>
                <a:gd name="T7" fmla="*/ 43 h 403"/>
                <a:gd name="T8" fmla="*/ 481 w 753"/>
                <a:gd name="T9" fmla="*/ 37 h 403"/>
                <a:gd name="T10" fmla="*/ 488 w 753"/>
                <a:gd name="T11" fmla="*/ 56 h 403"/>
                <a:gd name="T12" fmla="*/ 526 w 753"/>
                <a:gd name="T13" fmla="*/ 56 h 403"/>
                <a:gd name="T14" fmla="*/ 519 w 753"/>
                <a:gd name="T15" fmla="*/ 69 h 403"/>
                <a:gd name="T16" fmla="*/ 481 w 753"/>
                <a:gd name="T17" fmla="*/ 90 h 403"/>
                <a:gd name="T18" fmla="*/ 485 w 753"/>
                <a:gd name="T19" fmla="*/ 93 h 403"/>
                <a:gd name="T20" fmla="*/ 500 w 753"/>
                <a:gd name="T21" fmla="*/ 127 h 403"/>
                <a:gd name="T22" fmla="*/ 509 w 753"/>
                <a:gd name="T23" fmla="*/ 86 h 403"/>
                <a:gd name="T24" fmla="*/ 525 w 753"/>
                <a:gd name="T25" fmla="*/ 71 h 403"/>
                <a:gd name="T26" fmla="*/ 534 w 753"/>
                <a:gd name="T27" fmla="*/ 108 h 403"/>
                <a:gd name="T28" fmla="*/ 549 w 753"/>
                <a:gd name="T29" fmla="*/ 127 h 403"/>
                <a:gd name="T30" fmla="*/ 543 w 753"/>
                <a:gd name="T31" fmla="*/ 145 h 403"/>
                <a:gd name="T32" fmla="*/ 623 w 753"/>
                <a:gd name="T33" fmla="*/ 114 h 403"/>
                <a:gd name="T34" fmla="*/ 638 w 753"/>
                <a:gd name="T35" fmla="*/ 92 h 403"/>
                <a:gd name="T36" fmla="*/ 721 w 753"/>
                <a:gd name="T37" fmla="*/ 38 h 403"/>
                <a:gd name="T38" fmla="*/ 743 w 753"/>
                <a:gd name="T39" fmla="*/ 71 h 403"/>
                <a:gd name="T40" fmla="*/ 752 w 753"/>
                <a:gd name="T41" fmla="*/ 86 h 403"/>
                <a:gd name="T42" fmla="*/ 727 w 753"/>
                <a:gd name="T43" fmla="*/ 104 h 403"/>
                <a:gd name="T44" fmla="*/ 713 w 753"/>
                <a:gd name="T45" fmla="*/ 139 h 403"/>
                <a:gd name="T46" fmla="*/ 706 w 753"/>
                <a:gd name="T47" fmla="*/ 145 h 403"/>
                <a:gd name="T48" fmla="*/ 660 w 753"/>
                <a:gd name="T49" fmla="*/ 161 h 403"/>
                <a:gd name="T50" fmla="*/ 650 w 753"/>
                <a:gd name="T51" fmla="*/ 187 h 403"/>
                <a:gd name="T52" fmla="*/ 639 w 753"/>
                <a:gd name="T53" fmla="*/ 207 h 403"/>
                <a:gd name="T54" fmla="*/ 635 w 753"/>
                <a:gd name="T55" fmla="*/ 182 h 403"/>
                <a:gd name="T56" fmla="*/ 632 w 753"/>
                <a:gd name="T57" fmla="*/ 209 h 403"/>
                <a:gd name="T58" fmla="*/ 632 w 753"/>
                <a:gd name="T59" fmla="*/ 224 h 403"/>
                <a:gd name="T60" fmla="*/ 630 w 753"/>
                <a:gd name="T61" fmla="*/ 238 h 403"/>
                <a:gd name="T62" fmla="*/ 636 w 753"/>
                <a:gd name="T63" fmla="*/ 240 h 403"/>
                <a:gd name="T64" fmla="*/ 629 w 753"/>
                <a:gd name="T65" fmla="*/ 247 h 403"/>
                <a:gd name="T66" fmla="*/ 630 w 753"/>
                <a:gd name="T67" fmla="*/ 259 h 403"/>
                <a:gd name="T68" fmla="*/ 574 w 753"/>
                <a:gd name="T69" fmla="*/ 293 h 403"/>
                <a:gd name="T70" fmla="*/ 581 w 753"/>
                <a:gd name="T71" fmla="*/ 390 h 403"/>
                <a:gd name="T72" fmla="*/ 555 w 753"/>
                <a:gd name="T73" fmla="*/ 378 h 403"/>
                <a:gd name="T74" fmla="*/ 529 w 753"/>
                <a:gd name="T75" fmla="*/ 330 h 403"/>
                <a:gd name="T76" fmla="*/ 489 w 753"/>
                <a:gd name="T77" fmla="*/ 324 h 403"/>
                <a:gd name="T78" fmla="*/ 448 w 753"/>
                <a:gd name="T79" fmla="*/ 327 h 403"/>
                <a:gd name="T80" fmla="*/ 457 w 753"/>
                <a:gd name="T81" fmla="*/ 338 h 403"/>
                <a:gd name="T82" fmla="*/ 441 w 753"/>
                <a:gd name="T83" fmla="*/ 345 h 403"/>
                <a:gd name="T84" fmla="*/ 389 w 753"/>
                <a:gd name="T85" fmla="*/ 339 h 403"/>
                <a:gd name="T86" fmla="*/ 368 w 753"/>
                <a:gd name="T87" fmla="*/ 353 h 403"/>
                <a:gd name="T88" fmla="*/ 356 w 753"/>
                <a:gd name="T89" fmla="*/ 373 h 403"/>
                <a:gd name="T90" fmla="*/ 325 w 753"/>
                <a:gd name="T91" fmla="*/ 367 h 403"/>
                <a:gd name="T92" fmla="*/ 277 w 753"/>
                <a:gd name="T93" fmla="*/ 348 h 403"/>
                <a:gd name="T94" fmla="*/ 214 w 753"/>
                <a:gd name="T95" fmla="*/ 313 h 403"/>
                <a:gd name="T96" fmla="*/ 101 w 753"/>
                <a:gd name="T97" fmla="*/ 295 h 403"/>
                <a:gd name="T98" fmla="*/ 80 w 753"/>
                <a:gd name="T99" fmla="*/ 271 h 403"/>
                <a:gd name="T100" fmla="*/ 28 w 753"/>
                <a:gd name="T101" fmla="*/ 212 h 403"/>
                <a:gd name="T102" fmla="*/ 28 w 753"/>
                <a:gd name="T103" fmla="*/ 207 h 403"/>
                <a:gd name="T104" fmla="*/ 5 w 753"/>
                <a:gd name="T105" fmla="*/ 167 h 403"/>
                <a:gd name="T106" fmla="*/ 9 w 753"/>
                <a:gd name="T107" fmla="*/ 64 h 403"/>
                <a:gd name="T108" fmla="*/ 9 w 753"/>
                <a:gd name="T109" fmla="*/ 53 h 403"/>
                <a:gd name="T110" fmla="*/ 6 w 753"/>
                <a:gd name="T111" fmla="*/ 46 h 403"/>
                <a:gd name="T112" fmla="*/ 23 w 753"/>
                <a:gd name="T113" fmla="*/ 35 h 403"/>
                <a:gd name="T114" fmla="*/ 30 w 753"/>
                <a:gd name="T115" fmla="*/ 1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3" h="403">
                  <a:moveTo>
                    <a:pt x="160" y="147"/>
                  </a:moveTo>
                  <a:lnTo>
                    <a:pt x="160" y="151"/>
                  </a:lnTo>
                  <a:lnTo>
                    <a:pt x="159" y="151"/>
                  </a:lnTo>
                  <a:lnTo>
                    <a:pt x="156" y="149"/>
                  </a:lnTo>
                  <a:lnTo>
                    <a:pt x="160" y="157"/>
                  </a:lnTo>
                  <a:lnTo>
                    <a:pt x="162" y="160"/>
                  </a:lnTo>
                  <a:lnTo>
                    <a:pt x="165" y="158"/>
                  </a:lnTo>
                  <a:lnTo>
                    <a:pt x="166" y="157"/>
                  </a:lnTo>
                  <a:lnTo>
                    <a:pt x="162" y="152"/>
                  </a:lnTo>
                  <a:lnTo>
                    <a:pt x="163" y="148"/>
                  </a:lnTo>
                  <a:lnTo>
                    <a:pt x="160" y="147"/>
                  </a:lnTo>
                  <a:close/>
                  <a:moveTo>
                    <a:pt x="151" y="144"/>
                  </a:moveTo>
                  <a:lnTo>
                    <a:pt x="154" y="148"/>
                  </a:lnTo>
                  <a:lnTo>
                    <a:pt x="156" y="145"/>
                  </a:lnTo>
                  <a:lnTo>
                    <a:pt x="151" y="144"/>
                  </a:lnTo>
                  <a:close/>
                  <a:moveTo>
                    <a:pt x="384" y="0"/>
                  </a:moveTo>
                  <a:lnTo>
                    <a:pt x="386" y="0"/>
                  </a:lnTo>
                  <a:lnTo>
                    <a:pt x="393" y="13"/>
                  </a:lnTo>
                  <a:lnTo>
                    <a:pt x="415" y="15"/>
                  </a:lnTo>
                  <a:lnTo>
                    <a:pt x="435" y="25"/>
                  </a:lnTo>
                  <a:lnTo>
                    <a:pt x="441" y="23"/>
                  </a:lnTo>
                  <a:lnTo>
                    <a:pt x="455" y="28"/>
                  </a:lnTo>
                  <a:lnTo>
                    <a:pt x="455" y="29"/>
                  </a:lnTo>
                  <a:lnTo>
                    <a:pt x="436" y="43"/>
                  </a:lnTo>
                  <a:lnTo>
                    <a:pt x="427" y="53"/>
                  </a:lnTo>
                  <a:lnTo>
                    <a:pt x="439" y="49"/>
                  </a:lnTo>
                  <a:lnTo>
                    <a:pt x="441" y="49"/>
                  </a:lnTo>
                  <a:lnTo>
                    <a:pt x="441" y="55"/>
                  </a:lnTo>
                  <a:lnTo>
                    <a:pt x="449" y="55"/>
                  </a:lnTo>
                  <a:lnTo>
                    <a:pt x="481" y="37"/>
                  </a:lnTo>
                  <a:lnTo>
                    <a:pt x="481" y="38"/>
                  </a:lnTo>
                  <a:lnTo>
                    <a:pt x="473" y="49"/>
                  </a:lnTo>
                  <a:lnTo>
                    <a:pt x="473" y="52"/>
                  </a:lnTo>
                  <a:lnTo>
                    <a:pt x="478" y="49"/>
                  </a:lnTo>
                  <a:lnTo>
                    <a:pt x="479" y="49"/>
                  </a:lnTo>
                  <a:lnTo>
                    <a:pt x="488" y="56"/>
                  </a:lnTo>
                  <a:lnTo>
                    <a:pt x="495" y="58"/>
                  </a:lnTo>
                  <a:lnTo>
                    <a:pt x="501" y="52"/>
                  </a:lnTo>
                  <a:lnTo>
                    <a:pt x="516" y="52"/>
                  </a:lnTo>
                  <a:lnTo>
                    <a:pt x="518" y="55"/>
                  </a:lnTo>
                  <a:lnTo>
                    <a:pt x="524" y="56"/>
                  </a:lnTo>
                  <a:lnTo>
                    <a:pt x="526" y="56"/>
                  </a:lnTo>
                  <a:lnTo>
                    <a:pt x="526" y="58"/>
                  </a:lnTo>
                  <a:lnTo>
                    <a:pt x="531" y="65"/>
                  </a:lnTo>
                  <a:lnTo>
                    <a:pt x="531" y="66"/>
                  </a:lnTo>
                  <a:lnTo>
                    <a:pt x="522" y="66"/>
                  </a:lnTo>
                  <a:lnTo>
                    <a:pt x="521" y="69"/>
                  </a:lnTo>
                  <a:lnTo>
                    <a:pt x="519" y="69"/>
                  </a:lnTo>
                  <a:lnTo>
                    <a:pt x="513" y="65"/>
                  </a:lnTo>
                  <a:lnTo>
                    <a:pt x="495" y="74"/>
                  </a:lnTo>
                  <a:lnTo>
                    <a:pt x="495" y="69"/>
                  </a:lnTo>
                  <a:lnTo>
                    <a:pt x="489" y="74"/>
                  </a:lnTo>
                  <a:lnTo>
                    <a:pt x="481" y="89"/>
                  </a:lnTo>
                  <a:lnTo>
                    <a:pt x="481" y="90"/>
                  </a:lnTo>
                  <a:lnTo>
                    <a:pt x="485" y="87"/>
                  </a:lnTo>
                  <a:lnTo>
                    <a:pt x="488" y="78"/>
                  </a:lnTo>
                  <a:lnTo>
                    <a:pt x="489" y="78"/>
                  </a:lnTo>
                  <a:lnTo>
                    <a:pt x="491" y="81"/>
                  </a:lnTo>
                  <a:lnTo>
                    <a:pt x="491" y="83"/>
                  </a:lnTo>
                  <a:lnTo>
                    <a:pt x="485" y="93"/>
                  </a:lnTo>
                  <a:lnTo>
                    <a:pt x="481" y="117"/>
                  </a:lnTo>
                  <a:lnTo>
                    <a:pt x="481" y="133"/>
                  </a:lnTo>
                  <a:lnTo>
                    <a:pt x="485" y="141"/>
                  </a:lnTo>
                  <a:lnTo>
                    <a:pt x="489" y="144"/>
                  </a:lnTo>
                  <a:lnTo>
                    <a:pt x="494" y="139"/>
                  </a:lnTo>
                  <a:lnTo>
                    <a:pt x="500" y="127"/>
                  </a:lnTo>
                  <a:lnTo>
                    <a:pt x="500" y="118"/>
                  </a:lnTo>
                  <a:lnTo>
                    <a:pt x="497" y="109"/>
                  </a:lnTo>
                  <a:lnTo>
                    <a:pt x="500" y="90"/>
                  </a:lnTo>
                  <a:lnTo>
                    <a:pt x="507" y="81"/>
                  </a:lnTo>
                  <a:lnTo>
                    <a:pt x="509" y="81"/>
                  </a:lnTo>
                  <a:lnTo>
                    <a:pt x="509" y="86"/>
                  </a:lnTo>
                  <a:lnTo>
                    <a:pt x="510" y="86"/>
                  </a:lnTo>
                  <a:lnTo>
                    <a:pt x="510" y="78"/>
                  </a:lnTo>
                  <a:lnTo>
                    <a:pt x="512" y="78"/>
                  </a:lnTo>
                  <a:lnTo>
                    <a:pt x="516" y="77"/>
                  </a:lnTo>
                  <a:lnTo>
                    <a:pt x="516" y="71"/>
                  </a:lnTo>
                  <a:lnTo>
                    <a:pt x="525" y="71"/>
                  </a:lnTo>
                  <a:lnTo>
                    <a:pt x="537" y="78"/>
                  </a:lnTo>
                  <a:lnTo>
                    <a:pt x="538" y="78"/>
                  </a:lnTo>
                  <a:lnTo>
                    <a:pt x="538" y="80"/>
                  </a:lnTo>
                  <a:lnTo>
                    <a:pt x="540" y="95"/>
                  </a:lnTo>
                  <a:lnTo>
                    <a:pt x="532" y="106"/>
                  </a:lnTo>
                  <a:lnTo>
                    <a:pt x="534" y="108"/>
                  </a:lnTo>
                  <a:lnTo>
                    <a:pt x="538" y="104"/>
                  </a:lnTo>
                  <a:lnTo>
                    <a:pt x="544" y="101"/>
                  </a:lnTo>
                  <a:lnTo>
                    <a:pt x="546" y="101"/>
                  </a:lnTo>
                  <a:lnTo>
                    <a:pt x="546" y="102"/>
                  </a:lnTo>
                  <a:lnTo>
                    <a:pt x="552" y="120"/>
                  </a:lnTo>
                  <a:lnTo>
                    <a:pt x="549" y="127"/>
                  </a:lnTo>
                  <a:lnTo>
                    <a:pt x="549" y="129"/>
                  </a:lnTo>
                  <a:lnTo>
                    <a:pt x="547" y="129"/>
                  </a:lnTo>
                  <a:lnTo>
                    <a:pt x="546" y="132"/>
                  </a:lnTo>
                  <a:lnTo>
                    <a:pt x="543" y="139"/>
                  </a:lnTo>
                  <a:lnTo>
                    <a:pt x="538" y="144"/>
                  </a:lnTo>
                  <a:lnTo>
                    <a:pt x="543" y="145"/>
                  </a:lnTo>
                  <a:lnTo>
                    <a:pt x="559" y="145"/>
                  </a:lnTo>
                  <a:lnTo>
                    <a:pt x="583" y="135"/>
                  </a:lnTo>
                  <a:lnTo>
                    <a:pt x="596" y="124"/>
                  </a:lnTo>
                  <a:lnTo>
                    <a:pt x="595" y="117"/>
                  </a:lnTo>
                  <a:lnTo>
                    <a:pt x="607" y="112"/>
                  </a:lnTo>
                  <a:lnTo>
                    <a:pt x="623" y="114"/>
                  </a:lnTo>
                  <a:lnTo>
                    <a:pt x="632" y="111"/>
                  </a:lnTo>
                  <a:lnTo>
                    <a:pt x="632" y="105"/>
                  </a:lnTo>
                  <a:lnTo>
                    <a:pt x="633" y="102"/>
                  </a:lnTo>
                  <a:lnTo>
                    <a:pt x="630" y="102"/>
                  </a:lnTo>
                  <a:lnTo>
                    <a:pt x="630" y="101"/>
                  </a:lnTo>
                  <a:lnTo>
                    <a:pt x="638" y="92"/>
                  </a:lnTo>
                  <a:lnTo>
                    <a:pt x="648" y="84"/>
                  </a:lnTo>
                  <a:lnTo>
                    <a:pt x="692" y="84"/>
                  </a:lnTo>
                  <a:lnTo>
                    <a:pt x="695" y="80"/>
                  </a:lnTo>
                  <a:lnTo>
                    <a:pt x="704" y="78"/>
                  </a:lnTo>
                  <a:lnTo>
                    <a:pt x="713" y="50"/>
                  </a:lnTo>
                  <a:lnTo>
                    <a:pt x="721" y="38"/>
                  </a:lnTo>
                  <a:lnTo>
                    <a:pt x="722" y="38"/>
                  </a:lnTo>
                  <a:lnTo>
                    <a:pt x="728" y="43"/>
                  </a:lnTo>
                  <a:lnTo>
                    <a:pt x="735" y="40"/>
                  </a:lnTo>
                  <a:lnTo>
                    <a:pt x="737" y="40"/>
                  </a:lnTo>
                  <a:lnTo>
                    <a:pt x="743" y="46"/>
                  </a:lnTo>
                  <a:lnTo>
                    <a:pt x="743" y="71"/>
                  </a:lnTo>
                  <a:lnTo>
                    <a:pt x="746" y="72"/>
                  </a:lnTo>
                  <a:lnTo>
                    <a:pt x="746" y="74"/>
                  </a:lnTo>
                  <a:lnTo>
                    <a:pt x="747" y="80"/>
                  </a:lnTo>
                  <a:lnTo>
                    <a:pt x="753" y="80"/>
                  </a:lnTo>
                  <a:lnTo>
                    <a:pt x="753" y="81"/>
                  </a:lnTo>
                  <a:lnTo>
                    <a:pt x="752" y="86"/>
                  </a:lnTo>
                  <a:lnTo>
                    <a:pt x="753" y="89"/>
                  </a:lnTo>
                  <a:lnTo>
                    <a:pt x="752" y="90"/>
                  </a:lnTo>
                  <a:lnTo>
                    <a:pt x="735" y="99"/>
                  </a:lnTo>
                  <a:lnTo>
                    <a:pt x="730" y="95"/>
                  </a:lnTo>
                  <a:lnTo>
                    <a:pt x="727" y="102"/>
                  </a:lnTo>
                  <a:lnTo>
                    <a:pt x="727" y="104"/>
                  </a:lnTo>
                  <a:lnTo>
                    <a:pt x="725" y="104"/>
                  </a:lnTo>
                  <a:lnTo>
                    <a:pt x="712" y="109"/>
                  </a:lnTo>
                  <a:lnTo>
                    <a:pt x="703" y="133"/>
                  </a:lnTo>
                  <a:lnTo>
                    <a:pt x="710" y="142"/>
                  </a:lnTo>
                  <a:lnTo>
                    <a:pt x="713" y="142"/>
                  </a:lnTo>
                  <a:lnTo>
                    <a:pt x="713" y="139"/>
                  </a:lnTo>
                  <a:lnTo>
                    <a:pt x="715" y="138"/>
                  </a:lnTo>
                  <a:lnTo>
                    <a:pt x="715" y="139"/>
                  </a:lnTo>
                  <a:lnTo>
                    <a:pt x="716" y="144"/>
                  </a:lnTo>
                  <a:lnTo>
                    <a:pt x="712" y="144"/>
                  </a:lnTo>
                  <a:lnTo>
                    <a:pt x="709" y="145"/>
                  </a:lnTo>
                  <a:lnTo>
                    <a:pt x="706" y="145"/>
                  </a:lnTo>
                  <a:lnTo>
                    <a:pt x="703" y="147"/>
                  </a:lnTo>
                  <a:lnTo>
                    <a:pt x="700" y="147"/>
                  </a:lnTo>
                  <a:lnTo>
                    <a:pt x="698" y="145"/>
                  </a:lnTo>
                  <a:lnTo>
                    <a:pt x="694" y="149"/>
                  </a:lnTo>
                  <a:lnTo>
                    <a:pt x="675" y="152"/>
                  </a:lnTo>
                  <a:lnTo>
                    <a:pt x="660" y="161"/>
                  </a:lnTo>
                  <a:lnTo>
                    <a:pt x="660" y="164"/>
                  </a:lnTo>
                  <a:lnTo>
                    <a:pt x="663" y="170"/>
                  </a:lnTo>
                  <a:lnTo>
                    <a:pt x="660" y="179"/>
                  </a:lnTo>
                  <a:lnTo>
                    <a:pt x="651" y="191"/>
                  </a:lnTo>
                  <a:lnTo>
                    <a:pt x="650" y="191"/>
                  </a:lnTo>
                  <a:lnTo>
                    <a:pt x="650" y="187"/>
                  </a:lnTo>
                  <a:lnTo>
                    <a:pt x="644" y="182"/>
                  </a:lnTo>
                  <a:lnTo>
                    <a:pt x="650" y="197"/>
                  </a:lnTo>
                  <a:lnTo>
                    <a:pt x="638" y="221"/>
                  </a:lnTo>
                  <a:lnTo>
                    <a:pt x="636" y="221"/>
                  </a:lnTo>
                  <a:lnTo>
                    <a:pt x="635" y="215"/>
                  </a:lnTo>
                  <a:lnTo>
                    <a:pt x="639" y="207"/>
                  </a:lnTo>
                  <a:lnTo>
                    <a:pt x="632" y="200"/>
                  </a:lnTo>
                  <a:lnTo>
                    <a:pt x="632" y="198"/>
                  </a:lnTo>
                  <a:lnTo>
                    <a:pt x="633" y="192"/>
                  </a:lnTo>
                  <a:lnTo>
                    <a:pt x="632" y="192"/>
                  </a:lnTo>
                  <a:lnTo>
                    <a:pt x="632" y="191"/>
                  </a:lnTo>
                  <a:lnTo>
                    <a:pt x="635" y="182"/>
                  </a:lnTo>
                  <a:lnTo>
                    <a:pt x="629" y="187"/>
                  </a:lnTo>
                  <a:lnTo>
                    <a:pt x="629" y="198"/>
                  </a:lnTo>
                  <a:lnTo>
                    <a:pt x="632" y="204"/>
                  </a:lnTo>
                  <a:lnTo>
                    <a:pt x="630" y="204"/>
                  </a:lnTo>
                  <a:lnTo>
                    <a:pt x="620" y="198"/>
                  </a:lnTo>
                  <a:lnTo>
                    <a:pt x="632" y="209"/>
                  </a:lnTo>
                  <a:lnTo>
                    <a:pt x="633" y="209"/>
                  </a:lnTo>
                  <a:lnTo>
                    <a:pt x="633" y="210"/>
                  </a:lnTo>
                  <a:lnTo>
                    <a:pt x="630" y="212"/>
                  </a:lnTo>
                  <a:lnTo>
                    <a:pt x="633" y="221"/>
                  </a:lnTo>
                  <a:lnTo>
                    <a:pt x="633" y="222"/>
                  </a:lnTo>
                  <a:lnTo>
                    <a:pt x="632" y="224"/>
                  </a:lnTo>
                  <a:lnTo>
                    <a:pt x="636" y="224"/>
                  </a:lnTo>
                  <a:lnTo>
                    <a:pt x="639" y="237"/>
                  </a:lnTo>
                  <a:lnTo>
                    <a:pt x="639" y="238"/>
                  </a:lnTo>
                  <a:lnTo>
                    <a:pt x="638" y="238"/>
                  </a:lnTo>
                  <a:lnTo>
                    <a:pt x="633" y="237"/>
                  </a:lnTo>
                  <a:lnTo>
                    <a:pt x="630" y="238"/>
                  </a:lnTo>
                  <a:lnTo>
                    <a:pt x="629" y="238"/>
                  </a:lnTo>
                  <a:lnTo>
                    <a:pt x="627" y="237"/>
                  </a:lnTo>
                  <a:lnTo>
                    <a:pt x="627" y="240"/>
                  </a:lnTo>
                  <a:lnTo>
                    <a:pt x="635" y="240"/>
                  </a:lnTo>
                  <a:lnTo>
                    <a:pt x="636" y="241"/>
                  </a:lnTo>
                  <a:lnTo>
                    <a:pt x="636" y="240"/>
                  </a:lnTo>
                  <a:lnTo>
                    <a:pt x="638" y="240"/>
                  </a:lnTo>
                  <a:lnTo>
                    <a:pt x="639" y="244"/>
                  </a:lnTo>
                  <a:lnTo>
                    <a:pt x="641" y="244"/>
                  </a:lnTo>
                  <a:lnTo>
                    <a:pt x="635" y="250"/>
                  </a:lnTo>
                  <a:lnTo>
                    <a:pt x="633" y="250"/>
                  </a:lnTo>
                  <a:lnTo>
                    <a:pt x="629" y="247"/>
                  </a:lnTo>
                  <a:lnTo>
                    <a:pt x="627" y="249"/>
                  </a:lnTo>
                  <a:lnTo>
                    <a:pt x="630" y="250"/>
                  </a:lnTo>
                  <a:lnTo>
                    <a:pt x="630" y="252"/>
                  </a:lnTo>
                  <a:lnTo>
                    <a:pt x="629" y="253"/>
                  </a:lnTo>
                  <a:lnTo>
                    <a:pt x="630" y="253"/>
                  </a:lnTo>
                  <a:lnTo>
                    <a:pt x="630" y="259"/>
                  </a:lnTo>
                  <a:lnTo>
                    <a:pt x="617" y="264"/>
                  </a:lnTo>
                  <a:lnTo>
                    <a:pt x="612" y="270"/>
                  </a:lnTo>
                  <a:lnTo>
                    <a:pt x="598" y="277"/>
                  </a:lnTo>
                  <a:lnTo>
                    <a:pt x="593" y="284"/>
                  </a:lnTo>
                  <a:lnTo>
                    <a:pt x="581" y="293"/>
                  </a:lnTo>
                  <a:lnTo>
                    <a:pt x="574" y="293"/>
                  </a:lnTo>
                  <a:lnTo>
                    <a:pt x="575" y="296"/>
                  </a:lnTo>
                  <a:lnTo>
                    <a:pt x="575" y="298"/>
                  </a:lnTo>
                  <a:lnTo>
                    <a:pt x="571" y="301"/>
                  </a:lnTo>
                  <a:lnTo>
                    <a:pt x="562" y="323"/>
                  </a:lnTo>
                  <a:lnTo>
                    <a:pt x="581" y="376"/>
                  </a:lnTo>
                  <a:lnTo>
                    <a:pt x="581" y="390"/>
                  </a:lnTo>
                  <a:lnTo>
                    <a:pt x="578" y="400"/>
                  </a:lnTo>
                  <a:lnTo>
                    <a:pt x="568" y="403"/>
                  </a:lnTo>
                  <a:lnTo>
                    <a:pt x="566" y="403"/>
                  </a:lnTo>
                  <a:lnTo>
                    <a:pt x="564" y="394"/>
                  </a:lnTo>
                  <a:lnTo>
                    <a:pt x="559" y="391"/>
                  </a:lnTo>
                  <a:lnTo>
                    <a:pt x="555" y="378"/>
                  </a:lnTo>
                  <a:lnTo>
                    <a:pt x="553" y="378"/>
                  </a:lnTo>
                  <a:lnTo>
                    <a:pt x="547" y="370"/>
                  </a:lnTo>
                  <a:lnTo>
                    <a:pt x="549" y="364"/>
                  </a:lnTo>
                  <a:lnTo>
                    <a:pt x="546" y="364"/>
                  </a:lnTo>
                  <a:lnTo>
                    <a:pt x="546" y="344"/>
                  </a:lnTo>
                  <a:lnTo>
                    <a:pt x="529" y="330"/>
                  </a:lnTo>
                  <a:lnTo>
                    <a:pt x="513" y="336"/>
                  </a:lnTo>
                  <a:lnTo>
                    <a:pt x="500" y="324"/>
                  </a:lnTo>
                  <a:lnTo>
                    <a:pt x="497" y="324"/>
                  </a:lnTo>
                  <a:lnTo>
                    <a:pt x="494" y="326"/>
                  </a:lnTo>
                  <a:lnTo>
                    <a:pt x="489" y="326"/>
                  </a:lnTo>
                  <a:lnTo>
                    <a:pt x="489" y="324"/>
                  </a:lnTo>
                  <a:lnTo>
                    <a:pt x="479" y="329"/>
                  </a:lnTo>
                  <a:lnTo>
                    <a:pt x="478" y="329"/>
                  </a:lnTo>
                  <a:lnTo>
                    <a:pt x="478" y="321"/>
                  </a:lnTo>
                  <a:lnTo>
                    <a:pt x="475" y="326"/>
                  </a:lnTo>
                  <a:lnTo>
                    <a:pt x="475" y="327"/>
                  </a:lnTo>
                  <a:lnTo>
                    <a:pt x="448" y="327"/>
                  </a:lnTo>
                  <a:lnTo>
                    <a:pt x="448" y="330"/>
                  </a:lnTo>
                  <a:lnTo>
                    <a:pt x="451" y="330"/>
                  </a:lnTo>
                  <a:lnTo>
                    <a:pt x="454" y="329"/>
                  </a:lnTo>
                  <a:lnTo>
                    <a:pt x="461" y="329"/>
                  </a:lnTo>
                  <a:lnTo>
                    <a:pt x="461" y="330"/>
                  </a:lnTo>
                  <a:lnTo>
                    <a:pt x="457" y="338"/>
                  </a:lnTo>
                  <a:lnTo>
                    <a:pt x="463" y="344"/>
                  </a:lnTo>
                  <a:lnTo>
                    <a:pt x="463" y="345"/>
                  </a:lnTo>
                  <a:lnTo>
                    <a:pt x="460" y="347"/>
                  </a:lnTo>
                  <a:lnTo>
                    <a:pt x="452" y="341"/>
                  </a:lnTo>
                  <a:lnTo>
                    <a:pt x="449" y="345"/>
                  </a:lnTo>
                  <a:lnTo>
                    <a:pt x="441" y="345"/>
                  </a:lnTo>
                  <a:lnTo>
                    <a:pt x="427" y="336"/>
                  </a:lnTo>
                  <a:lnTo>
                    <a:pt x="423" y="339"/>
                  </a:lnTo>
                  <a:lnTo>
                    <a:pt x="400" y="336"/>
                  </a:lnTo>
                  <a:lnTo>
                    <a:pt x="390" y="341"/>
                  </a:lnTo>
                  <a:lnTo>
                    <a:pt x="389" y="341"/>
                  </a:lnTo>
                  <a:lnTo>
                    <a:pt x="389" y="339"/>
                  </a:lnTo>
                  <a:lnTo>
                    <a:pt x="390" y="338"/>
                  </a:lnTo>
                  <a:lnTo>
                    <a:pt x="389" y="336"/>
                  </a:lnTo>
                  <a:lnTo>
                    <a:pt x="386" y="348"/>
                  </a:lnTo>
                  <a:lnTo>
                    <a:pt x="386" y="350"/>
                  </a:lnTo>
                  <a:lnTo>
                    <a:pt x="378" y="353"/>
                  </a:lnTo>
                  <a:lnTo>
                    <a:pt x="368" y="353"/>
                  </a:lnTo>
                  <a:lnTo>
                    <a:pt x="369" y="356"/>
                  </a:lnTo>
                  <a:lnTo>
                    <a:pt x="369" y="357"/>
                  </a:lnTo>
                  <a:lnTo>
                    <a:pt x="357" y="364"/>
                  </a:lnTo>
                  <a:lnTo>
                    <a:pt x="359" y="372"/>
                  </a:lnTo>
                  <a:lnTo>
                    <a:pt x="359" y="373"/>
                  </a:lnTo>
                  <a:lnTo>
                    <a:pt x="356" y="373"/>
                  </a:lnTo>
                  <a:lnTo>
                    <a:pt x="357" y="375"/>
                  </a:lnTo>
                  <a:lnTo>
                    <a:pt x="356" y="381"/>
                  </a:lnTo>
                  <a:lnTo>
                    <a:pt x="360" y="393"/>
                  </a:lnTo>
                  <a:lnTo>
                    <a:pt x="360" y="394"/>
                  </a:lnTo>
                  <a:lnTo>
                    <a:pt x="334" y="385"/>
                  </a:lnTo>
                  <a:lnTo>
                    <a:pt x="325" y="367"/>
                  </a:lnTo>
                  <a:lnTo>
                    <a:pt x="316" y="357"/>
                  </a:lnTo>
                  <a:lnTo>
                    <a:pt x="312" y="345"/>
                  </a:lnTo>
                  <a:lnTo>
                    <a:pt x="301" y="335"/>
                  </a:lnTo>
                  <a:lnTo>
                    <a:pt x="286" y="336"/>
                  </a:lnTo>
                  <a:lnTo>
                    <a:pt x="279" y="348"/>
                  </a:lnTo>
                  <a:lnTo>
                    <a:pt x="277" y="348"/>
                  </a:lnTo>
                  <a:lnTo>
                    <a:pt x="264" y="339"/>
                  </a:lnTo>
                  <a:lnTo>
                    <a:pt x="258" y="332"/>
                  </a:lnTo>
                  <a:lnTo>
                    <a:pt x="255" y="323"/>
                  </a:lnTo>
                  <a:lnTo>
                    <a:pt x="237" y="305"/>
                  </a:lnTo>
                  <a:lnTo>
                    <a:pt x="214" y="305"/>
                  </a:lnTo>
                  <a:lnTo>
                    <a:pt x="214" y="313"/>
                  </a:lnTo>
                  <a:lnTo>
                    <a:pt x="178" y="314"/>
                  </a:lnTo>
                  <a:lnTo>
                    <a:pt x="128" y="292"/>
                  </a:lnTo>
                  <a:lnTo>
                    <a:pt x="125" y="292"/>
                  </a:lnTo>
                  <a:lnTo>
                    <a:pt x="117" y="293"/>
                  </a:lnTo>
                  <a:lnTo>
                    <a:pt x="108" y="293"/>
                  </a:lnTo>
                  <a:lnTo>
                    <a:pt x="101" y="295"/>
                  </a:lnTo>
                  <a:lnTo>
                    <a:pt x="98" y="295"/>
                  </a:lnTo>
                  <a:lnTo>
                    <a:pt x="98" y="293"/>
                  </a:lnTo>
                  <a:lnTo>
                    <a:pt x="95" y="284"/>
                  </a:lnTo>
                  <a:lnTo>
                    <a:pt x="88" y="277"/>
                  </a:lnTo>
                  <a:lnTo>
                    <a:pt x="83" y="276"/>
                  </a:lnTo>
                  <a:lnTo>
                    <a:pt x="80" y="271"/>
                  </a:lnTo>
                  <a:lnTo>
                    <a:pt x="54" y="262"/>
                  </a:lnTo>
                  <a:lnTo>
                    <a:pt x="54" y="253"/>
                  </a:lnTo>
                  <a:lnTo>
                    <a:pt x="37" y="234"/>
                  </a:lnTo>
                  <a:lnTo>
                    <a:pt x="37" y="225"/>
                  </a:lnTo>
                  <a:lnTo>
                    <a:pt x="31" y="221"/>
                  </a:lnTo>
                  <a:lnTo>
                    <a:pt x="28" y="212"/>
                  </a:lnTo>
                  <a:lnTo>
                    <a:pt x="30" y="210"/>
                  </a:lnTo>
                  <a:lnTo>
                    <a:pt x="31" y="210"/>
                  </a:lnTo>
                  <a:lnTo>
                    <a:pt x="30" y="207"/>
                  </a:lnTo>
                  <a:lnTo>
                    <a:pt x="33" y="204"/>
                  </a:lnTo>
                  <a:lnTo>
                    <a:pt x="30" y="204"/>
                  </a:lnTo>
                  <a:lnTo>
                    <a:pt x="28" y="207"/>
                  </a:lnTo>
                  <a:lnTo>
                    <a:pt x="28" y="209"/>
                  </a:lnTo>
                  <a:lnTo>
                    <a:pt x="27" y="209"/>
                  </a:lnTo>
                  <a:lnTo>
                    <a:pt x="23" y="206"/>
                  </a:lnTo>
                  <a:lnTo>
                    <a:pt x="14" y="192"/>
                  </a:lnTo>
                  <a:lnTo>
                    <a:pt x="12" y="178"/>
                  </a:lnTo>
                  <a:lnTo>
                    <a:pt x="5" y="167"/>
                  </a:lnTo>
                  <a:lnTo>
                    <a:pt x="8" y="148"/>
                  </a:lnTo>
                  <a:lnTo>
                    <a:pt x="6" y="141"/>
                  </a:lnTo>
                  <a:lnTo>
                    <a:pt x="3" y="123"/>
                  </a:lnTo>
                  <a:lnTo>
                    <a:pt x="6" y="112"/>
                  </a:lnTo>
                  <a:lnTo>
                    <a:pt x="9" y="65"/>
                  </a:lnTo>
                  <a:lnTo>
                    <a:pt x="9" y="64"/>
                  </a:lnTo>
                  <a:lnTo>
                    <a:pt x="11" y="64"/>
                  </a:lnTo>
                  <a:lnTo>
                    <a:pt x="17" y="62"/>
                  </a:lnTo>
                  <a:lnTo>
                    <a:pt x="9" y="59"/>
                  </a:lnTo>
                  <a:lnTo>
                    <a:pt x="8" y="59"/>
                  </a:lnTo>
                  <a:lnTo>
                    <a:pt x="8" y="53"/>
                  </a:lnTo>
                  <a:lnTo>
                    <a:pt x="9" y="53"/>
                  </a:lnTo>
                  <a:lnTo>
                    <a:pt x="11" y="55"/>
                  </a:lnTo>
                  <a:lnTo>
                    <a:pt x="11" y="53"/>
                  </a:lnTo>
                  <a:lnTo>
                    <a:pt x="8" y="52"/>
                  </a:lnTo>
                  <a:lnTo>
                    <a:pt x="8" y="47"/>
                  </a:lnTo>
                  <a:lnTo>
                    <a:pt x="6" y="47"/>
                  </a:lnTo>
                  <a:lnTo>
                    <a:pt x="6" y="46"/>
                  </a:lnTo>
                  <a:lnTo>
                    <a:pt x="0" y="23"/>
                  </a:lnTo>
                  <a:lnTo>
                    <a:pt x="0" y="19"/>
                  </a:lnTo>
                  <a:lnTo>
                    <a:pt x="2" y="19"/>
                  </a:lnTo>
                  <a:lnTo>
                    <a:pt x="25" y="23"/>
                  </a:lnTo>
                  <a:lnTo>
                    <a:pt x="25" y="29"/>
                  </a:lnTo>
                  <a:lnTo>
                    <a:pt x="23" y="35"/>
                  </a:lnTo>
                  <a:lnTo>
                    <a:pt x="24" y="38"/>
                  </a:lnTo>
                  <a:lnTo>
                    <a:pt x="30" y="28"/>
                  </a:lnTo>
                  <a:lnTo>
                    <a:pt x="30" y="21"/>
                  </a:lnTo>
                  <a:lnTo>
                    <a:pt x="27" y="19"/>
                  </a:lnTo>
                  <a:lnTo>
                    <a:pt x="27" y="18"/>
                  </a:lnTo>
                  <a:lnTo>
                    <a:pt x="30" y="13"/>
                  </a:lnTo>
                  <a:lnTo>
                    <a:pt x="24" y="9"/>
                  </a:lnTo>
                  <a:lnTo>
                    <a:pt x="24" y="7"/>
                  </a:lnTo>
                  <a:lnTo>
                    <a:pt x="384" y="9"/>
                  </a:lnTo>
                  <a:lnTo>
                    <a:pt x="38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5" name="USA - Offshore">
              <a:extLst>
                <a:ext uri="{FF2B5EF4-FFF2-40B4-BE49-F238E27FC236}">
                  <a16:creationId xmlns:a16="http://schemas.microsoft.com/office/drawing/2014/main" id="{BB66DB30-1011-BD6F-71C8-3EB69A6D5751}"/>
                </a:ext>
              </a:extLst>
            </p:cNvPr>
            <p:cNvSpPr>
              <a:spLocks/>
            </p:cNvSpPr>
            <p:nvPr/>
          </p:nvSpPr>
          <p:spPr bwMode="auto">
            <a:xfrm>
              <a:off x="3536295" y="3524854"/>
              <a:ext cx="590909" cy="388519"/>
            </a:xfrm>
            <a:custGeom>
              <a:avLst/>
              <a:gdLst/>
              <a:ahLst/>
              <a:cxnLst/>
              <a:rect l="l" t="t" r="r" b="b"/>
              <a:pathLst>
                <a:path w="595620" h="391616">
                  <a:moveTo>
                    <a:pt x="14572" y="373401"/>
                  </a:moveTo>
                  <a:lnTo>
                    <a:pt x="16394" y="373401"/>
                  </a:lnTo>
                  <a:lnTo>
                    <a:pt x="16394" y="377044"/>
                  </a:lnTo>
                  <a:lnTo>
                    <a:pt x="3643" y="391616"/>
                  </a:lnTo>
                  <a:lnTo>
                    <a:pt x="0" y="391616"/>
                  </a:lnTo>
                  <a:lnTo>
                    <a:pt x="0" y="389795"/>
                  </a:lnTo>
                  <a:lnTo>
                    <a:pt x="3643" y="384330"/>
                  </a:lnTo>
                  <a:lnTo>
                    <a:pt x="3643" y="382509"/>
                  </a:lnTo>
                  <a:close/>
                  <a:moveTo>
                    <a:pt x="591977" y="0"/>
                  </a:moveTo>
                  <a:lnTo>
                    <a:pt x="595620" y="0"/>
                  </a:lnTo>
                  <a:lnTo>
                    <a:pt x="586513" y="10929"/>
                  </a:lnTo>
                  <a:lnTo>
                    <a:pt x="551905" y="21858"/>
                  </a:lnTo>
                  <a:lnTo>
                    <a:pt x="551905" y="20037"/>
                  </a:lnTo>
                  <a:lnTo>
                    <a:pt x="557370" y="10929"/>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6" name="Hawaii">
              <a:extLst>
                <a:ext uri="{FF2B5EF4-FFF2-40B4-BE49-F238E27FC236}">
                  <a16:creationId xmlns:a16="http://schemas.microsoft.com/office/drawing/2014/main" id="{ABEAAA9A-6EA0-1802-7D58-8414C6EBE8B9}"/>
                </a:ext>
              </a:extLst>
            </p:cNvPr>
            <p:cNvSpPr>
              <a:spLocks/>
            </p:cNvSpPr>
            <p:nvPr/>
          </p:nvSpPr>
          <p:spPr bwMode="auto">
            <a:xfrm>
              <a:off x="2056313" y="4056129"/>
              <a:ext cx="119266" cy="84933"/>
            </a:xfrm>
            <a:custGeom>
              <a:avLst/>
              <a:gdLst/>
              <a:ahLst/>
              <a:cxnLst/>
              <a:rect l="l" t="t" r="r" b="b"/>
              <a:pathLst>
                <a:path w="120217" h="85610">
                  <a:moveTo>
                    <a:pt x="91073" y="51001"/>
                  </a:moveTo>
                  <a:lnTo>
                    <a:pt x="94716" y="51001"/>
                  </a:lnTo>
                  <a:lnTo>
                    <a:pt x="111109" y="56466"/>
                  </a:lnTo>
                  <a:lnTo>
                    <a:pt x="120217" y="67395"/>
                  </a:lnTo>
                  <a:lnTo>
                    <a:pt x="118396" y="76502"/>
                  </a:lnTo>
                  <a:lnTo>
                    <a:pt x="118396" y="78324"/>
                  </a:lnTo>
                  <a:lnTo>
                    <a:pt x="107466" y="78324"/>
                  </a:lnTo>
                  <a:lnTo>
                    <a:pt x="100180" y="85610"/>
                  </a:lnTo>
                  <a:lnTo>
                    <a:pt x="96537" y="85610"/>
                  </a:lnTo>
                  <a:lnTo>
                    <a:pt x="96537" y="83789"/>
                  </a:lnTo>
                  <a:lnTo>
                    <a:pt x="94716" y="83789"/>
                  </a:lnTo>
                  <a:lnTo>
                    <a:pt x="89251" y="67395"/>
                  </a:lnTo>
                  <a:lnTo>
                    <a:pt x="91073" y="54644"/>
                  </a:lnTo>
                  <a:close/>
                  <a:moveTo>
                    <a:pt x="58287" y="23680"/>
                  </a:moveTo>
                  <a:lnTo>
                    <a:pt x="61930" y="23680"/>
                  </a:lnTo>
                  <a:lnTo>
                    <a:pt x="72859" y="29145"/>
                  </a:lnTo>
                  <a:lnTo>
                    <a:pt x="74681" y="29145"/>
                  </a:lnTo>
                  <a:lnTo>
                    <a:pt x="74681" y="32787"/>
                  </a:lnTo>
                  <a:lnTo>
                    <a:pt x="83788" y="32787"/>
                  </a:lnTo>
                  <a:lnTo>
                    <a:pt x="91074" y="38251"/>
                  </a:lnTo>
                  <a:lnTo>
                    <a:pt x="91074" y="40073"/>
                  </a:lnTo>
                  <a:lnTo>
                    <a:pt x="83788" y="43716"/>
                  </a:lnTo>
                  <a:lnTo>
                    <a:pt x="80145" y="43716"/>
                  </a:lnTo>
                  <a:lnTo>
                    <a:pt x="72860" y="32788"/>
                  </a:lnTo>
                  <a:lnTo>
                    <a:pt x="58287" y="32788"/>
                  </a:lnTo>
                  <a:close/>
                  <a:moveTo>
                    <a:pt x="40072" y="12751"/>
                  </a:moveTo>
                  <a:lnTo>
                    <a:pt x="41893" y="12751"/>
                  </a:lnTo>
                  <a:lnTo>
                    <a:pt x="51001" y="21858"/>
                  </a:lnTo>
                  <a:lnTo>
                    <a:pt x="51001" y="23680"/>
                  </a:lnTo>
                  <a:lnTo>
                    <a:pt x="41893" y="23680"/>
                  </a:lnTo>
                  <a:lnTo>
                    <a:pt x="40072" y="18215"/>
                  </a:lnTo>
                  <a:close/>
                  <a:moveTo>
                    <a:pt x="1822" y="0"/>
                  </a:moveTo>
                  <a:lnTo>
                    <a:pt x="5465" y="0"/>
                  </a:lnTo>
                  <a:lnTo>
                    <a:pt x="12751" y="1821"/>
                  </a:lnTo>
                  <a:lnTo>
                    <a:pt x="12751" y="5465"/>
                  </a:lnTo>
                  <a:lnTo>
                    <a:pt x="7286" y="10929"/>
                  </a:lnTo>
                  <a:lnTo>
                    <a:pt x="7286" y="12751"/>
                  </a:lnTo>
                  <a:lnTo>
                    <a:pt x="5465" y="12751"/>
                  </a:lnTo>
                  <a:lnTo>
                    <a:pt x="5465" y="10929"/>
                  </a:lnTo>
                  <a:lnTo>
                    <a:pt x="0" y="7286"/>
                  </a:lnTo>
                  <a:lnTo>
                    <a:pt x="0" y="5465"/>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7" name="Puerto Rico">
              <a:extLst>
                <a:ext uri="{FF2B5EF4-FFF2-40B4-BE49-F238E27FC236}">
                  <a16:creationId xmlns:a16="http://schemas.microsoft.com/office/drawing/2014/main" id="{0C809A6E-2E66-1F0D-F122-90CF4AF3EBB9}"/>
                </a:ext>
              </a:extLst>
            </p:cNvPr>
            <p:cNvSpPr>
              <a:spLocks/>
            </p:cNvSpPr>
            <p:nvPr/>
          </p:nvSpPr>
          <p:spPr bwMode="auto">
            <a:xfrm>
              <a:off x="4239243" y="4144677"/>
              <a:ext cx="37948" cy="16264"/>
            </a:xfrm>
            <a:custGeom>
              <a:avLst/>
              <a:gdLst>
                <a:gd name="T0" fmla="*/ 1 w 21"/>
                <a:gd name="T1" fmla="*/ 0 h 9"/>
                <a:gd name="T2" fmla="*/ 19 w 21"/>
                <a:gd name="T3" fmla="*/ 0 h 9"/>
                <a:gd name="T4" fmla="*/ 19 w 21"/>
                <a:gd name="T5" fmla="*/ 1 h 9"/>
                <a:gd name="T6" fmla="*/ 21 w 21"/>
                <a:gd name="T7" fmla="*/ 4 h 9"/>
                <a:gd name="T8" fmla="*/ 21 w 21"/>
                <a:gd name="T9" fmla="*/ 6 h 9"/>
                <a:gd name="T10" fmla="*/ 13 w 21"/>
                <a:gd name="T11" fmla="*/ 9 h 9"/>
                <a:gd name="T12" fmla="*/ 3 w 21"/>
                <a:gd name="T13" fmla="*/ 9 h 9"/>
                <a:gd name="T14" fmla="*/ 0 w 21"/>
                <a:gd name="T15" fmla="*/ 4 h 9"/>
                <a:gd name="T16" fmla="*/ 1 w 21"/>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1" y="0"/>
                  </a:moveTo>
                  <a:lnTo>
                    <a:pt x="19" y="0"/>
                  </a:lnTo>
                  <a:lnTo>
                    <a:pt x="19" y="1"/>
                  </a:lnTo>
                  <a:lnTo>
                    <a:pt x="21" y="4"/>
                  </a:lnTo>
                  <a:lnTo>
                    <a:pt x="21" y="6"/>
                  </a:lnTo>
                  <a:lnTo>
                    <a:pt x="13" y="9"/>
                  </a:lnTo>
                  <a:lnTo>
                    <a:pt x="3" y="9"/>
                  </a:lnTo>
                  <a:lnTo>
                    <a:pt x="0" y="4"/>
                  </a:lnTo>
                  <a:lnTo>
                    <a:pt x="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8" name="Panama">
              <a:extLst>
                <a:ext uri="{FF2B5EF4-FFF2-40B4-BE49-F238E27FC236}">
                  <a16:creationId xmlns:a16="http://schemas.microsoft.com/office/drawing/2014/main" id="{B2E177FF-F267-B5DF-347D-D122E8143D47}"/>
                </a:ext>
              </a:extLst>
            </p:cNvPr>
            <p:cNvSpPr>
              <a:spLocks/>
            </p:cNvSpPr>
            <p:nvPr/>
          </p:nvSpPr>
          <p:spPr bwMode="auto">
            <a:xfrm>
              <a:off x="3866989" y="4361524"/>
              <a:ext cx="139145" cy="59634"/>
            </a:xfrm>
            <a:custGeom>
              <a:avLst/>
              <a:gdLst>
                <a:gd name="T0" fmla="*/ 6 w 77"/>
                <a:gd name="T1" fmla="*/ 0 h 33"/>
                <a:gd name="T2" fmla="*/ 10 w 77"/>
                <a:gd name="T3" fmla="*/ 2 h 33"/>
                <a:gd name="T4" fmla="*/ 12 w 77"/>
                <a:gd name="T5" fmla="*/ 7 h 33"/>
                <a:gd name="T6" fmla="*/ 23 w 77"/>
                <a:gd name="T7" fmla="*/ 10 h 33"/>
                <a:gd name="T8" fmla="*/ 37 w 77"/>
                <a:gd name="T9" fmla="*/ 4 h 33"/>
                <a:gd name="T10" fmla="*/ 38 w 77"/>
                <a:gd name="T11" fmla="*/ 4 h 33"/>
                <a:gd name="T12" fmla="*/ 40 w 77"/>
                <a:gd name="T13" fmla="*/ 6 h 33"/>
                <a:gd name="T14" fmla="*/ 43 w 77"/>
                <a:gd name="T15" fmla="*/ 0 h 33"/>
                <a:gd name="T16" fmla="*/ 50 w 77"/>
                <a:gd name="T17" fmla="*/ 0 h 33"/>
                <a:gd name="T18" fmla="*/ 64 w 77"/>
                <a:gd name="T19" fmla="*/ 3 h 33"/>
                <a:gd name="T20" fmla="*/ 74 w 77"/>
                <a:gd name="T21" fmla="*/ 13 h 33"/>
                <a:gd name="T22" fmla="*/ 74 w 77"/>
                <a:gd name="T23" fmla="*/ 16 h 33"/>
                <a:gd name="T24" fmla="*/ 77 w 77"/>
                <a:gd name="T25" fmla="*/ 21 h 33"/>
                <a:gd name="T26" fmla="*/ 77 w 77"/>
                <a:gd name="T27" fmla="*/ 22 h 33"/>
                <a:gd name="T28" fmla="*/ 72 w 77"/>
                <a:gd name="T29" fmla="*/ 27 h 33"/>
                <a:gd name="T30" fmla="*/ 69 w 77"/>
                <a:gd name="T31" fmla="*/ 27 h 33"/>
                <a:gd name="T32" fmla="*/ 68 w 77"/>
                <a:gd name="T33" fmla="*/ 31 h 33"/>
                <a:gd name="T34" fmla="*/ 66 w 77"/>
                <a:gd name="T35" fmla="*/ 31 h 33"/>
                <a:gd name="T36" fmla="*/ 61 w 77"/>
                <a:gd name="T37" fmla="*/ 22 h 33"/>
                <a:gd name="T38" fmla="*/ 64 w 77"/>
                <a:gd name="T39" fmla="*/ 16 h 33"/>
                <a:gd name="T40" fmla="*/ 61 w 77"/>
                <a:gd name="T41" fmla="*/ 16 h 33"/>
                <a:gd name="T42" fmla="*/ 50 w 77"/>
                <a:gd name="T43" fmla="*/ 9 h 33"/>
                <a:gd name="T44" fmla="*/ 34 w 77"/>
                <a:gd name="T45" fmla="*/ 19 h 33"/>
                <a:gd name="T46" fmla="*/ 34 w 77"/>
                <a:gd name="T47" fmla="*/ 22 h 33"/>
                <a:gd name="T48" fmla="*/ 38 w 77"/>
                <a:gd name="T49" fmla="*/ 28 h 33"/>
                <a:gd name="T50" fmla="*/ 38 w 77"/>
                <a:gd name="T51" fmla="*/ 30 h 33"/>
                <a:gd name="T52" fmla="*/ 32 w 77"/>
                <a:gd name="T53" fmla="*/ 33 h 33"/>
                <a:gd name="T54" fmla="*/ 28 w 77"/>
                <a:gd name="T55" fmla="*/ 33 h 33"/>
                <a:gd name="T56" fmla="*/ 26 w 77"/>
                <a:gd name="T57" fmla="*/ 27 h 33"/>
                <a:gd name="T58" fmla="*/ 22 w 77"/>
                <a:gd name="T59" fmla="*/ 27 h 33"/>
                <a:gd name="T60" fmla="*/ 16 w 77"/>
                <a:gd name="T61" fmla="*/ 19 h 33"/>
                <a:gd name="T62" fmla="*/ 4 w 77"/>
                <a:gd name="T63" fmla="*/ 18 h 33"/>
                <a:gd name="T64" fmla="*/ 3 w 77"/>
                <a:gd name="T65" fmla="*/ 21 h 33"/>
                <a:gd name="T66" fmla="*/ 1 w 77"/>
                <a:gd name="T67" fmla="*/ 21 h 33"/>
                <a:gd name="T68" fmla="*/ 0 w 77"/>
                <a:gd name="T69" fmla="*/ 16 h 33"/>
                <a:gd name="T70" fmla="*/ 3 w 77"/>
                <a:gd name="T71" fmla="*/ 7 h 33"/>
                <a:gd name="T72" fmla="*/ 1 w 77"/>
                <a:gd name="T73" fmla="*/ 6 h 33"/>
                <a:gd name="T74" fmla="*/ 1 w 77"/>
                <a:gd name="T75" fmla="*/ 2 h 33"/>
                <a:gd name="T76" fmla="*/ 6 w 77"/>
                <a:gd name="T7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 h="33">
                  <a:moveTo>
                    <a:pt x="6" y="0"/>
                  </a:moveTo>
                  <a:lnTo>
                    <a:pt x="10" y="2"/>
                  </a:lnTo>
                  <a:lnTo>
                    <a:pt x="12" y="7"/>
                  </a:lnTo>
                  <a:lnTo>
                    <a:pt x="23" y="10"/>
                  </a:lnTo>
                  <a:lnTo>
                    <a:pt x="37" y="4"/>
                  </a:lnTo>
                  <a:lnTo>
                    <a:pt x="38" y="4"/>
                  </a:lnTo>
                  <a:lnTo>
                    <a:pt x="40" y="6"/>
                  </a:lnTo>
                  <a:lnTo>
                    <a:pt x="43" y="0"/>
                  </a:lnTo>
                  <a:lnTo>
                    <a:pt x="50" y="0"/>
                  </a:lnTo>
                  <a:lnTo>
                    <a:pt x="64" y="3"/>
                  </a:lnTo>
                  <a:lnTo>
                    <a:pt x="74" y="13"/>
                  </a:lnTo>
                  <a:lnTo>
                    <a:pt x="74" y="16"/>
                  </a:lnTo>
                  <a:lnTo>
                    <a:pt x="77" y="21"/>
                  </a:lnTo>
                  <a:lnTo>
                    <a:pt x="77" y="22"/>
                  </a:lnTo>
                  <a:lnTo>
                    <a:pt x="72" y="27"/>
                  </a:lnTo>
                  <a:lnTo>
                    <a:pt x="69" y="27"/>
                  </a:lnTo>
                  <a:lnTo>
                    <a:pt x="68" y="31"/>
                  </a:lnTo>
                  <a:lnTo>
                    <a:pt x="66" y="31"/>
                  </a:lnTo>
                  <a:lnTo>
                    <a:pt x="61" y="22"/>
                  </a:lnTo>
                  <a:lnTo>
                    <a:pt x="64" y="16"/>
                  </a:lnTo>
                  <a:lnTo>
                    <a:pt x="61" y="16"/>
                  </a:lnTo>
                  <a:lnTo>
                    <a:pt x="50" y="9"/>
                  </a:lnTo>
                  <a:lnTo>
                    <a:pt x="34" y="19"/>
                  </a:lnTo>
                  <a:lnTo>
                    <a:pt x="34" y="22"/>
                  </a:lnTo>
                  <a:lnTo>
                    <a:pt x="38" y="28"/>
                  </a:lnTo>
                  <a:lnTo>
                    <a:pt x="38" y="30"/>
                  </a:lnTo>
                  <a:lnTo>
                    <a:pt x="32" y="33"/>
                  </a:lnTo>
                  <a:lnTo>
                    <a:pt x="28" y="33"/>
                  </a:lnTo>
                  <a:lnTo>
                    <a:pt x="26" y="27"/>
                  </a:lnTo>
                  <a:lnTo>
                    <a:pt x="22" y="27"/>
                  </a:lnTo>
                  <a:lnTo>
                    <a:pt x="16" y="19"/>
                  </a:lnTo>
                  <a:lnTo>
                    <a:pt x="4" y="18"/>
                  </a:lnTo>
                  <a:lnTo>
                    <a:pt x="3" y="21"/>
                  </a:lnTo>
                  <a:lnTo>
                    <a:pt x="1" y="21"/>
                  </a:lnTo>
                  <a:lnTo>
                    <a:pt x="0" y="16"/>
                  </a:lnTo>
                  <a:lnTo>
                    <a:pt x="3" y="7"/>
                  </a:lnTo>
                  <a:lnTo>
                    <a:pt x="1" y="6"/>
                  </a:lnTo>
                  <a:lnTo>
                    <a:pt x="1" y="2"/>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9" name="Nicaragua">
              <a:extLst>
                <a:ext uri="{FF2B5EF4-FFF2-40B4-BE49-F238E27FC236}">
                  <a16:creationId xmlns:a16="http://schemas.microsoft.com/office/drawing/2014/main" id="{C21459A6-39F3-ECBB-9752-E8978A66F504}"/>
                </a:ext>
              </a:extLst>
            </p:cNvPr>
            <p:cNvSpPr>
              <a:spLocks/>
            </p:cNvSpPr>
            <p:nvPr/>
          </p:nvSpPr>
          <p:spPr bwMode="auto">
            <a:xfrm>
              <a:off x="3758565" y="4233222"/>
              <a:ext cx="104809" cy="104809"/>
            </a:xfrm>
            <a:custGeom>
              <a:avLst/>
              <a:gdLst>
                <a:gd name="T0" fmla="*/ 57 w 58"/>
                <a:gd name="T1" fmla="*/ 0 h 58"/>
                <a:gd name="T2" fmla="*/ 58 w 58"/>
                <a:gd name="T3" fmla="*/ 0 h 58"/>
                <a:gd name="T4" fmla="*/ 51 w 58"/>
                <a:gd name="T5" fmla="*/ 47 h 58"/>
                <a:gd name="T6" fmla="*/ 52 w 58"/>
                <a:gd name="T7" fmla="*/ 53 h 58"/>
                <a:gd name="T8" fmla="*/ 52 w 58"/>
                <a:gd name="T9" fmla="*/ 55 h 58"/>
                <a:gd name="T10" fmla="*/ 46 w 58"/>
                <a:gd name="T11" fmla="*/ 58 h 58"/>
                <a:gd name="T12" fmla="*/ 45 w 58"/>
                <a:gd name="T13" fmla="*/ 58 h 58"/>
                <a:gd name="T14" fmla="*/ 41 w 58"/>
                <a:gd name="T15" fmla="*/ 53 h 58"/>
                <a:gd name="T16" fmla="*/ 24 w 58"/>
                <a:gd name="T17" fmla="*/ 52 h 58"/>
                <a:gd name="T18" fmla="*/ 0 w 58"/>
                <a:gd name="T19" fmla="*/ 28 h 58"/>
                <a:gd name="T20" fmla="*/ 0 w 58"/>
                <a:gd name="T21" fmla="*/ 27 h 58"/>
                <a:gd name="T22" fmla="*/ 3 w 58"/>
                <a:gd name="T23" fmla="*/ 27 h 58"/>
                <a:gd name="T24" fmla="*/ 8 w 58"/>
                <a:gd name="T25" fmla="*/ 25 h 58"/>
                <a:gd name="T26" fmla="*/ 11 w 58"/>
                <a:gd name="T27" fmla="*/ 22 h 58"/>
                <a:gd name="T28" fmla="*/ 11 w 58"/>
                <a:gd name="T29" fmla="*/ 16 h 58"/>
                <a:gd name="T30" fmla="*/ 17 w 58"/>
                <a:gd name="T31" fmla="*/ 16 h 58"/>
                <a:gd name="T32" fmla="*/ 18 w 58"/>
                <a:gd name="T33" fmla="*/ 12 h 58"/>
                <a:gd name="T34" fmla="*/ 20 w 58"/>
                <a:gd name="T35" fmla="*/ 12 h 58"/>
                <a:gd name="T36" fmla="*/ 24 w 58"/>
                <a:gd name="T37" fmla="*/ 13 h 58"/>
                <a:gd name="T38" fmla="*/ 32 w 58"/>
                <a:gd name="T39" fmla="*/ 9 h 58"/>
                <a:gd name="T40" fmla="*/ 36 w 58"/>
                <a:gd name="T41" fmla="*/ 1 h 58"/>
                <a:gd name="T42" fmla="*/ 38 w 58"/>
                <a:gd name="T43" fmla="*/ 1 h 58"/>
                <a:gd name="T44" fmla="*/ 43 w 58"/>
                <a:gd name="T45" fmla="*/ 4 h 58"/>
                <a:gd name="T46" fmla="*/ 57 w 58"/>
                <a:gd name="T4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58">
                  <a:moveTo>
                    <a:pt x="57" y="0"/>
                  </a:moveTo>
                  <a:lnTo>
                    <a:pt x="58" y="0"/>
                  </a:lnTo>
                  <a:lnTo>
                    <a:pt x="51" y="47"/>
                  </a:lnTo>
                  <a:lnTo>
                    <a:pt x="52" y="53"/>
                  </a:lnTo>
                  <a:lnTo>
                    <a:pt x="52" y="55"/>
                  </a:lnTo>
                  <a:lnTo>
                    <a:pt x="46" y="58"/>
                  </a:lnTo>
                  <a:lnTo>
                    <a:pt x="45" y="58"/>
                  </a:lnTo>
                  <a:lnTo>
                    <a:pt x="41" y="53"/>
                  </a:lnTo>
                  <a:lnTo>
                    <a:pt x="24" y="52"/>
                  </a:lnTo>
                  <a:lnTo>
                    <a:pt x="0" y="28"/>
                  </a:lnTo>
                  <a:lnTo>
                    <a:pt x="0" y="27"/>
                  </a:lnTo>
                  <a:lnTo>
                    <a:pt x="3" y="27"/>
                  </a:lnTo>
                  <a:lnTo>
                    <a:pt x="8" y="25"/>
                  </a:lnTo>
                  <a:lnTo>
                    <a:pt x="11" y="22"/>
                  </a:lnTo>
                  <a:lnTo>
                    <a:pt x="11" y="16"/>
                  </a:lnTo>
                  <a:lnTo>
                    <a:pt x="17" y="16"/>
                  </a:lnTo>
                  <a:lnTo>
                    <a:pt x="18" y="12"/>
                  </a:lnTo>
                  <a:lnTo>
                    <a:pt x="20" y="12"/>
                  </a:lnTo>
                  <a:lnTo>
                    <a:pt x="24" y="13"/>
                  </a:lnTo>
                  <a:lnTo>
                    <a:pt x="32" y="9"/>
                  </a:lnTo>
                  <a:lnTo>
                    <a:pt x="36" y="1"/>
                  </a:lnTo>
                  <a:lnTo>
                    <a:pt x="38" y="1"/>
                  </a:lnTo>
                  <a:lnTo>
                    <a:pt x="43" y="4"/>
                  </a:lnTo>
                  <a:lnTo>
                    <a:pt x="5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0" name="Mexico">
              <a:extLst>
                <a:ext uri="{FF2B5EF4-FFF2-40B4-BE49-F238E27FC236}">
                  <a16:creationId xmlns:a16="http://schemas.microsoft.com/office/drawing/2014/main" id="{E57FDE24-1B11-BE92-DA55-55641BC3087C}"/>
                </a:ext>
              </a:extLst>
            </p:cNvPr>
            <p:cNvSpPr>
              <a:spLocks/>
            </p:cNvSpPr>
            <p:nvPr/>
          </p:nvSpPr>
          <p:spPr bwMode="auto">
            <a:xfrm>
              <a:off x="3062846" y="3774229"/>
              <a:ext cx="715596" cy="469837"/>
            </a:xfrm>
            <a:custGeom>
              <a:avLst/>
              <a:gdLst>
                <a:gd name="T0" fmla="*/ 114 w 396"/>
                <a:gd name="T1" fmla="*/ 21 h 260"/>
                <a:gd name="T2" fmla="*/ 139 w 396"/>
                <a:gd name="T3" fmla="*/ 14 h 260"/>
                <a:gd name="T4" fmla="*/ 162 w 396"/>
                <a:gd name="T5" fmla="*/ 40 h 260"/>
                <a:gd name="T6" fmla="*/ 187 w 396"/>
                <a:gd name="T7" fmla="*/ 45 h 260"/>
                <a:gd name="T8" fmla="*/ 205 w 396"/>
                <a:gd name="T9" fmla="*/ 43 h 260"/>
                <a:gd name="T10" fmla="*/ 228 w 396"/>
                <a:gd name="T11" fmla="*/ 77 h 260"/>
                <a:gd name="T12" fmla="*/ 262 w 396"/>
                <a:gd name="T13" fmla="*/ 109 h 260"/>
                <a:gd name="T14" fmla="*/ 255 w 396"/>
                <a:gd name="T15" fmla="*/ 138 h 260"/>
                <a:gd name="T16" fmla="*/ 261 w 396"/>
                <a:gd name="T17" fmla="*/ 172 h 260"/>
                <a:gd name="T18" fmla="*/ 280 w 396"/>
                <a:gd name="T19" fmla="*/ 200 h 260"/>
                <a:gd name="T20" fmla="*/ 322 w 396"/>
                <a:gd name="T21" fmla="*/ 202 h 260"/>
                <a:gd name="T22" fmla="*/ 337 w 396"/>
                <a:gd name="T23" fmla="*/ 199 h 260"/>
                <a:gd name="T24" fmla="*/ 378 w 396"/>
                <a:gd name="T25" fmla="*/ 162 h 260"/>
                <a:gd name="T26" fmla="*/ 385 w 396"/>
                <a:gd name="T27" fmla="*/ 163 h 260"/>
                <a:gd name="T28" fmla="*/ 390 w 396"/>
                <a:gd name="T29" fmla="*/ 163 h 260"/>
                <a:gd name="T30" fmla="*/ 396 w 396"/>
                <a:gd name="T31" fmla="*/ 168 h 260"/>
                <a:gd name="T32" fmla="*/ 387 w 396"/>
                <a:gd name="T33" fmla="*/ 190 h 260"/>
                <a:gd name="T34" fmla="*/ 387 w 396"/>
                <a:gd name="T35" fmla="*/ 195 h 260"/>
                <a:gd name="T36" fmla="*/ 378 w 396"/>
                <a:gd name="T37" fmla="*/ 206 h 260"/>
                <a:gd name="T38" fmla="*/ 374 w 396"/>
                <a:gd name="T39" fmla="*/ 208 h 260"/>
                <a:gd name="T40" fmla="*/ 343 w 396"/>
                <a:gd name="T41" fmla="*/ 215 h 260"/>
                <a:gd name="T42" fmla="*/ 338 w 396"/>
                <a:gd name="T43" fmla="*/ 221 h 260"/>
                <a:gd name="T44" fmla="*/ 348 w 396"/>
                <a:gd name="T45" fmla="*/ 238 h 260"/>
                <a:gd name="T46" fmla="*/ 328 w 396"/>
                <a:gd name="T47" fmla="*/ 252 h 260"/>
                <a:gd name="T48" fmla="*/ 308 w 396"/>
                <a:gd name="T49" fmla="*/ 243 h 260"/>
                <a:gd name="T50" fmla="*/ 274 w 396"/>
                <a:gd name="T51" fmla="*/ 246 h 260"/>
                <a:gd name="T52" fmla="*/ 240 w 396"/>
                <a:gd name="T53" fmla="*/ 233 h 260"/>
                <a:gd name="T54" fmla="*/ 181 w 396"/>
                <a:gd name="T55" fmla="*/ 209 h 260"/>
                <a:gd name="T56" fmla="*/ 154 w 396"/>
                <a:gd name="T57" fmla="*/ 190 h 260"/>
                <a:gd name="T58" fmla="*/ 156 w 396"/>
                <a:gd name="T59" fmla="*/ 178 h 260"/>
                <a:gd name="T60" fmla="*/ 150 w 396"/>
                <a:gd name="T61" fmla="*/ 150 h 260"/>
                <a:gd name="T62" fmla="*/ 122 w 396"/>
                <a:gd name="T63" fmla="*/ 123 h 260"/>
                <a:gd name="T64" fmla="*/ 116 w 396"/>
                <a:gd name="T65" fmla="*/ 113 h 260"/>
                <a:gd name="T66" fmla="*/ 107 w 396"/>
                <a:gd name="T67" fmla="*/ 107 h 260"/>
                <a:gd name="T68" fmla="*/ 101 w 396"/>
                <a:gd name="T69" fmla="*/ 103 h 260"/>
                <a:gd name="T70" fmla="*/ 86 w 396"/>
                <a:gd name="T71" fmla="*/ 74 h 260"/>
                <a:gd name="T72" fmla="*/ 58 w 396"/>
                <a:gd name="T73" fmla="*/ 43 h 260"/>
                <a:gd name="T74" fmla="*/ 39 w 396"/>
                <a:gd name="T75" fmla="*/ 21 h 260"/>
                <a:gd name="T76" fmla="*/ 39 w 396"/>
                <a:gd name="T77" fmla="*/ 46 h 260"/>
                <a:gd name="T78" fmla="*/ 52 w 396"/>
                <a:gd name="T79" fmla="*/ 60 h 260"/>
                <a:gd name="T80" fmla="*/ 71 w 396"/>
                <a:gd name="T81" fmla="*/ 89 h 260"/>
                <a:gd name="T82" fmla="*/ 89 w 396"/>
                <a:gd name="T83" fmla="*/ 126 h 260"/>
                <a:gd name="T84" fmla="*/ 102 w 396"/>
                <a:gd name="T85" fmla="*/ 137 h 260"/>
                <a:gd name="T86" fmla="*/ 88 w 396"/>
                <a:gd name="T87" fmla="*/ 135 h 260"/>
                <a:gd name="T88" fmla="*/ 64 w 396"/>
                <a:gd name="T89" fmla="*/ 119 h 260"/>
                <a:gd name="T90" fmla="*/ 55 w 396"/>
                <a:gd name="T91" fmla="*/ 94 h 260"/>
                <a:gd name="T92" fmla="*/ 48 w 396"/>
                <a:gd name="T93" fmla="*/ 91 h 260"/>
                <a:gd name="T94" fmla="*/ 39 w 396"/>
                <a:gd name="T95" fmla="*/ 74 h 260"/>
                <a:gd name="T96" fmla="*/ 19 w 396"/>
                <a:gd name="T97" fmla="*/ 46 h 260"/>
                <a:gd name="T98" fmla="*/ 8 w 396"/>
                <a:gd name="T99" fmla="*/ 15 h 260"/>
                <a:gd name="T100" fmla="*/ 31 w 396"/>
                <a:gd name="T10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6" h="260">
                  <a:moveTo>
                    <a:pt x="31" y="0"/>
                  </a:moveTo>
                  <a:lnTo>
                    <a:pt x="80" y="23"/>
                  </a:lnTo>
                  <a:lnTo>
                    <a:pt x="114" y="21"/>
                  </a:lnTo>
                  <a:lnTo>
                    <a:pt x="114" y="15"/>
                  </a:lnTo>
                  <a:lnTo>
                    <a:pt x="116" y="14"/>
                  </a:lnTo>
                  <a:lnTo>
                    <a:pt x="139" y="14"/>
                  </a:lnTo>
                  <a:lnTo>
                    <a:pt x="139" y="15"/>
                  </a:lnTo>
                  <a:lnTo>
                    <a:pt x="159" y="31"/>
                  </a:lnTo>
                  <a:lnTo>
                    <a:pt x="162" y="40"/>
                  </a:lnTo>
                  <a:lnTo>
                    <a:pt x="166" y="48"/>
                  </a:lnTo>
                  <a:lnTo>
                    <a:pt x="179" y="57"/>
                  </a:lnTo>
                  <a:lnTo>
                    <a:pt x="187" y="45"/>
                  </a:lnTo>
                  <a:lnTo>
                    <a:pt x="193" y="45"/>
                  </a:lnTo>
                  <a:lnTo>
                    <a:pt x="197" y="43"/>
                  </a:lnTo>
                  <a:lnTo>
                    <a:pt x="205" y="43"/>
                  </a:lnTo>
                  <a:lnTo>
                    <a:pt x="215" y="54"/>
                  </a:lnTo>
                  <a:lnTo>
                    <a:pt x="219" y="66"/>
                  </a:lnTo>
                  <a:lnTo>
                    <a:pt x="228" y="77"/>
                  </a:lnTo>
                  <a:lnTo>
                    <a:pt x="236" y="94"/>
                  </a:lnTo>
                  <a:lnTo>
                    <a:pt x="262" y="103"/>
                  </a:lnTo>
                  <a:lnTo>
                    <a:pt x="262" y="109"/>
                  </a:lnTo>
                  <a:lnTo>
                    <a:pt x="257" y="112"/>
                  </a:lnTo>
                  <a:lnTo>
                    <a:pt x="252" y="120"/>
                  </a:lnTo>
                  <a:lnTo>
                    <a:pt x="255" y="138"/>
                  </a:lnTo>
                  <a:lnTo>
                    <a:pt x="255" y="156"/>
                  </a:lnTo>
                  <a:lnTo>
                    <a:pt x="261" y="165"/>
                  </a:lnTo>
                  <a:lnTo>
                    <a:pt x="261" y="172"/>
                  </a:lnTo>
                  <a:lnTo>
                    <a:pt x="270" y="186"/>
                  </a:lnTo>
                  <a:lnTo>
                    <a:pt x="274" y="196"/>
                  </a:lnTo>
                  <a:lnTo>
                    <a:pt x="280" y="200"/>
                  </a:lnTo>
                  <a:lnTo>
                    <a:pt x="289" y="203"/>
                  </a:lnTo>
                  <a:lnTo>
                    <a:pt x="297" y="209"/>
                  </a:lnTo>
                  <a:lnTo>
                    <a:pt x="322" y="202"/>
                  </a:lnTo>
                  <a:lnTo>
                    <a:pt x="334" y="205"/>
                  </a:lnTo>
                  <a:lnTo>
                    <a:pt x="337" y="203"/>
                  </a:lnTo>
                  <a:lnTo>
                    <a:pt x="337" y="199"/>
                  </a:lnTo>
                  <a:lnTo>
                    <a:pt x="343" y="195"/>
                  </a:lnTo>
                  <a:lnTo>
                    <a:pt x="348" y="169"/>
                  </a:lnTo>
                  <a:lnTo>
                    <a:pt x="378" y="162"/>
                  </a:lnTo>
                  <a:lnTo>
                    <a:pt x="384" y="162"/>
                  </a:lnTo>
                  <a:lnTo>
                    <a:pt x="384" y="165"/>
                  </a:lnTo>
                  <a:lnTo>
                    <a:pt x="385" y="163"/>
                  </a:lnTo>
                  <a:lnTo>
                    <a:pt x="385" y="162"/>
                  </a:lnTo>
                  <a:lnTo>
                    <a:pt x="388" y="162"/>
                  </a:lnTo>
                  <a:lnTo>
                    <a:pt x="390" y="163"/>
                  </a:lnTo>
                  <a:lnTo>
                    <a:pt x="393" y="163"/>
                  </a:lnTo>
                  <a:lnTo>
                    <a:pt x="393" y="165"/>
                  </a:lnTo>
                  <a:lnTo>
                    <a:pt x="396" y="168"/>
                  </a:lnTo>
                  <a:lnTo>
                    <a:pt x="396" y="169"/>
                  </a:lnTo>
                  <a:lnTo>
                    <a:pt x="385" y="190"/>
                  </a:lnTo>
                  <a:lnTo>
                    <a:pt x="387" y="190"/>
                  </a:lnTo>
                  <a:lnTo>
                    <a:pt x="387" y="192"/>
                  </a:lnTo>
                  <a:lnTo>
                    <a:pt x="385" y="193"/>
                  </a:lnTo>
                  <a:lnTo>
                    <a:pt x="387" y="195"/>
                  </a:lnTo>
                  <a:lnTo>
                    <a:pt x="383" y="212"/>
                  </a:lnTo>
                  <a:lnTo>
                    <a:pt x="381" y="212"/>
                  </a:lnTo>
                  <a:lnTo>
                    <a:pt x="378" y="206"/>
                  </a:lnTo>
                  <a:lnTo>
                    <a:pt x="378" y="202"/>
                  </a:lnTo>
                  <a:lnTo>
                    <a:pt x="375" y="206"/>
                  </a:lnTo>
                  <a:lnTo>
                    <a:pt x="374" y="208"/>
                  </a:lnTo>
                  <a:lnTo>
                    <a:pt x="369" y="214"/>
                  </a:lnTo>
                  <a:lnTo>
                    <a:pt x="365" y="215"/>
                  </a:lnTo>
                  <a:lnTo>
                    <a:pt x="343" y="215"/>
                  </a:lnTo>
                  <a:lnTo>
                    <a:pt x="343" y="223"/>
                  </a:lnTo>
                  <a:lnTo>
                    <a:pt x="340" y="223"/>
                  </a:lnTo>
                  <a:lnTo>
                    <a:pt x="338" y="221"/>
                  </a:lnTo>
                  <a:lnTo>
                    <a:pt x="337" y="221"/>
                  </a:lnTo>
                  <a:lnTo>
                    <a:pt x="344" y="229"/>
                  </a:lnTo>
                  <a:lnTo>
                    <a:pt x="348" y="238"/>
                  </a:lnTo>
                  <a:lnTo>
                    <a:pt x="348" y="239"/>
                  </a:lnTo>
                  <a:lnTo>
                    <a:pt x="335" y="239"/>
                  </a:lnTo>
                  <a:lnTo>
                    <a:pt x="328" y="252"/>
                  </a:lnTo>
                  <a:lnTo>
                    <a:pt x="325" y="258"/>
                  </a:lnTo>
                  <a:lnTo>
                    <a:pt x="325" y="260"/>
                  </a:lnTo>
                  <a:lnTo>
                    <a:pt x="308" y="243"/>
                  </a:lnTo>
                  <a:lnTo>
                    <a:pt x="294" y="238"/>
                  </a:lnTo>
                  <a:lnTo>
                    <a:pt x="289" y="239"/>
                  </a:lnTo>
                  <a:lnTo>
                    <a:pt x="274" y="246"/>
                  </a:lnTo>
                  <a:lnTo>
                    <a:pt x="273" y="246"/>
                  </a:lnTo>
                  <a:lnTo>
                    <a:pt x="254" y="241"/>
                  </a:lnTo>
                  <a:lnTo>
                    <a:pt x="240" y="233"/>
                  </a:lnTo>
                  <a:lnTo>
                    <a:pt x="212" y="226"/>
                  </a:lnTo>
                  <a:lnTo>
                    <a:pt x="200" y="214"/>
                  </a:lnTo>
                  <a:lnTo>
                    <a:pt x="181" y="209"/>
                  </a:lnTo>
                  <a:lnTo>
                    <a:pt x="174" y="203"/>
                  </a:lnTo>
                  <a:lnTo>
                    <a:pt x="162" y="196"/>
                  </a:lnTo>
                  <a:lnTo>
                    <a:pt x="154" y="190"/>
                  </a:lnTo>
                  <a:lnTo>
                    <a:pt x="151" y="181"/>
                  </a:lnTo>
                  <a:lnTo>
                    <a:pt x="151" y="180"/>
                  </a:lnTo>
                  <a:lnTo>
                    <a:pt x="156" y="178"/>
                  </a:lnTo>
                  <a:lnTo>
                    <a:pt x="154" y="175"/>
                  </a:lnTo>
                  <a:lnTo>
                    <a:pt x="157" y="168"/>
                  </a:lnTo>
                  <a:lnTo>
                    <a:pt x="150" y="150"/>
                  </a:lnTo>
                  <a:lnTo>
                    <a:pt x="141" y="143"/>
                  </a:lnTo>
                  <a:lnTo>
                    <a:pt x="134" y="132"/>
                  </a:lnTo>
                  <a:lnTo>
                    <a:pt x="122" y="123"/>
                  </a:lnTo>
                  <a:lnTo>
                    <a:pt x="122" y="122"/>
                  </a:lnTo>
                  <a:lnTo>
                    <a:pt x="120" y="116"/>
                  </a:lnTo>
                  <a:lnTo>
                    <a:pt x="116" y="113"/>
                  </a:lnTo>
                  <a:lnTo>
                    <a:pt x="108" y="110"/>
                  </a:lnTo>
                  <a:lnTo>
                    <a:pt x="107" y="110"/>
                  </a:lnTo>
                  <a:lnTo>
                    <a:pt x="107" y="107"/>
                  </a:lnTo>
                  <a:lnTo>
                    <a:pt x="104" y="107"/>
                  </a:lnTo>
                  <a:lnTo>
                    <a:pt x="101" y="104"/>
                  </a:lnTo>
                  <a:lnTo>
                    <a:pt x="101" y="103"/>
                  </a:lnTo>
                  <a:lnTo>
                    <a:pt x="105" y="97"/>
                  </a:lnTo>
                  <a:lnTo>
                    <a:pt x="88" y="83"/>
                  </a:lnTo>
                  <a:lnTo>
                    <a:pt x="86" y="74"/>
                  </a:lnTo>
                  <a:lnTo>
                    <a:pt x="80" y="73"/>
                  </a:lnTo>
                  <a:lnTo>
                    <a:pt x="70" y="63"/>
                  </a:lnTo>
                  <a:lnTo>
                    <a:pt x="58" y="43"/>
                  </a:lnTo>
                  <a:lnTo>
                    <a:pt x="52" y="26"/>
                  </a:lnTo>
                  <a:lnTo>
                    <a:pt x="45" y="20"/>
                  </a:lnTo>
                  <a:lnTo>
                    <a:pt x="39" y="21"/>
                  </a:lnTo>
                  <a:lnTo>
                    <a:pt x="31" y="14"/>
                  </a:lnTo>
                  <a:lnTo>
                    <a:pt x="36" y="40"/>
                  </a:lnTo>
                  <a:lnTo>
                    <a:pt x="39" y="46"/>
                  </a:lnTo>
                  <a:lnTo>
                    <a:pt x="48" y="52"/>
                  </a:lnTo>
                  <a:lnTo>
                    <a:pt x="50" y="58"/>
                  </a:lnTo>
                  <a:lnTo>
                    <a:pt x="52" y="60"/>
                  </a:lnTo>
                  <a:lnTo>
                    <a:pt x="53" y="60"/>
                  </a:lnTo>
                  <a:lnTo>
                    <a:pt x="70" y="89"/>
                  </a:lnTo>
                  <a:lnTo>
                    <a:pt x="71" y="89"/>
                  </a:lnTo>
                  <a:lnTo>
                    <a:pt x="74" y="91"/>
                  </a:lnTo>
                  <a:lnTo>
                    <a:pt x="88" y="126"/>
                  </a:lnTo>
                  <a:lnTo>
                    <a:pt x="89" y="126"/>
                  </a:lnTo>
                  <a:lnTo>
                    <a:pt x="92" y="125"/>
                  </a:lnTo>
                  <a:lnTo>
                    <a:pt x="92" y="126"/>
                  </a:lnTo>
                  <a:lnTo>
                    <a:pt x="102" y="137"/>
                  </a:lnTo>
                  <a:lnTo>
                    <a:pt x="101" y="143"/>
                  </a:lnTo>
                  <a:lnTo>
                    <a:pt x="95" y="147"/>
                  </a:lnTo>
                  <a:lnTo>
                    <a:pt x="88" y="135"/>
                  </a:lnTo>
                  <a:lnTo>
                    <a:pt x="70" y="120"/>
                  </a:lnTo>
                  <a:lnTo>
                    <a:pt x="64" y="120"/>
                  </a:lnTo>
                  <a:lnTo>
                    <a:pt x="64" y="119"/>
                  </a:lnTo>
                  <a:lnTo>
                    <a:pt x="65" y="106"/>
                  </a:lnTo>
                  <a:lnTo>
                    <a:pt x="64" y="98"/>
                  </a:lnTo>
                  <a:lnTo>
                    <a:pt x="55" y="94"/>
                  </a:lnTo>
                  <a:lnTo>
                    <a:pt x="53" y="89"/>
                  </a:lnTo>
                  <a:lnTo>
                    <a:pt x="52" y="91"/>
                  </a:lnTo>
                  <a:lnTo>
                    <a:pt x="48" y="91"/>
                  </a:lnTo>
                  <a:lnTo>
                    <a:pt x="28" y="77"/>
                  </a:lnTo>
                  <a:lnTo>
                    <a:pt x="28" y="74"/>
                  </a:lnTo>
                  <a:lnTo>
                    <a:pt x="39" y="74"/>
                  </a:lnTo>
                  <a:lnTo>
                    <a:pt x="40" y="66"/>
                  </a:lnTo>
                  <a:lnTo>
                    <a:pt x="28" y="51"/>
                  </a:lnTo>
                  <a:lnTo>
                    <a:pt x="19" y="46"/>
                  </a:lnTo>
                  <a:lnTo>
                    <a:pt x="18" y="37"/>
                  </a:lnTo>
                  <a:lnTo>
                    <a:pt x="15" y="37"/>
                  </a:lnTo>
                  <a:lnTo>
                    <a:pt x="8" y="15"/>
                  </a:lnTo>
                  <a:lnTo>
                    <a:pt x="0" y="5"/>
                  </a:lnTo>
                  <a:lnTo>
                    <a:pt x="0" y="3"/>
                  </a:lnTo>
                  <a:lnTo>
                    <a:pt x="3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1" name="Martinique">
              <a:extLst>
                <a:ext uri="{FF2B5EF4-FFF2-40B4-BE49-F238E27FC236}">
                  <a16:creationId xmlns:a16="http://schemas.microsoft.com/office/drawing/2014/main" id="{F691BD80-AF60-63B9-A6B7-56391ED501AF}"/>
                </a:ext>
              </a:extLst>
            </p:cNvPr>
            <p:cNvSpPr>
              <a:spLocks/>
            </p:cNvSpPr>
            <p:nvPr/>
          </p:nvSpPr>
          <p:spPr bwMode="auto">
            <a:xfrm>
              <a:off x="4380195" y="4235030"/>
              <a:ext cx="10843" cy="14457"/>
            </a:xfrm>
            <a:custGeom>
              <a:avLst/>
              <a:gdLst>
                <a:gd name="T0" fmla="*/ 0 w 6"/>
                <a:gd name="T1" fmla="*/ 0 h 8"/>
                <a:gd name="T2" fmla="*/ 2 w 6"/>
                <a:gd name="T3" fmla="*/ 0 h 8"/>
                <a:gd name="T4" fmla="*/ 6 w 6"/>
                <a:gd name="T5" fmla="*/ 6 h 8"/>
                <a:gd name="T6" fmla="*/ 6 w 6"/>
                <a:gd name="T7" fmla="*/ 8 h 8"/>
                <a:gd name="T8" fmla="*/ 3 w 6"/>
                <a:gd name="T9" fmla="*/ 8 h 8"/>
                <a:gd name="T10" fmla="*/ 3 w 6"/>
                <a:gd name="T11" fmla="*/ 6 h 8"/>
                <a:gd name="T12" fmla="*/ 0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0"/>
                  </a:moveTo>
                  <a:lnTo>
                    <a:pt x="2" y="0"/>
                  </a:lnTo>
                  <a:lnTo>
                    <a:pt x="6" y="6"/>
                  </a:lnTo>
                  <a:lnTo>
                    <a:pt x="6" y="8"/>
                  </a:lnTo>
                  <a:lnTo>
                    <a:pt x="3" y="8"/>
                  </a:lnTo>
                  <a:lnTo>
                    <a:pt x="3" y="6"/>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2" name="Lago de Nicaragua">
              <a:extLst>
                <a:ext uri="{FF2B5EF4-FFF2-40B4-BE49-F238E27FC236}">
                  <a16:creationId xmlns:a16="http://schemas.microsoft.com/office/drawing/2014/main" id="{4EF62560-A66D-468A-37C2-6AB1888D859F}"/>
                </a:ext>
              </a:extLst>
            </p:cNvPr>
            <p:cNvSpPr>
              <a:spLocks/>
            </p:cNvSpPr>
            <p:nvPr/>
          </p:nvSpPr>
          <p:spPr bwMode="auto">
            <a:xfrm>
              <a:off x="3800127" y="4301891"/>
              <a:ext cx="23493" cy="25299"/>
            </a:xfrm>
            <a:custGeom>
              <a:avLst/>
              <a:gdLst>
                <a:gd name="T0" fmla="*/ 0 w 13"/>
                <a:gd name="T1" fmla="*/ 0 h 14"/>
                <a:gd name="T2" fmla="*/ 3 w 13"/>
                <a:gd name="T3" fmla="*/ 0 h 14"/>
                <a:gd name="T4" fmla="*/ 10 w 13"/>
                <a:gd name="T5" fmla="*/ 6 h 14"/>
                <a:gd name="T6" fmla="*/ 13 w 13"/>
                <a:gd name="T7" fmla="*/ 14 h 14"/>
                <a:gd name="T8" fmla="*/ 3 w 13"/>
                <a:gd name="T9" fmla="*/ 11 h 14"/>
                <a:gd name="T10" fmla="*/ 0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0" y="0"/>
                  </a:moveTo>
                  <a:lnTo>
                    <a:pt x="3" y="0"/>
                  </a:lnTo>
                  <a:lnTo>
                    <a:pt x="10" y="6"/>
                  </a:lnTo>
                  <a:lnTo>
                    <a:pt x="13" y="14"/>
                  </a:lnTo>
                  <a:lnTo>
                    <a:pt x="3" y="11"/>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3" name="Honduras">
              <a:extLst>
                <a:ext uri="{FF2B5EF4-FFF2-40B4-BE49-F238E27FC236}">
                  <a16:creationId xmlns:a16="http://schemas.microsoft.com/office/drawing/2014/main" id="{A60F90A2-D792-80F4-EF5C-FC54E1B3EEB7}"/>
                </a:ext>
              </a:extLst>
            </p:cNvPr>
            <p:cNvSpPr>
              <a:spLocks/>
            </p:cNvSpPr>
            <p:nvPr/>
          </p:nvSpPr>
          <p:spPr bwMode="auto">
            <a:xfrm>
              <a:off x="3717003" y="4206117"/>
              <a:ext cx="144565" cy="75897"/>
            </a:xfrm>
            <a:custGeom>
              <a:avLst/>
              <a:gdLst>
                <a:gd name="T0" fmla="*/ 56 w 80"/>
                <a:gd name="T1" fmla="*/ 0 h 42"/>
                <a:gd name="T2" fmla="*/ 69 w 80"/>
                <a:gd name="T3" fmla="*/ 4 h 42"/>
                <a:gd name="T4" fmla="*/ 80 w 80"/>
                <a:gd name="T5" fmla="*/ 15 h 42"/>
                <a:gd name="T6" fmla="*/ 80 w 80"/>
                <a:gd name="T7" fmla="*/ 16 h 42"/>
                <a:gd name="T8" fmla="*/ 66 w 80"/>
                <a:gd name="T9" fmla="*/ 21 h 42"/>
                <a:gd name="T10" fmla="*/ 61 w 80"/>
                <a:gd name="T11" fmla="*/ 18 h 42"/>
                <a:gd name="T12" fmla="*/ 56 w 80"/>
                <a:gd name="T13" fmla="*/ 24 h 42"/>
                <a:gd name="T14" fmla="*/ 47 w 80"/>
                <a:gd name="T15" fmla="*/ 30 h 42"/>
                <a:gd name="T16" fmla="*/ 43 w 80"/>
                <a:gd name="T17" fmla="*/ 28 h 42"/>
                <a:gd name="T18" fmla="*/ 41 w 80"/>
                <a:gd name="T19" fmla="*/ 33 h 42"/>
                <a:gd name="T20" fmla="*/ 35 w 80"/>
                <a:gd name="T21" fmla="*/ 33 h 42"/>
                <a:gd name="T22" fmla="*/ 35 w 80"/>
                <a:gd name="T23" fmla="*/ 37 h 42"/>
                <a:gd name="T24" fmla="*/ 31 w 80"/>
                <a:gd name="T25" fmla="*/ 40 h 42"/>
                <a:gd name="T26" fmla="*/ 26 w 80"/>
                <a:gd name="T27" fmla="*/ 42 h 42"/>
                <a:gd name="T28" fmla="*/ 23 w 80"/>
                <a:gd name="T29" fmla="*/ 37 h 42"/>
                <a:gd name="T30" fmla="*/ 21 w 80"/>
                <a:gd name="T31" fmla="*/ 37 h 42"/>
                <a:gd name="T32" fmla="*/ 19 w 80"/>
                <a:gd name="T33" fmla="*/ 30 h 42"/>
                <a:gd name="T34" fmla="*/ 12 w 80"/>
                <a:gd name="T35" fmla="*/ 30 h 42"/>
                <a:gd name="T36" fmla="*/ 0 w 80"/>
                <a:gd name="T37" fmla="*/ 22 h 42"/>
                <a:gd name="T38" fmla="*/ 1 w 80"/>
                <a:gd name="T39" fmla="*/ 19 h 42"/>
                <a:gd name="T40" fmla="*/ 1 w 80"/>
                <a:gd name="T41" fmla="*/ 15 h 42"/>
                <a:gd name="T42" fmla="*/ 12 w 80"/>
                <a:gd name="T43" fmla="*/ 6 h 42"/>
                <a:gd name="T44" fmla="*/ 13 w 80"/>
                <a:gd name="T45" fmla="*/ 3 h 42"/>
                <a:gd name="T46" fmla="*/ 56 w 80"/>
                <a:gd name="T4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42">
                  <a:moveTo>
                    <a:pt x="56" y="0"/>
                  </a:moveTo>
                  <a:lnTo>
                    <a:pt x="69" y="4"/>
                  </a:lnTo>
                  <a:lnTo>
                    <a:pt x="80" y="15"/>
                  </a:lnTo>
                  <a:lnTo>
                    <a:pt x="80" y="16"/>
                  </a:lnTo>
                  <a:lnTo>
                    <a:pt x="66" y="21"/>
                  </a:lnTo>
                  <a:lnTo>
                    <a:pt x="61" y="18"/>
                  </a:lnTo>
                  <a:lnTo>
                    <a:pt x="56" y="24"/>
                  </a:lnTo>
                  <a:lnTo>
                    <a:pt x="47" y="30"/>
                  </a:lnTo>
                  <a:lnTo>
                    <a:pt x="43" y="28"/>
                  </a:lnTo>
                  <a:lnTo>
                    <a:pt x="41" y="33"/>
                  </a:lnTo>
                  <a:lnTo>
                    <a:pt x="35" y="33"/>
                  </a:lnTo>
                  <a:lnTo>
                    <a:pt x="35" y="37"/>
                  </a:lnTo>
                  <a:lnTo>
                    <a:pt x="31" y="40"/>
                  </a:lnTo>
                  <a:lnTo>
                    <a:pt x="26" y="42"/>
                  </a:lnTo>
                  <a:lnTo>
                    <a:pt x="23" y="37"/>
                  </a:lnTo>
                  <a:lnTo>
                    <a:pt x="21" y="37"/>
                  </a:lnTo>
                  <a:lnTo>
                    <a:pt x="19" y="30"/>
                  </a:lnTo>
                  <a:lnTo>
                    <a:pt x="12" y="30"/>
                  </a:lnTo>
                  <a:lnTo>
                    <a:pt x="0" y="22"/>
                  </a:lnTo>
                  <a:lnTo>
                    <a:pt x="1" y="19"/>
                  </a:lnTo>
                  <a:lnTo>
                    <a:pt x="1" y="15"/>
                  </a:lnTo>
                  <a:lnTo>
                    <a:pt x="12" y="6"/>
                  </a:lnTo>
                  <a:lnTo>
                    <a:pt x="13" y="3"/>
                  </a:lnTo>
                  <a:lnTo>
                    <a:pt x="5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4" name="Haiti">
              <a:extLst>
                <a:ext uri="{FF2B5EF4-FFF2-40B4-BE49-F238E27FC236}">
                  <a16:creationId xmlns:a16="http://schemas.microsoft.com/office/drawing/2014/main" id="{A0A1561D-A468-E6EB-180E-4773E7C07695}"/>
                </a:ext>
              </a:extLst>
            </p:cNvPr>
            <p:cNvSpPr>
              <a:spLocks/>
            </p:cNvSpPr>
            <p:nvPr/>
          </p:nvSpPr>
          <p:spPr bwMode="auto">
            <a:xfrm>
              <a:off x="4069380" y="4106729"/>
              <a:ext cx="66862" cy="50597"/>
            </a:xfrm>
            <a:custGeom>
              <a:avLst/>
              <a:gdLst/>
              <a:ahLst/>
              <a:cxnLst/>
              <a:rect l="l" t="t" r="r" b="b"/>
              <a:pathLst>
                <a:path w="67395" h="51000">
                  <a:moveTo>
                    <a:pt x="27322" y="27322"/>
                  </a:moveTo>
                  <a:lnTo>
                    <a:pt x="36430" y="27322"/>
                  </a:lnTo>
                  <a:lnTo>
                    <a:pt x="38251" y="32787"/>
                  </a:lnTo>
                  <a:lnTo>
                    <a:pt x="41894" y="34608"/>
                  </a:lnTo>
                  <a:lnTo>
                    <a:pt x="38251" y="34608"/>
                  </a:lnTo>
                  <a:lnTo>
                    <a:pt x="30965" y="32787"/>
                  </a:lnTo>
                  <a:lnTo>
                    <a:pt x="27322" y="29144"/>
                  </a:lnTo>
                  <a:close/>
                  <a:moveTo>
                    <a:pt x="36430" y="0"/>
                  </a:moveTo>
                  <a:lnTo>
                    <a:pt x="38252" y="0"/>
                  </a:lnTo>
                  <a:lnTo>
                    <a:pt x="43716" y="3643"/>
                  </a:lnTo>
                  <a:lnTo>
                    <a:pt x="43716" y="5465"/>
                  </a:lnTo>
                  <a:lnTo>
                    <a:pt x="41899" y="5465"/>
                  </a:lnTo>
                  <a:lnTo>
                    <a:pt x="52823" y="9107"/>
                  </a:lnTo>
                  <a:lnTo>
                    <a:pt x="63752" y="5464"/>
                  </a:lnTo>
                  <a:lnTo>
                    <a:pt x="67395" y="21857"/>
                  </a:lnTo>
                  <a:lnTo>
                    <a:pt x="63752" y="38250"/>
                  </a:lnTo>
                  <a:lnTo>
                    <a:pt x="65574" y="51000"/>
                  </a:lnTo>
                  <a:lnTo>
                    <a:pt x="63752" y="51000"/>
                  </a:lnTo>
                  <a:lnTo>
                    <a:pt x="54645" y="49179"/>
                  </a:lnTo>
                  <a:lnTo>
                    <a:pt x="41894" y="51000"/>
                  </a:lnTo>
                  <a:lnTo>
                    <a:pt x="21858" y="45536"/>
                  </a:lnTo>
                  <a:lnTo>
                    <a:pt x="14572" y="51000"/>
                  </a:lnTo>
                  <a:lnTo>
                    <a:pt x="0" y="40071"/>
                  </a:lnTo>
                  <a:lnTo>
                    <a:pt x="0" y="38250"/>
                  </a:lnTo>
                  <a:lnTo>
                    <a:pt x="47359" y="38250"/>
                  </a:lnTo>
                  <a:lnTo>
                    <a:pt x="47359" y="34607"/>
                  </a:lnTo>
                  <a:lnTo>
                    <a:pt x="38251" y="29143"/>
                  </a:lnTo>
                  <a:lnTo>
                    <a:pt x="38251" y="16392"/>
                  </a:lnTo>
                  <a:lnTo>
                    <a:pt x="25501" y="10928"/>
                  </a:lnTo>
                  <a:lnTo>
                    <a:pt x="21858" y="10928"/>
                  </a:lnTo>
                  <a:lnTo>
                    <a:pt x="21858" y="9107"/>
                  </a:lnTo>
                  <a:lnTo>
                    <a:pt x="36430" y="3642"/>
                  </a:lnTo>
                  <a:lnTo>
                    <a:pt x="36430" y="3642"/>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5" name="Jamaica">
              <a:extLst>
                <a:ext uri="{FF2B5EF4-FFF2-40B4-BE49-F238E27FC236}">
                  <a16:creationId xmlns:a16="http://schemas.microsoft.com/office/drawing/2014/main" id="{8A9BF4EE-1942-14C0-6FF8-57A1139B7CF8}"/>
                </a:ext>
              </a:extLst>
            </p:cNvPr>
            <p:cNvSpPr>
              <a:spLocks/>
            </p:cNvSpPr>
            <p:nvPr/>
          </p:nvSpPr>
          <p:spPr bwMode="auto">
            <a:xfrm>
              <a:off x="3977219" y="4144677"/>
              <a:ext cx="52405" cy="21685"/>
            </a:xfrm>
            <a:custGeom>
              <a:avLst/>
              <a:gdLst>
                <a:gd name="T0" fmla="*/ 5 w 29"/>
                <a:gd name="T1" fmla="*/ 0 h 12"/>
                <a:gd name="T2" fmla="*/ 16 w 29"/>
                <a:gd name="T3" fmla="*/ 0 h 12"/>
                <a:gd name="T4" fmla="*/ 26 w 29"/>
                <a:gd name="T5" fmla="*/ 4 h 12"/>
                <a:gd name="T6" fmla="*/ 29 w 29"/>
                <a:gd name="T7" fmla="*/ 9 h 12"/>
                <a:gd name="T8" fmla="*/ 22 w 29"/>
                <a:gd name="T9" fmla="*/ 9 h 12"/>
                <a:gd name="T10" fmla="*/ 16 w 29"/>
                <a:gd name="T11" fmla="*/ 12 h 12"/>
                <a:gd name="T12" fmla="*/ 8 w 29"/>
                <a:gd name="T13" fmla="*/ 10 h 12"/>
                <a:gd name="T14" fmla="*/ 0 w 29"/>
                <a:gd name="T15" fmla="*/ 4 h 12"/>
                <a:gd name="T16" fmla="*/ 0 w 29"/>
                <a:gd name="T17" fmla="*/ 3 h 12"/>
                <a:gd name="T18" fmla="*/ 5 w 29"/>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2">
                  <a:moveTo>
                    <a:pt x="5" y="0"/>
                  </a:moveTo>
                  <a:lnTo>
                    <a:pt x="16" y="0"/>
                  </a:lnTo>
                  <a:lnTo>
                    <a:pt x="26" y="4"/>
                  </a:lnTo>
                  <a:lnTo>
                    <a:pt x="29" y="9"/>
                  </a:lnTo>
                  <a:lnTo>
                    <a:pt x="22" y="9"/>
                  </a:lnTo>
                  <a:lnTo>
                    <a:pt x="16" y="12"/>
                  </a:lnTo>
                  <a:lnTo>
                    <a:pt x="8" y="10"/>
                  </a:lnTo>
                  <a:lnTo>
                    <a:pt x="0" y="4"/>
                  </a:lnTo>
                  <a:lnTo>
                    <a:pt x="0" y="3"/>
                  </a:lnTo>
                  <a:lnTo>
                    <a:pt x="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6" name="Guadeloupe">
              <a:extLst>
                <a:ext uri="{FF2B5EF4-FFF2-40B4-BE49-F238E27FC236}">
                  <a16:creationId xmlns:a16="http://schemas.microsoft.com/office/drawing/2014/main" id="{83FB0554-E7F2-2366-D30E-5503C7D9EF6B}"/>
                </a:ext>
              </a:extLst>
            </p:cNvPr>
            <p:cNvSpPr>
              <a:spLocks/>
            </p:cNvSpPr>
            <p:nvPr/>
          </p:nvSpPr>
          <p:spPr bwMode="auto">
            <a:xfrm>
              <a:off x="4367546" y="4195275"/>
              <a:ext cx="16264" cy="14457"/>
            </a:xfrm>
            <a:custGeom>
              <a:avLst/>
              <a:gdLst>
                <a:gd name="T0" fmla="*/ 4 w 9"/>
                <a:gd name="T1" fmla="*/ 0 h 8"/>
                <a:gd name="T2" fmla="*/ 6 w 9"/>
                <a:gd name="T3" fmla="*/ 0 h 8"/>
                <a:gd name="T4" fmla="*/ 9 w 9"/>
                <a:gd name="T5" fmla="*/ 3 h 8"/>
                <a:gd name="T6" fmla="*/ 9 w 9"/>
                <a:gd name="T7" fmla="*/ 5 h 8"/>
                <a:gd name="T8" fmla="*/ 1 w 9"/>
                <a:gd name="T9" fmla="*/ 8 h 8"/>
                <a:gd name="T10" fmla="*/ 0 w 9"/>
                <a:gd name="T11" fmla="*/ 8 h 8"/>
                <a:gd name="T12" fmla="*/ 0 w 9"/>
                <a:gd name="T13" fmla="*/ 2 h 8"/>
                <a:gd name="T14" fmla="*/ 1 w 9"/>
                <a:gd name="T15" fmla="*/ 2 h 8"/>
                <a:gd name="T16" fmla="*/ 4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0"/>
                  </a:moveTo>
                  <a:lnTo>
                    <a:pt x="6" y="0"/>
                  </a:lnTo>
                  <a:lnTo>
                    <a:pt x="9" y="3"/>
                  </a:lnTo>
                  <a:lnTo>
                    <a:pt x="9" y="5"/>
                  </a:lnTo>
                  <a:lnTo>
                    <a:pt x="1" y="8"/>
                  </a:lnTo>
                  <a:lnTo>
                    <a:pt x="0" y="8"/>
                  </a:lnTo>
                  <a:lnTo>
                    <a:pt x="0" y="2"/>
                  </a:lnTo>
                  <a:lnTo>
                    <a:pt x="1" y="2"/>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7" name="Guatemala">
              <a:extLst>
                <a:ext uri="{FF2B5EF4-FFF2-40B4-BE49-F238E27FC236}">
                  <a16:creationId xmlns:a16="http://schemas.microsoft.com/office/drawing/2014/main" id="{DC4372EC-F202-A694-2BC8-6A3D492240B7}"/>
                </a:ext>
              </a:extLst>
            </p:cNvPr>
            <p:cNvSpPr>
              <a:spLocks/>
            </p:cNvSpPr>
            <p:nvPr/>
          </p:nvSpPr>
          <p:spPr bwMode="auto">
            <a:xfrm>
              <a:off x="3646527" y="4160940"/>
              <a:ext cx="97581" cy="104809"/>
            </a:xfrm>
            <a:custGeom>
              <a:avLst/>
              <a:gdLst>
                <a:gd name="T0" fmla="*/ 20 w 54"/>
                <a:gd name="T1" fmla="*/ 0 h 58"/>
                <a:gd name="T2" fmla="*/ 42 w 54"/>
                <a:gd name="T3" fmla="*/ 0 h 58"/>
                <a:gd name="T4" fmla="*/ 42 w 54"/>
                <a:gd name="T5" fmla="*/ 25 h 58"/>
                <a:gd name="T6" fmla="*/ 46 w 54"/>
                <a:gd name="T7" fmla="*/ 25 h 58"/>
                <a:gd name="T8" fmla="*/ 54 w 54"/>
                <a:gd name="T9" fmla="*/ 28 h 58"/>
                <a:gd name="T10" fmla="*/ 54 w 54"/>
                <a:gd name="T11" fmla="*/ 29 h 58"/>
                <a:gd name="T12" fmla="*/ 52 w 54"/>
                <a:gd name="T13" fmla="*/ 32 h 58"/>
                <a:gd name="T14" fmla="*/ 42 w 54"/>
                <a:gd name="T15" fmla="*/ 40 h 58"/>
                <a:gd name="T16" fmla="*/ 42 w 54"/>
                <a:gd name="T17" fmla="*/ 44 h 58"/>
                <a:gd name="T18" fmla="*/ 39 w 54"/>
                <a:gd name="T19" fmla="*/ 47 h 58"/>
                <a:gd name="T20" fmla="*/ 31 w 54"/>
                <a:gd name="T21" fmla="*/ 58 h 58"/>
                <a:gd name="T22" fmla="*/ 30 w 54"/>
                <a:gd name="T23" fmla="*/ 58 h 58"/>
                <a:gd name="T24" fmla="*/ 14 w 54"/>
                <a:gd name="T25" fmla="*/ 55 h 58"/>
                <a:gd name="T26" fmla="*/ 2 w 54"/>
                <a:gd name="T27" fmla="*/ 46 h 58"/>
                <a:gd name="T28" fmla="*/ 0 w 54"/>
                <a:gd name="T29" fmla="*/ 44 h 58"/>
                <a:gd name="T30" fmla="*/ 3 w 54"/>
                <a:gd name="T31" fmla="*/ 38 h 58"/>
                <a:gd name="T32" fmla="*/ 12 w 54"/>
                <a:gd name="T33" fmla="*/ 25 h 58"/>
                <a:gd name="T34" fmla="*/ 12 w 54"/>
                <a:gd name="T35" fmla="*/ 24 h 58"/>
                <a:gd name="T36" fmla="*/ 22 w 54"/>
                <a:gd name="T37" fmla="*/ 24 h 58"/>
                <a:gd name="T38" fmla="*/ 20 w 54"/>
                <a:gd name="T39" fmla="*/ 16 h 58"/>
                <a:gd name="T40" fmla="*/ 11 w 54"/>
                <a:gd name="T41" fmla="*/ 7 h 58"/>
                <a:gd name="T42" fmla="*/ 11 w 54"/>
                <a:gd name="T43" fmla="*/ 6 h 58"/>
                <a:gd name="T44" fmla="*/ 14 w 54"/>
                <a:gd name="T45" fmla="*/ 6 h 58"/>
                <a:gd name="T46" fmla="*/ 15 w 54"/>
                <a:gd name="T47" fmla="*/ 7 h 58"/>
                <a:gd name="T48" fmla="*/ 18 w 54"/>
                <a:gd name="T49" fmla="*/ 7 h 58"/>
                <a:gd name="T50" fmla="*/ 20 w 54"/>
                <a:gd name="T51" fmla="*/ 1 h 58"/>
                <a:gd name="T52" fmla="*/ 20 w 54"/>
                <a:gd name="T5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8">
                  <a:moveTo>
                    <a:pt x="20" y="0"/>
                  </a:moveTo>
                  <a:lnTo>
                    <a:pt x="42" y="0"/>
                  </a:lnTo>
                  <a:lnTo>
                    <a:pt x="42" y="25"/>
                  </a:lnTo>
                  <a:lnTo>
                    <a:pt x="46" y="25"/>
                  </a:lnTo>
                  <a:lnTo>
                    <a:pt x="54" y="28"/>
                  </a:lnTo>
                  <a:lnTo>
                    <a:pt x="54" y="29"/>
                  </a:lnTo>
                  <a:lnTo>
                    <a:pt x="52" y="32"/>
                  </a:lnTo>
                  <a:lnTo>
                    <a:pt x="42" y="40"/>
                  </a:lnTo>
                  <a:lnTo>
                    <a:pt x="42" y="44"/>
                  </a:lnTo>
                  <a:lnTo>
                    <a:pt x="39" y="47"/>
                  </a:lnTo>
                  <a:lnTo>
                    <a:pt x="31" y="58"/>
                  </a:lnTo>
                  <a:lnTo>
                    <a:pt x="30" y="58"/>
                  </a:lnTo>
                  <a:lnTo>
                    <a:pt x="14" y="55"/>
                  </a:lnTo>
                  <a:lnTo>
                    <a:pt x="2" y="46"/>
                  </a:lnTo>
                  <a:lnTo>
                    <a:pt x="0" y="44"/>
                  </a:lnTo>
                  <a:lnTo>
                    <a:pt x="3" y="38"/>
                  </a:lnTo>
                  <a:lnTo>
                    <a:pt x="12" y="25"/>
                  </a:lnTo>
                  <a:lnTo>
                    <a:pt x="12" y="24"/>
                  </a:lnTo>
                  <a:lnTo>
                    <a:pt x="22" y="24"/>
                  </a:lnTo>
                  <a:lnTo>
                    <a:pt x="20" y="16"/>
                  </a:lnTo>
                  <a:lnTo>
                    <a:pt x="11" y="7"/>
                  </a:lnTo>
                  <a:lnTo>
                    <a:pt x="11" y="6"/>
                  </a:lnTo>
                  <a:lnTo>
                    <a:pt x="14" y="6"/>
                  </a:lnTo>
                  <a:lnTo>
                    <a:pt x="15" y="7"/>
                  </a:lnTo>
                  <a:lnTo>
                    <a:pt x="18" y="7"/>
                  </a:lnTo>
                  <a:lnTo>
                    <a:pt x="20" y="1"/>
                  </a:lnTo>
                  <a:lnTo>
                    <a:pt x="2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8" name="El Salvador">
              <a:extLst>
                <a:ext uri="{FF2B5EF4-FFF2-40B4-BE49-F238E27FC236}">
                  <a16:creationId xmlns:a16="http://schemas.microsoft.com/office/drawing/2014/main" id="{3591AACB-D2EA-AB4A-5173-C561D14B95F5}"/>
                </a:ext>
              </a:extLst>
            </p:cNvPr>
            <p:cNvSpPr>
              <a:spLocks/>
            </p:cNvSpPr>
            <p:nvPr/>
          </p:nvSpPr>
          <p:spPr bwMode="auto">
            <a:xfrm>
              <a:off x="3700739" y="4245872"/>
              <a:ext cx="56019" cy="32527"/>
            </a:xfrm>
            <a:custGeom>
              <a:avLst/>
              <a:gdLst>
                <a:gd name="T0" fmla="*/ 9 w 31"/>
                <a:gd name="T1" fmla="*/ 0 h 18"/>
                <a:gd name="T2" fmla="*/ 21 w 31"/>
                <a:gd name="T3" fmla="*/ 8 h 18"/>
                <a:gd name="T4" fmla="*/ 28 w 31"/>
                <a:gd name="T5" fmla="*/ 6 h 18"/>
                <a:gd name="T6" fmla="*/ 30 w 31"/>
                <a:gd name="T7" fmla="*/ 6 h 18"/>
                <a:gd name="T8" fmla="*/ 30 w 31"/>
                <a:gd name="T9" fmla="*/ 8 h 18"/>
                <a:gd name="T10" fmla="*/ 31 w 31"/>
                <a:gd name="T11" fmla="*/ 14 h 18"/>
                <a:gd name="T12" fmla="*/ 31 w 31"/>
                <a:gd name="T13" fmla="*/ 15 h 18"/>
                <a:gd name="T14" fmla="*/ 25 w 31"/>
                <a:gd name="T15" fmla="*/ 18 h 18"/>
                <a:gd name="T16" fmla="*/ 18 w 31"/>
                <a:gd name="T17" fmla="*/ 18 h 18"/>
                <a:gd name="T18" fmla="*/ 0 w 31"/>
                <a:gd name="T19" fmla="*/ 11 h 18"/>
                <a:gd name="T20" fmla="*/ 0 w 31"/>
                <a:gd name="T21" fmla="*/ 9 h 18"/>
                <a:gd name="T22" fmla="*/ 9 w 31"/>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8">
                  <a:moveTo>
                    <a:pt x="9" y="0"/>
                  </a:moveTo>
                  <a:lnTo>
                    <a:pt x="21" y="8"/>
                  </a:lnTo>
                  <a:lnTo>
                    <a:pt x="28" y="6"/>
                  </a:lnTo>
                  <a:lnTo>
                    <a:pt x="30" y="6"/>
                  </a:lnTo>
                  <a:lnTo>
                    <a:pt x="30" y="8"/>
                  </a:lnTo>
                  <a:lnTo>
                    <a:pt x="31" y="14"/>
                  </a:lnTo>
                  <a:lnTo>
                    <a:pt x="31" y="15"/>
                  </a:lnTo>
                  <a:lnTo>
                    <a:pt x="25" y="18"/>
                  </a:lnTo>
                  <a:lnTo>
                    <a:pt x="18" y="18"/>
                  </a:lnTo>
                  <a:lnTo>
                    <a:pt x="0" y="11"/>
                  </a:lnTo>
                  <a:lnTo>
                    <a:pt x="0" y="9"/>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9" name="Dominican Republic">
              <a:extLst>
                <a:ext uri="{FF2B5EF4-FFF2-40B4-BE49-F238E27FC236}">
                  <a16:creationId xmlns:a16="http://schemas.microsoft.com/office/drawing/2014/main" id="{C0D5BCC9-617A-7FAA-C1B1-E226B3038019}"/>
                </a:ext>
              </a:extLst>
            </p:cNvPr>
            <p:cNvSpPr>
              <a:spLocks/>
            </p:cNvSpPr>
            <p:nvPr/>
          </p:nvSpPr>
          <p:spPr bwMode="auto">
            <a:xfrm>
              <a:off x="4129012" y="4110342"/>
              <a:ext cx="84933" cy="57826"/>
            </a:xfrm>
            <a:custGeom>
              <a:avLst/>
              <a:gdLst>
                <a:gd name="T0" fmla="*/ 15 w 47"/>
                <a:gd name="T1" fmla="*/ 0 h 32"/>
                <a:gd name="T2" fmla="*/ 25 w 47"/>
                <a:gd name="T3" fmla="*/ 3 h 32"/>
                <a:gd name="T4" fmla="*/ 28 w 47"/>
                <a:gd name="T5" fmla="*/ 7 h 32"/>
                <a:gd name="T6" fmla="*/ 36 w 47"/>
                <a:gd name="T7" fmla="*/ 9 h 32"/>
                <a:gd name="T8" fmla="*/ 36 w 47"/>
                <a:gd name="T9" fmla="*/ 10 h 32"/>
                <a:gd name="T10" fmla="*/ 33 w 47"/>
                <a:gd name="T11" fmla="*/ 12 h 32"/>
                <a:gd name="T12" fmla="*/ 40 w 47"/>
                <a:gd name="T13" fmla="*/ 13 h 32"/>
                <a:gd name="T14" fmla="*/ 47 w 47"/>
                <a:gd name="T15" fmla="*/ 17 h 32"/>
                <a:gd name="T16" fmla="*/ 47 w 47"/>
                <a:gd name="T17" fmla="*/ 19 h 32"/>
                <a:gd name="T18" fmla="*/ 45 w 47"/>
                <a:gd name="T19" fmla="*/ 23 h 32"/>
                <a:gd name="T20" fmla="*/ 43 w 47"/>
                <a:gd name="T21" fmla="*/ 23 h 32"/>
                <a:gd name="T22" fmla="*/ 42 w 47"/>
                <a:gd name="T23" fmla="*/ 22 h 32"/>
                <a:gd name="T24" fmla="*/ 34 w 47"/>
                <a:gd name="T25" fmla="*/ 22 h 32"/>
                <a:gd name="T26" fmla="*/ 33 w 47"/>
                <a:gd name="T27" fmla="*/ 20 h 32"/>
                <a:gd name="T28" fmla="*/ 31 w 47"/>
                <a:gd name="T29" fmla="*/ 20 h 32"/>
                <a:gd name="T30" fmla="*/ 18 w 47"/>
                <a:gd name="T31" fmla="*/ 26 h 32"/>
                <a:gd name="T32" fmla="*/ 18 w 47"/>
                <a:gd name="T33" fmla="*/ 25 h 32"/>
                <a:gd name="T34" fmla="*/ 15 w 47"/>
                <a:gd name="T35" fmla="*/ 22 h 32"/>
                <a:gd name="T36" fmla="*/ 6 w 47"/>
                <a:gd name="T37" fmla="*/ 32 h 32"/>
                <a:gd name="T38" fmla="*/ 4 w 47"/>
                <a:gd name="T39" fmla="*/ 32 h 32"/>
                <a:gd name="T40" fmla="*/ 2 w 47"/>
                <a:gd name="T41" fmla="*/ 26 h 32"/>
                <a:gd name="T42" fmla="*/ 0 w 47"/>
                <a:gd name="T43" fmla="*/ 19 h 32"/>
                <a:gd name="T44" fmla="*/ 3 w 47"/>
                <a:gd name="T45" fmla="*/ 10 h 32"/>
                <a:gd name="T46" fmla="*/ 2 w 47"/>
                <a:gd name="T47" fmla="*/ 1 h 32"/>
                <a:gd name="T48" fmla="*/ 15 w 47"/>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32">
                  <a:moveTo>
                    <a:pt x="15" y="0"/>
                  </a:moveTo>
                  <a:lnTo>
                    <a:pt x="25" y="3"/>
                  </a:lnTo>
                  <a:lnTo>
                    <a:pt x="28" y="7"/>
                  </a:lnTo>
                  <a:lnTo>
                    <a:pt x="36" y="9"/>
                  </a:lnTo>
                  <a:lnTo>
                    <a:pt x="36" y="10"/>
                  </a:lnTo>
                  <a:lnTo>
                    <a:pt x="33" y="12"/>
                  </a:lnTo>
                  <a:lnTo>
                    <a:pt x="40" y="13"/>
                  </a:lnTo>
                  <a:lnTo>
                    <a:pt x="47" y="17"/>
                  </a:lnTo>
                  <a:lnTo>
                    <a:pt x="47" y="19"/>
                  </a:lnTo>
                  <a:lnTo>
                    <a:pt x="45" y="23"/>
                  </a:lnTo>
                  <a:lnTo>
                    <a:pt x="43" y="23"/>
                  </a:lnTo>
                  <a:lnTo>
                    <a:pt x="42" y="22"/>
                  </a:lnTo>
                  <a:lnTo>
                    <a:pt x="34" y="22"/>
                  </a:lnTo>
                  <a:lnTo>
                    <a:pt x="33" y="20"/>
                  </a:lnTo>
                  <a:lnTo>
                    <a:pt x="31" y="20"/>
                  </a:lnTo>
                  <a:lnTo>
                    <a:pt x="18" y="26"/>
                  </a:lnTo>
                  <a:lnTo>
                    <a:pt x="18" y="25"/>
                  </a:lnTo>
                  <a:lnTo>
                    <a:pt x="15" y="22"/>
                  </a:lnTo>
                  <a:lnTo>
                    <a:pt x="6" y="32"/>
                  </a:lnTo>
                  <a:lnTo>
                    <a:pt x="4" y="32"/>
                  </a:lnTo>
                  <a:lnTo>
                    <a:pt x="2" y="26"/>
                  </a:lnTo>
                  <a:lnTo>
                    <a:pt x="0" y="19"/>
                  </a:lnTo>
                  <a:lnTo>
                    <a:pt x="3" y="10"/>
                  </a:lnTo>
                  <a:lnTo>
                    <a:pt x="2" y="1"/>
                  </a:lnTo>
                  <a:lnTo>
                    <a:pt x="1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0" name="Costa Rica">
              <a:extLst>
                <a:ext uri="{FF2B5EF4-FFF2-40B4-BE49-F238E27FC236}">
                  <a16:creationId xmlns:a16="http://schemas.microsoft.com/office/drawing/2014/main" id="{7FB51EC5-CA78-FA7C-621D-901F615591C3}"/>
                </a:ext>
              </a:extLst>
            </p:cNvPr>
            <p:cNvSpPr>
              <a:spLocks/>
            </p:cNvSpPr>
            <p:nvPr/>
          </p:nvSpPr>
          <p:spPr bwMode="auto">
            <a:xfrm>
              <a:off x="3800127" y="4323576"/>
              <a:ext cx="77705" cy="70476"/>
            </a:xfrm>
            <a:custGeom>
              <a:avLst/>
              <a:gdLst>
                <a:gd name="T0" fmla="*/ 1 w 43"/>
                <a:gd name="T1" fmla="*/ 0 h 39"/>
                <a:gd name="T2" fmla="*/ 7 w 43"/>
                <a:gd name="T3" fmla="*/ 0 h 39"/>
                <a:gd name="T4" fmla="*/ 12 w 43"/>
                <a:gd name="T5" fmla="*/ 2 h 39"/>
                <a:gd name="T6" fmla="*/ 18 w 43"/>
                <a:gd name="T7" fmla="*/ 2 h 39"/>
                <a:gd name="T8" fmla="*/ 22 w 43"/>
                <a:gd name="T9" fmla="*/ 6 h 39"/>
                <a:gd name="T10" fmla="*/ 28 w 43"/>
                <a:gd name="T11" fmla="*/ 3 h 39"/>
                <a:gd name="T12" fmla="*/ 29 w 43"/>
                <a:gd name="T13" fmla="*/ 3 h 39"/>
                <a:gd name="T14" fmla="*/ 34 w 43"/>
                <a:gd name="T15" fmla="*/ 14 h 39"/>
                <a:gd name="T16" fmla="*/ 43 w 43"/>
                <a:gd name="T17" fmla="*/ 21 h 39"/>
                <a:gd name="T18" fmla="*/ 40 w 43"/>
                <a:gd name="T19" fmla="*/ 24 h 39"/>
                <a:gd name="T20" fmla="*/ 40 w 43"/>
                <a:gd name="T21" fmla="*/ 27 h 39"/>
                <a:gd name="T22" fmla="*/ 41 w 43"/>
                <a:gd name="T23" fmla="*/ 27 h 39"/>
                <a:gd name="T24" fmla="*/ 41 w 43"/>
                <a:gd name="T25" fmla="*/ 28 h 39"/>
                <a:gd name="T26" fmla="*/ 38 w 43"/>
                <a:gd name="T27" fmla="*/ 37 h 39"/>
                <a:gd name="T28" fmla="*/ 38 w 43"/>
                <a:gd name="T29" fmla="*/ 39 h 39"/>
                <a:gd name="T30" fmla="*/ 37 w 43"/>
                <a:gd name="T31" fmla="*/ 39 h 39"/>
                <a:gd name="T32" fmla="*/ 37 w 43"/>
                <a:gd name="T33" fmla="*/ 37 h 39"/>
                <a:gd name="T34" fmla="*/ 34 w 43"/>
                <a:gd name="T35" fmla="*/ 36 h 39"/>
                <a:gd name="T36" fmla="*/ 34 w 43"/>
                <a:gd name="T37" fmla="*/ 37 h 39"/>
                <a:gd name="T38" fmla="*/ 32 w 43"/>
                <a:gd name="T39" fmla="*/ 37 h 39"/>
                <a:gd name="T40" fmla="*/ 28 w 43"/>
                <a:gd name="T41" fmla="*/ 36 h 39"/>
                <a:gd name="T42" fmla="*/ 28 w 43"/>
                <a:gd name="T43" fmla="*/ 28 h 39"/>
                <a:gd name="T44" fmla="*/ 18 w 43"/>
                <a:gd name="T45" fmla="*/ 24 h 39"/>
                <a:gd name="T46" fmla="*/ 12 w 43"/>
                <a:gd name="T47" fmla="*/ 15 h 39"/>
                <a:gd name="T48" fmla="*/ 12 w 43"/>
                <a:gd name="T49" fmla="*/ 21 h 39"/>
                <a:gd name="T50" fmla="*/ 10 w 43"/>
                <a:gd name="T51" fmla="*/ 21 h 39"/>
                <a:gd name="T52" fmla="*/ 3 w 43"/>
                <a:gd name="T53" fmla="*/ 17 h 39"/>
                <a:gd name="T54" fmla="*/ 0 w 43"/>
                <a:gd name="T55" fmla="*/ 11 h 39"/>
                <a:gd name="T56" fmla="*/ 1 w 43"/>
                <a:gd name="T57" fmla="*/ 2 h 39"/>
                <a:gd name="T58" fmla="*/ 1 w 43"/>
                <a:gd name="T5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39">
                  <a:moveTo>
                    <a:pt x="1" y="0"/>
                  </a:moveTo>
                  <a:lnTo>
                    <a:pt x="7" y="0"/>
                  </a:lnTo>
                  <a:lnTo>
                    <a:pt x="12" y="2"/>
                  </a:lnTo>
                  <a:lnTo>
                    <a:pt x="18" y="2"/>
                  </a:lnTo>
                  <a:lnTo>
                    <a:pt x="22" y="6"/>
                  </a:lnTo>
                  <a:lnTo>
                    <a:pt x="28" y="3"/>
                  </a:lnTo>
                  <a:lnTo>
                    <a:pt x="29" y="3"/>
                  </a:lnTo>
                  <a:lnTo>
                    <a:pt x="34" y="14"/>
                  </a:lnTo>
                  <a:lnTo>
                    <a:pt x="43" y="21"/>
                  </a:lnTo>
                  <a:lnTo>
                    <a:pt x="40" y="24"/>
                  </a:lnTo>
                  <a:lnTo>
                    <a:pt x="40" y="27"/>
                  </a:lnTo>
                  <a:lnTo>
                    <a:pt x="41" y="27"/>
                  </a:lnTo>
                  <a:lnTo>
                    <a:pt x="41" y="28"/>
                  </a:lnTo>
                  <a:lnTo>
                    <a:pt x="38" y="37"/>
                  </a:lnTo>
                  <a:lnTo>
                    <a:pt x="38" y="39"/>
                  </a:lnTo>
                  <a:lnTo>
                    <a:pt x="37" y="39"/>
                  </a:lnTo>
                  <a:lnTo>
                    <a:pt x="37" y="37"/>
                  </a:lnTo>
                  <a:lnTo>
                    <a:pt x="34" y="36"/>
                  </a:lnTo>
                  <a:lnTo>
                    <a:pt x="34" y="37"/>
                  </a:lnTo>
                  <a:lnTo>
                    <a:pt x="32" y="37"/>
                  </a:lnTo>
                  <a:lnTo>
                    <a:pt x="28" y="36"/>
                  </a:lnTo>
                  <a:lnTo>
                    <a:pt x="28" y="28"/>
                  </a:lnTo>
                  <a:lnTo>
                    <a:pt x="18" y="24"/>
                  </a:lnTo>
                  <a:lnTo>
                    <a:pt x="12" y="15"/>
                  </a:lnTo>
                  <a:lnTo>
                    <a:pt x="12" y="21"/>
                  </a:lnTo>
                  <a:lnTo>
                    <a:pt x="10" y="21"/>
                  </a:lnTo>
                  <a:lnTo>
                    <a:pt x="3" y="17"/>
                  </a:lnTo>
                  <a:lnTo>
                    <a:pt x="0" y="11"/>
                  </a:lnTo>
                  <a:lnTo>
                    <a:pt x="1" y="2"/>
                  </a:lnTo>
                  <a:lnTo>
                    <a:pt x="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1" name="Cuba">
              <a:extLst>
                <a:ext uri="{FF2B5EF4-FFF2-40B4-BE49-F238E27FC236}">
                  <a16:creationId xmlns:a16="http://schemas.microsoft.com/office/drawing/2014/main" id="{C4F007E8-9949-7968-7E03-4B838455F2AE}"/>
                </a:ext>
              </a:extLst>
            </p:cNvPr>
            <p:cNvSpPr>
              <a:spLocks/>
            </p:cNvSpPr>
            <p:nvPr/>
          </p:nvSpPr>
          <p:spPr bwMode="auto">
            <a:xfrm>
              <a:off x="3823620" y="4027217"/>
              <a:ext cx="251182" cy="88546"/>
            </a:xfrm>
            <a:custGeom>
              <a:avLst/>
              <a:gdLst/>
              <a:ahLst/>
              <a:cxnLst/>
              <a:rect l="l" t="t" r="r" b="b"/>
              <a:pathLst>
                <a:path w="253184" h="89252">
                  <a:moveTo>
                    <a:pt x="43715" y="34608"/>
                  </a:moveTo>
                  <a:lnTo>
                    <a:pt x="51001" y="34608"/>
                  </a:lnTo>
                  <a:lnTo>
                    <a:pt x="51001" y="45538"/>
                  </a:lnTo>
                  <a:lnTo>
                    <a:pt x="49180" y="45538"/>
                  </a:lnTo>
                  <a:lnTo>
                    <a:pt x="45536" y="47359"/>
                  </a:lnTo>
                  <a:lnTo>
                    <a:pt x="40072" y="47359"/>
                  </a:lnTo>
                  <a:lnTo>
                    <a:pt x="38250" y="45538"/>
                  </a:lnTo>
                  <a:close/>
                  <a:moveTo>
                    <a:pt x="56466" y="0"/>
                  </a:moveTo>
                  <a:lnTo>
                    <a:pt x="76502" y="0"/>
                  </a:lnTo>
                  <a:lnTo>
                    <a:pt x="111110" y="5465"/>
                  </a:lnTo>
                  <a:lnTo>
                    <a:pt x="129324" y="21858"/>
                  </a:lnTo>
                  <a:lnTo>
                    <a:pt x="149360" y="21858"/>
                  </a:lnTo>
                  <a:lnTo>
                    <a:pt x="162111" y="30965"/>
                  </a:lnTo>
                  <a:lnTo>
                    <a:pt x="163930" y="31875"/>
                  </a:lnTo>
                  <a:lnTo>
                    <a:pt x="145717" y="18215"/>
                  </a:lnTo>
                  <a:lnTo>
                    <a:pt x="162111" y="23680"/>
                  </a:lnTo>
                  <a:lnTo>
                    <a:pt x="169397" y="29144"/>
                  </a:lnTo>
                  <a:lnTo>
                    <a:pt x="173040" y="29144"/>
                  </a:lnTo>
                  <a:lnTo>
                    <a:pt x="173040" y="34609"/>
                  </a:lnTo>
                  <a:lnTo>
                    <a:pt x="169399" y="34609"/>
                  </a:lnTo>
                  <a:lnTo>
                    <a:pt x="180325" y="40072"/>
                  </a:lnTo>
                  <a:lnTo>
                    <a:pt x="194897" y="47358"/>
                  </a:lnTo>
                  <a:lnTo>
                    <a:pt x="218576" y="52823"/>
                  </a:lnTo>
                  <a:lnTo>
                    <a:pt x="218576" y="63752"/>
                  </a:lnTo>
                  <a:lnTo>
                    <a:pt x="238612" y="63752"/>
                  </a:lnTo>
                  <a:lnTo>
                    <a:pt x="253184" y="74680"/>
                  </a:lnTo>
                  <a:lnTo>
                    <a:pt x="253184" y="78323"/>
                  </a:lnTo>
                  <a:lnTo>
                    <a:pt x="227684" y="85609"/>
                  </a:lnTo>
                  <a:lnTo>
                    <a:pt x="227684" y="89252"/>
                  </a:lnTo>
                  <a:lnTo>
                    <a:pt x="173040" y="89252"/>
                  </a:lnTo>
                  <a:lnTo>
                    <a:pt x="167575" y="85609"/>
                  </a:lnTo>
                  <a:lnTo>
                    <a:pt x="167575" y="83788"/>
                  </a:lnTo>
                  <a:lnTo>
                    <a:pt x="180325" y="72859"/>
                  </a:lnTo>
                  <a:lnTo>
                    <a:pt x="160289" y="67394"/>
                  </a:lnTo>
                  <a:lnTo>
                    <a:pt x="145718" y="45537"/>
                  </a:lnTo>
                  <a:lnTo>
                    <a:pt x="116574" y="41894"/>
                  </a:lnTo>
                  <a:lnTo>
                    <a:pt x="100181" y="30965"/>
                  </a:lnTo>
                  <a:lnTo>
                    <a:pt x="67394" y="29144"/>
                  </a:lnTo>
                  <a:lnTo>
                    <a:pt x="61930" y="23679"/>
                  </a:lnTo>
                  <a:lnTo>
                    <a:pt x="65573" y="21858"/>
                  </a:lnTo>
                  <a:lnTo>
                    <a:pt x="71037" y="18215"/>
                  </a:lnTo>
                  <a:lnTo>
                    <a:pt x="51001" y="18215"/>
                  </a:lnTo>
                  <a:lnTo>
                    <a:pt x="40072" y="27322"/>
                  </a:lnTo>
                  <a:lnTo>
                    <a:pt x="23679" y="29144"/>
                  </a:lnTo>
                  <a:lnTo>
                    <a:pt x="10929" y="40072"/>
                  </a:lnTo>
                  <a:lnTo>
                    <a:pt x="9107" y="40072"/>
                  </a:lnTo>
                  <a:lnTo>
                    <a:pt x="0" y="36430"/>
                  </a:lnTo>
                  <a:lnTo>
                    <a:pt x="0" y="34608"/>
                  </a:lnTo>
                  <a:lnTo>
                    <a:pt x="9107" y="30965"/>
                  </a:lnTo>
                  <a:lnTo>
                    <a:pt x="10929" y="18215"/>
                  </a:lnTo>
                  <a:lnTo>
                    <a:pt x="23679" y="10929"/>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2" name="Belize">
              <a:extLst>
                <a:ext uri="{FF2B5EF4-FFF2-40B4-BE49-F238E27FC236}">
                  <a16:creationId xmlns:a16="http://schemas.microsoft.com/office/drawing/2014/main" id="{6C45F7B2-8094-321B-CB48-00E35A761CC7}"/>
                </a:ext>
              </a:extLst>
            </p:cNvPr>
            <p:cNvSpPr>
              <a:spLocks/>
            </p:cNvSpPr>
            <p:nvPr/>
          </p:nvSpPr>
          <p:spPr bwMode="auto">
            <a:xfrm>
              <a:off x="3718810" y="4146484"/>
              <a:ext cx="30721" cy="63248"/>
            </a:xfrm>
            <a:custGeom>
              <a:avLst/>
              <a:gdLst>
                <a:gd name="T0" fmla="*/ 9 w 17"/>
                <a:gd name="T1" fmla="*/ 0 h 35"/>
                <a:gd name="T2" fmla="*/ 12 w 17"/>
                <a:gd name="T3" fmla="*/ 0 h 35"/>
                <a:gd name="T4" fmla="*/ 17 w 17"/>
                <a:gd name="T5" fmla="*/ 3 h 35"/>
                <a:gd name="T6" fmla="*/ 14 w 17"/>
                <a:gd name="T7" fmla="*/ 21 h 35"/>
                <a:gd name="T8" fmla="*/ 6 w 17"/>
                <a:gd name="T9" fmla="*/ 35 h 35"/>
                <a:gd name="T10" fmla="*/ 0 w 17"/>
                <a:gd name="T11" fmla="*/ 35 h 35"/>
                <a:gd name="T12" fmla="*/ 0 w 17"/>
                <a:gd name="T13" fmla="*/ 8 h 35"/>
                <a:gd name="T14" fmla="*/ 2 w 17"/>
                <a:gd name="T15" fmla="*/ 8 h 35"/>
                <a:gd name="T16" fmla="*/ 6 w 17"/>
                <a:gd name="T17" fmla="*/ 6 h 35"/>
                <a:gd name="T18" fmla="*/ 9 w 17"/>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35">
                  <a:moveTo>
                    <a:pt x="9" y="0"/>
                  </a:moveTo>
                  <a:lnTo>
                    <a:pt x="12" y="0"/>
                  </a:lnTo>
                  <a:lnTo>
                    <a:pt x="17" y="3"/>
                  </a:lnTo>
                  <a:lnTo>
                    <a:pt x="14" y="21"/>
                  </a:lnTo>
                  <a:lnTo>
                    <a:pt x="6" y="35"/>
                  </a:lnTo>
                  <a:lnTo>
                    <a:pt x="0" y="35"/>
                  </a:lnTo>
                  <a:lnTo>
                    <a:pt x="0" y="8"/>
                  </a:lnTo>
                  <a:lnTo>
                    <a:pt x="2" y="8"/>
                  </a:lnTo>
                  <a:lnTo>
                    <a:pt x="6" y="6"/>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3" name="Greenland - Offshore">
              <a:extLst>
                <a:ext uri="{FF2B5EF4-FFF2-40B4-BE49-F238E27FC236}">
                  <a16:creationId xmlns:a16="http://schemas.microsoft.com/office/drawing/2014/main" id="{B1F6F3DD-2CF0-FD51-7355-8F0FFF5761AC}"/>
                </a:ext>
              </a:extLst>
            </p:cNvPr>
            <p:cNvSpPr/>
            <p:nvPr/>
          </p:nvSpPr>
          <p:spPr>
            <a:xfrm>
              <a:off x="4114830" y="727607"/>
              <a:ext cx="1315871" cy="1577254"/>
            </a:xfrm>
            <a:custGeom>
              <a:avLst/>
              <a:gdLst/>
              <a:ahLst/>
              <a:cxnLst/>
              <a:rect l="l" t="t" r="r" b="b"/>
              <a:pathLst>
                <a:path w="1326361" h="1589827">
                  <a:moveTo>
                    <a:pt x="507533" y="1543579"/>
                  </a:moveTo>
                  <a:cubicBezTo>
                    <a:pt x="512900" y="1544838"/>
                    <a:pt x="518803" y="1546575"/>
                    <a:pt x="524230" y="1548071"/>
                  </a:cubicBezTo>
                  <a:cubicBezTo>
                    <a:pt x="520712" y="1557115"/>
                    <a:pt x="518208" y="1566522"/>
                    <a:pt x="514986" y="1575685"/>
                  </a:cubicBezTo>
                  <a:cubicBezTo>
                    <a:pt x="511052" y="1570295"/>
                    <a:pt x="507175" y="1563764"/>
                    <a:pt x="509738" y="1556935"/>
                  </a:cubicBezTo>
                  <a:cubicBezTo>
                    <a:pt x="511886" y="1552264"/>
                    <a:pt x="509561" y="1547772"/>
                    <a:pt x="507533" y="1543579"/>
                  </a:cubicBezTo>
                  <a:close/>
                  <a:moveTo>
                    <a:pt x="435827" y="1516730"/>
                  </a:moveTo>
                  <a:cubicBezTo>
                    <a:pt x="440086" y="1516856"/>
                    <a:pt x="444712" y="1518259"/>
                    <a:pt x="448332" y="1519095"/>
                  </a:cubicBezTo>
                  <a:cubicBezTo>
                    <a:pt x="466780" y="1522381"/>
                    <a:pt x="471689" y="1544779"/>
                    <a:pt x="488641" y="1550805"/>
                  </a:cubicBezTo>
                  <a:cubicBezTo>
                    <a:pt x="501156" y="1555291"/>
                    <a:pt x="497141" y="1573798"/>
                    <a:pt x="486065" y="1577738"/>
                  </a:cubicBezTo>
                  <a:cubicBezTo>
                    <a:pt x="472948" y="1583590"/>
                    <a:pt x="456484" y="1596254"/>
                    <a:pt x="442644" y="1585866"/>
                  </a:cubicBezTo>
                  <a:cubicBezTo>
                    <a:pt x="437613" y="1583474"/>
                    <a:pt x="439832" y="1578160"/>
                    <a:pt x="440726" y="1574096"/>
                  </a:cubicBezTo>
                  <a:cubicBezTo>
                    <a:pt x="432469" y="1570877"/>
                    <a:pt x="424383" y="1566631"/>
                    <a:pt x="419889" y="1558693"/>
                  </a:cubicBezTo>
                  <a:cubicBezTo>
                    <a:pt x="424619" y="1558329"/>
                    <a:pt x="429349" y="1558213"/>
                    <a:pt x="434143" y="1558213"/>
                  </a:cubicBezTo>
                  <a:lnTo>
                    <a:pt x="422221" y="1551939"/>
                  </a:lnTo>
                  <a:cubicBezTo>
                    <a:pt x="424440" y="1548239"/>
                    <a:pt x="426837" y="1544597"/>
                    <a:pt x="429292" y="1541071"/>
                  </a:cubicBezTo>
                  <a:cubicBezTo>
                    <a:pt x="427731" y="1534863"/>
                    <a:pt x="423961" y="1528473"/>
                    <a:pt x="425521" y="1522025"/>
                  </a:cubicBezTo>
                  <a:cubicBezTo>
                    <a:pt x="427675" y="1517755"/>
                    <a:pt x="431567" y="1516604"/>
                    <a:pt x="435827" y="1516730"/>
                  </a:cubicBezTo>
                  <a:close/>
                  <a:moveTo>
                    <a:pt x="491142" y="1467836"/>
                  </a:moveTo>
                  <a:cubicBezTo>
                    <a:pt x="495965" y="1471117"/>
                    <a:pt x="500551" y="1474697"/>
                    <a:pt x="504667" y="1478873"/>
                  </a:cubicBezTo>
                  <a:cubicBezTo>
                    <a:pt x="499257" y="1478337"/>
                    <a:pt x="493907" y="1477680"/>
                    <a:pt x="488614" y="1476845"/>
                  </a:cubicBezTo>
                  <a:cubicBezTo>
                    <a:pt x="489495" y="1473861"/>
                    <a:pt x="490319" y="1470819"/>
                    <a:pt x="491142" y="1467836"/>
                  </a:cubicBezTo>
                  <a:close/>
                  <a:moveTo>
                    <a:pt x="1130402" y="1459810"/>
                  </a:moveTo>
                  <a:cubicBezTo>
                    <a:pt x="1128682" y="1462037"/>
                    <a:pt x="1127016" y="1464323"/>
                    <a:pt x="1125289" y="1466550"/>
                  </a:cubicBezTo>
                  <a:cubicBezTo>
                    <a:pt x="1130700" y="1474013"/>
                    <a:pt x="1131655" y="1483521"/>
                    <a:pt x="1133734" y="1492306"/>
                  </a:cubicBezTo>
                  <a:cubicBezTo>
                    <a:pt x="1125648" y="1496578"/>
                    <a:pt x="1117975" y="1501568"/>
                    <a:pt x="1109835" y="1505664"/>
                  </a:cubicBezTo>
                  <a:cubicBezTo>
                    <a:pt x="1108467" y="1504036"/>
                    <a:pt x="1107336" y="1502355"/>
                    <a:pt x="1106205" y="1500669"/>
                  </a:cubicBezTo>
                  <a:cubicBezTo>
                    <a:pt x="1092945" y="1504159"/>
                    <a:pt x="1079508" y="1506927"/>
                    <a:pt x="1066011" y="1508972"/>
                  </a:cubicBezTo>
                  <a:cubicBezTo>
                    <a:pt x="1067440" y="1499764"/>
                    <a:pt x="1073501" y="1493024"/>
                    <a:pt x="1080700" y="1487729"/>
                  </a:cubicBezTo>
                  <a:cubicBezTo>
                    <a:pt x="1077964" y="1484843"/>
                    <a:pt x="1073860" y="1481953"/>
                    <a:pt x="1075343" y="1477381"/>
                  </a:cubicBezTo>
                  <a:cubicBezTo>
                    <a:pt x="1078262" y="1471845"/>
                    <a:pt x="1084025" y="1476176"/>
                    <a:pt x="1087296" y="1478944"/>
                  </a:cubicBezTo>
                  <a:cubicBezTo>
                    <a:pt x="1102995" y="1475758"/>
                    <a:pt x="1116194" y="1466732"/>
                    <a:pt x="1130402" y="1459810"/>
                  </a:cubicBezTo>
                  <a:close/>
                  <a:moveTo>
                    <a:pt x="456196" y="1443761"/>
                  </a:moveTo>
                  <a:cubicBezTo>
                    <a:pt x="458846" y="1451381"/>
                    <a:pt x="461027" y="1459659"/>
                    <a:pt x="457432" y="1467338"/>
                  </a:cubicBezTo>
                  <a:cubicBezTo>
                    <a:pt x="453426" y="1463679"/>
                    <a:pt x="444471" y="1461279"/>
                    <a:pt x="447122" y="1454260"/>
                  </a:cubicBezTo>
                  <a:cubicBezTo>
                    <a:pt x="448595" y="1449641"/>
                    <a:pt x="452719" y="1446760"/>
                    <a:pt x="456196" y="1443761"/>
                  </a:cubicBezTo>
                  <a:close/>
                  <a:moveTo>
                    <a:pt x="462472" y="1416624"/>
                  </a:moveTo>
                  <a:cubicBezTo>
                    <a:pt x="465245" y="1414724"/>
                    <a:pt x="469375" y="1414812"/>
                    <a:pt x="475069" y="1417969"/>
                  </a:cubicBezTo>
                  <a:cubicBezTo>
                    <a:pt x="470538" y="1422821"/>
                    <a:pt x="464812" y="1426388"/>
                    <a:pt x="458014" y="1427206"/>
                  </a:cubicBezTo>
                  <a:cubicBezTo>
                    <a:pt x="458283" y="1422412"/>
                    <a:pt x="459699" y="1418525"/>
                    <a:pt x="462472" y="1416624"/>
                  </a:cubicBezTo>
                  <a:close/>
                  <a:moveTo>
                    <a:pt x="394347" y="1327877"/>
                  </a:moveTo>
                  <a:lnTo>
                    <a:pt x="403415" y="1328229"/>
                  </a:lnTo>
                  <a:cubicBezTo>
                    <a:pt x="403534" y="1330981"/>
                    <a:pt x="403653" y="1333792"/>
                    <a:pt x="403832" y="1336661"/>
                  </a:cubicBezTo>
                  <a:cubicBezTo>
                    <a:pt x="400134" y="1337540"/>
                    <a:pt x="396435" y="1338477"/>
                    <a:pt x="392796" y="1339414"/>
                  </a:cubicBezTo>
                  <a:cubicBezTo>
                    <a:pt x="393393" y="1335549"/>
                    <a:pt x="393930" y="1331683"/>
                    <a:pt x="394347" y="1327877"/>
                  </a:cubicBezTo>
                  <a:close/>
                  <a:moveTo>
                    <a:pt x="1152289" y="1322477"/>
                  </a:moveTo>
                  <a:cubicBezTo>
                    <a:pt x="1163487" y="1320854"/>
                    <a:pt x="1175042" y="1322117"/>
                    <a:pt x="1185637" y="1326203"/>
                  </a:cubicBezTo>
                  <a:cubicBezTo>
                    <a:pt x="1192047" y="1331790"/>
                    <a:pt x="1194980" y="1340810"/>
                    <a:pt x="1202820" y="1344834"/>
                  </a:cubicBezTo>
                  <a:cubicBezTo>
                    <a:pt x="1208687" y="1348803"/>
                    <a:pt x="1218508" y="1351926"/>
                    <a:pt x="1215515" y="1361002"/>
                  </a:cubicBezTo>
                  <a:cubicBezTo>
                    <a:pt x="1208449" y="1359378"/>
                    <a:pt x="1201383" y="1357817"/>
                    <a:pt x="1194258" y="1356672"/>
                  </a:cubicBezTo>
                  <a:cubicBezTo>
                    <a:pt x="1198748" y="1362924"/>
                    <a:pt x="1205337" y="1366955"/>
                    <a:pt x="1211084" y="1371819"/>
                  </a:cubicBezTo>
                  <a:cubicBezTo>
                    <a:pt x="1211025" y="1375608"/>
                    <a:pt x="1210303" y="1379334"/>
                    <a:pt x="1209946" y="1383060"/>
                  </a:cubicBezTo>
                  <a:cubicBezTo>
                    <a:pt x="1201086" y="1381797"/>
                    <a:pt x="1194258" y="1376087"/>
                    <a:pt x="1188391" y="1369897"/>
                  </a:cubicBezTo>
                  <a:cubicBezTo>
                    <a:pt x="1180492" y="1360342"/>
                    <a:pt x="1167440" y="1357518"/>
                    <a:pt x="1159831" y="1347658"/>
                  </a:cubicBezTo>
                  <a:cubicBezTo>
                    <a:pt x="1153488" y="1341046"/>
                    <a:pt x="1154925" y="1330589"/>
                    <a:pt x="1152289" y="1322477"/>
                  </a:cubicBezTo>
                  <a:close/>
                  <a:moveTo>
                    <a:pt x="1146272" y="1317342"/>
                  </a:moveTo>
                  <a:cubicBezTo>
                    <a:pt x="1145610" y="1321335"/>
                    <a:pt x="1144947" y="1325330"/>
                    <a:pt x="1144285" y="1329381"/>
                  </a:cubicBezTo>
                  <a:cubicBezTo>
                    <a:pt x="1140372" y="1328340"/>
                    <a:pt x="1136520" y="1327239"/>
                    <a:pt x="1132727" y="1326198"/>
                  </a:cubicBezTo>
                  <a:cubicBezTo>
                    <a:pt x="1136820" y="1322725"/>
                    <a:pt x="1141456" y="1319831"/>
                    <a:pt x="1146272" y="1317342"/>
                  </a:cubicBezTo>
                  <a:close/>
                  <a:moveTo>
                    <a:pt x="396431" y="1278717"/>
                  </a:moveTo>
                  <a:lnTo>
                    <a:pt x="406842" y="1281285"/>
                  </a:lnTo>
                  <a:cubicBezTo>
                    <a:pt x="405088" y="1289341"/>
                    <a:pt x="401227" y="1296803"/>
                    <a:pt x="395028" y="1302294"/>
                  </a:cubicBezTo>
                  <a:cubicBezTo>
                    <a:pt x="397074" y="1295728"/>
                    <a:pt x="400057" y="1289520"/>
                    <a:pt x="402981" y="1283312"/>
                  </a:cubicBezTo>
                  <a:lnTo>
                    <a:pt x="393799" y="1287252"/>
                  </a:lnTo>
                  <a:cubicBezTo>
                    <a:pt x="394677" y="1284387"/>
                    <a:pt x="395553" y="1281582"/>
                    <a:pt x="396431" y="1278717"/>
                  </a:cubicBezTo>
                  <a:close/>
                  <a:moveTo>
                    <a:pt x="390786" y="1253633"/>
                  </a:moveTo>
                  <a:cubicBezTo>
                    <a:pt x="385695" y="1258037"/>
                    <a:pt x="379211" y="1260656"/>
                    <a:pt x="372725" y="1257263"/>
                  </a:cubicBezTo>
                  <a:cubicBezTo>
                    <a:pt x="378241" y="1254288"/>
                    <a:pt x="384544" y="1253693"/>
                    <a:pt x="390786" y="1253633"/>
                  </a:cubicBezTo>
                  <a:close/>
                  <a:moveTo>
                    <a:pt x="370893" y="1171591"/>
                  </a:moveTo>
                  <a:cubicBezTo>
                    <a:pt x="373537" y="1170361"/>
                    <a:pt x="377744" y="1173559"/>
                    <a:pt x="375820" y="1176450"/>
                  </a:cubicBezTo>
                  <a:cubicBezTo>
                    <a:pt x="372936" y="1179894"/>
                    <a:pt x="366205" y="1173989"/>
                    <a:pt x="370893" y="1171591"/>
                  </a:cubicBezTo>
                  <a:close/>
                  <a:moveTo>
                    <a:pt x="1289843" y="1166349"/>
                  </a:moveTo>
                  <a:cubicBezTo>
                    <a:pt x="1290793" y="1170845"/>
                    <a:pt x="1291800" y="1175339"/>
                    <a:pt x="1292748" y="1179894"/>
                  </a:cubicBezTo>
                  <a:lnTo>
                    <a:pt x="1278702" y="1177497"/>
                  </a:lnTo>
                  <a:cubicBezTo>
                    <a:pt x="1282259" y="1173661"/>
                    <a:pt x="1285992" y="1169945"/>
                    <a:pt x="1289843" y="1166349"/>
                  </a:cubicBezTo>
                  <a:close/>
                  <a:moveTo>
                    <a:pt x="1257462" y="1134418"/>
                  </a:moveTo>
                  <a:cubicBezTo>
                    <a:pt x="1260468" y="1140962"/>
                    <a:pt x="1264914" y="1146910"/>
                    <a:pt x="1266657" y="1153928"/>
                  </a:cubicBezTo>
                  <a:cubicBezTo>
                    <a:pt x="1264973" y="1159104"/>
                    <a:pt x="1259986" y="1167849"/>
                    <a:pt x="1253495" y="1163446"/>
                  </a:cubicBezTo>
                  <a:cubicBezTo>
                    <a:pt x="1242077" y="1157974"/>
                    <a:pt x="1242738" y="1134240"/>
                    <a:pt x="1257462" y="1134418"/>
                  </a:cubicBezTo>
                  <a:close/>
                  <a:moveTo>
                    <a:pt x="1307932" y="1096613"/>
                  </a:moveTo>
                  <a:cubicBezTo>
                    <a:pt x="1310296" y="1101310"/>
                    <a:pt x="1312543" y="1106129"/>
                    <a:pt x="1314319" y="1111123"/>
                  </a:cubicBezTo>
                  <a:cubicBezTo>
                    <a:pt x="1311243" y="1112490"/>
                    <a:pt x="1308224" y="1113919"/>
                    <a:pt x="1305266" y="1115343"/>
                  </a:cubicBezTo>
                  <a:cubicBezTo>
                    <a:pt x="1308106" y="1120577"/>
                    <a:pt x="1310829" y="1125868"/>
                    <a:pt x="1313608" y="1131164"/>
                  </a:cubicBezTo>
                  <a:cubicBezTo>
                    <a:pt x="1317630" y="1128664"/>
                    <a:pt x="1321653" y="1126165"/>
                    <a:pt x="1325850" y="1123850"/>
                  </a:cubicBezTo>
                  <a:cubicBezTo>
                    <a:pt x="1325139" y="1130744"/>
                    <a:pt x="1323368" y="1137463"/>
                    <a:pt x="1320410" y="1143768"/>
                  </a:cubicBezTo>
                  <a:cubicBezTo>
                    <a:pt x="1318163" y="1140854"/>
                    <a:pt x="1316326" y="1137166"/>
                    <a:pt x="1312779" y="1135681"/>
                  </a:cubicBezTo>
                  <a:cubicBezTo>
                    <a:pt x="1304559" y="1136987"/>
                    <a:pt x="1296514" y="1142042"/>
                    <a:pt x="1288351" y="1137407"/>
                  </a:cubicBezTo>
                  <a:cubicBezTo>
                    <a:pt x="1290720" y="1126585"/>
                    <a:pt x="1285218" y="1112966"/>
                    <a:pt x="1292788" y="1103630"/>
                  </a:cubicBezTo>
                  <a:cubicBezTo>
                    <a:pt x="1297107" y="1105115"/>
                    <a:pt x="1300951" y="1107732"/>
                    <a:pt x="1304913" y="1110114"/>
                  </a:cubicBezTo>
                  <a:cubicBezTo>
                    <a:pt x="1305859" y="1105591"/>
                    <a:pt x="1306806" y="1101074"/>
                    <a:pt x="1307932" y="1096613"/>
                  </a:cubicBezTo>
                  <a:close/>
                  <a:moveTo>
                    <a:pt x="58997" y="996528"/>
                  </a:moveTo>
                  <a:cubicBezTo>
                    <a:pt x="61628" y="993775"/>
                    <a:pt x="66215" y="998302"/>
                    <a:pt x="63401" y="1000993"/>
                  </a:cubicBezTo>
                  <a:cubicBezTo>
                    <a:pt x="60771" y="1003807"/>
                    <a:pt x="56183" y="999220"/>
                    <a:pt x="58997" y="996528"/>
                  </a:cubicBezTo>
                  <a:close/>
                  <a:moveTo>
                    <a:pt x="1245884" y="988757"/>
                  </a:moveTo>
                  <a:cubicBezTo>
                    <a:pt x="1244377" y="992790"/>
                    <a:pt x="1242806" y="996703"/>
                    <a:pt x="1241237" y="1000676"/>
                  </a:cubicBezTo>
                  <a:cubicBezTo>
                    <a:pt x="1246851" y="1001098"/>
                    <a:pt x="1252523" y="1001338"/>
                    <a:pt x="1258133" y="1001879"/>
                  </a:cubicBezTo>
                  <a:cubicBezTo>
                    <a:pt x="1249504" y="1004708"/>
                    <a:pt x="1240513" y="1005311"/>
                    <a:pt x="1232549" y="1000735"/>
                  </a:cubicBezTo>
                  <a:cubicBezTo>
                    <a:pt x="1235445" y="995138"/>
                    <a:pt x="1238945" y="989360"/>
                    <a:pt x="1245884" y="988757"/>
                  </a:cubicBezTo>
                  <a:close/>
                  <a:moveTo>
                    <a:pt x="72320" y="981535"/>
                  </a:moveTo>
                  <a:cubicBezTo>
                    <a:pt x="75409" y="983167"/>
                    <a:pt x="76964" y="985720"/>
                    <a:pt x="72162" y="986928"/>
                  </a:cubicBezTo>
                  <a:cubicBezTo>
                    <a:pt x="69260" y="991764"/>
                    <a:pt x="53674" y="984149"/>
                    <a:pt x="63279" y="981670"/>
                  </a:cubicBezTo>
                  <a:cubicBezTo>
                    <a:pt x="64609" y="979193"/>
                    <a:pt x="69231" y="979903"/>
                    <a:pt x="72320" y="981535"/>
                  </a:cubicBezTo>
                  <a:close/>
                  <a:moveTo>
                    <a:pt x="1226952" y="977216"/>
                  </a:moveTo>
                  <a:cubicBezTo>
                    <a:pt x="1229781" y="978287"/>
                    <a:pt x="1232611" y="979358"/>
                    <a:pt x="1235561" y="980251"/>
                  </a:cubicBezTo>
                  <a:cubicBezTo>
                    <a:pt x="1234537" y="982750"/>
                    <a:pt x="1233514" y="985250"/>
                    <a:pt x="1232551" y="987749"/>
                  </a:cubicBezTo>
                  <a:lnTo>
                    <a:pt x="1222016" y="983286"/>
                  </a:lnTo>
                  <a:cubicBezTo>
                    <a:pt x="1223642" y="981203"/>
                    <a:pt x="1225267" y="979179"/>
                    <a:pt x="1226952" y="977216"/>
                  </a:cubicBezTo>
                  <a:close/>
                  <a:moveTo>
                    <a:pt x="1280804" y="968186"/>
                  </a:moveTo>
                  <a:cubicBezTo>
                    <a:pt x="1284085" y="969320"/>
                    <a:pt x="1288800" y="968543"/>
                    <a:pt x="1291187" y="971586"/>
                  </a:cubicBezTo>
                  <a:cubicBezTo>
                    <a:pt x="1295006" y="979695"/>
                    <a:pt x="1290114" y="988461"/>
                    <a:pt x="1291485" y="996934"/>
                  </a:cubicBezTo>
                  <a:cubicBezTo>
                    <a:pt x="1294231" y="1013690"/>
                    <a:pt x="1298767" y="1030271"/>
                    <a:pt x="1298409" y="1047447"/>
                  </a:cubicBezTo>
                  <a:cubicBezTo>
                    <a:pt x="1291665" y="1027346"/>
                    <a:pt x="1286353" y="1006770"/>
                    <a:pt x="1281340" y="986194"/>
                  </a:cubicBezTo>
                  <a:lnTo>
                    <a:pt x="1289635" y="985782"/>
                  </a:lnTo>
                  <a:cubicBezTo>
                    <a:pt x="1284562" y="981367"/>
                    <a:pt x="1280206" y="975645"/>
                    <a:pt x="1280804" y="968186"/>
                  </a:cubicBezTo>
                  <a:close/>
                  <a:moveTo>
                    <a:pt x="0" y="892298"/>
                  </a:moveTo>
                  <a:cubicBezTo>
                    <a:pt x="11154" y="890430"/>
                    <a:pt x="22427" y="892478"/>
                    <a:pt x="30601" y="900735"/>
                  </a:cubicBezTo>
                  <a:cubicBezTo>
                    <a:pt x="19805" y="907485"/>
                    <a:pt x="6203" y="903147"/>
                    <a:pt x="0" y="892298"/>
                  </a:cubicBezTo>
                  <a:close/>
                  <a:moveTo>
                    <a:pt x="32607" y="887776"/>
                  </a:moveTo>
                  <a:cubicBezTo>
                    <a:pt x="42291" y="887419"/>
                    <a:pt x="51380" y="890683"/>
                    <a:pt x="59696" y="895312"/>
                  </a:cubicBezTo>
                  <a:cubicBezTo>
                    <a:pt x="51499" y="896261"/>
                    <a:pt x="43418" y="897388"/>
                    <a:pt x="35281" y="898456"/>
                  </a:cubicBezTo>
                  <a:close/>
                  <a:moveTo>
                    <a:pt x="149779" y="881835"/>
                  </a:moveTo>
                  <a:cubicBezTo>
                    <a:pt x="150889" y="882506"/>
                    <a:pt x="151558" y="883803"/>
                    <a:pt x="150616" y="885087"/>
                  </a:cubicBezTo>
                  <a:cubicBezTo>
                    <a:pt x="148974" y="887420"/>
                    <a:pt x="144474" y="884795"/>
                    <a:pt x="146298" y="882345"/>
                  </a:cubicBezTo>
                  <a:cubicBezTo>
                    <a:pt x="147119" y="881121"/>
                    <a:pt x="148670" y="881164"/>
                    <a:pt x="149779" y="881835"/>
                  </a:cubicBezTo>
                  <a:close/>
                  <a:moveTo>
                    <a:pt x="1257634" y="869360"/>
                  </a:moveTo>
                  <a:cubicBezTo>
                    <a:pt x="1260585" y="876111"/>
                    <a:pt x="1263772" y="882677"/>
                    <a:pt x="1266664" y="889427"/>
                  </a:cubicBezTo>
                  <a:cubicBezTo>
                    <a:pt x="1261648" y="884440"/>
                    <a:pt x="1257103" y="879089"/>
                    <a:pt x="1252618" y="873678"/>
                  </a:cubicBezTo>
                  <a:cubicBezTo>
                    <a:pt x="1254211" y="872218"/>
                    <a:pt x="1255923" y="870819"/>
                    <a:pt x="1257634" y="869360"/>
                  </a:cubicBezTo>
                  <a:close/>
                  <a:moveTo>
                    <a:pt x="138730" y="868974"/>
                  </a:moveTo>
                  <a:cubicBezTo>
                    <a:pt x="145978" y="867853"/>
                    <a:pt x="138791" y="878385"/>
                    <a:pt x="136948" y="871467"/>
                  </a:cubicBezTo>
                  <a:close/>
                  <a:moveTo>
                    <a:pt x="1317271" y="840264"/>
                  </a:moveTo>
                  <a:cubicBezTo>
                    <a:pt x="1320341" y="850829"/>
                    <a:pt x="1316327" y="861277"/>
                    <a:pt x="1313494" y="871366"/>
                  </a:cubicBezTo>
                  <a:lnTo>
                    <a:pt x="1304287" y="871366"/>
                  </a:lnTo>
                  <a:cubicBezTo>
                    <a:pt x="1307357" y="860801"/>
                    <a:pt x="1307297" y="847010"/>
                    <a:pt x="1317271" y="840264"/>
                  </a:cubicBezTo>
                  <a:close/>
                  <a:moveTo>
                    <a:pt x="1250612" y="835247"/>
                  </a:moveTo>
                  <a:cubicBezTo>
                    <a:pt x="1263442" y="835666"/>
                    <a:pt x="1272236" y="846093"/>
                    <a:pt x="1282718" y="851904"/>
                  </a:cubicBezTo>
                  <a:lnTo>
                    <a:pt x="1279585" y="856818"/>
                  </a:lnTo>
                  <a:cubicBezTo>
                    <a:pt x="1268502" y="852025"/>
                    <a:pt x="1255011" y="847829"/>
                    <a:pt x="1250612" y="835247"/>
                  </a:cubicBezTo>
                  <a:close/>
                  <a:moveTo>
                    <a:pt x="1253043" y="825974"/>
                  </a:moveTo>
                  <a:cubicBezTo>
                    <a:pt x="1254125" y="829978"/>
                    <a:pt x="1245595" y="830733"/>
                    <a:pt x="1246196" y="826496"/>
                  </a:cubicBezTo>
                  <a:cubicBezTo>
                    <a:pt x="1247277" y="824117"/>
                    <a:pt x="1251542" y="823710"/>
                    <a:pt x="1253043" y="825974"/>
                  </a:cubicBezTo>
                  <a:close/>
                  <a:moveTo>
                    <a:pt x="1255629" y="807408"/>
                  </a:moveTo>
                  <a:cubicBezTo>
                    <a:pt x="1252870" y="810167"/>
                    <a:pt x="1250110" y="812986"/>
                    <a:pt x="1247291" y="815686"/>
                  </a:cubicBezTo>
                  <a:cubicBezTo>
                    <a:pt x="1244592" y="808908"/>
                    <a:pt x="1248851" y="804649"/>
                    <a:pt x="1255629" y="807408"/>
                  </a:cubicBezTo>
                  <a:close/>
                  <a:moveTo>
                    <a:pt x="1272566" y="785584"/>
                  </a:moveTo>
                  <a:cubicBezTo>
                    <a:pt x="1274147" y="790333"/>
                    <a:pt x="1274966" y="795263"/>
                    <a:pt x="1276195" y="800132"/>
                  </a:cubicBezTo>
                  <a:lnTo>
                    <a:pt x="1269172" y="797697"/>
                  </a:lnTo>
                  <a:cubicBezTo>
                    <a:pt x="1270343" y="793680"/>
                    <a:pt x="1271396" y="789602"/>
                    <a:pt x="1272566" y="785584"/>
                  </a:cubicBezTo>
                  <a:close/>
                  <a:moveTo>
                    <a:pt x="1279575" y="782575"/>
                  </a:moveTo>
                  <a:cubicBezTo>
                    <a:pt x="1282841" y="789207"/>
                    <a:pt x="1286109" y="795781"/>
                    <a:pt x="1289739" y="802234"/>
                  </a:cubicBezTo>
                  <a:lnTo>
                    <a:pt x="1281209" y="806655"/>
                  </a:lnTo>
                  <a:cubicBezTo>
                    <a:pt x="1279515" y="798709"/>
                    <a:pt x="1277699" y="790642"/>
                    <a:pt x="1279575" y="782575"/>
                  </a:cubicBezTo>
                  <a:close/>
                  <a:moveTo>
                    <a:pt x="1284312" y="717865"/>
                  </a:moveTo>
                  <a:cubicBezTo>
                    <a:pt x="1284131" y="725319"/>
                    <a:pt x="1283773" y="733254"/>
                    <a:pt x="1279516" y="739690"/>
                  </a:cubicBezTo>
                  <a:cubicBezTo>
                    <a:pt x="1286230" y="744197"/>
                    <a:pt x="1280835" y="747083"/>
                    <a:pt x="1275200" y="748466"/>
                  </a:cubicBezTo>
                  <a:cubicBezTo>
                    <a:pt x="1267167" y="737284"/>
                    <a:pt x="1275560" y="725319"/>
                    <a:pt x="1284312" y="717865"/>
                  </a:cubicBezTo>
                  <a:close/>
                  <a:moveTo>
                    <a:pt x="1321370" y="684253"/>
                  </a:moveTo>
                  <a:cubicBezTo>
                    <a:pt x="1322244" y="690052"/>
                    <a:pt x="1323352" y="695851"/>
                    <a:pt x="1323235" y="701831"/>
                  </a:cubicBezTo>
                  <a:cubicBezTo>
                    <a:pt x="1319972" y="706919"/>
                    <a:pt x="1315601" y="711182"/>
                    <a:pt x="1311813" y="715856"/>
                  </a:cubicBezTo>
                  <a:cubicBezTo>
                    <a:pt x="1312571" y="704729"/>
                    <a:pt x="1313561" y="692833"/>
                    <a:pt x="1321370" y="684253"/>
                  </a:cubicBezTo>
                  <a:close/>
                  <a:moveTo>
                    <a:pt x="1277316" y="543791"/>
                  </a:moveTo>
                  <a:cubicBezTo>
                    <a:pt x="1282332" y="547591"/>
                    <a:pt x="1287231" y="551452"/>
                    <a:pt x="1292248" y="555310"/>
                  </a:cubicBezTo>
                  <a:lnTo>
                    <a:pt x="1291775" y="560774"/>
                  </a:lnTo>
                  <a:cubicBezTo>
                    <a:pt x="1284222" y="564870"/>
                    <a:pt x="1276963" y="569325"/>
                    <a:pt x="1269172" y="572886"/>
                  </a:cubicBezTo>
                  <a:cubicBezTo>
                    <a:pt x="1270884" y="562909"/>
                    <a:pt x="1272714" y="552875"/>
                    <a:pt x="1277316" y="543791"/>
                  </a:cubicBezTo>
                  <a:close/>
                  <a:moveTo>
                    <a:pt x="139955" y="475563"/>
                  </a:moveTo>
                  <a:cubicBezTo>
                    <a:pt x="143661" y="480109"/>
                    <a:pt x="146308" y="485313"/>
                    <a:pt x="147485" y="491115"/>
                  </a:cubicBezTo>
                  <a:cubicBezTo>
                    <a:pt x="141073" y="488423"/>
                    <a:pt x="137954" y="482383"/>
                    <a:pt x="139955" y="475563"/>
                  </a:cubicBezTo>
                  <a:close/>
                  <a:moveTo>
                    <a:pt x="1313282" y="312026"/>
                  </a:moveTo>
                  <a:cubicBezTo>
                    <a:pt x="1318623" y="321604"/>
                    <a:pt x="1323541" y="331476"/>
                    <a:pt x="1326361" y="342125"/>
                  </a:cubicBezTo>
                  <a:lnTo>
                    <a:pt x="1318022" y="341710"/>
                  </a:lnTo>
                  <a:cubicBezTo>
                    <a:pt x="1312863" y="333559"/>
                    <a:pt x="1307643" y="325468"/>
                    <a:pt x="1302783" y="317200"/>
                  </a:cubicBezTo>
                  <a:close/>
                  <a:moveTo>
                    <a:pt x="1275647" y="247312"/>
                  </a:moveTo>
                  <a:lnTo>
                    <a:pt x="1281244" y="247312"/>
                  </a:lnTo>
                  <a:cubicBezTo>
                    <a:pt x="1285946" y="265816"/>
                    <a:pt x="1294043" y="283657"/>
                    <a:pt x="1294758" y="302996"/>
                  </a:cubicBezTo>
                  <a:cubicBezTo>
                    <a:pt x="1288089" y="301743"/>
                    <a:pt x="1280707" y="299293"/>
                    <a:pt x="1280528" y="290701"/>
                  </a:cubicBezTo>
                  <a:cubicBezTo>
                    <a:pt x="1275945" y="277036"/>
                    <a:pt x="1267669" y="261339"/>
                    <a:pt x="1275647" y="247312"/>
                  </a:cubicBezTo>
                  <a:close/>
                  <a:moveTo>
                    <a:pt x="1307848" y="241293"/>
                  </a:moveTo>
                  <a:cubicBezTo>
                    <a:pt x="1311854" y="256183"/>
                    <a:pt x="1316230" y="271073"/>
                    <a:pt x="1317833" y="286441"/>
                  </a:cubicBezTo>
                  <a:cubicBezTo>
                    <a:pt x="1314629" y="283931"/>
                    <a:pt x="1310806" y="281299"/>
                    <a:pt x="1311299" y="276815"/>
                  </a:cubicBezTo>
                  <a:cubicBezTo>
                    <a:pt x="1311299" y="264856"/>
                    <a:pt x="1303287" y="253013"/>
                    <a:pt x="1307848" y="241293"/>
                  </a:cubicBezTo>
                  <a:close/>
                  <a:moveTo>
                    <a:pt x="434381" y="226833"/>
                  </a:moveTo>
                  <a:lnTo>
                    <a:pt x="440614" y="227771"/>
                  </a:lnTo>
                  <a:cubicBezTo>
                    <a:pt x="444343" y="242152"/>
                    <a:pt x="468530" y="252469"/>
                    <a:pt x="478653" y="265756"/>
                  </a:cubicBezTo>
                  <a:cubicBezTo>
                    <a:pt x="482435" y="271592"/>
                    <a:pt x="485898" y="276802"/>
                    <a:pt x="487603" y="283263"/>
                  </a:cubicBezTo>
                  <a:cubicBezTo>
                    <a:pt x="475083" y="289099"/>
                    <a:pt x="464322" y="271175"/>
                    <a:pt x="450044" y="271696"/>
                  </a:cubicBezTo>
                  <a:cubicBezTo>
                    <a:pt x="435020" y="272425"/>
                    <a:pt x="425750" y="263151"/>
                    <a:pt x="426549" y="253719"/>
                  </a:cubicBezTo>
                  <a:cubicBezTo>
                    <a:pt x="425537" y="241891"/>
                    <a:pt x="429959" y="235691"/>
                    <a:pt x="434381" y="226833"/>
                  </a:cubicBezTo>
                  <a:close/>
                  <a:moveTo>
                    <a:pt x="459009" y="226746"/>
                  </a:moveTo>
                  <a:cubicBezTo>
                    <a:pt x="465492" y="228440"/>
                    <a:pt x="469893" y="233109"/>
                    <a:pt x="470547" y="239763"/>
                  </a:cubicBezTo>
                  <a:lnTo>
                    <a:pt x="462399" y="242799"/>
                  </a:lnTo>
                  <a:cubicBezTo>
                    <a:pt x="460793" y="237545"/>
                    <a:pt x="459782" y="232116"/>
                    <a:pt x="459009" y="226746"/>
                  </a:cubicBezTo>
                  <a:close/>
                  <a:moveTo>
                    <a:pt x="509920" y="129928"/>
                  </a:moveTo>
                  <a:cubicBezTo>
                    <a:pt x="513077" y="132244"/>
                    <a:pt x="516173" y="134618"/>
                    <a:pt x="519208" y="136992"/>
                  </a:cubicBezTo>
                  <a:lnTo>
                    <a:pt x="509677" y="139961"/>
                  </a:lnTo>
                  <a:cubicBezTo>
                    <a:pt x="509738" y="136636"/>
                    <a:pt x="509859" y="133253"/>
                    <a:pt x="509920" y="129928"/>
                  </a:cubicBezTo>
                  <a:close/>
                  <a:moveTo>
                    <a:pt x="537330" y="122402"/>
                  </a:moveTo>
                  <a:lnTo>
                    <a:pt x="542936" y="122868"/>
                  </a:lnTo>
                  <a:cubicBezTo>
                    <a:pt x="543890" y="124906"/>
                    <a:pt x="544845" y="126944"/>
                    <a:pt x="545799" y="128924"/>
                  </a:cubicBezTo>
                  <a:cubicBezTo>
                    <a:pt x="542936" y="128866"/>
                    <a:pt x="540133" y="128749"/>
                    <a:pt x="537270" y="128633"/>
                  </a:cubicBezTo>
                  <a:close/>
                  <a:moveTo>
                    <a:pt x="551334" y="112870"/>
                  </a:moveTo>
                  <a:cubicBezTo>
                    <a:pt x="561164" y="118391"/>
                    <a:pt x="574390" y="124150"/>
                    <a:pt x="574031" y="137450"/>
                  </a:cubicBezTo>
                  <a:lnTo>
                    <a:pt x="552049" y="137035"/>
                  </a:lnTo>
                  <a:cubicBezTo>
                    <a:pt x="549307" y="129257"/>
                    <a:pt x="549486" y="120827"/>
                    <a:pt x="551334" y="112870"/>
                  </a:cubicBezTo>
                  <a:close/>
                  <a:moveTo>
                    <a:pt x="578780" y="102835"/>
                  </a:moveTo>
                  <a:cubicBezTo>
                    <a:pt x="589201" y="107743"/>
                    <a:pt x="601020" y="113600"/>
                    <a:pt x="603989" y="125485"/>
                  </a:cubicBezTo>
                  <a:cubicBezTo>
                    <a:pt x="596112" y="127437"/>
                    <a:pt x="585869" y="130926"/>
                    <a:pt x="579628" y="123771"/>
                  </a:cubicBezTo>
                  <a:cubicBezTo>
                    <a:pt x="576900" y="116970"/>
                    <a:pt x="577626" y="109813"/>
                    <a:pt x="578780" y="102835"/>
                  </a:cubicBezTo>
                  <a:close/>
                  <a:moveTo>
                    <a:pt x="604489" y="94807"/>
                  </a:moveTo>
                  <a:cubicBezTo>
                    <a:pt x="614398" y="98470"/>
                    <a:pt x="620006" y="107779"/>
                    <a:pt x="625558" y="116125"/>
                  </a:cubicBezTo>
                  <a:lnTo>
                    <a:pt x="620723" y="118887"/>
                  </a:lnTo>
                  <a:cubicBezTo>
                    <a:pt x="614815" y="111261"/>
                    <a:pt x="608368" y="103815"/>
                    <a:pt x="604489" y="94807"/>
                  </a:cubicBezTo>
                  <a:close/>
                  <a:moveTo>
                    <a:pt x="612515" y="84275"/>
                  </a:moveTo>
                  <a:cubicBezTo>
                    <a:pt x="623146" y="95008"/>
                    <a:pt x="638287" y="100858"/>
                    <a:pt x="646124" y="114305"/>
                  </a:cubicBezTo>
                  <a:cubicBezTo>
                    <a:pt x="626231" y="118888"/>
                    <a:pt x="619223" y="98324"/>
                    <a:pt x="612515" y="84275"/>
                  </a:cubicBezTo>
                  <a:close/>
                  <a:moveTo>
                    <a:pt x="803143" y="67218"/>
                  </a:moveTo>
                  <a:cubicBezTo>
                    <a:pt x="799033" y="72401"/>
                    <a:pt x="795110" y="77762"/>
                    <a:pt x="790517" y="82409"/>
                  </a:cubicBezTo>
                  <a:cubicBezTo>
                    <a:pt x="781695" y="84851"/>
                    <a:pt x="772576" y="85507"/>
                    <a:pt x="763512" y="86281"/>
                  </a:cubicBezTo>
                  <a:cubicBezTo>
                    <a:pt x="769374" y="70196"/>
                    <a:pt x="789007" y="71269"/>
                    <a:pt x="803143" y="67218"/>
                  </a:cubicBezTo>
                  <a:close/>
                  <a:moveTo>
                    <a:pt x="705321" y="58188"/>
                  </a:moveTo>
                  <a:cubicBezTo>
                    <a:pt x="710889" y="58546"/>
                    <a:pt x="716165" y="58968"/>
                    <a:pt x="721795" y="59923"/>
                  </a:cubicBezTo>
                  <a:cubicBezTo>
                    <a:pt x="725986" y="65974"/>
                    <a:pt x="729638" y="72383"/>
                    <a:pt x="733475" y="78727"/>
                  </a:cubicBezTo>
                  <a:cubicBezTo>
                    <a:pt x="731975" y="72204"/>
                    <a:pt x="730419" y="65675"/>
                    <a:pt x="728863" y="59207"/>
                  </a:cubicBezTo>
                  <a:cubicBezTo>
                    <a:pt x="742038" y="59923"/>
                    <a:pt x="753359" y="67292"/>
                    <a:pt x="761506" y="77171"/>
                  </a:cubicBezTo>
                  <a:cubicBezTo>
                    <a:pt x="761265" y="90824"/>
                    <a:pt x="747432" y="100828"/>
                    <a:pt x="734015" y="96875"/>
                  </a:cubicBezTo>
                  <a:cubicBezTo>
                    <a:pt x="722812" y="85315"/>
                    <a:pt x="713828" y="71781"/>
                    <a:pt x="705321" y="58188"/>
                  </a:cubicBezTo>
                  <a:close/>
                  <a:moveTo>
                    <a:pt x="745452" y="46649"/>
                  </a:moveTo>
                  <a:cubicBezTo>
                    <a:pt x="760352" y="53824"/>
                    <a:pt x="780415" y="51232"/>
                    <a:pt x="791102" y="65464"/>
                  </a:cubicBezTo>
                  <a:cubicBezTo>
                    <a:pt x="780119" y="67753"/>
                    <a:pt x="768368" y="70226"/>
                    <a:pt x="757563" y="65824"/>
                  </a:cubicBezTo>
                  <a:cubicBezTo>
                    <a:pt x="751861" y="60819"/>
                    <a:pt x="749606" y="52800"/>
                    <a:pt x="745452" y="46649"/>
                  </a:cubicBezTo>
                  <a:close/>
                  <a:moveTo>
                    <a:pt x="812674" y="45646"/>
                  </a:moveTo>
                  <a:cubicBezTo>
                    <a:pt x="818722" y="45946"/>
                    <a:pt x="824710" y="48761"/>
                    <a:pt x="829729" y="52115"/>
                  </a:cubicBezTo>
                  <a:cubicBezTo>
                    <a:pt x="824952" y="54091"/>
                    <a:pt x="820114" y="55948"/>
                    <a:pt x="815214" y="57685"/>
                  </a:cubicBezTo>
                  <a:cubicBezTo>
                    <a:pt x="814306" y="53672"/>
                    <a:pt x="813460" y="49659"/>
                    <a:pt x="812674" y="45646"/>
                  </a:cubicBezTo>
                  <a:close/>
                  <a:moveTo>
                    <a:pt x="703818" y="41135"/>
                  </a:moveTo>
                  <a:cubicBezTo>
                    <a:pt x="710412" y="42803"/>
                    <a:pt x="716473" y="46020"/>
                    <a:pt x="721879" y="50071"/>
                  </a:cubicBezTo>
                  <a:lnTo>
                    <a:pt x="706314" y="50667"/>
                  </a:lnTo>
                  <a:cubicBezTo>
                    <a:pt x="705422" y="47509"/>
                    <a:pt x="704591" y="44352"/>
                    <a:pt x="703818" y="41135"/>
                  </a:cubicBezTo>
                  <a:close/>
                  <a:moveTo>
                    <a:pt x="691332" y="37620"/>
                  </a:moveTo>
                  <a:cubicBezTo>
                    <a:pt x="691942" y="39667"/>
                    <a:pt x="692612" y="41713"/>
                    <a:pt x="693282" y="43821"/>
                  </a:cubicBezTo>
                  <a:cubicBezTo>
                    <a:pt x="691150" y="44724"/>
                    <a:pt x="689018" y="45687"/>
                    <a:pt x="686946" y="46650"/>
                  </a:cubicBezTo>
                  <a:cubicBezTo>
                    <a:pt x="687068" y="41293"/>
                    <a:pt x="689262" y="39546"/>
                    <a:pt x="691332" y="37620"/>
                  </a:cubicBezTo>
                  <a:close/>
                  <a:moveTo>
                    <a:pt x="741918" y="30597"/>
                  </a:moveTo>
                  <a:cubicBezTo>
                    <a:pt x="745684" y="33598"/>
                    <a:pt x="749390" y="36657"/>
                    <a:pt x="752977" y="39834"/>
                  </a:cubicBezTo>
                  <a:cubicBezTo>
                    <a:pt x="749091" y="39894"/>
                    <a:pt x="745265" y="40012"/>
                    <a:pt x="741439" y="40129"/>
                  </a:cubicBezTo>
                  <a:cubicBezTo>
                    <a:pt x="741618" y="36952"/>
                    <a:pt x="741738" y="33774"/>
                    <a:pt x="741918" y="30597"/>
                  </a:cubicBezTo>
                  <a:close/>
                  <a:moveTo>
                    <a:pt x="699802" y="27922"/>
                  </a:moveTo>
                  <a:cubicBezTo>
                    <a:pt x="710570" y="21567"/>
                    <a:pt x="712424" y="31311"/>
                    <a:pt x="715356" y="37120"/>
                  </a:cubicBezTo>
                  <a:cubicBezTo>
                    <a:pt x="709254" y="35789"/>
                    <a:pt x="703750" y="32883"/>
                    <a:pt x="699802" y="27922"/>
                  </a:cubicBezTo>
                  <a:close/>
                  <a:moveTo>
                    <a:pt x="767316" y="9530"/>
                  </a:moveTo>
                  <a:cubicBezTo>
                    <a:pt x="775352" y="16578"/>
                    <a:pt x="783750" y="23331"/>
                    <a:pt x="790241" y="31991"/>
                  </a:cubicBezTo>
                  <a:cubicBezTo>
                    <a:pt x="797269" y="41788"/>
                    <a:pt x="808820" y="47699"/>
                    <a:pt x="814179" y="58870"/>
                  </a:cubicBezTo>
                  <a:lnTo>
                    <a:pt x="809357" y="61200"/>
                  </a:lnTo>
                  <a:cubicBezTo>
                    <a:pt x="796971" y="55046"/>
                    <a:pt x="785300" y="47104"/>
                    <a:pt x="780353" y="33365"/>
                  </a:cubicBezTo>
                  <a:cubicBezTo>
                    <a:pt x="774815" y="31991"/>
                    <a:pt x="769874" y="30554"/>
                    <a:pt x="764515" y="29180"/>
                  </a:cubicBezTo>
                  <a:cubicBezTo>
                    <a:pt x="765111" y="22551"/>
                    <a:pt x="766184" y="16040"/>
                    <a:pt x="767316" y="9530"/>
                  </a:cubicBezTo>
                  <a:close/>
                  <a:moveTo>
                    <a:pt x="792477" y="0"/>
                  </a:moveTo>
                  <a:lnTo>
                    <a:pt x="798624" y="61"/>
                  </a:lnTo>
                  <a:cubicBezTo>
                    <a:pt x="801309" y="8962"/>
                    <a:pt x="804293" y="17744"/>
                    <a:pt x="807157" y="26587"/>
                  </a:cubicBezTo>
                  <a:cubicBezTo>
                    <a:pt x="801608" y="24782"/>
                    <a:pt x="795461" y="23218"/>
                    <a:pt x="791761" y="18345"/>
                  </a:cubicBezTo>
                  <a:cubicBezTo>
                    <a:pt x="791104" y="12211"/>
                    <a:pt x="792297" y="6136"/>
                    <a:pt x="79247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4" name="Greenland - Mainland">
              <a:extLst>
                <a:ext uri="{FF2B5EF4-FFF2-40B4-BE49-F238E27FC236}">
                  <a16:creationId xmlns:a16="http://schemas.microsoft.com/office/drawing/2014/main" id="{3FB27EE9-BE8B-9561-3C57-7E25342BF262}"/>
                </a:ext>
              </a:extLst>
            </p:cNvPr>
            <p:cNvSpPr>
              <a:spLocks/>
            </p:cNvSpPr>
            <p:nvPr/>
          </p:nvSpPr>
          <p:spPr bwMode="auto">
            <a:xfrm flipV="1">
              <a:off x="4109360" y="685800"/>
              <a:ext cx="1463183" cy="2149496"/>
            </a:xfrm>
            <a:custGeom>
              <a:avLst/>
              <a:gdLst>
                <a:gd name="T0" fmla="*/ 18345 w 24669"/>
                <a:gd name="T1" fmla="*/ 35148 h 36230"/>
                <a:gd name="T2" fmla="*/ 15080 w 24669"/>
                <a:gd name="T3" fmla="*/ 33857 h 36230"/>
                <a:gd name="T4" fmla="*/ 19709 w 24669"/>
                <a:gd name="T5" fmla="*/ 33256 h 36230"/>
                <a:gd name="T6" fmla="*/ 15797 w 24669"/>
                <a:gd name="T7" fmla="*/ 30351 h 36230"/>
                <a:gd name="T8" fmla="*/ 19397 w 24669"/>
                <a:gd name="T9" fmla="*/ 29995 h 36230"/>
                <a:gd name="T10" fmla="*/ 19907 w 24669"/>
                <a:gd name="T11" fmla="*/ 27549 h 36230"/>
                <a:gd name="T12" fmla="*/ 21622 w 24669"/>
                <a:gd name="T13" fmla="*/ 29929 h 36230"/>
                <a:gd name="T14" fmla="*/ 23865 w 24669"/>
                <a:gd name="T15" fmla="*/ 30346 h 36230"/>
                <a:gd name="T16" fmla="*/ 22894 w 24669"/>
                <a:gd name="T17" fmla="*/ 27360 h 36230"/>
                <a:gd name="T18" fmla="*/ 21041 w 24669"/>
                <a:gd name="T19" fmla="*/ 25509 h 36230"/>
                <a:gd name="T20" fmla="*/ 21285 w 24669"/>
                <a:gd name="T21" fmla="*/ 23338 h 36230"/>
                <a:gd name="T22" fmla="*/ 20669 w 24669"/>
                <a:gd name="T23" fmla="*/ 21592 h 36230"/>
                <a:gd name="T24" fmla="*/ 20911 w 24669"/>
                <a:gd name="T25" fmla="*/ 20497 h 36230"/>
                <a:gd name="T26" fmla="*/ 20304 w 24669"/>
                <a:gd name="T27" fmla="*/ 19557 h 36230"/>
                <a:gd name="T28" fmla="*/ 21043 w 24669"/>
                <a:gd name="T29" fmla="*/ 18015 h 36230"/>
                <a:gd name="T30" fmla="*/ 20890 w 24669"/>
                <a:gd name="T31" fmla="*/ 15999 h 36230"/>
                <a:gd name="T32" fmla="*/ 21110 w 24669"/>
                <a:gd name="T33" fmla="*/ 14792 h 36230"/>
                <a:gd name="T34" fmla="*/ 18206 w 24669"/>
                <a:gd name="T35" fmla="*/ 14284 h 36230"/>
                <a:gd name="T36" fmla="*/ 19966 w 24669"/>
                <a:gd name="T37" fmla="*/ 13664 h 36230"/>
                <a:gd name="T38" fmla="*/ 18495 w 24669"/>
                <a:gd name="T39" fmla="*/ 13202 h 36230"/>
                <a:gd name="T40" fmla="*/ 20301 w 24669"/>
                <a:gd name="T41" fmla="*/ 11905 h 36230"/>
                <a:gd name="T42" fmla="*/ 19316 w 24669"/>
                <a:gd name="T43" fmla="*/ 11352 h 36230"/>
                <a:gd name="T44" fmla="*/ 18015 w 24669"/>
                <a:gd name="T45" fmla="*/ 11186 h 36230"/>
                <a:gd name="T46" fmla="*/ 18374 w 24669"/>
                <a:gd name="T47" fmla="*/ 10035 h 36230"/>
                <a:gd name="T48" fmla="*/ 19061 w 24669"/>
                <a:gd name="T49" fmla="*/ 8937 h 36230"/>
                <a:gd name="T50" fmla="*/ 17118 w 24669"/>
                <a:gd name="T51" fmla="*/ 7798 h 36230"/>
                <a:gd name="T52" fmla="*/ 15407 w 24669"/>
                <a:gd name="T53" fmla="*/ 6156 h 36230"/>
                <a:gd name="T54" fmla="*/ 14329 w 24669"/>
                <a:gd name="T55" fmla="*/ 5512 h 36230"/>
                <a:gd name="T56" fmla="*/ 13285 w 24669"/>
                <a:gd name="T57" fmla="*/ 5127 h 36230"/>
                <a:gd name="T58" fmla="*/ 12902 w 24669"/>
                <a:gd name="T59" fmla="*/ 3708 h 36230"/>
                <a:gd name="T60" fmla="*/ 12100 w 24669"/>
                <a:gd name="T61" fmla="*/ 1144 h 36230"/>
                <a:gd name="T62" fmla="*/ 10832 w 24669"/>
                <a:gd name="T63" fmla="*/ 695 h 36230"/>
                <a:gd name="T64" fmla="*/ 9659 w 24669"/>
                <a:gd name="T65" fmla="*/ 1342 h 36230"/>
                <a:gd name="T66" fmla="*/ 8686 w 24669"/>
                <a:gd name="T67" fmla="*/ 3867 h 36230"/>
                <a:gd name="T68" fmla="*/ 8149 w 24669"/>
                <a:gd name="T69" fmla="*/ 4683 h 36230"/>
                <a:gd name="T70" fmla="*/ 7881 w 24669"/>
                <a:gd name="T71" fmla="*/ 7541 h 36230"/>
                <a:gd name="T72" fmla="*/ 7962 w 24669"/>
                <a:gd name="T73" fmla="*/ 8337 h 36230"/>
                <a:gd name="T74" fmla="*/ 9032 w 24669"/>
                <a:gd name="T75" fmla="*/ 9566 h 36230"/>
                <a:gd name="T76" fmla="*/ 8849 w 24669"/>
                <a:gd name="T77" fmla="*/ 10594 h 36230"/>
                <a:gd name="T78" fmla="*/ 7961 w 24669"/>
                <a:gd name="T79" fmla="*/ 11520 h 36230"/>
                <a:gd name="T80" fmla="*/ 6796 w 24669"/>
                <a:gd name="T81" fmla="*/ 11878 h 36230"/>
                <a:gd name="T82" fmla="*/ 7074 w 24669"/>
                <a:gd name="T83" fmla="*/ 13078 h 36230"/>
                <a:gd name="T84" fmla="*/ 6736 w 24669"/>
                <a:gd name="T85" fmla="*/ 14384 h 36230"/>
                <a:gd name="T86" fmla="*/ 6207 w 24669"/>
                <a:gd name="T87" fmla="*/ 15159 h 36230"/>
                <a:gd name="T88" fmla="*/ 5948 w 24669"/>
                <a:gd name="T89" fmla="*/ 16747 h 36230"/>
                <a:gd name="T90" fmla="*/ 3967 w 24669"/>
                <a:gd name="T91" fmla="*/ 18639 h 36230"/>
                <a:gd name="T92" fmla="*/ 2665 w 24669"/>
                <a:gd name="T93" fmla="*/ 18583 h 36230"/>
                <a:gd name="T94" fmla="*/ 870 w 24669"/>
                <a:gd name="T95" fmla="*/ 19481 h 36230"/>
                <a:gd name="T96" fmla="*/ 2344 w 24669"/>
                <a:gd name="T97" fmla="*/ 21109 h 36230"/>
                <a:gd name="T98" fmla="*/ 632 w 24669"/>
                <a:gd name="T99" fmla="*/ 21445 h 36230"/>
                <a:gd name="T100" fmla="*/ 2687 w 24669"/>
                <a:gd name="T101" fmla="*/ 23945 h 36230"/>
                <a:gd name="T102" fmla="*/ 2136 w 24669"/>
                <a:gd name="T103" fmla="*/ 26602 h 36230"/>
                <a:gd name="T104" fmla="*/ 4360 w 24669"/>
                <a:gd name="T105" fmla="*/ 30394 h 36230"/>
                <a:gd name="T106" fmla="*/ 6925 w 24669"/>
                <a:gd name="T107" fmla="*/ 31919 h 36230"/>
                <a:gd name="T108" fmla="*/ 8230 w 24669"/>
                <a:gd name="T109" fmla="*/ 32413 h 36230"/>
                <a:gd name="T110" fmla="*/ 9987 w 24669"/>
                <a:gd name="T111" fmla="*/ 32781 h 36230"/>
                <a:gd name="T112" fmla="*/ 11683 w 24669"/>
                <a:gd name="T113" fmla="*/ 33247 h 36230"/>
                <a:gd name="T114" fmla="*/ 11370 w 24669"/>
                <a:gd name="T115" fmla="*/ 34300 h 36230"/>
                <a:gd name="T116" fmla="*/ 14236 w 24669"/>
                <a:gd name="T117" fmla="*/ 34628 h 36230"/>
                <a:gd name="connsiteX0" fmla="*/ 15246 w 24669"/>
                <a:gd name="connsiteY0" fmla="*/ 36230 h 36230"/>
                <a:gd name="connsiteX1" fmla="*/ 15279 w 24669"/>
                <a:gd name="connsiteY1" fmla="*/ 36230 h 36230"/>
                <a:gd name="connsiteX2" fmla="*/ 15328 w 24669"/>
                <a:gd name="connsiteY2" fmla="*/ 36015 h 36230"/>
                <a:gd name="connsiteX3" fmla="*/ 15392 w 24669"/>
                <a:gd name="connsiteY3" fmla="*/ 36205 h 36230"/>
                <a:gd name="connsiteX4" fmla="*/ 15614 w 24669"/>
                <a:gd name="connsiteY4" fmla="*/ 35682 h 36230"/>
                <a:gd name="connsiteX5" fmla="*/ 15527 w 24669"/>
                <a:gd name="connsiteY5" fmla="*/ 36069 h 36230"/>
                <a:gd name="connsiteX6" fmla="*/ 16398 w 24669"/>
                <a:gd name="connsiteY6" fmla="*/ 35986 h 36230"/>
                <a:gd name="connsiteX7" fmla="*/ 17007 w 24669"/>
                <a:gd name="connsiteY7" fmla="*/ 35695 h 36230"/>
                <a:gd name="connsiteX8" fmla="*/ 16987 w 24669"/>
                <a:gd name="connsiteY8" fmla="*/ 35423 h 36230"/>
                <a:gd name="connsiteX9" fmla="*/ 17558 w 24669"/>
                <a:gd name="connsiteY9" fmla="*/ 35572 h 36230"/>
                <a:gd name="connsiteX10" fmla="*/ 18345 w 24669"/>
                <a:gd name="connsiteY10" fmla="*/ 35148 h 36230"/>
                <a:gd name="connsiteX11" fmla="*/ 17896 w 24669"/>
                <a:gd name="connsiteY11" fmla="*/ 34540 h 36230"/>
                <a:gd name="connsiteX12" fmla="*/ 18156 w 24669"/>
                <a:gd name="connsiteY12" fmla="*/ 34565 h 36230"/>
                <a:gd name="connsiteX13" fmla="*/ 16485 w 24669"/>
                <a:gd name="connsiteY13" fmla="*/ 34572 h 36230"/>
                <a:gd name="connsiteX14" fmla="*/ 15461 w 24669"/>
                <a:gd name="connsiteY14" fmla="*/ 34324 h 36230"/>
                <a:gd name="connsiteX15" fmla="*/ 14623 w 24669"/>
                <a:gd name="connsiteY15" fmla="*/ 34462 h 36230"/>
                <a:gd name="connsiteX16" fmla="*/ 15454 w 24669"/>
                <a:gd name="connsiteY16" fmla="*/ 34149 h 36230"/>
                <a:gd name="connsiteX17" fmla="*/ 14302 w 24669"/>
                <a:gd name="connsiteY17" fmla="*/ 33720 h 36230"/>
                <a:gd name="connsiteX18" fmla="*/ 14241 w 24669"/>
                <a:gd name="connsiteY18" fmla="*/ 33038 h 36230"/>
                <a:gd name="connsiteX19" fmla="*/ 14431 w 24669"/>
                <a:gd name="connsiteY19" fmla="*/ 33601 h 36230"/>
                <a:gd name="connsiteX20" fmla="*/ 14878 w 24669"/>
                <a:gd name="connsiteY20" fmla="*/ 33641 h 36230"/>
                <a:gd name="connsiteX21" fmla="*/ 15080 w 24669"/>
                <a:gd name="connsiteY21" fmla="*/ 33857 h 36230"/>
                <a:gd name="connsiteX22" fmla="*/ 15899 w 24669"/>
                <a:gd name="connsiteY22" fmla="*/ 34061 h 36230"/>
                <a:gd name="connsiteX23" fmla="*/ 16779 w 24669"/>
                <a:gd name="connsiteY23" fmla="*/ 34401 h 36230"/>
                <a:gd name="connsiteX24" fmla="*/ 17953 w 24669"/>
                <a:gd name="connsiteY24" fmla="*/ 34269 h 36230"/>
                <a:gd name="connsiteX25" fmla="*/ 18632 w 24669"/>
                <a:gd name="connsiteY25" fmla="*/ 34414 h 36230"/>
                <a:gd name="connsiteX26" fmla="*/ 18651 w 24669"/>
                <a:gd name="connsiteY26" fmla="*/ 33753 h 36230"/>
                <a:gd name="connsiteX27" fmla="*/ 18360 w 24669"/>
                <a:gd name="connsiteY27" fmla="*/ 33275 h 36230"/>
                <a:gd name="connsiteX28" fmla="*/ 18735 w 24669"/>
                <a:gd name="connsiteY28" fmla="*/ 33596 h 36230"/>
                <a:gd name="connsiteX29" fmla="*/ 19072 w 24669"/>
                <a:gd name="connsiteY29" fmla="*/ 33696 h 36230"/>
                <a:gd name="connsiteX30" fmla="*/ 19107 w 24669"/>
                <a:gd name="connsiteY30" fmla="*/ 33396 h 36230"/>
                <a:gd name="connsiteX31" fmla="*/ 19303 w 24669"/>
                <a:gd name="connsiteY31" fmla="*/ 33465 h 36230"/>
                <a:gd name="connsiteX32" fmla="*/ 19709 w 24669"/>
                <a:gd name="connsiteY32" fmla="*/ 33256 h 36230"/>
                <a:gd name="connsiteX33" fmla="*/ 20191 w 24669"/>
                <a:gd name="connsiteY33" fmla="*/ 32769 h 36230"/>
                <a:gd name="connsiteX34" fmla="*/ 20032 w 24669"/>
                <a:gd name="connsiteY34" fmla="*/ 32330 h 36230"/>
                <a:gd name="connsiteX35" fmla="*/ 19688 w 24669"/>
                <a:gd name="connsiteY35" fmla="*/ 31859 h 36230"/>
                <a:gd name="connsiteX36" fmla="*/ 19033 w 24669"/>
                <a:gd name="connsiteY36" fmla="*/ 31628 h 36230"/>
                <a:gd name="connsiteX37" fmla="*/ 18422 w 24669"/>
                <a:gd name="connsiteY37" fmla="*/ 31361 h 36230"/>
                <a:gd name="connsiteX38" fmla="*/ 17630 w 24669"/>
                <a:gd name="connsiteY38" fmla="*/ 31404 h 36230"/>
                <a:gd name="connsiteX39" fmla="*/ 16589 w 24669"/>
                <a:gd name="connsiteY39" fmla="*/ 31250 h 36230"/>
                <a:gd name="connsiteX40" fmla="*/ 16276 w 24669"/>
                <a:gd name="connsiteY40" fmla="*/ 31043 h 36230"/>
                <a:gd name="connsiteX41" fmla="*/ 15428 w 24669"/>
                <a:gd name="connsiteY41" fmla="*/ 30480 h 36230"/>
                <a:gd name="connsiteX42" fmla="*/ 15368 w 24669"/>
                <a:gd name="connsiteY42" fmla="*/ 29931 h 36230"/>
                <a:gd name="connsiteX43" fmla="*/ 15797 w 24669"/>
                <a:gd name="connsiteY43" fmla="*/ 30351 h 36230"/>
                <a:gd name="connsiteX44" fmla="*/ 16915 w 24669"/>
                <a:gd name="connsiteY44" fmla="*/ 30822 h 36230"/>
                <a:gd name="connsiteX45" fmla="*/ 18388 w 24669"/>
                <a:gd name="connsiteY45" fmla="*/ 30898 h 36230"/>
                <a:gd name="connsiteX46" fmla="*/ 18573 w 24669"/>
                <a:gd name="connsiteY46" fmla="*/ 30470 h 36230"/>
                <a:gd name="connsiteX47" fmla="*/ 19067 w 24669"/>
                <a:gd name="connsiteY47" fmla="*/ 30522 h 36230"/>
                <a:gd name="connsiteX48" fmla="*/ 19106 w 24669"/>
                <a:gd name="connsiteY48" fmla="*/ 30891 h 36230"/>
                <a:gd name="connsiteX49" fmla="*/ 19345 w 24669"/>
                <a:gd name="connsiteY49" fmla="*/ 31034 h 36230"/>
                <a:gd name="connsiteX50" fmla="*/ 19316 w 24669"/>
                <a:gd name="connsiteY50" fmla="*/ 30400 h 36230"/>
                <a:gd name="connsiteX51" fmla="*/ 18676 w 24669"/>
                <a:gd name="connsiteY51" fmla="*/ 29879 h 36230"/>
                <a:gd name="connsiteX52" fmla="*/ 18512 w 24669"/>
                <a:gd name="connsiteY52" fmla="*/ 29676 h 36230"/>
                <a:gd name="connsiteX53" fmla="*/ 18609 w 24669"/>
                <a:gd name="connsiteY53" fmla="*/ 29437 h 36230"/>
                <a:gd name="connsiteX54" fmla="*/ 19397 w 24669"/>
                <a:gd name="connsiteY54" fmla="*/ 29995 h 36230"/>
                <a:gd name="connsiteX55" fmla="*/ 19625 w 24669"/>
                <a:gd name="connsiteY55" fmla="*/ 30196 h 36230"/>
                <a:gd name="connsiteX56" fmla="*/ 19894 w 24669"/>
                <a:gd name="connsiteY56" fmla="*/ 30186 h 36230"/>
                <a:gd name="connsiteX57" fmla="*/ 19912 w 24669"/>
                <a:gd name="connsiteY57" fmla="*/ 30979 h 36230"/>
                <a:gd name="connsiteX58" fmla="*/ 20716 w 24669"/>
                <a:gd name="connsiteY58" fmla="*/ 31262 h 36230"/>
                <a:gd name="connsiteX59" fmla="*/ 20663 w 24669"/>
                <a:gd name="connsiteY59" fmla="*/ 29512 h 36230"/>
                <a:gd name="connsiteX60" fmla="*/ 20335 w 24669"/>
                <a:gd name="connsiteY60" fmla="*/ 28883 h 36230"/>
                <a:gd name="connsiteX61" fmla="*/ 19869 w 24669"/>
                <a:gd name="connsiteY61" fmla="*/ 27843 h 36230"/>
                <a:gd name="connsiteX62" fmla="*/ 19699 w 24669"/>
                <a:gd name="connsiteY62" fmla="*/ 27586 h 36230"/>
                <a:gd name="connsiteX63" fmla="*/ 19808 w 24669"/>
                <a:gd name="connsiteY63" fmla="*/ 27612 h 36230"/>
                <a:gd name="connsiteX64" fmla="*/ 19606 w 24669"/>
                <a:gd name="connsiteY64" fmla="*/ 27298 h 36230"/>
                <a:gd name="connsiteX65" fmla="*/ 19907 w 24669"/>
                <a:gd name="connsiteY65" fmla="*/ 27549 h 36230"/>
                <a:gd name="connsiteX66" fmla="*/ 20065 w 24669"/>
                <a:gd name="connsiteY66" fmla="*/ 28041 h 36230"/>
                <a:gd name="connsiteX67" fmla="*/ 20379 w 24669"/>
                <a:gd name="connsiteY67" fmla="*/ 28296 h 36230"/>
                <a:gd name="connsiteX68" fmla="*/ 20293 w 24669"/>
                <a:gd name="connsiteY68" fmla="*/ 28310 h 36230"/>
                <a:gd name="connsiteX69" fmla="*/ 20714 w 24669"/>
                <a:gd name="connsiteY69" fmla="*/ 28827 h 36230"/>
                <a:gd name="connsiteX70" fmla="*/ 21067 w 24669"/>
                <a:gd name="connsiteY70" fmla="*/ 29461 h 36230"/>
                <a:gd name="connsiteX71" fmla="*/ 21386 w 24669"/>
                <a:gd name="connsiteY71" fmla="*/ 29815 h 36230"/>
                <a:gd name="connsiteX72" fmla="*/ 21176 w 24669"/>
                <a:gd name="connsiteY72" fmla="*/ 29783 h 36230"/>
                <a:gd name="connsiteX73" fmla="*/ 21280 w 24669"/>
                <a:gd name="connsiteY73" fmla="*/ 30202 h 36230"/>
                <a:gd name="connsiteX74" fmla="*/ 21488 w 24669"/>
                <a:gd name="connsiteY74" fmla="*/ 29915 h 36230"/>
                <a:gd name="connsiteX75" fmla="*/ 21479 w 24669"/>
                <a:gd name="connsiteY75" fmla="*/ 29835 h 36230"/>
                <a:gd name="connsiteX76" fmla="*/ 21622 w 24669"/>
                <a:gd name="connsiteY76" fmla="*/ 29929 h 36230"/>
                <a:gd name="connsiteX77" fmla="*/ 21434 w 24669"/>
                <a:gd name="connsiteY77" fmla="*/ 29311 h 36230"/>
                <a:gd name="connsiteX78" fmla="*/ 21809 w 24669"/>
                <a:gd name="connsiteY78" fmla="*/ 29621 h 36230"/>
                <a:gd name="connsiteX79" fmla="*/ 22045 w 24669"/>
                <a:gd name="connsiteY79" fmla="*/ 29417 h 36230"/>
                <a:gd name="connsiteX80" fmla="*/ 22114 w 24669"/>
                <a:gd name="connsiteY80" fmla="*/ 29490 h 36230"/>
                <a:gd name="connsiteX81" fmla="*/ 22241 w 24669"/>
                <a:gd name="connsiteY81" fmla="*/ 29254 h 36230"/>
                <a:gd name="connsiteX82" fmla="*/ 22436 w 24669"/>
                <a:gd name="connsiteY82" fmla="*/ 29648 h 36230"/>
                <a:gd name="connsiteX83" fmla="*/ 22504 w 24669"/>
                <a:gd name="connsiteY83" fmla="*/ 30027 h 36230"/>
                <a:gd name="connsiteX84" fmla="*/ 22665 w 24669"/>
                <a:gd name="connsiteY84" fmla="*/ 30359 h 36230"/>
                <a:gd name="connsiteX85" fmla="*/ 22827 w 24669"/>
                <a:gd name="connsiteY85" fmla="*/ 30387 h 36230"/>
                <a:gd name="connsiteX86" fmla="*/ 23051 w 24669"/>
                <a:gd name="connsiteY86" fmla="*/ 30532 h 36230"/>
                <a:gd name="connsiteX87" fmla="*/ 23865 w 24669"/>
                <a:gd name="connsiteY87" fmla="*/ 30346 h 36230"/>
                <a:gd name="connsiteX88" fmla="*/ 24396 w 24669"/>
                <a:gd name="connsiteY88" fmla="*/ 29962 h 36230"/>
                <a:gd name="connsiteX89" fmla="*/ 24669 w 24669"/>
                <a:gd name="connsiteY89" fmla="*/ 29523 h 36230"/>
                <a:gd name="connsiteX90" fmla="*/ 24669 w 24669"/>
                <a:gd name="connsiteY90" fmla="*/ 29458 h 36230"/>
                <a:gd name="connsiteX91" fmla="*/ 24139 w 24669"/>
                <a:gd name="connsiteY91" fmla="*/ 28815 h 36230"/>
                <a:gd name="connsiteX92" fmla="*/ 23847 w 24669"/>
                <a:gd name="connsiteY92" fmla="*/ 28371 h 36230"/>
                <a:gd name="connsiteX93" fmla="*/ 23481 w 24669"/>
                <a:gd name="connsiteY93" fmla="*/ 28340 h 36230"/>
                <a:gd name="connsiteX94" fmla="*/ 23393 w 24669"/>
                <a:gd name="connsiteY94" fmla="*/ 28212 h 36230"/>
                <a:gd name="connsiteX95" fmla="*/ 23843 w 24669"/>
                <a:gd name="connsiteY95" fmla="*/ 28271 h 36230"/>
                <a:gd name="connsiteX96" fmla="*/ 23503 w 24669"/>
                <a:gd name="connsiteY96" fmla="*/ 27799 h 36230"/>
                <a:gd name="connsiteX97" fmla="*/ 23075 w 24669"/>
                <a:gd name="connsiteY97" fmla="*/ 27532 h 36230"/>
                <a:gd name="connsiteX98" fmla="*/ 22894 w 24669"/>
                <a:gd name="connsiteY98" fmla="*/ 27360 h 36230"/>
                <a:gd name="connsiteX99" fmla="*/ 22248 w 24669"/>
                <a:gd name="connsiteY99" fmla="*/ 27599 h 36230"/>
                <a:gd name="connsiteX100" fmla="*/ 21746 w 24669"/>
                <a:gd name="connsiteY100" fmla="*/ 27248 h 36230"/>
                <a:gd name="connsiteX101" fmla="*/ 21713 w 24669"/>
                <a:gd name="connsiteY101" fmla="*/ 27172 h 36230"/>
                <a:gd name="connsiteX102" fmla="*/ 22029 w 24669"/>
                <a:gd name="connsiteY102" fmla="*/ 27034 h 36230"/>
                <a:gd name="connsiteX103" fmla="*/ 22435 w 24669"/>
                <a:gd name="connsiteY103" fmla="*/ 27174 h 36230"/>
                <a:gd name="connsiteX104" fmla="*/ 22898 w 24669"/>
                <a:gd name="connsiteY104" fmla="*/ 26899 h 36230"/>
                <a:gd name="connsiteX105" fmla="*/ 22540 w 24669"/>
                <a:gd name="connsiteY105" fmla="*/ 26330 h 36230"/>
                <a:gd name="connsiteX106" fmla="*/ 21434 w 24669"/>
                <a:gd name="connsiteY106" fmla="*/ 26496 h 36230"/>
                <a:gd name="connsiteX107" fmla="*/ 21078 w 24669"/>
                <a:gd name="connsiteY107" fmla="*/ 26073 h 36230"/>
                <a:gd name="connsiteX108" fmla="*/ 21190 w 24669"/>
                <a:gd name="connsiteY108" fmla="*/ 26069 h 36230"/>
                <a:gd name="connsiteX109" fmla="*/ 21041 w 24669"/>
                <a:gd name="connsiteY109" fmla="*/ 25509 h 36230"/>
                <a:gd name="connsiteX110" fmla="*/ 21192 w 24669"/>
                <a:gd name="connsiteY110" fmla="*/ 25477 h 36230"/>
                <a:gd name="connsiteX111" fmla="*/ 21584 w 24669"/>
                <a:gd name="connsiteY111" fmla="*/ 25990 h 36230"/>
                <a:gd name="connsiteX112" fmla="*/ 22190 w 24669"/>
                <a:gd name="connsiteY112" fmla="*/ 26112 h 36230"/>
                <a:gd name="connsiteX113" fmla="*/ 22342 w 24669"/>
                <a:gd name="connsiteY113" fmla="*/ 25930 h 36230"/>
                <a:gd name="connsiteX114" fmla="*/ 22058 w 24669"/>
                <a:gd name="connsiteY114" fmla="*/ 25259 h 36230"/>
                <a:gd name="connsiteX115" fmla="*/ 21597 w 24669"/>
                <a:gd name="connsiteY115" fmla="*/ 25302 h 36230"/>
                <a:gd name="connsiteX116" fmla="*/ 21391 w 24669"/>
                <a:gd name="connsiteY116" fmla="*/ 24516 h 36230"/>
                <a:gd name="connsiteX117" fmla="*/ 21662 w 24669"/>
                <a:gd name="connsiteY117" fmla="*/ 24201 h 36230"/>
                <a:gd name="connsiteX118" fmla="*/ 21573 w 24669"/>
                <a:gd name="connsiteY118" fmla="*/ 23974 h 36230"/>
                <a:gd name="connsiteX119" fmla="*/ 21250 w 24669"/>
                <a:gd name="connsiteY119" fmla="*/ 23780 h 36230"/>
                <a:gd name="connsiteX120" fmla="*/ 21285 w 24669"/>
                <a:gd name="connsiteY120" fmla="*/ 23338 h 36230"/>
                <a:gd name="connsiteX121" fmla="*/ 20946 w 24669"/>
                <a:gd name="connsiteY121" fmla="*/ 23363 h 36230"/>
                <a:gd name="connsiteX122" fmla="*/ 20960 w 24669"/>
                <a:gd name="connsiteY122" fmla="*/ 23143 h 36230"/>
                <a:gd name="connsiteX123" fmla="*/ 20809 w 24669"/>
                <a:gd name="connsiteY123" fmla="*/ 23294 h 36230"/>
                <a:gd name="connsiteX124" fmla="*/ 20830 w 24669"/>
                <a:gd name="connsiteY124" fmla="*/ 22947 h 36230"/>
                <a:gd name="connsiteX125" fmla="*/ 20702 w 24669"/>
                <a:gd name="connsiteY125" fmla="*/ 22882 h 36230"/>
                <a:gd name="connsiteX126" fmla="*/ 20888 w 24669"/>
                <a:gd name="connsiteY126" fmla="*/ 22879 h 36230"/>
                <a:gd name="connsiteX127" fmla="*/ 20699 w 24669"/>
                <a:gd name="connsiteY127" fmla="*/ 22125 h 36230"/>
                <a:gd name="connsiteX128" fmla="*/ 20548 w 24669"/>
                <a:gd name="connsiteY128" fmla="*/ 21550 h 36230"/>
                <a:gd name="connsiteX129" fmla="*/ 20394 w 24669"/>
                <a:gd name="connsiteY129" fmla="*/ 20980 h 36230"/>
                <a:gd name="connsiteX130" fmla="*/ 20627 w 24669"/>
                <a:gd name="connsiteY130" fmla="*/ 21030 h 36230"/>
                <a:gd name="connsiteX131" fmla="*/ 20669 w 24669"/>
                <a:gd name="connsiteY131" fmla="*/ 21592 h 36230"/>
                <a:gd name="connsiteX132" fmla="*/ 20894 w 24669"/>
                <a:gd name="connsiteY132" fmla="*/ 21591 h 36230"/>
                <a:gd name="connsiteX133" fmla="*/ 21403 w 24669"/>
                <a:gd name="connsiteY133" fmla="*/ 21181 h 36230"/>
                <a:gd name="connsiteX134" fmla="*/ 21621 w 24669"/>
                <a:gd name="connsiteY134" fmla="*/ 20832 h 36230"/>
                <a:gd name="connsiteX135" fmla="*/ 21143 w 24669"/>
                <a:gd name="connsiteY135" fmla="*/ 21076 h 36230"/>
                <a:gd name="connsiteX136" fmla="*/ 20946 w 24669"/>
                <a:gd name="connsiteY136" fmla="*/ 20919 h 36230"/>
                <a:gd name="connsiteX137" fmla="*/ 20989 w 24669"/>
                <a:gd name="connsiteY137" fmla="*/ 21081 h 36230"/>
                <a:gd name="connsiteX138" fmla="*/ 20858 w 24669"/>
                <a:gd name="connsiteY138" fmla="*/ 20970 h 36230"/>
                <a:gd name="connsiteX139" fmla="*/ 21127 w 24669"/>
                <a:gd name="connsiteY139" fmla="*/ 20753 h 36230"/>
                <a:gd name="connsiteX140" fmla="*/ 20856 w 24669"/>
                <a:gd name="connsiteY140" fmla="*/ 20675 h 36230"/>
                <a:gd name="connsiteX141" fmla="*/ 21189 w 24669"/>
                <a:gd name="connsiteY141" fmla="*/ 20535 h 36230"/>
                <a:gd name="connsiteX142" fmla="*/ 20911 w 24669"/>
                <a:gd name="connsiteY142" fmla="*/ 20497 h 36230"/>
                <a:gd name="connsiteX143" fmla="*/ 21300 w 24669"/>
                <a:gd name="connsiteY143" fmla="*/ 20462 h 36230"/>
                <a:gd name="connsiteX144" fmla="*/ 21517 w 24669"/>
                <a:gd name="connsiteY144" fmla="*/ 20165 h 36230"/>
                <a:gd name="connsiteX145" fmla="*/ 21846 w 24669"/>
                <a:gd name="connsiteY145" fmla="*/ 20242 h 36230"/>
                <a:gd name="connsiteX146" fmla="*/ 21891 w 24669"/>
                <a:gd name="connsiteY146" fmla="*/ 19600 h 36230"/>
                <a:gd name="connsiteX147" fmla="*/ 21677 w 24669"/>
                <a:gd name="connsiteY147" fmla="*/ 19409 h 36230"/>
                <a:gd name="connsiteX148" fmla="*/ 20780 w 24669"/>
                <a:gd name="connsiteY148" fmla="*/ 19727 h 36230"/>
                <a:gd name="connsiteX149" fmla="*/ 20961 w 24669"/>
                <a:gd name="connsiteY149" fmla="*/ 19649 h 36230"/>
                <a:gd name="connsiteX150" fmla="*/ 20627 w 24669"/>
                <a:gd name="connsiteY150" fmla="*/ 19304 h 36230"/>
                <a:gd name="connsiteX151" fmla="*/ 20736 w 24669"/>
                <a:gd name="connsiteY151" fmla="*/ 19246 h 36230"/>
                <a:gd name="connsiteX152" fmla="*/ 20498 w 24669"/>
                <a:gd name="connsiteY152" fmla="*/ 19225 h 36230"/>
                <a:gd name="connsiteX153" fmla="*/ 20304 w 24669"/>
                <a:gd name="connsiteY153" fmla="*/ 19557 h 36230"/>
                <a:gd name="connsiteX154" fmla="*/ 20161 w 24669"/>
                <a:gd name="connsiteY154" fmla="*/ 19256 h 36230"/>
                <a:gd name="connsiteX155" fmla="*/ 20221 w 24669"/>
                <a:gd name="connsiteY155" fmla="*/ 19016 h 36230"/>
                <a:gd name="connsiteX156" fmla="*/ 20350 w 24669"/>
                <a:gd name="connsiteY156" fmla="*/ 19201 h 36230"/>
                <a:gd name="connsiteX157" fmla="*/ 20529 w 24669"/>
                <a:gd name="connsiteY157" fmla="*/ 18483 h 36230"/>
                <a:gd name="connsiteX158" fmla="*/ 21064 w 24669"/>
                <a:gd name="connsiteY158" fmla="*/ 18717 h 36230"/>
                <a:gd name="connsiteX159" fmla="*/ 21054 w 24669"/>
                <a:gd name="connsiteY159" fmla="*/ 18547 h 36230"/>
                <a:gd name="connsiteX160" fmla="*/ 20878 w 24669"/>
                <a:gd name="connsiteY160" fmla="*/ 18513 h 36230"/>
                <a:gd name="connsiteX161" fmla="*/ 21247 w 24669"/>
                <a:gd name="connsiteY161" fmla="*/ 18475 h 36230"/>
                <a:gd name="connsiteX162" fmla="*/ 21116 w 24669"/>
                <a:gd name="connsiteY162" fmla="*/ 18113 h 36230"/>
                <a:gd name="connsiteX163" fmla="*/ 21213 w 24669"/>
                <a:gd name="connsiteY163" fmla="*/ 18068 h 36230"/>
                <a:gd name="connsiteX164" fmla="*/ 21043 w 24669"/>
                <a:gd name="connsiteY164" fmla="*/ 18015 h 36230"/>
                <a:gd name="connsiteX165" fmla="*/ 21398 w 24669"/>
                <a:gd name="connsiteY165" fmla="*/ 17562 h 36230"/>
                <a:gd name="connsiteX166" fmla="*/ 21363 w 24669"/>
                <a:gd name="connsiteY166" fmla="*/ 16710 h 36230"/>
                <a:gd name="connsiteX167" fmla="*/ 21205 w 24669"/>
                <a:gd name="connsiteY167" fmla="*/ 16736 h 36230"/>
                <a:gd name="connsiteX168" fmla="*/ 21150 w 24669"/>
                <a:gd name="connsiteY168" fmla="*/ 17021 h 36230"/>
                <a:gd name="connsiteX169" fmla="*/ 20898 w 24669"/>
                <a:gd name="connsiteY169" fmla="*/ 16973 h 36230"/>
                <a:gd name="connsiteX170" fmla="*/ 20305 w 24669"/>
                <a:gd name="connsiteY170" fmla="*/ 17565 h 36230"/>
                <a:gd name="connsiteX171" fmla="*/ 20984 w 24669"/>
                <a:gd name="connsiteY171" fmla="*/ 16718 h 36230"/>
                <a:gd name="connsiteX172" fmla="*/ 20425 w 24669"/>
                <a:gd name="connsiteY172" fmla="*/ 16439 h 36230"/>
                <a:gd name="connsiteX173" fmla="*/ 20784 w 24669"/>
                <a:gd name="connsiteY173" fmla="*/ 16601 h 36230"/>
                <a:gd name="connsiteX174" fmla="*/ 20923 w 24669"/>
                <a:gd name="connsiteY174" fmla="*/ 16572 h 36230"/>
                <a:gd name="connsiteX175" fmla="*/ 20890 w 24669"/>
                <a:gd name="connsiteY175" fmla="*/ 15999 h 36230"/>
                <a:gd name="connsiteX176" fmla="*/ 21293 w 24669"/>
                <a:gd name="connsiteY176" fmla="*/ 15901 h 36230"/>
                <a:gd name="connsiteX177" fmla="*/ 21416 w 24669"/>
                <a:gd name="connsiteY177" fmla="*/ 16010 h 36230"/>
                <a:gd name="connsiteX178" fmla="*/ 21544 w 24669"/>
                <a:gd name="connsiteY178" fmla="*/ 15550 h 36230"/>
                <a:gd name="connsiteX179" fmla="*/ 21295 w 24669"/>
                <a:gd name="connsiteY179" fmla="*/ 15353 h 36230"/>
                <a:gd name="connsiteX180" fmla="*/ 21029 w 24669"/>
                <a:gd name="connsiteY180" fmla="*/ 15634 h 36230"/>
                <a:gd name="connsiteX181" fmla="*/ 20827 w 24669"/>
                <a:gd name="connsiteY181" fmla="*/ 15680 h 36230"/>
                <a:gd name="connsiteX182" fmla="*/ 21156 w 24669"/>
                <a:gd name="connsiteY182" fmla="*/ 15245 h 36230"/>
                <a:gd name="connsiteX183" fmla="*/ 20516 w 24669"/>
                <a:gd name="connsiteY183" fmla="*/ 15213 h 36230"/>
                <a:gd name="connsiteX184" fmla="*/ 20394 w 24669"/>
                <a:gd name="connsiteY184" fmla="*/ 15498 h 36230"/>
                <a:gd name="connsiteX185" fmla="*/ 20235 w 24669"/>
                <a:gd name="connsiteY185" fmla="*/ 15033 h 36230"/>
                <a:gd name="connsiteX186" fmla="*/ 21110 w 24669"/>
                <a:gd name="connsiteY186" fmla="*/ 14792 h 36230"/>
                <a:gd name="connsiteX187" fmla="*/ 21021 w 24669"/>
                <a:gd name="connsiteY187" fmla="*/ 14237 h 36230"/>
                <a:gd name="connsiteX188" fmla="*/ 20612 w 24669"/>
                <a:gd name="connsiteY188" fmla="*/ 14225 h 36230"/>
                <a:gd name="connsiteX189" fmla="*/ 20261 w 24669"/>
                <a:gd name="connsiteY189" fmla="*/ 13946 h 36230"/>
                <a:gd name="connsiteX190" fmla="*/ 19600 w 24669"/>
                <a:gd name="connsiteY190" fmla="*/ 14405 h 36230"/>
                <a:gd name="connsiteX191" fmla="*/ 19624 w 24669"/>
                <a:gd name="connsiteY191" fmla="*/ 14657 h 36230"/>
                <a:gd name="connsiteX192" fmla="*/ 19497 w 24669"/>
                <a:gd name="connsiteY192" fmla="*/ 14765 h 36230"/>
                <a:gd name="connsiteX193" fmla="*/ 19385 w 24669"/>
                <a:gd name="connsiteY193" fmla="*/ 14370 h 36230"/>
                <a:gd name="connsiteX194" fmla="*/ 19257 w 24669"/>
                <a:gd name="connsiteY194" fmla="*/ 14392 h 36230"/>
                <a:gd name="connsiteX195" fmla="*/ 19272 w 24669"/>
                <a:gd name="connsiteY195" fmla="*/ 14312 h 36230"/>
                <a:gd name="connsiteX196" fmla="*/ 18785 w 24669"/>
                <a:gd name="connsiteY196" fmla="*/ 13904 h 36230"/>
                <a:gd name="connsiteX197" fmla="*/ 18206 w 24669"/>
                <a:gd name="connsiteY197" fmla="*/ 14284 h 36230"/>
                <a:gd name="connsiteX198" fmla="*/ 18652 w 24669"/>
                <a:gd name="connsiteY198" fmla="*/ 13940 h 36230"/>
                <a:gd name="connsiteX199" fmla="*/ 18119 w 24669"/>
                <a:gd name="connsiteY199" fmla="*/ 13799 h 36230"/>
                <a:gd name="connsiteX200" fmla="*/ 18230 w 24669"/>
                <a:gd name="connsiteY200" fmla="*/ 13626 h 36230"/>
                <a:gd name="connsiteX201" fmla="*/ 18291 w 24669"/>
                <a:gd name="connsiteY201" fmla="*/ 13760 h 36230"/>
                <a:gd name="connsiteX202" fmla="*/ 18630 w 24669"/>
                <a:gd name="connsiteY202" fmla="*/ 13824 h 36230"/>
                <a:gd name="connsiteX203" fmla="*/ 18913 w 24669"/>
                <a:gd name="connsiteY203" fmla="*/ 13772 h 36230"/>
                <a:gd name="connsiteX204" fmla="*/ 19143 w 24669"/>
                <a:gd name="connsiteY204" fmla="*/ 14200 h 36230"/>
                <a:gd name="connsiteX205" fmla="*/ 19900 w 24669"/>
                <a:gd name="connsiteY205" fmla="*/ 13918 h 36230"/>
                <a:gd name="connsiteX206" fmla="*/ 19537 w 24669"/>
                <a:gd name="connsiteY206" fmla="*/ 13914 h 36230"/>
                <a:gd name="connsiteX207" fmla="*/ 19992 w 24669"/>
                <a:gd name="connsiteY207" fmla="*/ 13814 h 36230"/>
                <a:gd name="connsiteX208" fmla="*/ 19966 w 24669"/>
                <a:gd name="connsiteY208" fmla="*/ 13664 h 36230"/>
                <a:gd name="connsiteX209" fmla="*/ 20400 w 24669"/>
                <a:gd name="connsiteY209" fmla="*/ 13488 h 36230"/>
                <a:gd name="connsiteX210" fmla="*/ 20415 w 24669"/>
                <a:gd name="connsiteY210" fmla="*/ 13143 h 36230"/>
                <a:gd name="connsiteX211" fmla="*/ 19995 w 24669"/>
                <a:gd name="connsiteY211" fmla="*/ 13352 h 36230"/>
                <a:gd name="connsiteX212" fmla="*/ 19306 w 24669"/>
                <a:gd name="connsiteY212" fmla="*/ 13465 h 36230"/>
                <a:gd name="connsiteX213" fmla="*/ 19513 w 24669"/>
                <a:gd name="connsiteY213" fmla="*/ 13611 h 36230"/>
                <a:gd name="connsiteX214" fmla="*/ 18992 w 24669"/>
                <a:gd name="connsiteY214" fmla="*/ 13743 h 36230"/>
                <a:gd name="connsiteX215" fmla="*/ 19156 w 24669"/>
                <a:gd name="connsiteY215" fmla="*/ 13559 h 36230"/>
                <a:gd name="connsiteX216" fmla="*/ 18783 w 24669"/>
                <a:gd name="connsiteY216" fmla="*/ 13325 h 36230"/>
                <a:gd name="connsiteX217" fmla="*/ 18425 w 24669"/>
                <a:gd name="connsiteY217" fmla="*/ 13414 h 36230"/>
                <a:gd name="connsiteX218" fmla="*/ 18586 w 24669"/>
                <a:gd name="connsiteY218" fmla="*/ 13279 h 36230"/>
                <a:gd name="connsiteX219" fmla="*/ 18495 w 24669"/>
                <a:gd name="connsiteY219" fmla="*/ 13202 h 36230"/>
                <a:gd name="connsiteX220" fmla="*/ 18621 w 24669"/>
                <a:gd name="connsiteY220" fmla="*/ 13210 h 36230"/>
                <a:gd name="connsiteX221" fmla="*/ 18638 w 24669"/>
                <a:gd name="connsiteY221" fmla="*/ 13109 h 36230"/>
                <a:gd name="connsiteX222" fmla="*/ 18978 w 24669"/>
                <a:gd name="connsiteY222" fmla="*/ 13333 h 36230"/>
                <a:gd name="connsiteX223" fmla="*/ 19337 w 24669"/>
                <a:gd name="connsiteY223" fmla="*/ 12951 h 36230"/>
                <a:gd name="connsiteX224" fmla="*/ 18835 w 24669"/>
                <a:gd name="connsiteY224" fmla="*/ 12789 h 36230"/>
                <a:gd name="connsiteX225" fmla="*/ 19372 w 24669"/>
                <a:gd name="connsiteY225" fmla="*/ 12751 h 36230"/>
                <a:gd name="connsiteX226" fmla="*/ 20172 w 24669"/>
                <a:gd name="connsiteY226" fmla="*/ 12126 h 36230"/>
                <a:gd name="connsiteX227" fmla="*/ 19927 w 24669"/>
                <a:gd name="connsiteY227" fmla="*/ 11774 h 36230"/>
                <a:gd name="connsiteX228" fmla="*/ 20225 w 24669"/>
                <a:gd name="connsiteY228" fmla="*/ 11961 h 36230"/>
                <a:gd name="connsiteX229" fmla="*/ 20119 w 24669"/>
                <a:gd name="connsiteY229" fmla="*/ 11726 h 36230"/>
                <a:gd name="connsiteX230" fmla="*/ 20301 w 24669"/>
                <a:gd name="connsiteY230" fmla="*/ 11905 h 36230"/>
                <a:gd name="connsiteX231" fmla="*/ 20413 w 24669"/>
                <a:gd name="connsiteY231" fmla="*/ 11881 h 36230"/>
                <a:gd name="connsiteX232" fmla="*/ 20166 w 24669"/>
                <a:gd name="connsiteY232" fmla="*/ 11425 h 36230"/>
                <a:gd name="connsiteX233" fmla="*/ 20417 w 24669"/>
                <a:gd name="connsiteY233" fmla="*/ 11611 h 36230"/>
                <a:gd name="connsiteX234" fmla="*/ 20495 w 24669"/>
                <a:gd name="connsiteY234" fmla="*/ 11115 h 36230"/>
                <a:gd name="connsiteX235" fmla="*/ 20565 w 24669"/>
                <a:gd name="connsiteY235" fmla="*/ 10341 h 36230"/>
                <a:gd name="connsiteX236" fmla="*/ 20226 w 24669"/>
                <a:gd name="connsiteY236" fmla="*/ 10333 h 36230"/>
                <a:gd name="connsiteX237" fmla="*/ 20185 w 24669"/>
                <a:gd name="connsiteY237" fmla="*/ 10823 h 36230"/>
                <a:gd name="connsiteX238" fmla="*/ 20116 w 24669"/>
                <a:gd name="connsiteY238" fmla="*/ 10327 h 36230"/>
                <a:gd name="connsiteX239" fmla="*/ 19902 w 24669"/>
                <a:gd name="connsiteY239" fmla="*/ 10294 h 36230"/>
                <a:gd name="connsiteX240" fmla="*/ 19566 w 24669"/>
                <a:gd name="connsiteY240" fmla="*/ 10622 h 36230"/>
                <a:gd name="connsiteX241" fmla="*/ 19316 w 24669"/>
                <a:gd name="connsiteY241" fmla="*/ 11352 h 36230"/>
                <a:gd name="connsiteX242" fmla="*/ 18859 w 24669"/>
                <a:gd name="connsiteY242" fmla="*/ 11649 h 36230"/>
                <a:gd name="connsiteX243" fmla="*/ 18399 w 24669"/>
                <a:gd name="connsiteY243" fmla="*/ 11729 h 36230"/>
                <a:gd name="connsiteX244" fmla="*/ 18072 w 24669"/>
                <a:gd name="connsiteY244" fmla="*/ 12169 h 36230"/>
                <a:gd name="connsiteX245" fmla="*/ 17730 w 24669"/>
                <a:gd name="connsiteY245" fmla="*/ 12307 h 36230"/>
                <a:gd name="connsiteX246" fmla="*/ 18272 w 24669"/>
                <a:gd name="connsiteY246" fmla="*/ 11848 h 36230"/>
                <a:gd name="connsiteX247" fmla="*/ 18074 w 24669"/>
                <a:gd name="connsiteY247" fmla="*/ 11757 h 36230"/>
                <a:gd name="connsiteX248" fmla="*/ 18711 w 24669"/>
                <a:gd name="connsiteY248" fmla="*/ 11595 h 36230"/>
                <a:gd name="connsiteX249" fmla="*/ 19014 w 24669"/>
                <a:gd name="connsiteY249" fmla="*/ 11362 h 36230"/>
                <a:gd name="connsiteX250" fmla="*/ 18671 w 24669"/>
                <a:gd name="connsiteY250" fmla="*/ 11005 h 36230"/>
                <a:gd name="connsiteX251" fmla="*/ 18203 w 24669"/>
                <a:gd name="connsiteY251" fmla="*/ 10906 h 36230"/>
                <a:gd name="connsiteX252" fmla="*/ 18015 w 24669"/>
                <a:gd name="connsiteY252" fmla="*/ 11186 h 36230"/>
                <a:gd name="connsiteX253" fmla="*/ 18113 w 24669"/>
                <a:gd name="connsiteY253" fmla="*/ 10912 h 36230"/>
                <a:gd name="connsiteX254" fmla="*/ 17919 w 24669"/>
                <a:gd name="connsiteY254" fmla="*/ 10968 h 36230"/>
                <a:gd name="connsiteX255" fmla="*/ 17947 w 24669"/>
                <a:gd name="connsiteY255" fmla="*/ 10606 h 36230"/>
                <a:gd name="connsiteX256" fmla="*/ 17488 w 24669"/>
                <a:gd name="connsiteY256" fmla="*/ 10320 h 36230"/>
                <a:gd name="connsiteX257" fmla="*/ 17496 w 24669"/>
                <a:gd name="connsiteY257" fmla="*/ 10249 h 36230"/>
                <a:gd name="connsiteX258" fmla="*/ 17885 w 24669"/>
                <a:gd name="connsiteY258" fmla="*/ 10302 h 36230"/>
                <a:gd name="connsiteX259" fmla="*/ 18670 w 24669"/>
                <a:gd name="connsiteY259" fmla="*/ 10206 h 36230"/>
                <a:gd name="connsiteX260" fmla="*/ 18235 w 24669"/>
                <a:gd name="connsiteY260" fmla="*/ 10034 h 36230"/>
                <a:gd name="connsiteX261" fmla="*/ 17733 w 24669"/>
                <a:gd name="connsiteY261" fmla="*/ 9877 h 36230"/>
                <a:gd name="connsiteX262" fmla="*/ 18240 w 24669"/>
                <a:gd name="connsiteY262" fmla="*/ 9763 h 36230"/>
                <a:gd name="connsiteX263" fmla="*/ 18374 w 24669"/>
                <a:gd name="connsiteY263" fmla="*/ 10035 h 36230"/>
                <a:gd name="connsiteX264" fmla="*/ 18675 w 24669"/>
                <a:gd name="connsiteY264" fmla="*/ 10065 h 36230"/>
                <a:gd name="connsiteX265" fmla="*/ 19078 w 24669"/>
                <a:gd name="connsiteY265" fmla="*/ 10274 h 36230"/>
                <a:gd name="connsiteX266" fmla="*/ 19063 w 24669"/>
                <a:gd name="connsiteY266" fmla="*/ 10168 h 36230"/>
                <a:gd name="connsiteX267" fmla="*/ 19747 w 24669"/>
                <a:gd name="connsiteY267" fmla="*/ 9928 h 36230"/>
                <a:gd name="connsiteX268" fmla="*/ 20381 w 24669"/>
                <a:gd name="connsiteY268" fmla="*/ 9940 h 36230"/>
                <a:gd name="connsiteX269" fmla="*/ 19944 w 24669"/>
                <a:gd name="connsiteY269" fmla="*/ 9671 h 36230"/>
                <a:gd name="connsiteX270" fmla="*/ 19724 w 24669"/>
                <a:gd name="connsiteY270" fmla="*/ 9403 h 36230"/>
                <a:gd name="connsiteX271" fmla="*/ 19715 w 24669"/>
                <a:gd name="connsiteY271" fmla="*/ 9227 h 36230"/>
                <a:gd name="connsiteX272" fmla="*/ 19562 w 24669"/>
                <a:gd name="connsiteY272" fmla="*/ 9258 h 36230"/>
                <a:gd name="connsiteX273" fmla="*/ 19299 w 24669"/>
                <a:gd name="connsiteY273" fmla="*/ 8924 h 36230"/>
                <a:gd name="connsiteX274" fmla="*/ 19061 w 24669"/>
                <a:gd name="connsiteY274" fmla="*/ 8937 h 36230"/>
                <a:gd name="connsiteX275" fmla="*/ 19192 w 24669"/>
                <a:gd name="connsiteY275" fmla="*/ 8831 h 36230"/>
                <a:gd name="connsiteX276" fmla="*/ 19041 w 24669"/>
                <a:gd name="connsiteY276" fmla="*/ 8667 h 36230"/>
                <a:gd name="connsiteX277" fmla="*/ 18952 w 24669"/>
                <a:gd name="connsiteY277" fmla="*/ 8688 h 36230"/>
                <a:gd name="connsiteX278" fmla="*/ 18511 w 24669"/>
                <a:gd name="connsiteY278" fmla="*/ 8262 h 36230"/>
                <a:gd name="connsiteX279" fmla="*/ 18043 w 24669"/>
                <a:gd name="connsiteY279" fmla="*/ 8058 h 36230"/>
                <a:gd name="connsiteX280" fmla="*/ 17997 w 24669"/>
                <a:gd name="connsiteY280" fmla="*/ 8149 h 36230"/>
                <a:gd name="connsiteX281" fmla="*/ 17375 w 24669"/>
                <a:gd name="connsiteY281" fmla="*/ 7778 h 36230"/>
                <a:gd name="connsiteX282" fmla="*/ 17195 w 24669"/>
                <a:gd name="connsiteY282" fmla="*/ 7981 h 36230"/>
                <a:gd name="connsiteX283" fmla="*/ 17165 w 24669"/>
                <a:gd name="connsiteY283" fmla="*/ 7874 h 36230"/>
                <a:gd name="connsiteX284" fmla="*/ 17306 w 24669"/>
                <a:gd name="connsiteY284" fmla="*/ 7719 h 36230"/>
                <a:gd name="connsiteX285" fmla="*/ 17118 w 24669"/>
                <a:gd name="connsiteY285" fmla="*/ 7798 h 36230"/>
                <a:gd name="connsiteX286" fmla="*/ 17186 w 24669"/>
                <a:gd name="connsiteY286" fmla="*/ 7664 h 36230"/>
                <a:gd name="connsiteX287" fmla="*/ 16917 w 24669"/>
                <a:gd name="connsiteY287" fmla="*/ 7645 h 36230"/>
                <a:gd name="connsiteX288" fmla="*/ 16392 w 24669"/>
                <a:gd name="connsiteY288" fmla="*/ 7760 h 36230"/>
                <a:gd name="connsiteX289" fmla="*/ 16485 w 24669"/>
                <a:gd name="connsiteY289" fmla="*/ 7774 h 36230"/>
                <a:gd name="connsiteX290" fmla="*/ 16159 w 24669"/>
                <a:gd name="connsiteY290" fmla="*/ 8231 h 36230"/>
                <a:gd name="connsiteX291" fmla="*/ 16348 w 24669"/>
                <a:gd name="connsiteY291" fmla="*/ 7547 h 36230"/>
                <a:gd name="connsiteX292" fmla="*/ 16080 w 24669"/>
                <a:gd name="connsiteY292" fmla="*/ 7287 h 36230"/>
                <a:gd name="connsiteX293" fmla="*/ 15790 w 24669"/>
                <a:gd name="connsiteY293" fmla="*/ 6727 h 36230"/>
                <a:gd name="connsiteX294" fmla="*/ 15599 w 24669"/>
                <a:gd name="connsiteY294" fmla="*/ 6376 h 36230"/>
                <a:gd name="connsiteX295" fmla="*/ 15485 w 24669"/>
                <a:gd name="connsiteY295" fmla="*/ 6060 h 36230"/>
                <a:gd name="connsiteX296" fmla="*/ 15407 w 24669"/>
                <a:gd name="connsiteY296" fmla="*/ 6156 h 36230"/>
                <a:gd name="connsiteX297" fmla="*/ 15199 w 24669"/>
                <a:gd name="connsiteY297" fmla="*/ 5758 h 36230"/>
                <a:gd name="connsiteX298" fmla="*/ 15085 w 24669"/>
                <a:gd name="connsiteY298" fmla="*/ 5886 h 36230"/>
                <a:gd name="connsiteX299" fmla="*/ 15127 w 24669"/>
                <a:gd name="connsiteY299" fmla="*/ 5710 h 36230"/>
                <a:gd name="connsiteX300" fmla="*/ 14956 w 24669"/>
                <a:gd name="connsiteY300" fmla="*/ 5782 h 36230"/>
                <a:gd name="connsiteX301" fmla="*/ 14973 w 24669"/>
                <a:gd name="connsiteY301" fmla="*/ 5689 h 36230"/>
                <a:gd name="connsiteX302" fmla="*/ 14672 w 24669"/>
                <a:gd name="connsiteY302" fmla="*/ 5375 h 36230"/>
                <a:gd name="connsiteX303" fmla="*/ 14589 w 24669"/>
                <a:gd name="connsiteY303" fmla="*/ 5531 h 36230"/>
                <a:gd name="connsiteX304" fmla="*/ 14506 w 24669"/>
                <a:gd name="connsiteY304" fmla="*/ 5302 h 36230"/>
                <a:gd name="connsiteX305" fmla="*/ 14438 w 24669"/>
                <a:gd name="connsiteY305" fmla="*/ 5387 h 36230"/>
                <a:gd name="connsiteX306" fmla="*/ 14384 w 24669"/>
                <a:gd name="connsiteY306" fmla="*/ 5172 h 36230"/>
                <a:gd name="connsiteX307" fmla="*/ 14329 w 24669"/>
                <a:gd name="connsiteY307" fmla="*/ 5512 h 36230"/>
                <a:gd name="connsiteX308" fmla="*/ 13983 w 24669"/>
                <a:gd name="connsiteY308" fmla="*/ 5036 h 36230"/>
                <a:gd name="connsiteX309" fmla="*/ 14292 w 24669"/>
                <a:gd name="connsiteY309" fmla="*/ 5803 h 36230"/>
                <a:gd name="connsiteX310" fmla="*/ 13900 w 24669"/>
                <a:gd name="connsiteY310" fmla="*/ 5856 h 36230"/>
                <a:gd name="connsiteX311" fmla="*/ 14051 w 24669"/>
                <a:gd name="connsiteY311" fmla="*/ 5757 h 36230"/>
                <a:gd name="connsiteX312" fmla="*/ 13925 w 24669"/>
                <a:gd name="connsiteY312" fmla="*/ 5330 h 36230"/>
                <a:gd name="connsiteX313" fmla="*/ 13759 w 24669"/>
                <a:gd name="connsiteY313" fmla="*/ 5506 h 36230"/>
                <a:gd name="connsiteX314" fmla="*/ 13903 w 24669"/>
                <a:gd name="connsiteY314" fmla="*/ 5196 h 36230"/>
                <a:gd name="connsiteX315" fmla="*/ 13603 w 24669"/>
                <a:gd name="connsiteY315" fmla="*/ 5015 h 36230"/>
                <a:gd name="connsiteX316" fmla="*/ 13462 w 24669"/>
                <a:gd name="connsiteY316" fmla="*/ 5188 h 36230"/>
                <a:gd name="connsiteX317" fmla="*/ 13461 w 24669"/>
                <a:gd name="connsiteY317" fmla="*/ 5048 h 36230"/>
                <a:gd name="connsiteX318" fmla="*/ 13285 w 24669"/>
                <a:gd name="connsiteY318" fmla="*/ 5127 h 36230"/>
                <a:gd name="connsiteX319" fmla="*/ 13231 w 24669"/>
                <a:gd name="connsiteY319" fmla="*/ 4996 h 36230"/>
                <a:gd name="connsiteX320" fmla="*/ 13113 w 24669"/>
                <a:gd name="connsiteY320" fmla="*/ 5028 h 36230"/>
                <a:gd name="connsiteX321" fmla="*/ 13137 w 24669"/>
                <a:gd name="connsiteY321" fmla="*/ 4620 h 36230"/>
                <a:gd name="connsiteX322" fmla="*/ 12763 w 24669"/>
                <a:gd name="connsiteY322" fmla="*/ 4559 h 36230"/>
                <a:gd name="connsiteX323" fmla="*/ 12758 w 24669"/>
                <a:gd name="connsiteY323" fmla="*/ 4337 h 36230"/>
                <a:gd name="connsiteX324" fmla="*/ 12881 w 24669"/>
                <a:gd name="connsiteY324" fmla="*/ 4455 h 36230"/>
                <a:gd name="connsiteX325" fmla="*/ 13027 w 24669"/>
                <a:gd name="connsiteY325" fmla="*/ 3988 h 36230"/>
                <a:gd name="connsiteX326" fmla="*/ 12728 w 24669"/>
                <a:gd name="connsiteY326" fmla="*/ 3894 h 36230"/>
                <a:gd name="connsiteX327" fmla="*/ 12690 w 24669"/>
                <a:gd name="connsiteY327" fmla="*/ 3780 h 36230"/>
                <a:gd name="connsiteX328" fmla="*/ 12530 w 24669"/>
                <a:gd name="connsiteY328" fmla="*/ 3925 h 36230"/>
                <a:gd name="connsiteX329" fmla="*/ 12902 w 24669"/>
                <a:gd name="connsiteY329" fmla="*/ 3708 h 36230"/>
                <a:gd name="connsiteX330" fmla="*/ 12927 w 24669"/>
                <a:gd name="connsiteY330" fmla="*/ 3328 h 36230"/>
                <a:gd name="connsiteX331" fmla="*/ 12821 w 24669"/>
                <a:gd name="connsiteY331" fmla="*/ 3136 h 36230"/>
                <a:gd name="connsiteX332" fmla="*/ 12629 w 24669"/>
                <a:gd name="connsiteY332" fmla="*/ 3062 h 36230"/>
                <a:gd name="connsiteX333" fmla="*/ 12424 w 24669"/>
                <a:gd name="connsiteY333" fmla="*/ 2508 h 36230"/>
                <a:gd name="connsiteX334" fmla="*/ 11988 w 24669"/>
                <a:gd name="connsiteY334" fmla="*/ 2407 h 36230"/>
                <a:gd name="connsiteX335" fmla="*/ 12301 w 24669"/>
                <a:gd name="connsiteY335" fmla="*/ 2253 h 36230"/>
                <a:gd name="connsiteX336" fmla="*/ 12219 w 24669"/>
                <a:gd name="connsiteY336" fmla="*/ 2244 h 36230"/>
                <a:gd name="connsiteX337" fmla="*/ 12273 w 24669"/>
                <a:gd name="connsiteY337" fmla="*/ 1737 h 36230"/>
                <a:gd name="connsiteX338" fmla="*/ 12165 w 24669"/>
                <a:gd name="connsiteY338" fmla="*/ 1570 h 36230"/>
                <a:gd name="connsiteX339" fmla="*/ 12037 w 24669"/>
                <a:gd name="connsiteY339" fmla="*/ 1202 h 36230"/>
                <a:gd name="connsiteX340" fmla="*/ 12100 w 24669"/>
                <a:gd name="connsiteY340" fmla="*/ 1144 h 36230"/>
                <a:gd name="connsiteX341" fmla="*/ 12029 w 24669"/>
                <a:gd name="connsiteY341" fmla="*/ 1122 h 36230"/>
                <a:gd name="connsiteX342" fmla="*/ 12052 w 24669"/>
                <a:gd name="connsiteY342" fmla="*/ 1057 h 36230"/>
                <a:gd name="connsiteX343" fmla="*/ 12008 w 24669"/>
                <a:gd name="connsiteY343" fmla="*/ 1067 h 36230"/>
                <a:gd name="connsiteX344" fmla="*/ 12040 w 24669"/>
                <a:gd name="connsiteY344" fmla="*/ 777 h 36230"/>
                <a:gd name="connsiteX345" fmla="*/ 11865 w 24669"/>
                <a:gd name="connsiteY345" fmla="*/ 494 h 36230"/>
                <a:gd name="connsiteX346" fmla="*/ 11899 w 24669"/>
                <a:gd name="connsiteY346" fmla="*/ 185 h 36230"/>
                <a:gd name="connsiteX347" fmla="*/ 11584 w 24669"/>
                <a:gd name="connsiteY347" fmla="*/ 0 h 36230"/>
                <a:gd name="connsiteX348" fmla="*/ 11544 w 24669"/>
                <a:gd name="connsiteY348" fmla="*/ 0 h 36230"/>
                <a:gd name="connsiteX349" fmla="*/ 11118 w 24669"/>
                <a:gd name="connsiteY349" fmla="*/ 233 h 36230"/>
                <a:gd name="connsiteX350" fmla="*/ 11048 w 24669"/>
                <a:gd name="connsiteY350" fmla="*/ 543 h 36230"/>
                <a:gd name="connsiteX351" fmla="*/ 10832 w 24669"/>
                <a:gd name="connsiteY351" fmla="*/ 695 h 36230"/>
                <a:gd name="connsiteX352" fmla="*/ 10865 w 24669"/>
                <a:gd name="connsiteY352" fmla="*/ 782 h 36230"/>
                <a:gd name="connsiteX353" fmla="*/ 10535 w 24669"/>
                <a:gd name="connsiteY353" fmla="*/ 717 h 36230"/>
                <a:gd name="connsiteX354" fmla="*/ 10839 w 24669"/>
                <a:gd name="connsiteY354" fmla="*/ 845 h 36230"/>
                <a:gd name="connsiteX355" fmla="*/ 10549 w 24669"/>
                <a:gd name="connsiteY355" fmla="*/ 1019 h 36230"/>
                <a:gd name="connsiteX356" fmla="*/ 10557 w 24669"/>
                <a:gd name="connsiteY356" fmla="*/ 944 h 36230"/>
                <a:gd name="connsiteX357" fmla="*/ 10414 w 24669"/>
                <a:gd name="connsiteY357" fmla="*/ 800 h 36230"/>
                <a:gd name="connsiteX358" fmla="*/ 10328 w 24669"/>
                <a:gd name="connsiteY358" fmla="*/ 951 h 36230"/>
                <a:gd name="connsiteX359" fmla="*/ 9830 w 24669"/>
                <a:gd name="connsiteY359" fmla="*/ 788 h 36230"/>
                <a:gd name="connsiteX360" fmla="*/ 10061 w 24669"/>
                <a:gd name="connsiteY360" fmla="*/ 983 h 36230"/>
                <a:gd name="connsiteX361" fmla="*/ 9574 w 24669"/>
                <a:gd name="connsiteY361" fmla="*/ 1331 h 36230"/>
                <a:gd name="connsiteX362" fmla="*/ 9659 w 24669"/>
                <a:gd name="connsiteY362" fmla="*/ 1342 h 36230"/>
                <a:gd name="connsiteX363" fmla="*/ 9397 w 24669"/>
                <a:gd name="connsiteY363" fmla="*/ 1805 h 36230"/>
                <a:gd name="connsiteX364" fmla="*/ 9288 w 24669"/>
                <a:gd name="connsiteY364" fmla="*/ 1815 h 36230"/>
                <a:gd name="connsiteX365" fmla="*/ 9425 w 24669"/>
                <a:gd name="connsiteY365" fmla="*/ 1937 h 36230"/>
                <a:gd name="connsiteX366" fmla="*/ 8991 w 24669"/>
                <a:gd name="connsiteY366" fmla="*/ 2640 h 36230"/>
                <a:gd name="connsiteX367" fmla="*/ 8769 w 24669"/>
                <a:gd name="connsiteY367" fmla="*/ 2852 h 36230"/>
                <a:gd name="connsiteX368" fmla="*/ 8508 w 24669"/>
                <a:gd name="connsiteY368" fmla="*/ 3358 h 36230"/>
                <a:gd name="connsiteX369" fmla="*/ 8662 w 24669"/>
                <a:gd name="connsiteY369" fmla="*/ 3376 h 36230"/>
                <a:gd name="connsiteX370" fmla="*/ 8490 w 24669"/>
                <a:gd name="connsiteY370" fmla="*/ 3597 h 36230"/>
                <a:gd name="connsiteX371" fmla="*/ 8644 w 24669"/>
                <a:gd name="connsiteY371" fmla="*/ 3641 h 36230"/>
                <a:gd name="connsiteX372" fmla="*/ 8478 w 24669"/>
                <a:gd name="connsiteY372" fmla="*/ 3741 h 36230"/>
                <a:gd name="connsiteX373" fmla="*/ 8686 w 24669"/>
                <a:gd name="connsiteY373" fmla="*/ 3867 h 36230"/>
                <a:gd name="connsiteX374" fmla="*/ 8692 w 24669"/>
                <a:gd name="connsiteY374" fmla="*/ 3775 h 36230"/>
                <a:gd name="connsiteX375" fmla="*/ 8831 w 24669"/>
                <a:gd name="connsiteY375" fmla="*/ 4173 h 36230"/>
                <a:gd name="connsiteX376" fmla="*/ 8952 w 24669"/>
                <a:gd name="connsiteY376" fmla="*/ 4230 h 36230"/>
                <a:gd name="connsiteX377" fmla="*/ 9300 w 24669"/>
                <a:gd name="connsiteY377" fmla="*/ 3872 h 36230"/>
                <a:gd name="connsiteX378" fmla="*/ 9087 w 24669"/>
                <a:gd name="connsiteY378" fmla="*/ 4329 h 36230"/>
                <a:gd name="connsiteX379" fmla="*/ 8701 w 24669"/>
                <a:gd name="connsiteY379" fmla="*/ 4156 h 36230"/>
                <a:gd name="connsiteX380" fmla="*/ 8689 w 24669"/>
                <a:gd name="connsiteY380" fmla="*/ 4329 h 36230"/>
                <a:gd name="connsiteX381" fmla="*/ 8326 w 24669"/>
                <a:gd name="connsiteY381" fmla="*/ 3682 h 36230"/>
                <a:gd name="connsiteX382" fmla="*/ 8360 w 24669"/>
                <a:gd name="connsiteY382" fmla="*/ 4310 h 36230"/>
                <a:gd name="connsiteX383" fmla="*/ 8265 w 24669"/>
                <a:gd name="connsiteY383" fmla="*/ 4839 h 36230"/>
                <a:gd name="connsiteX384" fmla="*/ 8149 w 24669"/>
                <a:gd name="connsiteY384" fmla="*/ 4683 h 36230"/>
                <a:gd name="connsiteX385" fmla="*/ 8023 w 24669"/>
                <a:gd name="connsiteY385" fmla="*/ 5179 h 36230"/>
                <a:gd name="connsiteX386" fmla="*/ 7873 w 24669"/>
                <a:gd name="connsiteY386" fmla="*/ 5017 h 36230"/>
                <a:gd name="connsiteX387" fmla="*/ 7879 w 24669"/>
                <a:gd name="connsiteY387" fmla="*/ 5342 h 36230"/>
                <a:gd name="connsiteX388" fmla="*/ 7718 w 24669"/>
                <a:gd name="connsiteY388" fmla="*/ 5514 h 36230"/>
                <a:gd name="connsiteX389" fmla="*/ 7689 w 24669"/>
                <a:gd name="connsiteY389" fmla="*/ 5851 h 36230"/>
                <a:gd name="connsiteX390" fmla="*/ 7894 w 24669"/>
                <a:gd name="connsiteY390" fmla="*/ 6220 h 36230"/>
                <a:gd name="connsiteX391" fmla="*/ 7815 w 24669"/>
                <a:gd name="connsiteY391" fmla="*/ 6229 h 36230"/>
                <a:gd name="connsiteX392" fmla="*/ 7611 w 24669"/>
                <a:gd name="connsiteY392" fmla="*/ 6502 h 36230"/>
                <a:gd name="connsiteX393" fmla="*/ 7649 w 24669"/>
                <a:gd name="connsiteY393" fmla="*/ 6932 h 36230"/>
                <a:gd name="connsiteX394" fmla="*/ 7674 w 24669"/>
                <a:gd name="connsiteY394" fmla="*/ 7308 h 36230"/>
                <a:gd name="connsiteX395" fmla="*/ 7881 w 24669"/>
                <a:gd name="connsiteY395" fmla="*/ 7541 h 36230"/>
                <a:gd name="connsiteX396" fmla="*/ 7795 w 24669"/>
                <a:gd name="connsiteY396" fmla="*/ 7749 h 36230"/>
                <a:gd name="connsiteX397" fmla="*/ 8059 w 24669"/>
                <a:gd name="connsiteY397" fmla="*/ 7694 h 36230"/>
                <a:gd name="connsiteX398" fmla="*/ 7970 w 24669"/>
                <a:gd name="connsiteY398" fmla="*/ 7850 h 36230"/>
                <a:gd name="connsiteX399" fmla="*/ 7721 w 24669"/>
                <a:gd name="connsiteY399" fmla="*/ 7851 h 36230"/>
                <a:gd name="connsiteX400" fmla="*/ 7931 w 24669"/>
                <a:gd name="connsiteY400" fmla="*/ 7920 h 36230"/>
                <a:gd name="connsiteX401" fmla="*/ 7853 w 24669"/>
                <a:gd name="connsiteY401" fmla="*/ 8000 h 36230"/>
                <a:gd name="connsiteX402" fmla="*/ 7950 w 24669"/>
                <a:gd name="connsiteY402" fmla="*/ 8163 h 36230"/>
                <a:gd name="connsiteX403" fmla="*/ 8002 w 24669"/>
                <a:gd name="connsiteY403" fmla="*/ 7981 h 36230"/>
                <a:gd name="connsiteX404" fmla="*/ 8152 w 24669"/>
                <a:gd name="connsiteY404" fmla="*/ 8229 h 36230"/>
                <a:gd name="connsiteX405" fmla="*/ 7903 w 24669"/>
                <a:gd name="connsiteY405" fmla="*/ 8189 h 36230"/>
                <a:gd name="connsiteX406" fmla="*/ 7962 w 24669"/>
                <a:gd name="connsiteY406" fmla="*/ 8337 h 36230"/>
                <a:gd name="connsiteX407" fmla="*/ 8440 w 24669"/>
                <a:gd name="connsiteY407" fmla="*/ 8114 h 36230"/>
                <a:gd name="connsiteX408" fmla="*/ 8717 w 24669"/>
                <a:gd name="connsiteY408" fmla="*/ 8275 h 36230"/>
                <a:gd name="connsiteX409" fmla="*/ 8763 w 24669"/>
                <a:gd name="connsiteY409" fmla="*/ 8346 h 36230"/>
                <a:gd name="connsiteX410" fmla="*/ 8628 w 24669"/>
                <a:gd name="connsiteY410" fmla="*/ 8342 h 36230"/>
                <a:gd name="connsiteX411" fmla="*/ 8699 w 24669"/>
                <a:gd name="connsiteY411" fmla="*/ 8778 h 36230"/>
                <a:gd name="connsiteX412" fmla="*/ 9126 w 24669"/>
                <a:gd name="connsiteY412" fmla="*/ 8863 h 36230"/>
                <a:gd name="connsiteX413" fmla="*/ 8987 w 24669"/>
                <a:gd name="connsiteY413" fmla="*/ 8881 h 36230"/>
                <a:gd name="connsiteX414" fmla="*/ 8969 w 24669"/>
                <a:gd name="connsiteY414" fmla="*/ 8979 h 36230"/>
                <a:gd name="connsiteX415" fmla="*/ 8685 w 24669"/>
                <a:gd name="connsiteY415" fmla="*/ 8844 h 36230"/>
                <a:gd name="connsiteX416" fmla="*/ 8828 w 24669"/>
                <a:gd name="connsiteY416" fmla="*/ 9345 h 36230"/>
                <a:gd name="connsiteX417" fmla="*/ 9032 w 24669"/>
                <a:gd name="connsiteY417" fmla="*/ 9566 h 36230"/>
                <a:gd name="connsiteX418" fmla="*/ 8900 w 24669"/>
                <a:gd name="connsiteY418" fmla="*/ 9742 h 36230"/>
                <a:gd name="connsiteX419" fmla="*/ 8339 w 24669"/>
                <a:gd name="connsiteY419" fmla="*/ 9809 h 36230"/>
                <a:gd name="connsiteX420" fmla="*/ 7904 w 24669"/>
                <a:gd name="connsiteY420" fmla="*/ 10146 h 36230"/>
                <a:gd name="connsiteX421" fmla="*/ 7523 w 24669"/>
                <a:gd name="connsiteY421" fmla="*/ 10300 h 36230"/>
                <a:gd name="connsiteX422" fmla="*/ 7290 w 24669"/>
                <a:gd name="connsiteY422" fmla="*/ 10629 h 36230"/>
                <a:gd name="connsiteX423" fmla="*/ 7938 w 24669"/>
                <a:gd name="connsiteY423" fmla="*/ 10703 h 36230"/>
                <a:gd name="connsiteX424" fmla="*/ 8280 w 24669"/>
                <a:gd name="connsiteY424" fmla="*/ 10492 h 36230"/>
                <a:gd name="connsiteX425" fmla="*/ 8951 w 24669"/>
                <a:gd name="connsiteY425" fmla="*/ 10174 h 36230"/>
                <a:gd name="connsiteX426" fmla="*/ 8596 w 24669"/>
                <a:gd name="connsiteY426" fmla="*/ 10467 h 36230"/>
                <a:gd name="connsiteX427" fmla="*/ 8764 w 24669"/>
                <a:gd name="connsiteY427" fmla="*/ 10421 h 36230"/>
                <a:gd name="connsiteX428" fmla="*/ 8849 w 24669"/>
                <a:gd name="connsiteY428" fmla="*/ 10594 h 36230"/>
                <a:gd name="connsiteX429" fmla="*/ 8527 w 24669"/>
                <a:gd name="connsiteY429" fmla="*/ 10626 h 36230"/>
                <a:gd name="connsiteX430" fmla="*/ 8617 w 24669"/>
                <a:gd name="connsiteY430" fmla="*/ 10746 h 36230"/>
                <a:gd name="connsiteX431" fmla="*/ 8884 w 24669"/>
                <a:gd name="connsiteY431" fmla="*/ 10660 h 36230"/>
                <a:gd name="connsiteX432" fmla="*/ 8341 w 24669"/>
                <a:gd name="connsiteY432" fmla="*/ 11051 h 36230"/>
                <a:gd name="connsiteX433" fmla="*/ 8772 w 24669"/>
                <a:gd name="connsiteY433" fmla="*/ 10953 h 36230"/>
                <a:gd name="connsiteX434" fmla="*/ 8239 w 24669"/>
                <a:gd name="connsiteY434" fmla="*/ 11126 h 36230"/>
                <a:gd name="connsiteX435" fmla="*/ 8309 w 24669"/>
                <a:gd name="connsiteY435" fmla="*/ 11243 h 36230"/>
                <a:gd name="connsiteX436" fmla="*/ 8133 w 24669"/>
                <a:gd name="connsiteY436" fmla="*/ 11178 h 36230"/>
                <a:gd name="connsiteX437" fmla="*/ 8156 w 24669"/>
                <a:gd name="connsiteY437" fmla="*/ 11284 h 36230"/>
                <a:gd name="connsiteX438" fmla="*/ 7895 w 24669"/>
                <a:gd name="connsiteY438" fmla="*/ 11170 h 36230"/>
                <a:gd name="connsiteX439" fmla="*/ 7961 w 24669"/>
                <a:gd name="connsiteY439" fmla="*/ 11520 h 36230"/>
                <a:gd name="connsiteX440" fmla="*/ 8514 w 24669"/>
                <a:gd name="connsiteY440" fmla="*/ 11910 h 36230"/>
                <a:gd name="connsiteX441" fmla="*/ 8267 w 24669"/>
                <a:gd name="connsiteY441" fmla="*/ 11775 h 36230"/>
                <a:gd name="connsiteX442" fmla="*/ 7855 w 24669"/>
                <a:gd name="connsiteY442" fmla="*/ 11878 h 36230"/>
                <a:gd name="connsiteX443" fmla="*/ 8008 w 24669"/>
                <a:gd name="connsiteY443" fmla="*/ 12162 h 36230"/>
                <a:gd name="connsiteX444" fmla="*/ 7821 w 24669"/>
                <a:gd name="connsiteY444" fmla="*/ 11988 h 36230"/>
                <a:gd name="connsiteX445" fmla="*/ 7799 w 24669"/>
                <a:gd name="connsiteY445" fmla="*/ 12138 h 36230"/>
                <a:gd name="connsiteX446" fmla="*/ 7630 w 24669"/>
                <a:gd name="connsiteY446" fmla="*/ 11823 h 36230"/>
                <a:gd name="connsiteX447" fmla="*/ 7501 w 24669"/>
                <a:gd name="connsiteY447" fmla="*/ 11853 h 36230"/>
                <a:gd name="connsiteX448" fmla="*/ 7597 w 24669"/>
                <a:gd name="connsiteY448" fmla="*/ 11535 h 36230"/>
                <a:gd name="connsiteX449" fmla="*/ 6978 w 24669"/>
                <a:gd name="connsiteY449" fmla="*/ 11496 h 36230"/>
                <a:gd name="connsiteX450" fmla="*/ 6796 w 24669"/>
                <a:gd name="connsiteY450" fmla="*/ 11878 h 36230"/>
                <a:gd name="connsiteX451" fmla="*/ 7003 w 24669"/>
                <a:gd name="connsiteY451" fmla="*/ 12039 h 36230"/>
                <a:gd name="connsiteX452" fmla="*/ 6844 w 24669"/>
                <a:gd name="connsiteY452" fmla="*/ 12056 h 36230"/>
                <a:gd name="connsiteX453" fmla="*/ 6827 w 24669"/>
                <a:gd name="connsiteY453" fmla="*/ 12153 h 36230"/>
                <a:gd name="connsiteX454" fmla="*/ 7216 w 24669"/>
                <a:gd name="connsiteY454" fmla="*/ 12130 h 36230"/>
                <a:gd name="connsiteX455" fmla="*/ 6875 w 24669"/>
                <a:gd name="connsiteY455" fmla="*/ 12243 h 36230"/>
                <a:gd name="connsiteX456" fmla="*/ 7202 w 24669"/>
                <a:gd name="connsiteY456" fmla="*/ 12768 h 36230"/>
                <a:gd name="connsiteX457" fmla="*/ 6844 w 24669"/>
                <a:gd name="connsiteY457" fmla="*/ 12463 h 36230"/>
                <a:gd name="connsiteX458" fmla="*/ 7059 w 24669"/>
                <a:gd name="connsiteY458" fmla="*/ 12713 h 36230"/>
                <a:gd name="connsiteX459" fmla="*/ 6872 w 24669"/>
                <a:gd name="connsiteY459" fmla="*/ 12838 h 36230"/>
                <a:gd name="connsiteX460" fmla="*/ 7266 w 24669"/>
                <a:gd name="connsiteY460" fmla="*/ 13231 h 36230"/>
                <a:gd name="connsiteX461" fmla="*/ 7074 w 24669"/>
                <a:gd name="connsiteY461" fmla="*/ 13078 h 36230"/>
                <a:gd name="connsiteX462" fmla="*/ 7096 w 24669"/>
                <a:gd name="connsiteY462" fmla="*/ 13195 h 36230"/>
                <a:gd name="connsiteX463" fmla="*/ 6875 w 24669"/>
                <a:gd name="connsiteY463" fmla="*/ 13018 h 36230"/>
                <a:gd name="connsiteX464" fmla="*/ 6845 w 24669"/>
                <a:gd name="connsiteY464" fmla="*/ 13174 h 36230"/>
                <a:gd name="connsiteX465" fmla="*/ 7194 w 24669"/>
                <a:gd name="connsiteY465" fmla="*/ 13287 h 36230"/>
                <a:gd name="connsiteX466" fmla="*/ 7119 w 24669"/>
                <a:gd name="connsiteY466" fmla="*/ 13647 h 36230"/>
                <a:gd name="connsiteX467" fmla="*/ 7054 w 24669"/>
                <a:gd name="connsiteY467" fmla="*/ 13469 h 36230"/>
                <a:gd name="connsiteX468" fmla="*/ 6866 w 24669"/>
                <a:gd name="connsiteY468" fmla="*/ 13710 h 36230"/>
                <a:gd name="connsiteX469" fmla="*/ 7065 w 24669"/>
                <a:gd name="connsiteY469" fmla="*/ 13888 h 36230"/>
                <a:gd name="connsiteX470" fmla="*/ 6926 w 24669"/>
                <a:gd name="connsiteY470" fmla="*/ 14129 h 36230"/>
                <a:gd name="connsiteX471" fmla="*/ 6687 w 24669"/>
                <a:gd name="connsiteY471" fmla="*/ 14320 h 36230"/>
                <a:gd name="connsiteX472" fmla="*/ 6736 w 24669"/>
                <a:gd name="connsiteY472" fmla="*/ 14384 h 36230"/>
                <a:gd name="connsiteX473" fmla="*/ 6949 w 24669"/>
                <a:gd name="connsiteY473" fmla="*/ 14259 h 36230"/>
                <a:gd name="connsiteX474" fmla="*/ 6740 w 24669"/>
                <a:gd name="connsiteY474" fmla="*/ 14512 h 36230"/>
                <a:gd name="connsiteX475" fmla="*/ 6795 w 24669"/>
                <a:gd name="connsiteY475" fmla="*/ 14749 h 36230"/>
                <a:gd name="connsiteX476" fmla="*/ 6590 w 24669"/>
                <a:gd name="connsiteY476" fmla="*/ 14621 h 36230"/>
                <a:gd name="connsiteX477" fmla="*/ 6591 w 24669"/>
                <a:gd name="connsiteY477" fmla="*/ 14746 h 36230"/>
                <a:gd name="connsiteX478" fmla="*/ 6401 w 24669"/>
                <a:gd name="connsiteY478" fmla="*/ 14685 h 36230"/>
                <a:gd name="connsiteX479" fmla="*/ 6496 w 24669"/>
                <a:gd name="connsiteY479" fmla="*/ 14866 h 36230"/>
                <a:gd name="connsiteX480" fmla="*/ 6902 w 24669"/>
                <a:gd name="connsiteY480" fmla="*/ 14776 h 36230"/>
                <a:gd name="connsiteX481" fmla="*/ 6657 w 24669"/>
                <a:gd name="connsiteY481" fmla="*/ 15046 h 36230"/>
                <a:gd name="connsiteX482" fmla="*/ 6675 w 24669"/>
                <a:gd name="connsiteY482" fmla="*/ 15362 h 36230"/>
                <a:gd name="connsiteX483" fmla="*/ 6207 w 24669"/>
                <a:gd name="connsiteY483" fmla="*/ 15159 h 36230"/>
                <a:gd name="connsiteX484" fmla="*/ 6626 w 24669"/>
                <a:gd name="connsiteY484" fmla="*/ 15449 h 36230"/>
                <a:gd name="connsiteX485" fmla="*/ 6460 w 24669"/>
                <a:gd name="connsiteY485" fmla="*/ 15505 h 36230"/>
                <a:gd name="connsiteX486" fmla="*/ 6728 w 24669"/>
                <a:gd name="connsiteY486" fmla="*/ 15579 h 36230"/>
                <a:gd name="connsiteX487" fmla="*/ 6425 w 24669"/>
                <a:gd name="connsiteY487" fmla="*/ 15636 h 36230"/>
                <a:gd name="connsiteX488" fmla="*/ 6586 w 24669"/>
                <a:gd name="connsiteY488" fmla="*/ 15704 h 36230"/>
                <a:gd name="connsiteX489" fmla="*/ 6130 w 24669"/>
                <a:gd name="connsiteY489" fmla="*/ 15718 h 36230"/>
                <a:gd name="connsiteX490" fmla="*/ 6662 w 24669"/>
                <a:gd name="connsiteY490" fmla="*/ 15712 h 36230"/>
                <a:gd name="connsiteX491" fmla="*/ 6308 w 24669"/>
                <a:gd name="connsiteY491" fmla="*/ 16082 h 36230"/>
                <a:gd name="connsiteX492" fmla="*/ 6391 w 24669"/>
                <a:gd name="connsiteY492" fmla="*/ 16264 h 36230"/>
                <a:gd name="connsiteX493" fmla="*/ 5887 w 24669"/>
                <a:gd name="connsiteY493" fmla="*/ 16596 h 36230"/>
                <a:gd name="connsiteX494" fmla="*/ 5948 w 24669"/>
                <a:gd name="connsiteY494" fmla="*/ 16747 h 36230"/>
                <a:gd name="connsiteX495" fmla="*/ 5764 w 24669"/>
                <a:gd name="connsiteY495" fmla="*/ 17086 h 36230"/>
                <a:gd name="connsiteX496" fmla="*/ 5674 w 24669"/>
                <a:gd name="connsiteY496" fmla="*/ 17057 h 36230"/>
                <a:gd name="connsiteX497" fmla="*/ 5837 w 24669"/>
                <a:gd name="connsiteY497" fmla="*/ 17329 h 36230"/>
                <a:gd name="connsiteX498" fmla="*/ 5741 w 24669"/>
                <a:gd name="connsiteY498" fmla="*/ 17637 h 36230"/>
                <a:gd name="connsiteX499" fmla="*/ 5511 w 24669"/>
                <a:gd name="connsiteY499" fmla="*/ 17684 h 36230"/>
                <a:gd name="connsiteX500" fmla="*/ 5442 w 24669"/>
                <a:gd name="connsiteY500" fmla="*/ 17894 h 36230"/>
                <a:gd name="connsiteX501" fmla="*/ 5286 w 24669"/>
                <a:gd name="connsiteY501" fmla="*/ 17875 h 36230"/>
                <a:gd name="connsiteX502" fmla="*/ 4920 w 24669"/>
                <a:gd name="connsiteY502" fmla="*/ 18244 h 36230"/>
                <a:gd name="connsiteX503" fmla="*/ 4329 w 24669"/>
                <a:gd name="connsiteY503" fmla="*/ 18501 h 36230"/>
                <a:gd name="connsiteX504" fmla="*/ 4021 w 24669"/>
                <a:gd name="connsiteY504" fmla="*/ 18501 h 36230"/>
                <a:gd name="connsiteX505" fmla="*/ 3967 w 24669"/>
                <a:gd name="connsiteY505" fmla="*/ 18639 h 36230"/>
                <a:gd name="connsiteX506" fmla="*/ 3827 w 24669"/>
                <a:gd name="connsiteY506" fmla="*/ 18592 h 36230"/>
                <a:gd name="connsiteX507" fmla="*/ 3880 w 24669"/>
                <a:gd name="connsiteY507" fmla="*/ 18705 h 36230"/>
                <a:gd name="connsiteX508" fmla="*/ 3776 w 24669"/>
                <a:gd name="connsiteY508" fmla="*/ 18718 h 36230"/>
                <a:gd name="connsiteX509" fmla="*/ 3499 w 24669"/>
                <a:gd name="connsiteY509" fmla="*/ 18324 h 36230"/>
                <a:gd name="connsiteX510" fmla="*/ 3416 w 24669"/>
                <a:gd name="connsiteY510" fmla="*/ 18706 h 36230"/>
                <a:gd name="connsiteX511" fmla="*/ 3272 w 24669"/>
                <a:gd name="connsiteY511" fmla="*/ 18496 h 36230"/>
                <a:gd name="connsiteX512" fmla="*/ 3299 w 24669"/>
                <a:gd name="connsiteY512" fmla="*/ 18334 h 36230"/>
                <a:gd name="connsiteX513" fmla="*/ 3155 w 24669"/>
                <a:gd name="connsiteY513" fmla="*/ 18386 h 36230"/>
                <a:gd name="connsiteX514" fmla="*/ 2900 w 24669"/>
                <a:gd name="connsiteY514" fmla="*/ 18173 h 36230"/>
                <a:gd name="connsiteX515" fmla="*/ 2885 w 24669"/>
                <a:gd name="connsiteY515" fmla="*/ 18546 h 36230"/>
                <a:gd name="connsiteX516" fmla="*/ 2665 w 24669"/>
                <a:gd name="connsiteY516" fmla="*/ 18583 h 36230"/>
                <a:gd name="connsiteX517" fmla="*/ 2556 w 24669"/>
                <a:gd name="connsiteY517" fmla="*/ 18260 h 36230"/>
                <a:gd name="connsiteX518" fmla="*/ 2343 w 24669"/>
                <a:gd name="connsiteY518" fmla="*/ 18570 h 36230"/>
                <a:gd name="connsiteX519" fmla="*/ 2233 w 24669"/>
                <a:gd name="connsiteY519" fmla="*/ 18411 h 36230"/>
                <a:gd name="connsiteX520" fmla="*/ 2439 w 24669"/>
                <a:gd name="connsiteY520" fmla="*/ 18116 h 36230"/>
                <a:gd name="connsiteX521" fmla="*/ 1693 w 24669"/>
                <a:gd name="connsiteY521" fmla="*/ 18351 h 36230"/>
                <a:gd name="connsiteX522" fmla="*/ 1279 w 24669"/>
                <a:gd name="connsiteY522" fmla="*/ 18767 h 36230"/>
                <a:gd name="connsiteX523" fmla="*/ 1932 w 24669"/>
                <a:gd name="connsiteY523" fmla="*/ 19120 h 36230"/>
                <a:gd name="connsiteX524" fmla="*/ 1943 w 24669"/>
                <a:gd name="connsiteY524" fmla="*/ 19294 h 36230"/>
                <a:gd name="connsiteX525" fmla="*/ 1090 w 24669"/>
                <a:gd name="connsiteY525" fmla="*/ 19430 h 36230"/>
                <a:gd name="connsiteX526" fmla="*/ 1220 w 24669"/>
                <a:gd name="connsiteY526" fmla="*/ 19750 h 36230"/>
                <a:gd name="connsiteX527" fmla="*/ 870 w 24669"/>
                <a:gd name="connsiteY527" fmla="*/ 19481 h 36230"/>
                <a:gd name="connsiteX528" fmla="*/ 805 w 24669"/>
                <a:gd name="connsiteY528" fmla="*/ 19718 h 36230"/>
                <a:gd name="connsiteX529" fmla="*/ 580 w 24669"/>
                <a:gd name="connsiteY529" fmla="*/ 19838 h 36230"/>
                <a:gd name="connsiteX530" fmla="*/ 800 w 24669"/>
                <a:gd name="connsiteY530" fmla="*/ 20110 h 36230"/>
                <a:gd name="connsiteX531" fmla="*/ 773 w 24669"/>
                <a:gd name="connsiteY531" fmla="*/ 20186 h 36230"/>
                <a:gd name="connsiteX532" fmla="*/ 1933 w 24669"/>
                <a:gd name="connsiteY532" fmla="*/ 20139 h 36230"/>
                <a:gd name="connsiteX533" fmla="*/ 1483 w 24669"/>
                <a:gd name="connsiteY533" fmla="*/ 20328 h 36230"/>
                <a:gd name="connsiteX534" fmla="*/ 2023 w 24669"/>
                <a:gd name="connsiteY534" fmla="*/ 20530 h 36230"/>
                <a:gd name="connsiteX535" fmla="*/ 2520 w 24669"/>
                <a:gd name="connsiteY535" fmla="*/ 20412 h 36230"/>
                <a:gd name="connsiteX536" fmla="*/ 2494 w 24669"/>
                <a:gd name="connsiteY536" fmla="*/ 20593 h 36230"/>
                <a:gd name="connsiteX537" fmla="*/ 2710 w 24669"/>
                <a:gd name="connsiteY537" fmla="*/ 20652 h 36230"/>
                <a:gd name="connsiteX538" fmla="*/ 2344 w 24669"/>
                <a:gd name="connsiteY538" fmla="*/ 21109 h 36230"/>
                <a:gd name="connsiteX539" fmla="*/ 2166 w 24669"/>
                <a:gd name="connsiteY539" fmla="*/ 20842 h 36230"/>
                <a:gd name="connsiteX540" fmla="*/ 1821 w 24669"/>
                <a:gd name="connsiteY540" fmla="*/ 20777 h 36230"/>
                <a:gd name="connsiteX541" fmla="*/ 1616 w 24669"/>
                <a:gd name="connsiteY541" fmla="*/ 21086 h 36230"/>
                <a:gd name="connsiteX542" fmla="*/ 1653 w 24669"/>
                <a:gd name="connsiteY542" fmla="*/ 20759 h 36230"/>
                <a:gd name="connsiteX543" fmla="*/ 1028 w 24669"/>
                <a:gd name="connsiteY543" fmla="*/ 20848 h 36230"/>
                <a:gd name="connsiteX544" fmla="*/ 1386 w 24669"/>
                <a:gd name="connsiteY544" fmla="*/ 21167 h 36230"/>
                <a:gd name="connsiteX545" fmla="*/ 841 w 24669"/>
                <a:gd name="connsiteY545" fmla="*/ 21083 h 36230"/>
                <a:gd name="connsiteX546" fmla="*/ 1162 w 24669"/>
                <a:gd name="connsiteY546" fmla="*/ 21384 h 36230"/>
                <a:gd name="connsiteX547" fmla="*/ 1040 w 24669"/>
                <a:gd name="connsiteY547" fmla="*/ 21444 h 36230"/>
                <a:gd name="connsiteX548" fmla="*/ 585 w 24669"/>
                <a:gd name="connsiteY548" fmla="*/ 21228 h 36230"/>
                <a:gd name="connsiteX549" fmla="*/ 632 w 24669"/>
                <a:gd name="connsiteY549" fmla="*/ 21445 h 36230"/>
                <a:gd name="connsiteX550" fmla="*/ 480 w 24669"/>
                <a:gd name="connsiteY550" fmla="*/ 21424 h 36230"/>
                <a:gd name="connsiteX551" fmla="*/ 495 w 24669"/>
                <a:gd name="connsiteY551" fmla="*/ 21543 h 36230"/>
                <a:gd name="connsiteX552" fmla="*/ 311 w 24669"/>
                <a:gd name="connsiteY552" fmla="*/ 21495 h 36230"/>
                <a:gd name="connsiteX553" fmla="*/ 0 w 24669"/>
                <a:gd name="connsiteY553" fmla="*/ 21955 h 36230"/>
                <a:gd name="connsiteX554" fmla="*/ 92 w 24669"/>
                <a:gd name="connsiteY554" fmla="*/ 22640 h 36230"/>
                <a:gd name="connsiteX555" fmla="*/ 172 w 24669"/>
                <a:gd name="connsiteY555" fmla="*/ 22725 h 36230"/>
                <a:gd name="connsiteX556" fmla="*/ 942 w 24669"/>
                <a:gd name="connsiteY556" fmla="*/ 23088 h 36230"/>
                <a:gd name="connsiteX557" fmla="*/ 1579 w 24669"/>
                <a:gd name="connsiteY557" fmla="*/ 23420 h 36230"/>
                <a:gd name="connsiteX558" fmla="*/ 1479 w 24669"/>
                <a:gd name="connsiteY558" fmla="*/ 23585 h 36230"/>
                <a:gd name="connsiteX559" fmla="*/ 2212 w 24669"/>
                <a:gd name="connsiteY559" fmla="*/ 23971 h 36230"/>
                <a:gd name="connsiteX560" fmla="*/ 2687 w 24669"/>
                <a:gd name="connsiteY560" fmla="*/ 23945 h 36230"/>
                <a:gd name="connsiteX561" fmla="*/ 3158 w 24669"/>
                <a:gd name="connsiteY561" fmla="*/ 24727 h 36230"/>
                <a:gd name="connsiteX562" fmla="*/ 3134 w 24669"/>
                <a:gd name="connsiteY562" fmla="*/ 25302 h 36230"/>
                <a:gd name="connsiteX563" fmla="*/ 3132 w 24669"/>
                <a:gd name="connsiteY563" fmla="*/ 25873 h 36230"/>
                <a:gd name="connsiteX564" fmla="*/ 3632 w 24669"/>
                <a:gd name="connsiteY564" fmla="*/ 26164 h 36230"/>
                <a:gd name="connsiteX565" fmla="*/ 3495 w 24669"/>
                <a:gd name="connsiteY565" fmla="*/ 26266 h 36230"/>
                <a:gd name="connsiteX566" fmla="*/ 3350 w 24669"/>
                <a:gd name="connsiteY566" fmla="*/ 26040 h 36230"/>
                <a:gd name="connsiteX567" fmla="*/ 3050 w 24669"/>
                <a:gd name="connsiteY567" fmla="*/ 26060 h 36230"/>
                <a:gd name="connsiteX568" fmla="*/ 2779 w 24669"/>
                <a:gd name="connsiteY568" fmla="*/ 25900 h 36230"/>
                <a:gd name="connsiteX569" fmla="*/ 2578 w 24669"/>
                <a:gd name="connsiteY569" fmla="*/ 26102 h 36230"/>
                <a:gd name="connsiteX570" fmla="*/ 2318 w 24669"/>
                <a:gd name="connsiteY570" fmla="*/ 26049 h 36230"/>
                <a:gd name="connsiteX571" fmla="*/ 2136 w 24669"/>
                <a:gd name="connsiteY571" fmla="*/ 26602 h 36230"/>
                <a:gd name="connsiteX572" fmla="*/ 2331 w 24669"/>
                <a:gd name="connsiteY572" fmla="*/ 26922 h 36230"/>
                <a:gd name="connsiteX573" fmla="*/ 2876 w 24669"/>
                <a:gd name="connsiteY573" fmla="*/ 27509 h 36230"/>
                <a:gd name="connsiteX574" fmla="*/ 2802 w 24669"/>
                <a:gd name="connsiteY574" fmla="*/ 27584 h 36230"/>
                <a:gd name="connsiteX575" fmla="*/ 3109 w 24669"/>
                <a:gd name="connsiteY575" fmla="*/ 27773 h 36230"/>
                <a:gd name="connsiteX576" fmla="*/ 3426 w 24669"/>
                <a:gd name="connsiteY576" fmla="*/ 28370 h 36230"/>
                <a:gd name="connsiteX577" fmla="*/ 3713 w 24669"/>
                <a:gd name="connsiteY577" fmla="*/ 28874 h 36230"/>
                <a:gd name="connsiteX578" fmla="*/ 4467 w 24669"/>
                <a:gd name="connsiteY578" fmla="*/ 28045 h 36230"/>
                <a:gd name="connsiteX579" fmla="*/ 4888 w 24669"/>
                <a:gd name="connsiteY579" fmla="*/ 28122 h 36230"/>
                <a:gd name="connsiteX580" fmla="*/ 4435 w 24669"/>
                <a:gd name="connsiteY580" fmla="*/ 29041 h 36230"/>
                <a:gd name="connsiteX581" fmla="*/ 4575 w 24669"/>
                <a:gd name="connsiteY581" fmla="*/ 29655 h 36230"/>
                <a:gd name="connsiteX582" fmla="*/ 4360 w 24669"/>
                <a:gd name="connsiteY582" fmla="*/ 30394 h 36230"/>
                <a:gd name="connsiteX583" fmla="*/ 4902 w 24669"/>
                <a:gd name="connsiteY583" fmla="*/ 30653 h 36230"/>
                <a:gd name="connsiteX584" fmla="*/ 5294 w 24669"/>
                <a:gd name="connsiteY584" fmla="*/ 29834 h 36230"/>
                <a:gd name="connsiteX585" fmla="*/ 5776 w 24669"/>
                <a:gd name="connsiteY585" fmla="*/ 29835 h 36230"/>
                <a:gd name="connsiteX586" fmla="*/ 6023 w 24669"/>
                <a:gd name="connsiteY586" fmla="*/ 29562 h 36230"/>
                <a:gd name="connsiteX587" fmla="*/ 5555 w 24669"/>
                <a:gd name="connsiteY587" fmla="*/ 30066 h 36230"/>
                <a:gd name="connsiteX588" fmla="*/ 5166 w 24669"/>
                <a:gd name="connsiteY588" fmla="*/ 30522 h 36230"/>
                <a:gd name="connsiteX589" fmla="*/ 4803 w 24669"/>
                <a:gd name="connsiteY589" fmla="*/ 30921 h 36230"/>
                <a:gd name="connsiteX590" fmla="*/ 6155 w 24669"/>
                <a:gd name="connsiteY590" fmla="*/ 31447 h 36230"/>
                <a:gd name="connsiteX591" fmla="*/ 6174 w 24669"/>
                <a:gd name="connsiteY591" fmla="*/ 31550 h 36230"/>
                <a:gd name="connsiteX592" fmla="*/ 6434 w 24669"/>
                <a:gd name="connsiteY592" fmla="*/ 31587 h 36230"/>
                <a:gd name="connsiteX593" fmla="*/ 6925 w 24669"/>
                <a:gd name="connsiteY593" fmla="*/ 31919 h 36230"/>
                <a:gd name="connsiteX594" fmla="*/ 6999 w 24669"/>
                <a:gd name="connsiteY594" fmla="*/ 31648 h 36230"/>
                <a:gd name="connsiteX595" fmla="*/ 7121 w 24669"/>
                <a:gd name="connsiteY595" fmla="*/ 30034 h 36230"/>
                <a:gd name="connsiteX596" fmla="*/ 7389 w 24669"/>
                <a:gd name="connsiteY596" fmla="*/ 30290 h 36230"/>
                <a:gd name="connsiteX597" fmla="*/ 7402 w 24669"/>
                <a:gd name="connsiteY597" fmla="*/ 30858 h 36230"/>
                <a:gd name="connsiteX598" fmla="*/ 8066 w 24669"/>
                <a:gd name="connsiteY598" fmla="*/ 30676 h 36230"/>
                <a:gd name="connsiteX599" fmla="*/ 8482 w 24669"/>
                <a:gd name="connsiteY599" fmla="*/ 30262 h 36230"/>
                <a:gd name="connsiteX600" fmla="*/ 8261 w 24669"/>
                <a:gd name="connsiteY600" fmla="*/ 30764 h 36230"/>
                <a:gd name="connsiteX601" fmla="*/ 8869 w 24669"/>
                <a:gd name="connsiteY601" fmla="*/ 30520 h 36230"/>
                <a:gd name="connsiteX602" fmla="*/ 8818 w 24669"/>
                <a:gd name="connsiteY602" fmla="*/ 30817 h 36230"/>
                <a:gd name="connsiteX603" fmla="*/ 8380 w 24669"/>
                <a:gd name="connsiteY603" fmla="*/ 31681 h 36230"/>
                <a:gd name="connsiteX604" fmla="*/ 8230 w 24669"/>
                <a:gd name="connsiteY604" fmla="*/ 32413 h 36230"/>
                <a:gd name="connsiteX605" fmla="*/ 8834 w 24669"/>
                <a:gd name="connsiteY605" fmla="*/ 32393 h 36230"/>
                <a:gd name="connsiteX606" fmla="*/ 9155 w 24669"/>
                <a:gd name="connsiteY606" fmla="*/ 32001 h 36230"/>
                <a:gd name="connsiteX607" fmla="*/ 9650 w 24669"/>
                <a:gd name="connsiteY607" fmla="*/ 31418 h 36230"/>
                <a:gd name="connsiteX608" fmla="*/ 10097 w 24669"/>
                <a:gd name="connsiteY608" fmla="*/ 31216 h 36230"/>
                <a:gd name="connsiteX609" fmla="*/ 10359 w 24669"/>
                <a:gd name="connsiteY609" fmla="*/ 30669 h 36230"/>
                <a:gd name="connsiteX610" fmla="*/ 10859 w 24669"/>
                <a:gd name="connsiteY610" fmla="*/ 30166 h 36230"/>
                <a:gd name="connsiteX611" fmla="*/ 10837 w 24669"/>
                <a:gd name="connsiteY611" fmla="*/ 30798 h 36230"/>
                <a:gd name="connsiteX612" fmla="*/ 10391 w 24669"/>
                <a:gd name="connsiteY612" fmla="*/ 31475 h 36230"/>
                <a:gd name="connsiteX613" fmla="*/ 9922 w 24669"/>
                <a:gd name="connsiteY613" fmla="*/ 31952 h 36230"/>
                <a:gd name="connsiteX614" fmla="*/ 9571 w 24669"/>
                <a:gd name="connsiteY614" fmla="*/ 32845 h 36230"/>
                <a:gd name="connsiteX615" fmla="*/ 9987 w 24669"/>
                <a:gd name="connsiteY615" fmla="*/ 32781 h 36230"/>
                <a:gd name="connsiteX616" fmla="*/ 9922 w 24669"/>
                <a:gd name="connsiteY616" fmla="*/ 32932 h 36230"/>
                <a:gd name="connsiteX617" fmla="*/ 10793 w 24669"/>
                <a:gd name="connsiteY617" fmla="*/ 32057 h 36230"/>
                <a:gd name="connsiteX618" fmla="*/ 10613 w 24669"/>
                <a:gd name="connsiteY618" fmla="*/ 31568 h 36230"/>
                <a:gd name="connsiteX619" fmla="*/ 10815 w 24669"/>
                <a:gd name="connsiteY619" fmla="*/ 31147 h 36230"/>
                <a:gd name="connsiteX620" fmla="*/ 10720 w 24669"/>
                <a:gd name="connsiteY620" fmla="*/ 31617 h 36230"/>
                <a:gd name="connsiteX621" fmla="*/ 10936 w 24669"/>
                <a:gd name="connsiteY621" fmla="*/ 31771 h 36230"/>
                <a:gd name="connsiteX622" fmla="*/ 11635 w 24669"/>
                <a:gd name="connsiteY622" fmla="*/ 31536 h 36230"/>
                <a:gd name="connsiteX623" fmla="*/ 11111 w 24669"/>
                <a:gd name="connsiteY623" fmla="*/ 31809 h 36230"/>
                <a:gd name="connsiteX624" fmla="*/ 10911 w 24669"/>
                <a:gd name="connsiteY624" fmla="*/ 32241 h 36230"/>
                <a:gd name="connsiteX625" fmla="*/ 10339 w 24669"/>
                <a:gd name="connsiteY625" fmla="*/ 33257 h 36230"/>
                <a:gd name="connsiteX626" fmla="*/ 11683 w 24669"/>
                <a:gd name="connsiteY626" fmla="*/ 33247 h 36230"/>
                <a:gd name="connsiteX627" fmla="*/ 11842 w 24669"/>
                <a:gd name="connsiteY627" fmla="*/ 32472 h 36230"/>
                <a:gd name="connsiteX628" fmla="*/ 11791 w 24669"/>
                <a:gd name="connsiteY628" fmla="*/ 33151 h 36230"/>
                <a:gd name="connsiteX629" fmla="*/ 12360 w 24669"/>
                <a:gd name="connsiteY629" fmla="*/ 32601 h 36230"/>
                <a:gd name="connsiteX630" fmla="*/ 12587 w 24669"/>
                <a:gd name="connsiteY630" fmla="*/ 32006 h 36230"/>
                <a:gd name="connsiteX631" fmla="*/ 12539 w 24669"/>
                <a:gd name="connsiteY631" fmla="*/ 32858 h 36230"/>
                <a:gd name="connsiteX632" fmla="*/ 12473 w 24669"/>
                <a:gd name="connsiteY632" fmla="*/ 33023 h 36230"/>
                <a:gd name="connsiteX633" fmla="*/ 11696 w 24669"/>
                <a:gd name="connsiteY633" fmla="*/ 33488 h 36230"/>
                <a:gd name="connsiteX634" fmla="*/ 10857 w 24669"/>
                <a:gd name="connsiteY634" fmla="*/ 33370 h 36230"/>
                <a:gd name="connsiteX635" fmla="*/ 10470 w 24669"/>
                <a:gd name="connsiteY635" fmla="*/ 34162 h 36230"/>
                <a:gd name="connsiteX636" fmla="*/ 10941 w 24669"/>
                <a:gd name="connsiteY636" fmla="*/ 34482 h 36230"/>
                <a:gd name="connsiteX637" fmla="*/ 11370 w 24669"/>
                <a:gd name="connsiteY637" fmla="*/ 34300 h 36230"/>
                <a:gd name="connsiteX638" fmla="*/ 10980 w 24669"/>
                <a:gd name="connsiteY638" fmla="*/ 34642 h 36230"/>
                <a:gd name="connsiteX639" fmla="*/ 11814 w 24669"/>
                <a:gd name="connsiteY639" fmla="*/ 34551 h 36230"/>
                <a:gd name="connsiteX640" fmla="*/ 11751 w 24669"/>
                <a:gd name="connsiteY640" fmla="*/ 34288 h 36230"/>
                <a:gd name="connsiteX641" fmla="*/ 11872 w 24669"/>
                <a:gd name="connsiteY641" fmla="*/ 34439 h 36230"/>
                <a:gd name="connsiteX642" fmla="*/ 12304 w 24669"/>
                <a:gd name="connsiteY642" fmla="*/ 33923 h 36230"/>
                <a:gd name="connsiteX643" fmla="*/ 12916 w 24669"/>
                <a:gd name="connsiteY643" fmla="*/ 33656 h 36230"/>
                <a:gd name="connsiteX644" fmla="*/ 12870 w 24669"/>
                <a:gd name="connsiteY644" fmla="*/ 33997 h 36230"/>
                <a:gd name="connsiteX645" fmla="*/ 13531 w 24669"/>
                <a:gd name="connsiteY645" fmla="*/ 34114 h 36230"/>
                <a:gd name="connsiteX646" fmla="*/ 13960 w 24669"/>
                <a:gd name="connsiteY646" fmla="*/ 34229 h 36230"/>
                <a:gd name="connsiteX647" fmla="*/ 13617 w 24669"/>
                <a:gd name="connsiteY647" fmla="*/ 34313 h 36230"/>
                <a:gd name="connsiteX648" fmla="*/ 14236 w 24669"/>
                <a:gd name="connsiteY648" fmla="*/ 34628 h 36230"/>
                <a:gd name="connsiteX649" fmla="*/ 13638 w 24669"/>
                <a:gd name="connsiteY649" fmla="*/ 34877 h 36230"/>
                <a:gd name="connsiteX650" fmla="*/ 13635 w 24669"/>
                <a:gd name="connsiteY650" fmla="*/ 35502 h 36230"/>
                <a:gd name="connsiteX651" fmla="*/ 13892 w 24669"/>
                <a:gd name="connsiteY651" fmla="*/ 35459 h 36230"/>
                <a:gd name="connsiteX652" fmla="*/ 14042 w 24669"/>
                <a:gd name="connsiteY652" fmla="*/ 35382 h 36230"/>
                <a:gd name="connsiteX653" fmla="*/ 14038 w 24669"/>
                <a:gd name="connsiteY653" fmla="*/ 35908 h 36230"/>
                <a:gd name="connsiteX654" fmla="*/ 14554 w 24669"/>
                <a:gd name="connsiteY654" fmla="*/ 35357 h 36230"/>
                <a:gd name="connsiteX655" fmla="*/ 14417 w 24669"/>
                <a:gd name="connsiteY655" fmla="*/ 35937 h 36230"/>
                <a:gd name="connsiteX656" fmla="*/ 14972 w 24669"/>
                <a:gd name="connsiteY656" fmla="*/ 36035 h 36230"/>
                <a:gd name="connsiteX657" fmla="*/ 15246 w 24669"/>
                <a:gd name="connsiteY657" fmla="*/ 36230 h 36230"/>
                <a:gd name="connsiteX658" fmla="*/ 15246 w 24669"/>
                <a:gd name="connsiteY658" fmla="*/ 36230 h 3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Lst>
              <a:rect l="l" t="t" r="r" b="b"/>
              <a:pathLst>
                <a:path w="24669" h="36230">
                  <a:moveTo>
                    <a:pt x="15246" y="36230"/>
                  </a:moveTo>
                  <a:lnTo>
                    <a:pt x="15279" y="36230"/>
                  </a:lnTo>
                  <a:cubicBezTo>
                    <a:pt x="15295" y="36158"/>
                    <a:pt x="15311" y="36086"/>
                    <a:pt x="15328" y="36015"/>
                  </a:cubicBezTo>
                  <a:cubicBezTo>
                    <a:pt x="15344" y="36062"/>
                    <a:pt x="15376" y="36158"/>
                    <a:pt x="15392" y="36205"/>
                  </a:cubicBezTo>
                  <a:cubicBezTo>
                    <a:pt x="15462" y="36030"/>
                    <a:pt x="15531" y="35853"/>
                    <a:pt x="15614" y="35682"/>
                  </a:cubicBezTo>
                  <a:cubicBezTo>
                    <a:pt x="15637" y="35819"/>
                    <a:pt x="15590" y="35950"/>
                    <a:pt x="15527" y="36069"/>
                  </a:cubicBezTo>
                  <a:cubicBezTo>
                    <a:pt x="15797" y="35929"/>
                    <a:pt x="16107" y="36004"/>
                    <a:pt x="16398" y="35986"/>
                  </a:cubicBezTo>
                  <a:cubicBezTo>
                    <a:pt x="16597" y="35879"/>
                    <a:pt x="16755" y="35653"/>
                    <a:pt x="17007" y="35695"/>
                  </a:cubicBezTo>
                  <a:cubicBezTo>
                    <a:pt x="16991" y="35604"/>
                    <a:pt x="16998" y="35514"/>
                    <a:pt x="16987" y="35423"/>
                  </a:cubicBezTo>
                  <a:cubicBezTo>
                    <a:pt x="17150" y="35542"/>
                    <a:pt x="17347" y="35648"/>
                    <a:pt x="17558" y="35572"/>
                  </a:cubicBezTo>
                  <a:cubicBezTo>
                    <a:pt x="17845" y="35483"/>
                    <a:pt x="18086" y="35295"/>
                    <a:pt x="18345" y="35148"/>
                  </a:cubicBezTo>
                  <a:cubicBezTo>
                    <a:pt x="18314" y="34876"/>
                    <a:pt x="18129" y="34666"/>
                    <a:pt x="17896" y="34540"/>
                  </a:cubicBezTo>
                  <a:lnTo>
                    <a:pt x="18156" y="34565"/>
                  </a:lnTo>
                  <a:cubicBezTo>
                    <a:pt x="17627" y="34285"/>
                    <a:pt x="17041" y="34565"/>
                    <a:pt x="16485" y="34572"/>
                  </a:cubicBezTo>
                  <a:cubicBezTo>
                    <a:pt x="16123" y="34607"/>
                    <a:pt x="15815" y="34104"/>
                    <a:pt x="15461" y="34324"/>
                  </a:cubicBezTo>
                  <a:cubicBezTo>
                    <a:pt x="15216" y="34490"/>
                    <a:pt x="14909" y="34545"/>
                    <a:pt x="14623" y="34462"/>
                  </a:cubicBezTo>
                  <a:cubicBezTo>
                    <a:pt x="14902" y="34367"/>
                    <a:pt x="15266" y="34421"/>
                    <a:pt x="15454" y="34149"/>
                  </a:cubicBezTo>
                  <a:cubicBezTo>
                    <a:pt x="15112" y="33909"/>
                    <a:pt x="14708" y="33792"/>
                    <a:pt x="14302" y="33720"/>
                  </a:cubicBezTo>
                  <a:cubicBezTo>
                    <a:pt x="14299" y="33491"/>
                    <a:pt x="14264" y="33265"/>
                    <a:pt x="14241" y="33038"/>
                  </a:cubicBezTo>
                  <a:cubicBezTo>
                    <a:pt x="14312" y="33223"/>
                    <a:pt x="14340" y="33424"/>
                    <a:pt x="14431" y="33601"/>
                  </a:cubicBezTo>
                  <a:cubicBezTo>
                    <a:pt x="14534" y="33754"/>
                    <a:pt x="14732" y="33662"/>
                    <a:pt x="14878" y="33641"/>
                  </a:cubicBezTo>
                  <a:cubicBezTo>
                    <a:pt x="14942" y="33715"/>
                    <a:pt x="14996" y="33804"/>
                    <a:pt x="15080" y="33857"/>
                  </a:cubicBezTo>
                  <a:cubicBezTo>
                    <a:pt x="15348" y="33942"/>
                    <a:pt x="15659" y="33892"/>
                    <a:pt x="15899" y="34061"/>
                  </a:cubicBezTo>
                  <a:cubicBezTo>
                    <a:pt x="16167" y="34203"/>
                    <a:pt x="16448" y="34479"/>
                    <a:pt x="16779" y="34401"/>
                  </a:cubicBezTo>
                  <a:cubicBezTo>
                    <a:pt x="17143" y="34243"/>
                    <a:pt x="17564" y="34143"/>
                    <a:pt x="17953" y="34269"/>
                  </a:cubicBezTo>
                  <a:cubicBezTo>
                    <a:pt x="18173" y="34346"/>
                    <a:pt x="18412" y="34338"/>
                    <a:pt x="18632" y="34414"/>
                  </a:cubicBezTo>
                  <a:cubicBezTo>
                    <a:pt x="18637" y="34194"/>
                    <a:pt x="18788" y="33958"/>
                    <a:pt x="18651" y="33753"/>
                  </a:cubicBezTo>
                  <a:cubicBezTo>
                    <a:pt x="18564" y="33587"/>
                    <a:pt x="18466" y="33428"/>
                    <a:pt x="18360" y="33275"/>
                  </a:cubicBezTo>
                  <a:cubicBezTo>
                    <a:pt x="18516" y="33342"/>
                    <a:pt x="18640" y="33457"/>
                    <a:pt x="18735" y="33596"/>
                  </a:cubicBezTo>
                  <a:cubicBezTo>
                    <a:pt x="18806" y="33710"/>
                    <a:pt x="18957" y="33672"/>
                    <a:pt x="19072" y="33696"/>
                  </a:cubicBezTo>
                  <a:cubicBezTo>
                    <a:pt x="19081" y="33596"/>
                    <a:pt x="19090" y="33495"/>
                    <a:pt x="19107" y="33396"/>
                  </a:cubicBezTo>
                  <a:cubicBezTo>
                    <a:pt x="19170" y="33421"/>
                    <a:pt x="19233" y="33455"/>
                    <a:pt x="19303" y="33465"/>
                  </a:cubicBezTo>
                  <a:cubicBezTo>
                    <a:pt x="19443" y="33405"/>
                    <a:pt x="19551" y="33276"/>
                    <a:pt x="19709" y="33256"/>
                  </a:cubicBezTo>
                  <a:cubicBezTo>
                    <a:pt x="19871" y="33098"/>
                    <a:pt x="20070" y="32965"/>
                    <a:pt x="20191" y="32769"/>
                  </a:cubicBezTo>
                  <a:cubicBezTo>
                    <a:pt x="20319" y="32586"/>
                    <a:pt x="20130" y="32452"/>
                    <a:pt x="20032" y="32330"/>
                  </a:cubicBezTo>
                  <a:cubicBezTo>
                    <a:pt x="19898" y="32186"/>
                    <a:pt x="19819" y="32003"/>
                    <a:pt x="19688" y="31859"/>
                  </a:cubicBezTo>
                  <a:cubicBezTo>
                    <a:pt x="19504" y="31704"/>
                    <a:pt x="19246" y="31716"/>
                    <a:pt x="19033" y="31628"/>
                  </a:cubicBezTo>
                  <a:cubicBezTo>
                    <a:pt x="18839" y="31520"/>
                    <a:pt x="18663" y="31345"/>
                    <a:pt x="18422" y="31361"/>
                  </a:cubicBezTo>
                  <a:cubicBezTo>
                    <a:pt x="18157" y="31311"/>
                    <a:pt x="17892" y="31370"/>
                    <a:pt x="17630" y="31404"/>
                  </a:cubicBezTo>
                  <a:cubicBezTo>
                    <a:pt x="17273" y="31458"/>
                    <a:pt x="16932" y="31324"/>
                    <a:pt x="16589" y="31250"/>
                  </a:cubicBezTo>
                  <a:cubicBezTo>
                    <a:pt x="16464" y="31219"/>
                    <a:pt x="16378" y="31112"/>
                    <a:pt x="16276" y="31043"/>
                  </a:cubicBezTo>
                  <a:cubicBezTo>
                    <a:pt x="16009" y="30832"/>
                    <a:pt x="15702" y="30681"/>
                    <a:pt x="15428" y="30480"/>
                  </a:cubicBezTo>
                  <a:cubicBezTo>
                    <a:pt x="15233" y="30365"/>
                    <a:pt x="15339" y="30106"/>
                    <a:pt x="15368" y="29931"/>
                  </a:cubicBezTo>
                  <a:cubicBezTo>
                    <a:pt x="15525" y="30056"/>
                    <a:pt x="15638" y="30229"/>
                    <a:pt x="15797" y="30351"/>
                  </a:cubicBezTo>
                  <a:cubicBezTo>
                    <a:pt x="16161" y="30529"/>
                    <a:pt x="16582" y="30580"/>
                    <a:pt x="16915" y="30822"/>
                  </a:cubicBezTo>
                  <a:cubicBezTo>
                    <a:pt x="17374" y="31044"/>
                    <a:pt x="17901" y="30925"/>
                    <a:pt x="18388" y="30898"/>
                  </a:cubicBezTo>
                  <a:cubicBezTo>
                    <a:pt x="18597" y="30878"/>
                    <a:pt x="18544" y="30616"/>
                    <a:pt x="18573" y="30470"/>
                  </a:cubicBezTo>
                  <a:cubicBezTo>
                    <a:pt x="18738" y="30482"/>
                    <a:pt x="18902" y="30501"/>
                    <a:pt x="19067" y="30522"/>
                  </a:cubicBezTo>
                  <a:cubicBezTo>
                    <a:pt x="19075" y="30645"/>
                    <a:pt x="19055" y="30776"/>
                    <a:pt x="19106" y="30891"/>
                  </a:cubicBezTo>
                  <a:cubicBezTo>
                    <a:pt x="19170" y="30960"/>
                    <a:pt x="19263" y="30990"/>
                    <a:pt x="19345" y="31034"/>
                  </a:cubicBezTo>
                  <a:cubicBezTo>
                    <a:pt x="19325" y="30826"/>
                    <a:pt x="19381" y="30602"/>
                    <a:pt x="19316" y="30400"/>
                  </a:cubicBezTo>
                  <a:cubicBezTo>
                    <a:pt x="19165" y="30164"/>
                    <a:pt x="18894" y="30042"/>
                    <a:pt x="18676" y="29879"/>
                  </a:cubicBezTo>
                  <a:cubicBezTo>
                    <a:pt x="18608" y="29827"/>
                    <a:pt x="18507" y="29775"/>
                    <a:pt x="18512" y="29676"/>
                  </a:cubicBezTo>
                  <a:cubicBezTo>
                    <a:pt x="18505" y="29585"/>
                    <a:pt x="18561" y="29509"/>
                    <a:pt x="18609" y="29437"/>
                  </a:cubicBezTo>
                  <a:cubicBezTo>
                    <a:pt x="18844" y="29659"/>
                    <a:pt x="19109" y="29849"/>
                    <a:pt x="19397" y="29995"/>
                  </a:cubicBezTo>
                  <a:cubicBezTo>
                    <a:pt x="19497" y="30033"/>
                    <a:pt x="19527" y="30156"/>
                    <a:pt x="19625" y="30196"/>
                  </a:cubicBezTo>
                  <a:cubicBezTo>
                    <a:pt x="19714" y="30216"/>
                    <a:pt x="19805" y="30195"/>
                    <a:pt x="19894" y="30186"/>
                  </a:cubicBezTo>
                  <a:cubicBezTo>
                    <a:pt x="19904" y="30448"/>
                    <a:pt x="19831" y="30727"/>
                    <a:pt x="19912" y="30979"/>
                  </a:cubicBezTo>
                  <a:cubicBezTo>
                    <a:pt x="20127" y="31176"/>
                    <a:pt x="20435" y="31234"/>
                    <a:pt x="20716" y="31262"/>
                  </a:cubicBezTo>
                  <a:cubicBezTo>
                    <a:pt x="20816" y="30685"/>
                    <a:pt x="20833" y="30078"/>
                    <a:pt x="20663" y="29512"/>
                  </a:cubicBezTo>
                  <a:cubicBezTo>
                    <a:pt x="20604" y="29277"/>
                    <a:pt x="20414" y="29109"/>
                    <a:pt x="20335" y="28883"/>
                  </a:cubicBezTo>
                  <a:cubicBezTo>
                    <a:pt x="20195" y="28530"/>
                    <a:pt x="19896" y="28237"/>
                    <a:pt x="19869" y="27843"/>
                  </a:cubicBezTo>
                  <a:cubicBezTo>
                    <a:pt x="19854" y="27736"/>
                    <a:pt x="19764" y="27665"/>
                    <a:pt x="19699" y="27586"/>
                  </a:cubicBezTo>
                  <a:cubicBezTo>
                    <a:pt x="19735" y="27595"/>
                    <a:pt x="19771" y="27603"/>
                    <a:pt x="19808" y="27612"/>
                  </a:cubicBezTo>
                  <a:cubicBezTo>
                    <a:pt x="19719" y="27523"/>
                    <a:pt x="19637" y="27423"/>
                    <a:pt x="19606" y="27298"/>
                  </a:cubicBezTo>
                  <a:cubicBezTo>
                    <a:pt x="19707" y="27380"/>
                    <a:pt x="19826" y="27445"/>
                    <a:pt x="19907" y="27549"/>
                  </a:cubicBezTo>
                  <a:cubicBezTo>
                    <a:pt x="20002" y="27697"/>
                    <a:pt x="19995" y="27883"/>
                    <a:pt x="20065" y="28041"/>
                  </a:cubicBezTo>
                  <a:cubicBezTo>
                    <a:pt x="20154" y="28142"/>
                    <a:pt x="20274" y="28211"/>
                    <a:pt x="20379" y="28296"/>
                  </a:cubicBezTo>
                  <a:cubicBezTo>
                    <a:pt x="20357" y="28300"/>
                    <a:pt x="20314" y="28307"/>
                    <a:pt x="20293" y="28310"/>
                  </a:cubicBezTo>
                  <a:cubicBezTo>
                    <a:pt x="20431" y="28484"/>
                    <a:pt x="20562" y="28664"/>
                    <a:pt x="20714" y="28827"/>
                  </a:cubicBezTo>
                  <a:cubicBezTo>
                    <a:pt x="20884" y="29006"/>
                    <a:pt x="20917" y="29266"/>
                    <a:pt x="21067" y="29461"/>
                  </a:cubicBezTo>
                  <a:cubicBezTo>
                    <a:pt x="21147" y="29600"/>
                    <a:pt x="21264" y="29712"/>
                    <a:pt x="21386" y="29815"/>
                  </a:cubicBezTo>
                  <a:lnTo>
                    <a:pt x="21176" y="29783"/>
                  </a:lnTo>
                  <a:cubicBezTo>
                    <a:pt x="21209" y="29923"/>
                    <a:pt x="21236" y="30065"/>
                    <a:pt x="21280" y="30202"/>
                  </a:cubicBezTo>
                  <a:cubicBezTo>
                    <a:pt x="21338" y="30098"/>
                    <a:pt x="21404" y="30000"/>
                    <a:pt x="21488" y="29915"/>
                  </a:cubicBezTo>
                  <a:cubicBezTo>
                    <a:pt x="21485" y="29889"/>
                    <a:pt x="21481" y="29862"/>
                    <a:pt x="21479" y="29835"/>
                  </a:cubicBezTo>
                  <a:cubicBezTo>
                    <a:pt x="21527" y="29866"/>
                    <a:pt x="21574" y="29897"/>
                    <a:pt x="21622" y="29929"/>
                  </a:cubicBezTo>
                  <a:cubicBezTo>
                    <a:pt x="21519" y="29738"/>
                    <a:pt x="21463" y="29526"/>
                    <a:pt x="21434" y="29311"/>
                  </a:cubicBezTo>
                  <a:cubicBezTo>
                    <a:pt x="21559" y="29414"/>
                    <a:pt x="21663" y="29547"/>
                    <a:pt x="21809" y="29621"/>
                  </a:cubicBezTo>
                  <a:cubicBezTo>
                    <a:pt x="21916" y="29595"/>
                    <a:pt x="21982" y="29499"/>
                    <a:pt x="22045" y="29417"/>
                  </a:cubicBezTo>
                  <a:cubicBezTo>
                    <a:pt x="22068" y="29441"/>
                    <a:pt x="22091" y="29466"/>
                    <a:pt x="22114" y="29490"/>
                  </a:cubicBezTo>
                  <a:cubicBezTo>
                    <a:pt x="22156" y="29411"/>
                    <a:pt x="22197" y="29332"/>
                    <a:pt x="22241" y="29254"/>
                  </a:cubicBezTo>
                  <a:lnTo>
                    <a:pt x="22436" y="29648"/>
                  </a:lnTo>
                  <a:cubicBezTo>
                    <a:pt x="22506" y="29766"/>
                    <a:pt x="22396" y="29927"/>
                    <a:pt x="22504" y="30027"/>
                  </a:cubicBezTo>
                  <a:cubicBezTo>
                    <a:pt x="22598" y="30115"/>
                    <a:pt x="22606" y="30250"/>
                    <a:pt x="22665" y="30359"/>
                  </a:cubicBezTo>
                  <a:cubicBezTo>
                    <a:pt x="22717" y="30379"/>
                    <a:pt x="22773" y="30380"/>
                    <a:pt x="22827" y="30387"/>
                  </a:cubicBezTo>
                  <a:cubicBezTo>
                    <a:pt x="22877" y="30470"/>
                    <a:pt x="22938" y="30564"/>
                    <a:pt x="23051" y="30532"/>
                  </a:cubicBezTo>
                  <a:cubicBezTo>
                    <a:pt x="23324" y="30490"/>
                    <a:pt x="23655" y="30563"/>
                    <a:pt x="23865" y="30346"/>
                  </a:cubicBezTo>
                  <a:cubicBezTo>
                    <a:pt x="24028" y="30199"/>
                    <a:pt x="24227" y="30102"/>
                    <a:pt x="24396" y="29962"/>
                  </a:cubicBezTo>
                  <a:cubicBezTo>
                    <a:pt x="24499" y="29824"/>
                    <a:pt x="24560" y="29658"/>
                    <a:pt x="24669" y="29523"/>
                  </a:cubicBezTo>
                  <a:lnTo>
                    <a:pt x="24669" y="29458"/>
                  </a:lnTo>
                  <a:cubicBezTo>
                    <a:pt x="24510" y="29230"/>
                    <a:pt x="24295" y="29047"/>
                    <a:pt x="24139" y="28815"/>
                  </a:cubicBezTo>
                  <a:cubicBezTo>
                    <a:pt x="24025" y="28678"/>
                    <a:pt x="23962" y="28507"/>
                    <a:pt x="23847" y="28371"/>
                  </a:cubicBezTo>
                  <a:cubicBezTo>
                    <a:pt x="23740" y="28306"/>
                    <a:pt x="23596" y="28356"/>
                    <a:pt x="23481" y="28340"/>
                  </a:cubicBezTo>
                  <a:cubicBezTo>
                    <a:pt x="23451" y="28297"/>
                    <a:pt x="23422" y="28255"/>
                    <a:pt x="23393" y="28212"/>
                  </a:cubicBezTo>
                  <a:cubicBezTo>
                    <a:pt x="23534" y="28274"/>
                    <a:pt x="23689" y="28293"/>
                    <a:pt x="23843" y="28271"/>
                  </a:cubicBezTo>
                  <a:cubicBezTo>
                    <a:pt x="23726" y="28116"/>
                    <a:pt x="23620" y="27953"/>
                    <a:pt x="23503" y="27799"/>
                  </a:cubicBezTo>
                  <a:cubicBezTo>
                    <a:pt x="23399" y="27650"/>
                    <a:pt x="23162" y="27696"/>
                    <a:pt x="23075" y="27532"/>
                  </a:cubicBezTo>
                  <a:cubicBezTo>
                    <a:pt x="23022" y="27470"/>
                    <a:pt x="22993" y="27357"/>
                    <a:pt x="22894" y="27360"/>
                  </a:cubicBezTo>
                  <a:cubicBezTo>
                    <a:pt x="22659" y="27363"/>
                    <a:pt x="22439" y="27469"/>
                    <a:pt x="22248" y="27599"/>
                  </a:cubicBezTo>
                  <a:cubicBezTo>
                    <a:pt x="22248" y="27353"/>
                    <a:pt x="21973" y="27182"/>
                    <a:pt x="21746" y="27248"/>
                  </a:cubicBezTo>
                  <a:cubicBezTo>
                    <a:pt x="21734" y="27223"/>
                    <a:pt x="21723" y="27198"/>
                    <a:pt x="21713" y="27172"/>
                  </a:cubicBezTo>
                  <a:cubicBezTo>
                    <a:pt x="21817" y="27125"/>
                    <a:pt x="21919" y="27070"/>
                    <a:pt x="22029" y="27034"/>
                  </a:cubicBezTo>
                  <a:cubicBezTo>
                    <a:pt x="22169" y="27063"/>
                    <a:pt x="22291" y="27158"/>
                    <a:pt x="22435" y="27174"/>
                  </a:cubicBezTo>
                  <a:cubicBezTo>
                    <a:pt x="22590" y="27086"/>
                    <a:pt x="22754" y="27007"/>
                    <a:pt x="22898" y="26899"/>
                  </a:cubicBezTo>
                  <a:cubicBezTo>
                    <a:pt x="22878" y="26671"/>
                    <a:pt x="22689" y="26489"/>
                    <a:pt x="22540" y="26330"/>
                  </a:cubicBezTo>
                  <a:cubicBezTo>
                    <a:pt x="22168" y="26222"/>
                    <a:pt x="21771" y="26323"/>
                    <a:pt x="21434" y="26496"/>
                  </a:cubicBezTo>
                  <a:cubicBezTo>
                    <a:pt x="21345" y="26332"/>
                    <a:pt x="21235" y="26179"/>
                    <a:pt x="21078" y="26073"/>
                  </a:cubicBezTo>
                  <a:lnTo>
                    <a:pt x="21190" y="26069"/>
                  </a:lnTo>
                  <a:cubicBezTo>
                    <a:pt x="21131" y="25885"/>
                    <a:pt x="21097" y="25694"/>
                    <a:pt x="21041" y="25509"/>
                  </a:cubicBezTo>
                  <a:cubicBezTo>
                    <a:pt x="21091" y="25499"/>
                    <a:pt x="21141" y="25488"/>
                    <a:pt x="21192" y="25477"/>
                  </a:cubicBezTo>
                  <a:cubicBezTo>
                    <a:pt x="21254" y="25686"/>
                    <a:pt x="21357" y="25920"/>
                    <a:pt x="21584" y="25990"/>
                  </a:cubicBezTo>
                  <a:cubicBezTo>
                    <a:pt x="21788" y="26018"/>
                    <a:pt x="21990" y="26057"/>
                    <a:pt x="22190" y="26112"/>
                  </a:cubicBezTo>
                  <a:cubicBezTo>
                    <a:pt x="22228" y="26066"/>
                    <a:pt x="22304" y="25975"/>
                    <a:pt x="22342" y="25930"/>
                  </a:cubicBezTo>
                  <a:cubicBezTo>
                    <a:pt x="22248" y="25707"/>
                    <a:pt x="22191" y="25463"/>
                    <a:pt x="22058" y="25259"/>
                  </a:cubicBezTo>
                  <a:cubicBezTo>
                    <a:pt x="21942" y="25082"/>
                    <a:pt x="21740" y="25262"/>
                    <a:pt x="21597" y="25302"/>
                  </a:cubicBezTo>
                  <a:cubicBezTo>
                    <a:pt x="21450" y="25069"/>
                    <a:pt x="21389" y="24788"/>
                    <a:pt x="21391" y="24516"/>
                  </a:cubicBezTo>
                  <a:cubicBezTo>
                    <a:pt x="21380" y="24340"/>
                    <a:pt x="21545" y="24280"/>
                    <a:pt x="21662" y="24201"/>
                  </a:cubicBezTo>
                  <a:cubicBezTo>
                    <a:pt x="21634" y="24125"/>
                    <a:pt x="21620" y="24041"/>
                    <a:pt x="21573" y="23974"/>
                  </a:cubicBezTo>
                  <a:cubicBezTo>
                    <a:pt x="21484" y="23881"/>
                    <a:pt x="21343" y="23867"/>
                    <a:pt x="21250" y="23780"/>
                  </a:cubicBezTo>
                  <a:cubicBezTo>
                    <a:pt x="21250" y="23632"/>
                    <a:pt x="21289" y="23486"/>
                    <a:pt x="21285" y="23338"/>
                  </a:cubicBezTo>
                  <a:lnTo>
                    <a:pt x="20946" y="23363"/>
                  </a:lnTo>
                  <a:cubicBezTo>
                    <a:pt x="20950" y="23290"/>
                    <a:pt x="20955" y="23217"/>
                    <a:pt x="20960" y="23143"/>
                  </a:cubicBezTo>
                  <a:cubicBezTo>
                    <a:pt x="20910" y="23194"/>
                    <a:pt x="20860" y="23245"/>
                    <a:pt x="20809" y="23294"/>
                  </a:cubicBezTo>
                  <a:cubicBezTo>
                    <a:pt x="20810" y="23178"/>
                    <a:pt x="20815" y="23062"/>
                    <a:pt x="20830" y="22947"/>
                  </a:cubicBezTo>
                  <a:lnTo>
                    <a:pt x="20702" y="22882"/>
                  </a:lnTo>
                  <a:lnTo>
                    <a:pt x="20888" y="22879"/>
                  </a:lnTo>
                  <a:cubicBezTo>
                    <a:pt x="20805" y="22633"/>
                    <a:pt x="20715" y="22386"/>
                    <a:pt x="20699" y="22125"/>
                  </a:cubicBezTo>
                  <a:cubicBezTo>
                    <a:pt x="20679" y="21926"/>
                    <a:pt x="20581" y="21747"/>
                    <a:pt x="20548" y="21550"/>
                  </a:cubicBezTo>
                  <a:cubicBezTo>
                    <a:pt x="20518" y="21355"/>
                    <a:pt x="20451" y="21168"/>
                    <a:pt x="20394" y="20980"/>
                  </a:cubicBezTo>
                  <a:cubicBezTo>
                    <a:pt x="20471" y="20995"/>
                    <a:pt x="20551" y="21003"/>
                    <a:pt x="20627" y="21030"/>
                  </a:cubicBezTo>
                  <a:cubicBezTo>
                    <a:pt x="20688" y="21211"/>
                    <a:pt x="20701" y="21404"/>
                    <a:pt x="20669" y="21592"/>
                  </a:cubicBezTo>
                  <a:cubicBezTo>
                    <a:pt x="20744" y="21586"/>
                    <a:pt x="20819" y="21587"/>
                    <a:pt x="20894" y="21591"/>
                  </a:cubicBezTo>
                  <a:cubicBezTo>
                    <a:pt x="21028" y="21414"/>
                    <a:pt x="21196" y="21268"/>
                    <a:pt x="21403" y="21181"/>
                  </a:cubicBezTo>
                  <a:cubicBezTo>
                    <a:pt x="21550" y="21127"/>
                    <a:pt x="21583" y="20965"/>
                    <a:pt x="21621" y="20832"/>
                  </a:cubicBezTo>
                  <a:cubicBezTo>
                    <a:pt x="21413" y="20776"/>
                    <a:pt x="21273" y="20941"/>
                    <a:pt x="21143" y="21076"/>
                  </a:cubicBezTo>
                  <a:lnTo>
                    <a:pt x="20946" y="20919"/>
                  </a:lnTo>
                  <a:cubicBezTo>
                    <a:pt x="20960" y="20973"/>
                    <a:pt x="20974" y="21027"/>
                    <a:pt x="20989" y="21081"/>
                  </a:cubicBezTo>
                  <a:cubicBezTo>
                    <a:pt x="20944" y="21044"/>
                    <a:pt x="20901" y="21007"/>
                    <a:pt x="20858" y="20970"/>
                  </a:cubicBezTo>
                  <a:cubicBezTo>
                    <a:pt x="20949" y="20900"/>
                    <a:pt x="21039" y="20828"/>
                    <a:pt x="21127" y="20753"/>
                  </a:cubicBezTo>
                  <a:cubicBezTo>
                    <a:pt x="21038" y="20724"/>
                    <a:pt x="20948" y="20696"/>
                    <a:pt x="20856" y="20675"/>
                  </a:cubicBezTo>
                  <a:cubicBezTo>
                    <a:pt x="20968" y="20631"/>
                    <a:pt x="21078" y="20583"/>
                    <a:pt x="21189" y="20535"/>
                  </a:cubicBezTo>
                  <a:cubicBezTo>
                    <a:pt x="21097" y="20521"/>
                    <a:pt x="21004" y="20510"/>
                    <a:pt x="20911" y="20497"/>
                  </a:cubicBezTo>
                  <a:cubicBezTo>
                    <a:pt x="21037" y="20457"/>
                    <a:pt x="21169" y="20450"/>
                    <a:pt x="21300" y="20462"/>
                  </a:cubicBezTo>
                  <a:lnTo>
                    <a:pt x="21517" y="20165"/>
                  </a:lnTo>
                  <a:cubicBezTo>
                    <a:pt x="21445" y="20467"/>
                    <a:pt x="21784" y="20415"/>
                    <a:pt x="21846" y="20242"/>
                  </a:cubicBezTo>
                  <a:cubicBezTo>
                    <a:pt x="21933" y="20043"/>
                    <a:pt x="21916" y="19812"/>
                    <a:pt x="21891" y="19600"/>
                  </a:cubicBezTo>
                  <a:cubicBezTo>
                    <a:pt x="21873" y="19506"/>
                    <a:pt x="21796" y="19342"/>
                    <a:pt x="21677" y="19409"/>
                  </a:cubicBezTo>
                  <a:cubicBezTo>
                    <a:pt x="21389" y="19547"/>
                    <a:pt x="21116" y="19742"/>
                    <a:pt x="20780" y="19727"/>
                  </a:cubicBezTo>
                  <a:lnTo>
                    <a:pt x="20961" y="19649"/>
                  </a:lnTo>
                  <a:cubicBezTo>
                    <a:pt x="20853" y="19530"/>
                    <a:pt x="20739" y="19418"/>
                    <a:pt x="20627" y="19304"/>
                  </a:cubicBezTo>
                  <a:cubicBezTo>
                    <a:pt x="20654" y="19289"/>
                    <a:pt x="20709" y="19261"/>
                    <a:pt x="20736" y="19246"/>
                  </a:cubicBezTo>
                  <a:cubicBezTo>
                    <a:pt x="20657" y="19235"/>
                    <a:pt x="20578" y="19216"/>
                    <a:pt x="20498" y="19225"/>
                  </a:cubicBezTo>
                  <a:cubicBezTo>
                    <a:pt x="20417" y="19326"/>
                    <a:pt x="20367" y="19445"/>
                    <a:pt x="20304" y="19557"/>
                  </a:cubicBezTo>
                  <a:cubicBezTo>
                    <a:pt x="20253" y="19458"/>
                    <a:pt x="20189" y="19363"/>
                    <a:pt x="20161" y="19256"/>
                  </a:cubicBezTo>
                  <a:cubicBezTo>
                    <a:pt x="20165" y="19173"/>
                    <a:pt x="20200" y="19096"/>
                    <a:pt x="20221" y="19016"/>
                  </a:cubicBezTo>
                  <a:cubicBezTo>
                    <a:pt x="20264" y="19078"/>
                    <a:pt x="20306" y="19140"/>
                    <a:pt x="20350" y="19201"/>
                  </a:cubicBezTo>
                  <a:cubicBezTo>
                    <a:pt x="20537" y="19009"/>
                    <a:pt x="20508" y="18729"/>
                    <a:pt x="20529" y="18483"/>
                  </a:cubicBezTo>
                  <a:cubicBezTo>
                    <a:pt x="20708" y="18565"/>
                    <a:pt x="20845" y="18740"/>
                    <a:pt x="21064" y="18717"/>
                  </a:cubicBezTo>
                  <a:cubicBezTo>
                    <a:pt x="21061" y="18660"/>
                    <a:pt x="21059" y="18603"/>
                    <a:pt x="21054" y="18547"/>
                  </a:cubicBezTo>
                  <a:lnTo>
                    <a:pt x="20878" y="18513"/>
                  </a:lnTo>
                  <a:cubicBezTo>
                    <a:pt x="21000" y="18496"/>
                    <a:pt x="21126" y="18504"/>
                    <a:pt x="21247" y="18475"/>
                  </a:cubicBezTo>
                  <a:cubicBezTo>
                    <a:pt x="21322" y="18326"/>
                    <a:pt x="21236" y="18198"/>
                    <a:pt x="21116" y="18113"/>
                  </a:cubicBezTo>
                  <a:cubicBezTo>
                    <a:pt x="21140" y="18102"/>
                    <a:pt x="21189" y="18080"/>
                    <a:pt x="21213" y="18068"/>
                  </a:cubicBezTo>
                  <a:lnTo>
                    <a:pt x="21043" y="18015"/>
                  </a:lnTo>
                  <a:cubicBezTo>
                    <a:pt x="21272" y="17994"/>
                    <a:pt x="21418" y="17779"/>
                    <a:pt x="21398" y="17562"/>
                  </a:cubicBezTo>
                  <a:cubicBezTo>
                    <a:pt x="21432" y="17275"/>
                    <a:pt x="21496" y="16985"/>
                    <a:pt x="21363" y="16710"/>
                  </a:cubicBezTo>
                  <a:lnTo>
                    <a:pt x="21205" y="16736"/>
                  </a:lnTo>
                  <a:cubicBezTo>
                    <a:pt x="21187" y="16831"/>
                    <a:pt x="21171" y="16927"/>
                    <a:pt x="21150" y="17021"/>
                  </a:cubicBezTo>
                  <a:lnTo>
                    <a:pt x="20898" y="16973"/>
                  </a:lnTo>
                  <a:cubicBezTo>
                    <a:pt x="20722" y="17190"/>
                    <a:pt x="20540" y="17408"/>
                    <a:pt x="20305" y="17565"/>
                  </a:cubicBezTo>
                  <a:cubicBezTo>
                    <a:pt x="20572" y="17315"/>
                    <a:pt x="20736" y="16984"/>
                    <a:pt x="20984" y="16718"/>
                  </a:cubicBezTo>
                  <a:cubicBezTo>
                    <a:pt x="20772" y="16686"/>
                    <a:pt x="20582" y="16582"/>
                    <a:pt x="20425" y="16439"/>
                  </a:cubicBezTo>
                  <a:cubicBezTo>
                    <a:pt x="20550" y="16479"/>
                    <a:pt x="20666" y="16542"/>
                    <a:pt x="20784" y="16601"/>
                  </a:cubicBezTo>
                  <a:cubicBezTo>
                    <a:pt x="20830" y="16592"/>
                    <a:pt x="20876" y="16582"/>
                    <a:pt x="20923" y="16572"/>
                  </a:cubicBezTo>
                  <a:cubicBezTo>
                    <a:pt x="20923" y="16381"/>
                    <a:pt x="20917" y="16189"/>
                    <a:pt x="20890" y="15999"/>
                  </a:cubicBezTo>
                  <a:cubicBezTo>
                    <a:pt x="21031" y="16005"/>
                    <a:pt x="21171" y="15973"/>
                    <a:pt x="21293" y="15901"/>
                  </a:cubicBezTo>
                  <a:cubicBezTo>
                    <a:pt x="21334" y="15938"/>
                    <a:pt x="21374" y="15974"/>
                    <a:pt x="21416" y="16010"/>
                  </a:cubicBezTo>
                  <a:cubicBezTo>
                    <a:pt x="21418" y="15847"/>
                    <a:pt x="21627" y="15715"/>
                    <a:pt x="21544" y="15550"/>
                  </a:cubicBezTo>
                  <a:cubicBezTo>
                    <a:pt x="21501" y="15453"/>
                    <a:pt x="21418" y="15329"/>
                    <a:pt x="21295" y="15353"/>
                  </a:cubicBezTo>
                  <a:cubicBezTo>
                    <a:pt x="21146" y="15368"/>
                    <a:pt x="21091" y="15522"/>
                    <a:pt x="21029" y="15634"/>
                  </a:cubicBezTo>
                  <a:lnTo>
                    <a:pt x="20827" y="15680"/>
                  </a:lnTo>
                  <a:cubicBezTo>
                    <a:pt x="20985" y="15577"/>
                    <a:pt x="21071" y="15408"/>
                    <a:pt x="21156" y="15245"/>
                  </a:cubicBezTo>
                  <a:cubicBezTo>
                    <a:pt x="20947" y="15215"/>
                    <a:pt x="20697" y="15044"/>
                    <a:pt x="20516" y="15213"/>
                  </a:cubicBezTo>
                  <a:cubicBezTo>
                    <a:pt x="20425" y="15279"/>
                    <a:pt x="20415" y="15398"/>
                    <a:pt x="20394" y="15498"/>
                  </a:cubicBezTo>
                  <a:cubicBezTo>
                    <a:pt x="20341" y="15344"/>
                    <a:pt x="20287" y="15189"/>
                    <a:pt x="20235" y="15033"/>
                  </a:cubicBezTo>
                  <a:cubicBezTo>
                    <a:pt x="20552" y="15085"/>
                    <a:pt x="20836" y="14931"/>
                    <a:pt x="21110" y="14792"/>
                  </a:cubicBezTo>
                  <a:cubicBezTo>
                    <a:pt x="20973" y="14634"/>
                    <a:pt x="20998" y="14429"/>
                    <a:pt x="21021" y="14237"/>
                  </a:cubicBezTo>
                  <a:cubicBezTo>
                    <a:pt x="20884" y="14229"/>
                    <a:pt x="20746" y="14246"/>
                    <a:pt x="20612" y="14225"/>
                  </a:cubicBezTo>
                  <a:cubicBezTo>
                    <a:pt x="20485" y="14149"/>
                    <a:pt x="20416" y="13973"/>
                    <a:pt x="20261" y="13946"/>
                  </a:cubicBezTo>
                  <a:cubicBezTo>
                    <a:pt x="19996" y="14011"/>
                    <a:pt x="19777" y="14208"/>
                    <a:pt x="19600" y="14405"/>
                  </a:cubicBezTo>
                  <a:cubicBezTo>
                    <a:pt x="19531" y="14482"/>
                    <a:pt x="19596" y="14578"/>
                    <a:pt x="19624" y="14657"/>
                  </a:cubicBezTo>
                  <a:cubicBezTo>
                    <a:pt x="19581" y="14693"/>
                    <a:pt x="19538" y="14729"/>
                    <a:pt x="19497" y="14765"/>
                  </a:cubicBezTo>
                  <a:cubicBezTo>
                    <a:pt x="19445" y="14638"/>
                    <a:pt x="19400" y="14507"/>
                    <a:pt x="19385" y="14370"/>
                  </a:cubicBezTo>
                  <a:cubicBezTo>
                    <a:pt x="19342" y="14378"/>
                    <a:pt x="19299" y="14385"/>
                    <a:pt x="19257" y="14392"/>
                  </a:cubicBezTo>
                  <a:cubicBezTo>
                    <a:pt x="19261" y="14366"/>
                    <a:pt x="19266" y="14339"/>
                    <a:pt x="19272" y="14312"/>
                  </a:cubicBezTo>
                  <a:cubicBezTo>
                    <a:pt x="19063" y="14231"/>
                    <a:pt x="18954" y="14030"/>
                    <a:pt x="18785" y="13904"/>
                  </a:cubicBezTo>
                  <a:cubicBezTo>
                    <a:pt x="18578" y="14007"/>
                    <a:pt x="18402" y="14163"/>
                    <a:pt x="18206" y="14284"/>
                  </a:cubicBezTo>
                  <a:cubicBezTo>
                    <a:pt x="18288" y="14099"/>
                    <a:pt x="18467" y="14001"/>
                    <a:pt x="18652" y="13940"/>
                  </a:cubicBezTo>
                  <a:cubicBezTo>
                    <a:pt x="18511" y="13794"/>
                    <a:pt x="18310" y="13786"/>
                    <a:pt x="18119" y="13799"/>
                  </a:cubicBezTo>
                  <a:cubicBezTo>
                    <a:pt x="18158" y="13743"/>
                    <a:pt x="18195" y="13685"/>
                    <a:pt x="18230" y="13626"/>
                  </a:cubicBezTo>
                  <a:cubicBezTo>
                    <a:pt x="18250" y="13671"/>
                    <a:pt x="18270" y="13715"/>
                    <a:pt x="18291" y="13760"/>
                  </a:cubicBezTo>
                  <a:cubicBezTo>
                    <a:pt x="18409" y="13746"/>
                    <a:pt x="18525" y="13769"/>
                    <a:pt x="18630" y="13824"/>
                  </a:cubicBezTo>
                  <a:cubicBezTo>
                    <a:pt x="18726" y="13880"/>
                    <a:pt x="18826" y="13812"/>
                    <a:pt x="18913" y="13772"/>
                  </a:cubicBezTo>
                  <a:cubicBezTo>
                    <a:pt x="18942" y="13936"/>
                    <a:pt x="19048" y="14069"/>
                    <a:pt x="19143" y="14200"/>
                  </a:cubicBezTo>
                  <a:cubicBezTo>
                    <a:pt x="19415" y="14183"/>
                    <a:pt x="19695" y="14105"/>
                    <a:pt x="19900" y="13918"/>
                  </a:cubicBezTo>
                  <a:cubicBezTo>
                    <a:pt x="19775" y="13918"/>
                    <a:pt x="19660" y="13913"/>
                    <a:pt x="19537" y="13914"/>
                  </a:cubicBezTo>
                  <a:lnTo>
                    <a:pt x="19992" y="13814"/>
                  </a:lnTo>
                  <a:cubicBezTo>
                    <a:pt x="19983" y="13764"/>
                    <a:pt x="19975" y="13714"/>
                    <a:pt x="19966" y="13664"/>
                  </a:cubicBezTo>
                  <a:cubicBezTo>
                    <a:pt x="20110" y="13609"/>
                    <a:pt x="20258" y="13553"/>
                    <a:pt x="20400" y="13488"/>
                  </a:cubicBezTo>
                  <a:cubicBezTo>
                    <a:pt x="20383" y="13373"/>
                    <a:pt x="20392" y="13257"/>
                    <a:pt x="20415" y="13143"/>
                  </a:cubicBezTo>
                  <a:cubicBezTo>
                    <a:pt x="20254" y="13172"/>
                    <a:pt x="20114" y="13244"/>
                    <a:pt x="19995" y="13352"/>
                  </a:cubicBezTo>
                  <a:cubicBezTo>
                    <a:pt x="19781" y="13455"/>
                    <a:pt x="19537" y="13443"/>
                    <a:pt x="19306" y="13465"/>
                  </a:cubicBezTo>
                  <a:cubicBezTo>
                    <a:pt x="19376" y="13516"/>
                    <a:pt x="19435" y="13569"/>
                    <a:pt x="19513" y="13611"/>
                  </a:cubicBezTo>
                  <a:cubicBezTo>
                    <a:pt x="19338" y="13647"/>
                    <a:pt x="19164" y="13694"/>
                    <a:pt x="18992" y="13743"/>
                  </a:cubicBezTo>
                  <a:cubicBezTo>
                    <a:pt x="19074" y="13706"/>
                    <a:pt x="19201" y="13670"/>
                    <a:pt x="19156" y="13559"/>
                  </a:cubicBezTo>
                  <a:cubicBezTo>
                    <a:pt x="19071" y="13435"/>
                    <a:pt x="18913" y="13390"/>
                    <a:pt x="18783" y="13325"/>
                  </a:cubicBezTo>
                  <a:cubicBezTo>
                    <a:pt x="18658" y="13261"/>
                    <a:pt x="18538" y="13373"/>
                    <a:pt x="18425" y="13414"/>
                  </a:cubicBezTo>
                  <a:cubicBezTo>
                    <a:pt x="18478" y="13369"/>
                    <a:pt x="18532" y="13324"/>
                    <a:pt x="18586" y="13279"/>
                  </a:cubicBezTo>
                  <a:cubicBezTo>
                    <a:pt x="18555" y="13254"/>
                    <a:pt x="18525" y="13228"/>
                    <a:pt x="18495" y="13202"/>
                  </a:cubicBezTo>
                  <a:lnTo>
                    <a:pt x="18621" y="13210"/>
                  </a:lnTo>
                  <a:cubicBezTo>
                    <a:pt x="18627" y="13177"/>
                    <a:pt x="18632" y="13143"/>
                    <a:pt x="18638" y="13109"/>
                  </a:cubicBezTo>
                  <a:cubicBezTo>
                    <a:pt x="18743" y="13196"/>
                    <a:pt x="18852" y="13279"/>
                    <a:pt x="18978" y="13333"/>
                  </a:cubicBezTo>
                  <a:cubicBezTo>
                    <a:pt x="19157" y="13288"/>
                    <a:pt x="19351" y="13165"/>
                    <a:pt x="19337" y="12951"/>
                  </a:cubicBezTo>
                  <a:cubicBezTo>
                    <a:pt x="19206" y="12822"/>
                    <a:pt x="19000" y="12844"/>
                    <a:pt x="18835" y="12789"/>
                  </a:cubicBezTo>
                  <a:cubicBezTo>
                    <a:pt x="19014" y="12775"/>
                    <a:pt x="19194" y="12774"/>
                    <a:pt x="19372" y="12751"/>
                  </a:cubicBezTo>
                  <a:cubicBezTo>
                    <a:pt x="19660" y="12571"/>
                    <a:pt x="19897" y="12325"/>
                    <a:pt x="20172" y="12126"/>
                  </a:cubicBezTo>
                  <a:cubicBezTo>
                    <a:pt x="20084" y="12013"/>
                    <a:pt x="20000" y="11897"/>
                    <a:pt x="19927" y="11774"/>
                  </a:cubicBezTo>
                  <a:cubicBezTo>
                    <a:pt x="20028" y="11834"/>
                    <a:pt x="20128" y="11896"/>
                    <a:pt x="20225" y="11961"/>
                  </a:cubicBezTo>
                  <a:cubicBezTo>
                    <a:pt x="20189" y="11883"/>
                    <a:pt x="20153" y="11805"/>
                    <a:pt x="20119" y="11726"/>
                  </a:cubicBezTo>
                  <a:cubicBezTo>
                    <a:pt x="20183" y="11782"/>
                    <a:pt x="20243" y="11843"/>
                    <a:pt x="20301" y="11905"/>
                  </a:cubicBezTo>
                  <a:cubicBezTo>
                    <a:pt x="20338" y="11898"/>
                    <a:pt x="20375" y="11890"/>
                    <a:pt x="20413" y="11881"/>
                  </a:cubicBezTo>
                  <a:cubicBezTo>
                    <a:pt x="20295" y="11751"/>
                    <a:pt x="20142" y="11620"/>
                    <a:pt x="20166" y="11425"/>
                  </a:cubicBezTo>
                  <a:cubicBezTo>
                    <a:pt x="20247" y="11490"/>
                    <a:pt x="20320" y="11569"/>
                    <a:pt x="20417" y="11611"/>
                  </a:cubicBezTo>
                  <a:cubicBezTo>
                    <a:pt x="20554" y="11482"/>
                    <a:pt x="20494" y="11280"/>
                    <a:pt x="20495" y="11115"/>
                  </a:cubicBezTo>
                  <a:cubicBezTo>
                    <a:pt x="20533" y="10859"/>
                    <a:pt x="20555" y="10599"/>
                    <a:pt x="20565" y="10341"/>
                  </a:cubicBezTo>
                  <a:cubicBezTo>
                    <a:pt x="20478" y="10243"/>
                    <a:pt x="20335" y="10333"/>
                    <a:pt x="20226" y="10333"/>
                  </a:cubicBezTo>
                  <a:cubicBezTo>
                    <a:pt x="20212" y="10497"/>
                    <a:pt x="20200" y="10660"/>
                    <a:pt x="20185" y="10823"/>
                  </a:cubicBezTo>
                  <a:cubicBezTo>
                    <a:pt x="20143" y="10661"/>
                    <a:pt x="20138" y="10492"/>
                    <a:pt x="20116" y="10327"/>
                  </a:cubicBezTo>
                  <a:cubicBezTo>
                    <a:pt x="20090" y="10234"/>
                    <a:pt x="19967" y="10265"/>
                    <a:pt x="19902" y="10294"/>
                  </a:cubicBezTo>
                  <a:cubicBezTo>
                    <a:pt x="19768" y="10371"/>
                    <a:pt x="19595" y="10452"/>
                    <a:pt x="19566" y="10622"/>
                  </a:cubicBezTo>
                  <a:cubicBezTo>
                    <a:pt x="19529" y="10880"/>
                    <a:pt x="19455" y="11130"/>
                    <a:pt x="19316" y="11352"/>
                  </a:cubicBezTo>
                  <a:cubicBezTo>
                    <a:pt x="19130" y="11392"/>
                    <a:pt x="19018" y="11560"/>
                    <a:pt x="18859" y="11649"/>
                  </a:cubicBezTo>
                  <a:cubicBezTo>
                    <a:pt x="18718" y="11724"/>
                    <a:pt x="18550" y="11701"/>
                    <a:pt x="18399" y="11729"/>
                  </a:cubicBezTo>
                  <a:cubicBezTo>
                    <a:pt x="18271" y="11861"/>
                    <a:pt x="18198" y="12036"/>
                    <a:pt x="18072" y="12169"/>
                  </a:cubicBezTo>
                  <a:cubicBezTo>
                    <a:pt x="17977" y="12252"/>
                    <a:pt x="17846" y="12271"/>
                    <a:pt x="17730" y="12307"/>
                  </a:cubicBezTo>
                  <a:cubicBezTo>
                    <a:pt x="17894" y="12135"/>
                    <a:pt x="18093" y="12004"/>
                    <a:pt x="18272" y="11848"/>
                  </a:cubicBezTo>
                  <a:lnTo>
                    <a:pt x="18074" y="11757"/>
                  </a:lnTo>
                  <a:cubicBezTo>
                    <a:pt x="18279" y="11679"/>
                    <a:pt x="18485" y="11583"/>
                    <a:pt x="18711" y="11595"/>
                  </a:cubicBezTo>
                  <a:cubicBezTo>
                    <a:pt x="18850" y="11604"/>
                    <a:pt x="18996" y="11504"/>
                    <a:pt x="19014" y="11362"/>
                  </a:cubicBezTo>
                  <a:cubicBezTo>
                    <a:pt x="18979" y="11189"/>
                    <a:pt x="18802" y="11101"/>
                    <a:pt x="18671" y="11005"/>
                  </a:cubicBezTo>
                  <a:cubicBezTo>
                    <a:pt x="18536" y="10906"/>
                    <a:pt x="18364" y="10900"/>
                    <a:pt x="18203" y="10906"/>
                  </a:cubicBezTo>
                  <a:cubicBezTo>
                    <a:pt x="18143" y="11002"/>
                    <a:pt x="18082" y="11096"/>
                    <a:pt x="18015" y="11186"/>
                  </a:cubicBezTo>
                  <a:cubicBezTo>
                    <a:pt x="18045" y="11094"/>
                    <a:pt x="18079" y="11003"/>
                    <a:pt x="18113" y="10912"/>
                  </a:cubicBezTo>
                  <a:lnTo>
                    <a:pt x="17919" y="10968"/>
                  </a:lnTo>
                  <a:cubicBezTo>
                    <a:pt x="17964" y="10854"/>
                    <a:pt x="18020" y="10722"/>
                    <a:pt x="17947" y="10606"/>
                  </a:cubicBezTo>
                  <a:cubicBezTo>
                    <a:pt x="17869" y="10421"/>
                    <a:pt x="17654" y="10390"/>
                    <a:pt x="17488" y="10320"/>
                  </a:cubicBezTo>
                  <a:cubicBezTo>
                    <a:pt x="17490" y="10296"/>
                    <a:pt x="17493" y="10273"/>
                    <a:pt x="17496" y="10249"/>
                  </a:cubicBezTo>
                  <a:cubicBezTo>
                    <a:pt x="17615" y="10314"/>
                    <a:pt x="17753" y="10365"/>
                    <a:pt x="17885" y="10302"/>
                  </a:cubicBezTo>
                  <a:cubicBezTo>
                    <a:pt x="18141" y="10156"/>
                    <a:pt x="18484" y="10503"/>
                    <a:pt x="18670" y="10206"/>
                  </a:cubicBezTo>
                  <a:cubicBezTo>
                    <a:pt x="18521" y="10160"/>
                    <a:pt x="18362" y="10130"/>
                    <a:pt x="18235" y="10034"/>
                  </a:cubicBezTo>
                  <a:cubicBezTo>
                    <a:pt x="18091" y="9920"/>
                    <a:pt x="17901" y="9928"/>
                    <a:pt x="17733" y="9877"/>
                  </a:cubicBezTo>
                  <a:cubicBezTo>
                    <a:pt x="17904" y="9853"/>
                    <a:pt x="18078" y="9829"/>
                    <a:pt x="18240" y="9763"/>
                  </a:cubicBezTo>
                  <a:cubicBezTo>
                    <a:pt x="18281" y="9855"/>
                    <a:pt x="18297" y="9967"/>
                    <a:pt x="18374" y="10035"/>
                  </a:cubicBezTo>
                  <a:cubicBezTo>
                    <a:pt x="18470" y="10072"/>
                    <a:pt x="18577" y="10037"/>
                    <a:pt x="18675" y="10065"/>
                  </a:cubicBezTo>
                  <a:cubicBezTo>
                    <a:pt x="18815" y="10122"/>
                    <a:pt x="18946" y="10200"/>
                    <a:pt x="19078" y="10274"/>
                  </a:cubicBezTo>
                  <a:cubicBezTo>
                    <a:pt x="19072" y="10240"/>
                    <a:pt x="19067" y="10204"/>
                    <a:pt x="19063" y="10168"/>
                  </a:cubicBezTo>
                  <a:cubicBezTo>
                    <a:pt x="19316" y="10172"/>
                    <a:pt x="19508" y="9978"/>
                    <a:pt x="19747" y="9928"/>
                  </a:cubicBezTo>
                  <a:cubicBezTo>
                    <a:pt x="19955" y="9870"/>
                    <a:pt x="20173" y="9900"/>
                    <a:pt x="20381" y="9940"/>
                  </a:cubicBezTo>
                  <a:cubicBezTo>
                    <a:pt x="20303" y="9762"/>
                    <a:pt x="20120" y="9702"/>
                    <a:pt x="19944" y="9671"/>
                  </a:cubicBezTo>
                  <a:cubicBezTo>
                    <a:pt x="20012" y="9524"/>
                    <a:pt x="19886" y="9359"/>
                    <a:pt x="19724" y="9403"/>
                  </a:cubicBezTo>
                  <a:cubicBezTo>
                    <a:pt x="19722" y="9359"/>
                    <a:pt x="19717" y="9271"/>
                    <a:pt x="19715" y="9227"/>
                  </a:cubicBezTo>
                  <a:cubicBezTo>
                    <a:pt x="19663" y="9237"/>
                    <a:pt x="19612" y="9248"/>
                    <a:pt x="19562" y="9258"/>
                  </a:cubicBezTo>
                  <a:cubicBezTo>
                    <a:pt x="19481" y="9142"/>
                    <a:pt x="19384" y="9037"/>
                    <a:pt x="19299" y="8924"/>
                  </a:cubicBezTo>
                  <a:cubicBezTo>
                    <a:pt x="19219" y="8931"/>
                    <a:pt x="19140" y="8935"/>
                    <a:pt x="19061" y="8937"/>
                  </a:cubicBezTo>
                  <a:cubicBezTo>
                    <a:pt x="19104" y="8903"/>
                    <a:pt x="19148" y="8867"/>
                    <a:pt x="19192" y="8831"/>
                  </a:cubicBezTo>
                  <a:cubicBezTo>
                    <a:pt x="19140" y="8778"/>
                    <a:pt x="19089" y="8723"/>
                    <a:pt x="19041" y="8667"/>
                  </a:cubicBezTo>
                  <a:lnTo>
                    <a:pt x="18952" y="8688"/>
                  </a:lnTo>
                  <a:cubicBezTo>
                    <a:pt x="18937" y="8452"/>
                    <a:pt x="18709" y="8330"/>
                    <a:pt x="18511" y="8262"/>
                  </a:cubicBezTo>
                  <a:cubicBezTo>
                    <a:pt x="18351" y="8206"/>
                    <a:pt x="18193" y="8139"/>
                    <a:pt x="18043" y="8058"/>
                  </a:cubicBezTo>
                  <a:cubicBezTo>
                    <a:pt x="18027" y="8089"/>
                    <a:pt x="18012" y="8119"/>
                    <a:pt x="17997" y="8149"/>
                  </a:cubicBezTo>
                  <a:cubicBezTo>
                    <a:pt x="17816" y="7983"/>
                    <a:pt x="17577" y="7910"/>
                    <a:pt x="17375" y="7778"/>
                  </a:cubicBezTo>
                  <a:lnTo>
                    <a:pt x="17195" y="7981"/>
                  </a:lnTo>
                  <a:cubicBezTo>
                    <a:pt x="17185" y="7946"/>
                    <a:pt x="17175" y="7910"/>
                    <a:pt x="17165" y="7874"/>
                  </a:cubicBezTo>
                  <a:cubicBezTo>
                    <a:pt x="17212" y="7823"/>
                    <a:pt x="17259" y="7771"/>
                    <a:pt x="17306" y="7719"/>
                  </a:cubicBezTo>
                  <a:cubicBezTo>
                    <a:pt x="17242" y="7744"/>
                    <a:pt x="17180" y="7771"/>
                    <a:pt x="17118" y="7798"/>
                  </a:cubicBezTo>
                  <a:cubicBezTo>
                    <a:pt x="17140" y="7754"/>
                    <a:pt x="17163" y="7709"/>
                    <a:pt x="17186" y="7664"/>
                  </a:cubicBezTo>
                  <a:cubicBezTo>
                    <a:pt x="17090" y="7717"/>
                    <a:pt x="16989" y="7731"/>
                    <a:pt x="16917" y="7645"/>
                  </a:cubicBezTo>
                  <a:cubicBezTo>
                    <a:pt x="16734" y="7578"/>
                    <a:pt x="16530" y="7622"/>
                    <a:pt x="16392" y="7760"/>
                  </a:cubicBezTo>
                  <a:cubicBezTo>
                    <a:pt x="16415" y="7763"/>
                    <a:pt x="16462" y="7770"/>
                    <a:pt x="16485" y="7774"/>
                  </a:cubicBezTo>
                  <a:cubicBezTo>
                    <a:pt x="16345" y="7902"/>
                    <a:pt x="16245" y="8063"/>
                    <a:pt x="16159" y="8231"/>
                  </a:cubicBezTo>
                  <a:cubicBezTo>
                    <a:pt x="16123" y="7976"/>
                    <a:pt x="16391" y="7801"/>
                    <a:pt x="16348" y="7547"/>
                  </a:cubicBezTo>
                  <a:cubicBezTo>
                    <a:pt x="16339" y="7401"/>
                    <a:pt x="16174" y="7366"/>
                    <a:pt x="16080" y="7287"/>
                  </a:cubicBezTo>
                  <a:cubicBezTo>
                    <a:pt x="15887" y="7174"/>
                    <a:pt x="15790" y="6945"/>
                    <a:pt x="15790" y="6727"/>
                  </a:cubicBezTo>
                  <a:cubicBezTo>
                    <a:pt x="15791" y="6582"/>
                    <a:pt x="15626" y="6512"/>
                    <a:pt x="15599" y="6376"/>
                  </a:cubicBezTo>
                  <a:cubicBezTo>
                    <a:pt x="15574" y="6266"/>
                    <a:pt x="15530" y="6163"/>
                    <a:pt x="15485" y="6060"/>
                  </a:cubicBezTo>
                  <a:cubicBezTo>
                    <a:pt x="15458" y="6092"/>
                    <a:pt x="15432" y="6124"/>
                    <a:pt x="15407" y="6156"/>
                  </a:cubicBezTo>
                  <a:cubicBezTo>
                    <a:pt x="15380" y="6005"/>
                    <a:pt x="15310" y="5864"/>
                    <a:pt x="15199" y="5758"/>
                  </a:cubicBezTo>
                  <a:cubicBezTo>
                    <a:pt x="15160" y="5801"/>
                    <a:pt x="15123" y="5844"/>
                    <a:pt x="15085" y="5886"/>
                  </a:cubicBezTo>
                  <a:cubicBezTo>
                    <a:pt x="15098" y="5827"/>
                    <a:pt x="15112" y="5769"/>
                    <a:pt x="15127" y="5710"/>
                  </a:cubicBezTo>
                  <a:lnTo>
                    <a:pt x="14956" y="5782"/>
                  </a:lnTo>
                  <a:cubicBezTo>
                    <a:pt x="14961" y="5751"/>
                    <a:pt x="14967" y="5720"/>
                    <a:pt x="14973" y="5689"/>
                  </a:cubicBezTo>
                  <a:cubicBezTo>
                    <a:pt x="14861" y="5596"/>
                    <a:pt x="14771" y="5481"/>
                    <a:pt x="14672" y="5375"/>
                  </a:cubicBezTo>
                  <a:cubicBezTo>
                    <a:pt x="14645" y="5427"/>
                    <a:pt x="14617" y="5479"/>
                    <a:pt x="14589" y="5531"/>
                  </a:cubicBezTo>
                  <a:cubicBezTo>
                    <a:pt x="14561" y="5455"/>
                    <a:pt x="14534" y="5378"/>
                    <a:pt x="14506" y="5302"/>
                  </a:cubicBezTo>
                  <a:cubicBezTo>
                    <a:pt x="14483" y="5331"/>
                    <a:pt x="14460" y="5359"/>
                    <a:pt x="14438" y="5387"/>
                  </a:cubicBezTo>
                  <a:cubicBezTo>
                    <a:pt x="14421" y="5315"/>
                    <a:pt x="14404" y="5243"/>
                    <a:pt x="14384" y="5172"/>
                  </a:cubicBezTo>
                  <a:cubicBezTo>
                    <a:pt x="14367" y="5286"/>
                    <a:pt x="14347" y="5399"/>
                    <a:pt x="14329" y="5512"/>
                  </a:cubicBezTo>
                  <a:cubicBezTo>
                    <a:pt x="14318" y="5302"/>
                    <a:pt x="14211" y="5076"/>
                    <a:pt x="13983" y="5036"/>
                  </a:cubicBezTo>
                  <a:cubicBezTo>
                    <a:pt x="13960" y="5328"/>
                    <a:pt x="14085" y="5603"/>
                    <a:pt x="14292" y="5803"/>
                  </a:cubicBezTo>
                  <a:cubicBezTo>
                    <a:pt x="14160" y="5815"/>
                    <a:pt x="14030" y="5834"/>
                    <a:pt x="13900" y="5856"/>
                  </a:cubicBezTo>
                  <a:cubicBezTo>
                    <a:pt x="13949" y="5821"/>
                    <a:pt x="13999" y="5788"/>
                    <a:pt x="14051" y="5757"/>
                  </a:cubicBezTo>
                  <a:cubicBezTo>
                    <a:pt x="13998" y="5618"/>
                    <a:pt x="13962" y="5474"/>
                    <a:pt x="13925" y="5330"/>
                  </a:cubicBezTo>
                  <a:cubicBezTo>
                    <a:pt x="13870" y="5389"/>
                    <a:pt x="13814" y="5448"/>
                    <a:pt x="13759" y="5506"/>
                  </a:cubicBezTo>
                  <a:cubicBezTo>
                    <a:pt x="13809" y="5405"/>
                    <a:pt x="13875" y="5308"/>
                    <a:pt x="13903" y="5196"/>
                  </a:cubicBezTo>
                  <a:cubicBezTo>
                    <a:pt x="13829" y="5100"/>
                    <a:pt x="13706" y="5067"/>
                    <a:pt x="13603" y="5015"/>
                  </a:cubicBezTo>
                  <a:lnTo>
                    <a:pt x="13462" y="5188"/>
                  </a:lnTo>
                  <a:cubicBezTo>
                    <a:pt x="13461" y="5141"/>
                    <a:pt x="13461" y="5095"/>
                    <a:pt x="13461" y="5048"/>
                  </a:cubicBezTo>
                  <a:cubicBezTo>
                    <a:pt x="13402" y="5073"/>
                    <a:pt x="13343" y="5100"/>
                    <a:pt x="13285" y="5127"/>
                  </a:cubicBezTo>
                  <a:cubicBezTo>
                    <a:pt x="13267" y="5084"/>
                    <a:pt x="13249" y="5040"/>
                    <a:pt x="13231" y="4996"/>
                  </a:cubicBezTo>
                  <a:cubicBezTo>
                    <a:pt x="13192" y="5008"/>
                    <a:pt x="13152" y="5018"/>
                    <a:pt x="13113" y="5028"/>
                  </a:cubicBezTo>
                  <a:cubicBezTo>
                    <a:pt x="13158" y="4898"/>
                    <a:pt x="13307" y="4728"/>
                    <a:pt x="13137" y="4620"/>
                  </a:cubicBezTo>
                  <a:cubicBezTo>
                    <a:pt x="13059" y="4429"/>
                    <a:pt x="12888" y="4644"/>
                    <a:pt x="12763" y="4559"/>
                  </a:cubicBezTo>
                  <a:cubicBezTo>
                    <a:pt x="12721" y="4492"/>
                    <a:pt x="12748" y="4410"/>
                    <a:pt x="12758" y="4337"/>
                  </a:cubicBezTo>
                  <a:cubicBezTo>
                    <a:pt x="12799" y="4377"/>
                    <a:pt x="12840" y="4416"/>
                    <a:pt x="12881" y="4455"/>
                  </a:cubicBezTo>
                  <a:cubicBezTo>
                    <a:pt x="12947" y="4309"/>
                    <a:pt x="13050" y="4155"/>
                    <a:pt x="13027" y="3988"/>
                  </a:cubicBezTo>
                  <a:cubicBezTo>
                    <a:pt x="12940" y="3927"/>
                    <a:pt x="12828" y="3920"/>
                    <a:pt x="12728" y="3894"/>
                  </a:cubicBezTo>
                  <a:cubicBezTo>
                    <a:pt x="12715" y="3856"/>
                    <a:pt x="12702" y="3818"/>
                    <a:pt x="12690" y="3780"/>
                  </a:cubicBezTo>
                  <a:cubicBezTo>
                    <a:pt x="12638" y="3830"/>
                    <a:pt x="12585" y="3879"/>
                    <a:pt x="12530" y="3925"/>
                  </a:cubicBezTo>
                  <a:cubicBezTo>
                    <a:pt x="12569" y="3747"/>
                    <a:pt x="12740" y="3692"/>
                    <a:pt x="12902" y="3708"/>
                  </a:cubicBezTo>
                  <a:cubicBezTo>
                    <a:pt x="12910" y="3582"/>
                    <a:pt x="12918" y="3455"/>
                    <a:pt x="12927" y="3328"/>
                  </a:cubicBezTo>
                  <a:cubicBezTo>
                    <a:pt x="12886" y="3268"/>
                    <a:pt x="12851" y="3203"/>
                    <a:pt x="12821" y="3136"/>
                  </a:cubicBezTo>
                  <a:cubicBezTo>
                    <a:pt x="12757" y="3110"/>
                    <a:pt x="12694" y="3085"/>
                    <a:pt x="12629" y="3062"/>
                  </a:cubicBezTo>
                  <a:cubicBezTo>
                    <a:pt x="12764" y="2849"/>
                    <a:pt x="12539" y="2667"/>
                    <a:pt x="12424" y="2508"/>
                  </a:cubicBezTo>
                  <a:cubicBezTo>
                    <a:pt x="12327" y="2355"/>
                    <a:pt x="12134" y="2439"/>
                    <a:pt x="11988" y="2407"/>
                  </a:cubicBezTo>
                  <a:cubicBezTo>
                    <a:pt x="12091" y="2353"/>
                    <a:pt x="12196" y="2304"/>
                    <a:pt x="12301" y="2253"/>
                  </a:cubicBezTo>
                  <a:cubicBezTo>
                    <a:pt x="12273" y="2251"/>
                    <a:pt x="12246" y="2247"/>
                    <a:pt x="12219" y="2244"/>
                  </a:cubicBezTo>
                  <a:cubicBezTo>
                    <a:pt x="12270" y="2076"/>
                    <a:pt x="12175" y="1892"/>
                    <a:pt x="12273" y="1737"/>
                  </a:cubicBezTo>
                  <a:cubicBezTo>
                    <a:pt x="12322" y="1658"/>
                    <a:pt x="12208" y="1619"/>
                    <a:pt x="12165" y="1570"/>
                  </a:cubicBezTo>
                  <a:cubicBezTo>
                    <a:pt x="12191" y="1431"/>
                    <a:pt x="12185" y="1270"/>
                    <a:pt x="12037" y="1202"/>
                  </a:cubicBezTo>
                  <a:cubicBezTo>
                    <a:pt x="12058" y="1183"/>
                    <a:pt x="12078" y="1164"/>
                    <a:pt x="12100" y="1144"/>
                  </a:cubicBezTo>
                  <a:cubicBezTo>
                    <a:pt x="12082" y="1138"/>
                    <a:pt x="12046" y="1128"/>
                    <a:pt x="12029" y="1122"/>
                  </a:cubicBezTo>
                  <a:cubicBezTo>
                    <a:pt x="12036" y="1101"/>
                    <a:pt x="12044" y="1079"/>
                    <a:pt x="12052" y="1057"/>
                  </a:cubicBezTo>
                  <a:cubicBezTo>
                    <a:pt x="12041" y="1060"/>
                    <a:pt x="12019" y="1064"/>
                    <a:pt x="12008" y="1067"/>
                  </a:cubicBezTo>
                  <a:cubicBezTo>
                    <a:pt x="12037" y="974"/>
                    <a:pt x="12065" y="874"/>
                    <a:pt x="12040" y="777"/>
                  </a:cubicBezTo>
                  <a:cubicBezTo>
                    <a:pt x="12019" y="663"/>
                    <a:pt x="11916" y="593"/>
                    <a:pt x="11865" y="494"/>
                  </a:cubicBezTo>
                  <a:cubicBezTo>
                    <a:pt x="11859" y="390"/>
                    <a:pt x="11910" y="290"/>
                    <a:pt x="11899" y="185"/>
                  </a:cubicBezTo>
                  <a:cubicBezTo>
                    <a:pt x="11803" y="108"/>
                    <a:pt x="11688" y="63"/>
                    <a:pt x="11584" y="0"/>
                  </a:cubicBezTo>
                  <a:lnTo>
                    <a:pt x="11544" y="0"/>
                  </a:lnTo>
                  <a:cubicBezTo>
                    <a:pt x="11404" y="81"/>
                    <a:pt x="11256" y="148"/>
                    <a:pt x="11118" y="233"/>
                  </a:cubicBezTo>
                  <a:cubicBezTo>
                    <a:pt x="11014" y="301"/>
                    <a:pt x="11044" y="439"/>
                    <a:pt x="11048" y="543"/>
                  </a:cubicBezTo>
                  <a:cubicBezTo>
                    <a:pt x="10970" y="585"/>
                    <a:pt x="10899" y="638"/>
                    <a:pt x="10832" y="695"/>
                  </a:cubicBezTo>
                  <a:cubicBezTo>
                    <a:pt x="10841" y="717"/>
                    <a:pt x="10857" y="761"/>
                    <a:pt x="10865" y="782"/>
                  </a:cubicBezTo>
                  <a:lnTo>
                    <a:pt x="10535" y="717"/>
                  </a:lnTo>
                  <a:cubicBezTo>
                    <a:pt x="10634" y="767"/>
                    <a:pt x="10734" y="811"/>
                    <a:pt x="10839" y="845"/>
                  </a:cubicBezTo>
                  <a:cubicBezTo>
                    <a:pt x="10743" y="904"/>
                    <a:pt x="10647" y="965"/>
                    <a:pt x="10549" y="1019"/>
                  </a:cubicBezTo>
                  <a:cubicBezTo>
                    <a:pt x="10551" y="995"/>
                    <a:pt x="10554" y="970"/>
                    <a:pt x="10557" y="944"/>
                  </a:cubicBezTo>
                  <a:cubicBezTo>
                    <a:pt x="10503" y="903"/>
                    <a:pt x="10462" y="847"/>
                    <a:pt x="10414" y="800"/>
                  </a:cubicBezTo>
                  <a:cubicBezTo>
                    <a:pt x="10382" y="849"/>
                    <a:pt x="10355" y="900"/>
                    <a:pt x="10328" y="951"/>
                  </a:cubicBezTo>
                  <a:cubicBezTo>
                    <a:pt x="10178" y="853"/>
                    <a:pt x="10025" y="723"/>
                    <a:pt x="9830" y="788"/>
                  </a:cubicBezTo>
                  <a:cubicBezTo>
                    <a:pt x="9905" y="855"/>
                    <a:pt x="9981" y="922"/>
                    <a:pt x="10061" y="983"/>
                  </a:cubicBezTo>
                  <a:cubicBezTo>
                    <a:pt x="9860" y="1037"/>
                    <a:pt x="9708" y="1180"/>
                    <a:pt x="9574" y="1331"/>
                  </a:cubicBezTo>
                  <a:cubicBezTo>
                    <a:pt x="9602" y="1335"/>
                    <a:pt x="9630" y="1339"/>
                    <a:pt x="9659" y="1342"/>
                  </a:cubicBezTo>
                  <a:cubicBezTo>
                    <a:pt x="9450" y="1405"/>
                    <a:pt x="9435" y="1630"/>
                    <a:pt x="9397" y="1805"/>
                  </a:cubicBezTo>
                  <a:cubicBezTo>
                    <a:pt x="9360" y="1809"/>
                    <a:pt x="9324" y="1812"/>
                    <a:pt x="9288" y="1815"/>
                  </a:cubicBezTo>
                  <a:cubicBezTo>
                    <a:pt x="9333" y="1856"/>
                    <a:pt x="9379" y="1897"/>
                    <a:pt x="9425" y="1937"/>
                  </a:cubicBezTo>
                  <a:cubicBezTo>
                    <a:pt x="9100" y="1984"/>
                    <a:pt x="8986" y="2350"/>
                    <a:pt x="8991" y="2640"/>
                  </a:cubicBezTo>
                  <a:cubicBezTo>
                    <a:pt x="8912" y="2703"/>
                    <a:pt x="8809" y="2753"/>
                    <a:pt x="8769" y="2852"/>
                  </a:cubicBezTo>
                  <a:cubicBezTo>
                    <a:pt x="8713" y="3036"/>
                    <a:pt x="8616" y="3201"/>
                    <a:pt x="8508" y="3358"/>
                  </a:cubicBezTo>
                  <a:cubicBezTo>
                    <a:pt x="8559" y="3365"/>
                    <a:pt x="8610" y="3370"/>
                    <a:pt x="8662" y="3376"/>
                  </a:cubicBezTo>
                  <a:cubicBezTo>
                    <a:pt x="8605" y="3451"/>
                    <a:pt x="8548" y="3525"/>
                    <a:pt x="8490" y="3597"/>
                  </a:cubicBezTo>
                  <a:lnTo>
                    <a:pt x="8644" y="3641"/>
                  </a:lnTo>
                  <a:lnTo>
                    <a:pt x="8478" y="3741"/>
                  </a:lnTo>
                  <a:cubicBezTo>
                    <a:pt x="8548" y="3782"/>
                    <a:pt x="8618" y="3824"/>
                    <a:pt x="8686" y="3867"/>
                  </a:cubicBezTo>
                  <a:cubicBezTo>
                    <a:pt x="8688" y="3844"/>
                    <a:pt x="8691" y="3798"/>
                    <a:pt x="8692" y="3775"/>
                  </a:cubicBezTo>
                  <a:cubicBezTo>
                    <a:pt x="8784" y="3890"/>
                    <a:pt x="8949" y="4019"/>
                    <a:pt x="8831" y="4173"/>
                  </a:cubicBezTo>
                  <a:lnTo>
                    <a:pt x="8952" y="4230"/>
                  </a:lnTo>
                  <a:cubicBezTo>
                    <a:pt x="9052" y="4097"/>
                    <a:pt x="9163" y="3970"/>
                    <a:pt x="9300" y="3872"/>
                  </a:cubicBezTo>
                  <a:cubicBezTo>
                    <a:pt x="9188" y="4003"/>
                    <a:pt x="9103" y="4155"/>
                    <a:pt x="9087" y="4329"/>
                  </a:cubicBezTo>
                  <a:cubicBezTo>
                    <a:pt x="8938" y="4323"/>
                    <a:pt x="8810" y="4254"/>
                    <a:pt x="8701" y="4156"/>
                  </a:cubicBezTo>
                  <a:cubicBezTo>
                    <a:pt x="8697" y="4214"/>
                    <a:pt x="8693" y="4272"/>
                    <a:pt x="8689" y="4329"/>
                  </a:cubicBezTo>
                  <a:cubicBezTo>
                    <a:pt x="8577" y="4109"/>
                    <a:pt x="8486" y="3874"/>
                    <a:pt x="8326" y="3682"/>
                  </a:cubicBezTo>
                  <a:cubicBezTo>
                    <a:pt x="8307" y="3892"/>
                    <a:pt x="8293" y="4107"/>
                    <a:pt x="8360" y="4310"/>
                  </a:cubicBezTo>
                  <a:cubicBezTo>
                    <a:pt x="8232" y="4455"/>
                    <a:pt x="8281" y="4663"/>
                    <a:pt x="8265" y="4839"/>
                  </a:cubicBezTo>
                  <a:cubicBezTo>
                    <a:pt x="8225" y="4788"/>
                    <a:pt x="8187" y="4736"/>
                    <a:pt x="8149" y="4683"/>
                  </a:cubicBezTo>
                  <a:cubicBezTo>
                    <a:pt x="8170" y="4862"/>
                    <a:pt x="8079" y="5018"/>
                    <a:pt x="8023" y="5179"/>
                  </a:cubicBezTo>
                  <a:cubicBezTo>
                    <a:pt x="7974" y="5124"/>
                    <a:pt x="7925" y="5069"/>
                    <a:pt x="7873" y="5017"/>
                  </a:cubicBezTo>
                  <a:cubicBezTo>
                    <a:pt x="7875" y="5125"/>
                    <a:pt x="7891" y="5234"/>
                    <a:pt x="7879" y="5342"/>
                  </a:cubicBezTo>
                  <a:cubicBezTo>
                    <a:pt x="7855" y="5421"/>
                    <a:pt x="7774" y="5461"/>
                    <a:pt x="7718" y="5514"/>
                  </a:cubicBezTo>
                  <a:cubicBezTo>
                    <a:pt x="7703" y="5626"/>
                    <a:pt x="7685" y="5738"/>
                    <a:pt x="7689" y="5851"/>
                  </a:cubicBezTo>
                  <a:cubicBezTo>
                    <a:pt x="7700" y="5998"/>
                    <a:pt x="7803" y="6113"/>
                    <a:pt x="7894" y="6220"/>
                  </a:cubicBezTo>
                  <a:cubicBezTo>
                    <a:pt x="7867" y="6224"/>
                    <a:pt x="7841" y="6226"/>
                    <a:pt x="7815" y="6229"/>
                  </a:cubicBezTo>
                  <a:cubicBezTo>
                    <a:pt x="7787" y="6348"/>
                    <a:pt x="7683" y="6414"/>
                    <a:pt x="7611" y="6502"/>
                  </a:cubicBezTo>
                  <a:cubicBezTo>
                    <a:pt x="7570" y="6644"/>
                    <a:pt x="7643" y="6790"/>
                    <a:pt x="7649" y="6932"/>
                  </a:cubicBezTo>
                  <a:cubicBezTo>
                    <a:pt x="7671" y="7056"/>
                    <a:pt x="7644" y="7185"/>
                    <a:pt x="7674" y="7308"/>
                  </a:cubicBezTo>
                  <a:cubicBezTo>
                    <a:pt x="7737" y="7390"/>
                    <a:pt x="7869" y="7424"/>
                    <a:pt x="7881" y="7541"/>
                  </a:cubicBezTo>
                  <a:cubicBezTo>
                    <a:pt x="7898" y="7622"/>
                    <a:pt x="7832" y="7685"/>
                    <a:pt x="7795" y="7749"/>
                  </a:cubicBezTo>
                  <a:cubicBezTo>
                    <a:pt x="7883" y="7732"/>
                    <a:pt x="7970" y="7713"/>
                    <a:pt x="8059" y="7694"/>
                  </a:cubicBezTo>
                  <a:cubicBezTo>
                    <a:pt x="8029" y="7747"/>
                    <a:pt x="8000" y="7799"/>
                    <a:pt x="7970" y="7850"/>
                  </a:cubicBezTo>
                  <a:lnTo>
                    <a:pt x="7721" y="7851"/>
                  </a:lnTo>
                  <a:cubicBezTo>
                    <a:pt x="7790" y="7876"/>
                    <a:pt x="7860" y="7899"/>
                    <a:pt x="7931" y="7920"/>
                  </a:cubicBezTo>
                  <a:cubicBezTo>
                    <a:pt x="7905" y="7947"/>
                    <a:pt x="7879" y="7974"/>
                    <a:pt x="7853" y="8000"/>
                  </a:cubicBezTo>
                  <a:cubicBezTo>
                    <a:pt x="7886" y="8055"/>
                    <a:pt x="7918" y="8109"/>
                    <a:pt x="7950" y="8163"/>
                  </a:cubicBezTo>
                  <a:cubicBezTo>
                    <a:pt x="7965" y="8102"/>
                    <a:pt x="7983" y="8041"/>
                    <a:pt x="8002" y="7981"/>
                  </a:cubicBezTo>
                  <a:cubicBezTo>
                    <a:pt x="8044" y="8068"/>
                    <a:pt x="8105" y="8145"/>
                    <a:pt x="8152" y="8229"/>
                  </a:cubicBezTo>
                  <a:cubicBezTo>
                    <a:pt x="8069" y="8217"/>
                    <a:pt x="7986" y="8204"/>
                    <a:pt x="7903" y="8189"/>
                  </a:cubicBezTo>
                  <a:cubicBezTo>
                    <a:pt x="7922" y="8239"/>
                    <a:pt x="7942" y="8288"/>
                    <a:pt x="7962" y="8337"/>
                  </a:cubicBezTo>
                  <a:cubicBezTo>
                    <a:pt x="8159" y="8383"/>
                    <a:pt x="8340" y="8275"/>
                    <a:pt x="8440" y="8114"/>
                  </a:cubicBezTo>
                  <a:cubicBezTo>
                    <a:pt x="8547" y="8135"/>
                    <a:pt x="8690" y="8144"/>
                    <a:pt x="8717" y="8275"/>
                  </a:cubicBezTo>
                  <a:cubicBezTo>
                    <a:pt x="8732" y="8299"/>
                    <a:pt x="8747" y="8323"/>
                    <a:pt x="8763" y="8346"/>
                  </a:cubicBezTo>
                  <a:lnTo>
                    <a:pt x="8628" y="8342"/>
                  </a:lnTo>
                  <a:cubicBezTo>
                    <a:pt x="8651" y="8487"/>
                    <a:pt x="8677" y="8632"/>
                    <a:pt x="8699" y="8778"/>
                  </a:cubicBezTo>
                  <a:cubicBezTo>
                    <a:pt x="8851" y="8697"/>
                    <a:pt x="8996" y="8777"/>
                    <a:pt x="9126" y="8863"/>
                  </a:cubicBezTo>
                  <a:cubicBezTo>
                    <a:pt x="9079" y="8870"/>
                    <a:pt x="9033" y="8875"/>
                    <a:pt x="8987" y="8881"/>
                  </a:cubicBezTo>
                  <a:cubicBezTo>
                    <a:pt x="8980" y="8914"/>
                    <a:pt x="8974" y="8946"/>
                    <a:pt x="8969" y="8979"/>
                  </a:cubicBezTo>
                  <a:cubicBezTo>
                    <a:pt x="8896" y="8896"/>
                    <a:pt x="8801" y="8829"/>
                    <a:pt x="8685" y="8844"/>
                  </a:cubicBezTo>
                  <a:cubicBezTo>
                    <a:pt x="8764" y="9001"/>
                    <a:pt x="8825" y="9168"/>
                    <a:pt x="8828" y="9345"/>
                  </a:cubicBezTo>
                  <a:cubicBezTo>
                    <a:pt x="8823" y="9465"/>
                    <a:pt x="8950" y="9509"/>
                    <a:pt x="9032" y="9566"/>
                  </a:cubicBezTo>
                  <a:cubicBezTo>
                    <a:pt x="8991" y="9627"/>
                    <a:pt x="8958" y="9697"/>
                    <a:pt x="8900" y="9742"/>
                  </a:cubicBezTo>
                  <a:cubicBezTo>
                    <a:pt x="8715" y="9777"/>
                    <a:pt x="8518" y="9736"/>
                    <a:pt x="8339" y="9809"/>
                  </a:cubicBezTo>
                  <a:cubicBezTo>
                    <a:pt x="8157" y="9871"/>
                    <a:pt x="8073" y="10065"/>
                    <a:pt x="7904" y="10146"/>
                  </a:cubicBezTo>
                  <a:cubicBezTo>
                    <a:pt x="7783" y="10210"/>
                    <a:pt x="7640" y="10229"/>
                    <a:pt x="7523" y="10300"/>
                  </a:cubicBezTo>
                  <a:cubicBezTo>
                    <a:pt x="7424" y="10393"/>
                    <a:pt x="7364" y="10517"/>
                    <a:pt x="7290" y="10629"/>
                  </a:cubicBezTo>
                  <a:cubicBezTo>
                    <a:pt x="7451" y="10842"/>
                    <a:pt x="7722" y="10735"/>
                    <a:pt x="7938" y="10703"/>
                  </a:cubicBezTo>
                  <a:cubicBezTo>
                    <a:pt x="8077" y="10682"/>
                    <a:pt x="8174" y="10574"/>
                    <a:pt x="8280" y="10492"/>
                  </a:cubicBezTo>
                  <a:cubicBezTo>
                    <a:pt x="8471" y="10331"/>
                    <a:pt x="8697" y="10196"/>
                    <a:pt x="8951" y="10174"/>
                  </a:cubicBezTo>
                  <a:cubicBezTo>
                    <a:pt x="8826" y="10263"/>
                    <a:pt x="8701" y="10354"/>
                    <a:pt x="8596" y="10467"/>
                  </a:cubicBezTo>
                  <a:lnTo>
                    <a:pt x="8764" y="10421"/>
                  </a:lnTo>
                  <a:cubicBezTo>
                    <a:pt x="8789" y="10480"/>
                    <a:pt x="8818" y="10538"/>
                    <a:pt x="8849" y="10594"/>
                  </a:cubicBezTo>
                  <a:lnTo>
                    <a:pt x="8527" y="10626"/>
                  </a:lnTo>
                  <a:cubicBezTo>
                    <a:pt x="8556" y="10667"/>
                    <a:pt x="8583" y="10709"/>
                    <a:pt x="8617" y="10746"/>
                  </a:cubicBezTo>
                  <a:cubicBezTo>
                    <a:pt x="8710" y="10732"/>
                    <a:pt x="8795" y="10691"/>
                    <a:pt x="8884" y="10660"/>
                  </a:cubicBezTo>
                  <a:cubicBezTo>
                    <a:pt x="8737" y="10835"/>
                    <a:pt x="8510" y="10904"/>
                    <a:pt x="8341" y="11051"/>
                  </a:cubicBezTo>
                  <a:cubicBezTo>
                    <a:pt x="8483" y="11016"/>
                    <a:pt x="8625" y="10965"/>
                    <a:pt x="8772" y="10953"/>
                  </a:cubicBezTo>
                  <a:cubicBezTo>
                    <a:pt x="8617" y="11067"/>
                    <a:pt x="8435" y="11146"/>
                    <a:pt x="8239" y="11126"/>
                  </a:cubicBezTo>
                  <a:cubicBezTo>
                    <a:pt x="8262" y="11165"/>
                    <a:pt x="8286" y="11204"/>
                    <a:pt x="8309" y="11243"/>
                  </a:cubicBezTo>
                  <a:cubicBezTo>
                    <a:pt x="8250" y="11222"/>
                    <a:pt x="8191" y="11200"/>
                    <a:pt x="8133" y="11178"/>
                  </a:cubicBezTo>
                  <a:cubicBezTo>
                    <a:pt x="8140" y="11214"/>
                    <a:pt x="8148" y="11249"/>
                    <a:pt x="8156" y="11284"/>
                  </a:cubicBezTo>
                  <a:cubicBezTo>
                    <a:pt x="8071" y="11243"/>
                    <a:pt x="7978" y="11210"/>
                    <a:pt x="7895" y="11170"/>
                  </a:cubicBezTo>
                  <a:cubicBezTo>
                    <a:pt x="7909" y="11288"/>
                    <a:pt x="7888" y="11419"/>
                    <a:pt x="7961" y="11520"/>
                  </a:cubicBezTo>
                  <a:cubicBezTo>
                    <a:pt x="8107" y="11706"/>
                    <a:pt x="8407" y="11683"/>
                    <a:pt x="8514" y="11910"/>
                  </a:cubicBezTo>
                  <a:cubicBezTo>
                    <a:pt x="8432" y="11865"/>
                    <a:pt x="8360" y="11794"/>
                    <a:pt x="8267" y="11775"/>
                  </a:cubicBezTo>
                  <a:cubicBezTo>
                    <a:pt x="8126" y="11785"/>
                    <a:pt x="7992" y="11848"/>
                    <a:pt x="7855" y="11878"/>
                  </a:cubicBezTo>
                  <a:cubicBezTo>
                    <a:pt x="7908" y="11972"/>
                    <a:pt x="7960" y="12066"/>
                    <a:pt x="8008" y="12162"/>
                  </a:cubicBezTo>
                  <a:lnTo>
                    <a:pt x="7821" y="11988"/>
                  </a:lnTo>
                  <a:cubicBezTo>
                    <a:pt x="7813" y="12038"/>
                    <a:pt x="7806" y="12088"/>
                    <a:pt x="7799" y="12138"/>
                  </a:cubicBezTo>
                  <a:cubicBezTo>
                    <a:pt x="7748" y="12030"/>
                    <a:pt x="7703" y="11918"/>
                    <a:pt x="7630" y="11823"/>
                  </a:cubicBezTo>
                  <a:cubicBezTo>
                    <a:pt x="7586" y="11829"/>
                    <a:pt x="7543" y="11843"/>
                    <a:pt x="7501" y="11853"/>
                  </a:cubicBezTo>
                  <a:cubicBezTo>
                    <a:pt x="7534" y="11747"/>
                    <a:pt x="7565" y="11642"/>
                    <a:pt x="7597" y="11535"/>
                  </a:cubicBezTo>
                  <a:cubicBezTo>
                    <a:pt x="7401" y="11434"/>
                    <a:pt x="7186" y="11461"/>
                    <a:pt x="6978" y="11496"/>
                  </a:cubicBezTo>
                  <a:cubicBezTo>
                    <a:pt x="6922" y="11626"/>
                    <a:pt x="6865" y="11755"/>
                    <a:pt x="6796" y="11878"/>
                  </a:cubicBezTo>
                  <a:cubicBezTo>
                    <a:pt x="6864" y="11932"/>
                    <a:pt x="6934" y="11985"/>
                    <a:pt x="7003" y="12039"/>
                  </a:cubicBezTo>
                  <a:cubicBezTo>
                    <a:pt x="6950" y="12044"/>
                    <a:pt x="6897" y="12050"/>
                    <a:pt x="6844" y="12056"/>
                  </a:cubicBezTo>
                  <a:cubicBezTo>
                    <a:pt x="6838" y="12088"/>
                    <a:pt x="6832" y="12121"/>
                    <a:pt x="6827" y="12153"/>
                  </a:cubicBezTo>
                  <a:cubicBezTo>
                    <a:pt x="6956" y="12138"/>
                    <a:pt x="7086" y="12127"/>
                    <a:pt x="7216" y="12130"/>
                  </a:cubicBezTo>
                  <a:lnTo>
                    <a:pt x="6875" y="12243"/>
                  </a:lnTo>
                  <a:cubicBezTo>
                    <a:pt x="7007" y="12403"/>
                    <a:pt x="7125" y="12575"/>
                    <a:pt x="7202" y="12768"/>
                  </a:cubicBezTo>
                  <a:cubicBezTo>
                    <a:pt x="7112" y="12636"/>
                    <a:pt x="7010" y="12499"/>
                    <a:pt x="6844" y="12463"/>
                  </a:cubicBezTo>
                  <a:cubicBezTo>
                    <a:pt x="6911" y="12550"/>
                    <a:pt x="6985" y="12632"/>
                    <a:pt x="7059" y="12713"/>
                  </a:cubicBezTo>
                  <a:lnTo>
                    <a:pt x="6872" y="12838"/>
                  </a:lnTo>
                  <a:cubicBezTo>
                    <a:pt x="6959" y="13025"/>
                    <a:pt x="7237" y="13009"/>
                    <a:pt x="7266" y="13231"/>
                  </a:cubicBezTo>
                  <a:cubicBezTo>
                    <a:pt x="7201" y="13181"/>
                    <a:pt x="7138" y="13130"/>
                    <a:pt x="7074" y="13078"/>
                  </a:cubicBezTo>
                  <a:cubicBezTo>
                    <a:pt x="7081" y="13118"/>
                    <a:pt x="7088" y="13156"/>
                    <a:pt x="7096" y="13195"/>
                  </a:cubicBezTo>
                  <a:cubicBezTo>
                    <a:pt x="7029" y="13129"/>
                    <a:pt x="6958" y="13064"/>
                    <a:pt x="6875" y="13018"/>
                  </a:cubicBezTo>
                  <a:cubicBezTo>
                    <a:pt x="6864" y="13071"/>
                    <a:pt x="6854" y="13122"/>
                    <a:pt x="6845" y="13174"/>
                  </a:cubicBezTo>
                  <a:cubicBezTo>
                    <a:pt x="6938" y="13274"/>
                    <a:pt x="7060" y="13422"/>
                    <a:pt x="7194" y="13287"/>
                  </a:cubicBezTo>
                  <a:cubicBezTo>
                    <a:pt x="7334" y="13402"/>
                    <a:pt x="7251" y="13571"/>
                    <a:pt x="7119" y="13647"/>
                  </a:cubicBezTo>
                  <a:cubicBezTo>
                    <a:pt x="7097" y="13588"/>
                    <a:pt x="7076" y="13528"/>
                    <a:pt x="7054" y="13469"/>
                  </a:cubicBezTo>
                  <a:cubicBezTo>
                    <a:pt x="6980" y="13535"/>
                    <a:pt x="6848" y="13590"/>
                    <a:pt x="6866" y="13710"/>
                  </a:cubicBezTo>
                  <a:cubicBezTo>
                    <a:pt x="6908" y="13791"/>
                    <a:pt x="6992" y="13837"/>
                    <a:pt x="7065" y="13888"/>
                  </a:cubicBezTo>
                  <a:cubicBezTo>
                    <a:pt x="7002" y="13958"/>
                    <a:pt x="6965" y="14044"/>
                    <a:pt x="6926" y="14129"/>
                  </a:cubicBezTo>
                  <a:cubicBezTo>
                    <a:pt x="6879" y="14225"/>
                    <a:pt x="6774" y="14269"/>
                    <a:pt x="6687" y="14320"/>
                  </a:cubicBezTo>
                  <a:cubicBezTo>
                    <a:pt x="6703" y="14342"/>
                    <a:pt x="6719" y="14363"/>
                    <a:pt x="6736" y="14384"/>
                  </a:cubicBezTo>
                  <a:cubicBezTo>
                    <a:pt x="6806" y="14342"/>
                    <a:pt x="6877" y="14300"/>
                    <a:pt x="6949" y="14259"/>
                  </a:cubicBezTo>
                  <a:cubicBezTo>
                    <a:pt x="6884" y="14347"/>
                    <a:pt x="6813" y="14431"/>
                    <a:pt x="6740" y="14512"/>
                  </a:cubicBezTo>
                  <a:cubicBezTo>
                    <a:pt x="6759" y="14591"/>
                    <a:pt x="6779" y="14670"/>
                    <a:pt x="6795" y="14749"/>
                  </a:cubicBezTo>
                  <a:cubicBezTo>
                    <a:pt x="6726" y="14708"/>
                    <a:pt x="6658" y="14665"/>
                    <a:pt x="6590" y="14621"/>
                  </a:cubicBezTo>
                  <a:cubicBezTo>
                    <a:pt x="6590" y="14663"/>
                    <a:pt x="6591" y="14705"/>
                    <a:pt x="6591" y="14746"/>
                  </a:cubicBezTo>
                  <a:lnTo>
                    <a:pt x="6401" y="14685"/>
                  </a:lnTo>
                  <a:cubicBezTo>
                    <a:pt x="6434" y="14745"/>
                    <a:pt x="6465" y="14806"/>
                    <a:pt x="6496" y="14866"/>
                  </a:cubicBezTo>
                  <a:lnTo>
                    <a:pt x="6902" y="14776"/>
                  </a:lnTo>
                  <a:cubicBezTo>
                    <a:pt x="6809" y="14854"/>
                    <a:pt x="6704" y="14930"/>
                    <a:pt x="6657" y="15046"/>
                  </a:cubicBezTo>
                  <a:cubicBezTo>
                    <a:pt x="6599" y="15146"/>
                    <a:pt x="6652" y="15260"/>
                    <a:pt x="6675" y="15362"/>
                  </a:cubicBezTo>
                  <a:cubicBezTo>
                    <a:pt x="6535" y="15261"/>
                    <a:pt x="6379" y="15184"/>
                    <a:pt x="6207" y="15159"/>
                  </a:cubicBezTo>
                  <a:cubicBezTo>
                    <a:pt x="6349" y="15253"/>
                    <a:pt x="6497" y="15338"/>
                    <a:pt x="6626" y="15449"/>
                  </a:cubicBezTo>
                  <a:lnTo>
                    <a:pt x="6460" y="15505"/>
                  </a:lnTo>
                  <a:cubicBezTo>
                    <a:pt x="6547" y="15531"/>
                    <a:pt x="6639" y="15554"/>
                    <a:pt x="6728" y="15579"/>
                  </a:cubicBezTo>
                  <a:lnTo>
                    <a:pt x="6425" y="15636"/>
                  </a:lnTo>
                  <a:lnTo>
                    <a:pt x="6586" y="15704"/>
                  </a:lnTo>
                  <a:cubicBezTo>
                    <a:pt x="6434" y="15712"/>
                    <a:pt x="6282" y="15711"/>
                    <a:pt x="6130" y="15718"/>
                  </a:cubicBezTo>
                  <a:cubicBezTo>
                    <a:pt x="6303" y="15818"/>
                    <a:pt x="6504" y="15853"/>
                    <a:pt x="6662" y="15712"/>
                  </a:cubicBezTo>
                  <a:cubicBezTo>
                    <a:pt x="6574" y="15861"/>
                    <a:pt x="6467" y="16002"/>
                    <a:pt x="6308" y="16082"/>
                  </a:cubicBezTo>
                  <a:cubicBezTo>
                    <a:pt x="6337" y="16142"/>
                    <a:pt x="6375" y="16199"/>
                    <a:pt x="6391" y="16264"/>
                  </a:cubicBezTo>
                  <a:cubicBezTo>
                    <a:pt x="6274" y="16434"/>
                    <a:pt x="6059" y="16496"/>
                    <a:pt x="5887" y="16596"/>
                  </a:cubicBezTo>
                  <a:cubicBezTo>
                    <a:pt x="5907" y="16647"/>
                    <a:pt x="5927" y="16697"/>
                    <a:pt x="5948" y="16747"/>
                  </a:cubicBezTo>
                  <a:cubicBezTo>
                    <a:pt x="5870" y="16850"/>
                    <a:pt x="5804" y="16963"/>
                    <a:pt x="5764" y="17086"/>
                  </a:cubicBezTo>
                  <a:cubicBezTo>
                    <a:pt x="5734" y="17076"/>
                    <a:pt x="5703" y="17067"/>
                    <a:pt x="5674" y="17057"/>
                  </a:cubicBezTo>
                  <a:cubicBezTo>
                    <a:pt x="5732" y="17142"/>
                    <a:pt x="5879" y="17209"/>
                    <a:pt x="5837" y="17329"/>
                  </a:cubicBezTo>
                  <a:cubicBezTo>
                    <a:pt x="5810" y="17433"/>
                    <a:pt x="5772" y="17534"/>
                    <a:pt x="5741" y="17637"/>
                  </a:cubicBezTo>
                  <a:cubicBezTo>
                    <a:pt x="5665" y="17652"/>
                    <a:pt x="5582" y="17649"/>
                    <a:pt x="5511" y="17684"/>
                  </a:cubicBezTo>
                  <a:cubicBezTo>
                    <a:pt x="5465" y="17744"/>
                    <a:pt x="5461" y="17824"/>
                    <a:pt x="5442" y="17894"/>
                  </a:cubicBezTo>
                  <a:lnTo>
                    <a:pt x="5286" y="17875"/>
                  </a:lnTo>
                  <a:cubicBezTo>
                    <a:pt x="5171" y="18005"/>
                    <a:pt x="5067" y="18148"/>
                    <a:pt x="4920" y="18244"/>
                  </a:cubicBezTo>
                  <a:cubicBezTo>
                    <a:pt x="4755" y="18400"/>
                    <a:pt x="4509" y="18373"/>
                    <a:pt x="4329" y="18501"/>
                  </a:cubicBezTo>
                  <a:cubicBezTo>
                    <a:pt x="4237" y="18579"/>
                    <a:pt x="4121" y="18530"/>
                    <a:pt x="4021" y="18501"/>
                  </a:cubicBezTo>
                  <a:lnTo>
                    <a:pt x="3967" y="18639"/>
                  </a:lnTo>
                  <a:cubicBezTo>
                    <a:pt x="3920" y="18624"/>
                    <a:pt x="3874" y="18608"/>
                    <a:pt x="3827" y="18592"/>
                  </a:cubicBezTo>
                  <a:cubicBezTo>
                    <a:pt x="3845" y="18630"/>
                    <a:pt x="3862" y="18667"/>
                    <a:pt x="3880" y="18705"/>
                  </a:cubicBezTo>
                  <a:cubicBezTo>
                    <a:pt x="3845" y="18710"/>
                    <a:pt x="3811" y="18714"/>
                    <a:pt x="3776" y="18718"/>
                  </a:cubicBezTo>
                  <a:cubicBezTo>
                    <a:pt x="3707" y="18572"/>
                    <a:pt x="3661" y="18394"/>
                    <a:pt x="3499" y="18324"/>
                  </a:cubicBezTo>
                  <a:cubicBezTo>
                    <a:pt x="3469" y="18451"/>
                    <a:pt x="3443" y="18579"/>
                    <a:pt x="3416" y="18706"/>
                  </a:cubicBezTo>
                  <a:cubicBezTo>
                    <a:pt x="3382" y="18627"/>
                    <a:pt x="3336" y="18555"/>
                    <a:pt x="3272" y="18496"/>
                  </a:cubicBezTo>
                  <a:cubicBezTo>
                    <a:pt x="3280" y="18442"/>
                    <a:pt x="3289" y="18388"/>
                    <a:pt x="3299" y="18334"/>
                  </a:cubicBezTo>
                  <a:cubicBezTo>
                    <a:pt x="3252" y="18353"/>
                    <a:pt x="3205" y="18375"/>
                    <a:pt x="3155" y="18386"/>
                  </a:cubicBezTo>
                  <a:cubicBezTo>
                    <a:pt x="3052" y="18338"/>
                    <a:pt x="3001" y="18218"/>
                    <a:pt x="2900" y="18173"/>
                  </a:cubicBezTo>
                  <a:cubicBezTo>
                    <a:pt x="2706" y="18228"/>
                    <a:pt x="2838" y="18426"/>
                    <a:pt x="2885" y="18546"/>
                  </a:cubicBezTo>
                  <a:lnTo>
                    <a:pt x="2665" y="18583"/>
                  </a:lnTo>
                  <a:cubicBezTo>
                    <a:pt x="2629" y="18475"/>
                    <a:pt x="2590" y="18369"/>
                    <a:pt x="2556" y="18260"/>
                  </a:cubicBezTo>
                  <a:cubicBezTo>
                    <a:pt x="2489" y="18366"/>
                    <a:pt x="2429" y="18479"/>
                    <a:pt x="2343" y="18570"/>
                  </a:cubicBezTo>
                  <a:cubicBezTo>
                    <a:pt x="2297" y="18525"/>
                    <a:pt x="2253" y="18473"/>
                    <a:pt x="2233" y="18411"/>
                  </a:cubicBezTo>
                  <a:cubicBezTo>
                    <a:pt x="2281" y="18300"/>
                    <a:pt x="2364" y="18210"/>
                    <a:pt x="2439" y="18116"/>
                  </a:cubicBezTo>
                  <a:cubicBezTo>
                    <a:pt x="2195" y="18183"/>
                    <a:pt x="1862" y="18124"/>
                    <a:pt x="1693" y="18351"/>
                  </a:cubicBezTo>
                  <a:cubicBezTo>
                    <a:pt x="1572" y="18507"/>
                    <a:pt x="1410" y="18622"/>
                    <a:pt x="1279" y="18767"/>
                  </a:cubicBezTo>
                  <a:cubicBezTo>
                    <a:pt x="1461" y="18939"/>
                    <a:pt x="1667" y="19115"/>
                    <a:pt x="1932" y="19120"/>
                  </a:cubicBezTo>
                  <a:cubicBezTo>
                    <a:pt x="1932" y="19178"/>
                    <a:pt x="1935" y="19236"/>
                    <a:pt x="1943" y="19294"/>
                  </a:cubicBezTo>
                  <a:cubicBezTo>
                    <a:pt x="1650" y="19220"/>
                    <a:pt x="1345" y="19264"/>
                    <a:pt x="1090" y="19430"/>
                  </a:cubicBezTo>
                  <a:cubicBezTo>
                    <a:pt x="1133" y="19537"/>
                    <a:pt x="1177" y="19643"/>
                    <a:pt x="1220" y="19750"/>
                  </a:cubicBezTo>
                  <a:cubicBezTo>
                    <a:pt x="1106" y="19674"/>
                    <a:pt x="1038" y="19436"/>
                    <a:pt x="870" y="19481"/>
                  </a:cubicBezTo>
                  <a:cubicBezTo>
                    <a:pt x="768" y="19521"/>
                    <a:pt x="789" y="19633"/>
                    <a:pt x="805" y="19718"/>
                  </a:cubicBezTo>
                  <a:cubicBezTo>
                    <a:pt x="728" y="19753"/>
                    <a:pt x="647" y="19785"/>
                    <a:pt x="580" y="19838"/>
                  </a:cubicBezTo>
                  <a:cubicBezTo>
                    <a:pt x="565" y="19977"/>
                    <a:pt x="685" y="20065"/>
                    <a:pt x="800" y="20110"/>
                  </a:cubicBezTo>
                  <a:cubicBezTo>
                    <a:pt x="790" y="20136"/>
                    <a:pt x="781" y="20161"/>
                    <a:pt x="773" y="20186"/>
                  </a:cubicBezTo>
                  <a:cubicBezTo>
                    <a:pt x="1154" y="20370"/>
                    <a:pt x="1543" y="20096"/>
                    <a:pt x="1933" y="20139"/>
                  </a:cubicBezTo>
                  <a:cubicBezTo>
                    <a:pt x="1783" y="20203"/>
                    <a:pt x="1632" y="20262"/>
                    <a:pt x="1483" y="20328"/>
                  </a:cubicBezTo>
                  <a:cubicBezTo>
                    <a:pt x="1652" y="20421"/>
                    <a:pt x="1827" y="20518"/>
                    <a:pt x="2023" y="20530"/>
                  </a:cubicBezTo>
                  <a:cubicBezTo>
                    <a:pt x="2196" y="20532"/>
                    <a:pt x="2360" y="20471"/>
                    <a:pt x="2520" y="20412"/>
                  </a:cubicBezTo>
                  <a:cubicBezTo>
                    <a:pt x="2511" y="20472"/>
                    <a:pt x="2502" y="20533"/>
                    <a:pt x="2494" y="20593"/>
                  </a:cubicBezTo>
                  <a:cubicBezTo>
                    <a:pt x="2567" y="20609"/>
                    <a:pt x="2641" y="20623"/>
                    <a:pt x="2710" y="20652"/>
                  </a:cubicBezTo>
                  <a:cubicBezTo>
                    <a:pt x="2714" y="20876"/>
                    <a:pt x="2544" y="21041"/>
                    <a:pt x="2344" y="21109"/>
                  </a:cubicBezTo>
                  <a:cubicBezTo>
                    <a:pt x="2288" y="21018"/>
                    <a:pt x="2241" y="20919"/>
                    <a:pt x="2166" y="20842"/>
                  </a:cubicBezTo>
                  <a:cubicBezTo>
                    <a:pt x="2075" y="20754"/>
                    <a:pt x="1931" y="20793"/>
                    <a:pt x="1821" y="20777"/>
                  </a:cubicBezTo>
                  <a:cubicBezTo>
                    <a:pt x="1761" y="20886"/>
                    <a:pt x="1691" y="20989"/>
                    <a:pt x="1616" y="21086"/>
                  </a:cubicBezTo>
                  <a:cubicBezTo>
                    <a:pt x="1628" y="20981"/>
                    <a:pt x="1703" y="20861"/>
                    <a:pt x="1653" y="20759"/>
                  </a:cubicBezTo>
                  <a:cubicBezTo>
                    <a:pt x="1464" y="20575"/>
                    <a:pt x="1220" y="20775"/>
                    <a:pt x="1028" y="20848"/>
                  </a:cubicBezTo>
                  <a:cubicBezTo>
                    <a:pt x="1147" y="20954"/>
                    <a:pt x="1271" y="21056"/>
                    <a:pt x="1386" y="21167"/>
                  </a:cubicBezTo>
                  <a:cubicBezTo>
                    <a:pt x="1204" y="21134"/>
                    <a:pt x="1023" y="21108"/>
                    <a:pt x="841" y="21083"/>
                  </a:cubicBezTo>
                  <a:cubicBezTo>
                    <a:pt x="947" y="21185"/>
                    <a:pt x="1050" y="21289"/>
                    <a:pt x="1162" y="21384"/>
                  </a:cubicBezTo>
                  <a:lnTo>
                    <a:pt x="1040" y="21444"/>
                  </a:lnTo>
                  <a:cubicBezTo>
                    <a:pt x="921" y="21315"/>
                    <a:pt x="762" y="21234"/>
                    <a:pt x="585" y="21228"/>
                  </a:cubicBezTo>
                  <a:cubicBezTo>
                    <a:pt x="599" y="21301"/>
                    <a:pt x="615" y="21373"/>
                    <a:pt x="632" y="21445"/>
                  </a:cubicBezTo>
                  <a:lnTo>
                    <a:pt x="480" y="21424"/>
                  </a:lnTo>
                  <a:cubicBezTo>
                    <a:pt x="485" y="21464"/>
                    <a:pt x="490" y="21503"/>
                    <a:pt x="495" y="21543"/>
                  </a:cubicBezTo>
                  <a:lnTo>
                    <a:pt x="311" y="21495"/>
                  </a:lnTo>
                  <a:cubicBezTo>
                    <a:pt x="216" y="21654"/>
                    <a:pt x="115" y="21809"/>
                    <a:pt x="0" y="21955"/>
                  </a:cubicBezTo>
                  <a:cubicBezTo>
                    <a:pt x="48" y="22182"/>
                    <a:pt x="23" y="22418"/>
                    <a:pt x="92" y="22640"/>
                  </a:cubicBezTo>
                  <a:cubicBezTo>
                    <a:pt x="102" y="22680"/>
                    <a:pt x="137" y="22706"/>
                    <a:pt x="172" y="22725"/>
                  </a:cubicBezTo>
                  <a:cubicBezTo>
                    <a:pt x="425" y="22854"/>
                    <a:pt x="716" y="22910"/>
                    <a:pt x="942" y="23088"/>
                  </a:cubicBezTo>
                  <a:cubicBezTo>
                    <a:pt x="1136" y="23232"/>
                    <a:pt x="1359" y="23326"/>
                    <a:pt x="1579" y="23420"/>
                  </a:cubicBezTo>
                  <a:cubicBezTo>
                    <a:pt x="1546" y="23475"/>
                    <a:pt x="1512" y="23530"/>
                    <a:pt x="1479" y="23585"/>
                  </a:cubicBezTo>
                  <a:cubicBezTo>
                    <a:pt x="1691" y="23768"/>
                    <a:pt x="1960" y="23860"/>
                    <a:pt x="2212" y="23971"/>
                  </a:cubicBezTo>
                  <a:cubicBezTo>
                    <a:pt x="2367" y="24041"/>
                    <a:pt x="2529" y="23950"/>
                    <a:pt x="2687" y="23945"/>
                  </a:cubicBezTo>
                  <a:cubicBezTo>
                    <a:pt x="2881" y="24181"/>
                    <a:pt x="3032" y="24450"/>
                    <a:pt x="3158" y="24727"/>
                  </a:cubicBezTo>
                  <a:cubicBezTo>
                    <a:pt x="3246" y="24911"/>
                    <a:pt x="3148" y="25114"/>
                    <a:pt x="3134" y="25302"/>
                  </a:cubicBezTo>
                  <a:cubicBezTo>
                    <a:pt x="3095" y="25490"/>
                    <a:pt x="3119" y="25683"/>
                    <a:pt x="3132" y="25873"/>
                  </a:cubicBezTo>
                  <a:cubicBezTo>
                    <a:pt x="3315" y="25939"/>
                    <a:pt x="3480" y="26044"/>
                    <a:pt x="3632" y="26164"/>
                  </a:cubicBezTo>
                  <a:lnTo>
                    <a:pt x="3495" y="26266"/>
                  </a:lnTo>
                  <a:cubicBezTo>
                    <a:pt x="3451" y="26189"/>
                    <a:pt x="3415" y="26103"/>
                    <a:pt x="3350" y="26040"/>
                  </a:cubicBezTo>
                  <a:cubicBezTo>
                    <a:pt x="3254" y="25992"/>
                    <a:pt x="3146" y="26036"/>
                    <a:pt x="3050" y="26060"/>
                  </a:cubicBezTo>
                  <a:cubicBezTo>
                    <a:pt x="2968" y="25999"/>
                    <a:pt x="2891" y="25890"/>
                    <a:pt x="2779" y="25900"/>
                  </a:cubicBezTo>
                  <a:cubicBezTo>
                    <a:pt x="2704" y="25960"/>
                    <a:pt x="2655" y="26045"/>
                    <a:pt x="2578" y="26102"/>
                  </a:cubicBezTo>
                  <a:cubicBezTo>
                    <a:pt x="2489" y="26098"/>
                    <a:pt x="2404" y="26069"/>
                    <a:pt x="2318" y="26049"/>
                  </a:cubicBezTo>
                  <a:cubicBezTo>
                    <a:pt x="2233" y="26223"/>
                    <a:pt x="2138" y="26403"/>
                    <a:pt x="2136" y="26602"/>
                  </a:cubicBezTo>
                  <a:cubicBezTo>
                    <a:pt x="2132" y="26738"/>
                    <a:pt x="2264" y="26820"/>
                    <a:pt x="2331" y="26922"/>
                  </a:cubicBezTo>
                  <a:cubicBezTo>
                    <a:pt x="2501" y="27126"/>
                    <a:pt x="2582" y="27443"/>
                    <a:pt x="2876" y="27509"/>
                  </a:cubicBezTo>
                  <a:cubicBezTo>
                    <a:pt x="2851" y="27534"/>
                    <a:pt x="2826" y="27559"/>
                    <a:pt x="2802" y="27584"/>
                  </a:cubicBezTo>
                  <a:cubicBezTo>
                    <a:pt x="2904" y="27647"/>
                    <a:pt x="3016" y="27697"/>
                    <a:pt x="3109" y="27773"/>
                  </a:cubicBezTo>
                  <a:cubicBezTo>
                    <a:pt x="3265" y="27942"/>
                    <a:pt x="3196" y="28256"/>
                    <a:pt x="3426" y="28370"/>
                  </a:cubicBezTo>
                  <a:cubicBezTo>
                    <a:pt x="3617" y="28467"/>
                    <a:pt x="3635" y="28697"/>
                    <a:pt x="3713" y="28874"/>
                  </a:cubicBezTo>
                  <a:cubicBezTo>
                    <a:pt x="4129" y="28809"/>
                    <a:pt x="4371" y="28425"/>
                    <a:pt x="4467" y="28045"/>
                  </a:cubicBezTo>
                  <a:lnTo>
                    <a:pt x="4888" y="28122"/>
                  </a:lnTo>
                  <a:cubicBezTo>
                    <a:pt x="4756" y="28437"/>
                    <a:pt x="4539" y="28715"/>
                    <a:pt x="4435" y="29041"/>
                  </a:cubicBezTo>
                  <a:cubicBezTo>
                    <a:pt x="4362" y="29263"/>
                    <a:pt x="4579" y="29441"/>
                    <a:pt x="4575" y="29655"/>
                  </a:cubicBezTo>
                  <a:cubicBezTo>
                    <a:pt x="4503" y="29901"/>
                    <a:pt x="4339" y="30125"/>
                    <a:pt x="4360" y="30394"/>
                  </a:cubicBezTo>
                  <a:cubicBezTo>
                    <a:pt x="4500" y="30546"/>
                    <a:pt x="4715" y="30587"/>
                    <a:pt x="4902" y="30653"/>
                  </a:cubicBezTo>
                  <a:cubicBezTo>
                    <a:pt x="5032" y="30380"/>
                    <a:pt x="5124" y="30085"/>
                    <a:pt x="5294" y="29834"/>
                  </a:cubicBezTo>
                  <a:cubicBezTo>
                    <a:pt x="5424" y="29666"/>
                    <a:pt x="5621" y="29949"/>
                    <a:pt x="5776" y="29835"/>
                  </a:cubicBezTo>
                  <a:cubicBezTo>
                    <a:pt x="5865" y="29750"/>
                    <a:pt x="5940" y="29652"/>
                    <a:pt x="6023" y="29562"/>
                  </a:cubicBezTo>
                  <a:cubicBezTo>
                    <a:pt x="5926" y="29778"/>
                    <a:pt x="5766" y="29956"/>
                    <a:pt x="5555" y="30066"/>
                  </a:cubicBezTo>
                  <a:cubicBezTo>
                    <a:pt x="5364" y="30158"/>
                    <a:pt x="5283" y="30361"/>
                    <a:pt x="5166" y="30522"/>
                  </a:cubicBezTo>
                  <a:cubicBezTo>
                    <a:pt x="5056" y="30665"/>
                    <a:pt x="4901" y="30768"/>
                    <a:pt x="4803" y="30921"/>
                  </a:cubicBezTo>
                  <a:cubicBezTo>
                    <a:pt x="5229" y="31143"/>
                    <a:pt x="5641" y="31504"/>
                    <a:pt x="6155" y="31447"/>
                  </a:cubicBezTo>
                  <a:cubicBezTo>
                    <a:pt x="6161" y="31481"/>
                    <a:pt x="6167" y="31515"/>
                    <a:pt x="6174" y="31550"/>
                  </a:cubicBezTo>
                  <a:lnTo>
                    <a:pt x="6434" y="31587"/>
                  </a:lnTo>
                  <a:cubicBezTo>
                    <a:pt x="6548" y="31763"/>
                    <a:pt x="6745" y="31833"/>
                    <a:pt x="6925" y="31919"/>
                  </a:cubicBezTo>
                  <a:cubicBezTo>
                    <a:pt x="6937" y="31825"/>
                    <a:pt x="6965" y="31735"/>
                    <a:pt x="6999" y="31648"/>
                  </a:cubicBezTo>
                  <a:cubicBezTo>
                    <a:pt x="7217" y="31143"/>
                    <a:pt x="7194" y="30569"/>
                    <a:pt x="7121" y="30034"/>
                  </a:cubicBezTo>
                  <a:cubicBezTo>
                    <a:pt x="7232" y="30090"/>
                    <a:pt x="7373" y="30150"/>
                    <a:pt x="7389" y="30290"/>
                  </a:cubicBezTo>
                  <a:cubicBezTo>
                    <a:pt x="7408" y="30479"/>
                    <a:pt x="7399" y="30669"/>
                    <a:pt x="7402" y="30858"/>
                  </a:cubicBezTo>
                  <a:cubicBezTo>
                    <a:pt x="7630" y="30828"/>
                    <a:pt x="7867" y="30804"/>
                    <a:pt x="8066" y="30676"/>
                  </a:cubicBezTo>
                  <a:cubicBezTo>
                    <a:pt x="8258" y="30601"/>
                    <a:pt x="8355" y="30411"/>
                    <a:pt x="8482" y="30262"/>
                  </a:cubicBezTo>
                  <a:cubicBezTo>
                    <a:pt x="8410" y="30430"/>
                    <a:pt x="8333" y="30596"/>
                    <a:pt x="8261" y="30764"/>
                  </a:cubicBezTo>
                  <a:cubicBezTo>
                    <a:pt x="8465" y="30688"/>
                    <a:pt x="8676" y="30624"/>
                    <a:pt x="8869" y="30520"/>
                  </a:cubicBezTo>
                  <a:cubicBezTo>
                    <a:pt x="8860" y="30620"/>
                    <a:pt x="8894" y="30738"/>
                    <a:pt x="8818" y="30817"/>
                  </a:cubicBezTo>
                  <a:cubicBezTo>
                    <a:pt x="8613" y="31067"/>
                    <a:pt x="8400" y="31345"/>
                    <a:pt x="8380" y="31681"/>
                  </a:cubicBezTo>
                  <a:cubicBezTo>
                    <a:pt x="8347" y="31928"/>
                    <a:pt x="8279" y="32169"/>
                    <a:pt x="8230" y="32413"/>
                  </a:cubicBezTo>
                  <a:cubicBezTo>
                    <a:pt x="8430" y="32410"/>
                    <a:pt x="8636" y="32432"/>
                    <a:pt x="8834" y="32393"/>
                  </a:cubicBezTo>
                  <a:cubicBezTo>
                    <a:pt x="8981" y="32303"/>
                    <a:pt x="9050" y="32132"/>
                    <a:pt x="9155" y="32001"/>
                  </a:cubicBezTo>
                  <a:cubicBezTo>
                    <a:pt x="9286" y="31774"/>
                    <a:pt x="9592" y="31695"/>
                    <a:pt x="9650" y="31418"/>
                  </a:cubicBezTo>
                  <a:cubicBezTo>
                    <a:pt x="9800" y="31356"/>
                    <a:pt x="9966" y="31316"/>
                    <a:pt x="10097" y="31216"/>
                  </a:cubicBezTo>
                  <a:cubicBezTo>
                    <a:pt x="10255" y="31074"/>
                    <a:pt x="10233" y="30832"/>
                    <a:pt x="10359" y="30669"/>
                  </a:cubicBezTo>
                  <a:cubicBezTo>
                    <a:pt x="10503" y="30482"/>
                    <a:pt x="10639" y="30272"/>
                    <a:pt x="10859" y="30166"/>
                  </a:cubicBezTo>
                  <a:cubicBezTo>
                    <a:pt x="10868" y="30377"/>
                    <a:pt x="10845" y="30587"/>
                    <a:pt x="10837" y="30798"/>
                  </a:cubicBezTo>
                  <a:cubicBezTo>
                    <a:pt x="10571" y="30933"/>
                    <a:pt x="10567" y="31266"/>
                    <a:pt x="10391" y="31475"/>
                  </a:cubicBezTo>
                  <a:cubicBezTo>
                    <a:pt x="10249" y="31648"/>
                    <a:pt x="10057" y="31773"/>
                    <a:pt x="9922" y="31952"/>
                  </a:cubicBezTo>
                  <a:cubicBezTo>
                    <a:pt x="9810" y="32252"/>
                    <a:pt x="9690" y="32548"/>
                    <a:pt x="9571" y="32845"/>
                  </a:cubicBezTo>
                  <a:cubicBezTo>
                    <a:pt x="9710" y="32827"/>
                    <a:pt x="9848" y="32806"/>
                    <a:pt x="9987" y="32781"/>
                  </a:cubicBezTo>
                  <a:cubicBezTo>
                    <a:pt x="9965" y="32832"/>
                    <a:pt x="9943" y="32882"/>
                    <a:pt x="9922" y="32932"/>
                  </a:cubicBezTo>
                  <a:cubicBezTo>
                    <a:pt x="10399" y="32919"/>
                    <a:pt x="10638" y="32443"/>
                    <a:pt x="10793" y="32057"/>
                  </a:cubicBezTo>
                  <a:cubicBezTo>
                    <a:pt x="10870" y="31861"/>
                    <a:pt x="10678" y="31729"/>
                    <a:pt x="10613" y="31568"/>
                  </a:cubicBezTo>
                  <a:cubicBezTo>
                    <a:pt x="10601" y="31404"/>
                    <a:pt x="10708" y="31260"/>
                    <a:pt x="10815" y="31147"/>
                  </a:cubicBezTo>
                  <a:cubicBezTo>
                    <a:pt x="10760" y="31297"/>
                    <a:pt x="10681" y="31452"/>
                    <a:pt x="10720" y="31617"/>
                  </a:cubicBezTo>
                  <a:cubicBezTo>
                    <a:pt x="10750" y="31704"/>
                    <a:pt x="10835" y="31802"/>
                    <a:pt x="10936" y="31771"/>
                  </a:cubicBezTo>
                  <a:cubicBezTo>
                    <a:pt x="11173" y="31706"/>
                    <a:pt x="11398" y="31603"/>
                    <a:pt x="11635" y="31536"/>
                  </a:cubicBezTo>
                  <a:cubicBezTo>
                    <a:pt x="11522" y="31741"/>
                    <a:pt x="11290" y="31718"/>
                    <a:pt x="11111" y="31809"/>
                  </a:cubicBezTo>
                  <a:cubicBezTo>
                    <a:pt x="11024" y="31942"/>
                    <a:pt x="11001" y="32108"/>
                    <a:pt x="10911" y="32241"/>
                  </a:cubicBezTo>
                  <a:cubicBezTo>
                    <a:pt x="10744" y="32594"/>
                    <a:pt x="10442" y="32875"/>
                    <a:pt x="10339" y="33257"/>
                  </a:cubicBezTo>
                  <a:cubicBezTo>
                    <a:pt x="10786" y="33206"/>
                    <a:pt x="11234" y="33220"/>
                    <a:pt x="11683" y="33247"/>
                  </a:cubicBezTo>
                  <a:cubicBezTo>
                    <a:pt x="11771" y="32996"/>
                    <a:pt x="11832" y="32738"/>
                    <a:pt x="11842" y="32472"/>
                  </a:cubicBezTo>
                  <a:cubicBezTo>
                    <a:pt x="11957" y="32702"/>
                    <a:pt x="11861" y="32930"/>
                    <a:pt x="11791" y="33151"/>
                  </a:cubicBezTo>
                  <a:cubicBezTo>
                    <a:pt x="12108" y="33131"/>
                    <a:pt x="12152" y="32771"/>
                    <a:pt x="12360" y="32601"/>
                  </a:cubicBezTo>
                  <a:cubicBezTo>
                    <a:pt x="12541" y="32458"/>
                    <a:pt x="12517" y="32205"/>
                    <a:pt x="12587" y="32006"/>
                  </a:cubicBezTo>
                  <a:cubicBezTo>
                    <a:pt x="12578" y="32290"/>
                    <a:pt x="12530" y="32573"/>
                    <a:pt x="12539" y="32858"/>
                  </a:cubicBezTo>
                  <a:cubicBezTo>
                    <a:pt x="12539" y="32918"/>
                    <a:pt x="12533" y="32990"/>
                    <a:pt x="12473" y="33023"/>
                  </a:cubicBezTo>
                  <a:cubicBezTo>
                    <a:pt x="12216" y="33181"/>
                    <a:pt x="11954" y="33332"/>
                    <a:pt x="11696" y="33488"/>
                  </a:cubicBezTo>
                  <a:cubicBezTo>
                    <a:pt x="11410" y="33541"/>
                    <a:pt x="11126" y="33457"/>
                    <a:pt x="10857" y="33370"/>
                  </a:cubicBezTo>
                  <a:cubicBezTo>
                    <a:pt x="11095" y="33703"/>
                    <a:pt x="10679" y="33967"/>
                    <a:pt x="10470" y="34162"/>
                  </a:cubicBezTo>
                  <a:cubicBezTo>
                    <a:pt x="10535" y="34363"/>
                    <a:pt x="10737" y="34481"/>
                    <a:pt x="10941" y="34482"/>
                  </a:cubicBezTo>
                  <a:cubicBezTo>
                    <a:pt x="11095" y="34454"/>
                    <a:pt x="11228" y="34361"/>
                    <a:pt x="11370" y="34300"/>
                  </a:cubicBezTo>
                  <a:cubicBezTo>
                    <a:pt x="11277" y="34451"/>
                    <a:pt x="11124" y="34546"/>
                    <a:pt x="10980" y="34642"/>
                  </a:cubicBezTo>
                  <a:cubicBezTo>
                    <a:pt x="11264" y="34674"/>
                    <a:pt x="11538" y="34606"/>
                    <a:pt x="11814" y="34551"/>
                  </a:cubicBezTo>
                  <a:cubicBezTo>
                    <a:pt x="11793" y="34464"/>
                    <a:pt x="11771" y="34376"/>
                    <a:pt x="11751" y="34288"/>
                  </a:cubicBezTo>
                  <a:cubicBezTo>
                    <a:pt x="11791" y="34338"/>
                    <a:pt x="11831" y="34389"/>
                    <a:pt x="11872" y="34439"/>
                  </a:cubicBezTo>
                  <a:cubicBezTo>
                    <a:pt x="12011" y="34263"/>
                    <a:pt x="12132" y="34070"/>
                    <a:pt x="12304" y="33923"/>
                  </a:cubicBezTo>
                  <a:cubicBezTo>
                    <a:pt x="12499" y="33811"/>
                    <a:pt x="12746" y="33817"/>
                    <a:pt x="12916" y="33656"/>
                  </a:cubicBezTo>
                  <a:cubicBezTo>
                    <a:pt x="12895" y="33769"/>
                    <a:pt x="12882" y="33883"/>
                    <a:pt x="12870" y="33997"/>
                  </a:cubicBezTo>
                  <a:cubicBezTo>
                    <a:pt x="13088" y="34025"/>
                    <a:pt x="13351" y="33959"/>
                    <a:pt x="13531" y="34114"/>
                  </a:cubicBezTo>
                  <a:cubicBezTo>
                    <a:pt x="13656" y="34196"/>
                    <a:pt x="13818" y="34190"/>
                    <a:pt x="13960" y="34229"/>
                  </a:cubicBezTo>
                  <a:cubicBezTo>
                    <a:pt x="13843" y="34256"/>
                    <a:pt x="13730" y="34277"/>
                    <a:pt x="13617" y="34313"/>
                  </a:cubicBezTo>
                  <a:cubicBezTo>
                    <a:pt x="13767" y="34504"/>
                    <a:pt x="14013" y="34567"/>
                    <a:pt x="14236" y="34628"/>
                  </a:cubicBezTo>
                  <a:cubicBezTo>
                    <a:pt x="14054" y="34750"/>
                    <a:pt x="13848" y="34821"/>
                    <a:pt x="13638" y="34877"/>
                  </a:cubicBezTo>
                  <a:cubicBezTo>
                    <a:pt x="13603" y="35083"/>
                    <a:pt x="13660" y="35294"/>
                    <a:pt x="13635" y="35502"/>
                  </a:cubicBezTo>
                  <a:cubicBezTo>
                    <a:pt x="13712" y="35449"/>
                    <a:pt x="13801" y="35423"/>
                    <a:pt x="13892" y="35459"/>
                  </a:cubicBezTo>
                  <a:cubicBezTo>
                    <a:pt x="13942" y="35434"/>
                    <a:pt x="13991" y="35408"/>
                    <a:pt x="14042" y="35382"/>
                  </a:cubicBezTo>
                  <a:cubicBezTo>
                    <a:pt x="13941" y="35550"/>
                    <a:pt x="13914" y="35748"/>
                    <a:pt x="14038" y="35908"/>
                  </a:cubicBezTo>
                  <a:cubicBezTo>
                    <a:pt x="14238" y="35753"/>
                    <a:pt x="14424" y="35577"/>
                    <a:pt x="14554" y="35357"/>
                  </a:cubicBezTo>
                  <a:cubicBezTo>
                    <a:pt x="14551" y="35561"/>
                    <a:pt x="14442" y="35742"/>
                    <a:pt x="14417" y="35937"/>
                  </a:cubicBezTo>
                  <a:cubicBezTo>
                    <a:pt x="14540" y="36121"/>
                    <a:pt x="14787" y="36016"/>
                    <a:pt x="14972" y="36035"/>
                  </a:cubicBezTo>
                  <a:cubicBezTo>
                    <a:pt x="15104" y="36017"/>
                    <a:pt x="15167" y="36152"/>
                    <a:pt x="15246" y="36230"/>
                  </a:cubicBezTo>
                  <a:lnTo>
                    <a:pt x="15246" y="362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5" name="Svalbard">
              <a:extLst>
                <a:ext uri="{FF2B5EF4-FFF2-40B4-BE49-F238E27FC236}">
                  <a16:creationId xmlns:a16="http://schemas.microsoft.com/office/drawing/2014/main" id="{D2DC18DF-6457-0FE5-30EE-1AC9E9AC3F8A}"/>
                </a:ext>
              </a:extLst>
            </p:cNvPr>
            <p:cNvSpPr>
              <a:spLocks/>
            </p:cNvSpPr>
            <p:nvPr/>
          </p:nvSpPr>
          <p:spPr bwMode="auto">
            <a:xfrm>
              <a:off x="6077025" y="1220849"/>
              <a:ext cx="395746" cy="482488"/>
            </a:xfrm>
            <a:custGeom>
              <a:avLst/>
              <a:gdLst/>
              <a:ahLst/>
              <a:cxnLst/>
              <a:rect l="l" t="t" r="r" b="b"/>
              <a:pathLst>
                <a:path w="398901" h="486334">
                  <a:moveTo>
                    <a:pt x="276864" y="302365"/>
                  </a:moveTo>
                  <a:lnTo>
                    <a:pt x="296900" y="302365"/>
                  </a:lnTo>
                  <a:lnTo>
                    <a:pt x="304186" y="313294"/>
                  </a:lnTo>
                  <a:lnTo>
                    <a:pt x="298722" y="335152"/>
                  </a:lnTo>
                  <a:lnTo>
                    <a:pt x="338794" y="362474"/>
                  </a:lnTo>
                  <a:lnTo>
                    <a:pt x="338794" y="366117"/>
                  </a:lnTo>
                  <a:lnTo>
                    <a:pt x="287793" y="413475"/>
                  </a:lnTo>
                  <a:lnTo>
                    <a:pt x="280507" y="408011"/>
                  </a:lnTo>
                  <a:lnTo>
                    <a:pt x="287793" y="384331"/>
                  </a:lnTo>
                  <a:lnTo>
                    <a:pt x="280507" y="384331"/>
                  </a:lnTo>
                  <a:lnTo>
                    <a:pt x="265935" y="386153"/>
                  </a:lnTo>
                  <a:lnTo>
                    <a:pt x="249542" y="391617"/>
                  </a:lnTo>
                  <a:lnTo>
                    <a:pt x="242256" y="391617"/>
                  </a:lnTo>
                  <a:lnTo>
                    <a:pt x="242256" y="389796"/>
                  </a:lnTo>
                  <a:lnTo>
                    <a:pt x="260471" y="340616"/>
                  </a:lnTo>
                  <a:lnTo>
                    <a:pt x="245899" y="322401"/>
                  </a:lnTo>
                  <a:lnTo>
                    <a:pt x="242256" y="318758"/>
                  </a:lnTo>
                  <a:lnTo>
                    <a:pt x="245899" y="318758"/>
                  </a:lnTo>
                  <a:close/>
                  <a:moveTo>
                    <a:pt x="250457" y="250806"/>
                  </a:moveTo>
                  <a:lnTo>
                    <a:pt x="270487" y="250806"/>
                  </a:lnTo>
                  <a:lnTo>
                    <a:pt x="277777" y="261741"/>
                  </a:lnTo>
                  <a:lnTo>
                    <a:pt x="282335" y="294523"/>
                  </a:lnTo>
                  <a:lnTo>
                    <a:pt x="245904" y="304539"/>
                  </a:lnTo>
                  <a:lnTo>
                    <a:pt x="234066" y="289064"/>
                  </a:lnTo>
                  <a:cubicBezTo>
                    <a:pt x="232846" y="280864"/>
                    <a:pt x="231636" y="272659"/>
                    <a:pt x="230416" y="264459"/>
                  </a:cubicBezTo>
                  <a:close/>
                  <a:moveTo>
                    <a:pt x="139341" y="60109"/>
                  </a:moveTo>
                  <a:lnTo>
                    <a:pt x="169396" y="81967"/>
                  </a:lnTo>
                  <a:lnTo>
                    <a:pt x="183056" y="117485"/>
                  </a:lnTo>
                  <a:lnTo>
                    <a:pt x="204914" y="136611"/>
                  </a:lnTo>
                  <a:lnTo>
                    <a:pt x="204914" y="177593"/>
                  </a:lnTo>
                  <a:lnTo>
                    <a:pt x="240433" y="202184"/>
                  </a:lnTo>
                  <a:lnTo>
                    <a:pt x="267755" y="224041"/>
                  </a:lnTo>
                  <a:lnTo>
                    <a:pt x="267755" y="240434"/>
                  </a:lnTo>
                  <a:lnTo>
                    <a:pt x="221308" y="240434"/>
                  </a:lnTo>
                  <a:lnTo>
                    <a:pt x="199450" y="303275"/>
                  </a:lnTo>
                  <a:lnTo>
                    <a:pt x="198541" y="303585"/>
                  </a:lnTo>
                  <a:lnTo>
                    <a:pt x="198541" y="329688"/>
                  </a:lnTo>
                  <a:lnTo>
                    <a:pt x="187613" y="333331"/>
                  </a:lnTo>
                  <a:lnTo>
                    <a:pt x="182149" y="389796"/>
                  </a:lnTo>
                  <a:lnTo>
                    <a:pt x="182149" y="391618"/>
                  </a:lnTo>
                  <a:lnTo>
                    <a:pt x="169398" y="395261"/>
                  </a:lnTo>
                  <a:lnTo>
                    <a:pt x="174863" y="400724"/>
                  </a:lnTo>
                  <a:lnTo>
                    <a:pt x="174863" y="402546"/>
                  </a:lnTo>
                  <a:lnTo>
                    <a:pt x="173041" y="402546"/>
                  </a:lnTo>
                  <a:lnTo>
                    <a:pt x="163934" y="411653"/>
                  </a:lnTo>
                  <a:lnTo>
                    <a:pt x="163934" y="446262"/>
                  </a:lnTo>
                  <a:lnTo>
                    <a:pt x="153005" y="459013"/>
                  </a:lnTo>
                  <a:lnTo>
                    <a:pt x="153005" y="484513"/>
                  </a:lnTo>
                  <a:lnTo>
                    <a:pt x="136611" y="486334"/>
                  </a:lnTo>
                  <a:lnTo>
                    <a:pt x="134789" y="486334"/>
                  </a:lnTo>
                  <a:lnTo>
                    <a:pt x="118397" y="455369"/>
                  </a:lnTo>
                  <a:lnTo>
                    <a:pt x="118397" y="451726"/>
                  </a:lnTo>
                  <a:lnTo>
                    <a:pt x="134789" y="440797"/>
                  </a:lnTo>
                  <a:lnTo>
                    <a:pt x="91074" y="428047"/>
                  </a:lnTo>
                  <a:lnTo>
                    <a:pt x="89253" y="424404"/>
                  </a:lnTo>
                  <a:lnTo>
                    <a:pt x="80145" y="386153"/>
                  </a:lnTo>
                  <a:lnTo>
                    <a:pt x="80145" y="384332"/>
                  </a:lnTo>
                  <a:lnTo>
                    <a:pt x="89253" y="384332"/>
                  </a:lnTo>
                  <a:lnTo>
                    <a:pt x="96539" y="386153"/>
                  </a:lnTo>
                  <a:lnTo>
                    <a:pt x="109289" y="386153"/>
                  </a:lnTo>
                  <a:lnTo>
                    <a:pt x="118397" y="389796"/>
                  </a:lnTo>
                  <a:lnTo>
                    <a:pt x="123861" y="389796"/>
                  </a:lnTo>
                  <a:lnTo>
                    <a:pt x="98360" y="371581"/>
                  </a:lnTo>
                  <a:lnTo>
                    <a:pt x="98360" y="367938"/>
                  </a:lnTo>
                  <a:lnTo>
                    <a:pt x="102003" y="367938"/>
                  </a:lnTo>
                  <a:lnTo>
                    <a:pt x="147540" y="355188"/>
                  </a:lnTo>
                  <a:lnTo>
                    <a:pt x="147540" y="344259"/>
                  </a:lnTo>
                  <a:lnTo>
                    <a:pt x="78325" y="362474"/>
                  </a:lnTo>
                  <a:lnTo>
                    <a:pt x="73688" y="334655"/>
                  </a:lnTo>
                  <a:lnTo>
                    <a:pt x="71036" y="333330"/>
                  </a:lnTo>
                  <a:lnTo>
                    <a:pt x="73768" y="314204"/>
                  </a:lnTo>
                  <a:lnTo>
                    <a:pt x="92894" y="314204"/>
                  </a:lnTo>
                  <a:lnTo>
                    <a:pt x="117483" y="289614"/>
                  </a:lnTo>
                  <a:lnTo>
                    <a:pt x="144806" y="278685"/>
                  </a:lnTo>
                  <a:lnTo>
                    <a:pt x="142074" y="254095"/>
                  </a:lnTo>
                  <a:lnTo>
                    <a:pt x="128412" y="267756"/>
                  </a:lnTo>
                  <a:lnTo>
                    <a:pt x="109288" y="265023"/>
                  </a:lnTo>
                  <a:lnTo>
                    <a:pt x="117483" y="232237"/>
                  </a:lnTo>
                  <a:lnTo>
                    <a:pt x="101091" y="237702"/>
                  </a:lnTo>
                  <a:lnTo>
                    <a:pt x="101091" y="273220"/>
                  </a:lnTo>
                  <a:lnTo>
                    <a:pt x="81965" y="300543"/>
                  </a:lnTo>
                  <a:lnTo>
                    <a:pt x="68304" y="292346"/>
                  </a:lnTo>
                  <a:lnTo>
                    <a:pt x="51911" y="273220"/>
                  </a:lnTo>
                  <a:lnTo>
                    <a:pt x="57376" y="262291"/>
                  </a:lnTo>
                  <a:lnTo>
                    <a:pt x="38250" y="251363"/>
                  </a:lnTo>
                  <a:lnTo>
                    <a:pt x="13660" y="218576"/>
                  </a:lnTo>
                  <a:lnTo>
                    <a:pt x="40982" y="210379"/>
                  </a:lnTo>
                  <a:lnTo>
                    <a:pt x="30053" y="183058"/>
                  </a:lnTo>
                  <a:lnTo>
                    <a:pt x="16392" y="191255"/>
                  </a:lnTo>
                  <a:lnTo>
                    <a:pt x="10929" y="180326"/>
                  </a:lnTo>
                  <a:lnTo>
                    <a:pt x="0" y="133878"/>
                  </a:lnTo>
                  <a:lnTo>
                    <a:pt x="16392" y="114753"/>
                  </a:lnTo>
                  <a:lnTo>
                    <a:pt x="27321" y="90162"/>
                  </a:lnTo>
                  <a:lnTo>
                    <a:pt x="40982" y="109288"/>
                  </a:lnTo>
                  <a:lnTo>
                    <a:pt x="46447" y="95627"/>
                  </a:lnTo>
                  <a:lnTo>
                    <a:pt x="81965" y="87430"/>
                  </a:lnTo>
                  <a:lnTo>
                    <a:pt x="54644" y="128414"/>
                  </a:lnTo>
                  <a:lnTo>
                    <a:pt x="76501" y="136611"/>
                  </a:lnTo>
                  <a:lnTo>
                    <a:pt x="103823" y="95627"/>
                  </a:lnTo>
                  <a:lnTo>
                    <a:pt x="131145" y="177593"/>
                  </a:lnTo>
                  <a:lnTo>
                    <a:pt x="131145" y="133878"/>
                  </a:lnTo>
                  <a:lnTo>
                    <a:pt x="120217" y="95627"/>
                  </a:lnTo>
                  <a:close/>
                  <a:moveTo>
                    <a:pt x="221308" y="0"/>
                  </a:moveTo>
                  <a:lnTo>
                    <a:pt x="254095" y="35518"/>
                  </a:lnTo>
                  <a:lnTo>
                    <a:pt x="289613" y="62841"/>
                  </a:lnTo>
                  <a:lnTo>
                    <a:pt x="275952" y="2732"/>
                  </a:lnTo>
                  <a:lnTo>
                    <a:pt x="336060" y="27323"/>
                  </a:lnTo>
                  <a:lnTo>
                    <a:pt x="393437" y="46447"/>
                  </a:lnTo>
                  <a:lnTo>
                    <a:pt x="398901" y="81967"/>
                  </a:lnTo>
                  <a:lnTo>
                    <a:pt x="366115" y="122949"/>
                  </a:lnTo>
                  <a:lnTo>
                    <a:pt x="366115" y="147539"/>
                  </a:lnTo>
                  <a:lnTo>
                    <a:pt x="316936" y="172129"/>
                  </a:lnTo>
                  <a:lnTo>
                    <a:pt x="284149" y="147539"/>
                  </a:lnTo>
                  <a:lnTo>
                    <a:pt x="240434" y="155735"/>
                  </a:lnTo>
                  <a:lnTo>
                    <a:pt x="218576" y="128414"/>
                  </a:lnTo>
                  <a:lnTo>
                    <a:pt x="265024" y="109288"/>
                  </a:lnTo>
                  <a:lnTo>
                    <a:pt x="259559" y="95627"/>
                  </a:lnTo>
                  <a:lnTo>
                    <a:pt x="204914" y="109288"/>
                  </a:lnTo>
                  <a:lnTo>
                    <a:pt x="172128" y="62841"/>
                  </a:lnTo>
                  <a:lnTo>
                    <a:pt x="191253" y="43715"/>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6" name="Iceland">
              <a:extLst>
                <a:ext uri="{FF2B5EF4-FFF2-40B4-BE49-F238E27FC236}">
                  <a16:creationId xmlns:a16="http://schemas.microsoft.com/office/drawing/2014/main" id="{6DAE4177-A6CA-4487-9B2E-8E95D23B3BF2}"/>
                </a:ext>
              </a:extLst>
            </p:cNvPr>
            <p:cNvSpPr>
              <a:spLocks/>
            </p:cNvSpPr>
            <p:nvPr/>
          </p:nvSpPr>
          <p:spPr bwMode="auto">
            <a:xfrm>
              <a:off x="5245778" y="2467723"/>
              <a:ext cx="262024" cy="178900"/>
            </a:xfrm>
            <a:custGeom>
              <a:avLst/>
              <a:gdLst>
                <a:gd name="T0" fmla="*/ 110 w 145"/>
                <a:gd name="T1" fmla="*/ 0 h 99"/>
                <a:gd name="T2" fmla="*/ 129 w 145"/>
                <a:gd name="T3" fmla="*/ 4 h 99"/>
                <a:gd name="T4" fmla="*/ 131 w 145"/>
                <a:gd name="T5" fmla="*/ 6 h 99"/>
                <a:gd name="T6" fmla="*/ 129 w 145"/>
                <a:gd name="T7" fmla="*/ 15 h 99"/>
                <a:gd name="T8" fmla="*/ 138 w 145"/>
                <a:gd name="T9" fmla="*/ 28 h 99"/>
                <a:gd name="T10" fmla="*/ 142 w 145"/>
                <a:gd name="T11" fmla="*/ 35 h 99"/>
                <a:gd name="T12" fmla="*/ 145 w 145"/>
                <a:gd name="T13" fmla="*/ 41 h 99"/>
                <a:gd name="T14" fmla="*/ 142 w 145"/>
                <a:gd name="T15" fmla="*/ 52 h 99"/>
                <a:gd name="T16" fmla="*/ 137 w 145"/>
                <a:gd name="T17" fmla="*/ 59 h 99"/>
                <a:gd name="T18" fmla="*/ 128 w 145"/>
                <a:gd name="T19" fmla="*/ 72 h 99"/>
                <a:gd name="T20" fmla="*/ 122 w 145"/>
                <a:gd name="T21" fmla="*/ 68 h 99"/>
                <a:gd name="T22" fmla="*/ 98 w 145"/>
                <a:gd name="T23" fmla="*/ 83 h 99"/>
                <a:gd name="T24" fmla="*/ 77 w 145"/>
                <a:gd name="T25" fmla="*/ 99 h 99"/>
                <a:gd name="T26" fmla="*/ 45 w 145"/>
                <a:gd name="T27" fmla="*/ 84 h 99"/>
                <a:gd name="T28" fmla="*/ 33 w 145"/>
                <a:gd name="T29" fmla="*/ 86 h 99"/>
                <a:gd name="T30" fmla="*/ 24 w 145"/>
                <a:gd name="T31" fmla="*/ 78 h 99"/>
                <a:gd name="T32" fmla="*/ 25 w 145"/>
                <a:gd name="T33" fmla="*/ 77 h 99"/>
                <a:gd name="T34" fmla="*/ 36 w 145"/>
                <a:gd name="T35" fmla="*/ 70 h 99"/>
                <a:gd name="T36" fmla="*/ 31 w 145"/>
                <a:gd name="T37" fmla="*/ 71 h 99"/>
                <a:gd name="T38" fmla="*/ 34 w 145"/>
                <a:gd name="T39" fmla="*/ 65 h 99"/>
                <a:gd name="T40" fmla="*/ 25 w 145"/>
                <a:gd name="T41" fmla="*/ 55 h 99"/>
                <a:gd name="T42" fmla="*/ 15 w 145"/>
                <a:gd name="T43" fmla="*/ 56 h 99"/>
                <a:gd name="T44" fmla="*/ 9 w 145"/>
                <a:gd name="T45" fmla="*/ 55 h 99"/>
                <a:gd name="T46" fmla="*/ 36 w 145"/>
                <a:gd name="T47" fmla="*/ 47 h 99"/>
                <a:gd name="T48" fmla="*/ 33 w 145"/>
                <a:gd name="T49" fmla="*/ 44 h 99"/>
                <a:gd name="T50" fmla="*/ 27 w 145"/>
                <a:gd name="T51" fmla="*/ 46 h 99"/>
                <a:gd name="T52" fmla="*/ 36 w 145"/>
                <a:gd name="T53" fmla="*/ 35 h 99"/>
                <a:gd name="T54" fmla="*/ 22 w 145"/>
                <a:gd name="T55" fmla="*/ 31 h 99"/>
                <a:gd name="T56" fmla="*/ 6 w 145"/>
                <a:gd name="T57" fmla="*/ 35 h 99"/>
                <a:gd name="T58" fmla="*/ 0 w 145"/>
                <a:gd name="T59" fmla="*/ 34 h 99"/>
                <a:gd name="T60" fmla="*/ 3 w 145"/>
                <a:gd name="T61" fmla="*/ 28 h 99"/>
                <a:gd name="T62" fmla="*/ 5 w 145"/>
                <a:gd name="T63" fmla="*/ 25 h 99"/>
                <a:gd name="T64" fmla="*/ 6 w 145"/>
                <a:gd name="T65" fmla="*/ 24 h 99"/>
                <a:gd name="T66" fmla="*/ 11 w 145"/>
                <a:gd name="T67" fmla="*/ 22 h 99"/>
                <a:gd name="T68" fmla="*/ 9 w 145"/>
                <a:gd name="T69" fmla="*/ 16 h 99"/>
                <a:gd name="T70" fmla="*/ 12 w 145"/>
                <a:gd name="T71" fmla="*/ 15 h 99"/>
                <a:gd name="T72" fmla="*/ 13 w 145"/>
                <a:gd name="T73" fmla="*/ 13 h 99"/>
                <a:gd name="T74" fmla="*/ 28 w 145"/>
                <a:gd name="T75" fmla="*/ 15 h 99"/>
                <a:gd name="T76" fmla="*/ 22 w 145"/>
                <a:gd name="T77" fmla="*/ 10 h 99"/>
                <a:gd name="T78" fmla="*/ 19 w 145"/>
                <a:gd name="T79" fmla="*/ 9 h 99"/>
                <a:gd name="T80" fmla="*/ 18 w 145"/>
                <a:gd name="T81" fmla="*/ 7 h 99"/>
                <a:gd name="T82" fmla="*/ 28 w 145"/>
                <a:gd name="T83" fmla="*/ 3 h 99"/>
                <a:gd name="T84" fmla="*/ 40 w 145"/>
                <a:gd name="T85" fmla="*/ 21 h 99"/>
                <a:gd name="T86" fmla="*/ 39 w 145"/>
                <a:gd name="T87" fmla="*/ 27 h 99"/>
                <a:gd name="T88" fmla="*/ 45 w 145"/>
                <a:gd name="T89" fmla="*/ 40 h 99"/>
                <a:gd name="T90" fmla="*/ 49 w 145"/>
                <a:gd name="T91" fmla="*/ 28 h 99"/>
                <a:gd name="T92" fmla="*/ 55 w 145"/>
                <a:gd name="T93" fmla="*/ 31 h 99"/>
                <a:gd name="T94" fmla="*/ 56 w 145"/>
                <a:gd name="T95" fmla="*/ 13 h 99"/>
                <a:gd name="T96" fmla="*/ 67 w 145"/>
                <a:gd name="T97" fmla="*/ 16 h 99"/>
                <a:gd name="T98" fmla="*/ 76 w 145"/>
                <a:gd name="T99" fmla="*/ 10 h 99"/>
                <a:gd name="T100" fmla="*/ 77 w 145"/>
                <a:gd name="T101" fmla="*/ 12 h 99"/>
                <a:gd name="T102" fmla="*/ 82 w 145"/>
                <a:gd name="T103" fmla="*/ 12 h 99"/>
                <a:gd name="T104" fmla="*/ 91 w 145"/>
                <a:gd name="T105" fmla="*/ 18 h 99"/>
                <a:gd name="T106" fmla="*/ 107 w 145"/>
                <a:gd name="T107" fmla="*/ 12 h 99"/>
                <a:gd name="T108" fmla="*/ 104 w 145"/>
                <a:gd name="T109" fmla="*/ 1 h 99"/>
                <a:gd name="T110" fmla="*/ 108 w 145"/>
                <a:gd name="T111"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 h="99">
                  <a:moveTo>
                    <a:pt x="108" y="0"/>
                  </a:moveTo>
                  <a:lnTo>
                    <a:pt x="110" y="0"/>
                  </a:lnTo>
                  <a:lnTo>
                    <a:pt x="119" y="12"/>
                  </a:lnTo>
                  <a:lnTo>
                    <a:pt x="129" y="4"/>
                  </a:lnTo>
                  <a:lnTo>
                    <a:pt x="131" y="4"/>
                  </a:lnTo>
                  <a:lnTo>
                    <a:pt x="131" y="6"/>
                  </a:lnTo>
                  <a:lnTo>
                    <a:pt x="126" y="15"/>
                  </a:lnTo>
                  <a:lnTo>
                    <a:pt x="129" y="15"/>
                  </a:lnTo>
                  <a:lnTo>
                    <a:pt x="129" y="27"/>
                  </a:lnTo>
                  <a:lnTo>
                    <a:pt x="138" y="28"/>
                  </a:lnTo>
                  <a:lnTo>
                    <a:pt x="139" y="28"/>
                  </a:lnTo>
                  <a:lnTo>
                    <a:pt x="142" y="35"/>
                  </a:lnTo>
                  <a:lnTo>
                    <a:pt x="142" y="40"/>
                  </a:lnTo>
                  <a:lnTo>
                    <a:pt x="145" y="41"/>
                  </a:lnTo>
                  <a:lnTo>
                    <a:pt x="145" y="43"/>
                  </a:lnTo>
                  <a:lnTo>
                    <a:pt x="142" y="52"/>
                  </a:lnTo>
                  <a:lnTo>
                    <a:pt x="134" y="58"/>
                  </a:lnTo>
                  <a:lnTo>
                    <a:pt x="137" y="59"/>
                  </a:lnTo>
                  <a:lnTo>
                    <a:pt x="137" y="61"/>
                  </a:lnTo>
                  <a:lnTo>
                    <a:pt x="128" y="72"/>
                  </a:lnTo>
                  <a:lnTo>
                    <a:pt x="126" y="72"/>
                  </a:lnTo>
                  <a:lnTo>
                    <a:pt x="122" y="68"/>
                  </a:lnTo>
                  <a:lnTo>
                    <a:pt x="108" y="81"/>
                  </a:lnTo>
                  <a:lnTo>
                    <a:pt x="98" y="83"/>
                  </a:lnTo>
                  <a:lnTo>
                    <a:pt x="79" y="99"/>
                  </a:lnTo>
                  <a:lnTo>
                    <a:pt x="77" y="99"/>
                  </a:lnTo>
                  <a:lnTo>
                    <a:pt x="61" y="95"/>
                  </a:lnTo>
                  <a:lnTo>
                    <a:pt x="45" y="84"/>
                  </a:lnTo>
                  <a:lnTo>
                    <a:pt x="37" y="84"/>
                  </a:lnTo>
                  <a:lnTo>
                    <a:pt x="33" y="86"/>
                  </a:lnTo>
                  <a:lnTo>
                    <a:pt x="25" y="86"/>
                  </a:lnTo>
                  <a:lnTo>
                    <a:pt x="24" y="78"/>
                  </a:lnTo>
                  <a:lnTo>
                    <a:pt x="24" y="77"/>
                  </a:lnTo>
                  <a:lnTo>
                    <a:pt x="25" y="77"/>
                  </a:lnTo>
                  <a:lnTo>
                    <a:pt x="36" y="74"/>
                  </a:lnTo>
                  <a:lnTo>
                    <a:pt x="36" y="70"/>
                  </a:lnTo>
                  <a:lnTo>
                    <a:pt x="33" y="71"/>
                  </a:lnTo>
                  <a:lnTo>
                    <a:pt x="31" y="71"/>
                  </a:lnTo>
                  <a:lnTo>
                    <a:pt x="31" y="70"/>
                  </a:lnTo>
                  <a:lnTo>
                    <a:pt x="34" y="65"/>
                  </a:lnTo>
                  <a:lnTo>
                    <a:pt x="33" y="65"/>
                  </a:lnTo>
                  <a:lnTo>
                    <a:pt x="25" y="55"/>
                  </a:lnTo>
                  <a:lnTo>
                    <a:pt x="19" y="55"/>
                  </a:lnTo>
                  <a:lnTo>
                    <a:pt x="15" y="56"/>
                  </a:lnTo>
                  <a:lnTo>
                    <a:pt x="9" y="56"/>
                  </a:lnTo>
                  <a:lnTo>
                    <a:pt x="9" y="55"/>
                  </a:lnTo>
                  <a:lnTo>
                    <a:pt x="24" y="47"/>
                  </a:lnTo>
                  <a:lnTo>
                    <a:pt x="36" y="47"/>
                  </a:lnTo>
                  <a:lnTo>
                    <a:pt x="36" y="44"/>
                  </a:lnTo>
                  <a:lnTo>
                    <a:pt x="33" y="44"/>
                  </a:lnTo>
                  <a:lnTo>
                    <a:pt x="31" y="46"/>
                  </a:lnTo>
                  <a:lnTo>
                    <a:pt x="27" y="46"/>
                  </a:lnTo>
                  <a:lnTo>
                    <a:pt x="27" y="44"/>
                  </a:lnTo>
                  <a:lnTo>
                    <a:pt x="36" y="35"/>
                  </a:lnTo>
                  <a:lnTo>
                    <a:pt x="27" y="31"/>
                  </a:lnTo>
                  <a:lnTo>
                    <a:pt x="22" y="31"/>
                  </a:lnTo>
                  <a:lnTo>
                    <a:pt x="13" y="32"/>
                  </a:lnTo>
                  <a:lnTo>
                    <a:pt x="6" y="35"/>
                  </a:lnTo>
                  <a:lnTo>
                    <a:pt x="0" y="35"/>
                  </a:lnTo>
                  <a:lnTo>
                    <a:pt x="0" y="34"/>
                  </a:lnTo>
                  <a:lnTo>
                    <a:pt x="3" y="29"/>
                  </a:lnTo>
                  <a:lnTo>
                    <a:pt x="3" y="28"/>
                  </a:lnTo>
                  <a:lnTo>
                    <a:pt x="9" y="29"/>
                  </a:lnTo>
                  <a:lnTo>
                    <a:pt x="5" y="25"/>
                  </a:lnTo>
                  <a:lnTo>
                    <a:pt x="5" y="24"/>
                  </a:lnTo>
                  <a:lnTo>
                    <a:pt x="6" y="24"/>
                  </a:lnTo>
                  <a:lnTo>
                    <a:pt x="13" y="27"/>
                  </a:lnTo>
                  <a:lnTo>
                    <a:pt x="11" y="22"/>
                  </a:lnTo>
                  <a:lnTo>
                    <a:pt x="12" y="21"/>
                  </a:lnTo>
                  <a:lnTo>
                    <a:pt x="9" y="16"/>
                  </a:lnTo>
                  <a:lnTo>
                    <a:pt x="13" y="15"/>
                  </a:lnTo>
                  <a:lnTo>
                    <a:pt x="12" y="15"/>
                  </a:lnTo>
                  <a:lnTo>
                    <a:pt x="12" y="13"/>
                  </a:lnTo>
                  <a:lnTo>
                    <a:pt x="13" y="13"/>
                  </a:lnTo>
                  <a:lnTo>
                    <a:pt x="28" y="22"/>
                  </a:lnTo>
                  <a:lnTo>
                    <a:pt x="28" y="15"/>
                  </a:lnTo>
                  <a:lnTo>
                    <a:pt x="22" y="12"/>
                  </a:lnTo>
                  <a:lnTo>
                    <a:pt x="22" y="10"/>
                  </a:lnTo>
                  <a:lnTo>
                    <a:pt x="25" y="10"/>
                  </a:lnTo>
                  <a:lnTo>
                    <a:pt x="19" y="9"/>
                  </a:lnTo>
                  <a:lnTo>
                    <a:pt x="18" y="9"/>
                  </a:lnTo>
                  <a:lnTo>
                    <a:pt x="18" y="7"/>
                  </a:lnTo>
                  <a:lnTo>
                    <a:pt x="19" y="3"/>
                  </a:lnTo>
                  <a:lnTo>
                    <a:pt x="28" y="3"/>
                  </a:lnTo>
                  <a:lnTo>
                    <a:pt x="43" y="18"/>
                  </a:lnTo>
                  <a:lnTo>
                    <a:pt x="40" y="21"/>
                  </a:lnTo>
                  <a:lnTo>
                    <a:pt x="43" y="25"/>
                  </a:lnTo>
                  <a:lnTo>
                    <a:pt x="39" y="27"/>
                  </a:lnTo>
                  <a:lnTo>
                    <a:pt x="43" y="29"/>
                  </a:lnTo>
                  <a:lnTo>
                    <a:pt x="45" y="40"/>
                  </a:lnTo>
                  <a:lnTo>
                    <a:pt x="48" y="35"/>
                  </a:lnTo>
                  <a:lnTo>
                    <a:pt x="49" y="28"/>
                  </a:lnTo>
                  <a:lnTo>
                    <a:pt x="51" y="28"/>
                  </a:lnTo>
                  <a:lnTo>
                    <a:pt x="55" y="31"/>
                  </a:lnTo>
                  <a:lnTo>
                    <a:pt x="55" y="13"/>
                  </a:lnTo>
                  <a:lnTo>
                    <a:pt x="56" y="13"/>
                  </a:lnTo>
                  <a:lnTo>
                    <a:pt x="67" y="25"/>
                  </a:lnTo>
                  <a:lnTo>
                    <a:pt x="67" y="16"/>
                  </a:lnTo>
                  <a:lnTo>
                    <a:pt x="68" y="16"/>
                  </a:lnTo>
                  <a:lnTo>
                    <a:pt x="76" y="10"/>
                  </a:lnTo>
                  <a:lnTo>
                    <a:pt x="77" y="10"/>
                  </a:lnTo>
                  <a:lnTo>
                    <a:pt x="77" y="12"/>
                  </a:lnTo>
                  <a:lnTo>
                    <a:pt x="83" y="24"/>
                  </a:lnTo>
                  <a:lnTo>
                    <a:pt x="82" y="12"/>
                  </a:lnTo>
                  <a:lnTo>
                    <a:pt x="83" y="12"/>
                  </a:lnTo>
                  <a:lnTo>
                    <a:pt x="91" y="18"/>
                  </a:lnTo>
                  <a:lnTo>
                    <a:pt x="95" y="12"/>
                  </a:lnTo>
                  <a:lnTo>
                    <a:pt x="107" y="12"/>
                  </a:lnTo>
                  <a:lnTo>
                    <a:pt x="104" y="3"/>
                  </a:lnTo>
                  <a:lnTo>
                    <a:pt x="104" y="1"/>
                  </a:lnTo>
                  <a:lnTo>
                    <a:pt x="105" y="1"/>
                  </a:lnTo>
                  <a:lnTo>
                    <a:pt x="10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7" name="Portugal">
              <a:extLst>
                <a:ext uri="{FF2B5EF4-FFF2-40B4-BE49-F238E27FC236}">
                  <a16:creationId xmlns:a16="http://schemas.microsoft.com/office/drawing/2014/main" id="{EDE96ADA-65CF-674A-616C-27F3778F818E}"/>
                </a:ext>
              </a:extLst>
            </p:cNvPr>
            <p:cNvSpPr>
              <a:spLocks/>
            </p:cNvSpPr>
            <p:nvPr/>
          </p:nvSpPr>
          <p:spPr bwMode="auto">
            <a:xfrm>
              <a:off x="5607191" y="3494134"/>
              <a:ext cx="77705" cy="155407"/>
            </a:xfrm>
            <a:custGeom>
              <a:avLst/>
              <a:gdLst>
                <a:gd name="T0" fmla="*/ 18 w 43"/>
                <a:gd name="T1" fmla="*/ 0 h 86"/>
                <a:gd name="T2" fmla="*/ 20 w 43"/>
                <a:gd name="T3" fmla="*/ 4 h 86"/>
                <a:gd name="T4" fmla="*/ 28 w 43"/>
                <a:gd name="T5" fmla="*/ 4 h 86"/>
                <a:gd name="T6" fmla="*/ 31 w 43"/>
                <a:gd name="T7" fmla="*/ 3 h 86"/>
                <a:gd name="T8" fmla="*/ 40 w 43"/>
                <a:gd name="T9" fmla="*/ 3 h 86"/>
                <a:gd name="T10" fmla="*/ 40 w 43"/>
                <a:gd name="T11" fmla="*/ 4 h 86"/>
                <a:gd name="T12" fmla="*/ 43 w 43"/>
                <a:gd name="T13" fmla="*/ 9 h 86"/>
                <a:gd name="T14" fmla="*/ 43 w 43"/>
                <a:gd name="T15" fmla="*/ 10 h 86"/>
                <a:gd name="T16" fmla="*/ 36 w 43"/>
                <a:gd name="T17" fmla="*/ 19 h 86"/>
                <a:gd name="T18" fmla="*/ 34 w 43"/>
                <a:gd name="T19" fmla="*/ 32 h 86"/>
                <a:gd name="T20" fmla="*/ 34 w 43"/>
                <a:gd name="T21" fmla="*/ 38 h 86"/>
                <a:gd name="T22" fmla="*/ 28 w 43"/>
                <a:gd name="T23" fmla="*/ 43 h 86"/>
                <a:gd name="T24" fmla="*/ 33 w 43"/>
                <a:gd name="T25" fmla="*/ 53 h 86"/>
                <a:gd name="T26" fmla="*/ 30 w 43"/>
                <a:gd name="T27" fmla="*/ 62 h 86"/>
                <a:gd name="T28" fmla="*/ 34 w 43"/>
                <a:gd name="T29" fmla="*/ 69 h 86"/>
                <a:gd name="T30" fmla="*/ 33 w 43"/>
                <a:gd name="T31" fmla="*/ 69 h 86"/>
                <a:gd name="T32" fmla="*/ 27 w 43"/>
                <a:gd name="T33" fmla="*/ 77 h 86"/>
                <a:gd name="T34" fmla="*/ 28 w 43"/>
                <a:gd name="T35" fmla="*/ 83 h 86"/>
                <a:gd name="T36" fmla="*/ 22 w 43"/>
                <a:gd name="T37" fmla="*/ 83 h 86"/>
                <a:gd name="T38" fmla="*/ 20 w 43"/>
                <a:gd name="T39" fmla="*/ 84 h 86"/>
                <a:gd name="T40" fmla="*/ 15 w 43"/>
                <a:gd name="T41" fmla="*/ 84 h 86"/>
                <a:gd name="T42" fmla="*/ 12 w 43"/>
                <a:gd name="T43" fmla="*/ 86 h 86"/>
                <a:gd name="T44" fmla="*/ 8 w 43"/>
                <a:gd name="T45" fmla="*/ 86 h 86"/>
                <a:gd name="T46" fmla="*/ 9 w 43"/>
                <a:gd name="T47" fmla="*/ 62 h 86"/>
                <a:gd name="T48" fmla="*/ 5 w 43"/>
                <a:gd name="T49" fmla="*/ 63 h 86"/>
                <a:gd name="T50" fmla="*/ 3 w 43"/>
                <a:gd name="T51" fmla="*/ 63 h 86"/>
                <a:gd name="T52" fmla="*/ 0 w 43"/>
                <a:gd name="T53" fmla="*/ 57 h 86"/>
                <a:gd name="T54" fmla="*/ 9 w 43"/>
                <a:gd name="T55" fmla="*/ 20 h 86"/>
                <a:gd name="T56" fmla="*/ 8 w 43"/>
                <a:gd name="T57" fmla="*/ 6 h 86"/>
                <a:gd name="T58" fmla="*/ 18 w 43"/>
                <a:gd name="T5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86">
                  <a:moveTo>
                    <a:pt x="18" y="0"/>
                  </a:moveTo>
                  <a:lnTo>
                    <a:pt x="20" y="4"/>
                  </a:lnTo>
                  <a:lnTo>
                    <a:pt x="28" y="4"/>
                  </a:lnTo>
                  <a:lnTo>
                    <a:pt x="31" y="3"/>
                  </a:lnTo>
                  <a:lnTo>
                    <a:pt x="40" y="3"/>
                  </a:lnTo>
                  <a:lnTo>
                    <a:pt x="40" y="4"/>
                  </a:lnTo>
                  <a:lnTo>
                    <a:pt x="43" y="9"/>
                  </a:lnTo>
                  <a:lnTo>
                    <a:pt x="43" y="10"/>
                  </a:lnTo>
                  <a:lnTo>
                    <a:pt x="36" y="19"/>
                  </a:lnTo>
                  <a:lnTo>
                    <a:pt x="34" y="32"/>
                  </a:lnTo>
                  <a:lnTo>
                    <a:pt x="34" y="38"/>
                  </a:lnTo>
                  <a:lnTo>
                    <a:pt x="28" y="43"/>
                  </a:lnTo>
                  <a:lnTo>
                    <a:pt x="33" y="53"/>
                  </a:lnTo>
                  <a:lnTo>
                    <a:pt x="30" y="62"/>
                  </a:lnTo>
                  <a:lnTo>
                    <a:pt x="34" y="69"/>
                  </a:lnTo>
                  <a:lnTo>
                    <a:pt x="33" y="69"/>
                  </a:lnTo>
                  <a:lnTo>
                    <a:pt x="27" y="77"/>
                  </a:lnTo>
                  <a:lnTo>
                    <a:pt x="28" y="83"/>
                  </a:lnTo>
                  <a:lnTo>
                    <a:pt x="22" y="83"/>
                  </a:lnTo>
                  <a:lnTo>
                    <a:pt x="20" y="84"/>
                  </a:lnTo>
                  <a:lnTo>
                    <a:pt x="15" y="84"/>
                  </a:lnTo>
                  <a:lnTo>
                    <a:pt x="12" y="86"/>
                  </a:lnTo>
                  <a:lnTo>
                    <a:pt x="8" y="86"/>
                  </a:lnTo>
                  <a:lnTo>
                    <a:pt x="9" y="62"/>
                  </a:lnTo>
                  <a:lnTo>
                    <a:pt x="5" y="63"/>
                  </a:lnTo>
                  <a:lnTo>
                    <a:pt x="3" y="63"/>
                  </a:lnTo>
                  <a:lnTo>
                    <a:pt x="0" y="57"/>
                  </a:lnTo>
                  <a:lnTo>
                    <a:pt x="9" y="20"/>
                  </a:lnTo>
                  <a:lnTo>
                    <a:pt x="8" y="6"/>
                  </a:lnTo>
                  <a:lnTo>
                    <a:pt x="1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8" name="Spain">
              <a:extLst>
                <a:ext uri="{FF2B5EF4-FFF2-40B4-BE49-F238E27FC236}">
                  <a16:creationId xmlns:a16="http://schemas.microsoft.com/office/drawing/2014/main" id="{872DCD39-C326-8545-EB6C-56C988639520}"/>
                </a:ext>
              </a:extLst>
            </p:cNvPr>
            <p:cNvSpPr>
              <a:spLocks/>
            </p:cNvSpPr>
            <p:nvPr/>
          </p:nvSpPr>
          <p:spPr bwMode="auto">
            <a:xfrm>
              <a:off x="5610805" y="3441730"/>
              <a:ext cx="296358" cy="236726"/>
            </a:xfrm>
            <a:custGeom>
              <a:avLst/>
              <a:gdLst>
                <a:gd name="T0" fmla="*/ 19 w 164"/>
                <a:gd name="T1" fmla="*/ 0 h 131"/>
                <a:gd name="T2" fmla="*/ 47 w 164"/>
                <a:gd name="T3" fmla="*/ 3 h 131"/>
                <a:gd name="T4" fmla="*/ 81 w 164"/>
                <a:gd name="T5" fmla="*/ 5 h 131"/>
                <a:gd name="T6" fmla="*/ 98 w 164"/>
                <a:gd name="T7" fmla="*/ 6 h 131"/>
                <a:gd name="T8" fmla="*/ 126 w 164"/>
                <a:gd name="T9" fmla="*/ 20 h 131"/>
                <a:gd name="T10" fmla="*/ 139 w 164"/>
                <a:gd name="T11" fmla="*/ 20 h 131"/>
                <a:gd name="T12" fmla="*/ 142 w 164"/>
                <a:gd name="T13" fmla="*/ 21 h 131"/>
                <a:gd name="T14" fmla="*/ 161 w 164"/>
                <a:gd name="T15" fmla="*/ 23 h 131"/>
                <a:gd name="T16" fmla="*/ 161 w 164"/>
                <a:gd name="T17" fmla="*/ 35 h 131"/>
                <a:gd name="T18" fmla="*/ 118 w 164"/>
                <a:gd name="T19" fmla="*/ 76 h 131"/>
                <a:gd name="T20" fmla="*/ 124 w 164"/>
                <a:gd name="T21" fmla="*/ 85 h 131"/>
                <a:gd name="T22" fmla="*/ 123 w 164"/>
                <a:gd name="T23" fmla="*/ 89 h 131"/>
                <a:gd name="T24" fmla="*/ 112 w 164"/>
                <a:gd name="T25" fmla="*/ 106 h 131"/>
                <a:gd name="T26" fmla="*/ 96 w 164"/>
                <a:gd name="T27" fmla="*/ 119 h 131"/>
                <a:gd name="T28" fmla="*/ 65 w 164"/>
                <a:gd name="T29" fmla="*/ 121 h 131"/>
                <a:gd name="T30" fmla="*/ 50 w 164"/>
                <a:gd name="T31" fmla="*/ 131 h 131"/>
                <a:gd name="T32" fmla="*/ 35 w 164"/>
                <a:gd name="T33" fmla="*/ 115 h 131"/>
                <a:gd name="T34" fmla="*/ 23 w 164"/>
                <a:gd name="T35" fmla="*/ 106 h 131"/>
                <a:gd name="T36" fmla="*/ 29 w 164"/>
                <a:gd name="T37" fmla="*/ 98 h 131"/>
                <a:gd name="T38" fmla="*/ 26 w 164"/>
                <a:gd name="T39" fmla="*/ 89 h 131"/>
                <a:gd name="T40" fmla="*/ 25 w 164"/>
                <a:gd name="T41" fmla="*/ 72 h 131"/>
                <a:gd name="T42" fmla="*/ 31 w 164"/>
                <a:gd name="T43" fmla="*/ 61 h 131"/>
                <a:gd name="T44" fmla="*/ 40 w 164"/>
                <a:gd name="T45" fmla="*/ 38 h 131"/>
                <a:gd name="T46" fmla="*/ 29 w 164"/>
                <a:gd name="T47" fmla="*/ 33 h 131"/>
                <a:gd name="T48" fmla="*/ 18 w 164"/>
                <a:gd name="T49" fmla="*/ 35 h 131"/>
                <a:gd name="T50" fmla="*/ 16 w 164"/>
                <a:gd name="T51" fmla="*/ 30 h 131"/>
                <a:gd name="T52" fmla="*/ 6 w 164"/>
                <a:gd name="T53" fmla="*/ 36 h 131"/>
                <a:gd name="T54" fmla="*/ 7 w 164"/>
                <a:gd name="T55" fmla="*/ 27 h 131"/>
                <a:gd name="T56" fmla="*/ 6 w 164"/>
                <a:gd name="T57" fmla="*/ 26 h 131"/>
                <a:gd name="T58" fmla="*/ 6 w 164"/>
                <a:gd name="T59" fmla="*/ 20 h 131"/>
                <a:gd name="T60" fmla="*/ 0 w 164"/>
                <a:gd name="T61" fmla="*/ 12 h 131"/>
                <a:gd name="T62" fmla="*/ 12 w 164"/>
                <a:gd name="T63" fmla="*/ 8 h 131"/>
                <a:gd name="T64" fmla="*/ 15 w 164"/>
                <a:gd name="T6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4" h="131">
                  <a:moveTo>
                    <a:pt x="15" y="0"/>
                  </a:moveTo>
                  <a:lnTo>
                    <a:pt x="19" y="0"/>
                  </a:lnTo>
                  <a:lnTo>
                    <a:pt x="31" y="2"/>
                  </a:lnTo>
                  <a:lnTo>
                    <a:pt x="47" y="3"/>
                  </a:lnTo>
                  <a:lnTo>
                    <a:pt x="65" y="3"/>
                  </a:lnTo>
                  <a:lnTo>
                    <a:pt x="81" y="5"/>
                  </a:lnTo>
                  <a:lnTo>
                    <a:pt x="93" y="6"/>
                  </a:lnTo>
                  <a:lnTo>
                    <a:pt x="98" y="6"/>
                  </a:lnTo>
                  <a:lnTo>
                    <a:pt x="112" y="17"/>
                  </a:lnTo>
                  <a:lnTo>
                    <a:pt x="126" y="20"/>
                  </a:lnTo>
                  <a:lnTo>
                    <a:pt x="132" y="17"/>
                  </a:lnTo>
                  <a:lnTo>
                    <a:pt x="139" y="20"/>
                  </a:lnTo>
                  <a:lnTo>
                    <a:pt x="141" y="23"/>
                  </a:lnTo>
                  <a:lnTo>
                    <a:pt x="142" y="21"/>
                  </a:lnTo>
                  <a:lnTo>
                    <a:pt x="148" y="24"/>
                  </a:lnTo>
                  <a:lnTo>
                    <a:pt x="161" y="23"/>
                  </a:lnTo>
                  <a:lnTo>
                    <a:pt x="164" y="26"/>
                  </a:lnTo>
                  <a:lnTo>
                    <a:pt x="161" y="35"/>
                  </a:lnTo>
                  <a:lnTo>
                    <a:pt x="132" y="52"/>
                  </a:lnTo>
                  <a:lnTo>
                    <a:pt x="118" y="76"/>
                  </a:lnTo>
                  <a:lnTo>
                    <a:pt x="118" y="82"/>
                  </a:lnTo>
                  <a:lnTo>
                    <a:pt x="124" y="85"/>
                  </a:lnTo>
                  <a:lnTo>
                    <a:pt x="124" y="86"/>
                  </a:lnTo>
                  <a:lnTo>
                    <a:pt x="123" y="89"/>
                  </a:lnTo>
                  <a:lnTo>
                    <a:pt x="117" y="95"/>
                  </a:lnTo>
                  <a:lnTo>
                    <a:pt x="112" y="106"/>
                  </a:lnTo>
                  <a:lnTo>
                    <a:pt x="105" y="107"/>
                  </a:lnTo>
                  <a:lnTo>
                    <a:pt x="96" y="119"/>
                  </a:lnTo>
                  <a:lnTo>
                    <a:pt x="95" y="119"/>
                  </a:lnTo>
                  <a:lnTo>
                    <a:pt x="65" y="121"/>
                  </a:lnTo>
                  <a:lnTo>
                    <a:pt x="52" y="131"/>
                  </a:lnTo>
                  <a:lnTo>
                    <a:pt x="50" y="131"/>
                  </a:lnTo>
                  <a:lnTo>
                    <a:pt x="43" y="128"/>
                  </a:lnTo>
                  <a:lnTo>
                    <a:pt x="35" y="115"/>
                  </a:lnTo>
                  <a:lnTo>
                    <a:pt x="25" y="112"/>
                  </a:lnTo>
                  <a:lnTo>
                    <a:pt x="23" y="106"/>
                  </a:lnTo>
                  <a:lnTo>
                    <a:pt x="23" y="104"/>
                  </a:lnTo>
                  <a:lnTo>
                    <a:pt x="29" y="98"/>
                  </a:lnTo>
                  <a:lnTo>
                    <a:pt x="26" y="91"/>
                  </a:lnTo>
                  <a:lnTo>
                    <a:pt x="26" y="89"/>
                  </a:lnTo>
                  <a:lnTo>
                    <a:pt x="29" y="82"/>
                  </a:lnTo>
                  <a:lnTo>
                    <a:pt x="25" y="72"/>
                  </a:lnTo>
                  <a:lnTo>
                    <a:pt x="31" y="66"/>
                  </a:lnTo>
                  <a:lnTo>
                    <a:pt x="31" y="61"/>
                  </a:lnTo>
                  <a:lnTo>
                    <a:pt x="32" y="48"/>
                  </a:lnTo>
                  <a:lnTo>
                    <a:pt x="40" y="38"/>
                  </a:lnTo>
                  <a:lnTo>
                    <a:pt x="37" y="33"/>
                  </a:lnTo>
                  <a:lnTo>
                    <a:pt x="29" y="33"/>
                  </a:lnTo>
                  <a:lnTo>
                    <a:pt x="25" y="35"/>
                  </a:lnTo>
                  <a:lnTo>
                    <a:pt x="18" y="35"/>
                  </a:lnTo>
                  <a:lnTo>
                    <a:pt x="18" y="33"/>
                  </a:lnTo>
                  <a:lnTo>
                    <a:pt x="16" y="30"/>
                  </a:lnTo>
                  <a:lnTo>
                    <a:pt x="7" y="36"/>
                  </a:lnTo>
                  <a:lnTo>
                    <a:pt x="6" y="36"/>
                  </a:lnTo>
                  <a:lnTo>
                    <a:pt x="6" y="35"/>
                  </a:lnTo>
                  <a:lnTo>
                    <a:pt x="7" y="27"/>
                  </a:lnTo>
                  <a:lnTo>
                    <a:pt x="6" y="27"/>
                  </a:lnTo>
                  <a:lnTo>
                    <a:pt x="6" y="26"/>
                  </a:lnTo>
                  <a:lnTo>
                    <a:pt x="4" y="23"/>
                  </a:lnTo>
                  <a:lnTo>
                    <a:pt x="6" y="20"/>
                  </a:lnTo>
                  <a:lnTo>
                    <a:pt x="0" y="14"/>
                  </a:lnTo>
                  <a:lnTo>
                    <a:pt x="0" y="12"/>
                  </a:lnTo>
                  <a:lnTo>
                    <a:pt x="4" y="8"/>
                  </a:lnTo>
                  <a:lnTo>
                    <a:pt x="12" y="8"/>
                  </a:lnTo>
                  <a:lnTo>
                    <a:pt x="15" y="2"/>
                  </a:lnTo>
                  <a:lnTo>
                    <a:pt x="1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09" name="France">
              <a:extLst>
                <a:ext uri="{FF2B5EF4-FFF2-40B4-BE49-F238E27FC236}">
                  <a16:creationId xmlns:a16="http://schemas.microsoft.com/office/drawing/2014/main" id="{2BCBCAC6-67E5-0607-71FF-F4379A629060}"/>
                </a:ext>
              </a:extLst>
            </p:cNvPr>
            <p:cNvSpPr>
              <a:spLocks/>
            </p:cNvSpPr>
            <p:nvPr/>
          </p:nvSpPr>
          <p:spPr bwMode="auto">
            <a:xfrm>
              <a:off x="5715614" y="3185127"/>
              <a:ext cx="301780" cy="303587"/>
            </a:xfrm>
            <a:custGeom>
              <a:avLst/>
              <a:gdLst>
                <a:gd name="T0" fmla="*/ 99 w 167"/>
                <a:gd name="T1" fmla="*/ 6 h 168"/>
                <a:gd name="T2" fmla="*/ 118 w 167"/>
                <a:gd name="T3" fmla="*/ 21 h 168"/>
                <a:gd name="T4" fmla="*/ 124 w 167"/>
                <a:gd name="T5" fmla="*/ 19 h 168"/>
                <a:gd name="T6" fmla="*/ 127 w 167"/>
                <a:gd name="T7" fmla="*/ 27 h 168"/>
                <a:gd name="T8" fmla="*/ 143 w 167"/>
                <a:gd name="T9" fmla="*/ 31 h 168"/>
                <a:gd name="T10" fmla="*/ 167 w 167"/>
                <a:gd name="T11" fmla="*/ 42 h 168"/>
                <a:gd name="T12" fmla="*/ 160 w 167"/>
                <a:gd name="T13" fmla="*/ 61 h 168"/>
                <a:gd name="T14" fmla="*/ 160 w 167"/>
                <a:gd name="T15" fmla="*/ 70 h 168"/>
                <a:gd name="T16" fmla="*/ 140 w 167"/>
                <a:gd name="T17" fmla="*/ 92 h 168"/>
                <a:gd name="T18" fmla="*/ 145 w 167"/>
                <a:gd name="T19" fmla="*/ 92 h 168"/>
                <a:gd name="T20" fmla="*/ 151 w 167"/>
                <a:gd name="T21" fmla="*/ 94 h 168"/>
                <a:gd name="T22" fmla="*/ 154 w 167"/>
                <a:gd name="T23" fmla="*/ 104 h 168"/>
                <a:gd name="T24" fmla="*/ 154 w 167"/>
                <a:gd name="T25" fmla="*/ 113 h 168"/>
                <a:gd name="T26" fmla="*/ 154 w 167"/>
                <a:gd name="T27" fmla="*/ 114 h 168"/>
                <a:gd name="T28" fmla="*/ 152 w 167"/>
                <a:gd name="T29" fmla="*/ 122 h 168"/>
                <a:gd name="T30" fmla="*/ 161 w 167"/>
                <a:gd name="T31" fmla="*/ 134 h 168"/>
                <a:gd name="T32" fmla="*/ 143 w 167"/>
                <a:gd name="T33" fmla="*/ 154 h 168"/>
                <a:gd name="T34" fmla="*/ 127 w 167"/>
                <a:gd name="T35" fmla="*/ 148 h 168"/>
                <a:gd name="T36" fmla="*/ 105 w 167"/>
                <a:gd name="T37" fmla="*/ 153 h 168"/>
                <a:gd name="T38" fmla="*/ 105 w 167"/>
                <a:gd name="T39" fmla="*/ 166 h 168"/>
                <a:gd name="T40" fmla="*/ 93 w 167"/>
                <a:gd name="T41" fmla="*/ 168 h 168"/>
                <a:gd name="T42" fmla="*/ 74 w 167"/>
                <a:gd name="T43" fmla="*/ 160 h 168"/>
                <a:gd name="T44" fmla="*/ 53 w 167"/>
                <a:gd name="T45" fmla="*/ 160 h 168"/>
                <a:gd name="T46" fmla="*/ 40 w 167"/>
                <a:gd name="T47" fmla="*/ 148 h 168"/>
                <a:gd name="T48" fmla="*/ 50 w 167"/>
                <a:gd name="T49" fmla="*/ 126 h 168"/>
                <a:gd name="T50" fmla="*/ 47 w 167"/>
                <a:gd name="T51" fmla="*/ 123 h 168"/>
                <a:gd name="T52" fmla="*/ 48 w 167"/>
                <a:gd name="T53" fmla="*/ 105 h 168"/>
                <a:gd name="T54" fmla="*/ 40 w 167"/>
                <a:gd name="T55" fmla="*/ 92 h 168"/>
                <a:gd name="T56" fmla="*/ 35 w 167"/>
                <a:gd name="T57" fmla="*/ 79 h 168"/>
                <a:gd name="T58" fmla="*/ 31 w 167"/>
                <a:gd name="T59" fmla="*/ 77 h 168"/>
                <a:gd name="T60" fmla="*/ 29 w 167"/>
                <a:gd name="T61" fmla="*/ 73 h 168"/>
                <a:gd name="T62" fmla="*/ 5 w 167"/>
                <a:gd name="T63" fmla="*/ 67 h 168"/>
                <a:gd name="T64" fmla="*/ 1 w 167"/>
                <a:gd name="T65" fmla="*/ 61 h 168"/>
                <a:gd name="T66" fmla="*/ 3 w 167"/>
                <a:gd name="T67" fmla="*/ 59 h 168"/>
                <a:gd name="T68" fmla="*/ 4 w 167"/>
                <a:gd name="T69" fmla="*/ 57 h 168"/>
                <a:gd name="T70" fmla="*/ 1 w 167"/>
                <a:gd name="T71" fmla="*/ 52 h 168"/>
                <a:gd name="T72" fmla="*/ 19 w 167"/>
                <a:gd name="T73" fmla="*/ 46 h 168"/>
                <a:gd name="T74" fmla="*/ 43 w 167"/>
                <a:gd name="T75" fmla="*/ 51 h 168"/>
                <a:gd name="T76" fmla="*/ 38 w 167"/>
                <a:gd name="T77" fmla="*/ 28 h 168"/>
                <a:gd name="T78" fmla="*/ 47 w 167"/>
                <a:gd name="T79" fmla="*/ 30 h 168"/>
                <a:gd name="T80" fmla="*/ 65 w 167"/>
                <a:gd name="T81" fmla="*/ 34 h 168"/>
                <a:gd name="T82" fmla="*/ 84 w 167"/>
                <a:gd name="T83" fmla="*/ 18 h 168"/>
                <a:gd name="T84" fmla="*/ 86 w 167"/>
                <a:gd name="T85" fmla="*/ 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7" h="168">
                  <a:moveTo>
                    <a:pt x="99" y="0"/>
                  </a:moveTo>
                  <a:lnTo>
                    <a:pt x="99" y="6"/>
                  </a:lnTo>
                  <a:lnTo>
                    <a:pt x="115" y="15"/>
                  </a:lnTo>
                  <a:lnTo>
                    <a:pt x="118" y="21"/>
                  </a:lnTo>
                  <a:lnTo>
                    <a:pt x="121" y="21"/>
                  </a:lnTo>
                  <a:lnTo>
                    <a:pt x="124" y="19"/>
                  </a:lnTo>
                  <a:lnTo>
                    <a:pt x="127" y="19"/>
                  </a:lnTo>
                  <a:lnTo>
                    <a:pt x="127" y="27"/>
                  </a:lnTo>
                  <a:lnTo>
                    <a:pt x="137" y="30"/>
                  </a:lnTo>
                  <a:lnTo>
                    <a:pt x="143" y="31"/>
                  </a:lnTo>
                  <a:lnTo>
                    <a:pt x="149" y="37"/>
                  </a:lnTo>
                  <a:lnTo>
                    <a:pt x="167" y="42"/>
                  </a:lnTo>
                  <a:lnTo>
                    <a:pt x="167" y="43"/>
                  </a:lnTo>
                  <a:lnTo>
                    <a:pt x="160" y="61"/>
                  </a:lnTo>
                  <a:lnTo>
                    <a:pt x="161" y="70"/>
                  </a:lnTo>
                  <a:lnTo>
                    <a:pt x="160" y="70"/>
                  </a:lnTo>
                  <a:lnTo>
                    <a:pt x="152" y="73"/>
                  </a:lnTo>
                  <a:lnTo>
                    <a:pt x="140" y="92"/>
                  </a:lnTo>
                  <a:lnTo>
                    <a:pt x="140" y="97"/>
                  </a:lnTo>
                  <a:lnTo>
                    <a:pt x="145" y="92"/>
                  </a:lnTo>
                  <a:lnTo>
                    <a:pt x="151" y="92"/>
                  </a:lnTo>
                  <a:lnTo>
                    <a:pt x="151" y="94"/>
                  </a:lnTo>
                  <a:lnTo>
                    <a:pt x="154" y="102"/>
                  </a:lnTo>
                  <a:lnTo>
                    <a:pt x="154" y="104"/>
                  </a:lnTo>
                  <a:lnTo>
                    <a:pt x="151" y="104"/>
                  </a:lnTo>
                  <a:lnTo>
                    <a:pt x="154" y="113"/>
                  </a:lnTo>
                  <a:lnTo>
                    <a:pt x="155" y="114"/>
                  </a:lnTo>
                  <a:lnTo>
                    <a:pt x="154" y="114"/>
                  </a:lnTo>
                  <a:lnTo>
                    <a:pt x="151" y="120"/>
                  </a:lnTo>
                  <a:lnTo>
                    <a:pt x="152" y="122"/>
                  </a:lnTo>
                  <a:lnTo>
                    <a:pt x="154" y="134"/>
                  </a:lnTo>
                  <a:lnTo>
                    <a:pt x="161" y="134"/>
                  </a:lnTo>
                  <a:lnTo>
                    <a:pt x="161" y="141"/>
                  </a:lnTo>
                  <a:lnTo>
                    <a:pt x="143" y="154"/>
                  </a:lnTo>
                  <a:lnTo>
                    <a:pt x="142" y="154"/>
                  </a:lnTo>
                  <a:lnTo>
                    <a:pt x="127" y="148"/>
                  </a:lnTo>
                  <a:lnTo>
                    <a:pt x="115" y="147"/>
                  </a:lnTo>
                  <a:lnTo>
                    <a:pt x="105" y="153"/>
                  </a:lnTo>
                  <a:lnTo>
                    <a:pt x="103" y="159"/>
                  </a:lnTo>
                  <a:lnTo>
                    <a:pt x="105" y="166"/>
                  </a:lnTo>
                  <a:lnTo>
                    <a:pt x="96" y="166"/>
                  </a:lnTo>
                  <a:lnTo>
                    <a:pt x="93" y="168"/>
                  </a:lnTo>
                  <a:lnTo>
                    <a:pt x="88" y="168"/>
                  </a:lnTo>
                  <a:lnTo>
                    <a:pt x="74" y="160"/>
                  </a:lnTo>
                  <a:lnTo>
                    <a:pt x="69" y="163"/>
                  </a:lnTo>
                  <a:lnTo>
                    <a:pt x="53" y="160"/>
                  </a:lnTo>
                  <a:lnTo>
                    <a:pt x="40" y="150"/>
                  </a:lnTo>
                  <a:lnTo>
                    <a:pt x="40" y="148"/>
                  </a:lnTo>
                  <a:lnTo>
                    <a:pt x="45" y="144"/>
                  </a:lnTo>
                  <a:lnTo>
                    <a:pt x="50" y="126"/>
                  </a:lnTo>
                  <a:lnTo>
                    <a:pt x="47" y="125"/>
                  </a:lnTo>
                  <a:lnTo>
                    <a:pt x="47" y="123"/>
                  </a:lnTo>
                  <a:lnTo>
                    <a:pt x="50" y="108"/>
                  </a:lnTo>
                  <a:lnTo>
                    <a:pt x="48" y="105"/>
                  </a:lnTo>
                  <a:lnTo>
                    <a:pt x="47" y="95"/>
                  </a:lnTo>
                  <a:lnTo>
                    <a:pt x="40" y="92"/>
                  </a:lnTo>
                  <a:lnTo>
                    <a:pt x="37" y="86"/>
                  </a:lnTo>
                  <a:lnTo>
                    <a:pt x="35" y="79"/>
                  </a:lnTo>
                  <a:lnTo>
                    <a:pt x="35" y="77"/>
                  </a:lnTo>
                  <a:lnTo>
                    <a:pt x="31" y="77"/>
                  </a:lnTo>
                  <a:lnTo>
                    <a:pt x="31" y="76"/>
                  </a:lnTo>
                  <a:lnTo>
                    <a:pt x="29" y="73"/>
                  </a:lnTo>
                  <a:lnTo>
                    <a:pt x="11" y="67"/>
                  </a:lnTo>
                  <a:lnTo>
                    <a:pt x="5" y="67"/>
                  </a:lnTo>
                  <a:lnTo>
                    <a:pt x="1" y="62"/>
                  </a:lnTo>
                  <a:lnTo>
                    <a:pt x="1" y="61"/>
                  </a:lnTo>
                  <a:lnTo>
                    <a:pt x="4" y="61"/>
                  </a:lnTo>
                  <a:lnTo>
                    <a:pt x="3" y="59"/>
                  </a:lnTo>
                  <a:lnTo>
                    <a:pt x="3" y="58"/>
                  </a:lnTo>
                  <a:lnTo>
                    <a:pt x="4" y="57"/>
                  </a:lnTo>
                  <a:lnTo>
                    <a:pt x="0" y="57"/>
                  </a:lnTo>
                  <a:lnTo>
                    <a:pt x="1" y="52"/>
                  </a:lnTo>
                  <a:lnTo>
                    <a:pt x="17" y="46"/>
                  </a:lnTo>
                  <a:lnTo>
                    <a:pt x="19" y="46"/>
                  </a:lnTo>
                  <a:lnTo>
                    <a:pt x="29" y="51"/>
                  </a:lnTo>
                  <a:lnTo>
                    <a:pt x="43" y="51"/>
                  </a:lnTo>
                  <a:lnTo>
                    <a:pt x="38" y="30"/>
                  </a:lnTo>
                  <a:lnTo>
                    <a:pt x="38" y="28"/>
                  </a:lnTo>
                  <a:lnTo>
                    <a:pt x="47" y="28"/>
                  </a:lnTo>
                  <a:lnTo>
                    <a:pt x="47" y="30"/>
                  </a:lnTo>
                  <a:lnTo>
                    <a:pt x="50" y="34"/>
                  </a:lnTo>
                  <a:lnTo>
                    <a:pt x="65" y="34"/>
                  </a:lnTo>
                  <a:lnTo>
                    <a:pt x="66" y="28"/>
                  </a:lnTo>
                  <a:lnTo>
                    <a:pt x="84" y="18"/>
                  </a:lnTo>
                  <a:lnTo>
                    <a:pt x="86" y="5"/>
                  </a:lnTo>
                  <a:lnTo>
                    <a:pt x="86" y="3"/>
                  </a:lnTo>
                  <a:lnTo>
                    <a:pt x="9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0" name="Ireland">
              <a:extLst>
                <a:ext uri="{FF2B5EF4-FFF2-40B4-BE49-F238E27FC236}">
                  <a16:creationId xmlns:a16="http://schemas.microsoft.com/office/drawing/2014/main" id="{FF18AB2F-5917-9B89-490B-557611D7F93C}"/>
                </a:ext>
              </a:extLst>
            </p:cNvPr>
            <p:cNvSpPr>
              <a:spLocks noEditPoints="1"/>
            </p:cNvSpPr>
            <p:nvPr/>
          </p:nvSpPr>
          <p:spPr bwMode="auto">
            <a:xfrm>
              <a:off x="5583698" y="3022491"/>
              <a:ext cx="104809" cy="149986"/>
            </a:xfrm>
            <a:custGeom>
              <a:avLst/>
              <a:gdLst>
                <a:gd name="T0" fmla="*/ 19 w 58"/>
                <a:gd name="T1" fmla="*/ 56 h 83"/>
                <a:gd name="T2" fmla="*/ 13 w 58"/>
                <a:gd name="T3" fmla="*/ 59 h 83"/>
                <a:gd name="T4" fmla="*/ 21 w 58"/>
                <a:gd name="T5" fmla="*/ 58 h 83"/>
                <a:gd name="T6" fmla="*/ 19 w 58"/>
                <a:gd name="T7" fmla="*/ 56 h 83"/>
                <a:gd name="T8" fmla="*/ 37 w 58"/>
                <a:gd name="T9" fmla="*/ 0 h 83"/>
                <a:gd name="T10" fmla="*/ 38 w 58"/>
                <a:gd name="T11" fmla="*/ 7 h 83"/>
                <a:gd name="T12" fmla="*/ 31 w 58"/>
                <a:gd name="T13" fmla="*/ 18 h 83"/>
                <a:gd name="T14" fmla="*/ 35 w 58"/>
                <a:gd name="T15" fmla="*/ 23 h 83"/>
                <a:gd name="T16" fmla="*/ 50 w 58"/>
                <a:gd name="T17" fmla="*/ 18 h 83"/>
                <a:gd name="T18" fmla="*/ 52 w 58"/>
                <a:gd name="T19" fmla="*/ 18 h 83"/>
                <a:gd name="T20" fmla="*/ 56 w 58"/>
                <a:gd name="T21" fmla="*/ 28 h 83"/>
                <a:gd name="T22" fmla="*/ 56 w 58"/>
                <a:gd name="T23" fmla="*/ 29 h 83"/>
                <a:gd name="T24" fmla="*/ 55 w 58"/>
                <a:gd name="T25" fmla="*/ 31 h 83"/>
                <a:gd name="T26" fmla="*/ 58 w 58"/>
                <a:gd name="T27" fmla="*/ 38 h 83"/>
                <a:gd name="T28" fmla="*/ 58 w 58"/>
                <a:gd name="T29" fmla="*/ 52 h 83"/>
                <a:gd name="T30" fmla="*/ 53 w 58"/>
                <a:gd name="T31" fmla="*/ 69 h 83"/>
                <a:gd name="T32" fmla="*/ 37 w 58"/>
                <a:gd name="T33" fmla="*/ 69 h 83"/>
                <a:gd name="T34" fmla="*/ 15 w 58"/>
                <a:gd name="T35" fmla="*/ 83 h 83"/>
                <a:gd name="T36" fmla="*/ 9 w 58"/>
                <a:gd name="T37" fmla="*/ 83 h 83"/>
                <a:gd name="T38" fmla="*/ 10 w 58"/>
                <a:gd name="T39" fmla="*/ 80 h 83"/>
                <a:gd name="T40" fmla="*/ 4 w 58"/>
                <a:gd name="T41" fmla="*/ 81 h 83"/>
                <a:gd name="T42" fmla="*/ 3 w 58"/>
                <a:gd name="T43" fmla="*/ 80 h 83"/>
                <a:gd name="T44" fmla="*/ 4 w 58"/>
                <a:gd name="T45" fmla="*/ 80 h 83"/>
                <a:gd name="T46" fmla="*/ 7 w 58"/>
                <a:gd name="T47" fmla="*/ 77 h 83"/>
                <a:gd name="T48" fmla="*/ 1 w 58"/>
                <a:gd name="T49" fmla="*/ 77 h 83"/>
                <a:gd name="T50" fmla="*/ 1 w 58"/>
                <a:gd name="T51" fmla="*/ 75 h 83"/>
                <a:gd name="T52" fmla="*/ 6 w 58"/>
                <a:gd name="T53" fmla="*/ 71 h 83"/>
                <a:gd name="T54" fmla="*/ 0 w 58"/>
                <a:gd name="T55" fmla="*/ 69 h 83"/>
                <a:gd name="T56" fmla="*/ 0 w 58"/>
                <a:gd name="T57" fmla="*/ 68 h 83"/>
                <a:gd name="T58" fmla="*/ 1 w 58"/>
                <a:gd name="T59" fmla="*/ 68 h 83"/>
                <a:gd name="T60" fmla="*/ 6 w 58"/>
                <a:gd name="T61" fmla="*/ 66 h 83"/>
                <a:gd name="T62" fmla="*/ 10 w 58"/>
                <a:gd name="T63" fmla="*/ 61 h 83"/>
                <a:gd name="T64" fmla="*/ 7 w 58"/>
                <a:gd name="T65" fmla="*/ 61 h 83"/>
                <a:gd name="T66" fmla="*/ 7 w 58"/>
                <a:gd name="T67" fmla="*/ 59 h 83"/>
                <a:gd name="T68" fmla="*/ 18 w 58"/>
                <a:gd name="T69" fmla="*/ 47 h 83"/>
                <a:gd name="T70" fmla="*/ 7 w 58"/>
                <a:gd name="T71" fmla="*/ 44 h 83"/>
                <a:gd name="T72" fmla="*/ 7 w 58"/>
                <a:gd name="T73" fmla="*/ 43 h 83"/>
                <a:gd name="T74" fmla="*/ 4 w 58"/>
                <a:gd name="T75" fmla="*/ 38 h 83"/>
                <a:gd name="T76" fmla="*/ 10 w 58"/>
                <a:gd name="T77" fmla="*/ 34 h 83"/>
                <a:gd name="T78" fmla="*/ 4 w 58"/>
                <a:gd name="T79" fmla="*/ 29 h 83"/>
                <a:gd name="T80" fmla="*/ 3 w 58"/>
                <a:gd name="T81" fmla="*/ 29 h 83"/>
                <a:gd name="T82" fmla="*/ 3 w 58"/>
                <a:gd name="T83" fmla="*/ 28 h 83"/>
                <a:gd name="T84" fmla="*/ 7 w 58"/>
                <a:gd name="T85" fmla="*/ 28 h 83"/>
                <a:gd name="T86" fmla="*/ 6 w 58"/>
                <a:gd name="T87" fmla="*/ 26 h 83"/>
                <a:gd name="T88" fmla="*/ 9 w 58"/>
                <a:gd name="T89" fmla="*/ 22 h 83"/>
                <a:gd name="T90" fmla="*/ 9 w 58"/>
                <a:gd name="T91" fmla="*/ 20 h 83"/>
                <a:gd name="T92" fmla="*/ 16 w 58"/>
                <a:gd name="T93" fmla="*/ 20 h 83"/>
                <a:gd name="T94" fmla="*/ 19 w 58"/>
                <a:gd name="T95" fmla="*/ 22 h 83"/>
                <a:gd name="T96" fmla="*/ 24 w 58"/>
                <a:gd name="T97" fmla="*/ 22 h 83"/>
                <a:gd name="T98" fmla="*/ 28 w 58"/>
                <a:gd name="T99" fmla="*/ 16 h 83"/>
                <a:gd name="T100" fmla="*/ 21 w 58"/>
                <a:gd name="T101" fmla="*/ 15 h 83"/>
                <a:gd name="T102" fmla="*/ 21 w 58"/>
                <a:gd name="T103" fmla="*/ 13 h 83"/>
                <a:gd name="T104" fmla="*/ 30 w 58"/>
                <a:gd name="T105" fmla="*/ 3 h 83"/>
                <a:gd name="T106" fmla="*/ 37 w 58"/>
                <a:gd name="T10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83">
                  <a:moveTo>
                    <a:pt x="19" y="56"/>
                  </a:moveTo>
                  <a:lnTo>
                    <a:pt x="13" y="59"/>
                  </a:lnTo>
                  <a:lnTo>
                    <a:pt x="21" y="58"/>
                  </a:lnTo>
                  <a:lnTo>
                    <a:pt x="19" y="56"/>
                  </a:lnTo>
                  <a:close/>
                  <a:moveTo>
                    <a:pt x="37" y="0"/>
                  </a:moveTo>
                  <a:lnTo>
                    <a:pt x="38" y="7"/>
                  </a:lnTo>
                  <a:lnTo>
                    <a:pt x="31" y="18"/>
                  </a:lnTo>
                  <a:lnTo>
                    <a:pt x="35" y="23"/>
                  </a:lnTo>
                  <a:lnTo>
                    <a:pt x="50" y="18"/>
                  </a:lnTo>
                  <a:lnTo>
                    <a:pt x="52" y="18"/>
                  </a:lnTo>
                  <a:lnTo>
                    <a:pt x="56" y="28"/>
                  </a:lnTo>
                  <a:lnTo>
                    <a:pt x="56" y="29"/>
                  </a:lnTo>
                  <a:lnTo>
                    <a:pt x="55" y="31"/>
                  </a:lnTo>
                  <a:lnTo>
                    <a:pt x="58" y="38"/>
                  </a:lnTo>
                  <a:lnTo>
                    <a:pt x="58" y="52"/>
                  </a:lnTo>
                  <a:lnTo>
                    <a:pt x="53" y="69"/>
                  </a:lnTo>
                  <a:lnTo>
                    <a:pt x="37" y="69"/>
                  </a:lnTo>
                  <a:lnTo>
                    <a:pt x="15" y="83"/>
                  </a:lnTo>
                  <a:lnTo>
                    <a:pt x="9" y="83"/>
                  </a:lnTo>
                  <a:lnTo>
                    <a:pt x="10" y="80"/>
                  </a:lnTo>
                  <a:lnTo>
                    <a:pt x="4" y="81"/>
                  </a:lnTo>
                  <a:lnTo>
                    <a:pt x="3" y="80"/>
                  </a:lnTo>
                  <a:lnTo>
                    <a:pt x="4" y="80"/>
                  </a:lnTo>
                  <a:lnTo>
                    <a:pt x="7" y="77"/>
                  </a:lnTo>
                  <a:lnTo>
                    <a:pt x="1" y="77"/>
                  </a:lnTo>
                  <a:lnTo>
                    <a:pt x="1" y="75"/>
                  </a:lnTo>
                  <a:lnTo>
                    <a:pt x="6" y="71"/>
                  </a:lnTo>
                  <a:lnTo>
                    <a:pt x="0" y="69"/>
                  </a:lnTo>
                  <a:lnTo>
                    <a:pt x="0" y="68"/>
                  </a:lnTo>
                  <a:lnTo>
                    <a:pt x="1" y="68"/>
                  </a:lnTo>
                  <a:lnTo>
                    <a:pt x="6" y="66"/>
                  </a:lnTo>
                  <a:lnTo>
                    <a:pt x="10" y="61"/>
                  </a:lnTo>
                  <a:lnTo>
                    <a:pt x="7" y="61"/>
                  </a:lnTo>
                  <a:lnTo>
                    <a:pt x="7" y="59"/>
                  </a:lnTo>
                  <a:lnTo>
                    <a:pt x="18" y="47"/>
                  </a:lnTo>
                  <a:lnTo>
                    <a:pt x="7" y="44"/>
                  </a:lnTo>
                  <a:lnTo>
                    <a:pt x="7" y="43"/>
                  </a:lnTo>
                  <a:lnTo>
                    <a:pt x="4" y="38"/>
                  </a:lnTo>
                  <a:lnTo>
                    <a:pt x="10" y="34"/>
                  </a:lnTo>
                  <a:lnTo>
                    <a:pt x="4" y="29"/>
                  </a:lnTo>
                  <a:lnTo>
                    <a:pt x="3" y="29"/>
                  </a:lnTo>
                  <a:lnTo>
                    <a:pt x="3" y="28"/>
                  </a:lnTo>
                  <a:lnTo>
                    <a:pt x="7" y="28"/>
                  </a:lnTo>
                  <a:lnTo>
                    <a:pt x="6" y="26"/>
                  </a:lnTo>
                  <a:lnTo>
                    <a:pt x="9" y="22"/>
                  </a:lnTo>
                  <a:lnTo>
                    <a:pt x="9" y="20"/>
                  </a:lnTo>
                  <a:lnTo>
                    <a:pt x="16" y="20"/>
                  </a:lnTo>
                  <a:lnTo>
                    <a:pt x="19" y="22"/>
                  </a:lnTo>
                  <a:lnTo>
                    <a:pt x="24" y="22"/>
                  </a:lnTo>
                  <a:lnTo>
                    <a:pt x="28" y="16"/>
                  </a:lnTo>
                  <a:lnTo>
                    <a:pt x="21" y="15"/>
                  </a:lnTo>
                  <a:lnTo>
                    <a:pt x="21" y="13"/>
                  </a:lnTo>
                  <a:lnTo>
                    <a:pt x="30" y="3"/>
                  </a:lnTo>
                  <a:lnTo>
                    <a:pt x="3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1" name="Austria">
              <a:extLst>
                <a:ext uri="{FF2B5EF4-FFF2-40B4-BE49-F238E27FC236}">
                  <a16:creationId xmlns:a16="http://schemas.microsoft.com/office/drawing/2014/main" id="{5F7F9D56-185A-D202-164A-AC41C3005E95}"/>
                </a:ext>
              </a:extLst>
            </p:cNvPr>
            <p:cNvSpPr>
              <a:spLocks/>
            </p:cNvSpPr>
            <p:nvPr/>
          </p:nvSpPr>
          <p:spPr bwMode="auto">
            <a:xfrm>
              <a:off x="6049920" y="3261023"/>
              <a:ext cx="182514" cy="90353"/>
            </a:xfrm>
            <a:custGeom>
              <a:avLst/>
              <a:gdLst>
                <a:gd name="T0" fmla="*/ 72 w 101"/>
                <a:gd name="T1" fmla="*/ 0 h 50"/>
                <a:gd name="T2" fmla="*/ 74 w 101"/>
                <a:gd name="T3" fmla="*/ 0 h 50"/>
                <a:gd name="T4" fmla="*/ 95 w 101"/>
                <a:gd name="T5" fmla="*/ 4 h 50"/>
                <a:gd name="T6" fmla="*/ 101 w 101"/>
                <a:gd name="T7" fmla="*/ 19 h 50"/>
                <a:gd name="T8" fmla="*/ 99 w 101"/>
                <a:gd name="T9" fmla="*/ 25 h 50"/>
                <a:gd name="T10" fmla="*/ 99 w 101"/>
                <a:gd name="T11" fmla="*/ 26 h 50"/>
                <a:gd name="T12" fmla="*/ 93 w 101"/>
                <a:gd name="T13" fmla="*/ 26 h 50"/>
                <a:gd name="T14" fmla="*/ 92 w 101"/>
                <a:gd name="T15" fmla="*/ 38 h 50"/>
                <a:gd name="T16" fmla="*/ 92 w 101"/>
                <a:gd name="T17" fmla="*/ 40 h 50"/>
                <a:gd name="T18" fmla="*/ 87 w 101"/>
                <a:gd name="T19" fmla="*/ 43 h 50"/>
                <a:gd name="T20" fmla="*/ 67 w 101"/>
                <a:gd name="T21" fmla="*/ 50 h 50"/>
                <a:gd name="T22" fmla="*/ 55 w 101"/>
                <a:gd name="T23" fmla="*/ 50 h 50"/>
                <a:gd name="T24" fmla="*/ 40 w 101"/>
                <a:gd name="T25" fmla="*/ 46 h 50"/>
                <a:gd name="T26" fmla="*/ 34 w 101"/>
                <a:gd name="T27" fmla="*/ 38 h 50"/>
                <a:gd name="T28" fmla="*/ 12 w 101"/>
                <a:gd name="T29" fmla="*/ 43 h 50"/>
                <a:gd name="T30" fmla="*/ 3 w 101"/>
                <a:gd name="T31" fmla="*/ 40 h 50"/>
                <a:gd name="T32" fmla="*/ 1 w 101"/>
                <a:gd name="T33" fmla="*/ 40 h 50"/>
                <a:gd name="T34" fmla="*/ 0 w 101"/>
                <a:gd name="T35" fmla="*/ 31 h 50"/>
                <a:gd name="T36" fmla="*/ 0 w 101"/>
                <a:gd name="T37" fmla="*/ 29 h 50"/>
                <a:gd name="T38" fmla="*/ 4 w 101"/>
                <a:gd name="T39" fmla="*/ 28 h 50"/>
                <a:gd name="T40" fmla="*/ 10 w 101"/>
                <a:gd name="T41" fmla="*/ 32 h 50"/>
                <a:gd name="T42" fmla="*/ 13 w 101"/>
                <a:gd name="T43" fmla="*/ 28 h 50"/>
                <a:gd name="T44" fmla="*/ 15 w 101"/>
                <a:gd name="T45" fmla="*/ 28 h 50"/>
                <a:gd name="T46" fmla="*/ 22 w 101"/>
                <a:gd name="T47" fmla="*/ 31 h 50"/>
                <a:gd name="T48" fmla="*/ 37 w 101"/>
                <a:gd name="T49" fmla="*/ 25 h 50"/>
                <a:gd name="T50" fmla="*/ 43 w 101"/>
                <a:gd name="T51" fmla="*/ 28 h 50"/>
                <a:gd name="T52" fmla="*/ 46 w 101"/>
                <a:gd name="T53" fmla="*/ 26 h 50"/>
                <a:gd name="T54" fmla="*/ 44 w 101"/>
                <a:gd name="T55" fmla="*/ 16 h 50"/>
                <a:gd name="T56" fmla="*/ 44 w 101"/>
                <a:gd name="T57" fmla="*/ 15 h 50"/>
                <a:gd name="T58" fmla="*/ 56 w 101"/>
                <a:gd name="T59" fmla="*/ 6 h 50"/>
                <a:gd name="T60" fmla="*/ 59 w 101"/>
                <a:gd name="T61" fmla="*/ 6 h 50"/>
                <a:gd name="T62" fmla="*/ 64 w 101"/>
                <a:gd name="T63" fmla="*/ 7 h 50"/>
                <a:gd name="T64" fmla="*/ 67 w 101"/>
                <a:gd name="T65" fmla="*/ 7 h 50"/>
                <a:gd name="T66" fmla="*/ 72 w 101"/>
                <a:gd name="T6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50">
                  <a:moveTo>
                    <a:pt x="72" y="0"/>
                  </a:moveTo>
                  <a:lnTo>
                    <a:pt x="74" y="0"/>
                  </a:lnTo>
                  <a:lnTo>
                    <a:pt x="95" y="4"/>
                  </a:lnTo>
                  <a:lnTo>
                    <a:pt x="101" y="19"/>
                  </a:lnTo>
                  <a:lnTo>
                    <a:pt x="99" y="25"/>
                  </a:lnTo>
                  <a:lnTo>
                    <a:pt x="99" y="26"/>
                  </a:lnTo>
                  <a:lnTo>
                    <a:pt x="93" y="26"/>
                  </a:lnTo>
                  <a:lnTo>
                    <a:pt x="92" y="38"/>
                  </a:lnTo>
                  <a:lnTo>
                    <a:pt x="92" y="40"/>
                  </a:lnTo>
                  <a:lnTo>
                    <a:pt x="87" y="43"/>
                  </a:lnTo>
                  <a:lnTo>
                    <a:pt x="67" y="50"/>
                  </a:lnTo>
                  <a:lnTo>
                    <a:pt x="55" y="50"/>
                  </a:lnTo>
                  <a:lnTo>
                    <a:pt x="40" y="46"/>
                  </a:lnTo>
                  <a:lnTo>
                    <a:pt x="34" y="38"/>
                  </a:lnTo>
                  <a:lnTo>
                    <a:pt x="12" y="43"/>
                  </a:lnTo>
                  <a:lnTo>
                    <a:pt x="3" y="40"/>
                  </a:lnTo>
                  <a:lnTo>
                    <a:pt x="1" y="40"/>
                  </a:lnTo>
                  <a:lnTo>
                    <a:pt x="0" y="31"/>
                  </a:lnTo>
                  <a:lnTo>
                    <a:pt x="0" y="29"/>
                  </a:lnTo>
                  <a:lnTo>
                    <a:pt x="4" y="28"/>
                  </a:lnTo>
                  <a:lnTo>
                    <a:pt x="10" y="32"/>
                  </a:lnTo>
                  <a:lnTo>
                    <a:pt x="13" y="28"/>
                  </a:lnTo>
                  <a:lnTo>
                    <a:pt x="15" y="28"/>
                  </a:lnTo>
                  <a:lnTo>
                    <a:pt x="22" y="31"/>
                  </a:lnTo>
                  <a:lnTo>
                    <a:pt x="37" y="25"/>
                  </a:lnTo>
                  <a:lnTo>
                    <a:pt x="43" y="28"/>
                  </a:lnTo>
                  <a:lnTo>
                    <a:pt x="46" y="26"/>
                  </a:lnTo>
                  <a:lnTo>
                    <a:pt x="44" y="16"/>
                  </a:lnTo>
                  <a:lnTo>
                    <a:pt x="44" y="15"/>
                  </a:lnTo>
                  <a:lnTo>
                    <a:pt x="56" y="6"/>
                  </a:lnTo>
                  <a:lnTo>
                    <a:pt x="59" y="6"/>
                  </a:lnTo>
                  <a:lnTo>
                    <a:pt x="64" y="7"/>
                  </a:lnTo>
                  <a:lnTo>
                    <a:pt x="67" y="7"/>
                  </a:lnTo>
                  <a:lnTo>
                    <a:pt x="7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2" name="Belgium">
              <a:extLst>
                <a:ext uri="{FF2B5EF4-FFF2-40B4-BE49-F238E27FC236}">
                  <a16:creationId xmlns:a16="http://schemas.microsoft.com/office/drawing/2014/main" id="{70FED76B-05E8-A60F-8159-06833C505ABB}"/>
                </a:ext>
              </a:extLst>
            </p:cNvPr>
            <p:cNvSpPr>
              <a:spLocks/>
            </p:cNvSpPr>
            <p:nvPr/>
          </p:nvSpPr>
          <p:spPr bwMode="auto">
            <a:xfrm>
              <a:off x="5890898" y="3174285"/>
              <a:ext cx="83124" cy="66862"/>
            </a:xfrm>
            <a:custGeom>
              <a:avLst/>
              <a:gdLst>
                <a:gd name="T0" fmla="*/ 9 w 46"/>
                <a:gd name="T1" fmla="*/ 0 h 37"/>
                <a:gd name="T2" fmla="*/ 11 w 46"/>
                <a:gd name="T3" fmla="*/ 0 h 37"/>
                <a:gd name="T4" fmla="*/ 15 w 46"/>
                <a:gd name="T5" fmla="*/ 3 h 37"/>
                <a:gd name="T6" fmla="*/ 18 w 46"/>
                <a:gd name="T7" fmla="*/ 3 h 37"/>
                <a:gd name="T8" fmla="*/ 21 w 46"/>
                <a:gd name="T9" fmla="*/ 2 h 37"/>
                <a:gd name="T10" fmla="*/ 26 w 46"/>
                <a:gd name="T11" fmla="*/ 2 h 37"/>
                <a:gd name="T12" fmla="*/ 29 w 46"/>
                <a:gd name="T13" fmla="*/ 0 h 37"/>
                <a:gd name="T14" fmla="*/ 32 w 46"/>
                <a:gd name="T15" fmla="*/ 0 h 37"/>
                <a:gd name="T16" fmla="*/ 37 w 46"/>
                <a:gd name="T17" fmla="*/ 5 h 37"/>
                <a:gd name="T18" fmla="*/ 39 w 46"/>
                <a:gd name="T19" fmla="*/ 5 h 37"/>
                <a:gd name="T20" fmla="*/ 39 w 46"/>
                <a:gd name="T21" fmla="*/ 12 h 37"/>
                <a:gd name="T22" fmla="*/ 43 w 46"/>
                <a:gd name="T23" fmla="*/ 14 h 37"/>
                <a:gd name="T24" fmla="*/ 46 w 46"/>
                <a:gd name="T25" fmla="*/ 20 h 37"/>
                <a:gd name="T26" fmla="*/ 45 w 46"/>
                <a:gd name="T27" fmla="*/ 25 h 37"/>
                <a:gd name="T28" fmla="*/ 39 w 46"/>
                <a:gd name="T29" fmla="*/ 31 h 37"/>
                <a:gd name="T30" fmla="*/ 40 w 46"/>
                <a:gd name="T31" fmla="*/ 37 h 37"/>
                <a:gd name="T32" fmla="*/ 39 w 46"/>
                <a:gd name="T33" fmla="*/ 37 h 37"/>
                <a:gd name="T34" fmla="*/ 30 w 46"/>
                <a:gd name="T35" fmla="*/ 34 h 37"/>
                <a:gd name="T36" fmla="*/ 29 w 46"/>
                <a:gd name="T37" fmla="*/ 34 h 37"/>
                <a:gd name="T38" fmla="*/ 29 w 46"/>
                <a:gd name="T39" fmla="*/ 27 h 37"/>
                <a:gd name="T40" fmla="*/ 27 w 46"/>
                <a:gd name="T41" fmla="*/ 27 h 37"/>
                <a:gd name="T42" fmla="*/ 26 w 46"/>
                <a:gd name="T43" fmla="*/ 28 h 37"/>
                <a:gd name="T44" fmla="*/ 23 w 46"/>
                <a:gd name="T45" fmla="*/ 28 h 37"/>
                <a:gd name="T46" fmla="*/ 21 w 46"/>
                <a:gd name="T47" fmla="*/ 30 h 37"/>
                <a:gd name="T48" fmla="*/ 20 w 46"/>
                <a:gd name="T49" fmla="*/ 30 h 37"/>
                <a:gd name="T50" fmla="*/ 20 w 46"/>
                <a:gd name="T51" fmla="*/ 28 h 37"/>
                <a:gd name="T52" fmla="*/ 17 w 46"/>
                <a:gd name="T53" fmla="*/ 22 h 37"/>
                <a:gd name="T54" fmla="*/ 2 w 46"/>
                <a:gd name="T55" fmla="*/ 12 h 37"/>
                <a:gd name="T56" fmla="*/ 0 w 46"/>
                <a:gd name="T57" fmla="*/ 12 h 37"/>
                <a:gd name="T58" fmla="*/ 0 w 46"/>
                <a:gd name="T59" fmla="*/ 6 h 37"/>
                <a:gd name="T60" fmla="*/ 2 w 46"/>
                <a:gd name="T61" fmla="*/ 6 h 37"/>
                <a:gd name="T62" fmla="*/ 9 w 46"/>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7">
                  <a:moveTo>
                    <a:pt x="9" y="0"/>
                  </a:moveTo>
                  <a:lnTo>
                    <a:pt x="11" y="0"/>
                  </a:lnTo>
                  <a:lnTo>
                    <a:pt x="15" y="3"/>
                  </a:lnTo>
                  <a:lnTo>
                    <a:pt x="18" y="3"/>
                  </a:lnTo>
                  <a:lnTo>
                    <a:pt x="21" y="2"/>
                  </a:lnTo>
                  <a:lnTo>
                    <a:pt x="26" y="2"/>
                  </a:lnTo>
                  <a:lnTo>
                    <a:pt x="29" y="0"/>
                  </a:lnTo>
                  <a:lnTo>
                    <a:pt x="32" y="0"/>
                  </a:lnTo>
                  <a:lnTo>
                    <a:pt x="37" y="5"/>
                  </a:lnTo>
                  <a:lnTo>
                    <a:pt x="39" y="5"/>
                  </a:lnTo>
                  <a:lnTo>
                    <a:pt x="39" y="12"/>
                  </a:lnTo>
                  <a:lnTo>
                    <a:pt x="43" y="14"/>
                  </a:lnTo>
                  <a:lnTo>
                    <a:pt x="46" y="20"/>
                  </a:lnTo>
                  <a:lnTo>
                    <a:pt x="45" y="25"/>
                  </a:lnTo>
                  <a:lnTo>
                    <a:pt x="39" y="31"/>
                  </a:lnTo>
                  <a:lnTo>
                    <a:pt x="40" y="37"/>
                  </a:lnTo>
                  <a:lnTo>
                    <a:pt x="39" y="37"/>
                  </a:lnTo>
                  <a:lnTo>
                    <a:pt x="30" y="34"/>
                  </a:lnTo>
                  <a:lnTo>
                    <a:pt x="29" y="34"/>
                  </a:lnTo>
                  <a:lnTo>
                    <a:pt x="29" y="27"/>
                  </a:lnTo>
                  <a:lnTo>
                    <a:pt x="27" y="27"/>
                  </a:lnTo>
                  <a:lnTo>
                    <a:pt x="26" y="28"/>
                  </a:lnTo>
                  <a:lnTo>
                    <a:pt x="23" y="28"/>
                  </a:lnTo>
                  <a:lnTo>
                    <a:pt x="21" y="30"/>
                  </a:lnTo>
                  <a:lnTo>
                    <a:pt x="20" y="30"/>
                  </a:lnTo>
                  <a:lnTo>
                    <a:pt x="20" y="28"/>
                  </a:lnTo>
                  <a:lnTo>
                    <a:pt x="17" y="22"/>
                  </a:lnTo>
                  <a:lnTo>
                    <a:pt x="2" y="12"/>
                  </a:lnTo>
                  <a:lnTo>
                    <a:pt x="0" y="12"/>
                  </a:lnTo>
                  <a:lnTo>
                    <a:pt x="0" y="6"/>
                  </a:lnTo>
                  <a:lnTo>
                    <a:pt x="2" y="6"/>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3" name="Poland">
              <a:extLst>
                <a:ext uri="{FF2B5EF4-FFF2-40B4-BE49-F238E27FC236}">
                  <a16:creationId xmlns:a16="http://schemas.microsoft.com/office/drawing/2014/main" id="{4E820625-3361-673A-C94E-70B43D6CAE41}"/>
                </a:ext>
              </a:extLst>
            </p:cNvPr>
            <p:cNvSpPr>
              <a:spLocks/>
            </p:cNvSpPr>
            <p:nvPr/>
          </p:nvSpPr>
          <p:spPr bwMode="auto">
            <a:xfrm>
              <a:off x="6160151" y="3038754"/>
              <a:ext cx="234918" cy="222269"/>
            </a:xfrm>
            <a:custGeom>
              <a:avLst/>
              <a:gdLst>
                <a:gd name="T0" fmla="*/ 51 w 130"/>
                <a:gd name="T1" fmla="*/ 0 h 123"/>
                <a:gd name="T2" fmla="*/ 59 w 130"/>
                <a:gd name="T3" fmla="*/ 0 h 123"/>
                <a:gd name="T4" fmla="*/ 59 w 130"/>
                <a:gd name="T5" fmla="*/ 1 h 123"/>
                <a:gd name="T6" fmla="*/ 60 w 130"/>
                <a:gd name="T7" fmla="*/ 4 h 123"/>
                <a:gd name="T8" fmla="*/ 60 w 130"/>
                <a:gd name="T9" fmla="*/ 6 h 123"/>
                <a:gd name="T10" fmla="*/ 57 w 130"/>
                <a:gd name="T11" fmla="*/ 4 h 123"/>
                <a:gd name="T12" fmla="*/ 60 w 130"/>
                <a:gd name="T13" fmla="*/ 11 h 123"/>
                <a:gd name="T14" fmla="*/ 71 w 130"/>
                <a:gd name="T15" fmla="*/ 9 h 123"/>
                <a:gd name="T16" fmla="*/ 89 w 130"/>
                <a:gd name="T17" fmla="*/ 10 h 123"/>
                <a:gd name="T18" fmla="*/ 114 w 130"/>
                <a:gd name="T19" fmla="*/ 10 h 123"/>
                <a:gd name="T20" fmla="*/ 123 w 130"/>
                <a:gd name="T21" fmla="*/ 17 h 123"/>
                <a:gd name="T22" fmla="*/ 124 w 130"/>
                <a:gd name="T23" fmla="*/ 20 h 123"/>
                <a:gd name="T24" fmla="*/ 127 w 130"/>
                <a:gd name="T25" fmla="*/ 47 h 123"/>
                <a:gd name="T26" fmla="*/ 120 w 130"/>
                <a:gd name="T27" fmla="*/ 56 h 123"/>
                <a:gd name="T28" fmla="*/ 123 w 130"/>
                <a:gd name="T29" fmla="*/ 62 h 123"/>
                <a:gd name="T30" fmla="*/ 123 w 130"/>
                <a:gd name="T31" fmla="*/ 71 h 123"/>
                <a:gd name="T32" fmla="*/ 130 w 130"/>
                <a:gd name="T33" fmla="*/ 90 h 123"/>
                <a:gd name="T34" fmla="*/ 130 w 130"/>
                <a:gd name="T35" fmla="*/ 92 h 123"/>
                <a:gd name="T36" fmla="*/ 117 w 130"/>
                <a:gd name="T37" fmla="*/ 106 h 123"/>
                <a:gd name="T38" fmla="*/ 112 w 130"/>
                <a:gd name="T39" fmla="*/ 115 h 123"/>
                <a:gd name="T40" fmla="*/ 112 w 130"/>
                <a:gd name="T41" fmla="*/ 123 h 123"/>
                <a:gd name="T42" fmla="*/ 108 w 130"/>
                <a:gd name="T43" fmla="*/ 123 h 123"/>
                <a:gd name="T44" fmla="*/ 94 w 130"/>
                <a:gd name="T45" fmla="*/ 115 h 123"/>
                <a:gd name="T46" fmla="*/ 93 w 130"/>
                <a:gd name="T47" fmla="*/ 115 h 123"/>
                <a:gd name="T48" fmla="*/ 90 w 130"/>
                <a:gd name="T49" fmla="*/ 117 h 123"/>
                <a:gd name="T50" fmla="*/ 87 w 130"/>
                <a:gd name="T51" fmla="*/ 117 h 123"/>
                <a:gd name="T52" fmla="*/ 83 w 130"/>
                <a:gd name="T53" fmla="*/ 118 h 123"/>
                <a:gd name="T54" fmla="*/ 80 w 130"/>
                <a:gd name="T55" fmla="*/ 118 h 123"/>
                <a:gd name="T56" fmla="*/ 77 w 130"/>
                <a:gd name="T57" fmla="*/ 120 h 123"/>
                <a:gd name="T58" fmla="*/ 75 w 130"/>
                <a:gd name="T59" fmla="*/ 120 h 123"/>
                <a:gd name="T60" fmla="*/ 69 w 130"/>
                <a:gd name="T61" fmla="*/ 114 h 123"/>
                <a:gd name="T62" fmla="*/ 63 w 130"/>
                <a:gd name="T63" fmla="*/ 115 h 123"/>
                <a:gd name="T64" fmla="*/ 56 w 130"/>
                <a:gd name="T65" fmla="*/ 111 h 123"/>
                <a:gd name="T66" fmla="*/ 46 w 130"/>
                <a:gd name="T67" fmla="*/ 103 h 123"/>
                <a:gd name="T68" fmla="*/ 46 w 130"/>
                <a:gd name="T69" fmla="*/ 97 h 123"/>
                <a:gd name="T70" fmla="*/ 37 w 130"/>
                <a:gd name="T71" fmla="*/ 96 h 123"/>
                <a:gd name="T72" fmla="*/ 34 w 130"/>
                <a:gd name="T73" fmla="*/ 100 h 123"/>
                <a:gd name="T74" fmla="*/ 22 w 130"/>
                <a:gd name="T75" fmla="*/ 89 h 123"/>
                <a:gd name="T76" fmla="*/ 13 w 130"/>
                <a:gd name="T77" fmla="*/ 84 h 123"/>
                <a:gd name="T78" fmla="*/ 7 w 130"/>
                <a:gd name="T79" fmla="*/ 87 h 123"/>
                <a:gd name="T80" fmla="*/ 7 w 130"/>
                <a:gd name="T81" fmla="*/ 86 h 123"/>
                <a:gd name="T82" fmla="*/ 8 w 130"/>
                <a:gd name="T83" fmla="*/ 75 h 123"/>
                <a:gd name="T84" fmla="*/ 6 w 130"/>
                <a:gd name="T85" fmla="*/ 71 h 123"/>
                <a:gd name="T86" fmla="*/ 3 w 130"/>
                <a:gd name="T87" fmla="*/ 47 h 123"/>
                <a:gd name="T88" fmla="*/ 0 w 130"/>
                <a:gd name="T89" fmla="*/ 46 h 123"/>
                <a:gd name="T90" fmla="*/ 0 w 130"/>
                <a:gd name="T91" fmla="*/ 44 h 123"/>
                <a:gd name="T92" fmla="*/ 1 w 130"/>
                <a:gd name="T93" fmla="*/ 34 h 123"/>
                <a:gd name="T94" fmla="*/ 0 w 130"/>
                <a:gd name="T95" fmla="*/ 25 h 123"/>
                <a:gd name="T96" fmla="*/ 0 w 130"/>
                <a:gd name="T97" fmla="*/ 23 h 123"/>
                <a:gd name="T98" fmla="*/ 4 w 130"/>
                <a:gd name="T99" fmla="*/ 25 h 123"/>
                <a:gd name="T100" fmla="*/ 4 w 130"/>
                <a:gd name="T101" fmla="*/ 23 h 123"/>
                <a:gd name="T102" fmla="*/ 1 w 130"/>
                <a:gd name="T103" fmla="*/ 23 h 123"/>
                <a:gd name="T104" fmla="*/ 1 w 130"/>
                <a:gd name="T105" fmla="*/ 22 h 123"/>
                <a:gd name="T106" fmla="*/ 3 w 130"/>
                <a:gd name="T107" fmla="*/ 19 h 123"/>
                <a:gd name="T108" fmla="*/ 40 w 130"/>
                <a:gd name="T109" fmla="*/ 1 h 123"/>
                <a:gd name="T110" fmla="*/ 47 w 130"/>
                <a:gd name="T111" fmla="*/ 1 h 123"/>
                <a:gd name="T112" fmla="*/ 51 w 130"/>
                <a:gd name="T11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23">
                  <a:moveTo>
                    <a:pt x="51" y="0"/>
                  </a:moveTo>
                  <a:lnTo>
                    <a:pt x="59" y="0"/>
                  </a:lnTo>
                  <a:lnTo>
                    <a:pt x="59" y="1"/>
                  </a:lnTo>
                  <a:lnTo>
                    <a:pt x="60" y="4"/>
                  </a:lnTo>
                  <a:lnTo>
                    <a:pt x="60" y="6"/>
                  </a:lnTo>
                  <a:lnTo>
                    <a:pt x="57" y="4"/>
                  </a:lnTo>
                  <a:lnTo>
                    <a:pt x="60" y="11"/>
                  </a:lnTo>
                  <a:lnTo>
                    <a:pt x="71" y="9"/>
                  </a:lnTo>
                  <a:lnTo>
                    <a:pt x="89" y="10"/>
                  </a:lnTo>
                  <a:lnTo>
                    <a:pt x="114" y="10"/>
                  </a:lnTo>
                  <a:lnTo>
                    <a:pt x="123" y="17"/>
                  </a:lnTo>
                  <a:lnTo>
                    <a:pt x="124" y="20"/>
                  </a:lnTo>
                  <a:lnTo>
                    <a:pt x="127" y="47"/>
                  </a:lnTo>
                  <a:lnTo>
                    <a:pt x="120" y="56"/>
                  </a:lnTo>
                  <a:lnTo>
                    <a:pt x="123" y="62"/>
                  </a:lnTo>
                  <a:lnTo>
                    <a:pt x="123" y="71"/>
                  </a:lnTo>
                  <a:lnTo>
                    <a:pt x="130" y="90"/>
                  </a:lnTo>
                  <a:lnTo>
                    <a:pt x="130" y="92"/>
                  </a:lnTo>
                  <a:lnTo>
                    <a:pt x="117" y="106"/>
                  </a:lnTo>
                  <a:lnTo>
                    <a:pt x="112" y="115"/>
                  </a:lnTo>
                  <a:lnTo>
                    <a:pt x="112" y="123"/>
                  </a:lnTo>
                  <a:lnTo>
                    <a:pt x="108" y="123"/>
                  </a:lnTo>
                  <a:lnTo>
                    <a:pt x="94" y="115"/>
                  </a:lnTo>
                  <a:lnTo>
                    <a:pt x="93" y="115"/>
                  </a:lnTo>
                  <a:lnTo>
                    <a:pt x="90" y="117"/>
                  </a:lnTo>
                  <a:lnTo>
                    <a:pt x="87" y="117"/>
                  </a:lnTo>
                  <a:lnTo>
                    <a:pt x="83" y="118"/>
                  </a:lnTo>
                  <a:lnTo>
                    <a:pt x="80" y="118"/>
                  </a:lnTo>
                  <a:lnTo>
                    <a:pt x="77" y="120"/>
                  </a:lnTo>
                  <a:lnTo>
                    <a:pt x="75" y="120"/>
                  </a:lnTo>
                  <a:lnTo>
                    <a:pt x="69" y="114"/>
                  </a:lnTo>
                  <a:lnTo>
                    <a:pt x="63" y="115"/>
                  </a:lnTo>
                  <a:lnTo>
                    <a:pt x="56" y="111"/>
                  </a:lnTo>
                  <a:lnTo>
                    <a:pt x="46" y="103"/>
                  </a:lnTo>
                  <a:lnTo>
                    <a:pt x="46" y="97"/>
                  </a:lnTo>
                  <a:lnTo>
                    <a:pt x="37" y="96"/>
                  </a:lnTo>
                  <a:lnTo>
                    <a:pt x="34" y="100"/>
                  </a:lnTo>
                  <a:lnTo>
                    <a:pt x="22" y="89"/>
                  </a:lnTo>
                  <a:lnTo>
                    <a:pt x="13" y="84"/>
                  </a:lnTo>
                  <a:lnTo>
                    <a:pt x="7" y="87"/>
                  </a:lnTo>
                  <a:lnTo>
                    <a:pt x="7" y="86"/>
                  </a:lnTo>
                  <a:lnTo>
                    <a:pt x="8" y="75"/>
                  </a:lnTo>
                  <a:lnTo>
                    <a:pt x="6" y="71"/>
                  </a:lnTo>
                  <a:lnTo>
                    <a:pt x="3" y="47"/>
                  </a:lnTo>
                  <a:lnTo>
                    <a:pt x="0" y="46"/>
                  </a:lnTo>
                  <a:lnTo>
                    <a:pt x="0" y="44"/>
                  </a:lnTo>
                  <a:lnTo>
                    <a:pt x="1" y="34"/>
                  </a:lnTo>
                  <a:lnTo>
                    <a:pt x="0" y="25"/>
                  </a:lnTo>
                  <a:lnTo>
                    <a:pt x="0" y="23"/>
                  </a:lnTo>
                  <a:lnTo>
                    <a:pt x="4" y="25"/>
                  </a:lnTo>
                  <a:lnTo>
                    <a:pt x="4" y="23"/>
                  </a:lnTo>
                  <a:lnTo>
                    <a:pt x="1" y="23"/>
                  </a:lnTo>
                  <a:lnTo>
                    <a:pt x="1" y="22"/>
                  </a:lnTo>
                  <a:lnTo>
                    <a:pt x="3" y="19"/>
                  </a:lnTo>
                  <a:lnTo>
                    <a:pt x="40" y="1"/>
                  </a:lnTo>
                  <a:lnTo>
                    <a:pt x="47" y="1"/>
                  </a:lnTo>
                  <a:lnTo>
                    <a:pt x="5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4" name="Sardinia (Italy)">
              <a:extLst>
                <a:ext uri="{FF2B5EF4-FFF2-40B4-BE49-F238E27FC236}">
                  <a16:creationId xmlns:a16="http://schemas.microsoft.com/office/drawing/2014/main" id="{3051027D-C675-3D6A-D4A2-AD5A1E49A755}"/>
                </a:ext>
              </a:extLst>
            </p:cNvPr>
            <p:cNvSpPr>
              <a:spLocks/>
            </p:cNvSpPr>
            <p:nvPr/>
          </p:nvSpPr>
          <p:spPr bwMode="auto">
            <a:xfrm>
              <a:off x="6021007" y="3517627"/>
              <a:ext cx="34334" cy="77705"/>
            </a:xfrm>
            <a:custGeom>
              <a:avLst/>
              <a:gdLst>
                <a:gd name="T0" fmla="*/ 11 w 19"/>
                <a:gd name="T1" fmla="*/ 0 h 43"/>
                <a:gd name="T2" fmla="*/ 13 w 19"/>
                <a:gd name="T3" fmla="*/ 0 h 43"/>
                <a:gd name="T4" fmla="*/ 17 w 19"/>
                <a:gd name="T5" fmla="*/ 3 h 43"/>
                <a:gd name="T6" fmla="*/ 19 w 19"/>
                <a:gd name="T7" fmla="*/ 10 h 43"/>
                <a:gd name="T8" fmla="*/ 19 w 19"/>
                <a:gd name="T9" fmla="*/ 34 h 43"/>
                <a:gd name="T10" fmla="*/ 17 w 19"/>
                <a:gd name="T11" fmla="*/ 37 h 43"/>
                <a:gd name="T12" fmla="*/ 17 w 19"/>
                <a:gd name="T13" fmla="*/ 39 h 43"/>
                <a:gd name="T14" fmla="*/ 16 w 19"/>
                <a:gd name="T15" fmla="*/ 39 h 43"/>
                <a:gd name="T16" fmla="*/ 14 w 19"/>
                <a:gd name="T17" fmla="*/ 37 h 43"/>
                <a:gd name="T18" fmla="*/ 13 w 19"/>
                <a:gd name="T19" fmla="*/ 37 h 43"/>
                <a:gd name="T20" fmla="*/ 8 w 19"/>
                <a:gd name="T21" fmla="*/ 43 h 43"/>
                <a:gd name="T22" fmla="*/ 7 w 19"/>
                <a:gd name="T23" fmla="*/ 43 h 43"/>
                <a:gd name="T24" fmla="*/ 2 w 19"/>
                <a:gd name="T25" fmla="*/ 36 h 43"/>
                <a:gd name="T26" fmla="*/ 2 w 19"/>
                <a:gd name="T27" fmla="*/ 25 h 43"/>
                <a:gd name="T28" fmla="*/ 0 w 19"/>
                <a:gd name="T29" fmla="*/ 7 h 43"/>
                <a:gd name="T30" fmla="*/ 0 w 19"/>
                <a:gd name="T31" fmla="*/ 6 h 43"/>
                <a:gd name="T32" fmla="*/ 4 w 19"/>
                <a:gd name="T33" fmla="*/ 7 h 43"/>
                <a:gd name="T34" fmla="*/ 11 w 19"/>
                <a:gd name="T3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43">
                  <a:moveTo>
                    <a:pt x="11" y="0"/>
                  </a:moveTo>
                  <a:lnTo>
                    <a:pt x="13" y="0"/>
                  </a:lnTo>
                  <a:lnTo>
                    <a:pt x="17" y="3"/>
                  </a:lnTo>
                  <a:lnTo>
                    <a:pt x="19" y="10"/>
                  </a:lnTo>
                  <a:lnTo>
                    <a:pt x="19" y="34"/>
                  </a:lnTo>
                  <a:lnTo>
                    <a:pt x="17" y="37"/>
                  </a:lnTo>
                  <a:lnTo>
                    <a:pt x="17" y="39"/>
                  </a:lnTo>
                  <a:lnTo>
                    <a:pt x="16" y="39"/>
                  </a:lnTo>
                  <a:lnTo>
                    <a:pt x="14" y="37"/>
                  </a:lnTo>
                  <a:lnTo>
                    <a:pt x="13" y="37"/>
                  </a:lnTo>
                  <a:lnTo>
                    <a:pt x="8" y="43"/>
                  </a:lnTo>
                  <a:lnTo>
                    <a:pt x="7" y="43"/>
                  </a:lnTo>
                  <a:lnTo>
                    <a:pt x="2" y="36"/>
                  </a:lnTo>
                  <a:lnTo>
                    <a:pt x="2" y="25"/>
                  </a:lnTo>
                  <a:lnTo>
                    <a:pt x="0" y="7"/>
                  </a:lnTo>
                  <a:lnTo>
                    <a:pt x="0" y="6"/>
                  </a:lnTo>
                  <a:lnTo>
                    <a:pt x="4" y="7"/>
                  </a:lnTo>
                  <a:lnTo>
                    <a:pt x="1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5" name="Sicily (Italy)">
              <a:extLst>
                <a:ext uri="{FF2B5EF4-FFF2-40B4-BE49-F238E27FC236}">
                  <a16:creationId xmlns:a16="http://schemas.microsoft.com/office/drawing/2014/main" id="{39AB3A5F-1704-C024-43ED-9AFDC252109B}"/>
                </a:ext>
              </a:extLst>
            </p:cNvPr>
            <p:cNvSpPr>
              <a:spLocks/>
            </p:cNvSpPr>
            <p:nvPr/>
          </p:nvSpPr>
          <p:spPr bwMode="auto">
            <a:xfrm>
              <a:off x="6122202" y="3611594"/>
              <a:ext cx="74090" cy="48791"/>
            </a:xfrm>
            <a:custGeom>
              <a:avLst/>
              <a:gdLst>
                <a:gd name="T0" fmla="*/ 7 w 41"/>
                <a:gd name="T1" fmla="*/ 0 h 27"/>
                <a:gd name="T2" fmla="*/ 16 w 41"/>
                <a:gd name="T3" fmla="*/ 4 h 27"/>
                <a:gd name="T4" fmla="*/ 21 w 41"/>
                <a:gd name="T5" fmla="*/ 4 h 27"/>
                <a:gd name="T6" fmla="*/ 28 w 41"/>
                <a:gd name="T7" fmla="*/ 1 h 27"/>
                <a:gd name="T8" fmla="*/ 37 w 41"/>
                <a:gd name="T9" fmla="*/ 0 h 27"/>
                <a:gd name="T10" fmla="*/ 41 w 41"/>
                <a:gd name="T11" fmla="*/ 0 h 27"/>
                <a:gd name="T12" fmla="*/ 41 w 41"/>
                <a:gd name="T13" fmla="*/ 1 h 27"/>
                <a:gd name="T14" fmla="*/ 34 w 41"/>
                <a:gd name="T15" fmla="*/ 15 h 27"/>
                <a:gd name="T16" fmla="*/ 35 w 41"/>
                <a:gd name="T17" fmla="*/ 21 h 27"/>
                <a:gd name="T18" fmla="*/ 34 w 41"/>
                <a:gd name="T19" fmla="*/ 25 h 27"/>
                <a:gd name="T20" fmla="*/ 34 w 41"/>
                <a:gd name="T21" fmla="*/ 27 h 27"/>
                <a:gd name="T22" fmla="*/ 28 w 41"/>
                <a:gd name="T23" fmla="*/ 27 h 27"/>
                <a:gd name="T24" fmla="*/ 24 w 41"/>
                <a:gd name="T25" fmla="*/ 22 h 27"/>
                <a:gd name="T26" fmla="*/ 1 w 41"/>
                <a:gd name="T27" fmla="*/ 12 h 27"/>
                <a:gd name="T28" fmla="*/ 0 w 41"/>
                <a:gd name="T29" fmla="*/ 6 h 27"/>
                <a:gd name="T30" fmla="*/ 1 w 41"/>
                <a:gd name="T31" fmla="*/ 1 h 27"/>
                <a:gd name="T32" fmla="*/ 7 w 41"/>
                <a:gd name="T3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27">
                  <a:moveTo>
                    <a:pt x="7" y="0"/>
                  </a:moveTo>
                  <a:lnTo>
                    <a:pt x="16" y="4"/>
                  </a:lnTo>
                  <a:lnTo>
                    <a:pt x="21" y="4"/>
                  </a:lnTo>
                  <a:lnTo>
                    <a:pt x="28" y="1"/>
                  </a:lnTo>
                  <a:lnTo>
                    <a:pt x="37" y="0"/>
                  </a:lnTo>
                  <a:lnTo>
                    <a:pt x="41" y="0"/>
                  </a:lnTo>
                  <a:lnTo>
                    <a:pt x="41" y="1"/>
                  </a:lnTo>
                  <a:lnTo>
                    <a:pt x="34" y="15"/>
                  </a:lnTo>
                  <a:lnTo>
                    <a:pt x="35" y="21"/>
                  </a:lnTo>
                  <a:lnTo>
                    <a:pt x="34" y="25"/>
                  </a:lnTo>
                  <a:lnTo>
                    <a:pt x="34" y="27"/>
                  </a:lnTo>
                  <a:lnTo>
                    <a:pt x="28" y="27"/>
                  </a:lnTo>
                  <a:lnTo>
                    <a:pt x="24" y="22"/>
                  </a:lnTo>
                  <a:lnTo>
                    <a:pt x="1" y="12"/>
                  </a:lnTo>
                  <a:lnTo>
                    <a:pt x="0" y="6"/>
                  </a:lnTo>
                  <a:lnTo>
                    <a:pt x="1" y="1"/>
                  </a:lnTo>
                  <a:lnTo>
                    <a:pt x="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6" name="Italy">
              <a:extLst>
                <a:ext uri="{FF2B5EF4-FFF2-40B4-BE49-F238E27FC236}">
                  <a16:creationId xmlns:a16="http://schemas.microsoft.com/office/drawing/2014/main" id="{6D0451EB-AB35-E11B-0E10-2DA2BE8F656D}"/>
                </a:ext>
              </a:extLst>
            </p:cNvPr>
            <p:cNvSpPr>
              <a:spLocks/>
            </p:cNvSpPr>
            <p:nvPr/>
          </p:nvSpPr>
          <p:spPr bwMode="auto">
            <a:xfrm>
              <a:off x="5984866" y="3327884"/>
              <a:ext cx="278288" cy="294552"/>
            </a:xfrm>
            <a:custGeom>
              <a:avLst/>
              <a:gdLst>
                <a:gd name="T0" fmla="*/ 71 w 154"/>
                <a:gd name="T1" fmla="*/ 0 h 163"/>
                <a:gd name="T2" fmla="*/ 76 w 154"/>
                <a:gd name="T3" fmla="*/ 9 h 163"/>
                <a:gd name="T4" fmla="*/ 92 w 154"/>
                <a:gd name="T5" fmla="*/ 12 h 163"/>
                <a:gd name="T6" fmla="*/ 91 w 154"/>
                <a:gd name="T7" fmla="*/ 13 h 163"/>
                <a:gd name="T8" fmla="*/ 91 w 154"/>
                <a:gd name="T9" fmla="*/ 16 h 163"/>
                <a:gd name="T10" fmla="*/ 95 w 154"/>
                <a:gd name="T11" fmla="*/ 28 h 163"/>
                <a:gd name="T12" fmla="*/ 94 w 154"/>
                <a:gd name="T13" fmla="*/ 29 h 163"/>
                <a:gd name="T14" fmla="*/ 91 w 154"/>
                <a:gd name="T15" fmla="*/ 29 h 163"/>
                <a:gd name="T16" fmla="*/ 83 w 154"/>
                <a:gd name="T17" fmla="*/ 26 h 163"/>
                <a:gd name="T18" fmla="*/ 74 w 154"/>
                <a:gd name="T19" fmla="*/ 38 h 163"/>
                <a:gd name="T20" fmla="*/ 76 w 154"/>
                <a:gd name="T21" fmla="*/ 41 h 163"/>
                <a:gd name="T22" fmla="*/ 76 w 154"/>
                <a:gd name="T23" fmla="*/ 55 h 163"/>
                <a:gd name="T24" fmla="*/ 98 w 154"/>
                <a:gd name="T25" fmla="*/ 83 h 163"/>
                <a:gd name="T26" fmla="*/ 111 w 154"/>
                <a:gd name="T27" fmla="*/ 96 h 163"/>
                <a:gd name="T28" fmla="*/ 114 w 154"/>
                <a:gd name="T29" fmla="*/ 95 h 163"/>
                <a:gd name="T30" fmla="*/ 120 w 154"/>
                <a:gd name="T31" fmla="*/ 93 h 163"/>
                <a:gd name="T32" fmla="*/ 122 w 154"/>
                <a:gd name="T33" fmla="*/ 95 h 163"/>
                <a:gd name="T34" fmla="*/ 123 w 154"/>
                <a:gd name="T35" fmla="*/ 96 h 163"/>
                <a:gd name="T36" fmla="*/ 147 w 154"/>
                <a:gd name="T37" fmla="*/ 115 h 163"/>
                <a:gd name="T38" fmla="*/ 154 w 154"/>
                <a:gd name="T39" fmla="*/ 127 h 163"/>
                <a:gd name="T40" fmla="*/ 151 w 154"/>
                <a:gd name="T41" fmla="*/ 132 h 163"/>
                <a:gd name="T42" fmla="*/ 137 w 154"/>
                <a:gd name="T43" fmla="*/ 120 h 163"/>
                <a:gd name="T44" fmla="*/ 129 w 154"/>
                <a:gd name="T45" fmla="*/ 132 h 163"/>
                <a:gd name="T46" fmla="*/ 137 w 154"/>
                <a:gd name="T47" fmla="*/ 145 h 163"/>
                <a:gd name="T48" fmla="*/ 129 w 154"/>
                <a:gd name="T49" fmla="*/ 155 h 163"/>
                <a:gd name="T50" fmla="*/ 117 w 154"/>
                <a:gd name="T51" fmla="*/ 163 h 163"/>
                <a:gd name="T52" fmla="*/ 119 w 154"/>
                <a:gd name="T53" fmla="*/ 151 h 163"/>
                <a:gd name="T54" fmla="*/ 123 w 154"/>
                <a:gd name="T55" fmla="*/ 148 h 163"/>
                <a:gd name="T56" fmla="*/ 114 w 154"/>
                <a:gd name="T57" fmla="*/ 130 h 163"/>
                <a:gd name="T58" fmla="*/ 113 w 154"/>
                <a:gd name="T59" fmla="*/ 129 h 163"/>
                <a:gd name="T60" fmla="*/ 105 w 154"/>
                <a:gd name="T61" fmla="*/ 118 h 163"/>
                <a:gd name="T62" fmla="*/ 91 w 154"/>
                <a:gd name="T63" fmla="*/ 108 h 163"/>
                <a:gd name="T64" fmla="*/ 64 w 154"/>
                <a:gd name="T65" fmla="*/ 89 h 163"/>
                <a:gd name="T66" fmla="*/ 49 w 154"/>
                <a:gd name="T67" fmla="*/ 75 h 163"/>
                <a:gd name="T68" fmla="*/ 27 w 154"/>
                <a:gd name="T69" fmla="*/ 52 h 163"/>
                <a:gd name="T70" fmla="*/ 12 w 154"/>
                <a:gd name="T71" fmla="*/ 62 h 163"/>
                <a:gd name="T72" fmla="*/ 11 w 154"/>
                <a:gd name="T73" fmla="*/ 56 h 163"/>
                <a:gd name="T74" fmla="*/ 5 w 154"/>
                <a:gd name="T75" fmla="*/ 55 h 163"/>
                <a:gd name="T76" fmla="*/ 0 w 154"/>
                <a:gd name="T77" fmla="*/ 43 h 163"/>
                <a:gd name="T78" fmla="*/ 3 w 154"/>
                <a:gd name="T79" fmla="*/ 35 h 163"/>
                <a:gd name="T80" fmla="*/ 3 w 154"/>
                <a:gd name="T81" fmla="*/ 23 h 163"/>
                <a:gd name="T82" fmla="*/ 22 w 154"/>
                <a:gd name="T83" fmla="*/ 13 h 163"/>
                <a:gd name="T84" fmla="*/ 30 w 154"/>
                <a:gd name="T85" fmla="*/ 22 h 163"/>
                <a:gd name="T86" fmla="*/ 34 w 154"/>
                <a:gd name="T87" fmla="*/ 12 h 163"/>
                <a:gd name="T88" fmla="*/ 43 w 154"/>
                <a:gd name="T89" fmla="*/ 9 h 163"/>
                <a:gd name="T90" fmla="*/ 48 w 154"/>
                <a:gd name="T91" fmla="*/ 4 h 163"/>
                <a:gd name="T92" fmla="*/ 55 w 154"/>
                <a:gd name="T93" fmla="*/ 3 h 163"/>
                <a:gd name="T94" fmla="*/ 63 w 154"/>
                <a:gd name="T95" fmla="*/ 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63">
                  <a:moveTo>
                    <a:pt x="67" y="0"/>
                  </a:moveTo>
                  <a:lnTo>
                    <a:pt x="71" y="0"/>
                  </a:lnTo>
                  <a:lnTo>
                    <a:pt x="71" y="1"/>
                  </a:lnTo>
                  <a:lnTo>
                    <a:pt x="76" y="9"/>
                  </a:lnTo>
                  <a:lnTo>
                    <a:pt x="91" y="12"/>
                  </a:lnTo>
                  <a:lnTo>
                    <a:pt x="92" y="12"/>
                  </a:lnTo>
                  <a:lnTo>
                    <a:pt x="92" y="13"/>
                  </a:lnTo>
                  <a:lnTo>
                    <a:pt x="91" y="13"/>
                  </a:lnTo>
                  <a:lnTo>
                    <a:pt x="89" y="16"/>
                  </a:lnTo>
                  <a:lnTo>
                    <a:pt x="91" y="16"/>
                  </a:lnTo>
                  <a:lnTo>
                    <a:pt x="92" y="23"/>
                  </a:lnTo>
                  <a:lnTo>
                    <a:pt x="95" y="28"/>
                  </a:lnTo>
                  <a:lnTo>
                    <a:pt x="95" y="29"/>
                  </a:lnTo>
                  <a:lnTo>
                    <a:pt x="94" y="29"/>
                  </a:lnTo>
                  <a:lnTo>
                    <a:pt x="91" y="31"/>
                  </a:lnTo>
                  <a:lnTo>
                    <a:pt x="91" y="29"/>
                  </a:lnTo>
                  <a:lnTo>
                    <a:pt x="89" y="26"/>
                  </a:lnTo>
                  <a:lnTo>
                    <a:pt x="83" y="26"/>
                  </a:lnTo>
                  <a:lnTo>
                    <a:pt x="74" y="34"/>
                  </a:lnTo>
                  <a:lnTo>
                    <a:pt x="74" y="38"/>
                  </a:lnTo>
                  <a:lnTo>
                    <a:pt x="76" y="40"/>
                  </a:lnTo>
                  <a:lnTo>
                    <a:pt x="76" y="41"/>
                  </a:lnTo>
                  <a:lnTo>
                    <a:pt x="74" y="47"/>
                  </a:lnTo>
                  <a:lnTo>
                    <a:pt x="76" y="55"/>
                  </a:lnTo>
                  <a:lnTo>
                    <a:pt x="89" y="65"/>
                  </a:lnTo>
                  <a:lnTo>
                    <a:pt x="98" y="83"/>
                  </a:lnTo>
                  <a:lnTo>
                    <a:pt x="104" y="92"/>
                  </a:lnTo>
                  <a:lnTo>
                    <a:pt x="111" y="96"/>
                  </a:lnTo>
                  <a:lnTo>
                    <a:pt x="113" y="96"/>
                  </a:lnTo>
                  <a:lnTo>
                    <a:pt x="114" y="95"/>
                  </a:lnTo>
                  <a:lnTo>
                    <a:pt x="119" y="95"/>
                  </a:lnTo>
                  <a:lnTo>
                    <a:pt x="120" y="93"/>
                  </a:lnTo>
                  <a:lnTo>
                    <a:pt x="122" y="93"/>
                  </a:lnTo>
                  <a:lnTo>
                    <a:pt x="122" y="95"/>
                  </a:lnTo>
                  <a:lnTo>
                    <a:pt x="123" y="95"/>
                  </a:lnTo>
                  <a:lnTo>
                    <a:pt x="123" y="96"/>
                  </a:lnTo>
                  <a:lnTo>
                    <a:pt x="122" y="102"/>
                  </a:lnTo>
                  <a:lnTo>
                    <a:pt x="147" y="115"/>
                  </a:lnTo>
                  <a:lnTo>
                    <a:pt x="154" y="126"/>
                  </a:lnTo>
                  <a:lnTo>
                    <a:pt x="154" y="127"/>
                  </a:lnTo>
                  <a:lnTo>
                    <a:pt x="153" y="132"/>
                  </a:lnTo>
                  <a:lnTo>
                    <a:pt x="151" y="132"/>
                  </a:lnTo>
                  <a:lnTo>
                    <a:pt x="146" y="124"/>
                  </a:lnTo>
                  <a:lnTo>
                    <a:pt x="137" y="120"/>
                  </a:lnTo>
                  <a:lnTo>
                    <a:pt x="132" y="123"/>
                  </a:lnTo>
                  <a:lnTo>
                    <a:pt x="129" y="132"/>
                  </a:lnTo>
                  <a:lnTo>
                    <a:pt x="137" y="138"/>
                  </a:lnTo>
                  <a:lnTo>
                    <a:pt x="137" y="145"/>
                  </a:lnTo>
                  <a:lnTo>
                    <a:pt x="131" y="148"/>
                  </a:lnTo>
                  <a:lnTo>
                    <a:pt x="129" y="155"/>
                  </a:lnTo>
                  <a:lnTo>
                    <a:pt x="123" y="163"/>
                  </a:lnTo>
                  <a:lnTo>
                    <a:pt x="117" y="163"/>
                  </a:lnTo>
                  <a:lnTo>
                    <a:pt x="116" y="158"/>
                  </a:lnTo>
                  <a:lnTo>
                    <a:pt x="119" y="151"/>
                  </a:lnTo>
                  <a:lnTo>
                    <a:pt x="119" y="149"/>
                  </a:lnTo>
                  <a:lnTo>
                    <a:pt x="123" y="148"/>
                  </a:lnTo>
                  <a:lnTo>
                    <a:pt x="116" y="129"/>
                  </a:lnTo>
                  <a:lnTo>
                    <a:pt x="114" y="130"/>
                  </a:lnTo>
                  <a:lnTo>
                    <a:pt x="113" y="130"/>
                  </a:lnTo>
                  <a:lnTo>
                    <a:pt x="113" y="129"/>
                  </a:lnTo>
                  <a:lnTo>
                    <a:pt x="108" y="126"/>
                  </a:lnTo>
                  <a:lnTo>
                    <a:pt x="105" y="118"/>
                  </a:lnTo>
                  <a:lnTo>
                    <a:pt x="100" y="118"/>
                  </a:lnTo>
                  <a:lnTo>
                    <a:pt x="91" y="108"/>
                  </a:lnTo>
                  <a:lnTo>
                    <a:pt x="82" y="108"/>
                  </a:lnTo>
                  <a:lnTo>
                    <a:pt x="64" y="89"/>
                  </a:lnTo>
                  <a:lnTo>
                    <a:pt x="58" y="87"/>
                  </a:lnTo>
                  <a:lnTo>
                    <a:pt x="49" y="75"/>
                  </a:lnTo>
                  <a:lnTo>
                    <a:pt x="45" y="59"/>
                  </a:lnTo>
                  <a:lnTo>
                    <a:pt x="27" y="52"/>
                  </a:lnTo>
                  <a:lnTo>
                    <a:pt x="20" y="61"/>
                  </a:lnTo>
                  <a:lnTo>
                    <a:pt x="12" y="62"/>
                  </a:lnTo>
                  <a:lnTo>
                    <a:pt x="11" y="62"/>
                  </a:lnTo>
                  <a:lnTo>
                    <a:pt x="11" y="56"/>
                  </a:lnTo>
                  <a:lnTo>
                    <a:pt x="5" y="56"/>
                  </a:lnTo>
                  <a:lnTo>
                    <a:pt x="5" y="55"/>
                  </a:lnTo>
                  <a:lnTo>
                    <a:pt x="2" y="43"/>
                  </a:lnTo>
                  <a:lnTo>
                    <a:pt x="0" y="43"/>
                  </a:lnTo>
                  <a:lnTo>
                    <a:pt x="0" y="41"/>
                  </a:lnTo>
                  <a:lnTo>
                    <a:pt x="3" y="35"/>
                  </a:lnTo>
                  <a:lnTo>
                    <a:pt x="0" y="25"/>
                  </a:lnTo>
                  <a:lnTo>
                    <a:pt x="3" y="23"/>
                  </a:lnTo>
                  <a:lnTo>
                    <a:pt x="15" y="22"/>
                  </a:lnTo>
                  <a:lnTo>
                    <a:pt x="22" y="13"/>
                  </a:lnTo>
                  <a:lnTo>
                    <a:pt x="22" y="15"/>
                  </a:lnTo>
                  <a:lnTo>
                    <a:pt x="30" y="22"/>
                  </a:lnTo>
                  <a:lnTo>
                    <a:pt x="33" y="12"/>
                  </a:lnTo>
                  <a:lnTo>
                    <a:pt x="34" y="12"/>
                  </a:lnTo>
                  <a:lnTo>
                    <a:pt x="43" y="15"/>
                  </a:lnTo>
                  <a:lnTo>
                    <a:pt x="43" y="9"/>
                  </a:lnTo>
                  <a:lnTo>
                    <a:pt x="48" y="9"/>
                  </a:lnTo>
                  <a:lnTo>
                    <a:pt x="48" y="4"/>
                  </a:lnTo>
                  <a:lnTo>
                    <a:pt x="51" y="4"/>
                  </a:lnTo>
                  <a:lnTo>
                    <a:pt x="55" y="3"/>
                  </a:lnTo>
                  <a:lnTo>
                    <a:pt x="58" y="1"/>
                  </a:lnTo>
                  <a:lnTo>
                    <a:pt x="63" y="1"/>
                  </a:lnTo>
                  <a:lnTo>
                    <a:pt x="6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7" name="Croatia">
              <a:extLst>
                <a:ext uri="{FF2B5EF4-FFF2-40B4-BE49-F238E27FC236}">
                  <a16:creationId xmlns:a16="http://schemas.microsoft.com/office/drawing/2014/main" id="{3B20EC8C-2F11-0A65-45DA-81FEEF232936}"/>
                </a:ext>
              </a:extLst>
            </p:cNvPr>
            <p:cNvSpPr>
              <a:spLocks/>
            </p:cNvSpPr>
            <p:nvPr/>
          </p:nvSpPr>
          <p:spPr bwMode="auto">
            <a:xfrm>
              <a:off x="6145695" y="3340534"/>
              <a:ext cx="142758" cy="139145"/>
            </a:xfrm>
            <a:custGeom>
              <a:avLst/>
              <a:gdLst>
                <a:gd name="T0" fmla="*/ 36 w 79"/>
                <a:gd name="T1" fmla="*/ 0 h 77"/>
                <a:gd name="T2" fmla="*/ 37 w 79"/>
                <a:gd name="T3" fmla="*/ 0 h 77"/>
                <a:gd name="T4" fmla="*/ 58 w 79"/>
                <a:gd name="T5" fmla="*/ 18 h 77"/>
                <a:gd name="T6" fmla="*/ 67 w 79"/>
                <a:gd name="T7" fmla="*/ 15 h 77"/>
                <a:gd name="T8" fmla="*/ 68 w 79"/>
                <a:gd name="T9" fmla="*/ 15 h 77"/>
                <a:gd name="T10" fmla="*/ 71 w 79"/>
                <a:gd name="T11" fmla="*/ 24 h 77"/>
                <a:gd name="T12" fmla="*/ 79 w 79"/>
                <a:gd name="T13" fmla="*/ 28 h 77"/>
                <a:gd name="T14" fmla="*/ 79 w 79"/>
                <a:gd name="T15" fmla="*/ 30 h 77"/>
                <a:gd name="T16" fmla="*/ 76 w 79"/>
                <a:gd name="T17" fmla="*/ 31 h 77"/>
                <a:gd name="T18" fmla="*/ 74 w 79"/>
                <a:gd name="T19" fmla="*/ 34 h 77"/>
                <a:gd name="T20" fmla="*/ 73 w 79"/>
                <a:gd name="T21" fmla="*/ 34 h 77"/>
                <a:gd name="T22" fmla="*/ 71 w 79"/>
                <a:gd name="T23" fmla="*/ 36 h 77"/>
                <a:gd name="T24" fmla="*/ 70 w 79"/>
                <a:gd name="T25" fmla="*/ 36 h 77"/>
                <a:gd name="T26" fmla="*/ 67 w 79"/>
                <a:gd name="T27" fmla="*/ 30 h 77"/>
                <a:gd name="T28" fmla="*/ 45 w 79"/>
                <a:gd name="T29" fmla="*/ 25 h 77"/>
                <a:gd name="T30" fmla="*/ 37 w 79"/>
                <a:gd name="T31" fmla="*/ 31 h 77"/>
                <a:gd name="T32" fmla="*/ 36 w 79"/>
                <a:gd name="T33" fmla="*/ 31 h 77"/>
                <a:gd name="T34" fmla="*/ 36 w 79"/>
                <a:gd name="T35" fmla="*/ 30 h 77"/>
                <a:gd name="T36" fmla="*/ 31 w 79"/>
                <a:gd name="T37" fmla="*/ 25 h 77"/>
                <a:gd name="T38" fmla="*/ 28 w 79"/>
                <a:gd name="T39" fmla="*/ 31 h 77"/>
                <a:gd name="T40" fmla="*/ 33 w 79"/>
                <a:gd name="T41" fmla="*/ 36 h 77"/>
                <a:gd name="T42" fmla="*/ 49 w 79"/>
                <a:gd name="T43" fmla="*/ 61 h 77"/>
                <a:gd name="T44" fmla="*/ 65 w 79"/>
                <a:gd name="T45" fmla="*/ 73 h 77"/>
                <a:gd name="T46" fmla="*/ 65 w 79"/>
                <a:gd name="T47" fmla="*/ 74 h 77"/>
                <a:gd name="T48" fmla="*/ 62 w 79"/>
                <a:gd name="T49" fmla="*/ 77 h 77"/>
                <a:gd name="T50" fmla="*/ 61 w 79"/>
                <a:gd name="T51" fmla="*/ 77 h 77"/>
                <a:gd name="T52" fmla="*/ 57 w 79"/>
                <a:gd name="T53" fmla="*/ 73 h 77"/>
                <a:gd name="T54" fmla="*/ 46 w 79"/>
                <a:gd name="T55" fmla="*/ 70 h 77"/>
                <a:gd name="T56" fmla="*/ 46 w 79"/>
                <a:gd name="T57" fmla="*/ 68 h 77"/>
                <a:gd name="T58" fmla="*/ 51 w 79"/>
                <a:gd name="T59" fmla="*/ 68 h 77"/>
                <a:gd name="T60" fmla="*/ 43 w 79"/>
                <a:gd name="T61" fmla="*/ 62 h 77"/>
                <a:gd name="T62" fmla="*/ 33 w 79"/>
                <a:gd name="T63" fmla="*/ 61 h 77"/>
                <a:gd name="T64" fmla="*/ 21 w 79"/>
                <a:gd name="T65" fmla="*/ 49 h 77"/>
                <a:gd name="T66" fmla="*/ 21 w 79"/>
                <a:gd name="T67" fmla="*/ 48 h 77"/>
                <a:gd name="T68" fmla="*/ 24 w 79"/>
                <a:gd name="T69" fmla="*/ 45 h 77"/>
                <a:gd name="T70" fmla="*/ 19 w 79"/>
                <a:gd name="T71" fmla="*/ 42 h 77"/>
                <a:gd name="T72" fmla="*/ 16 w 79"/>
                <a:gd name="T73" fmla="*/ 31 h 77"/>
                <a:gd name="T74" fmla="*/ 14 w 79"/>
                <a:gd name="T75" fmla="*/ 28 h 77"/>
                <a:gd name="T76" fmla="*/ 12 w 79"/>
                <a:gd name="T77" fmla="*/ 28 h 77"/>
                <a:gd name="T78" fmla="*/ 8 w 79"/>
                <a:gd name="T79" fmla="*/ 36 h 77"/>
                <a:gd name="T80" fmla="*/ 6 w 79"/>
                <a:gd name="T81" fmla="*/ 37 h 77"/>
                <a:gd name="T82" fmla="*/ 5 w 79"/>
                <a:gd name="T83" fmla="*/ 36 h 77"/>
                <a:gd name="T84" fmla="*/ 3 w 79"/>
                <a:gd name="T85" fmla="*/ 36 h 77"/>
                <a:gd name="T86" fmla="*/ 0 w 79"/>
                <a:gd name="T87" fmla="*/ 30 h 77"/>
                <a:gd name="T88" fmla="*/ 2 w 79"/>
                <a:gd name="T89" fmla="*/ 22 h 77"/>
                <a:gd name="T90" fmla="*/ 12 w 79"/>
                <a:gd name="T91" fmla="*/ 18 h 77"/>
                <a:gd name="T92" fmla="*/ 21 w 79"/>
                <a:gd name="T93" fmla="*/ 19 h 77"/>
                <a:gd name="T94" fmla="*/ 25 w 79"/>
                <a:gd name="T95" fmla="*/ 8 h 77"/>
                <a:gd name="T96" fmla="*/ 34 w 79"/>
                <a:gd name="T97" fmla="*/ 3 h 77"/>
                <a:gd name="T98" fmla="*/ 36 w 79"/>
                <a:gd name="T9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77">
                  <a:moveTo>
                    <a:pt x="36" y="0"/>
                  </a:moveTo>
                  <a:lnTo>
                    <a:pt x="37" y="0"/>
                  </a:lnTo>
                  <a:lnTo>
                    <a:pt x="58" y="18"/>
                  </a:lnTo>
                  <a:lnTo>
                    <a:pt x="67" y="15"/>
                  </a:lnTo>
                  <a:lnTo>
                    <a:pt x="68" y="15"/>
                  </a:lnTo>
                  <a:lnTo>
                    <a:pt x="71" y="24"/>
                  </a:lnTo>
                  <a:lnTo>
                    <a:pt x="79" y="28"/>
                  </a:lnTo>
                  <a:lnTo>
                    <a:pt x="79" y="30"/>
                  </a:lnTo>
                  <a:lnTo>
                    <a:pt x="76" y="31"/>
                  </a:lnTo>
                  <a:lnTo>
                    <a:pt x="74" y="34"/>
                  </a:lnTo>
                  <a:lnTo>
                    <a:pt x="73" y="34"/>
                  </a:lnTo>
                  <a:lnTo>
                    <a:pt x="71" y="36"/>
                  </a:lnTo>
                  <a:lnTo>
                    <a:pt x="70" y="36"/>
                  </a:lnTo>
                  <a:lnTo>
                    <a:pt x="67" y="30"/>
                  </a:lnTo>
                  <a:lnTo>
                    <a:pt x="45" y="25"/>
                  </a:lnTo>
                  <a:lnTo>
                    <a:pt x="37" y="31"/>
                  </a:lnTo>
                  <a:lnTo>
                    <a:pt x="36" y="31"/>
                  </a:lnTo>
                  <a:lnTo>
                    <a:pt x="36" y="30"/>
                  </a:lnTo>
                  <a:lnTo>
                    <a:pt x="31" y="25"/>
                  </a:lnTo>
                  <a:lnTo>
                    <a:pt x="28" y="31"/>
                  </a:lnTo>
                  <a:lnTo>
                    <a:pt x="33" y="36"/>
                  </a:lnTo>
                  <a:lnTo>
                    <a:pt x="49" y="61"/>
                  </a:lnTo>
                  <a:lnTo>
                    <a:pt x="65" y="73"/>
                  </a:lnTo>
                  <a:lnTo>
                    <a:pt x="65" y="74"/>
                  </a:lnTo>
                  <a:lnTo>
                    <a:pt x="62" y="77"/>
                  </a:lnTo>
                  <a:lnTo>
                    <a:pt x="61" y="77"/>
                  </a:lnTo>
                  <a:lnTo>
                    <a:pt x="57" y="73"/>
                  </a:lnTo>
                  <a:lnTo>
                    <a:pt x="46" y="70"/>
                  </a:lnTo>
                  <a:lnTo>
                    <a:pt x="46" y="68"/>
                  </a:lnTo>
                  <a:lnTo>
                    <a:pt x="51" y="68"/>
                  </a:lnTo>
                  <a:lnTo>
                    <a:pt x="43" y="62"/>
                  </a:lnTo>
                  <a:lnTo>
                    <a:pt x="33" y="61"/>
                  </a:lnTo>
                  <a:lnTo>
                    <a:pt x="21" y="49"/>
                  </a:lnTo>
                  <a:lnTo>
                    <a:pt x="21" y="48"/>
                  </a:lnTo>
                  <a:lnTo>
                    <a:pt x="24" y="45"/>
                  </a:lnTo>
                  <a:lnTo>
                    <a:pt x="19" y="42"/>
                  </a:lnTo>
                  <a:lnTo>
                    <a:pt x="16" y="31"/>
                  </a:lnTo>
                  <a:lnTo>
                    <a:pt x="14" y="28"/>
                  </a:lnTo>
                  <a:lnTo>
                    <a:pt x="12" y="28"/>
                  </a:lnTo>
                  <a:lnTo>
                    <a:pt x="8" y="36"/>
                  </a:lnTo>
                  <a:lnTo>
                    <a:pt x="6" y="37"/>
                  </a:lnTo>
                  <a:lnTo>
                    <a:pt x="5" y="36"/>
                  </a:lnTo>
                  <a:lnTo>
                    <a:pt x="3" y="36"/>
                  </a:lnTo>
                  <a:lnTo>
                    <a:pt x="0" y="30"/>
                  </a:lnTo>
                  <a:lnTo>
                    <a:pt x="2" y="22"/>
                  </a:lnTo>
                  <a:lnTo>
                    <a:pt x="12" y="18"/>
                  </a:lnTo>
                  <a:lnTo>
                    <a:pt x="21" y="19"/>
                  </a:lnTo>
                  <a:lnTo>
                    <a:pt x="25" y="8"/>
                  </a:lnTo>
                  <a:lnTo>
                    <a:pt x="34" y="3"/>
                  </a:lnTo>
                  <a:lnTo>
                    <a:pt x="3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8" name="Switzerland">
              <a:extLst>
                <a:ext uri="{FF2B5EF4-FFF2-40B4-BE49-F238E27FC236}">
                  <a16:creationId xmlns:a16="http://schemas.microsoft.com/office/drawing/2014/main" id="{6177C129-FE2B-049F-B5F8-DE51A3720B02}"/>
                </a:ext>
              </a:extLst>
            </p:cNvPr>
            <p:cNvSpPr>
              <a:spLocks/>
            </p:cNvSpPr>
            <p:nvPr/>
          </p:nvSpPr>
          <p:spPr bwMode="auto">
            <a:xfrm>
              <a:off x="5966795" y="3308008"/>
              <a:ext cx="106617" cy="65054"/>
            </a:xfrm>
            <a:custGeom>
              <a:avLst/>
              <a:gdLst>
                <a:gd name="T0" fmla="*/ 21 w 59"/>
                <a:gd name="T1" fmla="*/ 0 h 36"/>
                <a:gd name="T2" fmla="*/ 37 w 59"/>
                <a:gd name="T3" fmla="*/ 0 h 36"/>
                <a:gd name="T4" fmla="*/ 46 w 59"/>
                <a:gd name="T5" fmla="*/ 3 h 36"/>
                <a:gd name="T6" fmla="*/ 49 w 59"/>
                <a:gd name="T7" fmla="*/ 12 h 36"/>
                <a:gd name="T8" fmla="*/ 58 w 59"/>
                <a:gd name="T9" fmla="*/ 15 h 36"/>
                <a:gd name="T10" fmla="*/ 59 w 59"/>
                <a:gd name="T11" fmla="*/ 15 h 36"/>
                <a:gd name="T12" fmla="*/ 59 w 59"/>
                <a:gd name="T13" fmla="*/ 20 h 36"/>
                <a:gd name="T14" fmla="*/ 58 w 59"/>
                <a:gd name="T15" fmla="*/ 21 h 36"/>
                <a:gd name="T16" fmla="*/ 55 w 59"/>
                <a:gd name="T17" fmla="*/ 21 h 36"/>
                <a:gd name="T18" fmla="*/ 55 w 59"/>
                <a:gd name="T19" fmla="*/ 27 h 36"/>
                <a:gd name="T20" fmla="*/ 44 w 59"/>
                <a:gd name="T21" fmla="*/ 24 h 36"/>
                <a:gd name="T22" fmla="*/ 40 w 59"/>
                <a:gd name="T23" fmla="*/ 34 h 36"/>
                <a:gd name="T24" fmla="*/ 32 w 59"/>
                <a:gd name="T25" fmla="*/ 27 h 36"/>
                <a:gd name="T26" fmla="*/ 25 w 59"/>
                <a:gd name="T27" fmla="*/ 34 h 36"/>
                <a:gd name="T28" fmla="*/ 22 w 59"/>
                <a:gd name="T29" fmla="*/ 34 h 36"/>
                <a:gd name="T30" fmla="*/ 18 w 59"/>
                <a:gd name="T31" fmla="*/ 36 h 36"/>
                <a:gd name="T32" fmla="*/ 13 w 59"/>
                <a:gd name="T33" fmla="*/ 36 h 36"/>
                <a:gd name="T34" fmla="*/ 13 w 59"/>
                <a:gd name="T35" fmla="*/ 34 h 36"/>
                <a:gd name="T36" fmla="*/ 10 w 59"/>
                <a:gd name="T37" fmla="*/ 26 h 36"/>
                <a:gd name="T38" fmla="*/ 6 w 59"/>
                <a:gd name="T39" fmla="*/ 26 h 36"/>
                <a:gd name="T40" fmla="*/ 1 w 59"/>
                <a:gd name="T41" fmla="*/ 30 h 36"/>
                <a:gd name="T42" fmla="*/ 0 w 59"/>
                <a:gd name="T43" fmla="*/ 24 h 36"/>
                <a:gd name="T44" fmla="*/ 13 w 59"/>
                <a:gd name="T45" fmla="*/ 3 h 36"/>
                <a:gd name="T46" fmla="*/ 21 w 59"/>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36">
                  <a:moveTo>
                    <a:pt x="21" y="0"/>
                  </a:moveTo>
                  <a:lnTo>
                    <a:pt x="37" y="0"/>
                  </a:lnTo>
                  <a:lnTo>
                    <a:pt x="46" y="3"/>
                  </a:lnTo>
                  <a:lnTo>
                    <a:pt x="49" y="12"/>
                  </a:lnTo>
                  <a:lnTo>
                    <a:pt x="58" y="15"/>
                  </a:lnTo>
                  <a:lnTo>
                    <a:pt x="59" y="15"/>
                  </a:lnTo>
                  <a:lnTo>
                    <a:pt x="59" y="20"/>
                  </a:lnTo>
                  <a:lnTo>
                    <a:pt x="58" y="21"/>
                  </a:lnTo>
                  <a:lnTo>
                    <a:pt x="55" y="21"/>
                  </a:lnTo>
                  <a:lnTo>
                    <a:pt x="55" y="27"/>
                  </a:lnTo>
                  <a:lnTo>
                    <a:pt x="44" y="24"/>
                  </a:lnTo>
                  <a:lnTo>
                    <a:pt x="40" y="34"/>
                  </a:lnTo>
                  <a:lnTo>
                    <a:pt x="32" y="27"/>
                  </a:lnTo>
                  <a:lnTo>
                    <a:pt x="25" y="34"/>
                  </a:lnTo>
                  <a:lnTo>
                    <a:pt x="22" y="34"/>
                  </a:lnTo>
                  <a:lnTo>
                    <a:pt x="18" y="36"/>
                  </a:lnTo>
                  <a:lnTo>
                    <a:pt x="13" y="36"/>
                  </a:lnTo>
                  <a:lnTo>
                    <a:pt x="13" y="34"/>
                  </a:lnTo>
                  <a:lnTo>
                    <a:pt x="10" y="26"/>
                  </a:lnTo>
                  <a:lnTo>
                    <a:pt x="6" y="26"/>
                  </a:lnTo>
                  <a:lnTo>
                    <a:pt x="1" y="30"/>
                  </a:lnTo>
                  <a:lnTo>
                    <a:pt x="0" y="24"/>
                  </a:lnTo>
                  <a:lnTo>
                    <a:pt x="13" y="3"/>
                  </a:lnTo>
                  <a:lnTo>
                    <a:pt x="2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19" name="Latvia">
              <a:extLst>
                <a:ext uri="{FF2B5EF4-FFF2-40B4-BE49-F238E27FC236}">
                  <a16:creationId xmlns:a16="http://schemas.microsoft.com/office/drawing/2014/main" id="{C4F559D3-29B6-FD32-8021-BA9414C8AB5A}"/>
                </a:ext>
              </a:extLst>
            </p:cNvPr>
            <p:cNvSpPr>
              <a:spLocks/>
            </p:cNvSpPr>
            <p:nvPr/>
          </p:nvSpPr>
          <p:spPr bwMode="auto">
            <a:xfrm>
              <a:off x="6317365" y="2901418"/>
              <a:ext cx="178900" cy="106617"/>
            </a:xfrm>
            <a:custGeom>
              <a:avLst/>
              <a:gdLst>
                <a:gd name="T0" fmla="*/ 59 w 99"/>
                <a:gd name="T1" fmla="*/ 0 h 59"/>
                <a:gd name="T2" fmla="*/ 71 w 99"/>
                <a:gd name="T3" fmla="*/ 6 h 59"/>
                <a:gd name="T4" fmla="*/ 77 w 99"/>
                <a:gd name="T5" fmla="*/ 12 h 59"/>
                <a:gd name="T6" fmla="*/ 83 w 99"/>
                <a:gd name="T7" fmla="*/ 10 h 59"/>
                <a:gd name="T8" fmla="*/ 89 w 99"/>
                <a:gd name="T9" fmla="*/ 12 h 59"/>
                <a:gd name="T10" fmla="*/ 93 w 99"/>
                <a:gd name="T11" fmla="*/ 18 h 59"/>
                <a:gd name="T12" fmla="*/ 93 w 99"/>
                <a:gd name="T13" fmla="*/ 19 h 59"/>
                <a:gd name="T14" fmla="*/ 92 w 99"/>
                <a:gd name="T15" fmla="*/ 27 h 59"/>
                <a:gd name="T16" fmla="*/ 95 w 99"/>
                <a:gd name="T17" fmla="*/ 30 h 59"/>
                <a:gd name="T18" fmla="*/ 99 w 99"/>
                <a:gd name="T19" fmla="*/ 36 h 59"/>
                <a:gd name="T20" fmla="*/ 99 w 99"/>
                <a:gd name="T21" fmla="*/ 47 h 59"/>
                <a:gd name="T22" fmla="*/ 95 w 99"/>
                <a:gd name="T23" fmla="*/ 47 h 59"/>
                <a:gd name="T24" fmla="*/ 89 w 99"/>
                <a:gd name="T25" fmla="*/ 55 h 59"/>
                <a:gd name="T26" fmla="*/ 89 w 99"/>
                <a:gd name="T27" fmla="*/ 56 h 59"/>
                <a:gd name="T28" fmla="*/ 85 w 99"/>
                <a:gd name="T29" fmla="*/ 55 h 59"/>
                <a:gd name="T30" fmla="*/ 80 w 99"/>
                <a:gd name="T31" fmla="*/ 59 h 59"/>
                <a:gd name="T32" fmla="*/ 79 w 99"/>
                <a:gd name="T33" fmla="*/ 59 h 59"/>
                <a:gd name="T34" fmla="*/ 74 w 99"/>
                <a:gd name="T35" fmla="*/ 56 h 59"/>
                <a:gd name="T36" fmla="*/ 64 w 99"/>
                <a:gd name="T37" fmla="*/ 47 h 59"/>
                <a:gd name="T38" fmla="*/ 58 w 99"/>
                <a:gd name="T39" fmla="*/ 46 h 59"/>
                <a:gd name="T40" fmla="*/ 53 w 99"/>
                <a:gd name="T41" fmla="*/ 40 h 59"/>
                <a:gd name="T42" fmla="*/ 47 w 99"/>
                <a:gd name="T43" fmla="*/ 43 h 59"/>
                <a:gd name="T44" fmla="*/ 46 w 99"/>
                <a:gd name="T45" fmla="*/ 43 h 59"/>
                <a:gd name="T46" fmla="*/ 39 w 99"/>
                <a:gd name="T47" fmla="*/ 42 h 59"/>
                <a:gd name="T48" fmla="*/ 19 w 99"/>
                <a:gd name="T49" fmla="*/ 40 h 59"/>
                <a:gd name="T50" fmla="*/ 10 w 99"/>
                <a:gd name="T51" fmla="*/ 44 h 59"/>
                <a:gd name="T52" fmla="*/ 6 w 99"/>
                <a:gd name="T53" fmla="*/ 47 h 59"/>
                <a:gd name="T54" fmla="*/ 6 w 99"/>
                <a:gd name="T55" fmla="*/ 49 h 59"/>
                <a:gd name="T56" fmla="*/ 4 w 99"/>
                <a:gd name="T57" fmla="*/ 49 h 59"/>
                <a:gd name="T58" fmla="*/ 2 w 99"/>
                <a:gd name="T59" fmla="*/ 46 h 59"/>
                <a:gd name="T60" fmla="*/ 0 w 99"/>
                <a:gd name="T61" fmla="*/ 46 h 59"/>
                <a:gd name="T62" fmla="*/ 0 w 99"/>
                <a:gd name="T63" fmla="*/ 44 h 59"/>
                <a:gd name="T64" fmla="*/ 2 w 99"/>
                <a:gd name="T65" fmla="*/ 33 h 59"/>
                <a:gd name="T66" fmla="*/ 10 w 99"/>
                <a:gd name="T67" fmla="*/ 13 h 59"/>
                <a:gd name="T68" fmla="*/ 22 w 99"/>
                <a:gd name="T69" fmla="*/ 7 h 59"/>
                <a:gd name="T70" fmla="*/ 33 w 99"/>
                <a:gd name="T71" fmla="*/ 24 h 59"/>
                <a:gd name="T72" fmla="*/ 42 w 99"/>
                <a:gd name="T73" fmla="*/ 27 h 59"/>
                <a:gd name="T74" fmla="*/ 45 w 99"/>
                <a:gd name="T75" fmla="*/ 21 h 59"/>
                <a:gd name="T76" fmla="*/ 46 w 99"/>
                <a:gd name="T77" fmla="*/ 6 h 59"/>
                <a:gd name="T78" fmla="*/ 46 w 99"/>
                <a:gd name="T79" fmla="*/ 4 h 59"/>
                <a:gd name="T80" fmla="*/ 59 w 99"/>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9" h="59">
                  <a:moveTo>
                    <a:pt x="59" y="0"/>
                  </a:moveTo>
                  <a:lnTo>
                    <a:pt x="71" y="6"/>
                  </a:lnTo>
                  <a:lnTo>
                    <a:pt x="77" y="12"/>
                  </a:lnTo>
                  <a:lnTo>
                    <a:pt x="83" y="10"/>
                  </a:lnTo>
                  <a:lnTo>
                    <a:pt x="89" y="12"/>
                  </a:lnTo>
                  <a:lnTo>
                    <a:pt x="93" y="18"/>
                  </a:lnTo>
                  <a:lnTo>
                    <a:pt x="93" y="19"/>
                  </a:lnTo>
                  <a:lnTo>
                    <a:pt x="92" y="27"/>
                  </a:lnTo>
                  <a:lnTo>
                    <a:pt x="95" y="30"/>
                  </a:lnTo>
                  <a:lnTo>
                    <a:pt x="99" y="36"/>
                  </a:lnTo>
                  <a:lnTo>
                    <a:pt x="99" y="47"/>
                  </a:lnTo>
                  <a:lnTo>
                    <a:pt x="95" y="47"/>
                  </a:lnTo>
                  <a:lnTo>
                    <a:pt x="89" y="55"/>
                  </a:lnTo>
                  <a:lnTo>
                    <a:pt x="89" y="56"/>
                  </a:lnTo>
                  <a:lnTo>
                    <a:pt x="85" y="55"/>
                  </a:lnTo>
                  <a:lnTo>
                    <a:pt x="80" y="59"/>
                  </a:lnTo>
                  <a:lnTo>
                    <a:pt x="79" y="59"/>
                  </a:lnTo>
                  <a:lnTo>
                    <a:pt x="74" y="56"/>
                  </a:lnTo>
                  <a:lnTo>
                    <a:pt x="64" y="47"/>
                  </a:lnTo>
                  <a:lnTo>
                    <a:pt x="58" y="46"/>
                  </a:lnTo>
                  <a:lnTo>
                    <a:pt x="53" y="40"/>
                  </a:lnTo>
                  <a:lnTo>
                    <a:pt x="47" y="43"/>
                  </a:lnTo>
                  <a:lnTo>
                    <a:pt x="46" y="43"/>
                  </a:lnTo>
                  <a:lnTo>
                    <a:pt x="39" y="42"/>
                  </a:lnTo>
                  <a:lnTo>
                    <a:pt x="19" y="40"/>
                  </a:lnTo>
                  <a:lnTo>
                    <a:pt x="10" y="44"/>
                  </a:lnTo>
                  <a:lnTo>
                    <a:pt x="6" y="47"/>
                  </a:lnTo>
                  <a:lnTo>
                    <a:pt x="6" y="49"/>
                  </a:lnTo>
                  <a:lnTo>
                    <a:pt x="4" y="49"/>
                  </a:lnTo>
                  <a:lnTo>
                    <a:pt x="2" y="46"/>
                  </a:lnTo>
                  <a:lnTo>
                    <a:pt x="0" y="46"/>
                  </a:lnTo>
                  <a:lnTo>
                    <a:pt x="0" y="44"/>
                  </a:lnTo>
                  <a:lnTo>
                    <a:pt x="2" y="33"/>
                  </a:lnTo>
                  <a:lnTo>
                    <a:pt x="10" y="13"/>
                  </a:lnTo>
                  <a:lnTo>
                    <a:pt x="22" y="7"/>
                  </a:lnTo>
                  <a:lnTo>
                    <a:pt x="33" y="24"/>
                  </a:lnTo>
                  <a:lnTo>
                    <a:pt x="42" y="27"/>
                  </a:lnTo>
                  <a:lnTo>
                    <a:pt x="45" y="21"/>
                  </a:lnTo>
                  <a:lnTo>
                    <a:pt x="46" y="6"/>
                  </a:lnTo>
                  <a:lnTo>
                    <a:pt x="46" y="4"/>
                  </a:lnTo>
                  <a:lnTo>
                    <a:pt x="5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0" name="Lithuania">
              <a:extLst>
                <a:ext uri="{FF2B5EF4-FFF2-40B4-BE49-F238E27FC236}">
                  <a16:creationId xmlns:a16="http://schemas.microsoft.com/office/drawing/2014/main" id="{523DD02E-96B2-A72B-360A-7A04C238F687}"/>
                </a:ext>
              </a:extLst>
            </p:cNvPr>
            <p:cNvSpPr>
              <a:spLocks/>
            </p:cNvSpPr>
            <p:nvPr/>
          </p:nvSpPr>
          <p:spPr bwMode="auto">
            <a:xfrm>
              <a:off x="6317365" y="2971894"/>
              <a:ext cx="144565" cy="106617"/>
            </a:xfrm>
            <a:custGeom>
              <a:avLst/>
              <a:gdLst>
                <a:gd name="T0" fmla="*/ 18 w 80"/>
                <a:gd name="T1" fmla="*/ 0 h 59"/>
                <a:gd name="T2" fmla="*/ 39 w 80"/>
                <a:gd name="T3" fmla="*/ 1 h 59"/>
                <a:gd name="T4" fmla="*/ 46 w 80"/>
                <a:gd name="T5" fmla="*/ 3 h 59"/>
                <a:gd name="T6" fmla="*/ 53 w 80"/>
                <a:gd name="T7" fmla="*/ 0 h 59"/>
                <a:gd name="T8" fmla="*/ 55 w 80"/>
                <a:gd name="T9" fmla="*/ 0 h 59"/>
                <a:gd name="T10" fmla="*/ 59 w 80"/>
                <a:gd name="T11" fmla="*/ 5 h 59"/>
                <a:gd name="T12" fmla="*/ 64 w 80"/>
                <a:gd name="T13" fmla="*/ 7 h 59"/>
                <a:gd name="T14" fmla="*/ 74 w 80"/>
                <a:gd name="T15" fmla="*/ 16 h 59"/>
                <a:gd name="T16" fmla="*/ 80 w 80"/>
                <a:gd name="T17" fmla="*/ 19 h 59"/>
                <a:gd name="T18" fmla="*/ 80 w 80"/>
                <a:gd name="T19" fmla="*/ 20 h 59"/>
                <a:gd name="T20" fmla="*/ 76 w 80"/>
                <a:gd name="T21" fmla="*/ 22 h 59"/>
                <a:gd name="T22" fmla="*/ 76 w 80"/>
                <a:gd name="T23" fmla="*/ 25 h 59"/>
                <a:gd name="T24" fmla="*/ 80 w 80"/>
                <a:gd name="T25" fmla="*/ 26 h 59"/>
                <a:gd name="T26" fmla="*/ 79 w 80"/>
                <a:gd name="T27" fmla="*/ 31 h 59"/>
                <a:gd name="T28" fmla="*/ 77 w 80"/>
                <a:gd name="T29" fmla="*/ 31 h 59"/>
                <a:gd name="T30" fmla="*/ 68 w 80"/>
                <a:gd name="T31" fmla="*/ 35 h 59"/>
                <a:gd name="T32" fmla="*/ 65 w 80"/>
                <a:gd name="T33" fmla="*/ 47 h 59"/>
                <a:gd name="T34" fmla="*/ 68 w 80"/>
                <a:gd name="T35" fmla="*/ 51 h 59"/>
                <a:gd name="T36" fmla="*/ 68 w 80"/>
                <a:gd name="T37" fmla="*/ 53 h 59"/>
                <a:gd name="T38" fmla="*/ 67 w 80"/>
                <a:gd name="T39" fmla="*/ 53 h 59"/>
                <a:gd name="T40" fmla="*/ 65 w 80"/>
                <a:gd name="T41" fmla="*/ 54 h 59"/>
                <a:gd name="T42" fmla="*/ 65 w 80"/>
                <a:gd name="T43" fmla="*/ 53 h 59"/>
                <a:gd name="T44" fmla="*/ 61 w 80"/>
                <a:gd name="T45" fmla="*/ 50 h 59"/>
                <a:gd name="T46" fmla="*/ 55 w 80"/>
                <a:gd name="T47" fmla="*/ 53 h 59"/>
                <a:gd name="T48" fmla="*/ 55 w 80"/>
                <a:gd name="T49" fmla="*/ 57 h 59"/>
                <a:gd name="T50" fmla="*/ 47 w 80"/>
                <a:gd name="T51" fmla="*/ 57 h 59"/>
                <a:gd name="T52" fmla="*/ 43 w 80"/>
                <a:gd name="T53" fmla="*/ 59 h 59"/>
                <a:gd name="T54" fmla="*/ 36 w 80"/>
                <a:gd name="T55" fmla="*/ 59 h 59"/>
                <a:gd name="T56" fmla="*/ 36 w 80"/>
                <a:gd name="T57" fmla="*/ 57 h 59"/>
                <a:gd name="T58" fmla="*/ 34 w 80"/>
                <a:gd name="T59" fmla="*/ 54 h 59"/>
                <a:gd name="T60" fmla="*/ 25 w 80"/>
                <a:gd name="T61" fmla="*/ 47 h 59"/>
                <a:gd name="T62" fmla="*/ 27 w 80"/>
                <a:gd name="T63" fmla="*/ 38 h 59"/>
                <a:gd name="T64" fmla="*/ 25 w 80"/>
                <a:gd name="T65" fmla="*/ 34 h 59"/>
                <a:gd name="T66" fmla="*/ 16 w 80"/>
                <a:gd name="T67" fmla="*/ 32 h 59"/>
                <a:gd name="T68" fmla="*/ 4 w 80"/>
                <a:gd name="T69" fmla="*/ 28 h 59"/>
                <a:gd name="T70" fmla="*/ 4 w 80"/>
                <a:gd name="T71" fmla="*/ 26 h 59"/>
                <a:gd name="T72" fmla="*/ 0 w 80"/>
                <a:gd name="T73" fmla="*/ 5 h 59"/>
                <a:gd name="T74" fmla="*/ 2 w 80"/>
                <a:gd name="T75" fmla="*/ 5 h 59"/>
                <a:gd name="T76" fmla="*/ 6 w 80"/>
                <a:gd name="T77" fmla="*/ 8 h 59"/>
                <a:gd name="T78" fmla="*/ 9 w 80"/>
                <a:gd name="T79" fmla="*/ 4 h 59"/>
                <a:gd name="T80" fmla="*/ 18 w 80"/>
                <a:gd name="T8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 h="59">
                  <a:moveTo>
                    <a:pt x="18" y="0"/>
                  </a:moveTo>
                  <a:lnTo>
                    <a:pt x="39" y="1"/>
                  </a:lnTo>
                  <a:lnTo>
                    <a:pt x="46" y="3"/>
                  </a:lnTo>
                  <a:lnTo>
                    <a:pt x="53" y="0"/>
                  </a:lnTo>
                  <a:lnTo>
                    <a:pt x="55" y="0"/>
                  </a:lnTo>
                  <a:lnTo>
                    <a:pt x="59" y="5"/>
                  </a:lnTo>
                  <a:lnTo>
                    <a:pt x="64" y="7"/>
                  </a:lnTo>
                  <a:lnTo>
                    <a:pt x="74" y="16"/>
                  </a:lnTo>
                  <a:lnTo>
                    <a:pt x="80" y="19"/>
                  </a:lnTo>
                  <a:lnTo>
                    <a:pt x="80" y="20"/>
                  </a:lnTo>
                  <a:lnTo>
                    <a:pt x="76" y="22"/>
                  </a:lnTo>
                  <a:lnTo>
                    <a:pt x="76" y="25"/>
                  </a:lnTo>
                  <a:lnTo>
                    <a:pt x="80" y="26"/>
                  </a:lnTo>
                  <a:lnTo>
                    <a:pt x="79" y="31"/>
                  </a:lnTo>
                  <a:lnTo>
                    <a:pt x="77" y="31"/>
                  </a:lnTo>
                  <a:lnTo>
                    <a:pt x="68" y="35"/>
                  </a:lnTo>
                  <a:lnTo>
                    <a:pt x="65" y="47"/>
                  </a:lnTo>
                  <a:lnTo>
                    <a:pt x="68" y="51"/>
                  </a:lnTo>
                  <a:lnTo>
                    <a:pt x="68" y="53"/>
                  </a:lnTo>
                  <a:lnTo>
                    <a:pt x="67" y="53"/>
                  </a:lnTo>
                  <a:lnTo>
                    <a:pt x="65" y="54"/>
                  </a:lnTo>
                  <a:lnTo>
                    <a:pt x="65" y="53"/>
                  </a:lnTo>
                  <a:lnTo>
                    <a:pt x="61" y="50"/>
                  </a:lnTo>
                  <a:lnTo>
                    <a:pt x="55" y="53"/>
                  </a:lnTo>
                  <a:lnTo>
                    <a:pt x="55" y="57"/>
                  </a:lnTo>
                  <a:lnTo>
                    <a:pt x="47" y="57"/>
                  </a:lnTo>
                  <a:lnTo>
                    <a:pt x="43" y="59"/>
                  </a:lnTo>
                  <a:lnTo>
                    <a:pt x="36" y="59"/>
                  </a:lnTo>
                  <a:lnTo>
                    <a:pt x="36" y="57"/>
                  </a:lnTo>
                  <a:lnTo>
                    <a:pt x="34" y="54"/>
                  </a:lnTo>
                  <a:lnTo>
                    <a:pt x="25" y="47"/>
                  </a:lnTo>
                  <a:lnTo>
                    <a:pt x="27" y="38"/>
                  </a:lnTo>
                  <a:lnTo>
                    <a:pt x="25" y="34"/>
                  </a:lnTo>
                  <a:lnTo>
                    <a:pt x="16" y="32"/>
                  </a:lnTo>
                  <a:lnTo>
                    <a:pt x="4" y="28"/>
                  </a:lnTo>
                  <a:lnTo>
                    <a:pt x="4" y="26"/>
                  </a:lnTo>
                  <a:lnTo>
                    <a:pt x="0" y="5"/>
                  </a:lnTo>
                  <a:lnTo>
                    <a:pt x="2" y="5"/>
                  </a:lnTo>
                  <a:lnTo>
                    <a:pt x="6" y="8"/>
                  </a:lnTo>
                  <a:lnTo>
                    <a:pt x="9" y="4"/>
                  </a:lnTo>
                  <a:lnTo>
                    <a:pt x="1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1" name="Czech Republic">
              <a:extLst>
                <a:ext uri="{FF2B5EF4-FFF2-40B4-BE49-F238E27FC236}">
                  <a16:creationId xmlns:a16="http://schemas.microsoft.com/office/drawing/2014/main" id="{2487D4CE-9084-4270-8176-68964AA0F047}"/>
                </a:ext>
              </a:extLst>
            </p:cNvPr>
            <p:cNvSpPr>
              <a:spLocks/>
            </p:cNvSpPr>
            <p:nvPr/>
          </p:nvSpPr>
          <p:spPr bwMode="auto">
            <a:xfrm>
              <a:off x="6107745" y="3183320"/>
              <a:ext cx="166250" cy="90353"/>
            </a:xfrm>
            <a:custGeom>
              <a:avLst/>
              <a:gdLst>
                <a:gd name="T0" fmla="*/ 30 w 92"/>
                <a:gd name="T1" fmla="*/ 0 h 50"/>
                <a:gd name="T2" fmla="*/ 36 w 92"/>
                <a:gd name="T3" fmla="*/ 6 h 50"/>
                <a:gd name="T4" fmla="*/ 42 w 92"/>
                <a:gd name="T5" fmla="*/ 3 h 50"/>
                <a:gd name="T6" fmla="*/ 52 w 92"/>
                <a:gd name="T7" fmla="*/ 9 h 50"/>
                <a:gd name="T8" fmla="*/ 63 w 92"/>
                <a:gd name="T9" fmla="*/ 19 h 50"/>
                <a:gd name="T10" fmla="*/ 66 w 92"/>
                <a:gd name="T11" fmla="*/ 16 h 50"/>
                <a:gd name="T12" fmla="*/ 75 w 92"/>
                <a:gd name="T13" fmla="*/ 17 h 50"/>
                <a:gd name="T14" fmla="*/ 76 w 92"/>
                <a:gd name="T15" fmla="*/ 22 h 50"/>
                <a:gd name="T16" fmla="*/ 86 w 92"/>
                <a:gd name="T17" fmla="*/ 31 h 50"/>
                <a:gd name="T18" fmla="*/ 92 w 92"/>
                <a:gd name="T19" fmla="*/ 35 h 50"/>
                <a:gd name="T20" fmla="*/ 86 w 92"/>
                <a:gd name="T21" fmla="*/ 38 h 50"/>
                <a:gd name="T22" fmla="*/ 83 w 92"/>
                <a:gd name="T23" fmla="*/ 46 h 50"/>
                <a:gd name="T24" fmla="*/ 63 w 92"/>
                <a:gd name="T25" fmla="*/ 49 h 50"/>
                <a:gd name="T26" fmla="*/ 42 w 92"/>
                <a:gd name="T27" fmla="*/ 43 h 50"/>
                <a:gd name="T28" fmla="*/ 35 w 92"/>
                <a:gd name="T29" fmla="*/ 50 h 50"/>
                <a:gd name="T30" fmla="*/ 24 w 92"/>
                <a:gd name="T31" fmla="*/ 49 h 50"/>
                <a:gd name="T32" fmla="*/ 8 w 92"/>
                <a:gd name="T33" fmla="*/ 34 h 50"/>
                <a:gd name="T34" fmla="*/ 0 w 92"/>
                <a:gd name="T35" fmla="*/ 17 h 50"/>
                <a:gd name="T36" fmla="*/ 5 w 92"/>
                <a:gd name="T37" fmla="*/ 20 h 50"/>
                <a:gd name="T38" fmla="*/ 29 w 92"/>
                <a:gd name="T39" fmla="*/ 6 h 50"/>
                <a:gd name="T40" fmla="*/ 30 w 92"/>
                <a:gd name="T4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0">
                  <a:moveTo>
                    <a:pt x="30" y="0"/>
                  </a:moveTo>
                  <a:lnTo>
                    <a:pt x="36" y="6"/>
                  </a:lnTo>
                  <a:lnTo>
                    <a:pt x="42" y="3"/>
                  </a:lnTo>
                  <a:lnTo>
                    <a:pt x="52" y="9"/>
                  </a:lnTo>
                  <a:lnTo>
                    <a:pt x="63" y="19"/>
                  </a:lnTo>
                  <a:lnTo>
                    <a:pt x="66" y="16"/>
                  </a:lnTo>
                  <a:lnTo>
                    <a:pt x="75" y="17"/>
                  </a:lnTo>
                  <a:lnTo>
                    <a:pt x="76" y="22"/>
                  </a:lnTo>
                  <a:lnTo>
                    <a:pt x="86" y="31"/>
                  </a:lnTo>
                  <a:lnTo>
                    <a:pt x="92" y="35"/>
                  </a:lnTo>
                  <a:lnTo>
                    <a:pt x="86" y="38"/>
                  </a:lnTo>
                  <a:lnTo>
                    <a:pt x="83" y="46"/>
                  </a:lnTo>
                  <a:lnTo>
                    <a:pt x="63" y="49"/>
                  </a:lnTo>
                  <a:lnTo>
                    <a:pt x="42" y="43"/>
                  </a:lnTo>
                  <a:lnTo>
                    <a:pt x="35" y="50"/>
                  </a:lnTo>
                  <a:lnTo>
                    <a:pt x="24" y="49"/>
                  </a:lnTo>
                  <a:lnTo>
                    <a:pt x="8" y="34"/>
                  </a:lnTo>
                  <a:lnTo>
                    <a:pt x="0" y="17"/>
                  </a:lnTo>
                  <a:lnTo>
                    <a:pt x="5" y="20"/>
                  </a:lnTo>
                  <a:lnTo>
                    <a:pt x="29" y="6"/>
                  </a:lnTo>
                  <a:lnTo>
                    <a:pt x="3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2" name="Corsica (France)">
              <a:extLst>
                <a:ext uri="{FF2B5EF4-FFF2-40B4-BE49-F238E27FC236}">
                  <a16:creationId xmlns:a16="http://schemas.microsoft.com/office/drawing/2014/main" id="{A728EEC5-15D4-DA4B-0E52-F13550210D12}"/>
                </a:ext>
              </a:extLst>
            </p:cNvPr>
            <p:cNvSpPr>
              <a:spLocks/>
            </p:cNvSpPr>
            <p:nvPr/>
          </p:nvSpPr>
          <p:spPr bwMode="auto">
            <a:xfrm>
              <a:off x="6028235" y="3463415"/>
              <a:ext cx="23493" cy="56019"/>
            </a:xfrm>
            <a:custGeom>
              <a:avLst/>
              <a:gdLst>
                <a:gd name="T0" fmla="*/ 10 w 13"/>
                <a:gd name="T1" fmla="*/ 0 h 31"/>
                <a:gd name="T2" fmla="*/ 12 w 13"/>
                <a:gd name="T3" fmla="*/ 0 h 31"/>
                <a:gd name="T4" fmla="*/ 13 w 13"/>
                <a:gd name="T5" fmla="*/ 15 h 31"/>
                <a:gd name="T6" fmla="*/ 10 w 13"/>
                <a:gd name="T7" fmla="*/ 30 h 31"/>
                <a:gd name="T8" fmla="*/ 9 w 13"/>
                <a:gd name="T9" fmla="*/ 31 h 31"/>
                <a:gd name="T10" fmla="*/ 9 w 13"/>
                <a:gd name="T11" fmla="*/ 30 h 31"/>
                <a:gd name="T12" fmla="*/ 1 w 13"/>
                <a:gd name="T13" fmla="*/ 23 h 31"/>
                <a:gd name="T14" fmla="*/ 0 w 13"/>
                <a:gd name="T15" fmla="*/ 11 h 31"/>
                <a:gd name="T16" fmla="*/ 1 w 13"/>
                <a:gd name="T17" fmla="*/ 8 h 31"/>
                <a:gd name="T18" fmla="*/ 9 w 13"/>
                <a:gd name="T19" fmla="*/ 5 h 31"/>
                <a:gd name="T20" fmla="*/ 10 w 13"/>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1">
                  <a:moveTo>
                    <a:pt x="10" y="0"/>
                  </a:moveTo>
                  <a:lnTo>
                    <a:pt x="12" y="0"/>
                  </a:lnTo>
                  <a:lnTo>
                    <a:pt x="13" y="15"/>
                  </a:lnTo>
                  <a:lnTo>
                    <a:pt x="10" y="30"/>
                  </a:lnTo>
                  <a:lnTo>
                    <a:pt x="9" y="31"/>
                  </a:lnTo>
                  <a:lnTo>
                    <a:pt x="9" y="30"/>
                  </a:lnTo>
                  <a:lnTo>
                    <a:pt x="1" y="23"/>
                  </a:lnTo>
                  <a:lnTo>
                    <a:pt x="0" y="11"/>
                  </a:lnTo>
                  <a:lnTo>
                    <a:pt x="1" y="8"/>
                  </a:lnTo>
                  <a:lnTo>
                    <a:pt x="9" y="5"/>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3" name="Kaliningrad (Russia)">
              <a:extLst>
                <a:ext uri="{FF2B5EF4-FFF2-40B4-BE49-F238E27FC236}">
                  <a16:creationId xmlns:a16="http://schemas.microsoft.com/office/drawing/2014/main" id="{1C04E3B6-FA5A-4AAC-8702-8D512EBD2201}"/>
                </a:ext>
              </a:extLst>
            </p:cNvPr>
            <p:cNvSpPr>
              <a:spLocks/>
            </p:cNvSpPr>
            <p:nvPr/>
          </p:nvSpPr>
          <p:spPr bwMode="auto">
            <a:xfrm>
              <a:off x="6288452" y="3018878"/>
              <a:ext cx="79511" cy="39755"/>
            </a:xfrm>
            <a:custGeom>
              <a:avLst/>
              <a:gdLst>
                <a:gd name="T0" fmla="*/ 20 w 44"/>
                <a:gd name="T1" fmla="*/ 0 h 22"/>
                <a:gd name="T2" fmla="*/ 22 w 44"/>
                <a:gd name="T3" fmla="*/ 0 h 22"/>
                <a:gd name="T4" fmla="*/ 32 w 44"/>
                <a:gd name="T5" fmla="*/ 5 h 22"/>
                <a:gd name="T6" fmla="*/ 41 w 44"/>
                <a:gd name="T7" fmla="*/ 6 h 22"/>
                <a:gd name="T8" fmla="*/ 44 w 44"/>
                <a:gd name="T9" fmla="*/ 12 h 22"/>
                <a:gd name="T10" fmla="*/ 43 w 44"/>
                <a:gd name="T11" fmla="*/ 21 h 22"/>
                <a:gd name="T12" fmla="*/ 43 w 44"/>
                <a:gd name="T13" fmla="*/ 22 h 22"/>
                <a:gd name="T14" fmla="*/ 18 w 44"/>
                <a:gd name="T15" fmla="*/ 22 h 22"/>
                <a:gd name="T16" fmla="*/ 0 w 44"/>
                <a:gd name="T17" fmla="*/ 21 h 22"/>
                <a:gd name="T18" fmla="*/ 0 w 44"/>
                <a:gd name="T19" fmla="*/ 20 h 22"/>
                <a:gd name="T20" fmla="*/ 4 w 44"/>
                <a:gd name="T21" fmla="*/ 8 h 22"/>
                <a:gd name="T22" fmla="*/ 15 w 44"/>
                <a:gd name="T23" fmla="*/ 3 h 22"/>
                <a:gd name="T24" fmla="*/ 16 w 44"/>
                <a:gd name="T25" fmla="*/ 3 h 22"/>
                <a:gd name="T26" fmla="*/ 16 w 44"/>
                <a:gd name="T27" fmla="*/ 5 h 22"/>
                <a:gd name="T28" fmla="*/ 15 w 44"/>
                <a:gd name="T29" fmla="*/ 6 h 22"/>
                <a:gd name="T30" fmla="*/ 19 w 44"/>
                <a:gd name="T31" fmla="*/ 8 h 22"/>
                <a:gd name="T32" fmla="*/ 20 w 44"/>
                <a:gd name="T33" fmla="*/ 2 h 22"/>
                <a:gd name="T34" fmla="*/ 20 w 4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22">
                  <a:moveTo>
                    <a:pt x="20" y="0"/>
                  </a:moveTo>
                  <a:lnTo>
                    <a:pt x="22" y="0"/>
                  </a:lnTo>
                  <a:lnTo>
                    <a:pt x="32" y="5"/>
                  </a:lnTo>
                  <a:lnTo>
                    <a:pt x="41" y="6"/>
                  </a:lnTo>
                  <a:lnTo>
                    <a:pt x="44" y="12"/>
                  </a:lnTo>
                  <a:lnTo>
                    <a:pt x="43" y="21"/>
                  </a:lnTo>
                  <a:lnTo>
                    <a:pt x="43" y="22"/>
                  </a:lnTo>
                  <a:lnTo>
                    <a:pt x="18" y="22"/>
                  </a:lnTo>
                  <a:lnTo>
                    <a:pt x="0" y="21"/>
                  </a:lnTo>
                  <a:lnTo>
                    <a:pt x="0" y="20"/>
                  </a:lnTo>
                  <a:lnTo>
                    <a:pt x="4" y="8"/>
                  </a:lnTo>
                  <a:lnTo>
                    <a:pt x="15" y="3"/>
                  </a:lnTo>
                  <a:lnTo>
                    <a:pt x="16" y="3"/>
                  </a:lnTo>
                  <a:lnTo>
                    <a:pt x="16" y="5"/>
                  </a:lnTo>
                  <a:lnTo>
                    <a:pt x="15" y="6"/>
                  </a:lnTo>
                  <a:lnTo>
                    <a:pt x="19" y="8"/>
                  </a:lnTo>
                  <a:lnTo>
                    <a:pt x="20" y="2"/>
                  </a:lnTo>
                  <a:lnTo>
                    <a:pt x="2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4" name="Luxembourg">
              <a:extLst>
                <a:ext uri="{FF2B5EF4-FFF2-40B4-BE49-F238E27FC236}">
                  <a16:creationId xmlns:a16="http://schemas.microsoft.com/office/drawing/2014/main" id="{A42C1981-B82A-1FFB-9229-AA41489833AA}"/>
                </a:ext>
              </a:extLst>
            </p:cNvPr>
            <p:cNvSpPr>
              <a:spLocks/>
            </p:cNvSpPr>
            <p:nvPr/>
          </p:nvSpPr>
          <p:spPr bwMode="auto">
            <a:xfrm>
              <a:off x="5957760" y="3217654"/>
              <a:ext cx="19879" cy="27107"/>
            </a:xfrm>
            <a:custGeom>
              <a:avLst/>
              <a:gdLst>
                <a:gd name="T0" fmla="*/ 6 w 11"/>
                <a:gd name="T1" fmla="*/ 0 h 15"/>
                <a:gd name="T2" fmla="*/ 8 w 11"/>
                <a:gd name="T3" fmla="*/ 1 h 15"/>
                <a:gd name="T4" fmla="*/ 11 w 11"/>
                <a:gd name="T5" fmla="*/ 9 h 15"/>
                <a:gd name="T6" fmla="*/ 9 w 11"/>
                <a:gd name="T7" fmla="*/ 13 h 15"/>
                <a:gd name="T8" fmla="*/ 9 w 11"/>
                <a:gd name="T9" fmla="*/ 15 h 15"/>
                <a:gd name="T10" fmla="*/ 2 w 11"/>
                <a:gd name="T11" fmla="*/ 13 h 15"/>
                <a:gd name="T12" fmla="*/ 0 w 11"/>
                <a:gd name="T13" fmla="*/ 7 h 15"/>
                <a:gd name="T14" fmla="*/ 0 w 11"/>
                <a:gd name="T15" fmla="*/ 6 h 15"/>
                <a:gd name="T16" fmla="*/ 6 w 1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5">
                  <a:moveTo>
                    <a:pt x="6" y="0"/>
                  </a:moveTo>
                  <a:lnTo>
                    <a:pt x="8" y="1"/>
                  </a:lnTo>
                  <a:lnTo>
                    <a:pt x="11" y="9"/>
                  </a:lnTo>
                  <a:lnTo>
                    <a:pt x="9" y="13"/>
                  </a:lnTo>
                  <a:lnTo>
                    <a:pt x="9" y="15"/>
                  </a:lnTo>
                  <a:lnTo>
                    <a:pt x="2" y="13"/>
                  </a:lnTo>
                  <a:lnTo>
                    <a:pt x="0" y="7"/>
                  </a:lnTo>
                  <a:lnTo>
                    <a:pt x="0" y="6"/>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5" name="Hungary">
              <a:extLst>
                <a:ext uri="{FF2B5EF4-FFF2-40B4-BE49-F238E27FC236}">
                  <a16:creationId xmlns:a16="http://schemas.microsoft.com/office/drawing/2014/main" id="{DB9ED342-9A80-9C32-A8E3-E86EECDAEDE4}"/>
                </a:ext>
              </a:extLst>
            </p:cNvPr>
            <p:cNvSpPr>
              <a:spLocks/>
            </p:cNvSpPr>
            <p:nvPr/>
          </p:nvSpPr>
          <p:spPr bwMode="auto">
            <a:xfrm>
              <a:off x="6205327" y="3277287"/>
              <a:ext cx="160829" cy="97581"/>
            </a:xfrm>
            <a:custGeom>
              <a:avLst/>
              <a:gdLst>
                <a:gd name="T0" fmla="*/ 61 w 89"/>
                <a:gd name="T1" fmla="*/ 0 h 54"/>
                <a:gd name="T2" fmla="*/ 65 w 89"/>
                <a:gd name="T3" fmla="*/ 0 h 54"/>
                <a:gd name="T4" fmla="*/ 68 w 89"/>
                <a:gd name="T5" fmla="*/ 1 h 54"/>
                <a:gd name="T6" fmla="*/ 72 w 89"/>
                <a:gd name="T7" fmla="*/ 1 h 54"/>
                <a:gd name="T8" fmla="*/ 75 w 89"/>
                <a:gd name="T9" fmla="*/ 3 h 54"/>
                <a:gd name="T10" fmla="*/ 80 w 89"/>
                <a:gd name="T11" fmla="*/ 3 h 54"/>
                <a:gd name="T12" fmla="*/ 89 w 89"/>
                <a:gd name="T13" fmla="*/ 11 h 54"/>
                <a:gd name="T14" fmla="*/ 89 w 89"/>
                <a:gd name="T15" fmla="*/ 13 h 54"/>
                <a:gd name="T16" fmla="*/ 78 w 89"/>
                <a:gd name="T17" fmla="*/ 19 h 54"/>
                <a:gd name="T18" fmla="*/ 66 w 89"/>
                <a:gd name="T19" fmla="*/ 43 h 54"/>
                <a:gd name="T20" fmla="*/ 66 w 89"/>
                <a:gd name="T21" fmla="*/ 44 h 54"/>
                <a:gd name="T22" fmla="*/ 55 w 89"/>
                <a:gd name="T23" fmla="*/ 47 h 54"/>
                <a:gd name="T24" fmla="*/ 47 w 89"/>
                <a:gd name="T25" fmla="*/ 47 h 54"/>
                <a:gd name="T26" fmla="*/ 35 w 89"/>
                <a:gd name="T27" fmla="*/ 51 h 54"/>
                <a:gd name="T28" fmla="*/ 25 w 89"/>
                <a:gd name="T29" fmla="*/ 54 h 54"/>
                <a:gd name="T30" fmla="*/ 24 w 89"/>
                <a:gd name="T31" fmla="*/ 54 h 54"/>
                <a:gd name="T32" fmla="*/ 0 w 89"/>
                <a:gd name="T33" fmla="*/ 34 h 54"/>
                <a:gd name="T34" fmla="*/ 0 w 89"/>
                <a:gd name="T35" fmla="*/ 32 h 54"/>
                <a:gd name="T36" fmla="*/ 4 w 89"/>
                <a:gd name="T37" fmla="*/ 29 h 54"/>
                <a:gd name="T38" fmla="*/ 6 w 89"/>
                <a:gd name="T39" fmla="*/ 16 h 54"/>
                <a:gd name="T40" fmla="*/ 13 w 89"/>
                <a:gd name="T41" fmla="*/ 16 h 54"/>
                <a:gd name="T42" fmla="*/ 13 w 89"/>
                <a:gd name="T43" fmla="*/ 8 h 54"/>
                <a:gd name="T44" fmla="*/ 15 w 89"/>
                <a:gd name="T45" fmla="*/ 8 h 54"/>
                <a:gd name="T46" fmla="*/ 15 w 89"/>
                <a:gd name="T47" fmla="*/ 10 h 54"/>
                <a:gd name="T48" fmla="*/ 24 w 89"/>
                <a:gd name="T49" fmla="*/ 16 h 54"/>
                <a:gd name="T50" fmla="*/ 31 w 89"/>
                <a:gd name="T51" fmla="*/ 14 h 54"/>
                <a:gd name="T52" fmla="*/ 34 w 89"/>
                <a:gd name="T53" fmla="*/ 10 h 54"/>
                <a:gd name="T54" fmla="*/ 35 w 89"/>
                <a:gd name="T55" fmla="*/ 10 h 54"/>
                <a:gd name="T56" fmla="*/ 50 w 89"/>
                <a:gd name="T57" fmla="*/ 7 h 54"/>
                <a:gd name="T58" fmla="*/ 61 w 89"/>
                <a:gd name="T5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54">
                  <a:moveTo>
                    <a:pt x="61" y="0"/>
                  </a:moveTo>
                  <a:lnTo>
                    <a:pt x="65" y="0"/>
                  </a:lnTo>
                  <a:lnTo>
                    <a:pt x="68" y="1"/>
                  </a:lnTo>
                  <a:lnTo>
                    <a:pt x="72" y="1"/>
                  </a:lnTo>
                  <a:lnTo>
                    <a:pt x="75" y="3"/>
                  </a:lnTo>
                  <a:lnTo>
                    <a:pt x="80" y="3"/>
                  </a:lnTo>
                  <a:lnTo>
                    <a:pt x="89" y="11"/>
                  </a:lnTo>
                  <a:lnTo>
                    <a:pt x="89" y="13"/>
                  </a:lnTo>
                  <a:lnTo>
                    <a:pt x="78" y="19"/>
                  </a:lnTo>
                  <a:lnTo>
                    <a:pt x="66" y="43"/>
                  </a:lnTo>
                  <a:lnTo>
                    <a:pt x="66" y="44"/>
                  </a:lnTo>
                  <a:lnTo>
                    <a:pt x="55" y="47"/>
                  </a:lnTo>
                  <a:lnTo>
                    <a:pt x="47" y="47"/>
                  </a:lnTo>
                  <a:lnTo>
                    <a:pt x="35" y="51"/>
                  </a:lnTo>
                  <a:lnTo>
                    <a:pt x="25" y="54"/>
                  </a:lnTo>
                  <a:lnTo>
                    <a:pt x="24" y="54"/>
                  </a:lnTo>
                  <a:lnTo>
                    <a:pt x="0" y="34"/>
                  </a:lnTo>
                  <a:lnTo>
                    <a:pt x="0" y="32"/>
                  </a:lnTo>
                  <a:lnTo>
                    <a:pt x="4" y="29"/>
                  </a:lnTo>
                  <a:lnTo>
                    <a:pt x="6" y="16"/>
                  </a:lnTo>
                  <a:lnTo>
                    <a:pt x="13" y="16"/>
                  </a:lnTo>
                  <a:lnTo>
                    <a:pt x="13" y="8"/>
                  </a:lnTo>
                  <a:lnTo>
                    <a:pt x="15" y="8"/>
                  </a:lnTo>
                  <a:lnTo>
                    <a:pt x="15" y="10"/>
                  </a:lnTo>
                  <a:lnTo>
                    <a:pt x="24" y="16"/>
                  </a:lnTo>
                  <a:lnTo>
                    <a:pt x="31" y="14"/>
                  </a:lnTo>
                  <a:lnTo>
                    <a:pt x="34" y="10"/>
                  </a:lnTo>
                  <a:lnTo>
                    <a:pt x="35" y="10"/>
                  </a:lnTo>
                  <a:lnTo>
                    <a:pt x="50" y="7"/>
                  </a:lnTo>
                  <a:lnTo>
                    <a:pt x="6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6" name="Romania">
              <a:extLst>
                <a:ext uri="{FF2B5EF4-FFF2-40B4-BE49-F238E27FC236}">
                  <a16:creationId xmlns:a16="http://schemas.microsoft.com/office/drawing/2014/main" id="{A350AF03-5F31-FD48-EF84-431E472F294D}"/>
                </a:ext>
              </a:extLst>
            </p:cNvPr>
            <p:cNvSpPr>
              <a:spLocks/>
            </p:cNvSpPr>
            <p:nvPr/>
          </p:nvSpPr>
          <p:spPr bwMode="auto">
            <a:xfrm>
              <a:off x="6301102" y="3288129"/>
              <a:ext cx="225883" cy="157215"/>
            </a:xfrm>
            <a:custGeom>
              <a:avLst/>
              <a:gdLst>
                <a:gd name="T0" fmla="*/ 86 w 125"/>
                <a:gd name="T1" fmla="*/ 0 h 87"/>
                <a:gd name="T2" fmla="*/ 88 w 125"/>
                <a:gd name="T3" fmla="*/ 0 h 87"/>
                <a:gd name="T4" fmla="*/ 95 w 125"/>
                <a:gd name="T5" fmla="*/ 8 h 87"/>
                <a:gd name="T6" fmla="*/ 104 w 125"/>
                <a:gd name="T7" fmla="*/ 28 h 87"/>
                <a:gd name="T8" fmla="*/ 107 w 125"/>
                <a:gd name="T9" fmla="*/ 53 h 87"/>
                <a:gd name="T10" fmla="*/ 111 w 125"/>
                <a:gd name="T11" fmla="*/ 56 h 87"/>
                <a:gd name="T12" fmla="*/ 113 w 125"/>
                <a:gd name="T13" fmla="*/ 56 h 87"/>
                <a:gd name="T14" fmla="*/ 114 w 125"/>
                <a:gd name="T15" fmla="*/ 54 h 87"/>
                <a:gd name="T16" fmla="*/ 120 w 125"/>
                <a:gd name="T17" fmla="*/ 54 h 87"/>
                <a:gd name="T18" fmla="*/ 122 w 125"/>
                <a:gd name="T19" fmla="*/ 53 h 87"/>
                <a:gd name="T20" fmla="*/ 125 w 125"/>
                <a:gd name="T21" fmla="*/ 53 h 87"/>
                <a:gd name="T22" fmla="*/ 125 w 125"/>
                <a:gd name="T23" fmla="*/ 54 h 87"/>
                <a:gd name="T24" fmla="*/ 123 w 125"/>
                <a:gd name="T25" fmla="*/ 66 h 87"/>
                <a:gd name="T26" fmla="*/ 117 w 125"/>
                <a:gd name="T27" fmla="*/ 72 h 87"/>
                <a:gd name="T28" fmla="*/ 116 w 125"/>
                <a:gd name="T29" fmla="*/ 72 h 87"/>
                <a:gd name="T30" fmla="*/ 116 w 125"/>
                <a:gd name="T31" fmla="*/ 71 h 87"/>
                <a:gd name="T32" fmla="*/ 117 w 125"/>
                <a:gd name="T33" fmla="*/ 66 h 87"/>
                <a:gd name="T34" fmla="*/ 116 w 125"/>
                <a:gd name="T35" fmla="*/ 65 h 87"/>
                <a:gd name="T36" fmla="*/ 113 w 125"/>
                <a:gd name="T37" fmla="*/ 84 h 87"/>
                <a:gd name="T38" fmla="*/ 89 w 125"/>
                <a:gd name="T39" fmla="*/ 78 h 87"/>
                <a:gd name="T40" fmla="*/ 70 w 125"/>
                <a:gd name="T41" fmla="*/ 87 h 87"/>
                <a:gd name="T42" fmla="*/ 39 w 125"/>
                <a:gd name="T43" fmla="*/ 84 h 87"/>
                <a:gd name="T44" fmla="*/ 37 w 125"/>
                <a:gd name="T45" fmla="*/ 84 h 87"/>
                <a:gd name="T46" fmla="*/ 34 w 125"/>
                <a:gd name="T47" fmla="*/ 81 h 87"/>
                <a:gd name="T48" fmla="*/ 36 w 125"/>
                <a:gd name="T49" fmla="*/ 78 h 87"/>
                <a:gd name="T50" fmla="*/ 34 w 125"/>
                <a:gd name="T51" fmla="*/ 78 h 87"/>
                <a:gd name="T52" fmla="*/ 30 w 125"/>
                <a:gd name="T53" fmla="*/ 72 h 87"/>
                <a:gd name="T54" fmla="*/ 31 w 125"/>
                <a:gd name="T55" fmla="*/ 71 h 87"/>
                <a:gd name="T56" fmla="*/ 31 w 125"/>
                <a:gd name="T57" fmla="*/ 69 h 87"/>
                <a:gd name="T58" fmla="*/ 28 w 125"/>
                <a:gd name="T59" fmla="*/ 71 h 87"/>
                <a:gd name="T60" fmla="*/ 18 w 125"/>
                <a:gd name="T61" fmla="*/ 65 h 87"/>
                <a:gd name="T62" fmla="*/ 16 w 125"/>
                <a:gd name="T63" fmla="*/ 65 h 87"/>
                <a:gd name="T64" fmla="*/ 16 w 125"/>
                <a:gd name="T65" fmla="*/ 59 h 87"/>
                <a:gd name="T66" fmla="*/ 13 w 125"/>
                <a:gd name="T67" fmla="*/ 57 h 87"/>
                <a:gd name="T68" fmla="*/ 12 w 125"/>
                <a:gd name="T69" fmla="*/ 57 h 87"/>
                <a:gd name="T70" fmla="*/ 8 w 125"/>
                <a:gd name="T71" fmla="*/ 45 h 87"/>
                <a:gd name="T72" fmla="*/ 0 w 125"/>
                <a:gd name="T73" fmla="*/ 41 h 87"/>
                <a:gd name="T74" fmla="*/ 2 w 125"/>
                <a:gd name="T75" fmla="*/ 40 h 87"/>
                <a:gd name="T76" fmla="*/ 12 w 125"/>
                <a:gd name="T77" fmla="*/ 37 h 87"/>
                <a:gd name="T78" fmla="*/ 24 w 125"/>
                <a:gd name="T79" fmla="*/ 13 h 87"/>
                <a:gd name="T80" fmla="*/ 34 w 125"/>
                <a:gd name="T81" fmla="*/ 5 h 87"/>
                <a:gd name="T82" fmla="*/ 58 w 125"/>
                <a:gd name="T83" fmla="*/ 4 h 87"/>
                <a:gd name="T84" fmla="*/ 64 w 125"/>
                <a:gd name="T85" fmla="*/ 8 h 87"/>
                <a:gd name="T86" fmla="*/ 86 w 125"/>
                <a:gd name="T8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 h="87">
                  <a:moveTo>
                    <a:pt x="86" y="0"/>
                  </a:moveTo>
                  <a:lnTo>
                    <a:pt x="88" y="0"/>
                  </a:lnTo>
                  <a:lnTo>
                    <a:pt x="95" y="8"/>
                  </a:lnTo>
                  <a:lnTo>
                    <a:pt x="104" y="28"/>
                  </a:lnTo>
                  <a:lnTo>
                    <a:pt x="107" y="53"/>
                  </a:lnTo>
                  <a:lnTo>
                    <a:pt x="111" y="56"/>
                  </a:lnTo>
                  <a:lnTo>
                    <a:pt x="113" y="56"/>
                  </a:lnTo>
                  <a:lnTo>
                    <a:pt x="114" y="54"/>
                  </a:lnTo>
                  <a:lnTo>
                    <a:pt x="120" y="54"/>
                  </a:lnTo>
                  <a:lnTo>
                    <a:pt x="122" y="53"/>
                  </a:lnTo>
                  <a:lnTo>
                    <a:pt x="125" y="53"/>
                  </a:lnTo>
                  <a:lnTo>
                    <a:pt x="125" y="54"/>
                  </a:lnTo>
                  <a:lnTo>
                    <a:pt x="123" y="66"/>
                  </a:lnTo>
                  <a:lnTo>
                    <a:pt x="117" y="72"/>
                  </a:lnTo>
                  <a:lnTo>
                    <a:pt x="116" y="72"/>
                  </a:lnTo>
                  <a:lnTo>
                    <a:pt x="116" y="71"/>
                  </a:lnTo>
                  <a:lnTo>
                    <a:pt x="117" y="66"/>
                  </a:lnTo>
                  <a:lnTo>
                    <a:pt x="116" y="65"/>
                  </a:lnTo>
                  <a:lnTo>
                    <a:pt x="113" y="84"/>
                  </a:lnTo>
                  <a:lnTo>
                    <a:pt x="89" y="78"/>
                  </a:lnTo>
                  <a:lnTo>
                    <a:pt x="70" y="87"/>
                  </a:lnTo>
                  <a:lnTo>
                    <a:pt x="39" y="84"/>
                  </a:lnTo>
                  <a:lnTo>
                    <a:pt x="37" y="84"/>
                  </a:lnTo>
                  <a:lnTo>
                    <a:pt x="34" y="81"/>
                  </a:lnTo>
                  <a:lnTo>
                    <a:pt x="36" y="78"/>
                  </a:lnTo>
                  <a:lnTo>
                    <a:pt x="34" y="78"/>
                  </a:lnTo>
                  <a:lnTo>
                    <a:pt x="30" y="72"/>
                  </a:lnTo>
                  <a:lnTo>
                    <a:pt x="31" y="71"/>
                  </a:lnTo>
                  <a:lnTo>
                    <a:pt x="31" y="69"/>
                  </a:lnTo>
                  <a:lnTo>
                    <a:pt x="28" y="71"/>
                  </a:lnTo>
                  <a:lnTo>
                    <a:pt x="18" y="65"/>
                  </a:lnTo>
                  <a:lnTo>
                    <a:pt x="16" y="65"/>
                  </a:lnTo>
                  <a:lnTo>
                    <a:pt x="16" y="59"/>
                  </a:lnTo>
                  <a:lnTo>
                    <a:pt x="13" y="57"/>
                  </a:lnTo>
                  <a:lnTo>
                    <a:pt x="12" y="57"/>
                  </a:lnTo>
                  <a:lnTo>
                    <a:pt x="8" y="45"/>
                  </a:lnTo>
                  <a:lnTo>
                    <a:pt x="0" y="41"/>
                  </a:lnTo>
                  <a:lnTo>
                    <a:pt x="2" y="40"/>
                  </a:lnTo>
                  <a:lnTo>
                    <a:pt x="12" y="37"/>
                  </a:lnTo>
                  <a:lnTo>
                    <a:pt x="24" y="13"/>
                  </a:lnTo>
                  <a:lnTo>
                    <a:pt x="34" y="5"/>
                  </a:lnTo>
                  <a:lnTo>
                    <a:pt x="58" y="4"/>
                  </a:lnTo>
                  <a:lnTo>
                    <a:pt x="64" y="8"/>
                  </a:lnTo>
                  <a:lnTo>
                    <a:pt x="8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7" name="Slovenia">
              <a:extLst>
                <a:ext uri="{FF2B5EF4-FFF2-40B4-BE49-F238E27FC236}">
                  <a16:creationId xmlns:a16="http://schemas.microsoft.com/office/drawing/2014/main" id="{71BE0B55-A182-22EB-64DF-4B04FDD86403}"/>
                </a:ext>
              </a:extLst>
            </p:cNvPr>
            <p:cNvSpPr>
              <a:spLocks/>
            </p:cNvSpPr>
            <p:nvPr/>
          </p:nvSpPr>
          <p:spPr bwMode="auto">
            <a:xfrm>
              <a:off x="6140273" y="3335113"/>
              <a:ext cx="72283" cy="45177"/>
            </a:xfrm>
            <a:custGeom>
              <a:avLst/>
              <a:gdLst>
                <a:gd name="T0" fmla="*/ 36 w 40"/>
                <a:gd name="T1" fmla="*/ 0 h 25"/>
                <a:gd name="T2" fmla="*/ 37 w 40"/>
                <a:gd name="T3" fmla="*/ 0 h 25"/>
                <a:gd name="T4" fmla="*/ 40 w 40"/>
                <a:gd name="T5" fmla="*/ 3 h 25"/>
                <a:gd name="T6" fmla="*/ 40 w 40"/>
                <a:gd name="T7" fmla="*/ 5 h 25"/>
                <a:gd name="T8" fmla="*/ 39 w 40"/>
                <a:gd name="T9" fmla="*/ 8 h 25"/>
                <a:gd name="T10" fmla="*/ 30 w 40"/>
                <a:gd name="T11" fmla="*/ 12 h 25"/>
                <a:gd name="T12" fmla="*/ 25 w 40"/>
                <a:gd name="T13" fmla="*/ 24 h 25"/>
                <a:gd name="T14" fmla="*/ 15 w 40"/>
                <a:gd name="T15" fmla="*/ 22 h 25"/>
                <a:gd name="T16" fmla="*/ 8 w 40"/>
                <a:gd name="T17" fmla="*/ 25 h 25"/>
                <a:gd name="T18" fmla="*/ 8 w 40"/>
                <a:gd name="T19" fmla="*/ 24 h 25"/>
                <a:gd name="T20" fmla="*/ 5 w 40"/>
                <a:gd name="T21" fmla="*/ 19 h 25"/>
                <a:gd name="T22" fmla="*/ 3 w 40"/>
                <a:gd name="T23" fmla="*/ 14 h 25"/>
                <a:gd name="T24" fmla="*/ 0 w 40"/>
                <a:gd name="T25" fmla="*/ 14 h 25"/>
                <a:gd name="T26" fmla="*/ 0 w 40"/>
                <a:gd name="T27" fmla="*/ 12 h 25"/>
                <a:gd name="T28" fmla="*/ 5 w 40"/>
                <a:gd name="T29" fmla="*/ 8 h 25"/>
                <a:gd name="T30" fmla="*/ 17 w 40"/>
                <a:gd name="T31" fmla="*/ 8 h 25"/>
                <a:gd name="T32" fmla="*/ 36 w 40"/>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25">
                  <a:moveTo>
                    <a:pt x="36" y="0"/>
                  </a:moveTo>
                  <a:lnTo>
                    <a:pt x="37" y="0"/>
                  </a:lnTo>
                  <a:lnTo>
                    <a:pt x="40" y="3"/>
                  </a:lnTo>
                  <a:lnTo>
                    <a:pt x="40" y="5"/>
                  </a:lnTo>
                  <a:lnTo>
                    <a:pt x="39" y="8"/>
                  </a:lnTo>
                  <a:lnTo>
                    <a:pt x="30" y="12"/>
                  </a:lnTo>
                  <a:lnTo>
                    <a:pt x="25" y="24"/>
                  </a:lnTo>
                  <a:lnTo>
                    <a:pt x="15" y="22"/>
                  </a:lnTo>
                  <a:lnTo>
                    <a:pt x="8" y="25"/>
                  </a:lnTo>
                  <a:lnTo>
                    <a:pt x="8" y="24"/>
                  </a:lnTo>
                  <a:lnTo>
                    <a:pt x="5" y="19"/>
                  </a:lnTo>
                  <a:lnTo>
                    <a:pt x="3" y="14"/>
                  </a:lnTo>
                  <a:lnTo>
                    <a:pt x="0" y="14"/>
                  </a:lnTo>
                  <a:lnTo>
                    <a:pt x="0" y="12"/>
                  </a:lnTo>
                  <a:lnTo>
                    <a:pt x="5" y="8"/>
                  </a:lnTo>
                  <a:lnTo>
                    <a:pt x="17" y="8"/>
                  </a:lnTo>
                  <a:lnTo>
                    <a:pt x="3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8" name="Bosnia &amp; Herzegovina">
              <a:extLst>
                <a:ext uri="{FF2B5EF4-FFF2-40B4-BE49-F238E27FC236}">
                  <a16:creationId xmlns:a16="http://schemas.microsoft.com/office/drawing/2014/main" id="{34946674-4F68-A57F-B0BB-C0A03627E031}"/>
                </a:ext>
              </a:extLst>
            </p:cNvPr>
            <p:cNvSpPr>
              <a:spLocks/>
            </p:cNvSpPr>
            <p:nvPr/>
          </p:nvSpPr>
          <p:spPr bwMode="auto">
            <a:xfrm>
              <a:off x="6194485" y="3383904"/>
              <a:ext cx="95775" cy="90353"/>
            </a:xfrm>
            <a:custGeom>
              <a:avLst/>
              <a:gdLst>
                <a:gd name="T0" fmla="*/ 4 w 53"/>
                <a:gd name="T1" fmla="*/ 0 h 50"/>
                <a:gd name="T2" fmla="*/ 6 w 53"/>
                <a:gd name="T3" fmla="*/ 0 h 50"/>
                <a:gd name="T4" fmla="*/ 9 w 53"/>
                <a:gd name="T5" fmla="*/ 4 h 50"/>
                <a:gd name="T6" fmla="*/ 16 w 53"/>
                <a:gd name="T7" fmla="*/ 0 h 50"/>
                <a:gd name="T8" fmla="*/ 21 w 53"/>
                <a:gd name="T9" fmla="*/ 0 h 50"/>
                <a:gd name="T10" fmla="*/ 25 w 53"/>
                <a:gd name="T11" fmla="*/ 1 h 50"/>
                <a:gd name="T12" fmla="*/ 30 w 53"/>
                <a:gd name="T13" fmla="*/ 1 h 50"/>
                <a:gd name="T14" fmla="*/ 32 w 53"/>
                <a:gd name="T15" fmla="*/ 3 h 50"/>
                <a:gd name="T16" fmla="*/ 37 w 53"/>
                <a:gd name="T17" fmla="*/ 4 h 50"/>
                <a:gd name="T18" fmla="*/ 40 w 53"/>
                <a:gd name="T19" fmla="*/ 4 h 50"/>
                <a:gd name="T20" fmla="*/ 44 w 53"/>
                <a:gd name="T21" fmla="*/ 10 h 50"/>
                <a:gd name="T22" fmla="*/ 46 w 53"/>
                <a:gd name="T23" fmla="*/ 9 h 50"/>
                <a:gd name="T24" fmla="*/ 50 w 53"/>
                <a:gd name="T25" fmla="*/ 10 h 50"/>
                <a:gd name="T26" fmla="*/ 52 w 53"/>
                <a:gd name="T27" fmla="*/ 10 h 50"/>
                <a:gd name="T28" fmla="*/ 46 w 53"/>
                <a:gd name="T29" fmla="*/ 19 h 50"/>
                <a:gd name="T30" fmla="*/ 53 w 53"/>
                <a:gd name="T31" fmla="*/ 24 h 50"/>
                <a:gd name="T32" fmla="*/ 53 w 53"/>
                <a:gd name="T33" fmla="*/ 25 h 50"/>
                <a:gd name="T34" fmla="*/ 52 w 53"/>
                <a:gd name="T35" fmla="*/ 27 h 50"/>
                <a:gd name="T36" fmla="*/ 49 w 53"/>
                <a:gd name="T37" fmla="*/ 28 h 50"/>
                <a:gd name="T38" fmla="*/ 52 w 53"/>
                <a:gd name="T39" fmla="*/ 32 h 50"/>
                <a:gd name="T40" fmla="*/ 50 w 53"/>
                <a:gd name="T41" fmla="*/ 32 h 50"/>
                <a:gd name="T42" fmla="*/ 47 w 53"/>
                <a:gd name="T43" fmla="*/ 35 h 50"/>
                <a:gd name="T44" fmla="*/ 44 w 53"/>
                <a:gd name="T45" fmla="*/ 35 h 50"/>
                <a:gd name="T46" fmla="*/ 46 w 53"/>
                <a:gd name="T47" fmla="*/ 37 h 50"/>
                <a:gd name="T48" fmla="*/ 46 w 53"/>
                <a:gd name="T49" fmla="*/ 38 h 50"/>
                <a:gd name="T50" fmla="*/ 44 w 53"/>
                <a:gd name="T51" fmla="*/ 38 h 50"/>
                <a:gd name="T52" fmla="*/ 40 w 53"/>
                <a:gd name="T53" fmla="*/ 35 h 50"/>
                <a:gd name="T54" fmla="*/ 38 w 53"/>
                <a:gd name="T55" fmla="*/ 37 h 50"/>
                <a:gd name="T56" fmla="*/ 41 w 53"/>
                <a:gd name="T57" fmla="*/ 41 h 50"/>
                <a:gd name="T58" fmla="*/ 37 w 53"/>
                <a:gd name="T59" fmla="*/ 44 h 50"/>
                <a:gd name="T60" fmla="*/ 38 w 53"/>
                <a:gd name="T61" fmla="*/ 50 h 50"/>
                <a:gd name="T62" fmla="*/ 37 w 53"/>
                <a:gd name="T63" fmla="*/ 50 h 50"/>
                <a:gd name="T64" fmla="*/ 21 w 53"/>
                <a:gd name="T65" fmla="*/ 37 h 50"/>
                <a:gd name="T66" fmla="*/ 4 w 53"/>
                <a:gd name="T67" fmla="*/ 12 h 50"/>
                <a:gd name="T68" fmla="*/ 0 w 53"/>
                <a:gd name="T69" fmla="*/ 9 h 50"/>
                <a:gd name="T70" fmla="*/ 0 w 53"/>
                <a:gd name="T71" fmla="*/ 7 h 50"/>
                <a:gd name="T72" fmla="*/ 4 w 53"/>
                <a:gd name="T7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50">
                  <a:moveTo>
                    <a:pt x="4" y="0"/>
                  </a:moveTo>
                  <a:lnTo>
                    <a:pt x="6" y="0"/>
                  </a:lnTo>
                  <a:lnTo>
                    <a:pt x="9" y="4"/>
                  </a:lnTo>
                  <a:lnTo>
                    <a:pt x="16" y="0"/>
                  </a:lnTo>
                  <a:lnTo>
                    <a:pt x="21" y="0"/>
                  </a:lnTo>
                  <a:lnTo>
                    <a:pt x="25" y="1"/>
                  </a:lnTo>
                  <a:lnTo>
                    <a:pt x="30" y="1"/>
                  </a:lnTo>
                  <a:lnTo>
                    <a:pt x="32" y="3"/>
                  </a:lnTo>
                  <a:lnTo>
                    <a:pt x="37" y="4"/>
                  </a:lnTo>
                  <a:lnTo>
                    <a:pt x="40" y="4"/>
                  </a:lnTo>
                  <a:lnTo>
                    <a:pt x="44" y="10"/>
                  </a:lnTo>
                  <a:lnTo>
                    <a:pt x="46" y="9"/>
                  </a:lnTo>
                  <a:lnTo>
                    <a:pt x="50" y="10"/>
                  </a:lnTo>
                  <a:lnTo>
                    <a:pt x="52" y="10"/>
                  </a:lnTo>
                  <a:lnTo>
                    <a:pt x="46" y="19"/>
                  </a:lnTo>
                  <a:lnTo>
                    <a:pt x="53" y="24"/>
                  </a:lnTo>
                  <a:lnTo>
                    <a:pt x="53" y="25"/>
                  </a:lnTo>
                  <a:lnTo>
                    <a:pt x="52" y="27"/>
                  </a:lnTo>
                  <a:lnTo>
                    <a:pt x="49" y="28"/>
                  </a:lnTo>
                  <a:lnTo>
                    <a:pt x="52" y="32"/>
                  </a:lnTo>
                  <a:lnTo>
                    <a:pt x="50" y="32"/>
                  </a:lnTo>
                  <a:lnTo>
                    <a:pt x="47" y="35"/>
                  </a:lnTo>
                  <a:lnTo>
                    <a:pt x="44" y="35"/>
                  </a:lnTo>
                  <a:lnTo>
                    <a:pt x="46" y="37"/>
                  </a:lnTo>
                  <a:lnTo>
                    <a:pt x="46" y="38"/>
                  </a:lnTo>
                  <a:lnTo>
                    <a:pt x="44" y="38"/>
                  </a:lnTo>
                  <a:lnTo>
                    <a:pt x="40" y="35"/>
                  </a:lnTo>
                  <a:lnTo>
                    <a:pt x="38" y="37"/>
                  </a:lnTo>
                  <a:lnTo>
                    <a:pt x="41" y="41"/>
                  </a:lnTo>
                  <a:lnTo>
                    <a:pt x="37" y="44"/>
                  </a:lnTo>
                  <a:lnTo>
                    <a:pt x="38" y="50"/>
                  </a:lnTo>
                  <a:lnTo>
                    <a:pt x="37" y="50"/>
                  </a:lnTo>
                  <a:lnTo>
                    <a:pt x="21" y="37"/>
                  </a:lnTo>
                  <a:lnTo>
                    <a:pt x="4" y="12"/>
                  </a:lnTo>
                  <a:lnTo>
                    <a:pt x="0" y="9"/>
                  </a:lnTo>
                  <a:lnTo>
                    <a:pt x="0" y="7"/>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29" name="Serbia">
              <a:extLst>
                <a:ext uri="{FF2B5EF4-FFF2-40B4-BE49-F238E27FC236}">
                  <a16:creationId xmlns:a16="http://schemas.microsoft.com/office/drawing/2014/main" id="{02A8E5A6-DDCF-B2B0-C1A5-DD8E38D2BF52}"/>
                </a:ext>
              </a:extLst>
            </p:cNvPr>
            <p:cNvSpPr>
              <a:spLocks/>
            </p:cNvSpPr>
            <p:nvPr/>
          </p:nvSpPr>
          <p:spPr bwMode="auto">
            <a:xfrm>
              <a:off x="6266768" y="3360412"/>
              <a:ext cx="99389" cy="135531"/>
            </a:xfrm>
            <a:custGeom>
              <a:avLst/>
              <a:gdLst>
                <a:gd name="T0" fmla="*/ 13 w 55"/>
                <a:gd name="T1" fmla="*/ 0 h 75"/>
                <a:gd name="T2" fmla="*/ 21 w 55"/>
                <a:gd name="T3" fmla="*/ 0 h 75"/>
                <a:gd name="T4" fmla="*/ 27 w 55"/>
                <a:gd name="T5" fmla="*/ 5 h 75"/>
                <a:gd name="T6" fmla="*/ 32 w 55"/>
                <a:gd name="T7" fmla="*/ 16 h 75"/>
                <a:gd name="T8" fmla="*/ 37 w 55"/>
                <a:gd name="T9" fmla="*/ 17 h 75"/>
                <a:gd name="T10" fmla="*/ 37 w 55"/>
                <a:gd name="T11" fmla="*/ 23 h 75"/>
                <a:gd name="T12" fmla="*/ 47 w 55"/>
                <a:gd name="T13" fmla="*/ 29 h 75"/>
                <a:gd name="T14" fmla="*/ 49 w 55"/>
                <a:gd name="T15" fmla="*/ 26 h 75"/>
                <a:gd name="T16" fmla="*/ 50 w 55"/>
                <a:gd name="T17" fmla="*/ 26 h 75"/>
                <a:gd name="T18" fmla="*/ 50 w 55"/>
                <a:gd name="T19" fmla="*/ 28 h 75"/>
                <a:gd name="T20" fmla="*/ 53 w 55"/>
                <a:gd name="T21" fmla="*/ 29 h 75"/>
                <a:gd name="T22" fmla="*/ 53 w 55"/>
                <a:gd name="T23" fmla="*/ 31 h 75"/>
                <a:gd name="T24" fmla="*/ 52 w 55"/>
                <a:gd name="T25" fmla="*/ 31 h 75"/>
                <a:gd name="T26" fmla="*/ 50 w 55"/>
                <a:gd name="T27" fmla="*/ 32 h 75"/>
                <a:gd name="T28" fmla="*/ 53 w 55"/>
                <a:gd name="T29" fmla="*/ 37 h 75"/>
                <a:gd name="T30" fmla="*/ 55 w 55"/>
                <a:gd name="T31" fmla="*/ 37 h 75"/>
                <a:gd name="T32" fmla="*/ 55 w 55"/>
                <a:gd name="T33" fmla="*/ 38 h 75"/>
                <a:gd name="T34" fmla="*/ 53 w 55"/>
                <a:gd name="T35" fmla="*/ 38 h 75"/>
                <a:gd name="T36" fmla="*/ 50 w 55"/>
                <a:gd name="T37" fmla="*/ 40 h 75"/>
                <a:gd name="T38" fmla="*/ 49 w 55"/>
                <a:gd name="T39" fmla="*/ 44 h 75"/>
                <a:gd name="T40" fmla="*/ 50 w 55"/>
                <a:gd name="T41" fmla="*/ 48 h 75"/>
                <a:gd name="T42" fmla="*/ 55 w 55"/>
                <a:gd name="T43" fmla="*/ 56 h 75"/>
                <a:gd name="T44" fmla="*/ 55 w 55"/>
                <a:gd name="T45" fmla="*/ 57 h 75"/>
                <a:gd name="T46" fmla="*/ 50 w 55"/>
                <a:gd name="T47" fmla="*/ 66 h 75"/>
                <a:gd name="T48" fmla="*/ 50 w 55"/>
                <a:gd name="T49" fmla="*/ 69 h 75"/>
                <a:gd name="T50" fmla="*/ 46 w 55"/>
                <a:gd name="T51" fmla="*/ 69 h 75"/>
                <a:gd name="T52" fmla="*/ 43 w 55"/>
                <a:gd name="T53" fmla="*/ 68 h 75"/>
                <a:gd name="T54" fmla="*/ 35 w 55"/>
                <a:gd name="T55" fmla="*/ 68 h 75"/>
                <a:gd name="T56" fmla="*/ 27 w 55"/>
                <a:gd name="T57" fmla="*/ 75 h 75"/>
                <a:gd name="T58" fmla="*/ 25 w 55"/>
                <a:gd name="T59" fmla="*/ 75 h 75"/>
                <a:gd name="T60" fmla="*/ 25 w 55"/>
                <a:gd name="T61" fmla="*/ 74 h 75"/>
                <a:gd name="T62" fmla="*/ 19 w 55"/>
                <a:gd name="T63" fmla="*/ 68 h 75"/>
                <a:gd name="T64" fmla="*/ 15 w 55"/>
                <a:gd name="T65" fmla="*/ 66 h 75"/>
                <a:gd name="T66" fmla="*/ 15 w 55"/>
                <a:gd name="T67" fmla="*/ 60 h 75"/>
                <a:gd name="T68" fmla="*/ 16 w 55"/>
                <a:gd name="T69" fmla="*/ 60 h 75"/>
                <a:gd name="T70" fmla="*/ 18 w 55"/>
                <a:gd name="T71" fmla="*/ 62 h 75"/>
                <a:gd name="T72" fmla="*/ 19 w 55"/>
                <a:gd name="T73" fmla="*/ 59 h 75"/>
                <a:gd name="T74" fmla="*/ 6 w 55"/>
                <a:gd name="T75" fmla="*/ 50 h 75"/>
                <a:gd name="T76" fmla="*/ 6 w 55"/>
                <a:gd name="T77" fmla="*/ 47 h 75"/>
                <a:gd name="T78" fmla="*/ 7 w 55"/>
                <a:gd name="T79" fmla="*/ 47 h 75"/>
                <a:gd name="T80" fmla="*/ 10 w 55"/>
                <a:gd name="T81" fmla="*/ 45 h 75"/>
                <a:gd name="T82" fmla="*/ 7 w 55"/>
                <a:gd name="T83" fmla="*/ 40 h 75"/>
                <a:gd name="T84" fmla="*/ 12 w 55"/>
                <a:gd name="T85" fmla="*/ 38 h 75"/>
                <a:gd name="T86" fmla="*/ 6 w 55"/>
                <a:gd name="T87" fmla="*/ 34 h 75"/>
                <a:gd name="T88" fmla="*/ 4 w 55"/>
                <a:gd name="T89" fmla="*/ 34 h 75"/>
                <a:gd name="T90" fmla="*/ 4 w 55"/>
                <a:gd name="T91" fmla="*/ 32 h 75"/>
                <a:gd name="T92" fmla="*/ 9 w 55"/>
                <a:gd name="T93" fmla="*/ 25 h 75"/>
                <a:gd name="T94" fmla="*/ 6 w 55"/>
                <a:gd name="T95" fmla="*/ 23 h 75"/>
                <a:gd name="T96" fmla="*/ 6 w 55"/>
                <a:gd name="T97" fmla="*/ 22 h 75"/>
                <a:gd name="T98" fmla="*/ 7 w 55"/>
                <a:gd name="T99" fmla="*/ 19 h 75"/>
                <a:gd name="T100" fmla="*/ 10 w 55"/>
                <a:gd name="T101" fmla="*/ 17 h 75"/>
                <a:gd name="T102" fmla="*/ 3 w 55"/>
                <a:gd name="T103" fmla="*/ 14 h 75"/>
                <a:gd name="T104" fmla="*/ 0 w 55"/>
                <a:gd name="T105" fmla="*/ 4 h 75"/>
                <a:gd name="T106" fmla="*/ 13 w 55"/>
                <a:gd name="T10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75">
                  <a:moveTo>
                    <a:pt x="13" y="0"/>
                  </a:moveTo>
                  <a:lnTo>
                    <a:pt x="21" y="0"/>
                  </a:lnTo>
                  <a:lnTo>
                    <a:pt x="27" y="5"/>
                  </a:lnTo>
                  <a:lnTo>
                    <a:pt x="32" y="16"/>
                  </a:lnTo>
                  <a:lnTo>
                    <a:pt x="37" y="17"/>
                  </a:lnTo>
                  <a:lnTo>
                    <a:pt x="37" y="23"/>
                  </a:lnTo>
                  <a:lnTo>
                    <a:pt x="47" y="29"/>
                  </a:lnTo>
                  <a:lnTo>
                    <a:pt x="49" y="26"/>
                  </a:lnTo>
                  <a:lnTo>
                    <a:pt x="50" y="26"/>
                  </a:lnTo>
                  <a:lnTo>
                    <a:pt x="50" y="28"/>
                  </a:lnTo>
                  <a:lnTo>
                    <a:pt x="53" y="29"/>
                  </a:lnTo>
                  <a:lnTo>
                    <a:pt x="53" y="31"/>
                  </a:lnTo>
                  <a:lnTo>
                    <a:pt x="52" y="31"/>
                  </a:lnTo>
                  <a:lnTo>
                    <a:pt x="50" y="32"/>
                  </a:lnTo>
                  <a:lnTo>
                    <a:pt x="53" y="37"/>
                  </a:lnTo>
                  <a:lnTo>
                    <a:pt x="55" y="37"/>
                  </a:lnTo>
                  <a:lnTo>
                    <a:pt x="55" y="38"/>
                  </a:lnTo>
                  <a:lnTo>
                    <a:pt x="53" y="38"/>
                  </a:lnTo>
                  <a:lnTo>
                    <a:pt x="50" y="40"/>
                  </a:lnTo>
                  <a:lnTo>
                    <a:pt x="49" y="44"/>
                  </a:lnTo>
                  <a:lnTo>
                    <a:pt x="50" y="48"/>
                  </a:lnTo>
                  <a:lnTo>
                    <a:pt x="55" y="56"/>
                  </a:lnTo>
                  <a:lnTo>
                    <a:pt x="55" y="57"/>
                  </a:lnTo>
                  <a:lnTo>
                    <a:pt x="50" y="66"/>
                  </a:lnTo>
                  <a:lnTo>
                    <a:pt x="50" y="69"/>
                  </a:lnTo>
                  <a:lnTo>
                    <a:pt x="46" y="69"/>
                  </a:lnTo>
                  <a:lnTo>
                    <a:pt x="43" y="68"/>
                  </a:lnTo>
                  <a:lnTo>
                    <a:pt x="35" y="68"/>
                  </a:lnTo>
                  <a:lnTo>
                    <a:pt x="27" y="75"/>
                  </a:lnTo>
                  <a:lnTo>
                    <a:pt x="25" y="75"/>
                  </a:lnTo>
                  <a:lnTo>
                    <a:pt x="25" y="74"/>
                  </a:lnTo>
                  <a:lnTo>
                    <a:pt x="19" y="68"/>
                  </a:lnTo>
                  <a:lnTo>
                    <a:pt x="15" y="66"/>
                  </a:lnTo>
                  <a:lnTo>
                    <a:pt x="15" y="60"/>
                  </a:lnTo>
                  <a:lnTo>
                    <a:pt x="16" y="60"/>
                  </a:lnTo>
                  <a:lnTo>
                    <a:pt x="18" y="62"/>
                  </a:lnTo>
                  <a:lnTo>
                    <a:pt x="19" y="59"/>
                  </a:lnTo>
                  <a:lnTo>
                    <a:pt x="6" y="50"/>
                  </a:lnTo>
                  <a:lnTo>
                    <a:pt x="6" y="47"/>
                  </a:lnTo>
                  <a:lnTo>
                    <a:pt x="7" y="47"/>
                  </a:lnTo>
                  <a:lnTo>
                    <a:pt x="10" y="45"/>
                  </a:lnTo>
                  <a:lnTo>
                    <a:pt x="7" y="40"/>
                  </a:lnTo>
                  <a:lnTo>
                    <a:pt x="12" y="38"/>
                  </a:lnTo>
                  <a:lnTo>
                    <a:pt x="6" y="34"/>
                  </a:lnTo>
                  <a:lnTo>
                    <a:pt x="4" y="34"/>
                  </a:lnTo>
                  <a:lnTo>
                    <a:pt x="4" y="32"/>
                  </a:lnTo>
                  <a:lnTo>
                    <a:pt x="9" y="25"/>
                  </a:lnTo>
                  <a:lnTo>
                    <a:pt x="6" y="23"/>
                  </a:lnTo>
                  <a:lnTo>
                    <a:pt x="6" y="22"/>
                  </a:lnTo>
                  <a:lnTo>
                    <a:pt x="7" y="19"/>
                  </a:lnTo>
                  <a:lnTo>
                    <a:pt x="10" y="17"/>
                  </a:lnTo>
                  <a:lnTo>
                    <a:pt x="3" y="14"/>
                  </a:lnTo>
                  <a:lnTo>
                    <a:pt x="0" y="4"/>
                  </a:lnTo>
                  <a:lnTo>
                    <a:pt x="1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0" name="Belarus">
              <a:extLst>
                <a:ext uri="{FF2B5EF4-FFF2-40B4-BE49-F238E27FC236}">
                  <a16:creationId xmlns:a16="http://schemas.microsoft.com/office/drawing/2014/main" id="{3D46BE94-851D-21C4-8995-855539D637B2}"/>
                </a:ext>
              </a:extLst>
            </p:cNvPr>
            <p:cNvSpPr>
              <a:spLocks/>
            </p:cNvSpPr>
            <p:nvPr/>
          </p:nvSpPr>
          <p:spPr bwMode="auto">
            <a:xfrm>
              <a:off x="6373385" y="2984542"/>
              <a:ext cx="231304" cy="193357"/>
            </a:xfrm>
            <a:custGeom>
              <a:avLst/>
              <a:gdLst>
                <a:gd name="T0" fmla="*/ 68 w 128"/>
                <a:gd name="T1" fmla="*/ 0 h 107"/>
                <a:gd name="T2" fmla="*/ 82 w 128"/>
                <a:gd name="T3" fmla="*/ 3 h 107"/>
                <a:gd name="T4" fmla="*/ 85 w 128"/>
                <a:gd name="T5" fmla="*/ 6 h 107"/>
                <a:gd name="T6" fmla="*/ 94 w 128"/>
                <a:gd name="T7" fmla="*/ 6 h 107"/>
                <a:gd name="T8" fmla="*/ 104 w 128"/>
                <a:gd name="T9" fmla="*/ 13 h 107"/>
                <a:gd name="T10" fmla="*/ 105 w 128"/>
                <a:gd name="T11" fmla="*/ 22 h 107"/>
                <a:gd name="T12" fmla="*/ 102 w 128"/>
                <a:gd name="T13" fmla="*/ 31 h 107"/>
                <a:gd name="T14" fmla="*/ 114 w 128"/>
                <a:gd name="T15" fmla="*/ 47 h 107"/>
                <a:gd name="T16" fmla="*/ 120 w 128"/>
                <a:gd name="T17" fmla="*/ 52 h 107"/>
                <a:gd name="T18" fmla="*/ 125 w 128"/>
                <a:gd name="T19" fmla="*/ 56 h 107"/>
                <a:gd name="T20" fmla="*/ 128 w 128"/>
                <a:gd name="T21" fmla="*/ 62 h 107"/>
                <a:gd name="T22" fmla="*/ 119 w 128"/>
                <a:gd name="T23" fmla="*/ 68 h 107"/>
                <a:gd name="T24" fmla="*/ 108 w 128"/>
                <a:gd name="T25" fmla="*/ 68 h 107"/>
                <a:gd name="T26" fmla="*/ 114 w 128"/>
                <a:gd name="T27" fmla="*/ 89 h 107"/>
                <a:gd name="T28" fmla="*/ 104 w 128"/>
                <a:gd name="T29" fmla="*/ 92 h 107"/>
                <a:gd name="T30" fmla="*/ 99 w 128"/>
                <a:gd name="T31" fmla="*/ 104 h 107"/>
                <a:gd name="T32" fmla="*/ 97 w 128"/>
                <a:gd name="T33" fmla="*/ 107 h 107"/>
                <a:gd name="T34" fmla="*/ 91 w 128"/>
                <a:gd name="T35" fmla="*/ 105 h 107"/>
                <a:gd name="T36" fmla="*/ 83 w 128"/>
                <a:gd name="T37" fmla="*/ 107 h 107"/>
                <a:gd name="T38" fmla="*/ 76 w 128"/>
                <a:gd name="T39" fmla="*/ 105 h 107"/>
                <a:gd name="T40" fmla="*/ 67 w 128"/>
                <a:gd name="T41" fmla="*/ 102 h 107"/>
                <a:gd name="T42" fmla="*/ 59 w 128"/>
                <a:gd name="T43" fmla="*/ 105 h 107"/>
                <a:gd name="T44" fmla="*/ 55 w 128"/>
                <a:gd name="T45" fmla="*/ 102 h 107"/>
                <a:gd name="T46" fmla="*/ 51 w 128"/>
                <a:gd name="T47" fmla="*/ 98 h 107"/>
                <a:gd name="T48" fmla="*/ 19 w 128"/>
                <a:gd name="T49" fmla="*/ 95 h 107"/>
                <a:gd name="T50" fmla="*/ 3 w 128"/>
                <a:gd name="T51" fmla="*/ 101 h 107"/>
                <a:gd name="T52" fmla="*/ 0 w 128"/>
                <a:gd name="T53" fmla="*/ 86 h 107"/>
                <a:gd name="T54" fmla="*/ 5 w 128"/>
                <a:gd name="T55" fmla="*/ 50 h 107"/>
                <a:gd name="T56" fmla="*/ 22 w 128"/>
                <a:gd name="T57" fmla="*/ 46 h 107"/>
                <a:gd name="T58" fmla="*/ 30 w 128"/>
                <a:gd name="T59" fmla="*/ 41 h 107"/>
                <a:gd name="T60" fmla="*/ 34 w 128"/>
                <a:gd name="T61" fmla="*/ 44 h 107"/>
                <a:gd name="T62" fmla="*/ 36 w 128"/>
                <a:gd name="T63" fmla="*/ 27 h 107"/>
                <a:gd name="T64" fmla="*/ 48 w 128"/>
                <a:gd name="T65" fmla="*/ 19 h 107"/>
                <a:gd name="T66" fmla="*/ 43 w 128"/>
                <a:gd name="T67" fmla="*/ 15 h 107"/>
                <a:gd name="T68" fmla="*/ 52 w 128"/>
                <a:gd name="T69" fmla="*/ 7 h 107"/>
                <a:gd name="T70" fmla="*/ 64 w 128"/>
                <a:gd name="T7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107">
                  <a:moveTo>
                    <a:pt x="64" y="0"/>
                  </a:moveTo>
                  <a:lnTo>
                    <a:pt x="68" y="0"/>
                  </a:lnTo>
                  <a:lnTo>
                    <a:pt x="68" y="1"/>
                  </a:lnTo>
                  <a:lnTo>
                    <a:pt x="82" y="3"/>
                  </a:lnTo>
                  <a:lnTo>
                    <a:pt x="85" y="4"/>
                  </a:lnTo>
                  <a:lnTo>
                    <a:pt x="85" y="6"/>
                  </a:lnTo>
                  <a:lnTo>
                    <a:pt x="83" y="9"/>
                  </a:lnTo>
                  <a:lnTo>
                    <a:pt x="94" y="6"/>
                  </a:lnTo>
                  <a:lnTo>
                    <a:pt x="104" y="12"/>
                  </a:lnTo>
                  <a:lnTo>
                    <a:pt x="104" y="13"/>
                  </a:lnTo>
                  <a:lnTo>
                    <a:pt x="102" y="19"/>
                  </a:lnTo>
                  <a:lnTo>
                    <a:pt x="105" y="22"/>
                  </a:lnTo>
                  <a:lnTo>
                    <a:pt x="105" y="24"/>
                  </a:lnTo>
                  <a:lnTo>
                    <a:pt x="102" y="31"/>
                  </a:lnTo>
                  <a:lnTo>
                    <a:pt x="110" y="43"/>
                  </a:lnTo>
                  <a:lnTo>
                    <a:pt x="114" y="47"/>
                  </a:lnTo>
                  <a:lnTo>
                    <a:pt x="116" y="52"/>
                  </a:lnTo>
                  <a:lnTo>
                    <a:pt x="120" y="52"/>
                  </a:lnTo>
                  <a:lnTo>
                    <a:pt x="125" y="53"/>
                  </a:lnTo>
                  <a:lnTo>
                    <a:pt x="125" y="56"/>
                  </a:lnTo>
                  <a:lnTo>
                    <a:pt x="128" y="58"/>
                  </a:lnTo>
                  <a:lnTo>
                    <a:pt x="128" y="62"/>
                  </a:lnTo>
                  <a:lnTo>
                    <a:pt x="120" y="68"/>
                  </a:lnTo>
                  <a:lnTo>
                    <a:pt x="119" y="68"/>
                  </a:lnTo>
                  <a:lnTo>
                    <a:pt x="111" y="65"/>
                  </a:lnTo>
                  <a:lnTo>
                    <a:pt x="108" y="68"/>
                  </a:lnTo>
                  <a:lnTo>
                    <a:pt x="111" y="71"/>
                  </a:lnTo>
                  <a:lnTo>
                    <a:pt x="114" y="89"/>
                  </a:lnTo>
                  <a:lnTo>
                    <a:pt x="114" y="90"/>
                  </a:lnTo>
                  <a:lnTo>
                    <a:pt x="104" y="92"/>
                  </a:lnTo>
                  <a:lnTo>
                    <a:pt x="101" y="95"/>
                  </a:lnTo>
                  <a:lnTo>
                    <a:pt x="99" y="104"/>
                  </a:lnTo>
                  <a:lnTo>
                    <a:pt x="99" y="105"/>
                  </a:lnTo>
                  <a:lnTo>
                    <a:pt x="97" y="107"/>
                  </a:lnTo>
                  <a:lnTo>
                    <a:pt x="94" y="105"/>
                  </a:lnTo>
                  <a:lnTo>
                    <a:pt x="91" y="105"/>
                  </a:lnTo>
                  <a:lnTo>
                    <a:pt x="88" y="107"/>
                  </a:lnTo>
                  <a:lnTo>
                    <a:pt x="83" y="107"/>
                  </a:lnTo>
                  <a:lnTo>
                    <a:pt x="79" y="101"/>
                  </a:lnTo>
                  <a:lnTo>
                    <a:pt x="76" y="105"/>
                  </a:lnTo>
                  <a:lnTo>
                    <a:pt x="74" y="105"/>
                  </a:lnTo>
                  <a:lnTo>
                    <a:pt x="67" y="102"/>
                  </a:lnTo>
                  <a:lnTo>
                    <a:pt x="61" y="105"/>
                  </a:lnTo>
                  <a:lnTo>
                    <a:pt x="59" y="105"/>
                  </a:lnTo>
                  <a:lnTo>
                    <a:pt x="58" y="102"/>
                  </a:lnTo>
                  <a:lnTo>
                    <a:pt x="55" y="102"/>
                  </a:lnTo>
                  <a:lnTo>
                    <a:pt x="55" y="101"/>
                  </a:lnTo>
                  <a:lnTo>
                    <a:pt x="51" y="98"/>
                  </a:lnTo>
                  <a:lnTo>
                    <a:pt x="36" y="93"/>
                  </a:lnTo>
                  <a:lnTo>
                    <a:pt x="19" y="95"/>
                  </a:lnTo>
                  <a:lnTo>
                    <a:pt x="16" y="98"/>
                  </a:lnTo>
                  <a:lnTo>
                    <a:pt x="3" y="101"/>
                  </a:lnTo>
                  <a:lnTo>
                    <a:pt x="3" y="92"/>
                  </a:lnTo>
                  <a:lnTo>
                    <a:pt x="0" y="86"/>
                  </a:lnTo>
                  <a:lnTo>
                    <a:pt x="8" y="76"/>
                  </a:lnTo>
                  <a:lnTo>
                    <a:pt x="5" y="50"/>
                  </a:lnTo>
                  <a:lnTo>
                    <a:pt x="22" y="49"/>
                  </a:lnTo>
                  <a:lnTo>
                    <a:pt x="22" y="46"/>
                  </a:lnTo>
                  <a:lnTo>
                    <a:pt x="28" y="41"/>
                  </a:lnTo>
                  <a:lnTo>
                    <a:pt x="30" y="41"/>
                  </a:lnTo>
                  <a:lnTo>
                    <a:pt x="34" y="46"/>
                  </a:lnTo>
                  <a:lnTo>
                    <a:pt x="34" y="44"/>
                  </a:lnTo>
                  <a:lnTo>
                    <a:pt x="33" y="40"/>
                  </a:lnTo>
                  <a:lnTo>
                    <a:pt x="36" y="27"/>
                  </a:lnTo>
                  <a:lnTo>
                    <a:pt x="46" y="24"/>
                  </a:lnTo>
                  <a:lnTo>
                    <a:pt x="48" y="19"/>
                  </a:lnTo>
                  <a:lnTo>
                    <a:pt x="43" y="19"/>
                  </a:lnTo>
                  <a:lnTo>
                    <a:pt x="43" y="15"/>
                  </a:lnTo>
                  <a:lnTo>
                    <a:pt x="45" y="15"/>
                  </a:lnTo>
                  <a:lnTo>
                    <a:pt x="52" y="7"/>
                  </a:lnTo>
                  <a:lnTo>
                    <a:pt x="58" y="7"/>
                  </a:lnTo>
                  <a:lnTo>
                    <a:pt x="6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1" name="Moldova">
              <a:extLst>
                <a:ext uri="{FF2B5EF4-FFF2-40B4-BE49-F238E27FC236}">
                  <a16:creationId xmlns:a16="http://schemas.microsoft.com/office/drawing/2014/main" id="{FEABDA10-449C-E88E-5607-4F4D08BC90A5}"/>
                </a:ext>
              </a:extLst>
            </p:cNvPr>
            <p:cNvSpPr>
              <a:spLocks/>
            </p:cNvSpPr>
            <p:nvPr/>
          </p:nvSpPr>
          <p:spPr bwMode="auto">
            <a:xfrm>
              <a:off x="6456509" y="3279094"/>
              <a:ext cx="81319" cy="106617"/>
            </a:xfrm>
            <a:custGeom>
              <a:avLst/>
              <a:gdLst>
                <a:gd name="T0" fmla="*/ 11 w 45"/>
                <a:gd name="T1" fmla="*/ 0 h 59"/>
                <a:gd name="T2" fmla="*/ 22 w 45"/>
                <a:gd name="T3" fmla="*/ 6 h 59"/>
                <a:gd name="T4" fmla="*/ 27 w 45"/>
                <a:gd name="T5" fmla="*/ 6 h 59"/>
                <a:gd name="T6" fmla="*/ 34 w 45"/>
                <a:gd name="T7" fmla="*/ 9 h 59"/>
                <a:gd name="T8" fmla="*/ 34 w 45"/>
                <a:gd name="T9" fmla="*/ 18 h 59"/>
                <a:gd name="T10" fmla="*/ 39 w 45"/>
                <a:gd name="T11" fmla="*/ 21 h 59"/>
                <a:gd name="T12" fmla="*/ 42 w 45"/>
                <a:gd name="T13" fmla="*/ 30 h 59"/>
                <a:gd name="T14" fmla="*/ 45 w 45"/>
                <a:gd name="T15" fmla="*/ 33 h 59"/>
                <a:gd name="T16" fmla="*/ 45 w 45"/>
                <a:gd name="T17" fmla="*/ 40 h 59"/>
                <a:gd name="T18" fmla="*/ 34 w 45"/>
                <a:gd name="T19" fmla="*/ 40 h 59"/>
                <a:gd name="T20" fmla="*/ 31 w 45"/>
                <a:gd name="T21" fmla="*/ 48 h 59"/>
                <a:gd name="T22" fmla="*/ 27 w 45"/>
                <a:gd name="T23" fmla="*/ 53 h 59"/>
                <a:gd name="T24" fmla="*/ 25 w 45"/>
                <a:gd name="T25" fmla="*/ 56 h 59"/>
                <a:gd name="T26" fmla="*/ 25 w 45"/>
                <a:gd name="T27" fmla="*/ 58 h 59"/>
                <a:gd name="T28" fmla="*/ 19 w 45"/>
                <a:gd name="T29" fmla="*/ 59 h 59"/>
                <a:gd name="T30" fmla="*/ 19 w 45"/>
                <a:gd name="T31" fmla="*/ 58 h 59"/>
                <a:gd name="T32" fmla="*/ 16 w 45"/>
                <a:gd name="T33" fmla="*/ 33 h 59"/>
                <a:gd name="T34" fmla="*/ 8 w 45"/>
                <a:gd name="T35" fmla="*/ 13 h 59"/>
                <a:gd name="T36" fmla="*/ 0 w 45"/>
                <a:gd name="T37" fmla="*/ 6 h 59"/>
                <a:gd name="T38" fmla="*/ 0 w 45"/>
                <a:gd name="T39" fmla="*/ 5 h 59"/>
                <a:gd name="T40" fmla="*/ 3 w 45"/>
                <a:gd name="T41" fmla="*/ 2 h 59"/>
                <a:gd name="T42" fmla="*/ 5 w 45"/>
                <a:gd name="T43" fmla="*/ 2 h 59"/>
                <a:gd name="T44" fmla="*/ 11 w 45"/>
                <a:gd name="T4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59">
                  <a:moveTo>
                    <a:pt x="11" y="0"/>
                  </a:moveTo>
                  <a:lnTo>
                    <a:pt x="22" y="6"/>
                  </a:lnTo>
                  <a:lnTo>
                    <a:pt x="27" y="6"/>
                  </a:lnTo>
                  <a:lnTo>
                    <a:pt x="34" y="9"/>
                  </a:lnTo>
                  <a:lnTo>
                    <a:pt x="34" y="18"/>
                  </a:lnTo>
                  <a:lnTo>
                    <a:pt x="39" y="21"/>
                  </a:lnTo>
                  <a:lnTo>
                    <a:pt x="42" y="30"/>
                  </a:lnTo>
                  <a:lnTo>
                    <a:pt x="45" y="33"/>
                  </a:lnTo>
                  <a:lnTo>
                    <a:pt x="45" y="40"/>
                  </a:lnTo>
                  <a:lnTo>
                    <a:pt x="34" y="40"/>
                  </a:lnTo>
                  <a:lnTo>
                    <a:pt x="31" y="48"/>
                  </a:lnTo>
                  <a:lnTo>
                    <a:pt x="27" y="53"/>
                  </a:lnTo>
                  <a:lnTo>
                    <a:pt x="25" y="56"/>
                  </a:lnTo>
                  <a:lnTo>
                    <a:pt x="25" y="58"/>
                  </a:lnTo>
                  <a:lnTo>
                    <a:pt x="19" y="59"/>
                  </a:lnTo>
                  <a:lnTo>
                    <a:pt x="19" y="58"/>
                  </a:lnTo>
                  <a:lnTo>
                    <a:pt x="16" y="33"/>
                  </a:lnTo>
                  <a:lnTo>
                    <a:pt x="8" y="13"/>
                  </a:lnTo>
                  <a:lnTo>
                    <a:pt x="0" y="6"/>
                  </a:lnTo>
                  <a:lnTo>
                    <a:pt x="0" y="5"/>
                  </a:lnTo>
                  <a:lnTo>
                    <a:pt x="3" y="2"/>
                  </a:lnTo>
                  <a:lnTo>
                    <a:pt x="5" y="2"/>
                  </a:lnTo>
                  <a:lnTo>
                    <a:pt x="1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2" name="Ukraine">
              <a:extLst>
                <a:ext uri="{FF2B5EF4-FFF2-40B4-BE49-F238E27FC236}">
                  <a16:creationId xmlns:a16="http://schemas.microsoft.com/office/drawing/2014/main" id="{B5953DCD-F446-4508-D1A6-0FCD5879AA0D}"/>
                </a:ext>
              </a:extLst>
            </p:cNvPr>
            <p:cNvSpPr>
              <a:spLocks noEditPoints="1"/>
            </p:cNvSpPr>
            <p:nvPr/>
          </p:nvSpPr>
          <p:spPr bwMode="auto">
            <a:xfrm>
              <a:off x="6346278" y="3134530"/>
              <a:ext cx="431888" cy="287324"/>
            </a:xfrm>
            <a:custGeom>
              <a:avLst/>
              <a:gdLst>
                <a:gd name="T0" fmla="*/ 156 w 239"/>
                <a:gd name="T1" fmla="*/ 126 h 159"/>
                <a:gd name="T2" fmla="*/ 159 w 239"/>
                <a:gd name="T3" fmla="*/ 125 h 159"/>
                <a:gd name="T4" fmla="*/ 156 w 239"/>
                <a:gd name="T5" fmla="*/ 1 h 159"/>
                <a:gd name="T6" fmla="*/ 160 w 239"/>
                <a:gd name="T7" fmla="*/ 16 h 159"/>
                <a:gd name="T8" fmla="*/ 171 w 239"/>
                <a:gd name="T9" fmla="*/ 24 h 159"/>
                <a:gd name="T10" fmla="*/ 177 w 239"/>
                <a:gd name="T11" fmla="*/ 39 h 159"/>
                <a:gd name="T12" fmla="*/ 189 w 239"/>
                <a:gd name="T13" fmla="*/ 43 h 159"/>
                <a:gd name="T14" fmla="*/ 202 w 239"/>
                <a:gd name="T15" fmla="*/ 40 h 159"/>
                <a:gd name="T16" fmla="*/ 221 w 239"/>
                <a:gd name="T17" fmla="*/ 52 h 159"/>
                <a:gd name="T18" fmla="*/ 239 w 239"/>
                <a:gd name="T19" fmla="*/ 58 h 159"/>
                <a:gd name="T20" fmla="*/ 239 w 239"/>
                <a:gd name="T21" fmla="*/ 65 h 159"/>
                <a:gd name="T22" fmla="*/ 235 w 239"/>
                <a:gd name="T23" fmla="*/ 70 h 159"/>
                <a:gd name="T24" fmla="*/ 233 w 239"/>
                <a:gd name="T25" fmla="*/ 76 h 159"/>
                <a:gd name="T26" fmla="*/ 233 w 239"/>
                <a:gd name="T27" fmla="*/ 93 h 159"/>
                <a:gd name="T28" fmla="*/ 223 w 239"/>
                <a:gd name="T29" fmla="*/ 92 h 159"/>
                <a:gd name="T30" fmla="*/ 214 w 239"/>
                <a:gd name="T31" fmla="*/ 101 h 159"/>
                <a:gd name="T32" fmla="*/ 175 w 239"/>
                <a:gd name="T33" fmla="*/ 125 h 159"/>
                <a:gd name="T34" fmla="*/ 172 w 239"/>
                <a:gd name="T35" fmla="*/ 122 h 159"/>
                <a:gd name="T36" fmla="*/ 168 w 239"/>
                <a:gd name="T37" fmla="*/ 130 h 159"/>
                <a:gd name="T38" fmla="*/ 165 w 239"/>
                <a:gd name="T39" fmla="*/ 129 h 159"/>
                <a:gd name="T40" fmla="*/ 168 w 239"/>
                <a:gd name="T41" fmla="*/ 135 h 159"/>
                <a:gd name="T42" fmla="*/ 175 w 239"/>
                <a:gd name="T43" fmla="*/ 141 h 159"/>
                <a:gd name="T44" fmla="*/ 186 w 239"/>
                <a:gd name="T45" fmla="*/ 138 h 159"/>
                <a:gd name="T46" fmla="*/ 190 w 239"/>
                <a:gd name="T47" fmla="*/ 147 h 159"/>
                <a:gd name="T48" fmla="*/ 177 w 239"/>
                <a:gd name="T49" fmla="*/ 145 h 159"/>
                <a:gd name="T50" fmla="*/ 149 w 239"/>
                <a:gd name="T51" fmla="*/ 145 h 159"/>
                <a:gd name="T52" fmla="*/ 153 w 239"/>
                <a:gd name="T53" fmla="*/ 130 h 159"/>
                <a:gd name="T54" fmla="*/ 128 w 239"/>
                <a:gd name="T55" fmla="*/ 125 h 159"/>
                <a:gd name="T56" fmla="*/ 125 w 239"/>
                <a:gd name="T57" fmla="*/ 119 h 159"/>
                <a:gd name="T58" fmla="*/ 114 w 239"/>
                <a:gd name="T59" fmla="*/ 120 h 159"/>
                <a:gd name="T60" fmla="*/ 110 w 239"/>
                <a:gd name="T61" fmla="*/ 129 h 159"/>
                <a:gd name="T62" fmla="*/ 100 w 239"/>
                <a:gd name="T63" fmla="*/ 139 h 159"/>
                <a:gd name="T64" fmla="*/ 88 w 239"/>
                <a:gd name="T65" fmla="*/ 141 h 159"/>
                <a:gd name="T66" fmla="*/ 80 w 239"/>
                <a:gd name="T67" fmla="*/ 139 h 159"/>
                <a:gd name="T68" fmla="*/ 86 w 239"/>
                <a:gd name="T69" fmla="*/ 132 h 159"/>
                <a:gd name="T70" fmla="*/ 94 w 239"/>
                <a:gd name="T71" fmla="*/ 119 h 159"/>
                <a:gd name="T72" fmla="*/ 101 w 239"/>
                <a:gd name="T73" fmla="*/ 110 h 159"/>
                <a:gd name="T74" fmla="*/ 94 w 239"/>
                <a:gd name="T75" fmla="*/ 90 h 159"/>
                <a:gd name="T76" fmla="*/ 72 w 239"/>
                <a:gd name="T77" fmla="*/ 82 h 159"/>
                <a:gd name="T78" fmla="*/ 39 w 239"/>
                <a:gd name="T79" fmla="*/ 95 h 159"/>
                <a:gd name="T80" fmla="*/ 33 w 239"/>
                <a:gd name="T81" fmla="*/ 90 h 159"/>
                <a:gd name="T82" fmla="*/ 0 w 239"/>
                <a:gd name="T83" fmla="*/ 82 h 159"/>
                <a:gd name="T84" fmla="*/ 8 w 239"/>
                <a:gd name="T85" fmla="*/ 62 h 159"/>
                <a:gd name="T86" fmla="*/ 18 w 239"/>
                <a:gd name="T87" fmla="*/ 18 h 159"/>
                <a:gd name="T88" fmla="*/ 34 w 239"/>
                <a:gd name="T89" fmla="*/ 10 h 159"/>
                <a:gd name="T90" fmla="*/ 70 w 239"/>
                <a:gd name="T91" fmla="*/ 18 h 159"/>
                <a:gd name="T92" fmla="*/ 82 w 239"/>
                <a:gd name="T93" fmla="*/ 18 h 159"/>
                <a:gd name="T94" fmla="*/ 95 w 239"/>
                <a:gd name="T95" fmla="*/ 16 h 159"/>
                <a:gd name="T96" fmla="*/ 106 w 239"/>
                <a:gd name="T97" fmla="*/ 21 h 159"/>
                <a:gd name="T98" fmla="*/ 113 w 239"/>
                <a:gd name="T99" fmla="*/ 21 h 159"/>
                <a:gd name="T100" fmla="*/ 122 w 239"/>
                <a:gd name="T101" fmla="*/ 7 h 159"/>
                <a:gd name="T102" fmla="*/ 132 w 239"/>
                <a:gd name="T103" fmla="*/ 7 h 159"/>
                <a:gd name="T104" fmla="*/ 149 w 239"/>
                <a:gd name="T105"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9" h="159">
                  <a:moveTo>
                    <a:pt x="159" y="125"/>
                  </a:moveTo>
                  <a:lnTo>
                    <a:pt x="159" y="126"/>
                  </a:lnTo>
                  <a:lnTo>
                    <a:pt x="156" y="126"/>
                  </a:lnTo>
                  <a:lnTo>
                    <a:pt x="159" y="130"/>
                  </a:lnTo>
                  <a:lnTo>
                    <a:pt x="162" y="129"/>
                  </a:lnTo>
                  <a:lnTo>
                    <a:pt x="159" y="125"/>
                  </a:lnTo>
                  <a:close/>
                  <a:moveTo>
                    <a:pt x="149" y="0"/>
                  </a:moveTo>
                  <a:lnTo>
                    <a:pt x="155" y="0"/>
                  </a:lnTo>
                  <a:lnTo>
                    <a:pt x="156" y="1"/>
                  </a:lnTo>
                  <a:lnTo>
                    <a:pt x="163" y="12"/>
                  </a:lnTo>
                  <a:lnTo>
                    <a:pt x="163" y="15"/>
                  </a:lnTo>
                  <a:lnTo>
                    <a:pt x="160" y="16"/>
                  </a:lnTo>
                  <a:lnTo>
                    <a:pt x="162" y="22"/>
                  </a:lnTo>
                  <a:lnTo>
                    <a:pt x="168" y="25"/>
                  </a:lnTo>
                  <a:lnTo>
                    <a:pt x="171" y="24"/>
                  </a:lnTo>
                  <a:lnTo>
                    <a:pt x="172" y="24"/>
                  </a:lnTo>
                  <a:lnTo>
                    <a:pt x="177" y="28"/>
                  </a:lnTo>
                  <a:lnTo>
                    <a:pt x="177" y="39"/>
                  </a:lnTo>
                  <a:lnTo>
                    <a:pt x="180" y="40"/>
                  </a:lnTo>
                  <a:lnTo>
                    <a:pt x="187" y="40"/>
                  </a:lnTo>
                  <a:lnTo>
                    <a:pt x="189" y="43"/>
                  </a:lnTo>
                  <a:lnTo>
                    <a:pt x="192" y="43"/>
                  </a:lnTo>
                  <a:lnTo>
                    <a:pt x="200" y="40"/>
                  </a:lnTo>
                  <a:lnTo>
                    <a:pt x="202" y="40"/>
                  </a:lnTo>
                  <a:lnTo>
                    <a:pt x="211" y="49"/>
                  </a:lnTo>
                  <a:lnTo>
                    <a:pt x="215" y="49"/>
                  </a:lnTo>
                  <a:lnTo>
                    <a:pt x="221" y="52"/>
                  </a:lnTo>
                  <a:lnTo>
                    <a:pt x="224" y="52"/>
                  </a:lnTo>
                  <a:lnTo>
                    <a:pt x="238" y="58"/>
                  </a:lnTo>
                  <a:lnTo>
                    <a:pt x="239" y="58"/>
                  </a:lnTo>
                  <a:lnTo>
                    <a:pt x="239" y="59"/>
                  </a:lnTo>
                  <a:lnTo>
                    <a:pt x="238" y="59"/>
                  </a:lnTo>
                  <a:lnTo>
                    <a:pt x="239" y="65"/>
                  </a:lnTo>
                  <a:lnTo>
                    <a:pt x="238" y="68"/>
                  </a:lnTo>
                  <a:lnTo>
                    <a:pt x="238" y="70"/>
                  </a:lnTo>
                  <a:lnTo>
                    <a:pt x="235" y="70"/>
                  </a:lnTo>
                  <a:lnTo>
                    <a:pt x="238" y="73"/>
                  </a:lnTo>
                  <a:lnTo>
                    <a:pt x="238" y="74"/>
                  </a:lnTo>
                  <a:lnTo>
                    <a:pt x="233" y="76"/>
                  </a:lnTo>
                  <a:lnTo>
                    <a:pt x="233" y="83"/>
                  </a:lnTo>
                  <a:lnTo>
                    <a:pt x="236" y="83"/>
                  </a:lnTo>
                  <a:lnTo>
                    <a:pt x="233" y="93"/>
                  </a:lnTo>
                  <a:lnTo>
                    <a:pt x="233" y="95"/>
                  </a:lnTo>
                  <a:lnTo>
                    <a:pt x="226" y="95"/>
                  </a:lnTo>
                  <a:lnTo>
                    <a:pt x="223" y="92"/>
                  </a:lnTo>
                  <a:lnTo>
                    <a:pt x="218" y="96"/>
                  </a:lnTo>
                  <a:lnTo>
                    <a:pt x="215" y="98"/>
                  </a:lnTo>
                  <a:lnTo>
                    <a:pt x="214" y="101"/>
                  </a:lnTo>
                  <a:lnTo>
                    <a:pt x="214" y="108"/>
                  </a:lnTo>
                  <a:lnTo>
                    <a:pt x="180" y="119"/>
                  </a:lnTo>
                  <a:lnTo>
                    <a:pt x="175" y="125"/>
                  </a:lnTo>
                  <a:lnTo>
                    <a:pt x="174" y="125"/>
                  </a:lnTo>
                  <a:lnTo>
                    <a:pt x="174" y="123"/>
                  </a:lnTo>
                  <a:lnTo>
                    <a:pt x="172" y="122"/>
                  </a:lnTo>
                  <a:lnTo>
                    <a:pt x="169" y="126"/>
                  </a:lnTo>
                  <a:lnTo>
                    <a:pt x="169" y="130"/>
                  </a:lnTo>
                  <a:lnTo>
                    <a:pt x="168" y="130"/>
                  </a:lnTo>
                  <a:lnTo>
                    <a:pt x="165" y="128"/>
                  </a:lnTo>
                  <a:lnTo>
                    <a:pt x="163" y="129"/>
                  </a:lnTo>
                  <a:lnTo>
                    <a:pt x="165" y="129"/>
                  </a:lnTo>
                  <a:lnTo>
                    <a:pt x="165" y="130"/>
                  </a:lnTo>
                  <a:lnTo>
                    <a:pt x="163" y="133"/>
                  </a:lnTo>
                  <a:lnTo>
                    <a:pt x="168" y="135"/>
                  </a:lnTo>
                  <a:lnTo>
                    <a:pt x="169" y="135"/>
                  </a:lnTo>
                  <a:lnTo>
                    <a:pt x="171" y="141"/>
                  </a:lnTo>
                  <a:lnTo>
                    <a:pt x="175" y="141"/>
                  </a:lnTo>
                  <a:lnTo>
                    <a:pt x="178" y="139"/>
                  </a:lnTo>
                  <a:lnTo>
                    <a:pt x="183" y="139"/>
                  </a:lnTo>
                  <a:lnTo>
                    <a:pt x="186" y="138"/>
                  </a:lnTo>
                  <a:lnTo>
                    <a:pt x="192" y="138"/>
                  </a:lnTo>
                  <a:lnTo>
                    <a:pt x="192" y="139"/>
                  </a:lnTo>
                  <a:lnTo>
                    <a:pt x="190" y="147"/>
                  </a:lnTo>
                  <a:lnTo>
                    <a:pt x="186" y="147"/>
                  </a:lnTo>
                  <a:lnTo>
                    <a:pt x="183" y="145"/>
                  </a:lnTo>
                  <a:lnTo>
                    <a:pt x="177" y="145"/>
                  </a:lnTo>
                  <a:lnTo>
                    <a:pt x="156" y="159"/>
                  </a:lnTo>
                  <a:lnTo>
                    <a:pt x="149" y="157"/>
                  </a:lnTo>
                  <a:lnTo>
                    <a:pt x="149" y="145"/>
                  </a:lnTo>
                  <a:lnTo>
                    <a:pt x="137" y="141"/>
                  </a:lnTo>
                  <a:lnTo>
                    <a:pt x="137" y="139"/>
                  </a:lnTo>
                  <a:lnTo>
                    <a:pt x="153" y="130"/>
                  </a:lnTo>
                  <a:lnTo>
                    <a:pt x="152" y="129"/>
                  </a:lnTo>
                  <a:lnTo>
                    <a:pt x="128" y="126"/>
                  </a:lnTo>
                  <a:lnTo>
                    <a:pt x="128" y="125"/>
                  </a:lnTo>
                  <a:lnTo>
                    <a:pt x="129" y="123"/>
                  </a:lnTo>
                  <a:lnTo>
                    <a:pt x="125" y="120"/>
                  </a:lnTo>
                  <a:lnTo>
                    <a:pt x="125" y="119"/>
                  </a:lnTo>
                  <a:lnTo>
                    <a:pt x="132" y="119"/>
                  </a:lnTo>
                  <a:lnTo>
                    <a:pt x="129" y="116"/>
                  </a:lnTo>
                  <a:lnTo>
                    <a:pt x="114" y="120"/>
                  </a:lnTo>
                  <a:lnTo>
                    <a:pt x="112" y="126"/>
                  </a:lnTo>
                  <a:lnTo>
                    <a:pt x="109" y="125"/>
                  </a:lnTo>
                  <a:lnTo>
                    <a:pt x="110" y="129"/>
                  </a:lnTo>
                  <a:lnTo>
                    <a:pt x="101" y="136"/>
                  </a:lnTo>
                  <a:lnTo>
                    <a:pt x="100" y="135"/>
                  </a:lnTo>
                  <a:lnTo>
                    <a:pt x="100" y="139"/>
                  </a:lnTo>
                  <a:lnTo>
                    <a:pt x="97" y="139"/>
                  </a:lnTo>
                  <a:lnTo>
                    <a:pt x="95" y="141"/>
                  </a:lnTo>
                  <a:lnTo>
                    <a:pt x="88" y="141"/>
                  </a:lnTo>
                  <a:lnTo>
                    <a:pt x="86" y="142"/>
                  </a:lnTo>
                  <a:lnTo>
                    <a:pt x="85" y="142"/>
                  </a:lnTo>
                  <a:lnTo>
                    <a:pt x="80" y="139"/>
                  </a:lnTo>
                  <a:lnTo>
                    <a:pt x="80" y="138"/>
                  </a:lnTo>
                  <a:lnTo>
                    <a:pt x="85" y="136"/>
                  </a:lnTo>
                  <a:lnTo>
                    <a:pt x="86" y="132"/>
                  </a:lnTo>
                  <a:lnTo>
                    <a:pt x="91" y="128"/>
                  </a:lnTo>
                  <a:lnTo>
                    <a:pt x="94" y="120"/>
                  </a:lnTo>
                  <a:lnTo>
                    <a:pt x="94" y="119"/>
                  </a:lnTo>
                  <a:lnTo>
                    <a:pt x="104" y="119"/>
                  </a:lnTo>
                  <a:lnTo>
                    <a:pt x="104" y="113"/>
                  </a:lnTo>
                  <a:lnTo>
                    <a:pt x="101" y="110"/>
                  </a:lnTo>
                  <a:lnTo>
                    <a:pt x="98" y="102"/>
                  </a:lnTo>
                  <a:lnTo>
                    <a:pt x="94" y="99"/>
                  </a:lnTo>
                  <a:lnTo>
                    <a:pt x="94" y="90"/>
                  </a:lnTo>
                  <a:lnTo>
                    <a:pt x="88" y="87"/>
                  </a:lnTo>
                  <a:lnTo>
                    <a:pt x="83" y="87"/>
                  </a:lnTo>
                  <a:lnTo>
                    <a:pt x="72" y="82"/>
                  </a:lnTo>
                  <a:lnTo>
                    <a:pt x="66" y="82"/>
                  </a:lnTo>
                  <a:lnTo>
                    <a:pt x="63" y="86"/>
                  </a:lnTo>
                  <a:lnTo>
                    <a:pt x="39" y="95"/>
                  </a:lnTo>
                  <a:lnTo>
                    <a:pt x="37" y="95"/>
                  </a:lnTo>
                  <a:lnTo>
                    <a:pt x="37" y="93"/>
                  </a:lnTo>
                  <a:lnTo>
                    <a:pt x="33" y="90"/>
                  </a:lnTo>
                  <a:lnTo>
                    <a:pt x="9" y="92"/>
                  </a:lnTo>
                  <a:lnTo>
                    <a:pt x="0" y="83"/>
                  </a:lnTo>
                  <a:lnTo>
                    <a:pt x="0" y="82"/>
                  </a:lnTo>
                  <a:lnTo>
                    <a:pt x="5" y="68"/>
                  </a:lnTo>
                  <a:lnTo>
                    <a:pt x="8" y="68"/>
                  </a:lnTo>
                  <a:lnTo>
                    <a:pt x="8" y="62"/>
                  </a:lnTo>
                  <a:lnTo>
                    <a:pt x="12" y="52"/>
                  </a:lnTo>
                  <a:lnTo>
                    <a:pt x="26" y="37"/>
                  </a:lnTo>
                  <a:lnTo>
                    <a:pt x="18" y="18"/>
                  </a:lnTo>
                  <a:lnTo>
                    <a:pt x="18" y="16"/>
                  </a:lnTo>
                  <a:lnTo>
                    <a:pt x="31" y="13"/>
                  </a:lnTo>
                  <a:lnTo>
                    <a:pt x="34" y="10"/>
                  </a:lnTo>
                  <a:lnTo>
                    <a:pt x="52" y="9"/>
                  </a:lnTo>
                  <a:lnTo>
                    <a:pt x="67" y="13"/>
                  </a:lnTo>
                  <a:lnTo>
                    <a:pt x="70" y="18"/>
                  </a:lnTo>
                  <a:lnTo>
                    <a:pt x="74" y="18"/>
                  </a:lnTo>
                  <a:lnTo>
                    <a:pt x="76" y="21"/>
                  </a:lnTo>
                  <a:lnTo>
                    <a:pt x="82" y="18"/>
                  </a:lnTo>
                  <a:lnTo>
                    <a:pt x="89" y="21"/>
                  </a:lnTo>
                  <a:lnTo>
                    <a:pt x="94" y="16"/>
                  </a:lnTo>
                  <a:lnTo>
                    <a:pt x="95" y="16"/>
                  </a:lnTo>
                  <a:lnTo>
                    <a:pt x="100" y="22"/>
                  </a:lnTo>
                  <a:lnTo>
                    <a:pt x="103" y="22"/>
                  </a:lnTo>
                  <a:lnTo>
                    <a:pt x="106" y="21"/>
                  </a:lnTo>
                  <a:lnTo>
                    <a:pt x="109" y="21"/>
                  </a:lnTo>
                  <a:lnTo>
                    <a:pt x="112" y="22"/>
                  </a:lnTo>
                  <a:lnTo>
                    <a:pt x="113" y="21"/>
                  </a:lnTo>
                  <a:lnTo>
                    <a:pt x="114" y="12"/>
                  </a:lnTo>
                  <a:lnTo>
                    <a:pt x="119" y="7"/>
                  </a:lnTo>
                  <a:lnTo>
                    <a:pt x="122" y="7"/>
                  </a:lnTo>
                  <a:lnTo>
                    <a:pt x="126" y="6"/>
                  </a:lnTo>
                  <a:lnTo>
                    <a:pt x="129" y="6"/>
                  </a:lnTo>
                  <a:lnTo>
                    <a:pt x="132" y="7"/>
                  </a:lnTo>
                  <a:lnTo>
                    <a:pt x="137" y="1"/>
                  </a:lnTo>
                  <a:lnTo>
                    <a:pt x="144" y="1"/>
                  </a:lnTo>
                  <a:lnTo>
                    <a:pt x="14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3" name="Albania">
              <a:extLst>
                <a:ext uri="{FF2B5EF4-FFF2-40B4-BE49-F238E27FC236}">
                  <a16:creationId xmlns:a16="http://schemas.microsoft.com/office/drawing/2014/main" id="{A05FE660-FEC7-8D46-DEA6-F41EA20723A1}"/>
                </a:ext>
              </a:extLst>
            </p:cNvPr>
            <p:cNvSpPr>
              <a:spLocks/>
            </p:cNvSpPr>
            <p:nvPr/>
          </p:nvSpPr>
          <p:spPr bwMode="auto">
            <a:xfrm>
              <a:off x="6279416" y="3474256"/>
              <a:ext cx="45177" cy="97581"/>
            </a:xfrm>
            <a:custGeom>
              <a:avLst/>
              <a:gdLst>
                <a:gd name="T0" fmla="*/ 6 w 25"/>
                <a:gd name="T1" fmla="*/ 0 h 54"/>
                <a:gd name="T2" fmla="*/ 12 w 25"/>
                <a:gd name="T3" fmla="*/ 3 h 54"/>
                <a:gd name="T4" fmla="*/ 20 w 25"/>
                <a:gd name="T5" fmla="*/ 11 h 54"/>
                <a:gd name="T6" fmla="*/ 18 w 25"/>
                <a:gd name="T7" fmla="*/ 24 h 54"/>
                <a:gd name="T8" fmla="*/ 24 w 25"/>
                <a:gd name="T9" fmla="*/ 33 h 54"/>
                <a:gd name="T10" fmla="*/ 25 w 25"/>
                <a:gd name="T11" fmla="*/ 37 h 54"/>
                <a:gd name="T12" fmla="*/ 25 w 25"/>
                <a:gd name="T13" fmla="*/ 39 h 54"/>
                <a:gd name="T14" fmla="*/ 14 w 25"/>
                <a:gd name="T15" fmla="*/ 54 h 54"/>
                <a:gd name="T16" fmla="*/ 12 w 25"/>
                <a:gd name="T17" fmla="*/ 54 h 54"/>
                <a:gd name="T18" fmla="*/ 0 w 25"/>
                <a:gd name="T19" fmla="*/ 40 h 54"/>
                <a:gd name="T20" fmla="*/ 0 w 25"/>
                <a:gd name="T21" fmla="*/ 39 h 54"/>
                <a:gd name="T22" fmla="*/ 2 w 25"/>
                <a:gd name="T23" fmla="*/ 39 h 54"/>
                <a:gd name="T24" fmla="*/ 2 w 25"/>
                <a:gd name="T25" fmla="*/ 24 h 54"/>
                <a:gd name="T26" fmla="*/ 5 w 25"/>
                <a:gd name="T27" fmla="*/ 17 h 54"/>
                <a:gd name="T28" fmla="*/ 0 w 25"/>
                <a:gd name="T29" fmla="*/ 15 h 54"/>
                <a:gd name="T30" fmla="*/ 3 w 25"/>
                <a:gd name="T31" fmla="*/ 5 h 54"/>
                <a:gd name="T32" fmla="*/ 6 w 25"/>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4">
                  <a:moveTo>
                    <a:pt x="6" y="0"/>
                  </a:moveTo>
                  <a:lnTo>
                    <a:pt x="12" y="3"/>
                  </a:lnTo>
                  <a:lnTo>
                    <a:pt x="20" y="11"/>
                  </a:lnTo>
                  <a:lnTo>
                    <a:pt x="18" y="24"/>
                  </a:lnTo>
                  <a:lnTo>
                    <a:pt x="24" y="33"/>
                  </a:lnTo>
                  <a:lnTo>
                    <a:pt x="25" y="37"/>
                  </a:lnTo>
                  <a:lnTo>
                    <a:pt x="25" y="39"/>
                  </a:lnTo>
                  <a:lnTo>
                    <a:pt x="14" y="54"/>
                  </a:lnTo>
                  <a:lnTo>
                    <a:pt x="12" y="54"/>
                  </a:lnTo>
                  <a:lnTo>
                    <a:pt x="0" y="40"/>
                  </a:lnTo>
                  <a:lnTo>
                    <a:pt x="0" y="39"/>
                  </a:lnTo>
                  <a:lnTo>
                    <a:pt x="2" y="39"/>
                  </a:lnTo>
                  <a:lnTo>
                    <a:pt x="2" y="24"/>
                  </a:lnTo>
                  <a:lnTo>
                    <a:pt x="5" y="17"/>
                  </a:lnTo>
                  <a:lnTo>
                    <a:pt x="0" y="15"/>
                  </a:lnTo>
                  <a:lnTo>
                    <a:pt x="3" y="5"/>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4" name="Bulgaria">
              <a:extLst>
                <a:ext uri="{FF2B5EF4-FFF2-40B4-BE49-F238E27FC236}">
                  <a16:creationId xmlns:a16="http://schemas.microsoft.com/office/drawing/2014/main" id="{E96728C8-D025-9FEF-056C-7228A6C8155F}"/>
                </a:ext>
              </a:extLst>
            </p:cNvPr>
            <p:cNvSpPr>
              <a:spLocks/>
            </p:cNvSpPr>
            <p:nvPr/>
          </p:nvSpPr>
          <p:spPr bwMode="auto">
            <a:xfrm>
              <a:off x="6351698" y="3427272"/>
              <a:ext cx="153601" cy="95775"/>
            </a:xfrm>
            <a:custGeom>
              <a:avLst/>
              <a:gdLst>
                <a:gd name="T0" fmla="*/ 6 w 85"/>
                <a:gd name="T1" fmla="*/ 0 h 53"/>
                <a:gd name="T2" fmla="*/ 9 w 85"/>
                <a:gd name="T3" fmla="*/ 0 h 53"/>
                <a:gd name="T4" fmla="*/ 11 w 85"/>
                <a:gd name="T5" fmla="*/ 1 h 53"/>
                <a:gd name="T6" fmla="*/ 9 w 85"/>
                <a:gd name="T7" fmla="*/ 4 h 53"/>
                <a:gd name="T8" fmla="*/ 11 w 85"/>
                <a:gd name="T9" fmla="*/ 7 h 53"/>
                <a:gd name="T10" fmla="*/ 42 w 85"/>
                <a:gd name="T11" fmla="*/ 8 h 53"/>
                <a:gd name="T12" fmla="*/ 61 w 85"/>
                <a:gd name="T13" fmla="*/ 1 h 53"/>
                <a:gd name="T14" fmla="*/ 85 w 85"/>
                <a:gd name="T15" fmla="*/ 7 h 53"/>
                <a:gd name="T16" fmla="*/ 82 w 85"/>
                <a:gd name="T17" fmla="*/ 14 h 53"/>
                <a:gd name="T18" fmla="*/ 76 w 85"/>
                <a:gd name="T19" fmla="*/ 19 h 53"/>
                <a:gd name="T20" fmla="*/ 74 w 85"/>
                <a:gd name="T21" fmla="*/ 26 h 53"/>
                <a:gd name="T22" fmla="*/ 70 w 85"/>
                <a:gd name="T23" fmla="*/ 31 h 53"/>
                <a:gd name="T24" fmla="*/ 76 w 85"/>
                <a:gd name="T25" fmla="*/ 40 h 53"/>
                <a:gd name="T26" fmla="*/ 76 w 85"/>
                <a:gd name="T27" fmla="*/ 41 h 53"/>
                <a:gd name="T28" fmla="*/ 73 w 85"/>
                <a:gd name="T29" fmla="*/ 41 h 53"/>
                <a:gd name="T30" fmla="*/ 70 w 85"/>
                <a:gd name="T31" fmla="*/ 40 h 53"/>
                <a:gd name="T32" fmla="*/ 64 w 85"/>
                <a:gd name="T33" fmla="*/ 40 h 53"/>
                <a:gd name="T34" fmla="*/ 54 w 85"/>
                <a:gd name="T35" fmla="*/ 44 h 53"/>
                <a:gd name="T36" fmla="*/ 52 w 85"/>
                <a:gd name="T37" fmla="*/ 44 h 53"/>
                <a:gd name="T38" fmla="*/ 52 w 85"/>
                <a:gd name="T39" fmla="*/ 49 h 53"/>
                <a:gd name="T40" fmla="*/ 48 w 85"/>
                <a:gd name="T41" fmla="*/ 50 h 53"/>
                <a:gd name="T42" fmla="*/ 43 w 85"/>
                <a:gd name="T43" fmla="*/ 53 h 53"/>
                <a:gd name="T44" fmla="*/ 42 w 85"/>
                <a:gd name="T45" fmla="*/ 53 h 53"/>
                <a:gd name="T46" fmla="*/ 28 w 85"/>
                <a:gd name="T47" fmla="*/ 47 h 53"/>
                <a:gd name="T48" fmla="*/ 9 w 85"/>
                <a:gd name="T49" fmla="*/ 51 h 53"/>
                <a:gd name="T50" fmla="*/ 9 w 85"/>
                <a:gd name="T51" fmla="*/ 50 h 53"/>
                <a:gd name="T52" fmla="*/ 6 w 85"/>
                <a:gd name="T53" fmla="*/ 40 h 53"/>
                <a:gd name="T54" fmla="*/ 2 w 85"/>
                <a:gd name="T55" fmla="*/ 35 h 53"/>
                <a:gd name="T56" fmla="*/ 2 w 85"/>
                <a:gd name="T57" fmla="*/ 28 h 53"/>
                <a:gd name="T58" fmla="*/ 6 w 85"/>
                <a:gd name="T59" fmla="*/ 20 h 53"/>
                <a:gd name="T60" fmla="*/ 2 w 85"/>
                <a:gd name="T61" fmla="*/ 13 h 53"/>
                <a:gd name="T62" fmla="*/ 0 w 85"/>
                <a:gd name="T63" fmla="*/ 7 h 53"/>
                <a:gd name="T64" fmla="*/ 2 w 85"/>
                <a:gd name="T65" fmla="*/ 1 h 53"/>
                <a:gd name="T66" fmla="*/ 6 w 85"/>
                <a:gd name="T6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53">
                  <a:moveTo>
                    <a:pt x="6" y="0"/>
                  </a:moveTo>
                  <a:lnTo>
                    <a:pt x="9" y="0"/>
                  </a:lnTo>
                  <a:lnTo>
                    <a:pt x="11" y="1"/>
                  </a:lnTo>
                  <a:lnTo>
                    <a:pt x="9" y="4"/>
                  </a:lnTo>
                  <a:lnTo>
                    <a:pt x="11" y="7"/>
                  </a:lnTo>
                  <a:lnTo>
                    <a:pt x="42" y="8"/>
                  </a:lnTo>
                  <a:lnTo>
                    <a:pt x="61" y="1"/>
                  </a:lnTo>
                  <a:lnTo>
                    <a:pt x="85" y="7"/>
                  </a:lnTo>
                  <a:lnTo>
                    <a:pt x="82" y="14"/>
                  </a:lnTo>
                  <a:lnTo>
                    <a:pt x="76" y="19"/>
                  </a:lnTo>
                  <a:lnTo>
                    <a:pt x="74" y="26"/>
                  </a:lnTo>
                  <a:lnTo>
                    <a:pt x="70" y="31"/>
                  </a:lnTo>
                  <a:lnTo>
                    <a:pt x="76" y="40"/>
                  </a:lnTo>
                  <a:lnTo>
                    <a:pt x="76" y="41"/>
                  </a:lnTo>
                  <a:lnTo>
                    <a:pt x="73" y="41"/>
                  </a:lnTo>
                  <a:lnTo>
                    <a:pt x="70" y="40"/>
                  </a:lnTo>
                  <a:lnTo>
                    <a:pt x="64" y="40"/>
                  </a:lnTo>
                  <a:lnTo>
                    <a:pt x="54" y="44"/>
                  </a:lnTo>
                  <a:lnTo>
                    <a:pt x="52" y="44"/>
                  </a:lnTo>
                  <a:lnTo>
                    <a:pt x="52" y="49"/>
                  </a:lnTo>
                  <a:lnTo>
                    <a:pt x="48" y="50"/>
                  </a:lnTo>
                  <a:lnTo>
                    <a:pt x="43" y="53"/>
                  </a:lnTo>
                  <a:lnTo>
                    <a:pt x="42" y="53"/>
                  </a:lnTo>
                  <a:lnTo>
                    <a:pt x="28" y="47"/>
                  </a:lnTo>
                  <a:lnTo>
                    <a:pt x="9" y="51"/>
                  </a:lnTo>
                  <a:lnTo>
                    <a:pt x="9" y="50"/>
                  </a:lnTo>
                  <a:lnTo>
                    <a:pt x="6" y="40"/>
                  </a:lnTo>
                  <a:lnTo>
                    <a:pt x="2" y="35"/>
                  </a:lnTo>
                  <a:lnTo>
                    <a:pt x="2" y="28"/>
                  </a:lnTo>
                  <a:lnTo>
                    <a:pt x="6" y="20"/>
                  </a:lnTo>
                  <a:lnTo>
                    <a:pt x="2" y="13"/>
                  </a:lnTo>
                  <a:lnTo>
                    <a:pt x="0" y="7"/>
                  </a:lnTo>
                  <a:lnTo>
                    <a:pt x="2" y="1"/>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5" name="Cyprus">
              <a:extLst>
                <a:ext uri="{FF2B5EF4-FFF2-40B4-BE49-F238E27FC236}">
                  <a16:creationId xmlns:a16="http://schemas.microsoft.com/office/drawing/2014/main" id="{C2306F17-2D44-9BA4-6085-8E2278344778}"/>
                </a:ext>
              </a:extLst>
            </p:cNvPr>
            <p:cNvSpPr>
              <a:spLocks/>
            </p:cNvSpPr>
            <p:nvPr/>
          </p:nvSpPr>
          <p:spPr bwMode="auto">
            <a:xfrm>
              <a:off x="6588424" y="3685683"/>
              <a:ext cx="56019" cy="36141"/>
            </a:xfrm>
            <a:custGeom>
              <a:avLst/>
              <a:gdLst>
                <a:gd name="T0" fmla="*/ 31 w 31"/>
                <a:gd name="T1" fmla="*/ 0 h 20"/>
                <a:gd name="T2" fmla="*/ 31 w 31"/>
                <a:gd name="T3" fmla="*/ 2 h 20"/>
                <a:gd name="T4" fmla="*/ 25 w 31"/>
                <a:gd name="T5" fmla="*/ 14 h 20"/>
                <a:gd name="T6" fmla="*/ 12 w 31"/>
                <a:gd name="T7" fmla="*/ 20 h 20"/>
                <a:gd name="T8" fmla="*/ 10 w 31"/>
                <a:gd name="T9" fmla="*/ 20 h 20"/>
                <a:gd name="T10" fmla="*/ 4 w 31"/>
                <a:gd name="T11" fmla="*/ 18 h 20"/>
                <a:gd name="T12" fmla="*/ 0 w 31"/>
                <a:gd name="T13" fmla="*/ 12 h 20"/>
                <a:gd name="T14" fmla="*/ 1 w 31"/>
                <a:gd name="T15" fmla="*/ 12 h 20"/>
                <a:gd name="T16" fmla="*/ 10 w 31"/>
                <a:gd name="T17" fmla="*/ 6 h 20"/>
                <a:gd name="T18" fmla="*/ 23 w 31"/>
                <a:gd name="T19" fmla="*/ 5 h 20"/>
                <a:gd name="T20" fmla="*/ 31 w 31"/>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0">
                  <a:moveTo>
                    <a:pt x="31" y="0"/>
                  </a:moveTo>
                  <a:lnTo>
                    <a:pt x="31" y="2"/>
                  </a:lnTo>
                  <a:lnTo>
                    <a:pt x="25" y="14"/>
                  </a:lnTo>
                  <a:lnTo>
                    <a:pt x="12" y="20"/>
                  </a:lnTo>
                  <a:lnTo>
                    <a:pt x="10" y="20"/>
                  </a:lnTo>
                  <a:lnTo>
                    <a:pt x="4" y="18"/>
                  </a:lnTo>
                  <a:lnTo>
                    <a:pt x="0" y="12"/>
                  </a:lnTo>
                  <a:lnTo>
                    <a:pt x="1" y="12"/>
                  </a:lnTo>
                  <a:lnTo>
                    <a:pt x="10" y="6"/>
                  </a:lnTo>
                  <a:lnTo>
                    <a:pt x="23" y="5"/>
                  </a:lnTo>
                  <a:lnTo>
                    <a:pt x="3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6" name="Kosovo">
              <a:extLst>
                <a:ext uri="{FF2B5EF4-FFF2-40B4-BE49-F238E27FC236}">
                  <a16:creationId xmlns:a16="http://schemas.microsoft.com/office/drawing/2014/main" id="{93E67232-0CCF-66A1-3A1F-3743873A1651}"/>
                </a:ext>
              </a:extLst>
            </p:cNvPr>
            <p:cNvSpPr>
              <a:spLocks/>
            </p:cNvSpPr>
            <p:nvPr/>
          </p:nvSpPr>
          <p:spPr bwMode="auto">
            <a:xfrm>
              <a:off x="6293873" y="3457993"/>
              <a:ext cx="39755" cy="37948"/>
            </a:xfrm>
            <a:custGeom>
              <a:avLst/>
              <a:gdLst>
                <a:gd name="T0" fmla="*/ 9 w 22"/>
                <a:gd name="T1" fmla="*/ 0 h 21"/>
                <a:gd name="T2" fmla="*/ 15 w 22"/>
                <a:gd name="T3" fmla="*/ 0 h 21"/>
                <a:gd name="T4" fmla="*/ 15 w 22"/>
                <a:gd name="T5" fmla="*/ 2 h 21"/>
                <a:gd name="T6" fmla="*/ 17 w 22"/>
                <a:gd name="T7" fmla="*/ 8 h 21"/>
                <a:gd name="T8" fmla="*/ 22 w 22"/>
                <a:gd name="T9" fmla="*/ 8 h 21"/>
                <a:gd name="T10" fmla="*/ 22 w 22"/>
                <a:gd name="T11" fmla="*/ 14 h 21"/>
                <a:gd name="T12" fmla="*/ 12 w 22"/>
                <a:gd name="T13" fmla="*/ 21 h 21"/>
                <a:gd name="T14" fmla="*/ 10 w 22"/>
                <a:gd name="T15" fmla="*/ 21 h 21"/>
                <a:gd name="T16" fmla="*/ 10 w 22"/>
                <a:gd name="T17" fmla="*/ 20 h 21"/>
                <a:gd name="T18" fmla="*/ 4 w 22"/>
                <a:gd name="T19" fmla="*/ 14 h 21"/>
                <a:gd name="T20" fmla="*/ 0 w 22"/>
                <a:gd name="T21" fmla="*/ 12 h 21"/>
                <a:gd name="T22" fmla="*/ 0 w 22"/>
                <a:gd name="T23" fmla="*/ 6 h 21"/>
                <a:gd name="T24" fmla="*/ 1 w 22"/>
                <a:gd name="T25" fmla="*/ 6 h 21"/>
                <a:gd name="T26" fmla="*/ 3 w 22"/>
                <a:gd name="T27" fmla="*/ 8 h 21"/>
                <a:gd name="T28" fmla="*/ 4 w 22"/>
                <a:gd name="T29" fmla="*/ 5 h 21"/>
                <a:gd name="T30" fmla="*/ 9 w 22"/>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1">
                  <a:moveTo>
                    <a:pt x="9" y="0"/>
                  </a:moveTo>
                  <a:lnTo>
                    <a:pt x="15" y="0"/>
                  </a:lnTo>
                  <a:lnTo>
                    <a:pt x="15" y="2"/>
                  </a:lnTo>
                  <a:lnTo>
                    <a:pt x="17" y="8"/>
                  </a:lnTo>
                  <a:lnTo>
                    <a:pt x="22" y="8"/>
                  </a:lnTo>
                  <a:lnTo>
                    <a:pt x="22" y="14"/>
                  </a:lnTo>
                  <a:lnTo>
                    <a:pt x="12" y="21"/>
                  </a:lnTo>
                  <a:lnTo>
                    <a:pt x="10" y="21"/>
                  </a:lnTo>
                  <a:lnTo>
                    <a:pt x="10" y="20"/>
                  </a:lnTo>
                  <a:lnTo>
                    <a:pt x="4" y="14"/>
                  </a:lnTo>
                  <a:lnTo>
                    <a:pt x="0" y="12"/>
                  </a:lnTo>
                  <a:lnTo>
                    <a:pt x="0" y="6"/>
                  </a:lnTo>
                  <a:lnTo>
                    <a:pt x="1" y="6"/>
                  </a:lnTo>
                  <a:lnTo>
                    <a:pt x="3" y="8"/>
                  </a:lnTo>
                  <a:lnTo>
                    <a:pt x="4" y="5"/>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7" name="Macedonia">
              <a:extLst>
                <a:ext uri="{FF2B5EF4-FFF2-40B4-BE49-F238E27FC236}">
                  <a16:creationId xmlns:a16="http://schemas.microsoft.com/office/drawing/2014/main" id="{2F9B6976-BD75-274B-D7C8-60FCF486A751}"/>
                </a:ext>
              </a:extLst>
            </p:cNvPr>
            <p:cNvSpPr>
              <a:spLocks/>
            </p:cNvSpPr>
            <p:nvPr/>
          </p:nvSpPr>
          <p:spPr bwMode="auto">
            <a:xfrm>
              <a:off x="6310137" y="3479677"/>
              <a:ext cx="61440" cy="54212"/>
            </a:xfrm>
            <a:custGeom>
              <a:avLst/>
              <a:gdLst>
                <a:gd name="T0" fmla="*/ 11 w 34"/>
                <a:gd name="T1" fmla="*/ 0 h 30"/>
                <a:gd name="T2" fmla="*/ 25 w 34"/>
                <a:gd name="T3" fmla="*/ 2 h 30"/>
                <a:gd name="T4" fmla="*/ 26 w 34"/>
                <a:gd name="T5" fmla="*/ 2 h 30"/>
                <a:gd name="T6" fmla="*/ 26 w 34"/>
                <a:gd name="T7" fmla="*/ 5 h 30"/>
                <a:gd name="T8" fmla="*/ 31 w 34"/>
                <a:gd name="T9" fmla="*/ 9 h 30"/>
                <a:gd name="T10" fmla="*/ 34 w 34"/>
                <a:gd name="T11" fmla="*/ 21 h 30"/>
                <a:gd name="T12" fmla="*/ 32 w 34"/>
                <a:gd name="T13" fmla="*/ 21 h 30"/>
                <a:gd name="T14" fmla="*/ 7 w 34"/>
                <a:gd name="T15" fmla="*/ 30 h 30"/>
                <a:gd name="T16" fmla="*/ 6 w 34"/>
                <a:gd name="T17" fmla="*/ 30 h 30"/>
                <a:gd name="T18" fmla="*/ 0 w 34"/>
                <a:gd name="T19" fmla="*/ 21 h 30"/>
                <a:gd name="T20" fmla="*/ 1 w 34"/>
                <a:gd name="T21" fmla="*/ 8 h 30"/>
                <a:gd name="T22" fmla="*/ 11 w 34"/>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0">
                  <a:moveTo>
                    <a:pt x="11" y="0"/>
                  </a:moveTo>
                  <a:lnTo>
                    <a:pt x="25" y="2"/>
                  </a:lnTo>
                  <a:lnTo>
                    <a:pt x="26" y="2"/>
                  </a:lnTo>
                  <a:lnTo>
                    <a:pt x="26" y="5"/>
                  </a:lnTo>
                  <a:lnTo>
                    <a:pt x="31" y="9"/>
                  </a:lnTo>
                  <a:lnTo>
                    <a:pt x="34" y="21"/>
                  </a:lnTo>
                  <a:lnTo>
                    <a:pt x="32" y="21"/>
                  </a:lnTo>
                  <a:lnTo>
                    <a:pt x="7" y="30"/>
                  </a:lnTo>
                  <a:lnTo>
                    <a:pt x="6" y="30"/>
                  </a:lnTo>
                  <a:lnTo>
                    <a:pt x="0" y="21"/>
                  </a:lnTo>
                  <a:lnTo>
                    <a:pt x="1" y="8"/>
                  </a:lnTo>
                  <a:lnTo>
                    <a:pt x="1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8" name="Slovakia">
              <a:extLst>
                <a:ext uri="{FF2B5EF4-FFF2-40B4-BE49-F238E27FC236}">
                  <a16:creationId xmlns:a16="http://schemas.microsoft.com/office/drawing/2014/main" id="{10FAC0AD-3940-9DD4-CA91-7826C46766BA}"/>
                </a:ext>
              </a:extLst>
            </p:cNvPr>
            <p:cNvSpPr>
              <a:spLocks/>
            </p:cNvSpPr>
            <p:nvPr/>
          </p:nvSpPr>
          <p:spPr bwMode="auto">
            <a:xfrm>
              <a:off x="6221590" y="3241146"/>
              <a:ext cx="133723" cy="65054"/>
            </a:xfrm>
            <a:custGeom>
              <a:avLst/>
              <a:gdLst>
                <a:gd name="T0" fmla="*/ 35 w 74"/>
                <a:gd name="T1" fmla="*/ 0 h 36"/>
                <a:gd name="T2" fmla="*/ 41 w 74"/>
                <a:gd name="T3" fmla="*/ 6 h 36"/>
                <a:gd name="T4" fmla="*/ 60 w 74"/>
                <a:gd name="T5" fmla="*/ 3 h 36"/>
                <a:gd name="T6" fmla="*/ 74 w 74"/>
                <a:gd name="T7" fmla="*/ 9 h 36"/>
                <a:gd name="T8" fmla="*/ 71 w 74"/>
                <a:gd name="T9" fmla="*/ 23 h 36"/>
                <a:gd name="T10" fmla="*/ 52 w 74"/>
                <a:gd name="T11" fmla="*/ 21 h 36"/>
                <a:gd name="T12" fmla="*/ 41 w 74"/>
                <a:gd name="T13" fmla="*/ 28 h 36"/>
                <a:gd name="T14" fmla="*/ 26 w 74"/>
                <a:gd name="T15" fmla="*/ 30 h 36"/>
                <a:gd name="T16" fmla="*/ 22 w 74"/>
                <a:gd name="T17" fmla="*/ 36 h 36"/>
                <a:gd name="T18" fmla="*/ 13 w 74"/>
                <a:gd name="T19" fmla="*/ 36 h 36"/>
                <a:gd name="T20" fmla="*/ 4 w 74"/>
                <a:gd name="T21" fmla="*/ 30 h 36"/>
                <a:gd name="T22" fmla="*/ 0 w 74"/>
                <a:gd name="T23" fmla="*/ 17 h 36"/>
                <a:gd name="T24" fmla="*/ 20 w 74"/>
                <a:gd name="T25" fmla="*/ 14 h 36"/>
                <a:gd name="T26" fmla="*/ 23 w 74"/>
                <a:gd name="T27" fmla="*/ 6 h 36"/>
                <a:gd name="T28" fmla="*/ 35 w 7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6">
                  <a:moveTo>
                    <a:pt x="35" y="0"/>
                  </a:moveTo>
                  <a:lnTo>
                    <a:pt x="41" y="6"/>
                  </a:lnTo>
                  <a:lnTo>
                    <a:pt x="60" y="3"/>
                  </a:lnTo>
                  <a:lnTo>
                    <a:pt x="74" y="9"/>
                  </a:lnTo>
                  <a:lnTo>
                    <a:pt x="71" y="23"/>
                  </a:lnTo>
                  <a:lnTo>
                    <a:pt x="52" y="21"/>
                  </a:lnTo>
                  <a:lnTo>
                    <a:pt x="41" y="28"/>
                  </a:lnTo>
                  <a:lnTo>
                    <a:pt x="26" y="30"/>
                  </a:lnTo>
                  <a:lnTo>
                    <a:pt x="22" y="36"/>
                  </a:lnTo>
                  <a:lnTo>
                    <a:pt x="13" y="36"/>
                  </a:lnTo>
                  <a:lnTo>
                    <a:pt x="4" y="30"/>
                  </a:lnTo>
                  <a:lnTo>
                    <a:pt x="0" y="17"/>
                  </a:lnTo>
                  <a:lnTo>
                    <a:pt x="20" y="14"/>
                  </a:lnTo>
                  <a:lnTo>
                    <a:pt x="23" y="6"/>
                  </a:lnTo>
                  <a:lnTo>
                    <a:pt x="3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9" name="Montenegro">
              <a:extLst>
                <a:ext uri="{FF2B5EF4-FFF2-40B4-BE49-F238E27FC236}">
                  <a16:creationId xmlns:a16="http://schemas.microsoft.com/office/drawing/2014/main" id="{54724A76-3152-DFE1-14B1-9CF161646D0A}"/>
                </a:ext>
              </a:extLst>
            </p:cNvPr>
            <p:cNvSpPr>
              <a:spLocks/>
            </p:cNvSpPr>
            <p:nvPr/>
          </p:nvSpPr>
          <p:spPr bwMode="auto">
            <a:xfrm>
              <a:off x="6255925" y="3445344"/>
              <a:ext cx="48791" cy="56019"/>
            </a:xfrm>
            <a:custGeom>
              <a:avLst/>
              <a:gdLst>
                <a:gd name="T0" fmla="*/ 6 w 27"/>
                <a:gd name="T1" fmla="*/ 0 h 31"/>
                <a:gd name="T2" fmla="*/ 9 w 27"/>
                <a:gd name="T3" fmla="*/ 1 h 31"/>
                <a:gd name="T4" fmla="*/ 9 w 27"/>
                <a:gd name="T5" fmla="*/ 0 h 31"/>
                <a:gd name="T6" fmla="*/ 13 w 27"/>
                <a:gd name="T7" fmla="*/ 0 h 31"/>
                <a:gd name="T8" fmla="*/ 13 w 27"/>
                <a:gd name="T9" fmla="*/ 1 h 31"/>
                <a:gd name="T10" fmla="*/ 27 w 27"/>
                <a:gd name="T11" fmla="*/ 12 h 31"/>
                <a:gd name="T12" fmla="*/ 25 w 27"/>
                <a:gd name="T13" fmla="*/ 16 h 31"/>
                <a:gd name="T14" fmla="*/ 24 w 27"/>
                <a:gd name="T15" fmla="*/ 16 h 31"/>
                <a:gd name="T16" fmla="*/ 22 w 27"/>
                <a:gd name="T17" fmla="*/ 15 h 31"/>
                <a:gd name="T18" fmla="*/ 22 w 27"/>
                <a:gd name="T19" fmla="*/ 19 h 31"/>
                <a:gd name="T20" fmla="*/ 19 w 27"/>
                <a:gd name="T21" fmla="*/ 18 h 31"/>
                <a:gd name="T22" fmla="*/ 16 w 27"/>
                <a:gd name="T23" fmla="*/ 21 h 31"/>
                <a:gd name="T24" fmla="*/ 15 w 27"/>
                <a:gd name="T25" fmla="*/ 31 h 31"/>
                <a:gd name="T26" fmla="*/ 13 w 27"/>
                <a:gd name="T27" fmla="*/ 31 h 31"/>
                <a:gd name="T28" fmla="*/ 0 w 27"/>
                <a:gd name="T29" fmla="*/ 19 h 31"/>
                <a:gd name="T30" fmla="*/ 0 w 27"/>
                <a:gd name="T31" fmla="*/ 18 h 31"/>
                <a:gd name="T32" fmla="*/ 3 w 27"/>
                <a:gd name="T33" fmla="*/ 16 h 31"/>
                <a:gd name="T34" fmla="*/ 1 w 27"/>
                <a:gd name="T35" fmla="*/ 10 h 31"/>
                <a:gd name="T36" fmla="*/ 1 w 27"/>
                <a:gd name="T37" fmla="*/ 9 h 31"/>
                <a:gd name="T38" fmla="*/ 6 w 27"/>
                <a:gd name="T39" fmla="*/ 7 h 31"/>
                <a:gd name="T40" fmla="*/ 3 w 27"/>
                <a:gd name="T41" fmla="*/ 3 h 31"/>
                <a:gd name="T42" fmla="*/ 3 w 27"/>
                <a:gd name="T43" fmla="*/ 1 h 31"/>
                <a:gd name="T44" fmla="*/ 6 w 27"/>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
                  <a:moveTo>
                    <a:pt x="6" y="0"/>
                  </a:moveTo>
                  <a:lnTo>
                    <a:pt x="9" y="1"/>
                  </a:lnTo>
                  <a:lnTo>
                    <a:pt x="9" y="0"/>
                  </a:lnTo>
                  <a:lnTo>
                    <a:pt x="13" y="0"/>
                  </a:lnTo>
                  <a:lnTo>
                    <a:pt x="13" y="1"/>
                  </a:lnTo>
                  <a:lnTo>
                    <a:pt x="27" y="12"/>
                  </a:lnTo>
                  <a:lnTo>
                    <a:pt x="25" y="16"/>
                  </a:lnTo>
                  <a:lnTo>
                    <a:pt x="24" y="16"/>
                  </a:lnTo>
                  <a:lnTo>
                    <a:pt x="22" y="15"/>
                  </a:lnTo>
                  <a:lnTo>
                    <a:pt x="22" y="19"/>
                  </a:lnTo>
                  <a:lnTo>
                    <a:pt x="19" y="18"/>
                  </a:lnTo>
                  <a:lnTo>
                    <a:pt x="16" y="21"/>
                  </a:lnTo>
                  <a:lnTo>
                    <a:pt x="15" y="31"/>
                  </a:lnTo>
                  <a:lnTo>
                    <a:pt x="13" y="31"/>
                  </a:lnTo>
                  <a:lnTo>
                    <a:pt x="0" y="19"/>
                  </a:lnTo>
                  <a:lnTo>
                    <a:pt x="0" y="18"/>
                  </a:lnTo>
                  <a:lnTo>
                    <a:pt x="3" y="16"/>
                  </a:lnTo>
                  <a:lnTo>
                    <a:pt x="1" y="10"/>
                  </a:lnTo>
                  <a:lnTo>
                    <a:pt x="1" y="9"/>
                  </a:lnTo>
                  <a:lnTo>
                    <a:pt x="6" y="7"/>
                  </a:lnTo>
                  <a:lnTo>
                    <a:pt x="3" y="3"/>
                  </a:lnTo>
                  <a:lnTo>
                    <a:pt x="3" y="1"/>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0" name="Palma">
              <a:extLst>
                <a:ext uri="{FF2B5EF4-FFF2-40B4-BE49-F238E27FC236}">
                  <a16:creationId xmlns:a16="http://schemas.microsoft.com/office/drawing/2014/main" id="{0EE5D453-3BD7-C1EE-CB98-15FC775FF219}"/>
                </a:ext>
              </a:extLst>
            </p:cNvPr>
            <p:cNvSpPr>
              <a:spLocks/>
            </p:cNvSpPr>
            <p:nvPr/>
          </p:nvSpPr>
          <p:spPr bwMode="auto">
            <a:xfrm>
              <a:off x="5883670" y="3560996"/>
              <a:ext cx="27107" cy="23493"/>
            </a:xfrm>
            <a:custGeom>
              <a:avLst/>
              <a:gdLst>
                <a:gd name="T0" fmla="*/ 10 w 15"/>
                <a:gd name="T1" fmla="*/ 0 h 13"/>
                <a:gd name="T2" fmla="*/ 12 w 15"/>
                <a:gd name="T3" fmla="*/ 0 h 13"/>
                <a:gd name="T4" fmla="*/ 12 w 15"/>
                <a:gd name="T5" fmla="*/ 3 h 13"/>
                <a:gd name="T6" fmla="*/ 15 w 15"/>
                <a:gd name="T7" fmla="*/ 4 h 13"/>
                <a:gd name="T8" fmla="*/ 15 w 15"/>
                <a:gd name="T9" fmla="*/ 6 h 13"/>
                <a:gd name="T10" fmla="*/ 10 w 15"/>
                <a:gd name="T11" fmla="*/ 12 h 13"/>
                <a:gd name="T12" fmla="*/ 10 w 15"/>
                <a:gd name="T13" fmla="*/ 13 h 13"/>
                <a:gd name="T14" fmla="*/ 1 w 15"/>
                <a:gd name="T15" fmla="*/ 7 h 13"/>
                <a:gd name="T16" fmla="*/ 0 w 15"/>
                <a:gd name="T17" fmla="*/ 7 h 13"/>
                <a:gd name="T18" fmla="*/ 0 w 15"/>
                <a:gd name="T19" fmla="*/ 6 h 13"/>
                <a:gd name="T20" fmla="*/ 1 w 15"/>
                <a:gd name="T21" fmla="*/ 6 h 13"/>
                <a:gd name="T22" fmla="*/ 10 w 15"/>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3">
                  <a:moveTo>
                    <a:pt x="10" y="0"/>
                  </a:moveTo>
                  <a:lnTo>
                    <a:pt x="12" y="0"/>
                  </a:lnTo>
                  <a:lnTo>
                    <a:pt x="12" y="3"/>
                  </a:lnTo>
                  <a:lnTo>
                    <a:pt x="15" y="4"/>
                  </a:lnTo>
                  <a:lnTo>
                    <a:pt x="15" y="6"/>
                  </a:lnTo>
                  <a:lnTo>
                    <a:pt x="10" y="12"/>
                  </a:lnTo>
                  <a:lnTo>
                    <a:pt x="10" y="13"/>
                  </a:lnTo>
                  <a:lnTo>
                    <a:pt x="1" y="7"/>
                  </a:lnTo>
                  <a:lnTo>
                    <a:pt x="0" y="7"/>
                  </a:lnTo>
                  <a:lnTo>
                    <a:pt x="0" y="6"/>
                  </a:lnTo>
                  <a:lnTo>
                    <a:pt x="1" y="6"/>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1" name="Armenia">
              <a:extLst>
                <a:ext uri="{FF2B5EF4-FFF2-40B4-BE49-F238E27FC236}">
                  <a16:creationId xmlns:a16="http://schemas.microsoft.com/office/drawing/2014/main" id="{4DB7E86E-F8BA-2FA8-C16D-E45263F42219}"/>
                </a:ext>
              </a:extLst>
            </p:cNvPr>
            <p:cNvSpPr>
              <a:spLocks/>
            </p:cNvSpPr>
            <p:nvPr/>
          </p:nvSpPr>
          <p:spPr bwMode="auto">
            <a:xfrm>
              <a:off x="6850449" y="3517627"/>
              <a:ext cx="77705" cy="77705"/>
            </a:xfrm>
            <a:custGeom>
              <a:avLst/>
              <a:gdLst>
                <a:gd name="T0" fmla="*/ 19 w 43"/>
                <a:gd name="T1" fmla="*/ 0 h 43"/>
                <a:gd name="T2" fmla="*/ 22 w 43"/>
                <a:gd name="T3" fmla="*/ 0 h 43"/>
                <a:gd name="T4" fmla="*/ 25 w 43"/>
                <a:gd name="T5" fmla="*/ 4 h 43"/>
                <a:gd name="T6" fmla="*/ 28 w 43"/>
                <a:gd name="T7" fmla="*/ 6 h 43"/>
                <a:gd name="T8" fmla="*/ 30 w 43"/>
                <a:gd name="T9" fmla="*/ 6 h 43"/>
                <a:gd name="T10" fmla="*/ 28 w 43"/>
                <a:gd name="T11" fmla="*/ 13 h 43"/>
                <a:gd name="T12" fmla="*/ 34 w 43"/>
                <a:gd name="T13" fmla="*/ 18 h 43"/>
                <a:gd name="T14" fmla="*/ 33 w 43"/>
                <a:gd name="T15" fmla="*/ 24 h 43"/>
                <a:gd name="T16" fmla="*/ 37 w 43"/>
                <a:gd name="T17" fmla="*/ 28 h 43"/>
                <a:gd name="T18" fmla="*/ 42 w 43"/>
                <a:gd name="T19" fmla="*/ 28 h 43"/>
                <a:gd name="T20" fmla="*/ 42 w 43"/>
                <a:gd name="T21" fmla="*/ 37 h 43"/>
                <a:gd name="T22" fmla="*/ 40 w 43"/>
                <a:gd name="T23" fmla="*/ 37 h 43"/>
                <a:gd name="T24" fmla="*/ 43 w 43"/>
                <a:gd name="T25" fmla="*/ 42 h 43"/>
                <a:gd name="T26" fmla="*/ 43 w 43"/>
                <a:gd name="T27" fmla="*/ 43 h 43"/>
                <a:gd name="T28" fmla="*/ 34 w 43"/>
                <a:gd name="T29" fmla="*/ 43 h 43"/>
                <a:gd name="T30" fmla="*/ 31 w 43"/>
                <a:gd name="T31" fmla="*/ 31 h 43"/>
                <a:gd name="T32" fmla="*/ 27 w 43"/>
                <a:gd name="T33" fmla="*/ 31 h 43"/>
                <a:gd name="T34" fmla="*/ 22 w 43"/>
                <a:gd name="T35" fmla="*/ 28 h 43"/>
                <a:gd name="T36" fmla="*/ 18 w 43"/>
                <a:gd name="T37" fmla="*/ 30 h 43"/>
                <a:gd name="T38" fmla="*/ 16 w 43"/>
                <a:gd name="T39" fmla="*/ 30 h 43"/>
                <a:gd name="T40" fmla="*/ 15 w 43"/>
                <a:gd name="T41" fmla="*/ 27 h 43"/>
                <a:gd name="T42" fmla="*/ 6 w 43"/>
                <a:gd name="T43" fmla="*/ 21 h 43"/>
                <a:gd name="T44" fmla="*/ 0 w 43"/>
                <a:gd name="T45" fmla="*/ 6 h 43"/>
                <a:gd name="T46" fmla="*/ 2 w 43"/>
                <a:gd name="T47" fmla="*/ 6 h 43"/>
                <a:gd name="T48" fmla="*/ 19 w 43"/>
                <a:gd name="T4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43">
                  <a:moveTo>
                    <a:pt x="19" y="0"/>
                  </a:moveTo>
                  <a:lnTo>
                    <a:pt x="22" y="0"/>
                  </a:lnTo>
                  <a:lnTo>
                    <a:pt x="25" y="4"/>
                  </a:lnTo>
                  <a:lnTo>
                    <a:pt x="28" y="6"/>
                  </a:lnTo>
                  <a:lnTo>
                    <a:pt x="30" y="6"/>
                  </a:lnTo>
                  <a:lnTo>
                    <a:pt x="28" y="13"/>
                  </a:lnTo>
                  <a:lnTo>
                    <a:pt x="34" y="18"/>
                  </a:lnTo>
                  <a:lnTo>
                    <a:pt x="33" y="24"/>
                  </a:lnTo>
                  <a:lnTo>
                    <a:pt x="37" y="28"/>
                  </a:lnTo>
                  <a:lnTo>
                    <a:pt x="42" y="28"/>
                  </a:lnTo>
                  <a:lnTo>
                    <a:pt x="42" y="37"/>
                  </a:lnTo>
                  <a:lnTo>
                    <a:pt x="40" y="37"/>
                  </a:lnTo>
                  <a:lnTo>
                    <a:pt x="43" y="42"/>
                  </a:lnTo>
                  <a:lnTo>
                    <a:pt x="43" y="43"/>
                  </a:lnTo>
                  <a:lnTo>
                    <a:pt x="34" y="43"/>
                  </a:lnTo>
                  <a:lnTo>
                    <a:pt x="31" y="31"/>
                  </a:lnTo>
                  <a:lnTo>
                    <a:pt x="27" y="31"/>
                  </a:lnTo>
                  <a:lnTo>
                    <a:pt x="22" y="28"/>
                  </a:lnTo>
                  <a:lnTo>
                    <a:pt x="18" y="30"/>
                  </a:lnTo>
                  <a:lnTo>
                    <a:pt x="16" y="30"/>
                  </a:lnTo>
                  <a:lnTo>
                    <a:pt x="15" y="27"/>
                  </a:lnTo>
                  <a:lnTo>
                    <a:pt x="6" y="21"/>
                  </a:lnTo>
                  <a:lnTo>
                    <a:pt x="0" y="6"/>
                  </a:lnTo>
                  <a:lnTo>
                    <a:pt x="2" y="6"/>
                  </a:lnTo>
                  <a:lnTo>
                    <a:pt x="1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2" name="Azerbaijan - West">
              <a:extLst>
                <a:ext uri="{FF2B5EF4-FFF2-40B4-BE49-F238E27FC236}">
                  <a16:creationId xmlns:a16="http://schemas.microsoft.com/office/drawing/2014/main" id="{853E7ECC-57B7-9CE9-2B7F-55C8DABBEDA8}"/>
                </a:ext>
              </a:extLst>
            </p:cNvPr>
            <p:cNvSpPr>
              <a:spLocks/>
            </p:cNvSpPr>
            <p:nvPr/>
          </p:nvSpPr>
          <p:spPr bwMode="auto">
            <a:xfrm>
              <a:off x="6879361" y="3566417"/>
              <a:ext cx="36141" cy="28913"/>
            </a:xfrm>
            <a:custGeom>
              <a:avLst/>
              <a:gdLst>
                <a:gd name="T0" fmla="*/ 5 w 20"/>
                <a:gd name="T1" fmla="*/ 0 h 16"/>
                <a:gd name="T2" fmla="*/ 6 w 20"/>
                <a:gd name="T3" fmla="*/ 0 h 16"/>
                <a:gd name="T4" fmla="*/ 11 w 20"/>
                <a:gd name="T5" fmla="*/ 3 h 16"/>
                <a:gd name="T6" fmla="*/ 17 w 20"/>
                <a:gd name="T7" fmla="*/ 3 h 16"/>
                <a:gd name="T8" fmla="*/ 20 w 20"/>
                <a:gd name="T9" fmla="*/ 15 h 16"/>
                <a:gd name="T10" fmla="*/ 20 w 20"/>
                <a:gd name="T11" fmla="*/ 16 h 16"/>
                <a:gd name="T12" fmla="*/ 11 w 20"/>
                <a:gd name="T13" fmla="*/ 16 h 16"/>
                <a:gd name="T14" fmla="*/ 11 w 20"/>
                <a:gd name="T15" fmla="*/ 15 h 16"/>
                <a:gd name="T16" fmla="*/ 0 w 20"/>
                <a:gd name="T17" fmla="*/ 3 h 16"/>
                <a:gd name="T18" fmla="*/ 0 w 20"/>
                <a:gd name="T19" fmla="*/ 1 h 16"/>
                <a:gd name="T20" fmla="*/ 2 w 20"/>
                <a:gd name="T21" fmla="*/ 1 h 16"/>
                <a:gd name="T22" fmla="*/ 5 w 20"/>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6">
                  <a:moveTo>
                    <a:pt x="5" y="0"/>
                  </a:moveTo>
                  <a:lnTo>
                    <a:pt x="6" y="0"/>
                  </a:lnTo>
                  <a:lnTo>
                    <a:pt x="11" y="3"/>
                  </a:lnTo>
                  <a:lnTo>
                    <a:pt x="17" y="3"/>
                  </a:lnTo>
                  <a:lnTo>
                    <a:pt x="20" y="15"/>
                  </a:lnTo>
                  <a:lnTo>
                    <a:pt x="20" y="16"/>
                  </a:lnTo>
                  <a:lnTo>
                    <a:pt x="11" y="16"/>
                  </a:lnTo>
                  <a:lnTo>
                    <a:pt x="11" y="15"/>
                  </a:lnTo>
                  <a:lnTo>
                    <a:pt x="0" y="3"/>
                  </a:lnTo>
                  <a:lnTo>
                    <a:pt x="0" y="1"/>
                  </a:lnTo>
                  <a:lnTo>
                    <a:pt x="2" y="1"/>
                  </a:lnTo>
                  <a:lnTo>
                    <a:pt x="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3" name="Azerbaijan - East">
              <a:extLst>
                <a:ext uri="{FF2B5EF4-FFF2-40B4-BE49-F238E27FC236}">
                  <a16:creationId xmlns:a16="http://schemas.microsoft.com/office/drawing/2014/main" id="{BBE2987B-8CD6-0AD4-A790-D393CFA007D8}"/>
                </a:ext>
              </a:extLst>
            </p:cNvPr>
            <p:cNvSpPr>
              <a:spLocks/>
            </p:cNvSpPr>
            <p:nvPr/>
          </p:nvSpPr>
          <p:spPr bwMode="auto">
            <a:xfrm>
              <a:off x="6888396" y="3495942"/>
              <a:ext cx="124688" cy="112038"/>
            </a:xfrm>
            <a:custGeom>
              <a:avLst/>
              <a:gdLst>
                <a:gd name="T0" fmla="*/ 19 w 69"/>
                <a:gd name="T1" fmla="*/ 0 h 62"/>
                <a:gd name="T2" fmla="*/ 29 w 69"/>
                <a:gd name="T3" fmla="*/ 6 h 62"/>
                <a:gd name="T4" fmla="*/ 31 w 69"/>
                <a:gd name="T5" fmla="*/ 12 h 62"/>
                <a:gd name="T6" fmla="*/ 38 w 69"/>
                <a:gd name="T7" fmla="*/ 12 h 62"/>
                <a:gd name="T8" fmla="*/ 44 w 69"/>
                <a:gd name="T9" fmla="*/ 3 h 62"/>
                <a:gd name="T10" fmla="*/ 46 w 69"/>
                <a:gd name="T11" fmla="*/ 3 h 62"/>
                <a:gd name="T12" fmla="*/ 52 w 69"/>
                <a:gd name="T13" fmla="*/ 9 h 62"/>
                <a:gd name="T14" fmla="*/ 61 w 69"/>
                <a:gd name="T15" fmla="*/ 24 h 62"/>
                <a:gd name="T16" fmla="*/ 68 w 69"/>
                <a:gd name="T17" fmla="*/ 25 h 62"/>
                <a:gd name="T18" fmla="*/ 69 w 69"/>
                <a:gd name="T19" fmla="*/ 30 h 62"/>
                <a:gd name="T20" fmla="*/ 69 w 69"/>
                <a:gd name="T21" fmla="*/ 31 h 62"/>
                <a:gd name="T22" fmla="*/ 64 w 69"/>
                <a:gd name="T23" fmla="*/ 30 h 62"/>
                <a:gd name="T24" fmla="*/ 61 w 69"/>
                <a:gd name="T25" fmla="*/ 33 h 62"/>
                <a:gd name="T26" fmla="*/ 56 w 69"/>
                <a:gd name="T27" fmla="*/ 52 h 62"/>
                <a:gd name="T28" fmla="*/ 55 w 69"/>
                <a:gd name="T29" fmla="*/ 52 h 62"/>
                <a:gd name="T30" fmla="*/ 52 w 69"/>
                <a:gd name="T31" fmla="*/ 51 h 62"/>
                <a:gd name="T32" fmla="*/ 52 w 69"/>
                <a:gd name="T33" fmla="*/ 61 h 62"/>
                <a:gd name="T34" fmla="*/ 50 w 69"/>
                <a:gd name="T35" fmla="*/ 61 h 62"/>
                <a:gd name="T36" fmla="*/ 50 w 69"/>
                <a:gd name="T37" fmla="*/ 62 h 62"/>
                <a:gd name="T38" fmla="*/ 38 w 69"/>
                <a:gd name="T39" fmla="*/ 55 h 62"/>
                <a:gd name="T40" fmla="*/ 43 w 69"/>
                <a:gd name="T41" fmla="*/ 52 h 62"/>
                <a:gd name="T42" fmla="*/ 40 w 69"/>
                <a:gd name="T43" fmla="*/ 43 h 62"/>
                <a:gd name="T44" fmla="*/ 37 w 69"/>
                <a:gd name="T45" fmla="*/ 43 h 62"/>
                <a:gd name="T46" fmla="*/ 28 w 69"/>
                <a:gd name="T47" fmla="*/ 46 h 62"/>
                <a:gd name="T48" fmla="*/ 22 w 69"/>
                <a:gd name="T49" fmla="*/ 55 h 62"/>
                <a:gd name="T50" fmla="*/ 21 w 69"/>
                <a:gd name="T51" fmla="*/ 55 h 62"/>
                <a:gd name="T52" fmla="*/ 18 w 69"/>
                <a:gd name="T53" fmla="*/ 49 h 62"/>
                <a:gd name="T54" fmla="*/ 18 w 69"/>
                <a:gd name="T55" fmla="*/ 48 h 62"/>
                <a:gd name="T56" fmla="*/ 19 w 69"/>
                <a:gd name="T57" fmla="*/ 48 h 62"/>
                <a:gd name="T58" fmla="*/ 19 w 69"/>
                <a:gd name="T59" fmla="*/ 42 h 62"/>
                <a:gd name="T60" fmla="*/ 16 w 69"/>
                <a:gd name="T61" fmla="*/ 42 h 62"/>
                <a:gd name="T62" fmla="*/ 10 w 69"/>
                <a:gd name="T63" fmla="*/ 36 h 62"/>
                <a:gd name="T64" fmla="*/ 12 w 69"/>
                <a:gd name="T65" fmla="*/ 30 h 62"/>
                <a:gd name="T66" fmla="*/ 6 w 69"/>
                <a:gd name="T67" fmla="*/ 25 h 62"/>
                <a:gd name="T68" fmla="*/ 7 w 69"/>
                <a:gd name="T69" fmla="*/ 18 h 62"/>
                <a:gd name="T70" fmla="*/ 3 w 69"/>
                <a:gd name="T71" fmla="*/ 18 h 62"/>
                <a:gd name="T72" fmla="*/ 3 w 69"/>
                <a:gd name="T73" fmla="*/ 16 h 62"/>
                <a:gd name="T74" fmla="*/ 0 w 69"/>
                <a:gd name="T75" fmla="*/ 12 h 62"/>
                <a:gd name="T76" fmla="*/ 4 w 69"/>
                <a:gd name="T77" fmla="*/ 9 h 62"/>
                <a:gd name="T78" fmla="*/ 6 w 69"/>
                <a:gd name="T79" fmla="*/ 9 h 62"/>
                <a:gd name="T80" fmla="*/ 21 w 69"/>
                <a:gd name="T81" fmla="*/ 13 h 62"/>
                <a:gd name="T82" fmla="*/ 21 w 69"/>
                <a:gd name="T83" fmla="*/ 12 h 62"/>
                <a:gd name="T84" fmla="*/ 16 w 69"/>
                <a:gd name="T85" fmla="*/ 6 h 62"/>
                <a:gd name="T86" fmla="*/ 19 w 69"/>
                <a:gd name="T87" fmla="*/ 2 h 62"/>
                <a:gd name="T88" fmla="*/ 19 w 69"/>
                <a:gd name="T8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62">
                  <a:moveTo>
                    <a:pt x="19" y="0"/>
                  </a:moveTo>
                  <a:lnTo>
                    <a:pt x="29" y="6"/>
                  </a:lnTo>
                  <a:lnTo>
                    <a:pt x="31" y="12"/>
                  </a:lnTo>
                  <a:lnTo>
                    <a:pt x="38" y="12"/>
                  </a:lnTo>
                  <a:lnTo>
                    <a:pt x="44" y="3"/>
                  </a:lnTo>
                  <a:lnTo>
                    <a:pt x="46" y="3"/>
                  </a:lnTo>
                  <a:lnTo>
                    <a:pt x="52" y="9"/>
                  </a:lnTo>
                  <a:lnTo>
                    <a:pt x="61" y="24"/>
                  </a:lnTo>
                  <a:lnTo>
                    <a:pt x="68" y="25"/>
                  </a:lnTo>
                  <a:lnTo>
                    <a:pt x="69" y="30"/>
                  </a:lnTo>
                  <a:lnTo>
                    <a:pt x="69" y="31"/>
                  </a:lnTo>
                  <a:lnTo>
                    <a:pt x="64" y="30"/>
                  </a:lnTo>
                  <a:lnTo>
                    <a:pt x="61" y="33"/>
                  </a:lnTo>
                  <a:lnTo>
                    <a:pt x="56" y="52"/>
                  </a:lnTo>
                  <a:lnTo>
                    <a:pt x="55" y="52"/>
                  </a:lnTo>
                  <a:lnTo>
                    <a:pt x="52" y="51"/>
                  </a:lnTo>
                  <a:lnTo>
                    <a:pt x="52" y="61"/>
                  </a:lnTo>
                  <a:lnTo>
                    <a:pt x="50" y="61"/>
                  </a:lnTo>
                  <a:lnTo>
                    <a:pt x="50" y="62"/>
                  </a:lnTo>
                  <a:lnTo>
                    <a:pt x="38" y="55"/>
                  </a:lnTo>
                  <a:lnTo>
                    <a:pt x="43" y="52"/>
                  </a:lnTo>
                  <a:lnTo>
                    <a:pt x="40" y="43"/>
                  </a:lnTo>
                  <a:lnTo>
                    <a:pt x="37" y="43"/>
                  </a:lnTo>
                  <a:lnTo>
                    <a:pt x="28" y="46"/>
                  </a:lnTo>
                  <a:lnTo>
                    <a:pt x="22" y="55"/>
                  </a:lnTo>
                  <a:lnTo>
                    <a:pt x="21" y="55"/>
                  </a:lnTo>
                  <a:lnTo>
                    <a:pt x="18" y="49"/>
                  </a:lnTo>
                  <a:lnTo>
                    <a:pt x="18" y="48"/>
                  </a:lnTo>
                  <a:lnTo>
                    <a:pt x="19" y="48"/>
                  </a:lnTo>
                  <a:lnTo>
                    <a:pt x="19" y="42"/>
                  </a:lnTo>
                  <a:lnTo>
                    <a:pt x="16" y="42"/>
                  </a:lnTo>
                  <a:lnTo>
                    <a:pt x="10" y="36"/>
                  </a:lnTo>
                  <a:lnTo>
                    <a:pt x="12" y="30"/>
                  </a:lnTo>
                  <a:lnTo>
                    <a:pt x="6" y="25"/>
                  </a:lnTo>
                  <a:lnTo>
                    <a:pt x="7" y="18"/>
                  </a:lnTo>
                  <a:lnTo>
                    <a:pt x="3" y="18"/>
                  </a:lnTo>
                  <a:lnTo>
                    <a:pt x="3" y="16"/>
                  </a:lnTo>
                  <a:lnTo>
                    <a:pt x="0" y="12"/>
                  </a:lnTo>
                  <a:lnTo>
                    <a:pt x="4" y="9"/>
                  </a:lnTo>
                  <a:lnTo>
                    <a:pt x="6" y="9"/>
                  </a:lnTo>
                  <a:lnTo>
                    <a:pt x="21" y="13"/>
                  </a:lnTo>
                  <a:lnTo>
                    <a:pt x="21" y="12"/>
                  </a:lnTo>
                  <a:lnTo>
                    <a:pt x="16" y="6"/>
                  </a:lnTo>
                  <a:lnTo>
                    <a:pt x="19" y="2"/>
                  </a:lnTo>
                  <a:lnTo>
                    <a:pt x="1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4" name="Denmark">
              <a:extLst>
                <a:ext uri="{FF2B5EF4-FFF2-40B4-BE49-F238E27FC236}">
                  <a16:creationId xmlns:a16="http://schemas.microsoft.com/office/drawing/2014/main" id="{320ADDD8-3E47-02B7-83D8-2AE2C1D21942}"/>
                </a:ext>
              </a:extLst>
            </p:cNvPr>
            <p:cNvSpPr>
              <a:spLocks/>
            </p:cNvSpPr>
            <p:nvPr/>
          </p:nvSpPr>
          <p:spPr bwMode="auto">
            <a:xfrm>
              <a:off x="6015586" y="2914068"/>
              <a:ext cx="112038" cy="137336"/>
            </a:xfrm>
            <a:custGeom>
              <a:avLst/>
              <a:gdLst/>
              <a:ahLst/>
              <a:cxnLst/>
              <a:rect l="l" t="t" r="r" b="b"/>
              <a:pathLst>
                <a:path w="112931" h="138431">
                  <a:moveTo>
                    <a:pt x="78324" y="120216"/>
                  </a:moveTo>
                  <a:lnTo>
                    <a:pt x="87431" y="122038"/>
                  </a:lnTo>
                  <a:lnTo>
                    <a:pt x="87431" y="125681"/>
                  </a:lnTo>
                  <a:lnTo>
                    <a:pt x="91074" y="132967"/>
                  </a:lnTo>
                  <a:lnTo>
                    <a:pt x="91074" y="136610"/>
                  </a:lnTo>
                  <a:lnTo>
                    <a:pt x="72859" y="131145"/>
                  </a:lnTo>
                  <a:lnTo>
                    <a:pt x="72859" y="122038"/>
                  </a:lnTo>
                  <a:close/>
                  <a:moveTo>
                    <a:pt x="61929" y="92894"/>
                  </a:moveTo>
                  <a:lnTo>
                    <a:pt x="63751" y="92894"/>
                  </a:lnTo>
                  <a:lnTo>
                    <a:pt x="69215" y="105645"/>
                  </a:lnTo>
                  <a:lnTo>
                    <a:pt x="69215" y="116574"/>
                  </a:lnTo>
                  <a:lnTo>
                    <a:pt x="69216" y="116574"/>
                  </a:lnTo>
                  <a:lnTo>
                    <a:pt x="67395" y="131147"/>
                  </a:lnTo>
                  <a:lnTo>
                    <a:pt x="67395" y="132968"/>
                  </a:lnTo>
                  <a:lnTo>
                    <a:pt x="63752" y="132968"/>
                  </a:lnTo>
                  <a:lnTo>
                    <a:pt x="63752" y="131147"/>
                  </a:lnTo>
                  <a:lnTo>
                    <a:pt x="61930" y="125682"/>
                  </a:lnTo>
                  <a:lnTo>
                    <a:pt x="67395" y="116574"/>
                  </a:lnTo>
                  <a:lnTo>
                    <a:pt x="61929" y="116574"/>
                  </a:lnTo>
                  <a:lnTo>
                    <a:pt x="56465" y="120217"/>
                  </a:lnTo>
                  <a:lnTo>
                    <a:pt x="47358" y="120217"/>
                  </a:lnTo>
                  <a:lnTo>
                    <a:pt x="47358" y="116574"/>
                  </a:lnTo>
                  <a:lnTo>
                    <a:pt x="40072" y="98359"/>
                  </a:lnTo>
                  <a:lnTo>
                    <a:pt x="41894" y="98359"/>
                  </a:lnTo>
                  <a:lnTo>
                    <a:pt x="47358" y="94716"/>
                  </a:lnTo>
                  <a:close/>
                  <a:moveTo>
                    <a:pt x="103824" y="71036"/>
                  </a:moveTo>
                  <a:lnTo>
                    <a:pt x="112931" y="89251"/>
                  </a:lnTo>
                  <a:lnTo>
                    <a:pt x="112931" y="92894"/>
                  </a:lnTo>
                  <a:lnTo>
                    <a:pt x="103824" y="98358"/>
                  </a:lnTo>
                  <a:lnTo>
                    <a:pt x="107467" y="109287"/>
                  </a:lnTo>
                  <a:lnTo>
                    <a:pt x="107467" y="111108"/>
                  </a:lnTo>
                  <a:lnTo>
                    <a:pt x="102002" y="111108"/>
                  </a:lnTo>
                  <a:lnTo>
                    <a:pt x="102002" y="120216"/>
                  </a:lnTo>
                  <a:lnTo>
                    <a:pt x="98360" y="122037"/>
                  </a:lnTo>
                  <a:lnTo>
                    <a:pt x="98355" y="122036"/>
                  </a:lnTo>
                  <a:lnTo>
                    <a:pt x="98360" y="122038"/>
                  </a:lnTo>
                  <a:lnTo>
                    <a:pt x="98360" y="125681"/>
                  </a:lnTo>
                  <a:lnTo>
                    <a:pt x="96539" y="136610"/>
                  </a:lnTo>
                  <a:lnTo>
                    <a:pt x="96539" y="138431"/>
                  </a:lnTo>
                  <a:lnTo>
                    <a:pt x="92896" y="138431"/>
                  </a:lnTo>
                  <a:lnTo>
                    <a:pt x="91074" y="122038"/>
                  </a:lnTo>
                  <a:lnTo>
                    <a:pt x="91074" y="120823"/>
                  </a:lnTo>
                  <a:lnTo>
                    <a:pt x="87431" y="120216"/>
                  </a:lnTo>
                  <a:lnTo>
                    <a:pt x="87431" y="114751"/>
                  </a:lnTo>
                  <a:lnTo>
                    <a:pt x="78324" y="111108"/>
                  </a:lnTo>
                  <a:lnTo>
                    <a:pt x="74681" y="94715"/>
                  </a:lnTo>
                  <a:lnTo>
                    <a:pt x="69216" y="89251"/>
                  </a:lnTo>
                  <a:lnTo>
                    <a:pt x="83788" y="81965"/>
                  </a:lnTo>
                  <a:lnTo>
                    <a:pt x="80145" y="78322"/>
                  </a:lnTo>
                  <a:lnTo>
                    <a:pt x="80145" y="76501"/>
                  </a:lnTo>
                  <a:lnTo>
                    <a:pt x="91074" y="76501"/>
                  </a:lnTo>
                  <a:lnTo>
                    <a:pt x="91074" y="83786"/>
                  </a:lnTo>
                  <a:lnTo>
                    <a:pt x="92895" y="81965"/>
                  </a:lnTo>
                  <a:lnTo>
                    <a:pt x="92895" y="76501"/>
                  </a:lnTo>
                  <a:close/>
                  <a:moveTo>
                    <a:pt x="56466" y="0"/>
                  </a:moveTo>
                  <a:lnTo>
                    <a:pt x="58287" y="0"/>
                  </a:lnTo>
                  <a:lnTo>
                    <a:pt x="58287" y="21858"/>
                  </a:lnTo>
                  <a:lnTo>
                    <a:pt x="51002" y="49180"/>
                  </a:lnTo>
                  <a:lnTo>
                    <a:pt x="56466" y="49180"/>
                  </a:lnTo>
                  <a:lnTo>
                    <a:pt x="52823" y="58287"/>
                  </a:lnTo>
                  <a:lnTo>
                    <a:pt x="58287" y="58287"/>
                  </a:lnTo>
                  <a:lnTo>
                    <a:pt x="61930" y="54644"/>
                  </a:lnTo>
                  <a:lnTo>
                    <a:pt x="67395" y="54644"/>
                  </a:lnTo>
                  <a:lnTo>
                    <a:pt x="67395" y="58287"/>
                  </a:lnTo>
                  <a:lnTo>
                    <a:pt x="69216" y="58287"/>
                  </a:lnTo>
                  <a:lnTo>
                    <a:pt x="69216" y="65573"/>
                  </a:lnTo>
                  <a:lnTo>
                    <a:pt x="67395" y="65573"/>
                  </a:lnTo>
                  <a:lnTo>
                    <a:pt x="58287" y="72859"/>
                  </a:lnTo>
                  <a:lnTo>
                    <a:pt x="56466" y="71038"/>
                  </a:lnTo>
                  <a:lnTo>
                    <a:pt x="56466" y="78324"/>
                  </a:lnTo>
                  <a:lnTo>
                    <a:pt x="52823" y="78324"/>
                  </a:lnTo>
                  <a:lnTo>
                    <a:pt x="45537" y="83788"/>
                  </a:lnTo>
                  <a:lnTo>
                    <a:pt x="45537" y="89253"/>
                  </a:lnTo>
                  <a:lnTo>
                    <a:pt x="40073" y="89253"/>
                  </a:lnTo>
                  <a:lnTo>
                    <a:pt x="40073" y="94717"/>
                  </a:lnTo>
                  <a:lnTo>
                    <a:pt x="34608" y="114753"/>
                  </a:lnTo>
                  <a:lnTo>
                    <a:pt x="40073" y="125682"/>
                  </a:lnTo>
                  <a:lnTo>
                    <a:pt x="14572" y="125682"/>
                  </a:lnTo>
                  <a:lnTo>
                    <a:pt x="14572" y="122039"/>
                  </a:lnTo>
                  <a:lnTo>
                    <a:pt x="12751" y="122039"/>
                  </a:lnTo>
                  <a:lnTo>
                    <a:pt x="12751" y="105646"/>
                  </a:lnTo>
                  <a:lnTo>
                    <a:pt x="1822" y="98360"/>
                  </a:lnTo>
                  <a:lnTo>
                    <a:pt x="0" y="94717"/>
                  </a:lnTo>
                  <a:lnTo>
                    <a:pt x="0" y="60109"/>
                  </a:lnTo>
                  <a:lnTo>
                    <a:pt x="5465" y="3825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5" name="Germany">
              <a:extLst>
                <a:ext uri="{FF2B5EF4-FFF2-40B4-BE49-F238E27FC236}">
                  <a16:creationId xmlns:a16="http://schemas.microsoft.com/office/drawing/2014/main" id="{82200C5A-7064-8726-9037-F7D781E5E1F6}"/>
                </a:ext>
              </a:extLst>
            </p:cNvPr>
            <p:cNvSpPr>
              <a:spLocks/>
            </p:cNvSpPr>
            <p:nvPr/>
          </p:nvSpPr>
          <p:spPr bwMode="auto">
            <a:xfrm>
              <a:off x="5966795" y="3035140"/>
              <a:ext cx="211427" cy="287324"/>
            </a:xfrm>
            <a:custGeom>
              <a:avLst/>
              <a:gdLst/>
              <a:ahLst/>
              <a:cxnLst/>
              <a:rect l="l" t="t" r="r" b="b"/>
              <a:pathLst>
                <a:path w="213112" h="289614">
                  <a:moveTo>
                    <a:pt x="61930" y="0"/>
                  </a:moveTo>
                  <a:lnTo>
                    <a:pt x="85609" y="0"/>
                  </a:lnTo>
                  <a:lnTo>
                    <a:pt x="91073" y="3643"/>
                  </a:lnTo>
                  <a:lnTo>
                    <a:pt x="94716" y="5464"/>
                  </a:lnTo>
                  <a:lnTo>
                    <a:pt x="94716" y="16393"/>
                  </a:lnTo>
                  <a:lnTo>
                    <a:pt x="96538" y="21858"/>
                  </a:lnTo>
                  <a:lnTo>
                    <a:pt x="122038" y="21858"/>
                  </a:lnTo>
                  <a:lnTo>
                    <a:pt x="122038" y="23679"/>
                  </a:lnTo>
                  <a:lnTo>
                    <a:pt x="112931" y="38251"/>
                  </a:lnTo>
                  <a:lnTo>
                    <a:pt x="129324" y="38251"/>
                  </a:lnTo>
                  <a:lnTo>
                    <a:pt x="156646" y="20036"/>
                  </a:lnTo>
                  <a:lnTo>
                    <a:pt x="158468" y="20036"/>
                  </a:lnTo>
                  <a:lnTo>
                    <a:pt x="156646" y="23679"/>
                  </a:lnTo>
                  <a:lnTo>
                    <a:pt x="163932" y="21858"/>
                  </a:lnTo>
                  <a:lnTo>
                    <a:pt x="167575" y="21858"/>
                  </a:lnTo>
                  <a:lnTo>
                    <a:pt x="167575" y="21858"/>
                  </a:lnTo>
                  <a:lnTo>
                    <a:pt x="169397" y="16394"/>
                  </a:lnTo>
                  <a:lnTo>
                    <a:pt x="169397" y="14572"/>
                  </a:lnTo>
                  <a:lnTo>
                    <a:pt x="169397" y="10929"/>
                  </a:lnTo>
                  <a:lnTo>
                    <a:pt x="180326" y="14572"/>
                  </a:lnTo>
                  <a:lnTo>
                    <a:pt x="183969" y="14572"/>
                  </a:lnTo>
                  <a:lnTo>
                    <a:pt x="183969" y="27323"/>
                  </a:lnTo>
                  <a:lnTo>
                    <a:pt x="180326" y="27323"/>
                  </a:lnTo>
                  <a:lnTo>
                    <a:pt x="169854" y="23832"/>
                  </a:lnTo>
                  <a:lnTo>
                    <a:pt x="194898" y="45537"/>
                  </a:lnTo>
                  <a:lnTo>
                    <a:pt x="200362" y="65573"/>
                  </a:lnTo>
                  <a:lnTo>
                    <a:pt x="196719" y="83788"/>
                  </a:lnTo>
                  <a:lnTo>
                    <a:pt x="202183" y="89252"/>
                  </a:lnTo>
                  <a:lnTo>
                    <a:pt x="207648" y="129325"/>
                  </a:lnTo>
                  <a:lnTo>
                    <a:pt x="213112" y="140253"/>
                  </a:lnTo>
                  <a:lnTo>
                    <a:pt x="207648" y="162111"/>
                  </a:lnTo>
                  <a:lnTo>
                    <a:pt x="196719" y="151182"/>
                  </a:lnTo>
                  <a:lnTo>
                    <a:pt x="196719" y="160290"/>
                  </a:lnTo>
                  <a:lnTo>
                    <a:pt x="194898" y="160290"/>
                  </a:lnTo>
                  <a:lnTo>
                    <a:pt x="151182" y="185790"/>
                  </a:lnTo>
                  <a:lnTo>
                    <a:pt x="147539" y="183969"/>
                  </a:lnTo>
                  <a:lnTo>
                    <a:pt x="158468" y="211291"/>
                  </a:lnTo>
                  <a:lnTo>
                    <a:pt x="189433" y="238613"/>
                  </a:lnTo>
                  <a:lnTo>
                    <a:pt x="167575" y="256828"/>
                  </a:lnTo>
                  <a:lnTo>
                    <a:pt x="169397" y="278685"/>
                  </a:lnTo>
                  <a:lnTo>
                    <a:pt x="167575" y="278685"/>
                  </a:lnTo>
                  <a:lnTo>
                    <a:pt x="163932" y="280507"/>
                  </a:lnTo>
                  <a:lnTo>
                    <a:pt x="162111" y="280507"/>
                  </a:lnTo>
                  <a:lnTo>
                    <a:pt x="151182" y="275042"/>
                  </a:lnTo>
                  <a:lnTo>
                    <a:pt x="123860" y="285971"/>
                  </a:lnTo>
                  <a:lnTo>
                    <a:pt x="111109" y="280507"/>
                  </a:lnTo>
                  <a:lnTo>
                    <a:pt x="105645" y="289614"/>
                  </a:lnTo>
                  <a:lnTo>
                    <a:pt x="102002" y="289614"/>
                  </a:lnTo>
                  <a:lnTo>
                    <a:pt x="91073" y="280507"/>
                  </a:lnTo>
                  <a:lnTo>
                    <a:pt x="83787" y="284150"/>
                  </a:lnTo>
                  <a:lnTo>
                    <a:pt x="67394" y="278685"/>
                  </a:lnTo>
                  <a:lnTo>
                    <a:pt x="38251" y="278685"/>
                  </a:lnTo>
                  <a:lnTo>
                    <a:pt x="38251" y="262292"/>
                  </a:lnTo>
                  <a:lnTo>
                    <a:pt x="49179" y="229506"/>
                  </a:lnTo>
                  <a:lnTo>
                    <a:pt x="18214" y="222220"/>
                  </a:lnTo>
                  <a:lnTo>
                    <a:pt x="5464" y="211291"/>
                  </a:lnTo>
                  <a:lnTo>
                    <a:pt x="5464" y="207648"/>
                  </a:lnTo>
                  <a:lnTo>
                    <a:pt x="7286" y="202183"/>
                  </a:lnTo>
                  <a:lnTo>
                    <a:pt x="1821" y="185790"/>
                  </a:lnTo>
                  <a:lnTo>
                    <a:pt x="5464" y="176683"/>
                  </a:lnTo>
                  <a:lnTo>
                    <a:pt x="0" y="165754"/>
                  </a:lnTo>
                  <a:lnTo>
                    <a:pt x="0" y="118396"/>
                  </a:lnTo>
                  <a:lnTo>
                    <a:pt x="12750" y="118396"/>
                  </a:lnTo>
                  <a:lnTo>
                    <a:pt x="23679" y="105645"/>
                  </a:lnTo>
                  <a:lnTo>
                    <a:pt x="16393" y="94717"/>
                  </a:lnTo>
                  <a:lnTo>
                    <a:pt x="12750" y="92895"/>
                  </a:lnTo>
                  <a:lnTo>
                    <a:pt x="16393" y="92895"/>
                  </a:lnTo>
                  <a:lnTo>
                    <a:pt x="21857" y="87431"/>
                  </a:lnTo>
                  <a:lnTo>
                    <a:pt x="27322" y="67395"/>
                  </a:lnTo>
                  <a:lnTo>
                    <a:pt x="34608" y="67395"/>
                  </a:lnTo>
                  <a:lnTo>
                    <a:pt x="27322" y="61930"/>
                  </a:lnTo>
                  <a:lnTo>
                    <a:pt x="27322" y="60109"/>
                  </a:lnTo>
                  <a:lnTo>
                    <a:pt x="29143" y="51001"/>
                  </a:lnTo>
                  <a:lnTo>
                    <a:pt x="32786" y="51001"/>
                  </a:lnTo>
                  <a:lnTo>
                    <a:pt x="43715" y="49180"/>
                  </a:lnTo>
                  <a:lnTo>
                    <a:pt x="51001" y="51001"/>
                  </a:lnTo>
                  <a:lnTo>
                    <a:pt x="54644" y="60109"/>
                  </a:lnTo>
                  <a:lnTo>
                    <a:pt x="58287" y="56466"/>
                  </a:lnTo>
                  <a:lnTo>
                    <a:pt x="61930" y="56466"/>
                  </a:lnTo>
                  <a:lnTo>
                    <a:pt x="61930" y="45537"/>
                  </a:lnTo>
                  <a:lnTo>
                    <a:pt x="72859" y="43715"/>
                  </a:lnTo>
                  <a:lnTo>
                    <a:pt x="61930" y="23679"/>
                  </a:lnTo>
                  <a:lnTo>
                    <a:pt x="63751" y="23679"/>
                  </a:lnTo>
                  <a:lnTo>
                    <a:pt x="69216" y="16393"/>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6" name="Netherlands">
              <a:extLst>
                <a:ext uri="{FF2B5EF4-FFF2-40B4-BE49-F238E27FC236}">
                  <a16:creationId xmlns:a16="http://schemas.microsoft.com/office/drawing/2014/main" id="{47879770-9F26-3023-3D73-1129E7163BA7}"/>
                </a:ext>
              </a:extLst>
            </p:cNvPr>
            <p:cNvSpPr>
              <a:spLocks/>
            </p:cNvSpPr>
            <p:nvPr/>
          </p:nvSpPr>
          <p:spPr bwMode="auto">
            <a:xfrm>
              <a:off x="5907161" y="3094774"/>
              <a:ext cx="86739" cy="106617"/>
            </a:xfrm>
            <a:custGeom>
              <a:avLst/>
              <a:gdLst/>
              <a:ahLst/>
              <a:cxnLst/>
              <a:rect l="l" t="t" r="r" b="b"/>
              <a:pathLst>
                <a:path w="87430" h="107467">
                  <a:moveTo>
                    <a:pt x="38252" y="7286"/>
                  </a:moveTo>
                  <a:lnTo>
                    <a:pt x="43716" y="7286"/>
                  </a:lnTo>
                  <a:lnTo>
                    <a:pt x="43716" y="10929"/>
                  </a:lnTo>
                  <a:lnTo>
                    <a:pt x="32787" y="21858"/>
                  </a:lnTo>
                  <a:lnTo>
                    <a:pt x="30965" y="21858"/>
                  </a:lnTo>
                  <a:lnTo>
                    <a:pt x="38252" y="10929"/>
                  </a:lnTo>
                  <a:close/>
                  <a:moveTo>
                    <a:pt x="78323" y="0"/>
                  </a:moveTo>
                  <a:lnTo>
                    <a:pt x="87430" y="7286"/>
                  </a:lnTo>
                  <a:lnTo>
                    <a:pt x="87430" y="10929"/>
                  </a:lnTo>
                  <a:lnTo>
                    <a:pt x="83787" y="29144"/>
                  </a:lnTo>
                  <a:lnTo>
                    <a:pt x="78323" y="34608"/>
                  </a:lnTo>
                  <a:lnTo>
                    <a:pt x="87430" y="45537"/>
                  </a:lnTo>
                  <a:lnTo>
                    <a:pt x="76501" y="61930"/>
                  </a:lnTo>
                  <a:lnTo>
                    <a:pt x="61930" y="61930"/>
                  </a:lnTo>
                  <a:lnTo>
                    <a:pt x="61930" y="107467"/>
                  </a:lnTo>
                  <a:lnTo>
                    <a:pt x="60108" y="107467"/>
                  </a:lnTo>
                  <a:lnTo>
                    <a:pt x="54644" y="102003"/>
                  </a:lnTo>
                  <a:lnTo>
                    <a:pt x="51001" y="102003"/>
                  </a:lnTo>
                  <a:lnTo>
                    <a:pt x="51001" y="89252"/>
                  </a:lnTo>
                  <a:lnTo>
                    <a:pt x="38251" y="83788"/>
                  </a:lnTo>
                  <a:lnTo>
                    <a:pt x="32786" y="83788"/>
                  </a:lnTo>
                  <a:lnTo>
                    <a:pt x="27322" y="85609"/>
                  </a:lnTo>
                  <a:lnTo>
                    <a:pt x="21857" y="85609"/>
                  </a:lnTo>
                  <a:lnTo>
                    <a:pt x="16393" y="89252"/>
                  </a:lnTo>
                  <a:lnTo>
                    <a:pt x="10929" y="89252"/>
                  </a:lnTo>
                  <a:lnTo>
                    <a:pt x="0" y="83788"/>
                  </a:lnTo>
                  <a:lnTo>
                    <a:pt x="0" y="80145"/>
                  </a:lnTo>
                  <a:lnTo>
                    <a:pt x="16393" y="80145"/>
                  </a:lnTo>
                  <a:lnTo>
                    <a:pt x="14571" y="78324"/>
                  </a:lnTo>
                  <a:lnTo>
                    <a:pt x="10929" y="78324"/>
                  </a:lnTo>
                  <a:lnTo>
                    <a:pt x="10929" y="74681"/>
                  </a:lnTo>
                  <a:lnTo>
                    <a:pt x="14571" y="74681"/>
                  </a:lnTo>
                  <a:lnTo>
                    <a:pt x="30965" y="69216"/>
                  </a:lnTo>
                  <a:lnTo>
                    <a:pt x="21857" y="69216"/>
                  </a:lnTo>
                  <a:lnTo>
                    <a:pt x="20036" y="61930"/>
                  </a:lnTo>
                  <a:lnTo>
                    <a:pt x="16393" y="61930"/>
                  </a:lnTo>
                  <a:lnTo>
                    <a:pt x="20036" y="58287"/>
                  </a:lnTo>
                  <a:lnTo>
                    <a:pt x="38251" y="21858"/>
                  </a:lnTo>
                  <a:lnTo>
                    <a:pt x="41894" y="21858"/>
                  </a:lnTo>
                  <a:lnTo>
                    <a:pt x="43715" y="29144"/>
                  </a:lnTo>
                  <a:lnTo>
                    <a:pt x="41894" y="34608"/>
                  </a:lnTo>
                  <a:lnTo>
                    <a:pt x="41894" y="40073"/>
                  </a:lnTo>
                  <a:lnTo>
                    <a:pt x="45537" y="41894"/>
                  </a:lnTo>
                  <a:lnTo>
                    <a:pt x="45537" y="38251"/>
                  </a:lnTo>
                  <a:lnTo>
                    <a:pt x="49180" y="23679"/>
                  </a:lnTo>
                  <a:lnTo>
                    <a:pt x="45537" y="23679"/>
                  </a:lnTo>
                  <a:lnTo>
                    <a:pt x="45537" y="21858"/>
                  </a:lnTo>
                  <a:lnTo>
                    <a:pt x="49180" y="7286"/>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7" name="Norway Mainland">
              <a:extLst>
                <a:ext uri="{FF2B5EF4-FFF2-40B4-BE49-F238E27FC236}">
                  <a16:creationId xmlns:a16="http://schemas.microsoft.com/office/drawing/2014/main" id="{3C54319B-C4C1-D0AB-A53D-17EB3E07A014}"/>
                </a:ext>
              </a:extLst>
            </p:cNvPr>
            <p:cNvSpPr>
              <a:spLocks noEditPoints="1"/>
            </p:cNvSpPr>
            <p:nvPr/>
          </p:nvSpPr>
          <p:spPr bwMode="auto">
            <a:xfrm>
              <a:off x="5943304" y="2169558"/>
              <a:ext cx="614401" cy="731861"/>
            </a:xfrm>
            <a:custGeom>
              <a:avLst/>
              <a:gdLst>
                <a:gd name="T0" fmla="*/ 295 w 340"/>
                <a:gd name="T1" fmla="*/ 0 h 405"/>
                <a:gd name="T2" fmla="*/ 305 w 340"/>
                <a:gd name="T3" fmla="*/ 14 h 405"/>
                <a:gd name="T4" fmla="*/ 306 w 340"/>
                <a:gd name="T5" fmla="*/ 20 h 405"/>
                <a:gd name="T6" fmla="*/ 318 w 340"/>
                <a:gd name="T7" fmla="*/ 9 h 405"/>
                <a:gd name="T8" fmla="*/ 340 w 340"/>
                <a:gd name="T9" fmla="*/ 28 h 405"/>
                <a:gd name="T10" fmla="*/ 315 w 340"/>
                <a:gd name="T11" fmla="*/ 39 h 405"/>
                <a:gd name="T12" fmla="*/ 326 w 340"/>
                <a:gd name="T13" fmla="*/ 55 h 405"/>
                <a:gd name="T14" fmla="*/ 339 w 340"/>
                <a:gd name="T15" fmla="*/ 61 h 405"/>
                <a:gd name="T16" fmla="*/ 314 w 340"/>
                <a:gd name="T17" fmla="*/ 80 h 405"/>
                <a:gd name="T18" fmla="*/ 317 w 340"/>
                <a:gd name="T19" fmla="*/ 55 h 405"/>
                <a:gd name="T20" fmla="*/ 257 w 340"/>
                <a:gd name="T21" fmla="*/ 94 h 405"/>
                <a:gd name="T22" fmla="*/ 228 w 340"/>
                <a:gd name="T23" fmla="*/ 91 h 405"/>
                <a:gd name="T24" fmla="*/ 204 w 340"/>
                <a:gd name="T25" fmla="*/ 79 h 405"/>
                <a:gd name="T26" fmla="*/ 197 w 340"/>
                <a:gd name="T27" fmla="*/ 101 h 405"/>
                <a:gd name="T28" fmla="*/ 174 w 340"/>
                <a:gd name="T29" fmla="*/ 98 h 405"/>
                <a:gd name="T30" fmla="*/ 146 w 340"/>
                <a:gd name="T31" fmla="*/ 138 h 405"/>
                <a:gd name="T32" fmla="*/ 124 w 340"/>
                <a:gd name="T33" fmla="*/ 208 h 405"/>
                <a:gd name="T34" fmla="*/ 105 w 340"/>
                <a:gd name="T35" fmla="*/ 245 h 405"/>
                <a:gd name="T36" fmla="*/ 94 w 340"/>
                <a:gd name="T37" fmla="*/ 309 h 405"/>
                <a:gd name="T38" fmla="*/ 97 w 340"/>
                <a:gd name="T39" fmla="*/ 355 h 405"/>
                <a:gd name="T40" fmla="*/ 81 w 340"/>
                <a:gd name="T41" fmla="*/ 386 h 405"/>
                <a:gd name="T42" fmla="*/ 72 w 340"/>
                <a:gd name="T43" fmla="*/ 368 h 405"/>
                <a:gd name="T44" fmla="*/ 68 w 340"/>
                <a:gd name="T45" fmla="*/ 381 h 405"/>
                <a:gd name="T46" fmla="*/ 22 w 340"/>
                <a:gd name="T47" fmla="*/ 399 h 405"/>
                <a:gd name="T48" fmla="*/ 13 w 340"/>
                <a:gd name="T49" fmla="*/ 383 h 405"/>
                <a:gd name="T50" fmla="*/ 3 w 340"/>
                <a:gd name="T51" fmla="*/ 369 h 405"/>
                <a:gd name="T52" fmla="*/ 20 w 340"/>
                <a:gd name="T53" fmla="*/ 344 h 405"/>
                <a:gd name="T54" fmla="*/ 8 w 340"/>
                <a:gd name="T55" fmla="*/ 359 h 405"/>
                <a:gd name="T56" fmla="*/ 5 w 340"/>
                <a:gd name="T57" fmla="*/ 353 h 405"/>
                <a:gd name="T58" fmla="*/ 8 w 340"/>
                <a:gd name="T59" fmla="*/ 340 h 405"/>
                <a:gd name="T60" fmla="*/ 1 w 340"/>
                <a:gd name="T61" fmla="*/ 335 h 405"/>
                <a:gd name="T62" fmla="*/ 23 w 340"/>
                <a:gd name="T63" fmla="*/ 326 h 405"/>
                <a:gd name="T64" fmla="*/ 31 w 340"/>
                <a:gd name="T65" fmla="*/ 323 h 405"/>
                <a:gd name="T66" fmla="*/ 19 w 340"/>
                <a:gd name="T67" fmla="*/ 326 h 405"/>
                <a:gd name="T68" fmla="*/ 1 w 340"/>
                <a:gd name="T69" fmla="*/ 309 h 405"/>
                <a:gd name="T70" fmla="*/ 14 w 340"/>
                <a:gd name="T71" fmla="*/ 301 h 405"/>
                <a:gd name="T72" fmla="*/ 20 w 340"/>
                <a:gd name="T73" fmla="*/ 289 h 405"/>
                <a:gd name="T74" fmla="*/ 26 w 340"/>
                <a:gd name="T75" fmla="*/ 279 h 405"/>
                <a:gd name="T76" fmla="*/ 54 w 340"/>
                <a:gd name="T77" fmla="*/ 260 h 405"/>
                <a:gd name="T78" fmla="*/ 63 w 340"/>
                <a:gd name="T79" fmla="*/ 255 h 405"/>
                <a:gd name="T80" fmla="*/ 62 w 340"/>
                <a:gd name="T81" fmla="*/ 248 h 405"/>
                <a:gd name="T82" fmla="*/ 80 w 340"/>
                <a:gd name="T83" fmla="*/ 226 h 405"/>
                <a:gd name="T84" fmla="*/ 84 w 340"/>
                <a:gd name="T85" fmla="*/ 215 h 405"/>
                <a:gd name="T86" fmla="*/ 93 w 340"/>
                <a:gd name="T87" fmla="*/ 205 h 405"/>
                <a:gd name="T88" fmla="*/ 100 w 340"/>
                <a:gd name="T89" fmla="*/ 193 h 405"/>
                <a:gd name="T90" fmla="*/ 99 w 340"/>
                <a:gd name="T91" fmla="*/ 184 h 405"/>
                <a:gd name="T92" fmla="*/ 106 w 340"/>
                <a:gd name="T93" fmla="*/ 165 h 405"/>
                <a:gd name="T94" fmla="*/ 126 w 340"/>
                <a:gd name="T95" fmla="*/ 132 h 405"/>
                <a:gd name="T96" fmla="*/ 137 w 340"/>
                <a:gd name="T97" fmla="*/ 126 h 405"/>
                <a:gd name="T98" fmla="*/ 149 w 340"/>
                <a:gd name="T99" fmla="*/ 116 h 405"/>
                <a:gd name="T100" fmla="*/ 158 w 340"/>
                <a:gd name="T101" fmla="*/ 104 h 405"/>
                <a:gd name="T102" fmla="*/ 151 w 340"/>
                <a:gd name="T103" fmla="*/ 97 h 405"/>
                <a:gd name="T104" fmla="*/ 171 w 340"/>
                <a:gd name="T105" fmla="*/ 73 h 405"/>
                <a:gd name="T106" fmla="*/ 179 w 340"/>
                <a:gd name="T107" fmla="*/ 70 h 405"/>
                <a:gd name="T108" fmla="*/ 185 w 340"/>
                <a:gd name="T109" fmla="*/ 54 h 405"/>
                <a:gd name="T110" fmla="*/ 200 w 340"/>
                <a:gd name="T111" fmla="*/ 46 h 405"/>
                <a:gd name="T112" fmla="*/ 206 w 340"/>
                <a:gd name="T113" fmla="*/ 49 h 405"/>
                <a:gd name="T114" fmla="*/ 216 w 340"/>
                <a:gd name="T115" fmla="*/ 40 h 405"/>
                <a:gd name="T116" fmla="*/ 222 w 340"/>
                <a:gd name="T117" fmla="*/ 31 h 405"/>
                <a:gd name="T118" fmla="*/ 238 w 340"/>
                <a:gd name="T119" fmla="*/ 43 h 405"/>
                <a:gd name="T120" fmla="*/ 253 w 340"/>
                <a:gd name="T121" fmla="*/ 11 h 405"/>
                <a:gd name="T122" fmla="*/ 274 w 340"/>
                <a:gd name="T123" fmla="*/ 11 h 405"/>
                <a:gd name="T124" fmla="*/ 283 w 340"/>
                <a:gd name="T125" fmla="*/ 2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0" h="405">
                  <a:moveTo>
                    <a:pt x="105" y="183"/>
                  </a:moveTo>
                  <a:lnTo>
                    <a:pt x="103" y="184"/>
                  </a:lnTo>
                  <a:lnTo>
                    <a:pt x="106" y="186"/>
                  </a:lnTo>
                  <a:lnTo>
                    <a:pt x="105" y="183"/>
                  </a:lnTo>
                  <a:close/>
                  <a:moveTo>
                    <a:pt x="295" y="0"/>
                  </a:moveTo>
                  <a:lnTo>
                    <a:pt x="296" y="0"/>
                  </a:lnTo>
                  <a:lnTo>
                    <a:pt x="306" y="6"/>
                  </a:lnTo>
                  <a:lnTo>
                    <a:pt x="308" y="6"/>
                  </a:lnTo>
                  <a:lnTo>
                    <a:pt x="306" y="14"/>
                  </a:lnTo>
                  <a:lnTo>
                    <a:pt x="305" y="14"/>
                  </a:lnTo>
                  <a:lnTo>
                    <a:pt x="300" y="15"/>
                  </a:lnTo>
                  <a:lnTo>
                    <a:pt x="302" y="17"/>
                  </a:lnTo>
                  <a:lnTo>
                    <a:pt x="302" y="18"/>
                  </a:lnTo>
                  <a:lnTo>
                    <a:pt x="300" y="20"/>
                  </a:lnTo>
                  <a:lnTo>
                    <a:pt x="306" y="20"/>
                  </a:lnTo>
                  <a:lnTo>
                    <a:pt x="302" y="25"/>
                  </a:lnTo>
                  <a:lnTo>
                    <a:pt x="308" y="25"/>
                  </a:lnTo>
                  <a:lnTo>
                    <a:pt x="308" y="14"/>
                  </a:lnTo>
                  <a:lnTo>
                    <a:pt x="317" y="9"/>
                  </a:lnTo>
                  <a:lnTo>
                    <a:pt x="318" y="9"/>
                  </a:lnTo>
                  <a:lnTo>
                    <a:pt x="318" y="17"/>
                  </a:lnTo>
                  <a:lnTo>
                    <a:pt x="326" y="15"/>
                  </a:lnTo>
                  <a:lnTo>
                    <a:pt x="327" y="15"/>
                  </a:lnTo>
                  <a:lnTo>
                    <a:pt x="340" y="27"/>
                  </a:lnTo>
                  <a:lnTo>
                    <a:pt x="340" y="28"/>
                  </a:lnTo>
                  <a:lnTo>
                    <a:pt x="329" y="42"/>
                  </a:lnTo>
                  <a:lnTo>
                    <a:pt x="324" y="42"/>
                  </a:lnTo>
                  <a:lnTo>
                    <a:pt x="321" y="40"/>
                  </a:lnTo>
                  <a:lnTo>
                    <a:pt x="318" y="40"/>
                  </a:lnTo>
                  <a:lnTo>
                    <a:pt x="315" y="39"/>
                  </a:lnTo>
                  <a:lnTo>
                    <a:pt x="312" y="39"/>
                  </a:lnTo>
                  <a:lnTo>
                    <a:pt x="326" y="48"/>
                  </a:lnTo>
                  <a:lnTo>
                    <a:pt x="326" y="49"/>
                  </a:lnTo>
                  <a:lnTo>
                    <a:pt x="323" y="55"/>
                  </a:lnTo>
                  <a:lnTo>
                    <a:pt x="326" y="55"/>
                  </a:lnTo>
                  <a:lnTo>
                    <a:pt x="329" y="54"/>
                  </a:lnTo>
                  <a:lnTo>
                    <a:pt x="332" y="54"/>
                  </a:lnTo>
                  <a:lnTo>
                    <a:pt x="335" y="52"/>
                  </a:lnTo>
                  <a:lnTo>
                    <a:pt x="339" y="52"/>
                  </a:lnTo>
                  <a:lnTo>
                    <a:pt x="339" y="61"/>
                  </a:lnTo>
                  <a:lnTo>
                    <a:pt x="337" y="61"/>
                  </a:lnTo>
                  <a:lnTo>
                    <a:pt x="330" y="60"/>
                  </a:lnTo>
                  <a:lnTo>
                    <a:pt x="329" y="66"/>
                  </a:lnTo>
                  <a:lnTo>
                    <a:pt x="315" y="80"/>
                  </a:lnTo>
                  <a:lnTo>
                    <a:pt x="314" y="80"/>
                  </a:lnTo>
                  <a:lnTo>
                    <a:pt x="314" y="79"/>
                  </a:lnTo>
                  <a:lnTo>
                    <a:pt x="312" y="74"/>
                  </a:lnTo>
                  <a:lnTo>
                    <a:pt x="312" y="73"/>
                  </a:lnTo>
                  <a:lnTo>
                    <a:pt x="318" y="66"/>
                  </a:lnTo>
                  <a:lnTo>
                    <a:pt x="317" y="55"/>
                  </a:lnTo>
                  <a:lnTo>
                    <a:pt x="302" y="42"/>
                  </a:lnTo>
                  <a:lnTo>
                    <a:pt x="275" y="52"/>
                  </a:lnTo>
                  <a:lnTo>
                    <a:pt x="274" y="60"/>
                  </a:lnTo>
                  <a:lnTo>
                    <a:pt x="272" y="82"/>
                  </a:lnTo>
                  <a:lnTo>
                    <a:pt x="257" y="94"/>
                  </a:lnTo>
                  <a:lnTo>
                    <a:pt x="249" y="86"/>
                  </a:lnTo>
                  <a:lnTo>
                    <a:pt x="243" y="94"/>
                  </a:lnTo>
                  <a:lnTo>
                    <a:pt x="241" y="94"/>
                  </a:lnTo>
                  <a:lnTo>
                    <a:pt x="229" y="91"/>
                  </a:lnTo>
                  <a:lnTo>
                    <a:pt x="228" y="91"/>
                  </a:lnTo>
                  <a:lnTo>
                    <a:pt x="213" y="70"/>
                  </a:lnTo>
                  <a:lnTo>
                    <a:pt x="210" y="71"/>
                  </a:lnTo>
                  <a:lnTo>
                    <a:pt x="211" y="74"/>
                  </a:lnTo>
                  <a:lnTo>
                    <a:pt x="211" y="76"/>
                  </a:lnTo>
                  <a:lnTo>
                    <a:pt x="204" y="79"/>
                  </a:lnTo>
                  <a:lnTo>
                    <a:pt x="198" y="80"/>
                  </a:lnTo>
                  <a:lnTo>
                    <a:pt x="200" y="85"/>
                  </a:lnTo>
                  <a:lnTo>
                    <a:pt x="197" y="94"/>
                  </a:lnTo>
                  <a:lnTo>
                    <a:pt x="200" y="100"/>
                  </a:lnTo>
                  <a:lnTo>
                    <a:pt x="197" y="101"/>
                  </a:lnTo>
                  <a:lnTo>
                    <a:pt x="194" y="101"/>
                  </a:lnTo>
                  <a:lnTo>
                    <a:pt x="189" y="100"/>
                  </a:lnTo>
                  <a:lnTo>
                    <a:pt x="182" y="100"/>
                  </a:lnTo>
                  <a:lnTo>
                    <a:pt x="177" y="98"/>
                  </a:lnTo>
                  <a:lnTo>
                    <a:pt x="174" y="98"/>
                  </a:lnTo>
                  <a:lnTo>
                    <a:pt x="170" y="117"/>
                  </a:lnTo>
                  <a:lnTo>
                    <a:pt x="169" y="119"/>
                  </a:lnTo>
                  <a:lnTo>
                    <a:pt x="163" y="114"/>
                  </a:lnTo>
                  <a:lnTo>
                    <a:pt x="154" y="122"/>
                  </a:lnTo>
                  <a:lnTo>
                    <a:pt x="146" y="138"/>
                  </a:lnTo>
                  <a:lnTo>
                    <a:pt x="149" y="149"/>
                  </a:lnTo>
                  <a:lnTo>
                    <a:pt x="137" y="166"/>
                  </a:lnTo>
                  <a:lnTo>
                    <a:pt x="134" y="177"/>
                  </a:lnTo>
                  <a:lnTo>
                    <a:pt x="127" y="181"/>
                  </a:lnTo>
                  <a:lnTo>
                    <a:pt x="124" y="208"/>
                  </a:lnTo>
                  <a:lnTo>
                    <a:pt x="115" y="224"/>
                  </a:lnTo>
                  <a:lnTo>
                    <a:pt x="121" y="233"/>
                  </a:lnTo>
                  <a:lnTo>
                    <a:pt x="121" y="240"/>
                  </a:lnTo>
                  <a:lnTo>
                    <a:pt x="120" y="242"/>
                  </a:lnTo>
                  <a:lnTo>
                    <a:pt x="105" y="245"/>
                  </a:lnTo>
                  <a:lnTo>
                    <a:pt x="94" y="254"/>
                  </a:lnTo>
                  <a:lnTo>
                    <a:pt x="93" y="263"/>
                  </a:lnTo>
                  <a:lnTo>
                    <a:pt x="96" y="272"/>
                  </a:lnTo>
                  <a:lnTo>
                    <a:pt x="93" y="286"/>
                  </a:lnTo>
                  <a:lnTo>
                    <a:pt x="94" y="309"/>
                  </a:lnTo>
                  <a:lnTo>
                    <a:pt x="102" y="321"/>
                  </a:lnTo>
                  <a:lnTo>
                    <a:pt x="94" y="331"/>
                  </a:lnTo>
                  <a:lnTo>
                    <a:pt x="99" y="341"/>
                  </a:lnTo>
                  <a:lnTo>
                    <a:pt x="97" y="353"/>
                  </a:lnTo>
                  <a:lnTo>
                    <a:pt x="97" y="355"/>
                  </a:lnTo>
                  <a:lnTo>
                    <a:pt x="90" y="359"/>
                  </a:lnTo>
                  <a:lnTo>
                    <a:pt x="87" y="368"/>
                  </a:lnTo>
                  <a:lnTo>
                    <a:pt x="88" y="374"/>
                  </a:lnTo>
                  <a:lnTo>
                    <a:pt x="86" y="384"/>
                  </a:lnTo>
                  <a:lnTo>
                    <a:pt x="81" y="386"/>
                  </a:lnTo>
                  <a:lnTo>
                    <a:pt x="80" y="380"/>
                  </a:lnTo>
                  <a:lnTo>
                    <a:pt x="74" y="377"/>
                  </a:lnTo>
                  <a:lnTo>
                    <a:pt x="74" y="375"/>
                  </a:lnTo>
                  <a:lnTo>
                    <a:pt x="72" y="359"/>
                  </a:lnTo>
                  <a:lnTo>
                    <a:pt x="72" y="368"/>
                  </a:lnTo>
                  <a:lnTo>
                    <a:pt x="69" y="366"/>
                  </a:lnTo>
                  <a:lnTo>
                    <a:pt x="72" y="374"/>
                  </a:lnTo>
                  <a:lnTo>
                    <a:pt x="72" y="375"/>
                  </a:lnTo>
                  <a:lnTo>
                    <a:pt x="71" y="375"/>
                  </a:lnTo>
                  <a:lnTo>
                    <a:pt x="68" y="381"/>
                  </a:lnTo>
                  <a:lnTo>
                    <a:pt x="60" y="380"/>
                  </a:lnTo>
                  <a:lnTo>
                    <a:pt x="54" y="392"/>
                  </a:lnTo>
                  <a:lnTo>
                    <a:pt x="35" y="405"/>
                  </a:lnTo>
                  <a:lnTo>
                    <a:pt x="20" y="405"/>
                  </a:lnTo>
                  <a:lnTo>
                    <a:pt x="22" y="399"/>
                  </a:lnTo>
                  <a:lnTo>
                    <a:pt x="17" y="401"/>
                  </a:lnTo>
                  <a:lnTo>
                    <a:pt x="7" y="390"/>
                  </a:lnTo>
                  <a:lnTo>
                    <a:pt x="7" y="389"/>
                  </a:lnTo>
                  <a:lnTo>
                    <a:pt x="8" y="381"/>
                  </a:lnTo>
                  <a:lnTo>
                    <a:pt x="13" y="383"/>
                  </a:lnTo>
                  <a:lnTo>
                    <a:pt x="17" y="369"/>
                  </a:lnTo>
                  <a:lnTo>
                    <a:pt x="5" y="374"/>
                  </a:lnTo>
                  <a:lnTo>
                    <a:pt x="4" y="374"/>
                  </a:lnTo>
                  <a:lnTo>
                    <a:pt x="3" y="371"/>
                  </a:lnTo>
                  <a:lnTo>
                    <a:pt x="3" y="369"/>
                  </a:lnTo>
                  <a:lnTo>
                    <a:pt x="4" y="369"/>
                  </a:lnTo>
                  <a:lnTo>
                    <a:pt x="16" y="362"/>
                  </a:lnTo>
                  <a:lnTo>
                    <a:pt x="10" y="361"/>
                  </a:lnTo>
                  <a:lnTo>
                    <a:pt x="10" y="359"/>
                  </a:lnTo>
                  <a:lnTo>
                    <a:pt x="20" y="344"/>
                  </a:lnTo>
                  <a:lnTo>
                    <a:pt x="22" y="344"/>
                  </a:lnTo>
                  <a:lnTo>
                    <a:pt x="22" y="347"/>
                  </a:lnTo>
                  <a:lnTo>
                    <a:pt x="25" y="343"/>
                  </a:lnTo>
                  <a:lnTo>
                    <a:pt x="19" y="343"/>
                  </a:lnTo>
                  <a:lnTo>
                    <a:pt x="8" y="359"/>
                  </a:lnTo>
                  <a:lnTo>
                    <a:pt x="7" y="359"/>
                  </a:lnTo>
                  <a:lnTo>
                    <a:pt x="5" y="356"/>
                  </a:lnTo>
                  <a:lnTo>
                    <a:pt x="8" y="353"/>
                  </a:lnTo>
                  <a:lnTo>
                    <a:pt x="7" y="350"/>
                  </a:lnTo>
                  <a:lnTo>
                    <a:pt x="5" y="353"/>
                  </a:lnTo>
                  <a:lnTo>
                    <a:pt x="4" y="353"/>
                  </a:lnTo>
                  <a:lnTo>
                    <a:pt x="4" y="352"/>
                  </a:lnTo>
                  <a:lnTo>
                    <a:pt x="3" y="347"/>
                  </a:lnTo>
                  <a:lnTo>
                    <a:pt x="3" y="346"/>
                  </a:lnTo>
                  <a:lnTo>
                    <a:pt x="8" y="340"/>
                  </a:lnTo>
                  <a:lnTo>
                    <a:pt x="4" y="341"/>
                  </a:lnTo>
                  <a:lnTo>
                    <a:pt x="3" y="341"/>
                  </a:lnTo>
                  <a:lnTo>
                    <a:pt x="3" y="340"/>
                  </a:lnTo>
                  <a:lnTo>
                    <a:pt x="0" y="335"/>
                  </a:lnTo>
                  <a:lnTo>
                    <a:pt x="1" y="335"/>
                  </a:lnTo>
                  <a:lnTo>
                    <a:pt x="4" y="337"/>
                  </a:lnTo>
                  <a:lnTo>
                    <a:pt x="4" y="334"/>
                  </a:lnTo>
                  <a:lnTo>
                    <a:pt x="1" y="332"/>
                  </a:lnTo>
                  <a:lnTo>
                    <a:pt x="1" y="331"/>
                  </a:lnTo>
                  <a:lnTo>
                    <a:pt x="23" y="326"/>
                  </a:lnTo>
                  <a:lnTo>
                    <a:pt x="26" y="332"/>
                  </a:lnTo>
                  <a:lnTo>
                    <a:pt x="28" y="331"/>
                  </a:lnTo>
                  <a:lnTo>
                    <a:pt x="28" y="326"/>
                  </a:lnTo>
                  <a:lnTo>
                    <a:pt x="31" y="325"/>
                  </a:lnTo>
                  <a:lnTo>
                    <a:pt x="31" y="323"/>
                  </a:lnTo>
                  <a:lnTo>
                    <a:pt x="32" y="319"/>
                  </a:lnTo>
                  <a:lnTo>
                    <a:pt x="28" y="325"/>
                  </a:lnTo>
                  <a:lnTo>
                    <a:pt x="20" y="325"/>
                  </a:lnTo>
                  <a:lnTo>
                    <a:pt x="20" y="322"/>
                  </a:lnTo>
                  <a:lnTo>
                    <a:pt x="19" y="326"/>
                  </a:lnTo>
                  <a:lnTo>
                    <a:pt x="1" y="326"/>
                  </a:lnTo>
                  <a:lnTo>
                    <a:pt x="1" y="319"/>
                  </a:lnTo>
                  <a:lnTo>
                    <a:pt x="4" y="313"/>
                  </a:lnTo>
                  <a:lnTo>
                    <a:pt x="1" y="310"/>
                  </a:lnTo>
                  <a:lnTo>
                    <a:pt x="1" y="309"/>
                  </a:lnTo>
                  <a:lnTo>
                    <a:pt x="13" y="306"/>
                  </a:lnTo>
                  <a:lnTo>
                    <a:pt x="3" y="306"/>
                  </a:lnTo>
                  <a:lnTo>
                    <a:pt x="3" y="298"/>
                  </a:lnTo>
                  <a:lnTo>
                    <a:pt x="4" y="298"/>
                  </a:lnTo>
                  <a:lnTo>
                    <a:pt x="14" y="301"/>
                  </a:lnTo>
                  <a:lnTo>
                    <a:pt x="13" y="298"/>
                  </a:lnTo>
                  <a:lnTo>
                    <a:pt x="17" y="292"/>
                  </a:lnTo>
                  <a:lnTo>
                    <a:pt x="19" y="292"/>
                  </a:lnTo>
                  <a:lnTo>
                    <a:pt x="20" y="295"/>
                  </a:lnTo>
                  <a:lnTo>
                    <a:pt x="20" y="289"/>
                  </a:lnTo>
                  <a:lnTo>
                    <a:pt x="19" y="288"/>
                  </a:lnTo>
                  <a:lnTo>
                    <a:pt x="19" y="286"/>
                  </a:lnTo>
                  <a:lnTo>
                    <a:pt x="34" y="286"/>
                  </a:lnTo>
                  <a:lnTo>
                    <a:pt x="34" y="283"/>
                  </a:lnTo>
                  <a:lnTo>
                    <a:pt x="26" y="279"/>
                  </a:lnTo>
                  <a:lnTo>
                    <a:pt x="26" y="278"/>
                  </a:lnTo>
                  <a:lnTo>
                    <a:pt x="34" y="273"/>
                  </a:lnTo>
                  <a:lnTo>
                    <a:pt x="47" y="261"/>
                  </a:lnTo>
                  <a:lnTo>
                    <a:pt x="54" y="258"/>
                  </a:lnTo>
                  <a:lnTo>
                    <a:pt x="54" y="260"/>
                  </a:lnTo>
                  <a:lnTo>
                    <a:pt x="56" y="264"/>
                  </a:lnTo>
                  <a:lnTo>
                    <a:pt x="57" y="263"/>
                  </a:lnTo>
                  <a:lnTo>
                    <a:pt x="56" y="258"/>
                  </a:lnTo>
                  <a:lnTo>
                    <a:pt x="62" y="255"/>
                  </a:lnTo>
                  <a:lnTo>
                    <a:pt x="63" y="255"/>
                  </a:lnTo>
                  <a:lnTo>
                    <a:pt x="68" y="261"/>
                  </a:lnTo>
                  <a:lnTo>
                    <a:pt x="77" y="254"/>
                  </a:lnTo>
                  <a:lnTo>
                    <a:pt x="68" y="258"/>
                  </a:lnTo>
                  <a:lnTo>
                    <a:pt x="62" y="249"/>
                  </a:lnTo>
                  <a:lnTo>
                    <a:pt x="62" y="248"/>
                  </a:lnTo>
                  <a:lnTo>
                    <a:pt x="66" y="245"/>
                  </a:lnTo>
                  <a:lnTo>
                    <a:pt x="66" y="240"/>
                  </a:lnTo>
                  <a:lnTo>
                    <a:pt x="78" y="227"/>
                  </a:lnTo>
                  <a:lnTo>
                    <a:pt x="78" y="226"/>
                  </a:lnTo>
                  <a:lnTo>
                    <a:pt x="80" y="226"/>
                  </a:lnTo>
                  <a:lnTo>
                    <a:pt x="84" y="229"/>
                  </a:lnTo>
                  <a:lnTo>
                    <a:pt x="84" y="223"/>
                  </a:lnTo>
                  <a:lnTo>
                    <a:pt x="83" y="221"/>
                  </a:lnTo>
                  <a:lnTo>
                    <a:pt x="83" y="217"/>
                  </a:lnTo>
                  <a:lnTo>
                    <a:pt x="84" y="215"/>
                  </a:lnTo>
                  <a:lnTo>
                    <a:pt x="96" y="208"/>
                  </a:lnTo>
                  <a:lnTo>
                    <a:pt x="96" y="205"/>
                  </a:lnTo>
                  <a:lnTo>
                    <a:pt x="94" y="206"/>
                  </a:lnTo>
                  <a:lnTo>
                    <a:pt x="93" y="206"/>
                  </a:lnTo>
                  <a:lnTo>
                    <a:pt x="93" y="205"/>
                  </a:lnTo>
                  <a:lnTo>
                    <a:pt x="96" y="196"/>
                  </a:lnTo>
                  <a:lnTo>
                    <a:pt x="99" y="199"/>
                  </a:lnTo>
                  <a:lnTo>
                    <a:pt x="97" y="194"/>
                  </a:lnTo>
                  <a:lnTo>
                    <a:pt x="97" y="193"/>
                  </a:lnTo>
                  <a:lnTo>
                    <a:pt x="100" y="193"/>
                  </a:lnTo>
                  <a:lnTo>
                    <a:pt x="102" y="186"/>
                  </a:lnTo>
                  <a:lnTo>
                    <a:pt x="102" y="184"/>
                  </a:lnTo>
                  <a:lnTo>
                    <a:pt x="100" y="186"/>
                  </a:lnTo>
                  <a:lnTo>
                    <a:pt x="99" y="186"/>
                  </a:lnTo>
                  <a:lnTo>
                    <a:pt x="99" y="184"/>
                  </a:lnTo>
                  <a:lnTo>
                    <a:pt x="109" y="174"/>
                  </a:lnTo>
                  <a:lnTo>
                    <a:pt x="106" y="168"/>
                  </a:lnTo>
                  <a:lnTo>
                    <a:pt x="106" y="166"/>
                  </a:lnTo>
                  <a:lnTo>
                    <a:pt x="111" y="165"/>
                  </a:lnTo>
                  <a:lnTo>
                    <a:pt x="106" y="165"/>
                  </a:lnTo>
                  <a:lnTo>
                    <a:pt x="106" y="163"/>
                  </a:lnTo>
                  <a:lnTo>
                    <a:pt x="109" y="160"/>
                  </a:lnTo>
                  <a:lnTo>
                    <a:pt x="121" y="150"/>
                  </a:lnTo>
                  <a:lnTo>
                    <a:pt x="126" y="134"/>
                  </a:lnTo>
                  <a:lnTo>
                    <a:pt x="126" y="132"/>
                  </a:lnTo>
                  <a:lnTo>
                    <a:pt x="134" y="131"/>
                  </a:lnTo>
                  <a:lnTo>
                    <a:pt x="133" y="131"/>
                  </a:lnTo>
                  <a:lnTo>
                    <a:pt x="133" y="129"/>
                  </a:lnTo>
                  <a:lnTo>
                    <a:pt x="134" y="129"/>
                  </a:lnTo>
                  <a:lnTo>
                    <a:pt x="137" y="126"/>
                  </a:lnTo>
                  <a:lnTo>
                    <a:pt x="136" y="120"/>
                  </a:lnTo>
                  <a:lnTo>
                    <a:pt x="142" y="110"/>
                  </a:lnTo>
                  <a:lnTo>
                    <a:pt x="143" y="110"/>
                  </a:lnTo>
                  <a:lnTo>
                    <a:pt x="146" y="119"/>
                  </a:lnTo>
                  <a:lnTo>
                    <a:pt x="149" y="116"/>
                  </a:lnTo>
                  <a:lnTo>
                    <a:pt x="148" y="104"/>
                  </a:lnTo>
                  <a:lnTo>
                    <a:pt x="148" y="103"/>
                  </a:lnTo>
                  <a:lnTo>
                    <a:pt x="151" y="103"/>
                  </a:lnTo>
                  <a:lnTo>
                    <a:pt x="152" y="104"/>
                  </a:lnTo>
                  <a:lnTo>
                    <a:pt x="158" y="104"/>
                  </a:lnTo>
                  <a:lnTo>
                    <a:pt x="160" y="106"/>
                  </a:lnTo>
                  <a:lnTo>
                    <a:pt x="161" y="106"/>
                  </a:lnTo>
                  <a:lnTo>
                    <a:pt x="164" y="101"/>
                  </a:lnTo>
                  <a:lnTo>
                    <a:pt x="151" y="98"/>
                  </a:lnTo>
                  <a:lnTo>
                    <a:pt x="151" y="97"/>
                  </a:lnTo>
                  <a:lnTo>
                    <a:pt x="166" y="89"/>
                  </a:lnTo>
                  <a:lnTo>
                    <a:pt x="166" y="85"/>
                  </a:lnTo>
                  <a:lnTo>
                    <a:pt x="167" y="85"/>
                  </a:lnTo>
                  <a:lnTo>
                    <a:pt x="164" y="80"/>
                  </a:lnTo>
                  <a:lnTo>
                    <a:pt x="171" y="73"/>
                  </a:lnTo>
                  <a:lnTo>
                    <a:pt x="170" y="71"/>
                  </a:lnTo>
                  <a:lnTo>
                    <a:pt x="173" y="63"/>
                  </a:lnTo>
                  <a:lnTo>
                    <a:pt x="174" y="63"/>
                  </a:lnTo>
                  <a:lnTo>
                    <a:pt x="174" y="68"/>
                  </a:lnTo>
                  <a:lnTo>
                    <a:pt x="179" y="70"/>
                  </a:lnTo>
                  <a:lnTo>
                    <a:pt x="180" y="68"/>
                  </a:lnTo>
                  <a:lnTo>
                    <a:pt x="176" y="61"/>
                  </a:lnTo>
                  <a:lnTo>
                    <a:pt x="180" y="61"/>
                  </a:lnTo>
                  <a:lnTo>
                    <a:pt x="183" y="64"/>
                  </a:lnTo>
                  <a:lnTo>
                    <a:pt x="185" y="54"/>
                  </a:lnTo>
                  <a:lnTo>
                    <a:pt x="185" y="52"/>
                  </a:lnTo>
                  <a:lnTo>
                    <a:pt x="192" y="52"/>
                  </a:lnTo>
                  <a:lnTo>
                    <a:pt x="192" y="57"/>
                  </a:lnTo>
                  <a:lnTo>
                    <a:pt x="194" y="54"/>
                  </a:lnTo>
                  <a:lnTo>
                    <a:pt x="200" y="46"/>
                  </a:lnTo>
                  <a:lnTo>
                    <a:pt x="201" y="46"/>
                  </a:lnTo>
                  <a:lnTo>
                    <a:pt x="201" y="66"/>
                  </a:lnTo>
                  <a:lnTo>
                    <a:pt x="204" y="60"/>
                  </a:lnTo>
                  <a:lnTo>
                    <a:pt x="204" y="54"/>
                  </a:lnTo>
                  <a:lnTo>
                    <a:pt x="206" y="49"/>
                  </a:lnTo>
                  <a:lnTo>
                    <a:pt x="213" y="46"/>
                  </a:lnTo>
                  <a:lnTo>
                    <a:pt x="213" y="43"/>
                  </a:lnTo>
                  <a:lnTo>
                    <a:pt x="222" y="52"/>
                  </a:lnTo>
                  <a:lnTo>
                    <a:pt x="222" y="42"/>
                  </a:lnTo>
                  <a:lnTo>
                    <a:pt x="216" y="40"/>
                  </a:lnTo>
                  <a:lnTo>
                    <a:pt x="216" y="31"/>
                  </a:lnTo>
                  <a:lnTo>
                    <a:pt x="217" y="33"/>
                  </a:lnTo>
                  <a:lnTo>
                    <a:pt x="219" y="36"/>
                  </a:lnTo>
                  <a:lnTo>
                    <a:pt x="220" y="33"/>
                  </a:lnTo>
                  <a:lnTo>
                    <a:pt x="222" y="31"/>
                  </a:lnTo>
                  <a:lnTo>
                    <a:pt x="222" y="33"/>
                  </a:lnTo>
                  <a:lnTo>
                    <a:pt x="228" y="39"/>
                  </a:lnTo>
                  <a:lnTo>
                    <a:pt x="235" y="36"/>
                  </a:lnTo>
                  <a:lnTo>
                    <a:pt x="235" y="40"/>
                  </a:lnTo>
                  <a:lnTo>
                    <a:pt x="238" y="43"/>
                  </a:lnTo>
                  <a:lnTo>
                    <a:pt x="238" y="36"/>
                  </a:lnTo>
                  <a:lnTo>
                    <a:pt x="256" y="18"/>
                  </a:lnTo>
                  <a:lnTo>
                    <a:pt x="252" y="12"/>
                  </a:lnTo>
                  <a:lnTo>
                    <a:pt x="252" y="11"/>
                  </a:lnTo>
                  <a:lnTo>
                    <a:pt x="253" y="11"/>
                  </a:lnTo>
                  <a:lnTo>
                    <a:pt x="260" y="6"/>
                  </a:lnTo>
                  <a:lnTo>
                    <a:pt x="262" y="6"/>
                  </a:lnTo>
                  <a:lnTo>
                    <a:pt x="265" y="12"/>
                  </a:lnTo>
                  <a:lnTo>
                    <a:pt x="272" y="11"/>
                  </a:lnTo>
                  <a:lnTo>
                    <a:pt x="274" y="11"/>
                  </a:lnTo>
                  <a:lnTo>
                    <a:pt x="265" y="27"/>
                  </a:lnTo>
                  <a:lnTo>
                    <a:pt x="260" y="39"/>
                  </a:lnTo>
                  <a:lnTo>
                    <a:pt x="262" y="40"/>
                  </a:lnTo>
                  <a:lnTo>
                    <a:pt x="283" y="8"/>
                  </a:lnTo>
                  <a:lnTo>
                    <a:pt x="283" y="28"/>
                  </a:lnTo>
                  <a:lnTo>
                    <a:pt x="289" y="25"/>
                  </a:lnTo>
                  <a:lnTo>
                    <a:pt x="29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8" name="Norway Offshore">
              <a:extLst>
                <a:ext uri="{FF2B5EF4-FFF2-40B4-BE49-F238E27FC236}">
                  <a16:creationId xmlns:a16="http://schemas.microsoft.com/office/drawing/2014/main" id="{0D598EAB-C998-6AEF-2432-713B4ED6D825}"/>
                </a:ext>
              </a:extLst>
            </p:cNvPr>
            <p:cNvSpPr>
              <a:spLocks/>
            </p:cNvSpPr>
            <p:nvPr/>
          </p:nvSpPr>
          <p:spPr bwMode="auto">
            <a:xfrm>
              <a:off x="5961374" y="2169558"/>
              <a:ext cx="482486" cy="536698"/>
            </a:xfrm>
            <a:custGeom>
              <a:avLst/>
              <a:gdLst/>
              <a:ahLst/>
              <a:cxnLst/>
              <a:rect l="l" t="t" r="r" b="b"/>
              <a:pathLst>
                <a:path w="486332" h="540976">
                  <a:moveTo>
                    <a:pt x="7286" y="530047"/>
                  </a:moveTo>
                  <a:lnTo>
                    <a:pt x="7286" y="531869"/>
                  </a:lnTo>
                  <a:lnTo>
                    <a:pt x="5464" y="537333"/>
                  </a:lnTo>
                  <a:lnTo>
                    <a:pt x="5464" y="540976"/>
                  </a:lnTo>
                  <a:lnTo>
                    <a:pt x="1821" y="540976"/>
                  </a:lnTo>
                  <a:lnTo>
                    <a:pt x="1821" y="537333"/>
                  </a:lnTo>
                  <a:lnTo>
                    <a:pt x="0" y="531869"/>
                  </a:lnTo>
                  <a:lnTo>
                    <a:pt x="1821" y="531869"/>
                  </a:lnTo>
                  <a:close/>
                  <a:moveTo>
                    <a:pt x="234968" y="151181"/>
                  </a:moveTo>
                  <a:lnTo>
                    <a:pt x="236790" y="151181"/>
                  </a:lnTo>
                  <a:lnTo>
                    <a:pt x="242254" y="165753"/>
                  </a:lnTo>
                  <a:lnTo>
                    <a:pt x="242254" y="167574"/>
                  </a:lnTo>
                  <a:lnTo>
                    <a:pt x="247719" y="154824"/>
                  </a:lnTo>
                  <a:lnTo>
                    <a:pt x="251362" y="154824"/>
                  </a:lnTo>
                  <a:lnTo>
                    <a:pt x="258648" y="160289"/>
                  </a:lnTo>
                  <a:lnTo>
                    <a:pt x="258648" y="173039"/>
                  </a:lnTo>
                  <a:lnTo>
                    <a:pt x="236790" y="193075"/>
                  </a:lnTo>
                  <a:lnTo>
                    <a:pt x="236790" y="194897"/>
                  </a:lnTo>
                  <a:lnTo>
                    <a:pt x="234968" y="194897"/>
                  </a:lnTo>
                  <a:lnTo>
                    <a:pt x="234968" y="193075"/>
                  </a:lnTo>
                  <a:lnTo>
                    <a:pt x="231325" y="183968"/>
                  </a:lnTo>
                  <a:lnTo>
                    <a:pt x="205825" y="200361"/>
                  </a:lnTo>
                  <a:lnTo>
                    <a:pt x="202182" y="200361"/>
                  </a:lnTo>
                  <a:lnTo>
                    <a:pt x="205825" y="196718"/>
                  </a:lnTo>
                  <a:lnTo>
                    <a:pt x="225861" y="178503"/>
                  </a:lnTo>
                  <a:close/>
                  <a:moveTo>
                    <a:pt x="218576" y="145717"/>
                  </a:moveTo>
                  <a:lnTo>
                    <a:pt x="220397" y="145717"/>
                  </a:lnTo>
                  <a:lnTo>
                    <a:pt x="225862" y="167575"/>
                  </a:lnTo>
                  <a:lnTo>
                    <a:pt x="225862" y="171218"/>
                  </a:lnTo>
                  <a:lnTo>
                    <a:pt x="205825" y="171218"/>
                  </a:lnTo>
                  <a:lnTo>
                    <a:pt x="205825" y="167575"/>
                  </a:lnTo>
                  <a:lnTo>
                    <a:pt x="218576" y="156646"/>
                  </a:lnTo>
                  <a:close/>
                  <a:moveTo>
                    <a:pt x="247720" y="127503"/>
                  </a:moveTo>
                  <a:lnTo>
                    <a:pt x="251363" y="127503"/>
                  </a:lnTo>
                  <a:lnTo>
                    <a:pt x="251363" y="129325"/>
                  </a:lnTo>
                  <a:lnTo>
                    <a:pt x="242255" y="145718"/>
                  </a:lnTo>
                  <a:lnTo>
                    <a:pt x="242255" y="149361"/>
                  </a:lnTo>
                  <a:lnTo>
                    <a:pt x="240433" y="149361"/>
                  </a:lnTo>
                  <a:lnTo>
                    <a:pt x="234969" y="145718"/>
                  </a:lnTo>
                  <a:lnTo>
                    <a:pt x="231326" y="145718"/>
                  </a:lnTo>
                  <a:lnTo>
                    <a:pt x="231326" y="143897"/>
                  </a:lnTo>
                  <a:lnTo>
                    <a:pt x="236790" y="132968"/>
                  </a:lnTo>
                  <a:close/>
                  <a:moveTo>
                    <a:pt x="278683" y="109288"/>
                  </a:moveTo>
                  <a:lnTo>
                    <a:pt x="280505" y="109288"/>
                  </a:lnTo>
                  <a:lnTo>
                    <a:pt x="291433" y="122038"/>
                  </a:lnTo>
                  <a:lnTo>
                    <a:pt x="293255" y="122038"/>
                  </a:lnTo>
                  <a:lnTo>
                    <a:pt x="291433" y="134788"/>
                  </a:lnTo>
                  <a:lnTo>
                    <a:pt x="289612" y="134788"/>
                  </a:lnTo>
                  <a:lnTo>
                    <a:pt x="289612" y="138431"/>
                  </a:lnTo>
                  <a:lnTo>
                    <a:pt x="267755" y="145717"/>
                  </a:lnTo>
                  <a:lnTo>
                    <a:pt x="264112" y="145717"/>
                  </a:lnTo>
                  <a:lnTo>
                    <a:pt x="267755" y="134788"/>
                  </a:lnTo>
                  <a:lnTo>
                    <a:pt x="264112" y="132967"/>
                  </a:lnTo>
                  <a:lnTo>
                    <a:pt x="267755" y="122038"/>
                  </a:lnTo>
                  <a:close/>
                  <a:moveTo>
                    <a:pt x="309649" y="94716"/>
                  </a:moveTo>
                  <a:lnTo>
                    <a:pt x="315114" y="94716"/>
                  </a:lnTo>
                  <a:lnTo>
                    <a:pt x="315114" y="98359"/>
                  </a:lnTo>
                  <a:lnTo>
                    <a:pt x="302363" y="111110"/>
                  </a:lnTo>
                  <a:lnTo>
                    <a:pt x="293256" y="111110"/>
                  </a:lnTo>
                  <a:lnTo>
                    <a:pt x="293256" y="109289"/>
                  </a:lnTo>
                  <a:lnTo>
                    <a:pt x="296899" y="100181"/>
                  </a:lnTo>
                  <a:lnTo>
                    <a:pt x="296899" y="98359"/>
                  </a:lnTo>
                  <a:lnTo>
                    <a:pt x="302363" y="98359"/>
                  </a:lnTo>
                  <a:close/>
                  <a:moveTo>
                    <a:pt x="313293" y="76502"/>
                  </a:moveTo>
                  <a:lnTo>
                    <a:pt x="318757" y="76502"/>
                  </a:lnTo>
                  <a:lnTo>
                    <a:pt x="324222" y="78324"/>
                  </a:lnTo>
                  <a:lnTo>
                    <a:pt x="331508" y="78324"/>
                  </a:lnTo>
                  <a:lnTo>
                    <a:pt x="331508" y="81967"/>
                  </a:lnTo>
                  <a:lnTo>
                    <a:pt x="324222" y="92896"/>
                  </a:lnTo>
                  <a:lnTo>
                    <a:pt x="320579" y="94717"/>
                  </a:lnTo>
                  <a:lnTo>
                    <a:pt x="320579" y="92896"/>
                  </a:lnTo>
                  <a:close/>
                  <a:moveTo>
                    <a:pt x="357007" y="61930"/>
                  </a:moveTo>
                  <a:lnTo>
                    <a:pt x="358829" y="61930"/>
                  </a:lnTo>
                  <a:lnTo>
                    <a:pt x="358829" y="76502"/>
                  </a:lnTo>
                  <a:lnTo>
                    <a:pt x="357007" y="76502"/>
                  </a:lnTo>
                  <a:lnTo>
                    <a:pt x="351543" y="72859"/>
                  </a:lnTo>
                  <a:close/>
                  <a:moveTo>
                    <a:pt x="329685" y="61930"/>
                  </a:moveTo>
                  <a:lnTo>
                    <a:pt x="331506" y="61930"/>
                  </a:lnTo>
                  <a:lnTo>
                    <a:pt x="335149" y="67395"/>
                  </a:lnTo>
                  <a:lnTo>
                    <a:pt x="342436" y="72859"/>
                  </a:lnTo>
                  <a:lnTo>
                    <a:pt x="342436" y="76502"/>
                  </a:lnTo>
                  <a:lnTo>
                    <a:pt x="331506" y="76502"/>
                  </a:lnTo>
                  <a:lnTo>
                    <a:pt x="331506" y="72859"/>
                  </a:lnTo>
                  <a:close/>
                  <a:moveTo>
                    <a:pt x="397080" y="54644"/>
                  </a:moveTo>
                  <a:lnTo>
                    <a:pt x="408009" y="54644"/>
                  </a:lnTo>
                  <a:lnTo>
                    <a:pt x="409831" y="61930"/>
                  </a:lnTo>
                  <a:lnTo>
                    <a:pt x="404366" y="65573"/>
                  </a:lnTo>
                  <a:lnTo>
                    <a:pt x="397080" y="56466"/>
                  </a:lnTo>
                  <a:close/>
                  <a:moveTo>
                    <a:pt x="420759" y="38250"/>
                  </a:moveTo>
                  <a:lnTo>
                    <a:pt x="424402" y="38250"/>
                  </a:lnTo>
                  <a:lnTo>
                    <a:pt x="426224" y="45536"/>
                  </a:lnTo>
                  <a:lnTo>
                    <a:pt x="429867" y="45536"/>
                  </a:lnTo>
                  <a:lnTo>
                    <a:pt x="429867" y="49179"/>
                  </a:lnTo>
                  <a:lnTo>
                    <a:pt x="426224" y="49179"/>
                  </a:lnTo>
                  <a:lnTo>
                    <a:pt x="420759" y="56465"/>
                  </a:lnTo>
                  <a:lnTo>
                    <a:pt x="413473" y="60108"/>
                  </a:lnTo>
                  <a:lnTo>
                    <a:pt x="409830" y="60108"/>
                  </a:lnTo>
                  <a:lnTo>
                    <a:pt x="408009" y="49179"/>
                  </a:lnTo>
                  <a:lnTo>
                    <a:pt x="408009" y="45536"/>
                  </a:lnTo>
                  <a:lnTo>
                    <a:pt x="409830" y="45536"/>
                  </a:lnTo>
                  <a:close/>
                  <a:moveTo>
                    <a:pt x="393437" y="32786"/>
                  </a:moveTo>
                  <a:lnTo>
                    <a:pt x="404365" y="32786"/>
                  </a:lnTo>
                  <a:lnTo>
                    <a:pt x="409829" y="36429"/>
                  </a:lnTo>
                  <a:lnTo>
                    <a:pt x="415294" y="36429"/>
                  </a:lnTo>
                  <a:lnTo>
                    <a:pt x="393437" y="49180"/>
                  </a:lnTo>
                  <a:lnTo>
                    <a:pt x="386151" y="38251"/>
                  </a:lnTo>
                  <a:close/>
                  <a:moveTo>
                    <a:pt x="426223" y="30964"/>
                  </a:moveTo>
                  <a:lnTo>
                    <a:pt x="429866" y="30964"/>
                  </a:lnTo>
                  <a:lnTo>
                    <a:pt x="435330" y="32786"/>
                  </a:lnTo>
                  <a:lnTo>
                    <a:pt x="437152" y="32786"/>
                  </a:lnTo>
                  <a:lnTo>
                    <a:pt x="435330" y="43715"/>
                  </a:lnTo>
                  <a:lnTo>
                    <a:pt x="431687" y="43715"/>
                  </a:lnTo>
                  <a:close/>
                  <a:moveTo>
                    <a:pt x="477225" y="0"/>
                  </a:moveTo>
                  <a:lnTo>
                    <a:pt x="480868" y="3643"/>
                  </a:lnTo>
                  <a:lnTo>
                    <a:pt x="486332" y="10929"/>
                  </a:lnTo>
                  <a:lnTo>
                    <a:pt x="486332" y="14572"/>
                  </a:lnTo>
                  <a:lnTo>
                    <a:pt x="482689" y="14572"/>
                  </a:lnTo>
                  <a:lnTo>
                    <a:pt x="464474" y="9108"/>
                  </a:lnTo>
                  <a:lnTo>
                    <a:pt x="464474" y="5465"/>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9" name="Jan Mayen">
              <a:extLst>
                <a:ext uri="{FF2B5EF4-FFF2-40B4-BE49-F238E27FC236}">
                  <a16:creationId xmlns:a16="http://schemas.microsoft.com/office/drawing/2014/main" id="{EA43AFC6-88FC-B380-30C0-69758B775C81}"/>
                </a:ext>
              </a:extLst>
            </p:cNvPr>
            <p:cNvSpPr>
              <a:spLocks/>
            </p:cNvSpPr>
            <p:nvPr/>
          </p:nvSpPr>
          <p:spPr bwMode="auto">
            <a:xfrm>
              <a:off x="5610805" y="2164136"/>
              <a:ext cx="28913" cy="27107"/>
            </a:xfrm>
            <a:custGeom>
              <a:avLst/>
              <a:gdLst>
                <a:gd name="T0" fmla="*/ 16 w 16"/>
                <a:gd name="T1" fmla="*/ 0 h 15"/>
                <a:gd name="T2" fmla="*/ 13 w 16"/>
                <a:gd name="T3" fmla="*/ 8 h 15"/>
                <a:gd name="T4" fmla="*/ 1 w 16"/>
                <a:gd name="T5" fmla="*/ 15 h 15"/>
                <a:gd name="T6" fmla="*/ 0 w 16"/>
                <a:gd name="T7" fmla="*/ 15 h 15"/>
                <a:gd name="T8" fmla="*/ 0 w 16"/>
                <a:gd name="T9" fmla="*/ 14 h 15"/>
                <a:gd name="T10" fmla="*/ 9 w 16"/>
                <a:gd name="T11" fmla="*/ 3 h 15"/>
                <a:gd name="T12" fmla="*/ 16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16" y="0"/>
                  </a:moveTo>
                  <a:lnTo>
                    <a:pt x="13" y="8"/>
                  </a:lnTo>
                  <a:lnTo>
                    <a:pt x="1" y="15"/>
                  </a:lnTo>
                  <a:lnTo>
                    <a:pt x="0" y="15"/>
                  </a:lnTo>
                  <a:lnTo>
                    <a:pt x="0" y="14"/>
                  </a:lnTo>
                  <a:lnTo>
                    <a:pt x="9" y="3"/>
                  </a:lnTo>
                  <a:lnTo>
                    <a:pt x="1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0" name="European Island">
              <a:extLst>
                <a:ext uri="{FF2B5EF4-FFF2-40B4-BE49-F238E27FC236}">
                  <a16:creationId xmlns:a16="http://schemas.microsoft.com/office/drawing/2014/main" id="{8201BA46-C34C-2B9A-1418-83915B5A824D}"/>
                </a:ext>
              </a:extLst>
            </p:cNvPr>
            <p:cNvSpPr>
              <a:spLocks/>
            </p:cNvSpPr>
            <p:nvPr/>
          </p:nvSpPr>
          <p:spPr bwMode="auto">
            <a:xfrm>
              <a:off x="6272189" y="1900305"/>
              <a:ext cx="10843" cy="14457"/>
            </a:xfrm>
            <a:custGeom>
              <a:avLst/>
              <a:gdLst>
                <a:gd name="T0" fmla="*/ 3 w 6"/>
                <a:gd name="T1" fmla="*/ 0 h 8"/>
                <a:gd name="T2" fmla="*/ 6 w 6"/>
                <a:gd name="T3" fmla="*/ 0 h 8"/>
                <a:gd name="T4" fmla="*/ 6 w 6"/>
                <a:gd name="T5" fmla="*/ 1 h 8"/>
                <a:gd name="T6" fmla="*/ 3 w 6"/>
                <a:gd name="T7" fmla="*/ 7 h 8"/>
                <a:gd name="T8" fmla="*/ 3 w 6"/>
                <a:gd name="T9" fmla="*/ 8 h 8"/>
                <a:gd name="T10" fmla="*/ 1 w 6"/>
                <a:gd name="T11" fmla="*/ 7 h 8"/>
                <a:gd name="T12" fmla="*/ 0 w 6"/>
                <a:gd name="T13" fmla="*/ 1 h 8"/>
                <a:gd name="T14" fmla="*/ 1 w 6"/>
                <a:gd name="T15" fmla="*/ 1 h 8"/>
                <a:gd name="T16" fmla="*/ 3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3" y="0"/>
                  </a:moveTo>
                  <a:lnTo>
                    <a:pt x="6" y="0"/>
                  </a:lnTo>
                  <a:lnTo>
                    <a:pt x="6" y="1"/>
                  </a:lnTo>
                  <a:lnTo>
                    <a:pt x="3" y="7"/>
                  </a:lnTo>
                  <a:lnTo>
                    <a:pt x="3" y="8"/>
                  </a:lnTo>
                  <a:lnTo>
                    <a:pt x="1" y="7"/>
                  </a:lnTo>
                  <a:lnTo>
                    <a:pt x="0" y="1"/>
                  </a:lnTo>
                  <a:lnTo>
                    <a:pt x="1" y="1"/>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1" name="Finland">
              <a:extLst>
                <a:ext uri="{FF2B5EF4-FFF2-40B4-BE49-F238E27FC236}">
                  <a16:creationId xmlns:a16="http://schemas.microsoft.com/office/drawing/2014/main" id="{3D3EDD94-CF33-DFF6-12AA-4D338A8CEFBC}"/>
                </a:ext>
              </a:extLst>
            </p:cNvPr>
            <p:cNvSpPr>
              <a:spLocks/>
            </p:cNvSpPr>
            <p:nvPr/>
          </p:nvSpPr>
          <p:spPr bwMode="auto">
            <a:xfrm>
              <a:off x="6311944" y="2241840"/>
              <a:ext cx="256602" cy="574646"/>
            </a:xfrm>
            <a:custGeom>
              <a:avLst/>
              <a:gdLst/>
              <a:ahLst/>
              <a:cxnLst/>
              <a:rect l="l" t="t" r="r" b="b"/>
              <a:pathLst>
                <a:path w="258648" h="579227">
                  <a:moveTo>
                    <a:pt x="51001" y="559191"/>
                  </a:moveTo>
                  <a:lnTo>
                    <a:pt x="51001" y="562834"/>
                  </a:lnTo>
                  <a:lnTo>
                    <a:pt x="49180" y="573764"/>
                  </a:lnTo>
                  <a:lnTo>
                    <a:pt x="45537" y="575585"/>
                  </a:lnTo>
                  <a:lnTo>
                    <a:pt x="40072" y="575585"/>
                  </a:lnTo>
                  <a:lnTo>
                    <a:pt x="40072" y="573764"/>
                  </a:lnTo>
                  <a:close/>
                  <a:moveTo>
                    <a:pt x="178504" y="0"/>
                  </a:moveTo>
                  <a:lnTo>
                    <a:pt x="207647" y="25501"/>
                  </a:lnTo>
                  <a:lnTo>
                    <a:pt x="207647" y="27322"/>
                  </a:lnTo>
                  <a:lnTo>
                    <a:pt x="211290" y="47358"/>
                  </a:lnTo>
                  <a:lnTo>
                    <a:pt x="207647" y="49180"/>
                  </a:lnTo>
                  <a:lnTo>
                    <a:pt x="200361" y="61930"/>
                  </a:lnTo>
                  <a:lnTo>
                    <a:pt x="202183" y="71037"/>
                  </a:lnTo>
                  <a:lnTo>
                    <a:pt x="202183" y="72859"/>
                  </a:lnTo>
                  <a:lnTo>
                    <a:pt x="191254" y="83788"/>
                  </a:lnTo>
                  <a:lnTo>
                    <a:pt x="194897" y="83788"/>
                  </a:lnTo>
                  <a:lnTo>
                    <a:pt x="194897" y="87431"/>
                  </a:lnTo>
                  <a:lnTo>
                    <a:pt x="191254" y="114753"/>
                  </a:lnTo>
                  <a:lnTo>
                    <a:pt x="211290" y="132967"/>
                  </a:lnTo>
                  <a:lnTo>
                    <a:pt x="227683" y="165754"/>
                  </a:lnTo>
                  <a:lnTo>
                    <a:pt x="207647" y="205826"/>
                  </a:lnTo>
                  <a:lnTo>
                    <a:pt x="229505" y="273220"/>
                  </a:lnTo>
                  <a:lnTo>
                    <a:pt x="222219" y="302364"/>
                  </a:lnTo>
                  <a:lnTo>
                    <a:pt x="222219" y="324222"/>
                  </a:lnTo>
                  <a:lnTo>
                    <a:pt x="227683" y="327864"/>
                  </a:lnTo>
                  <a:lnTo>
                    <a:pt x="229505" y="346079"/>
                  </a:lnTo>
                  <a:lnTo>
                    <a:pt x="240434" y="357008"/>
                  </a:lnTo>
                  <a:lnTo>
                    <a:pt x="240434" y="358829"/>
                  </a:lnTo>
                  <a:lnTo>
                    <a:pt x="233148" y="389794"/>
                  </a:lnTo>
                  <a:lnTo>
                    <a:pt x="242255" y="406188"/>
                  </a:lnTo>
                  <a:lnTo>
                    <a:pt x="258648" y="422581"/>
                  </a:lnTo>
                  <a:lnTo>
                    <a:pt x="258648" y="440796"/>
                  </a:lnTo>
                  <a:lnTo>
                    <a:pt x="222219" y="497261"/>
                  </a:lnTo>
                  <a:lnTo>
                    <a:pt x="167575" y="548262"/>
                  </a:lnTo>
                  <a:lnTo>
                    <a:pt x="123860" y="553727"/>
                  </a:lnTo>
                  <a:lnTo>
                    <a:pt x="89252" y="573763"/>
                  </a:lnTo>
                  <a:lnTo>
                    <a:pt x="67394" y="579227"/>
                  </a:lnTo>
                  <a:lnTo>
                    <a:pt x="65573" y="573763"/>
                  </a:lnTo>
                  <a:lnTo>
                    <a:pt x="60109" y="575584"/>
                  </a:lnTo>
                  <a:lnTo>
                    <a:pt x="56466" y="575584"/>
                  </a:lnTo>
                  <a:lnTo>
                    <a:pt x="51001" y="559191"/>
                  </a:lnTo>
                  <a:lnTo>
                    <a:pt x="45537" y="562834"/>
                  </a:lnTo>
                  <a:lnTo>
                    <a:pt x="16393" y="546441"/>
                  </a:lnTo>
                  <a:lnTo>
                    <a:pt x="16393" y="542798"/>
                  </a:lnTo>
                  <a:lnTo>
                    <a:pt x="18215" y="537333"/>
                  </a:lnTo>
                  <a:lnTo>
                    <a:pt x="12751" y="526405"/>
                  </a:lnTo>
                  <a:lnTo>
                    <a:pt x="18215" y="515476"/>
                  </a:lnTo>
                  <a:lnTo>
                    <a:pt x="18215" y="500904"/>
                  </a:lnTo>
                  <a:lnTo>
                    <a:pt x="21858" y="500904"/>
                  </a:lnTo>
                  <a:lnTo>
                    <a:pt x="12751" y="475403"/>
                  </a:lnTo>
                  <a:lnTo>
                    <a:pt x="12751" y="464475"/>
                  </a:lnTo>
                  <a:lnTo>
                    <a:pt x="9108" y="442617"/>
                  </a:lnTo>
                  <a:lnTo>
                    <a:pt x="16393" y="424402"/>
                  </a:lnTo>
                  <a:lnTo>
                    <a:pt x="23679" y="424402"/>
                  </a:lnTo>
                  <a:lnTo>
                    <a:pt x="27322" y="413473"/>
                  </a:lnTo>
                  <a:lnTo>
                    <a:pt x="27322" y="411652"/>
                  </a:lnTo>
                  <a:lnTo>
                    <a:pt x="38251" y="411652"/>
                  </a:lnTo>
                  <a:lnTo>
                    <a:pt x="51001" y="397080"/>
                  </a:lnTo>
                  <a:lnTo>
                    <a:pt x="91073" y="344258"/>
                  </a:lnTo>
                  <a:lnTo>
                    <a:pt x="96538" y="327864"/>
                  </a:lnTo>
                  <a:lnTo>
                    <a:pt x="116574" y="318757"/>
                  </a:lnTo>
                  <a:lnTo>
                    <a:pt x="111110" y="291435"/>
                  </a:lnTo>
                  <a:lnTo>
                    <a:pt x="81966" y="265935"/>
                  </a:lnTo>
                  <a:lnTo>
                    <a:pt x="72859" y="240434"/>
                  </a:lnTo>
                  <a:lnTo>
                    <a:pt x="78323" y="216755"/>
                  </a:lnTo>
                  <a:lnTo>
                    <a:pt x="67394" y="193076"/>
                  </a:lnTo>
                  <a:lnTo>
                    <a:pt x="71037" y="140253"/>
                  </a:lnTo>
                  <a:lnTo>
                    <a:pt x="54644" y="116574"/>
                  </a:lnTo>
                  <a:lnTo>
                    <a:pt x="0" y="71037"/>
                  </a:lnTo>
                  <a:lnTo>
                    <a:pt x="0" y="67394"/>
                  </a:lnTo>
                  <a:lnTo>
                    <a:pt x="10929" y="61930"/>
                  </a:lnTo>
                  <a:lnTo>
                    <a:pt x="9108" y="56466"/>
                  </a:lnTo>
                  <a:lnTo>
                    <a:pt x="9108" y="54644"/>
                  </a:lnTo>
                  <a:lnTo>
                    <a:pt x="10929" y="54644"/>
                  </a:lnTo>
                  <a:lnTo>
                    <a:pt x="16393" y="51001"/>
                  </a:lnTo>
                  <a:lnTo>
                    <a:pt x="45537" y="89252"/>
                  </a:lnTo>
                  <a:lnTo>
                    <a:pt x="67394" y="94716"/>
                  </a:lnTo>
                  <a:lnTo>
                    <a:pt x="81966" y="81966"/>
                  </a:lnTo>
                  <a:lnTo>
                    <a:pt x="83788" y="81966"/>
                  </a:lnTo>
                  <a:lnTo>
                    <a:pt x="96538" y="94716"/>
                  </a:lnTo>
                  <a:lnTo>
                    <a:pt x="122038" y="72859"/>
                  </a:lnTo>
                  <a:lnTo>
                    <a:pt x="123860" y="36429"/>
                  </a:lnTo>
                  <a:lnTo>
                    <a:pt x="129324" y="20036"/>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2" name="Sweden Mainland">
              <a:extLst>
                <a:ext uri="{FF2B5EF4-FFF2-40B4-BE49-F238E27FC236}">
                  <a16:creationId xmlns:a16="http://schemas.microsoft.com/office/drawing/2014/main" id="{FF624E57-3783-E0A6-8E3B-8A4D9A1C9B68}"/>
                </a:ext>
              </a:extLst>
            </p:cNvPr>
            <p:cNvSpPr>
              <a:spLocks noEditPoints="1"/>
            </p:cNvSpPr>
            <p:nvPr/>
          </p:nvSpPr>
          <p:spPr bwMode="auto">
            <a:xfrm>
              <a:off x="6087869" y="2308701"/>
              <a:ext cx="307200" cy="708369"/>
            </a:xfrm>
            <a:custGeom>
              <a:avLst/>
              <a:gdLst>
                <a:gd name="T0" fmla="*/ 74 w 170"/>
                <a:gd name="T1" fmla="*/ 273 h 392"/>
                <a:gd name="T2" fmla="*/ 126 w 170"/>
                <a:gd name="T3" fmla="*/ 0 h 392"/>
                <a:gd name="T4" fmla="*/ 163 w 170"/>
                <a:gd name="T5" fmla="*/ 69 h 392"/>
                <a:gd name="T6" fmla="*/ 170 w 170"/>
                <a:gd name="T7" fmla="*/ 109 h 392"/>
                <a:gd name="T8" fmla="*/ 167 w 170"/>
                <a:gd name="T9" fmla="*/ 115 h 392"/>
                <a:gd name="T10" fmla="*/ 157 w 170"/>
                <a:gd name="T11" fmla="*/ 112 h 392"/>
                <a:gd name="T12" fmla="*/ 149 w 170"/>
                <a:gd name="T13" fmla="*/ 110 h 392"/>
                <a:gd name="T14" fmla="*/ 142 w 170"/>
                <a:gd name="T15" fmla="*/ 117 h 392"/>
                <a:gd name="T16" fmla="*/ 137 w 170"/>
                <a:gd name="T17" fmla="*/ 134 h 392"/>
                <a:gd name="T18" fmla="*/ 123 w 170"/>
                <a:gd name="T19" fmla="*/ 175 h 392"/>
                <a:gd name="T20" fmla="*/ 90 w 170"/>
                <a:gd name="T21" fmla="*/ 203 h 392"/>
                <a:gd name="T22" fmla="*/ 87 w 170"/>
                <a:gd name="T23" fmla="*/ 208 h 392"/>
                <a:gd name="T24" fmla="*/ 81 w 170"/>
                <a:gd name="T25" fmla="*/ 211 h 392"/>
                <a:gd name="T26" fmla="*/ 78 w 170"/>
                <a:gd name="T27" fmla="*/ 235 h 392"/>
                <a:gd name="T28" fmla="*/ 84 w 170"/>
                <a:gd name="T29" fmla="*/ 261 h 392"/>
                <a:gd name="T30" fmla="*/ 94 w 170"/>
                <a:gd name="T31" fmla="*/ 272 h 392"/>
                <a:gd name="T32" fmla="*/ 97 w 170"/>
                <a:gd name="T33" fmla="*/ 291 h 392"/>
                <a:gd name="T34" fmla="*/ 77 w 170"/>
                <a:gd name="T35" fmla="*/ 291 h 392"/>
                <a:gd name="T36" fmla="*/ 86 w 170"/>
                <a:gd name="T37" fmla="*/ 297 h 392"/>
                <a:gd name="T38" fmla="*/ 97 w 170"/>
                <a:gd name="T39" fmla="*/ 297 h 392"/>
                <a:gd name="T40" fmla="*/ 89 w 170"/>
                <a:gd name="T41" fmla="*/ 307 h 392"/>
                <a:gd name="T42" fmla="*/ 77 w 170"/>
                <a:gd name="T43" fmla="*/ 313 h 392"/>
                <a:gd name="T44" fmla="*/ 74 w 170"/>
                <a:gd name="T45" fmla="*/ 315 h 392"/>
                <a:gd name="T46" fmla="*/ 74 w 170"/>
                <a:gd name="T47" fmla="*/ 321 h 392"/>
                <a:gd name="T48" fmla="*/ 71 w 170"/>
                <a:gd name="T49" fmla="*/ 332 h 392"/>
                <a:gd name="T50" fmla="*/ 62 w 170"/>
                <a:gd name="T51" fmla="*/ 374 h 392"/>
                <a:gd name="T52" fmla="*/ 20 w 170"/>
                <a:gd name="T53" fmla="*/ 392 h 392"/>
                <a:gd name="T54" fmla="*/ 16 w 170"/>
                <a:gd name="T55" fmla="*/ 374 h 392"/>
                <a:gd name="T56" fmla="*/ 20 w 170"/>
                <a:gd name="T57" fmla="*/ 371 h 392"/>
                <a:gd name="T58" fmla="*/ 22 w 170"/>
                <a:gd name="T59" fmla="*/ 364 h 392"/>
                <a:gd name="T60" fmla="*/ 7 w 170"/>
                <a:gd name="T61" fmla="*/ 335 h 392"/>
                <a:gd name="T62" fmla="*/ 3 w 170"/>
                <a:gd name="T63" fmla="*/ 327 h 392"/>
                <a:gd name="T64" fmla="*/ 0 w 170"/>
                <a:gd name="T65" fmla="*/ 318 h 392"/>
                <a:gd name="T66" fmla="*/ 1 w 170"/>
                <a:gd name="T67" fmla="*/ 303 h 392"/>
                <a:gd name="T68" fmla="*/ 7 w 170"/>
                <a:gd name="T69" fmla="*/ 297 h 392"/>
                <a:gd name="T70" fmla="*/ 16 w 170"/>
                <a:gd name="T71" fmla="*/ 276 h 392"/>
                <a:gd name="T72" fmla="*/ 20 w 170"/>
                <a:gd name="T73" fmla="*/ 244 h 392"/>
                <a:gd name="T74" fmla="*/ 16 w 170"/>
                <a:gd name="T75" fmla="*/ 195 h 392"/>
                <a:gd name="T76" fmla="*/ 25 w 170"/>
                <a:gd name="T77" fmla="*/ 168 h 392"/>
                <a:gd name="T78" fmla="*/ 34 w 170"/>
                <a:gd name="T79" fmla="*/ 149 h 392"/>
                <a:gd name="T80" fmla="*/ 46 w 170"/>
                <a:gd name="T81" fmla="*/ 104 h 392"/>
                <a:gd name="T82" fmla="*/ 56 w 170"/>
                <a:gd name="T83" fmla="*/ 88 h 392"/>
                <a:gd name="T84" fmla="*/ 72 w 170"/>
                <a:gd name="T85" fmla="*/ 43 h 392"/>
                <a:gd name="T86" fmla="*/ 93 w 170"/>
                <a:gd name="T87" fmla="*/ 21 h 392"/>
                <a:gd name="T88" fmla="*/ 102 w 170"/>
                <a:gd name="T89" fmla="*/ 21 h 392"/>
                <a:gd name="T90" fmla="*/ 118 w 170"/>
                <a:gd name="T91" fmla="*/ 23 h 392"/>
                <a:gd name="T92" fmla="*/ 118 w 170"/>
                <a:gd name="T93" fmla="*/ 8 h 392"/>
                <a:gd name="T94" fmla="*/ 121 w 170"/>
                <a:gd name="T95"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392">
                  <a:moveTo>
                    <a:pt x="77" y="269"/>
                  </a:moveTo>
                  <a:lnTo>
                    <a:pt x="69" y="273"/>
                  </a:lnTo>
                  <a:lnTo>
                    <a:pt x="74" y="273"/>
                  </a:lnTo>
                  <a:lnTo>
                    <a:pt x="77" y="269"/>
                  </a:lnTo>
                  <a:close/>
                  <a:moveTo>
                    <a:pt x="121" y="0"/>
                  </a:moveTo>
                  <a:lnTo>
                    <a:pt x="126" y="0"/>
                  </a:lnTo>
                  <a:lnTo>
                    <a:pt x="155" y="27"/>
                  </a:lnTo>
                  <a:lnTo>
                    <a:pt x="164" y="40"/>
                  </a:lnTo>
                  <a:lnTo>
                    <a:pt x="163" y="69"/>
                  </a:lnTo>
                  <a:lnTo>
                    <a:pt x="169" y="82"/>
                  </a:lnTo>
                  <a:lnTo>
                    <a:pt x="166" y="95"/>
                  </a:lnTo>
                  <a:lnTo>
                    <a:pt x="170" y="109"/>
                  </a:lnTo>
                  <a:lnTo>
                    <a:pt x="169" y="113"/>
                  </a:lnTo>
                  <a:lnTo>
                    <a:pt x="169" y="115"/>
                  </a:lnTo>
                  <a:lnTo>
                    <a:pt x="167" y="115"/>
                  </a:lnTo>
                  <a:lnTo>
                    <a:pt x="164" y="113"/>
                  </a:lnTo>
                  <a:lnTo>
                    <a:pt x="161" y="113"/>
                  </a:lnTo>
                  <a:lnTo>
                    <a:pt x="157" y="112"/>
                  </a:lnTo>
                  <a:lnTo>
                    <a:pt x="154" y="112"/>
                  </a:lnTo>
                  <a:lnTo>
                    <a:pt x="151" y="110"/>
                  </a:lnTo>
                  <a:lnTo>
                    <a:pt x="149" y="110"/>
                  </a:lnTo>
                  <a:lnTo>
                    <a:pt x="146" y="119"/>
                  </a:lnTo>
                  <a:lnTo>
                    <a:pt x="145" y="119"/>
                  </a:lnTo>
                  <a:lnTo>
                    <a:pt x="142" y="117"/>
                  </a:lnTo>
                  <a:lnTo>
                    <a:pt x="143" y="120"/>
                  </a:lnTo>
                  <a:lnTo>
                    <a:pt x="136" y="126"/>
                  </a:lnTo>
                  <a:lnTo>
                    <a:pt x="137" y="134"/>
                  </a:lnTo>
                  <a:lnTo>
                    <a:pt x="131" y="143"/>
                  </a:lnTo>
                  <a:lnTo>
                    <a:pt x="137" y="156"/>
                  </a:lnTo>
                  <a:lnTo>
                    <a:pt x="123" y="175"/>
                  </a:lnTo>
                  <a:lnTo>
                    <a:pt x="100" y="189"/>
                  </a:lnTo>
                  <a:lnTo>
                    <a:pt x="94" y="198"/>
                  </a:lnTo>
                  <a:lnTo>
                    <a:pt x="90" y="203"/>
                  </a:lnTo>
                  <a:lnTo>
                    <a:pt x="89" y="203"/>
                  </a:lnTo>
                  <a:lnTo>
                    <a:pt x="87" y="202"/>
                  </a:lnTo>
                  <a:lnTo>
                    <a:pt x="87" y="208"/>
                  </a:lnTo>
                  <a:lnTo>
                    <a:pt x="86" y="212"/>
                  </a:lnTo>
                  <a:lnTo>
                    <a:pt x="84" y="212"/>
                  </a:lnTo>
                  <a:lnTo>
                    <a:pt x="81" y="211"/>
                  </a:lnTo>
                  <a:lnTo>
                    <a:pt x="84" y="218"/>
                  </a:lnTo>
                  <a:lnTo>
                    <a:pt x="81" y="235"/>
                  </a:lnTo>
                  <a:lnTo>
                    <a:pt x="78" y="235"/>
                  </a:lnTo>
                  <a:lnTo>
                    <a:pt x="78" y="266"/>
                  </a:lnTo>
                  <a:lnTo>
                    <a:pt x="83" y="261"/>
                  </a:lnTo>
                  <a:lnTo>
                    <a:pt x="84" y="261"/>
                  </a:lnTo>
                  <a:lnTo>
                    <a:pt x="96" y="270"/>
                  </a:lnTo>
                  <a:lnTo>
                    <a:pt x="96" y="272"/>
                  </a:lnTo>
                  <a:lnTo>
                    <a:pt x="94" y="272"/>
                  </a:lnTo>
                  <a:lnTo>
                    <a:pt x="100" y="281"/>
                  </a:lnTo>
                  <a:lnTo>
                    <a:pt x="100" y="282"/>
                  </a:lnTo>
                  <a:lnTo>
                    <a:pt x="97" y="291"/>
                  </a:lnTo>
                  <a:lnTo>
                    <a:pt x="96" y="291"/>
                  </a:lnTo>
                  <a:lnTo>
                    <a:pt x="87" y="295"/>
                  </a:lnTo>
                  <a:lnTo>
                    <a:pt x="77" y="291"/>
                  </a:lnTo>
                  <a:lnTo>
                    <a:pt x="69" y="292"/>
                  </a:lnTo>
                  <a:lnTo>
                    <a:pt x="80" y="297"/>
                  </a:lnTo>
                  <a:lnTo>
                    <a:pt x="86" y="297"/>
                  </a:lnTo>
                  <a:lnTo>
                    <a:pt x="90" y="295"/>
                  </a:lnTo>
                  <a:lnTo>
                    <a:pt x="97" y="295"/>
                  </a:lnTo>
                  <a:lnTo>
                    <a:pt x="97" y="297"/>
                  </a:lnTo>
                  <a:lnTo>
                    <a:pt x="93" y="298"/>
                  </a:lnTo>
                  <a:lnTo>
                    <a:pt x="93" y="301"/>
                  </a:lnTo>
                  <a:lnTo>
                    <a:pt x="89" y="307"/>
                  </a:lnTo>
                  <a:lnTo>
                    <a:pt x="87" y="307"/>
                  </a:lnTo>
                  <a:lnTo>
                    <a:pt x="83" y="304"/>
                  </a:lnTo>
                  <a:lnTo>
                    <a:pt x="77" y="313"/>
                  </a:lnTo>
                  <a:lnTo>
                    <a:pt x="75" y="313"/>
                  </a:lnTo>
                  <a:lnTo>
                    <a:pt x="69" y="315"/>
                  </a:lnTo>
                  <a:lnTo>
                    <a:pt x="74" y="315"/>
                  </a:lnTo>
                  <a:lnTo>
                    <a:pt x="74" y="316"/>
                  </a:lnTo>
                  <a:lnTo>
                    <a:pt x="69" y="318"/>
                  </a:lnTo>
                  <a:lnTo>
                    <a:pt x="74" y="321"/>
                  </a:lnTo>
                  <a:lnTo>
                    <a:pt x="74" y="322"/>
                  </a:lnTo>
                  <a:lnTo>
                    <a:pt x="72" y="331"/>
                  </a:lnTo>
                  <a:lnTo>
                    <a:pt x="71" y="332"/>
                  </a:lnTo>
                  <a:lnTo>
                    <a:pt x="72" y="343"/>
                  </a:lnTo>
                  <a:lnTo>
                    <a:pt x="63" y="374"/>
                  </a:lnTo>
                  <a:lnTo>
                    <a:pt x="62" y="374"/>
                  </a:lnTo>
                  <a:lnTo>
                    <a:pt x="43" y="377"/>
                  </a:lnTo>
                  <a:lnTo>
                    <a:pt x="40" y="392"/>
                  </a:lnTo>
                  <a:lnTo>
                    <a:pt x="20" y="392"/>
                  </a:lnTo>
                  <a:lnTo>
                    <a:pt x="20" y="390"/>
                  </a:lnTo>
                  <a:lnTo>
                    <a:pt x="23" y="386"/>
                  </a:lnTo>
                  <a:lnTo>
                    <a:pt x="16" y="374"/>
                  </a:lnTo>
                  <a:lnTo>
                    <a:pt x="16" y="372"/>
                  </a:lnTo>
                  <a:lnTo>
                    <a:pt x="17" y="372"/>
                  </a:lnTo>
                  <a:lnTo>
                    <a:pt x="20" y="371"/>
                  </a:lnTo>
                  <a:lnTo>
                    <a:pt x="19" y="368"/>
                  </a:lnTo>
                  <a:lnTo>
                    <a:pt x="19" y="367"/>
                  </a:lnTo>
                  <a:lnTo>
                    <a:pt x="22" y="364"/>
                  </a:lnTo>
                  <a:lnTo>
                    <a:pt x="8" y="344"/>
                  </a:lnTo>
                  <a:lnTo>
                    <a:pt x="8" y="335"/>
                  </a:lnTo>
                  <a:lnTo>
                    <a:pt x="7" y="335"/>
                  </a:lnTo>
                  <a:lnTo>
                    <a:pt x="7" y="328"/>
                  </a:lnTo>
                  <a:lnTo>
                    <a:pt x="3" y="328"/>
                  </a:lnTo>
                  <a:lnTo>
                    <a:pt x="3" y="327"/>
                  </a:lnTo>
                  <a:lnTo>
                    <a:pt x="6" y="322"/>
                  </a:lnTo>
                  <a:lnTo>
                    <a:pt x="3" y="324"/>
                  </a:lnTo>
                  <a:lnTo>
                    <a:pt x="0" y="318"/>
                  </a:lnTo>
                  <a:lnTo>
                    <a:pt x="0" y="301"/>
                  </a:lnTo>
                  <a:lnTo>
                    <a:pt x="1" y="301"/>
                  </a:lnTo>
                  <a:lnTo>
                    <a:pt x="1" y="303"/>
                  </a:lnTo>
                  <a:lnTo>
                    <a:pt x="3" y="307"/>
                  </a:lnTo>
                  <a:lnTo>
                    <a:pt x="4" y="306"/>
                  </a:lnTo>
                  <a:lnTo>
                    <a:pt x="7" y="297"/>
                  </a:lnTo>
                  <a:lnTo>
                    <a:pt x="6" y="291"/>
                  </a:lnTo>
                  <a:lnTo>
                    <a:pt x="8" y="282"/>
                  </a:lnTo>
                  <a:lnTo>
                    <a:pt x="16" y="276"/>
                  </a:lnTo>
                  <a:lnTo>
                    <a:pt x="17" y="264"/>
                  </a:lnTo>
                  <a:lnTo>
                    <a:pt x="13" y="254"/>
                  </a:lnTo>
                  <a:lnTo>
                    <a:pt x="20" y="244"/>
                  </a:lnTo>
                  <a:lnTo>
                    <a:pt x="13" y="232"/>
                  </a:lnTo>
                  <a:lnTo>
                    <a:pt x="11" y="209"/>
                  </a:lnTo>
                  <a:lnTo>
                    <a:pt x="16" y="195"/>
                  </a:lnTo>
                  <a:lnTo>
                    <a:pt x="11" y="186"/>
                  </a:lnTo>
                  <a:lnTo>
                    <a:pt x="13" y="177"/>
                  </a:lnTo>
                  <a:lnTo>
                    <a:pt x="25" y="168"/>
                  </a:lnTo>
                  <a:lnTo>
                    <a:pt x="40" y="163"/>
                  </a:lnTo>
                  <a:lnTo>
                    <a:pt x="40" y="156"/>
                  </a:lnTo>
                  <a:lnTo>
                    <a:pt x="34" y="149"/>
                  </a:lnTo>
                  <a:lnTo>
                    <a:pt x="34" y="147"/>
                  </a:lnTo>
                  <a:lnTo>
                    <a:pt x="43" y="131"/>
                  </a:lnTo>
                  <a:lnTo>
                    <a:pt x="46" y="104"/>
                  </a:lnTo>
                  <a:lnTo>
                    <a:pt x="46" y="103"/>
                  </a:lnTo>
                  <a:lnTo>
                    <a:pt x="53" y="100"/>
                  </a:lnTo>
                  <a:lnTo>
                    <a:pt x="56" y="88"/>
                  </a:lnTo>
                  <a:lnTo>
                    <a:pt x="68" y="72"/>
                  </a:lnTo>
                  <a:lnTo>
                    <a:pt x="65" y="61"/>
                  </a:lnTo>
                  <a:lnTo>
                    <a:pt x="72" y="43"/>
                  </a:lnTo>
                  <a:lnTo>
                    <a:pt x="83" y="36"/>
                  </a:lnTo>
                  <a:lnTo>
                    <a:pt x="89" y="39"/>
                  </a:lnTo>
                  <a:lnTo>
                    <a:pt x="93" y="21"/>
                  </a:lnTo>
                  <a:lnTo>
                    <a:pt x="93" y="20"/>
                  </a:lnTo>
                  <a:lnTo>
                    <a:pt x="97" y="20"/>
                  </a:lnTo>
                  <a:lnTo>
                    <a:pt x="102" y="21"/>
                  </a:lnTo>
                  <a:lnTo>
                    <a:pt x="109" y="21"/>
                  </a:lnTo>
                  <a:lnTo>
                    <a:pt x="114" y="23"/>
                  </a:lnTo>
                  <a:lnTo>
                    <a:pt x="118" y="23"/>
                  </a:lnTo>
                  <a:lnTo>
                    <a:pt x="115" y="18"/>
                  </a:lnTo>
                  <a:lnTo>
                    <a:pt x="115" y="17"/>
                  </a:lnTo>
                  <a:lnTo>
                    <a:pt x="118" y="8"/>
                  </a:lnTo>
                  <a:lnTo>
                    <a:pt x="117" y="2"/>
                  </a:lnTo>
                  <a:lnTo>
                    <a:pt x="120" y="2"/>
                  </a:lnTo>
                  <a:lnTo>
                    <a:pt x="12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3" name="Sweden Offshore">
              <a:extLst>
                <a:ext uri="{FF2B5EF4-FFF2-40B4-BE49-F238E27FC236}">
                  <a16:creationId xmlns:a16="http://schemas.microsoft.com/office/drawing/2014/main" id="{7E0561A5-2C3F-8ABE-6A6A-D37045D38D9B}"/>
                </a:ext>
              </a:extLst>
            </p:cNvPr>
            <p:cNvSpPr>
              <a:spLocks/>
            </p:cNvSpPr>
            <p:nvPr/>
          </p:nvSpPr>
          <p:spPr bwMode="auto">
            <a:xfrm>
              <a:off x="6170992" y="2794801"/>
              <a:ext cx="128301" cy="238534"/>
            </a:xfrm>
            <a:custGeom>
              <a:avLst/>
              <a:gdLst/>
              <a:ahLst/>
              <a:cxnLst/>
              <a:rect l="l" t="t" r="r" b="b"/>
              <a:pathLst>
                <a:path w="129324" h="240435">
                  <a:moveTo>
                    <a:pt x="0" y="225863"/>
                  </a:moveTo>
                  <a:lnTo>
                    <a:pt x="1822" y="225863"/>
                  </a:lnTo>
                  <a:lnTo>
                    <a:pt x="9108" y="236792"/>
                  </a:lnTo>
                  <a:lnTo>
                    <a:pt x="12751" y="240435"/>
                  </a:lnTo>
                  <a:lnTo>
                    <a:pt x="9108" y="240435"/>
                  </a:lnTo>
                  <a:lnTo>
                    <a:pt x="0" y="236792"/>
                  </a:lnTo>
                  <a:close/>
                  <a:moveTo>
                    <a:pt x="51003" y="151182"/>
                  </a:moveTo>
                  <a:lnTo>
                    <a:pt x="52824" y="153003"/>
                  </a:lnTo>
                  <a:lnTo>
                    <a:pt x="40073" y="185789"/>
                  </a:lnTo>
                  <a:lnTo>
                    <a:pt x="40073" y="187611"/>
                  </a:lnTo>
                  <a:lnTo>
                    <a:pt x="36430" y="185789"/>
                  </a:lnTo>
                  <a:lnTo>
                    <a:pt x="40073" y="169396"/>
                  </a:lnTo>
                  <a:lnTo>
                    <a:pt x="51003" y="153003"/>
                  </a:lnTo>
                  <a:close/>
                  <a:moveTo>
                    <a:pt x="92896" y="112932"/>
                  </a:moveTo>
                  <a:lnTo>
                    <a:pt x="102004" y="112932"/>
                  </a:lnTo>
                  <a:lnTo>
                    <a:pt x="103825" y="114753"/>
                  </a:lnTo>
                  <a:lnTo>
                    <a:pt x="98361" y="123861"/>
                  </a:lnTo>
                  <a:lnTo>
                    <a:pt x="102004" y="136611"/>
                  </a:lnTo>
                  <a:lnTo>
                    <a:pt x="81967" y="156647"/>
                  </a:lnTo>
                  <a:lnTo>
                    <a:pt x="80145" y="156647"/>
                  </a:lnTo>
                  <a:lnTo>
                    <a:pt x="81967" y="129325"/>
                  </a:lnTo>
                  <a:close/>
                  <a:moveTo>
                    <a:pt x="120217" y="0"/>
                  </a:moveTo>
                  <a:lnTo>
                    <a:pt x="129324" y="0"/>
                  </a:lnTo>
                  <a:lnTo>
                    <a:pt x="129324" y="18215"/>
                  </a:lnTo>
                  <a:lnTo>
                    <a:pt x="120217" y="12750"/>
                  </a:lnTo>
                  <a:lnTo>
                    <a:pt x="118395" y="1275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4" name="Estonia">
              <a:extLst>
                <a:ext uri="{FF2B5EF4-FFF2-40B4-BE49-F238E27FC236}">
                  <a16:creationId xmlns:a16="http://schemas.microsoft.com/office/drawing/2014/main" id="{8B66F256-28CB-3019-97F2-5512413B3AA2}"/>
                </a:ext>
              </a:extLst>
            </p:cNvPr>
            <p:cNvSpPr>
              <a:spLocks/>
            </p:cNvSpPr>
            <p:nvPr/>
          </p:nvSpPr>
          <p:spPr bwMode="auto">
            <a:xfrm>
              <a:off x="6340856" y="2823714"/>
              <a:ext cx="155409" cy="101195"/>
            </a:xfrm>
            <a:custGeom>
              <a:avLst/>
              <a:gdLst/>
              <a:ahLst/>
              <a:cxnLst/>
              <a:rect l="l" t="t" r="r" b="b"/>
              <a:pathLst>
                <a:path w="156648" h="102002">
                  <a:moveTo>
                    <a:pt x="27322" y="54644"/>
                  </a:moveTo>
                  <a:lnTo>
                    <a:pt x="32786" y="61930"/>
                  </a:lnTo>
                  <a:lnTo>
                    <a:pt x="10929" y="67394"/>
                  </a:lnTo>
                  <a:lnTo>
                    <a:pt x="5465" y="83787"/>
                  </a:lnTo>
                  <a:lnTo>
                    <a:pt x="5465" y="72859"/>
                  </a:lnTo>
                  <a:lnTo>
                    <a:pt x="0" y="67394"/>
                  </a:lnTo>
                  <a:lnTo>
                    <a:pt x="0" y="60108"/>
                  </a:lnTo>
                  <a:close/>
                  <a:moveTo>
                    <a:pt x="20037" y="34608"/>
                  </a:moveTo>
                  <a:lnTo>
                    <a:pt x="21858" y="34608"/>
                  </a:lnTo>
                  <a:lnTo>
                    <a:pt x="25501" y="43716"/>
                  </a:lnTo>
                  <a:lnTo>
                    <a:pt x="14572" y="51002"/>
                  </a:lnTo>
                  <a:lnTo>
                    <a:pt x="10929" y="51002"/>
                  </a:lnTo>
                  <a:lnTo>
                    <a:pt x="3643" y="40073"/>
                  </a:lnTo>
                  <a:close/>
                  <a:moveTo>
                    <a:pt x="145719" y="0"/>
                  </a:moveTo>
                  <a:lnTo>
                    <a:pt x="149362" y="0"/>
                  </a:lnTo>
                  <a:lnTo>
                    <a:pt x="154827" y="5464"/>
                  </a:lnTo>
                  <a:lnTo>
                    <a:pt x="156648" y="18215"/>
                  </a:lnTo>
                  <a:lnTo>
                    <a:pt x="145719" y="34608"/>
                  </a:lnTo>
                  <a:lnTo>
                    <a:pt x="127505" y="40072"/>
                  </a:lnTo>
                  <a:lnTo>
                    <a:pt x="132969" y="65573"/>
                  </a:lnTo>
                  <a:lnTo>
                    <a:pt x="136612" y="65573"/>
                  </a:lnTo>
                  <a:lnTo>
                    <a:pt x="138434" y="76502"/>
                  </a:lnTo>
                  <a:lnTo>
                    <a:pt x="143898" y="80145"/>
                  </a:lnTo>
                  <a:lnTo>
                    <a:pt x="145719" y="85609"/>
                  </a:lnTo>
                  <a:lnTo>
                    <a:pt x="145719" y="89252"/>
                  </a:lnTo>
                  <a:lnTo>
                    <a:pt x="138434" y="96538"/>
                  </a:lnTo>
                  <a:lnTo>
                    <a:pt x="138434" y="102002"/>
                  </a:lnTo>
                  <a:lnTo>
                    <a:pt x="136612" y="102002"/>
                  </a:lnTo>
                  <a:lnTo>
                    <a:pt x="127505" y="100181"/>
                  </a:lnTo>
                  <a:lnTo>
                    <a:pt x="122040" y="100181"/>
                  </a:lnTo>
                  <a:lnTo>
                    <a:pt x="120219" y="102002"/>
                  </a:lnTo>
                  <a:lnTo>
                    <a:pt x="114754" y="102002"/>
                  </a:lnTo>
                  <a:lnTo>
                    <a:pt x="103826" y="89252"/>
                  </a:lnTo>
                  <a:lnTo>
                    <a:pt x="83789" y="80145"/>
                  </a:lnTo>
                  <a:lnTo>
                    <a:pt x="60110" y="89252"/>
                  </a:lnTo>
                  <a:lnTo>
                    <a:pt x="61932" y="67394"/>
                  </a:lnTo>
                  <a:lnTo>
                    <a:pt x="43717" y="67394"/>
                  </a:lnTo>
                  <a:lnTo>
                    <a:pt x="38253" y="54644"/>
                  </a:lnTo>
                  <a:lnTo>
                    <a:pt x="38253" y="51001"/>
                  </a:lnTo>
                  <a:lnTo>
                    <a:pt x="43717" y="49180"/>
                  </a:lnTo>
                  <a:lnTo>
                    <a:pt x="36431" y="45537"/>
                  </a:lnTo>
                  <a:lnTo>
                    <a:pt x="36431" y="43715"/>
                  </a:lnTo>
                  <a:lnTo>
                    <a:pt x="38253" y="27322"/>
                  </a:lnTo>
                  <a:lnTo>
                    <a:pt x="89254" y="5464"/>
                  </a:lnTo>
                  <a:lnTo>
                    <a:pt x="140255" y="16393"/>
                  </a:lnTo>
                  <a:lnTo>
                    <a:pt x="143898" y="1275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5" name="Greece">
              <a:extLst>
                <a:ext uri="{FF2B5EF4-FFF2-40B4-BE49-F238E27FC236}">
                  <a16:creationId xmlns:a16="http://schemas.microsoft.com/office/drawing/2014/main" id="{342EE2FE-56E4-EF88-EB4B-78361AF29490}"/>
                </a:ext>
              </a:extLst>
            </p:cNvPr>
            <p:cNvSpPr>
              <a:spLocks/>
            </p:cNvSpPr>
            <p:nvPr/>
          </p:nvSpPr>
          <p:spPr bwMode="auto">
            <a:xfrm>
              <a:off x="6290258" y="3504977"/>
              <a:ext cx="206006" cy="207813"/>
            </a:xfrm>
            <a:custGeom>
              <a:avLst/>
              <a:gdLst/>
              <a:ahLst/>
              <a:cxnLst/>
              <a:rect l="l" t="t" r="r" b="b"/>
              <a:pathLst>
                <a:path w="207648" h="209470">
                  <a:moveTo>
                    <a:pt x="98359" y="185790"/>
                  </a:moveTo>
                  <a:lnTo>
                    <a:pt x="109288" y="185790"/>
                  </a:lnTo>
                  <a:lnTo>
                    <a:pt x="109288" y="187612"/>
                  </a:lnTo>
                  <a:lnTo>
                    <a:pt x="112931" y="193076"/>
                  </a:lnTo>
                  <a:lnTo>
                    <a:pt x="129324" y="193076"/>
                  </a:lnTo>
                  <a:lnTo>
                    <a:pt x="151182" y="198541"/>
                  </a:lnTo>
                  <a:lnTo>
                    <a:pt x="156646" y="196719"/>
                  </a:lnTo>
                  <a:lnTo>
                    <a:pt x="160289" y="196719"/>
                  </a:lnTo>
                  <a:lnTo>
                    <a:pt x="160289" y="198541"/>
                  </a:lnTo>
                  <a:lnTo>
                    <a:pt x="156646" y="207649"/>
                  </a:lnTo>
                  <a:lnTo>
                    <a:pt x="140253" y="207649"/>
                  </a:lnTo>
                  <a:lnTo>
                    <a:pt x="134788" y="209470"/>
                  </a:lnTo>
                  <a:lnTo>
                    <a:pt x="122038" y="209470"/>
                  </a:lnTo>
                  <a:lnTo>
                    <a:pt x="112931" y="202184"/>
                  </a:lnTo>
                  <a:lnTo>
                    <a:pt x="92894" y="202184"/>
                  </a:lnTo>
                  <a:lnTo>
                    <a:pt x="92894" y="198541"/>
                  </a:lnTo>
                  <a:lnTo>
                    <a:pt x="98359" y="187612"/>
                  </a:lnTo>
                  <a:close/>
                  <a:moveTo>
                    <a:pt x="205827" y="162111"/>
                  </a:moveTo>
                  <a:lnTo>
                    <a:pt x="207648" y="162111"/>
                  </a:lnTo>
                  <a:lnTo>
                    <a:pt x="207648" y="163933"/>
                  </a:lnTo>
                  <a:lnTo>
                    <a:pt x="202184" y="174862"/>
                  </a:lnTo>
                  <a:lnTo>
                    <a:pt x="194897" y="180326"/>
                  </a:lnTo>
                  <a:lnTo>
                    <a:pt x="191254" y="180326"/>
                  </a:lnTo>
                  <a:lnTo>
                    <a:pt x="191254" y="169397"/>
                  </a:lnTo>
                  <a:close/>
                  <a:moveTo>
                    <a:pt x="122038" y="114753"/>
                  </a:moveTo>
                  <a:lnTo>
                    <a:pt x="123860" y="114753"/>
                  </a:lnTo>
                  <a:lnTo>
                    <a:pt x="129324" y="118396"/>
                  </a:lnTo>
                  <a:lnTo>
                    <a:pt x="129324" y="129325"/>
                  </a:lnTo>
                  <a:lnTo>
                    <a:pt x="127503" y="129325"/>
                  </a:lnTo>
                  <a:lnTo>
                    <a:pt x="122038" y="118396"/>
                  </a:lnTo>
                  <a:close/>
                  <a:moveTo>
                    <a:pt x="25500" y="102002"/>
                  </a:moveTo>
                  <a:lnTo>
                    <a:pt x="25500" y="103823"/>
                  </a:lnTo>
                  <a:lnTo>
                    <a:pt x="27322" y="114753"/>
                  </a:lnTo>
                  <a:lnTo>
                    <a:pt x="25500" y="114753"/>
                  </a:lnTo>
                  <a:lnTo>
                    <a:pt x="16393" y="109288"/>
                  </a:lnTo>
                  <a:lnTo>
                    <a:pt x="16393" y="107467"/>
                  </a:lnTo>
                  <a:lnTo>
                    <a:pt x="21857" y="103823"/>
                  </a:lnTo>
                  <a:close/>
                  <a:moveTo>
                    <a:pt x="145718" y="96538"/>
                  </a:moveTo>
                  <a:lnTo>
                    <a:pt x="149361" y="96538"/>
                  </a:lnTo>
                  <a:lnTo>
                    <a:pt x="156647" y="98359"/>
                  </a:lnTo>
                  <a:lnTo>
                    <a:pt x="156647" y="102003"/>
                  </a:lnTo>
                  <a:lnTo>
                    <a:pt x="151183" y="109289"/>
                  </a:lnTo>
                  <a:lnTo>
                    <a:pt x="149361" y="109289"/>
                  </a:lnTo>
                  <a:close/>
                  <a:moveTo>
                    <a:pt x="89252" y="83787"/>
                  </a:moveTo>
                  <a:lnTo>
                    <a:pt x="92895" y="83787"/>
                  </a:lnTo>
                  <a:lnTo>
                    <a:pt x="111109" y="96537"/>
                  </a:lnTo>
                  <a:lnTo>
                    <a:pt x="118395" y="112931"/>
                  </a:lnTo>
                  <a:lnTo>
                    <a:pt x="118395" y="118395"/>
                  </a:lnTo>
                  <a:lnTo>
                    <a:pt x="112931" y="118395"/>
                  </a:lnTo>
                  <a:lnTo>
                    <a:pt x="109288" y="109288"/>
                  </a:lnTo>
                  <a:lnTo>
                    <a:pt x="81966" y="91073"/>
                  </a:lnTo>
                  <a:close/>
                  <a:moveTo>
                    <a:pt x="160291" y="74681"/>
                  </a:moveTo>
                  <a:lnTo>
                    <a:pt x="165755" y="83788"/>
                  </a:lnTo>
                  <a:lnTo>
                    <a:pt x="165755" y="85610"/>
                  </a:lnTo>
                  <a:lnTo>
                    <a:pt x="149361" y="83788"/>
                  </a:lnTo>
                  <a:lnTo>
                    <a:pt x="145718" y="83788"/>
                  </a:lnTo>
                  <a:lnTo>
                    <a:pt x="145718" y="80145"/>
                  </a:lnTo>
                  <a:close/>
                  <a:moveTo>
                    <a:pt x="0" y="63752"/>
                  </a:moveTo>
                  <a:lnTo>
                    <a:pt x="5464" y="63752"/>
                  </a:lnTo>
                  <a:lnTo>
                    <a:pt x="10929" y="74681"/>
                  </a:lnTo>
                  <a:lnTo>
                    <a:pt x="9107" y="74681"/>
                  </a:lnTo>
                  <a:lnTo>
                    <a:pt x="0" y="67395"/>
                  </a:lnTo>
                  <a:close/>
                  <a:moveTo>
                    <a:pt x="127503" y="56466"/>
                  </a:moveTo>
                  <a:lnTo>
                    <a:pt x="138432" y="56466"/>
                  </a:lnTo>
                  <a:lnTo>
                    <a:pt x="138432" y="58288"/>
                  </a:lnTo>
                  <a:lnTo>
                    <a:pt x="134789" y="58288"/>
                  </a:lnTo>
                  <a:lnTo>
                    <a:pt x="127503" y="61931"/>
                  </a:lnTo>
                  <a:close/>
                  <a:moveTo>
                    <a:pt x="122039" y="29143"/>
                  </a:moveTo>
                  <a:lnTo>
                    <a:pt x="122039" y="36429"/>
                  </a:lnTo>
                  <a:lnTo>
                    <a:pt x="118396" y="36429"/>
                  </a:lnTo>
                  <a:lnTo>
                    <a:pt x="112931" y="34607"/>
                  </a:lnTo>
                  <a:lnTo>
                    <a:pt x="112931" y="30964"/>
                  </a:lnTo>
                  <a:close/>
                  <a:moveTo>
                    <a:pt x="154825" y="0"/>
                  </a:moveTo>
                  <a:lnTo>
                    <a:pt x="160290" y="0"/>
                  </a:lnTo>
                  <a:lnTo>
                    <a:pt x="165754" y="7286"/>
                  </a:lnTo>
                  <a:lnTo>
                    <a:pt x="165754" y="10929"/>
                  </a:lnTo>
                  <a:lnTo>
                    <a:pt x="154825" y="30965"/>
                  </a:lnTo>
                  <a:lnTo>
                    <a:pt x="154825" y="34608"/>
                  </a:lnTo>
                  <a:lnTo>
                    <a:pt x="151182" y="34608"/>
                  </a:lnTo>
                  <a:lnTo>
                    <a:pt x="127503" y="25501"/>
                  </a:lnTo>
                  <a:lnTo>
                    <a:pt x="112932" y="25501"/>
                  </a:lnTo>
                  <a:lnTo>
                    <a:pt x="98360" y="36429"/>
                  </a:lnTo>
                  <a:lnTo>
                    <a:pt x="111110" y="47358"/>
                  </a:lnTo>
                  <a:lnTo>
                    <a:pt x="111110" y="51001"/>
                  </a:lnTo>
                  <a:lnTo>
                    <a:pt x="100181" y="47358"/>
                  </a:lnTo>
                  <a:lnTo>
                    <a:pt x="105646" y="56466"/>
                  </a:lnTo>
                  <a:lnTo>
                    <a:pt x="103824" y="56466"/>
                  </a:lnTo>
                  <a:lnTo>
                    <a:pt x="103824" y="58287"/>
                  </a:lnTo>
                  <a:lnTo>
                    <a:pt x="92895" y="51001"/>
                  </a:lnTo>
                  <a:lnTo>
                    <a:pt x="94717" y="56466"/>
                  </a:lnTo>
                  <a:lnTo>
                    <a:pt x="94717" y="58287"/>
                  </a:lnTo>
                  <a:lnTo>
                    <a:pt x="92895" y="58287"/>
                  </a:lnTo>
                  <a:lnTo>
                    <a:pt x="76502" y="41894"/>
                  </a:lnTo>
                  <a:lnTo>
                    <a:pt x="72859" y="41894"/>
                  </a:lnTo>
                  <a:lnTo>
                    <a:pt x="76502" y="40072"/>
                  </a:lnTo>
                  <a:lnTo>
                    <a:pt x="72859" y="40072"/>
                  </a:lnTo>
                  <a:lnTo>
                    <a:pt x="72859" y="41894"/>
                  </a:lnTo>
                  <a:lnTo>
                    <a:pt x="72859" y="56466"/>
                  </a:lnTo>
                  <a:lnTo>
                    <a:pt x="87431" y="78323"/>
                  </a:lnTo>
                  <a:lnTo>
                    <a:pt x="87431" y="80145"/>
                  </a:lnTo>
                  <a:lnTo>
                    <a:pt x="83788" y="80145"/>
                  </a:lnTo>
                  <a:lnTo>
                    <a:pt x="78324" y="78323"/>
                  </a:lnTo>
                  <a:lnTo>
                    <a:pt x="81967" y="85609"/>
                  </a:lnTo>
                  <a:lnTo>
                    <a:pt x="81967" y="89252"/>
                  </a:lnTo>
                  <a:lnTo>
                    <a:pt x="72859" y="89252"/>
                  </a:lnTo>
                  <a:lnTo>
                    <a:pt x="103824" y="109289"/>
                  </a:lnTo>
                  <a:lnTo>
                    <a:pt x="105646" y="109289"/>
                  </a:lnTo>
                  <a:lnTo>
                    <a:pt x="105646" y="129325"/>
                  </a:lnTo>
                  <a:lnTo>
                    <a:pt x="94717" y="118396"/>
                  </a:lnTo>
                  <a:lnTo>
                    <a:pt x="83788" y="115968"/>
                  </a:lnTo>
                  <a:lnTo>
                    <a:pt x="83788" y="118396"/>
                  </a:lnTo>
                  <a:lnTo>
                    <a:pt x="92895" y="131146"/>
                  </a:lnTo>
                  <a:lnTo>
                    <a:pt x="92895" y="134789"/>
                  </a:lnTo>
                  <a:lnTo>
                    <a:pt x="83788" y="140254"/>
                  </a:lnTo>
                  <a:lnTo>
                    <a:pt x="81966" y="140254"/>
                  </a:lnTo>
                  <a:lnTo>
                    <a:pt x="76502" y="134789"/>
                  </a:lnTo>
                  <a:lnTo>
                    <a:pt x="83788" y="163933"/>
                  </a:lnTo>
                  <a:lnTo>
                    <a:pt x="81966" y="163933"/>
                  </a:lnTo>
                  <a:lnTo>
                    <a:pt x="72859" y="156647"/>
                  </a:lnTo>
                  <a:lnTo>
                    <a:pt x="65573" y="163933"/>
                  </a:lnTo>
                  <a:lnTo>
                    <a:pt x="61930" y="163933"/>
                  </a:lnTo>
                  <a:lnTo>
                    <a:pt x="56466" y="147540"/>
                  </a:lnTo>
                  <a:lnTo>
                    <a:pt x="51001" y="156647"/>
                  </a:lnTo>
                  <a:lnTo>
                    <a:pt x="45537" y="151183"/>
                  </a:lnTo>
                  <a:lnTo>
                    <a:pt x="45537" y="136611"/>
                  </a:lnTo>
                  <a:lnTo>
                    <a:pt x="34608" y="123860"/>
                  </a:lnTo>
                  <a:lnTo>
                    <a:pt x="34608" y="120218"/>
                  </a:lnTo>
                  <a:lnTo>
                    <a:pt x="40073" y="109289"/>
                  </a:lnTo>
                  <a:lnTo>
                    <a:pt x="56466" y="107467"/>
                  </a:lnTo>
                  <a:lnTo>
                    <a:pt x="79149" y="113516"/>
                  </a:lnTo>
                  <a:lnTo>
                    <a:pt x="81967" y="109289"/>
                  </a:lnTo>
                  <a:lnTo>
                    <a:pt x="71038" y="103824"/>
                  </a:lnTo>
                  <a:lnTo>
                    <a:pt x="56466" y="103824"/>
                  </a:lnTo>
                  <a:lnTo>
                    <a:pt x="49180" y="107467"/>
                  </a:lnTo>
                  <a:lnTo>
                    <a:pt x="34608" y="107467"/>
                  </a:lnTo>
                  <a:lnTo>
                    <a:pt x="25501" y="91074"/>
                  </a:lnTo>
                  <a:lnTo>
                    <a:pt x="25501" y="89252"/>
                  </a:lnTo>
                  <a:lnTo>
                    <a:pt x="32786" y="89252"/>
                  </a:lnTo>
                  <a:lnTo>
                    <a:pt x="25501" y="85609"/>
                  </a:lnTo>
                  <a:lnTo>
                    <a:pt x="10929" y="67395"/>
                  </a:lnTo>
                  <a:lnTo>
                    <a:pt x="10929" y="63752"/>
                  </a:lnTo>
                  <a:lnTo>
                    <a:pt x="32786" y="36429"/>
                  </a:lnTo>
                  <a:lnTo>
                    <a:pt x="30965" y="29144"/>
                  </a:lnTo>
                  <a:lnTo>
                    <a:pt x="30965" y="25501"/>
                  </a:lnTo>
                  <a:lnTo>
                    <a:pt x="32786" y="25501"/>
                  </a:lnTo>
                  <a:lnTo>
                    <a:pt x="78324" y="12750"/>
                  </a:lnTo>
                  <a:lnTo>
                    <a:pt x="112932" y="5464"/>
                  </a:lnTo>
                  <a:lnTo>
                    <a:pt x="140254" y="14572"/>
                  </a:lnTo>
                  <a:lnTo>
                    <a:pt x="145718" y="12750"/>
                  </a:lnTo>
                  <a:lnTo>
                    <a:pt x="154825" y="7286"/>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6" name="Ibiza">
              <a:extLst>
                <a:ext uri="{FF2B5EF4-FFF2-40B4-BE49-F238E27FC236}">
                  <a16:creationId xmlns:a16="http://schemas.microsoft.com/office/drawing/2014/main" id="{1AB264D6-BC84-FFED-48BC-4E65968EA75F}"/>
                </a:ext>
              </a:extLst>
            </p:cNvPr>
            <p:cNvSpPr>
              <a:spLocks/>
            </p:cNvSpPr>
            <p:nvPr/>
          </p:nvSpPr>
          <p:spPr bwMode="auto">
            <a:xfrm>
              <a:off x="5860179" y="3588101"/>
              <a:ext cx="7228" cy="7228"/>
            </a:xfrm>
            <a:custGeom>
              <a:avLst/>
              <a:gdLst>
                <a:gd name="T0" fmla="*/ 3 w 4"/>
                <a:gd name="T1" fmla="*/ 0 h 4"/>
                <a:gd name="T2" fmla="*/ 4 w 4"/>
                <a:gd name="T3" fmla="*/ 0 h 4"/>
                <a:gd name="T4" fmla="*/ 4 w 4"/>
                <a:gd name="T5" fmla="*/ 1 h 4"/>
                <a:gd name="T6" fmla="*/ 3 w 4"/>
                <a:gd name="T7" fmla="*/ 4 h 4"/>
                <a:gd name="T8" fmla="*/ 0 w 4"/>
                <a:gd name="T9" fmla="*/ 4 h 4"/>
                <a:gd name="T10" fmla="*/ 0 w 4"/>
                <a:gd name="T11" fmla="*/ 3 h 4"/>
                <a:gd name="T12" fmla="*/ 3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3" y="0"/>
                  </a:moveTo>
                  <a:lnTo>
                    <a:pt x="4" y="0"/>
                  </a:lnTo>
                  <a:lnTo>
                    <a:pt x="4" y="1"/>
                  </a:lnTo>
                  <a:lnTo>
                    <a:pt x="3" y="4"/>
                  </a:lnTo>
                  <a:lnTo>
                    <a:pt x="0" y="4"/>
                  </a:lnTo>
                  <a:lnTo>
                    <a:pt x="0" y="3"/>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7" name="Menorca">
              <a:extLst>
                <a:ext uri="{FF2B5EF4-FFF2-40B4-BE49-F238E27FC236}">
                  <a16:creationId xmlns:a16="http://schemas.microsoft.com/office/drawing/2014/main" id="{ABAE236B-BCFC-71CE-9B8C-5515E2A01C38}"/>
                </a:ext>
              </a:extLst>
            </p:cNvPr>
            <p:cNvSpPr>
              <a:spLocks/>
            </p:cNvSpPr>
            <p:nvPr/>
          </p:nvSpPr>
          <p:spPr bwMode="auto">
            <a:xfrm>
              <a:off x="5918005" y="3557382"/>
              <a:ext cx="14457" cy="9036"/>
            </a:xfrm>
            <a:custGeom>
              <a:avLst/>
              <a:gdLst>
                <a:gd name="T0" fmla="*/ 0 w 8"/>
                <a:gd name="T1" fmla="*/ 0 h 5"/>
                <a:gd name="T2" fmla="*/ 6 w 8"/>
                <a:gd name="T3" fmla="*/ 0 h 5"/>
                <a:gd name="T4" fmla="*/ 8 w 8"/>
                <a:gd name="T5" fmla="*/ 3 h 5"/>
                <a:gd name="T6" fmla="*/ 8 w 8"/>
                <a:gd name="T7" fmla="*/ 5 h 5"/>
                <a:gd name="T8" fmla="*/ 6 w 8"/>
                <a:gd name="T9" fmla="*/ 5 h 5"/>
                <a:gd name="T10" fmla="*/ 2 w 8"/>
                <a:gd name="T11" fmla="*/ 2 h 5"/>
                <a:gd name="T12" fmla="*/ 0 w 8"/>
                <a:gd name="T13" fmla="*/ 2 h 5"/>
                <a:gd name="T14" fmla="*/ 0 w 8"/>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0" y="0"/>
                  </a:moveTo>
                  <a:lnTo>
                    <a:pt x="6" y="0"/>
                  </a:lnTo>
                  <a:lnTo>
                    <a:pt x="8" y="3"/>
                  </a:lnTo>
                  <a:lnTo>
                    <a:pt x="8" y="5"/>
                  </a:lnTo>
                  <a:lnTo>
                    <a:pt x="6" y="5"/>
                  </a:lnTo>
                  <a:lnTo>
                    <a:pt x="2" y="2"/>
                  </a:lnTo>
                  <a:lnTo>
                    <a:pt x="0" y="2"/>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8" name="Island">
              <a:extLst>
                <a:ext uri="{FF2B5EF4-FFF2-40B4-BE49-F238E27FC236}">
                  <a16:creationId xmlns:a16="http://schemas.microsoft.com/office/drawing/2014/main" id="{7CF8CD1E-5410-6492-28DB-AC5EAA63FDAB}"/>
                </a:ext>
              </a:extLst>
            </p:cNvPr>
            <p:cNvSpPr>
              <a:spLocks/>
            </p:cNvSpPr>
            <p:nvPr/>
          </p:nvSpPr>
          <p:spPr bwMode="auto">
            <a:xfrm>
              <a:off x="5182530" y="3595329"/>
              <a:ext cx="7228" cy="7228"/>
            </a:xfrm>
            <a:custGeom>
              <a:avLst/>
              <a:gdLst>
                <a:gd name="T0" fmla="*/ 4 w 4"/>
                <a:gd name="T1" fmla="*/ 0 h 4"/>
                <a:gd name="T2" fmla="*/ 4 w 4"/>
                <a:gd name="T3" fmla="*/ 4 h 4"/>
                <a:gd name="T4" fmla="*/ 3 w 4"/>
                <a:gd name="T5" fmla="*/ 4 h 4"/>
                <a:gd name="T6" fmla="*/ 0 w 4"/>
                <a:gd name="T7" fmla="*/ 3 h 4"/>
                <a:gd name="T8" fmla="*/ 0 w 4"/>
                <a:gd name="T9" fmla="*/ 1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4"/>
                  </a:lnTo>
                  <a:lnTo>
                    <a:pt x="3" y="4"/>
                  </a:lnTo>
                  <a:lnTo>
                    <a:pt x="0" y="3"/>
                  </a:lnTo>
                  <a:lnTo>
                    <a:pt x="0" y="1"/>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9" name="Sao Miguel">
              <a:extLst>
                <a:ext uri="{FF2B5EF4-FFF2-40B4-BE49-F238E27FC236}">
                  <a16:creationId xmlns:a16="http://schemas.microsoft.com/office/drawing/2014/main" id="{1DDB9CDB-A8EB-8BF8-74AB-8ABFFAD2FD1B}"/>
                </a:ext>
              </a:extLst>
            </p:cNvPr>
            <p:cNvSpPr>
              <a:spLocks/>
            </p:cNvSpPr>
            <p:nvPr/>
          </p:nvSpPr>
          <p:spPr bwMode="auto">
            <a:xfrm>
              <a:off x="5218672" y="3624243"/>
              <a:ext cx="19879" cy="9036"/>
            </a:xfrm>
            <a:custGeom>
              <a:avLst/>
              <a:gdLst>
                <a:gd name="T0" fmla="*/ 0 w 11"/>
                <a:gd name="T1" fmla="*/ 0 h 5"/>
                <a:gd name="T2" fmla="*/ 11 w 11"/>
                <a:gd name="T3" fmla="*/ 0 h 5"/>
                <a:gd name="T4" fmla="*/ 11 w 11"/>
                <a:gd name="T5" fmla="*/ 2 h 5"/>
                <a:gd name="T6" fmla="*/ 6 w 11"/>
                <a:gd name="T7" fmla="*/ 3 h 5"/>
                <a:gd name="T8" fmla="*/ 6 w 11"/>
                <a:gd name="T9" fmla="*/ 5 h 5"/>
                <a:gd name="T10" fmla="*/ 5 w 11"/>
                <a:gd name="T11" fmla="*/ 5 h 5"/>
                <a:gd name="T12" fmla="*/ 5 w 11"/>
                <a:gd name="T13" fmla="*/ 3 h 5"/>
                <a:gd name="T14" fmla="*/ 0 w 11"/>
                <a:gd name="T15" fmla="*/ 2 h 5"/>
                <a:gd name="T16" fmla="*/ 0 w 11"/>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0" y="0"/>
                  </a:moveTo>
                  <a:lnTo>
                    <a:pt x="11" y="0"/>
                  </a:lnTo>
                  <a:lnTo>
                    <a:pt x="11" y="2"/>
                  </a:lnTo>
                  <a:lnTo>
                    <a:pt x="6" y="3"/>
                  </a:lnTo>
                  <a:lnTo>
                    <a:pt x="6" y="5"/>
                  </a:lnTo>
                  <a:lnTo>
                    <a:pt x="5" y="5"/>
                  </a:lnTo>
                  <a:lnTo>
                    <a:pt x="5" y="3"/>
                  </a:lnTo>
                  <a:lnTo>
                    <a:pt x="0" y="2"/>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0" name="United Kingdom">
              <a:extLst>
                <a:ext uri="{FF2B5EF4-FFF2-40B4-BE49-F238E27FC236}">
                  <a16:creationId xmlns:a16="http://schemas.microsoft.com/office/drawing/2014/main" id="{86231F0E-77EE-B8F5-041E-BE3E520E1BD9}"/>
                </a:ext>
              </a:extLst>
            </p:cNvPr>
            <p:cNvSpPr>
              <a:spLocks/>
            </p:cNvSpPr>
            <p:nvPr/>
          </p:nvSpPr>
          <p:spPr bwMode="auto">
            <a:xfrm>
              <a:off x="5637909" y="2780343"/>
              <a:ext cx="233112" cy="448152"/>
            </a:xfrm>
            <a:custGeom>
              <a:avLst/>
              <a:gdLst/>
              <a:ahLst/>
              <a:cxnLst/>
              <a:rect l="l" t="t" r="r" b="b"/>
              <a:pathLst>
                <a:path w="234970" h="451724">
                  <a:moveTo>
                    <a:pt x="85610" y="278685"/>
                  </a:moveTo>
                  <a:lnTo>
                    <a:pt x="87432" y="278685"/>
                  </a:lnTo>
                  <a:lnTo>
                    <a:pt x="87432" y="291436"/>
                  </a:lnTo>
                  <a:lnTo>
                    <a:pt x="80145" y="295079"/>
                  </a:lnTo>
                  <a:lnTo>
                    <a:pt x="78324" y="295079"/>
                  </a:lnTo>
                  <a:lnTo>
                    <a:pt x="78324" y="291436"/>
                  </a:lnTo>
                  <a:close/>
                  <a:moveTo>
                    <a:pt x="18215" y="240434"/>
                  </a:moveTo>
                  <a:lnTo>
                    <a:pt x="25501" y="244077"/>
                  </a:lnTo>
                  <a:lnTo>
                    <a:pt x="29144" y="244077"/>
                  </a:lnTo>
                  <a:lnTo>
                    <a:pt x="29144" y="245899"/>
                  </a:lnTo>
                  <a:lnTo>
                    <a:pt x="23679" y="251363"/>
                  </a:lnTo>
                  <a:lnTo>
                    <a:pt x="45537" y="245899"/>
                  </a:lnTo>
                  <a:lnTo>
                    <a:pt x="47359" y="245899"/>
                  </a:lnTo>
                  <a:lnTo>
                    <a:pt x="52823" y="256827"/>
                  </a:lnTo>
                  <a:lnTo>
                    <a:pt x="52823" y="267756"/>
                  </a:lnTo>
                  <a:lnTo>
                    <a:pt x="61930" y="276864"/>
                  </a:lnTo>
                  <a:lnTo>
                    <a:pt x="63752" y="276864"/>
                  </a:lnTo>
                  <a:lnTo>
                    <a:pt x="61930" y="280507"/>
                  </a:lnTo>
                  <a:lnTo>
                    <a:pt x="61930" y="284150"/>
                  </a:lnTo>
                  <a:lnTo>
                    <a:pt x="47359" y="296900"/>
                  </a:lnTo>
                  <a:lnTo>
                    <a:pt x="45537" y="296900"/>
                  </a:lnTo>
                  <a:lnTo>
                    <a:pt x="36430" y="278685"/>
                  </a:lnTo>
                  <a:lnTo>
                    <a:pt x="9107" y="289614"/>
                  </a:lnTo>
                  <a:lnTo>
                    <a:pt x="0" y="276864"/>
                  </a:lnTo>
                  <a:lnTo>
                    <a:pt x="12750" y="255006"/>
                  </a:lnTo>
                  <a:close/>
                  <a:moveTo>
                    <a:pt x="52822" y="207647"/>
                  </a:moveTo>
                  <a:lnTo>
                    <a:pt x="61930" y="207647"/>
                  </a:lnTo>
                  <a:lnTo>
                    <a:pt x="51001" y="222219"/>
                  </a:lnTo>
                  <a:lnTo>
                    <a:pt x="47722" y="222219"/>
                  </a:lnTo>
                  <a:lnTo>
                    <a:pt x="51001" y="227685"/>
                  </a:lnTo>
                  <a:lnTo>
                    <a:pt x="51001" y="229506"/>
                  </a:lnTo>
                  <a:lnTo>
                    <a:pt x="47358" y="229506"/>
                  </a:lnTo>
                  <a:lnTo>
                    <a:pt x="40072" y="227685"/>
                  </a:lnTo>
                  <a:lnTo>
                    <a:pt x="36429" y="227685"/>
                  </a:lnTo>
                  <a:lnTo>
                    <a:pt x="36429" y="224041"/>
                  </a:lnTo>
                  <a:lnTo>
                    <a:pt x="41893" y="216755"/>
                  </a:lnTo>
                  <a:lnTo>
                    <a:pt x="45536" y="216755"/>
                  </a:lnTo>
                  <a:lnTo>
                    <a:pt x="45536" y="218577"/>
                  </a:lnTo>
                  <a:lnTo>
                    <a:pt x="47358" y="221613"/>
                  </a:lnTo>
                  <a:lnTo>
                    <a:pt x="47358" y="218576"/>
                  </a:lnTo>
                  <a:close/>
                  <a:moveTo>
                    <a:pt x="41895" y="138431"/>
                  </a:moveTo>
                  <a:lnTo>
                    <a:pt x="41895" y="140253"/>
                  </a:lnTo>
                  <a:lnTo>
                    <a:pt x="51002" y="156646"/>
                  </a:lnTo>
                  <a:lnTo>
                    <a:pt x="56467" y="156646"/>
                  </a:lnTo>
                  <a:lnTo>
                    <a:pt x="56467" y="160290"/>
                  </a:lnTo>
                  <a:lnTo>
                    <a:pt x="52824" y="165754"/>
                  </a:lnTo>
                  <a:lnTo>
                    <a:pt x="30966" y="154825"/>
                  </a:lnTo>
                  <a:lnTo>
                    <a:pt x="30966" y="151182"/>
                  </a:lnTo>
                  <a:close/>
                  <a:moveTo>
                    <a:pt x="41895" y="103824"/>
                  </a:moveTo>
                  <a:lnTo>
                    <a:pt x="45538" y="103824"/>
                  </a:lnTo>
                  <a:lnTo>
                    <a:pt x="45538" y="116575"/>
                  </a:lnTo>
                  <a:lnTo>
                    <a:pt x="40073" y="120218"/>
                  </a:lnTo>
                  <a:lnTo>
                    <a:pt x="41895" y="123861"/>
                  </a:lnTo>
                  <a:lnTo>
                    <a:pt x="25501" y="134790"/>
                  </a:lnTo>
                  <a:lnTo>
                    <a:pt x="23680" y="134790"/>
                  </a:lnTo>
                  <a:lnTo>
                    <a:pt x="23680" y="114753"/>
                  </a:lnTo>
                  <a:close/>
                  <a:moveTo>
                    <a:pt x="112931" y="94716"/>
                  </a:moveTo>
                  <a:lnTo>
                    <a:pt x="118396" y="98359"/>
                  </a:lnTo>
                  <a:lnTo>
                    <a:pt x="118396" y="111109"/>
                  </a:lnTo>
                  <a:lnTo>
                    <a:pt x="96538" y="129324"/>
                  </a:lnTo>
                  <a:lnTo>
                    <a:pt x="102002" y="132967"/>
                  </a:lnTo>
                  <a:lnTo>
                    <a:pt x="102002" y="134788"/>
                  </a:lnTo>
                  <a:lnTo>
                    <a:pt x="91074" y="140253"/>
                  </a:lnTo>
                  <a:lnTo>
                    <a:pt x="92895" y="143896"/>
                  </a:lnTo>
                  <a:lnTo>
                    <a:pt x="98359" y="143896"/>
                  </a:lnTo>
                  <a:lnTo>
                    <a:pt x="112931" y="140253"/>
                  </a:lnTo>
                  <a:lnTo>
                    <a:pt x="129324" y="140253"/>
                  </a:lnTo>
                  <a:lnTo>
                    <a:pt x="142075" y="138431"/>
                  </a:lnTo>
                  <a:lnTo>
                    <a:pt x="147539" y="138431"/>
                  </a:lnTo>
                  <a:lnTo>
                    <a:pt x="147539" y="140253"/>
                  </a:lnTo>
                  <a:lnTo>
                    <a:pt x="151182" y="151182"/>
                  </a:lnTo>
                  <a:lnTo>
                    <a:pt x="140253" y="176682"/>
                  </a:lnTo>
                  <a:lnTo>
                    <a:pt x="131146" y="193075"/>
                  </a:lnTo>
                  <a:lnTo>
                    <a:pt x="129324" y="193075"/>
                  </a:lnTo>
                  <a:lnTo>
                    <a:pt x="123860" y="194897"/>
                  </a:lnTo>
                  <a:lnTo>
                    <a:pt x="131146" y="202183"/>
                  </a:lnTo>
                  <a:lnTo>
                    <a:pt x="131146" y="205826"/>
                  </a:lnTo>
                  <a:lnTo>
                    <a:pt x="129324" y="205826"/>
                  </a:lnTo>
                  <a:lnTo>
                    <a:pt x="120217" y="211290"/>
                  </a:lnTo>
                  <a:lnTo>
                    <a:pt x="131146" y="211290"/>
                  </a:lnTo>
                  <a:lnTo>
                    <a:pt x="156647" y="229505"/>
                  </a:lnTo>
                  <a:lnTo>
                    <a:pt x="165754" y="267756"/>
                  </a:lnTo>
                  <a:lnTo>
                    <a:pt x="176683" y="273220"/>
                  </a:lnTo>
                  <a:lnTo>
                    <a:pt x="196719" y="302364"/>
                  </a:lnTo>
                  <a:lnTo>
                    <a:pt x="196719" y="313292"/>
                  </a:lnTo>
                  <a:lnTo>
                    <a:pt x="187612" y="311471"/>
                  </a:lnTo>
                  <a:lnTo>
                    <a:pt x="202184" y="324221"/>
                  </a:lnTo>
                  <a:lnTo>
                    <a:pt x="196719" y="340614"/>
                  </a:lnTo>
                  <a:lnTo>
                    <a:pt x="202184" y="340614"/>
                  </a:lnTo>
                  <a:lnTo>
                    <a:pt x="207648" y="338793"/>
                  </a:lnTo>
                  <a:lnTo>
                    <a:pt x="213113" y="338793"/>
                  </a:lnTo>
                  <a:lnTo>
                    <a:pt x="218577" y="335150"/>
                  </a:lnTo>
                  <a:lnTo>
                    <a:pt x="224041" y="335150"/>
                  </a:lnTo>
                  <a:lnTo>
                    <a:pt x="224041" y="338793"/>
                  </a:lnTo>
                  <a:lnTo>
                    <a:pt x="231327" y="346079"/>
                  </a:lnTo>
                  <a:lnTo>
                    <a:pt x="234970" y="346079"/>
                  </a:lnTo>
                  <a:lnTo>
                    <a:pt x="231327" y="369758"/>
                  </a:lnTo>
                  <a:lnTo>
                    <a:pt x="207648" y="395259"/>
                  </a:lnTo>
                  <a:lnTo>
                    <a:pt x="209470" y="397080"/>
                  </a:lnTo>
                  <a:lnTo>
                    <a:pt x="225863" y="400723"/>
                  </a:lnTo>
                  <a:lnTo>
                    <a:pt x="214934" y="413473"/>
                  </a:lnTo>
                  <a:lnTo>
                    <a:pt x="174862" y="424402"/>
                  </a:lnTo>
                  <a:lnTo>
                    <a:pt x="158468" y="418938"/>
                  </a:lnTo>
                  <a:lnTo>
                    <a:pt x="156647" y="424402"/>
                  </a:lnTo>
                  <a:lnTo>
                    <a:pt x="134789" y="429867"/>
                  </a:lnTo>
                  <a:lnTo>
                    <a:pt x="125681" y="424402"/>
                  </a:lnTo>
                  <a:lnTo>
                    <a:pt x="112931" y="428045"/>
                  </a:lnTo>
                  <a:lnTo>
                    <a:pt x="107467" y="440795"/>
                  </a:lnTo>
                  <a:lnTo>
                    <a:pt x="98359" y="440795"/>
                  </a:lnTo>
                  <a:lnTo>
                    <a:pt x="91074" y="437152"/>
                  </a:lnTo>
                  <a:lnTo>
                    <a:pt x="80145" y="437152"/>
                  </a:lnTo>
                  <a:lnTo>
                    <a:pt x="72859" y="448081"/>
                  </a:lnTo>
                  <a:lnTo>
                    <a:pt x="69216" y="451724"/>
                  </a:lnTo>
                  <a:lnTo>
                    <a:pt x="58287" y="451724"/>
                  </a:lnTo>
                  <a:lnTo>
                    <a:pt x="58287" y="448081"/>
                  </a:lnTo>
                  <a:lnTo>
                    <a:pt x="92895" y="406187"/>
                  </a:lnTo>
                  <a:lnTo>
                    <a:pt x="120217" y="402544"/>
                  </a:lnTo>
                  <a:lnTo>
                    <a:pt x="129324" y="391616"/>
                  </a:lnTo>
                  <a:lnTo>
                    <a:pt x="112931" y="400723"/>
                  </a:lnTo>
                  <a:lnTo>
                    <a:pt x="109288" y="400723"/>
                  </a:lnTo>
                  <a:lnTo>
                    <a:pt x="102002" y="389794"/>
                  </a:lnTo>
                  <a:lnTo>
                    <a:pt x="91074" y="391616"/>
                  </a:lnTo>
                  <a:lnTo>
                    <a:pt x="87431" y="391616"/>
                  </a:lnTo>
                  <a:lnTo>
                    <a:pt x="87431" y="389794"/>
                  </a:lnTo>
                  <a:lnTo>
                    <a:pt x="85609" y="384330"/>
                  </a:lnTo>
                  <a:lnTo>
                    <a:pt x="74680" y="389794"/>
                  </a:lnTo>
                  <a:lnTo>
                    <a:pt x="72859" y="389794"/>
                  </a:lnTo>
                  <a:lnTo>
                    <a:pt x="67395" y="380687"/>
                  </a:lnTo>
                  <a:lnTo>
                    <a:pt x="67395" y="378865"/>
                  </a:lnTo>
                  <a:lnTo>
                    <a:pt x="92895" y="362472"/>
                  </a:lnTo>
                  <a:lnTo>
                    <a:pt x="96538" y="355186"/>
                  </a:lnTo>
                  <a:lnTo>
                    <a:pt x="92895" y="340614"/>
                  </a:lnTo>
                  <a:lnTo>
                    <a:pt x="80145" y="344257"/>
                  </a:lnTo>
                  <a:lnTo>
                    <a:pt x="80145" y="340614"/>
                  </a:lnTo>
                  <a:lnTo>
                    <a:pt x="95445" y="327864"/>
                  </a:lnTo>
                  <a:lnTo>
                    <a:pt x="91074" y="327864"/>
                  </a:lnTo>
                  <a:lnTo>
                    <a:pt x="85610" y="318757"/>
                  </a:lnTo>
                  <a:lnTo>
                    <a:pt x="85610" y="316935"/>
                  </a:lnTo>
                  <a:lnTo>
                    <a:pt x="96539" y="324221"/>
                  </a:lnTo>
                  <a:lnTo>
                    <a:pt x="98361" y="324221"/>
                  </a:lnTo>
                  <a:lnTo>
                    <a:pt x="98361" y="325434"/>
                  </a:lnTo>
                  <a:lnTo>
                    <a:pt x="102002" y="322400"/>
                  </a:lnTo>
                  <a:lnTo>
                    <a:pt x="120217" y="318757"/>
                  </a:lnTo>
                  <a:lnTo>
                    <a:pt x="120217" y="316935"/>
                  </a:lnTo>
                  <a:lnTo>
                    <a:pt x="123860" y="306007"/>
                  </a:lnTo>
                  <a:lnTo>
                    <a:pt x="120217" y="306007"/>
                  </a:lnTo>
                  <a:lnTo>
                    <a:pt x="120217" y="302364"/>
                  </a:lnTo>
                  <a:lnTo>
                    <a:pt x="125681" y="289613"/>
                  </a:lnTo>
                  <a:lnTo>
                    <a:pt x="114753" y="291435"/>
                  </a:lnTo>
                  <a:lnTo>
                    <a:pt x="103824" y="276863"/>
                  </a:lnTo>
                  <a:lnTo>
                    <a:pt x="114753" y="260470"/>
                  </a:lnTo>
                  <a:lnTo>
                    <a:pt x="91074" y="262291"/>
                  </a:lnTo>
                  <a:lnTo>
                    <a:pt x="87431" y="267756"/>
                  </a:lnTo>
                  <a:lnTo>
                    <a:pt x="87431" y="271399"/>
                  </a:lnTo>
                  <a:lnTo>
                    <a:pt x="85609" y="271399"/>
                  </a:lnTo>
                  <a:lnTo>
                    <a:pt x="85609" y="267756"/>
                  </a:lnTo>
                  <a:lnTo>
                    <a:pt x="78323" y="262291"/>
                  </a:lnTo>
                  <a:lnTo>
                    <a:pt x="74680" y="267756"/>
                  </a:lnTo>
                  <a:lnTo>
                    <a:pt x="74680" y="271399"/>
                  </a:lnTo>
                  <a:lnTo>
                    <a:pt x="72859" y="271399"/>
                  </a:lnTo>
                  <a:lnTo>
                    <a:pt x="72859" y="267756"/>
                  </a:lnTo>
                  <a:lnTo>
                    <a:pt x="67395" y="256827"/>
                  </a:lnTo>
                  <a:lnTo>
                    <a:pt x="72859" y="256827"/>
                  </a:lnTo>
                  <a:lnTo>
                    <a:pt x="80145" y="234969"/>
                  </a:lnTo>
                  <a:lnTo>
                    <a:pt x="74680" y="227683"/>
                  </a:lnTo>
                  <a:lnTo>
                    <a:pt x="74680" y="224040"/>
                  </a:lnTo>
                  <a:lnTo>
                    <a:pt x="80145" y="216755"/>
                  </a:lnTo>
                  <a:lnTo>
                    <a:pt x="74680" y="213112"/>
                  </a:lnTo>
                  <a:lnTo>
                    <a:pt x="69216" y="218576"/>
                  </a:lnTo>
                  <a:lnTo>
                    <a:pt x="67395" y="218576"/>
                  </a:lnTo>
                  <a:lnTo>
                    <a:pt x="67395" y="207647"/>
                  </a:lnTo>
                  <a:lnTo>
                    <a:pt x="63752" y="213112"/>
                  </a:lnTo>
                  <a:lnTo>
                    <a:pt x="67395" y="218576"/>
                  </a:lnTo>
                  <a:lnTo>
                    <a:pt x="67395" y="224040"/>
                  </a:lnTo>
                  <a:lnTo>
                    <a:pt x="67394" y="224041"/>
                  </a:lnTo>
                  <a:lnTo>
                    <a:pt x="72860" y="224041"/>
                  </a:lnTo>
                  <a:lnTo>
                    <a:pt x="69217" y="234970"/>
                  </a:lnTo>
                  <a:lnTo>
                    <a:pt x="69217" y="238613"/>
                  </a:lnTo>
                  <a:lnTo>
                    <a:pt x="67395" y="238613"/>
                  </a:lnTo>
                  <a:lnTo>
                    <a:pt x="64156" y="228898"/>
                  </a:lnTo>
                  <a:lnTo>
                    <a:pt x="56466" y="240434"/>
                  </a:lnTo>
                  <a:lnTo>
                    <a:pt x="56466" y="244077"/>
                  </a:lnTo>
                  <a:lnTo>
                    <a:pt x="52823" y="244077"/>
                  </a:lnTo>
                  <a:lnTo>
                    <a:pt x="52823" y="240434"/>
                  </a:lnTo>
                  <a:lnTo>
                    <a:pt x="67395" y="189433"/>
                  </a:lnTo>
                  <a:lnTo>
                    <a:pt x="58287" y="194897"/>
                  </a:lnTo>
                  <a:lnTo>
                    <a:pt x="56466" y="194897"/>
                  </a:lnTo>
                  <a:lnTo>
                    <a:pt x="56463" y="194894"/>
                  </a:lnTo>
                  <a:lnTo>
                    <a:pt x="56466" y="194898"/>
                  </a:lnTo>
                  <a:lnTo>
                    <a:pt x="56466" y="198541"/>
                  </a:lnTo>
                  <a:lnTo>
                    <a:pt x="47358" y="198541"/>
                  </a:lnTo>
                  <a:lnTo>
                    <a:pt x="41894" y="189434"/>
                  </a:lnTo>
                  <a:lnTo>
                    <a:pt x="41894" y="187612"/>
                  </a:lnTo>
                  <a:lnTo>
                    <a:pt x="49181" y="187612"/>
                  </a:lnTo>
                  <a:lnTo>
                    <a:pt x="45537" y="183968"/>
                  </a:lnTo>
                  <a:lnTo>
                    <a:pt x="45537" y="182147"/>
                  </a:lnTo>
                  <a:lnTo>
                    <a:pt x="52823" y="178504"/>
                  </a:lnTo>
                  <a:lnTo>
                    <a:pt x="61930" y="156646"/>
                  </a:lnTo>
                  <a:lnTo>
                    <a:pt x="52823" y="154825"/>
                  </a:lnTo>
                  <a:lnTo>
                    <a:pt x="52823" y="143896"/>
                  </a:lnTo>
                  <a:lnTo>
                    <a:pt x="56466" y="143896"/>
                  </a:lnTo>
                  <a:lnTo>
                    <a:pt x="52823" y="134788"/>
                  </a:lnTo>
                  <a:lnTo>
                    <a:pt x="52823" y="132967"/>
                  </a:lnTo>
                  <a:lnTo>
                    <a:pt x="56466" y="132967"/>
                  </a:lnTo>
                  <a:lnTo>
                    <a:pt x="67395" y="127503"/>
                  </a:lnTo>
                  <a:lnTo>
                    <a:pt x="61930" y="122038"/>
                  </a:lnTo>
                  <a:lnTo>
                    <a:pt x="63752" y="116574"/>
                  </a:lnTo>
                  <a:lnTo>
                    <a:pt x="63752" y="114752"/>
                  </a:lnTo>
                  <a:lnTo>
                    <a:pt x="69216" y="114752"/>
                  </a:lnTo>
                  <a:lnTo>
                    <a:pt x="74680" y="100181"/>
                  </a:lnTo>
                  <a:lnTo>
                    <a:pt x="74680" y="98359"/>
                  </a:lnTo>
                  <a:close/>
                  <a:moveTo>
                    <a:pt x="160290" y="0"/>
                  </a:moveTo>
                  <a:lnTo>
                    <a:pt x="163933" y="0"/>
                  </a:lnTo>
                  <a:lnTo>
                    <a:pt x="163933" y="3643"/>
                  </a:lnTo>
                  <a:lnTo>
                    <a:pt x="165754" y="14572"/>
                  </a:lnTo>
                  <a:lnTo>
                    <a:pt x="165754" y="32787"/>
                  </a:lnTo>
                  <a:lnTo>
                    <a:pt x="160290" y="38251"/>
                  </a:lnTo>
                  <a:lnTo>
                    <a:pt x="158468" y="38251"/>
                  </a:lnTo>
                  <a:lnTo>
                    <a:pt x="160290" y="25501"/>
                  </a:lnTo>
                  <a:lnTo>
                    <a:pt x="153003" y="21858"/>
                  </a:lnTo>
                  <a:lnTo>
                    <a:pt x="153003" y="20036"/>
                  </a:lnTo>
                  <a:lnTo>
                    <a:pt x="160290" y="3643"/>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1" name="Sri Lanka">
              <a:extLst>
                <a:ext uri="{FF2B5EF4-FFF2-40B4-BE49-F238E27FC236}">
                  <a16:creationId xmlns:a16="http://schemas.microsoft.com/office/drawing/2014/main" id="{F1C9E17C-E1E7-ABED-9EB9-6C1A94DD0751}"/>
                </a:ext>
              </a:extLst>
            </p:cNvPr>
            <p:cNvSpPr>
              <a:spLocks/>
            </p:cNvSpPr>
            <p:nvPr/>
          </p:nvSpPr>
          <p:spPr bwMode="auto">
            <a:xfrm>
              <a:off x="7705188" y="4356102"/>
              <a:ext cx="54212" cy="93967"/>
            </a:xfrm>
            <a:custGeom>
              <a:avLst/>
              <a:gdLst>
                <a:gd name="T0" fmla="*/ 4 w 30"/>
                <a:gd name="T1" fmla="*/ 0 h 52"/>
                <a:gd name="T2" fmla="*/ 6 w 30"/>
                <a:gd name="T3" fmla="*/ 0 h 52"/>
                <a:gd name="T4" fmla="*/ 9 w 30"/>
                <a:gd name="T5" fmla="*/ 2 h 52"/>
                <a:gd name="T6" fmla="*/ 16 w 30"/>
                <a:gd name="T7" fmla="*/ 9 h 52"/>
                <a:gd name="T8" fmla="*/ 30 w 30"/>
                <a:gd name="T9" fmla="*/ 30 h 52"/>
                <a:gd name="T10" fmla="*/ 28 w 30"/>
                <a:gd name="T11" fmla="*/ 42 h 52"/>
                <a:gd name="T12" fmla="*/ 15 w 30"/>
                <a:gd name="T13" fmla="*/ 52 h 52"/>
                <a:gd name="T14" fmla="*/ 7 w 30"/>
                <a:gd name="T15" fmla="*/ 50 h 52"/>
                <a:gd name="T16" fmla="*/ 6 w 30"/>
                <a:gd name="T17" fmla="*/ 50 h 52"/>
                <a:gd name="T18" fmla="*/ 1 w 30"/>
                <a:gd name="T19" fmla="*/ 40 h 52"/>
                <a:gd name="T20" fmla="*/ 0 w 30"/>
                <a:gd name="T21" fmla="*/ 22 h 52"/>
                <a:gd name="T22" fmla="*/ 1 w 30"/>
                <a:gd name="T23" fmla="*/ 22 h 52"/>
                <a:gd name="T24" fmla="*/ 4 w 30"/>
                <a:gd name="T25" fmla="*/ 6 h 52"/>
                <a:gd name="T26" fmla="*/ 6 w 30"/>
                <a:gd name="T27" fmla="*/ 6 h 52"/>
                <a:gd name="T28" fmla="*/ 7 w 30"/>
                <a:gd name="T29" fmla="*/ 5 h 52"/>
                <a:gd name="T30" fmla="*/ 4 w 30"/>
                <a:gd name="T31" fmla="*/ 2 h 52"/>
                <a:gd name="T32" fmla="*/ 4 w 30"/>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52">
                  <a:moveTo>
                    <a:pt x="4" y="0"/>
                  </a:moveTo>
                  <a:lnTo>
                    <a:pt x="6" y="0"/>
                  </a:lnTo>
                  <a:lnTo>
                    <a:pt x="9" y="2"/>
                  </a:lnTo>
                  <a:lnTo>
                    <a:pt x="16" y="9"/>
                  </a:lnTo>
                  <a:lnTo>
                    <a:pt x="30" y="30"/>
                  </a:lnTo>
                  <a:lnTo>
                    <a:pt x="28" y="42"/>
                  </a:lnTo>
                  <a:lnTo>
                    <a:pt x="15" y="52"/>
                  </a:lnTo>
                  <a:lnTo>
                    <a:pt x="7" y="50"/>
                  </a:lnTo>
                  <a:lnTo>
                    <a:pt x="6" y="50"/>
                  </a:lnTo>
                  <a:lnTo>
                    <a:pt x="1" y="40"/>
                  </a:lnTo>
                  <a:lnTo>
                    <a:pt x="0" y="22"/>
                  </a:lnTo>
                  <a:lnTo>
                    <a:pt x="1" y="22"/>
                  </a:lnTo>
                  <a:lnTo>
                    <a:pt x="4" y="6"/>
                  </a:lnTo>
                  <a:lnTo>
                    <a:pt x="6" y="6"/>
                  </a:lnTo>
                  <a:lnTo>
                    <a:pt x="7" y="5"/>
                  </a:lnTo>
                  <a:lnTo>
                    <a:pt x="4" y="2"/>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2" name="Afghanistan">
              <a:extLst>
                <a:ext uri="{FF2B5EF4-FFF2-40B4-BE49-F238E27FC236}">
                  <a16:creationId xmlns:a16="http://schemas.microsoft.com/office/drawing/2014/main" id="{A089671F-773E-8CF8-E9BE-22DE2BDA3685}"/>
                </a:ext>
              </a:extLst>
            </p:cNvPr>
            <p:cNvSpPr>
              <a:spLocks noEditPoints="1"/>
            </p:cNvSpPr>
            <p:nvPr/>
          </p:nvSpPr>
          <p:spPr bwMode="auto">
            <a:xfrm>
              <a:off x="7251616" y="3607980"/>
              <a:ext cx="341535" cy="258410"/>
            </a:xfrm>
            <a:custGeom>
              <a:avLst/>
              <a:gdLst>
                <a:gd name="T0" fmla="*/ 12 w 189"/>
                <a:gd name="T1" fmla="*/ 46 h 143"/>
                <a:gd name="T2" fmla="*/ 12 w 189"/>
                <a:gd name="T3" fmla="*/ 43 h 143"/>
                <a:gd name="T4" fmla="*/ 143 w 189"/>
                <a:gd name="T5" fmla="*/ 3 h 143"/>
                <a:gd name="T6" fmla="*/ 146 w 189"/>
                <a:gd name="T7" fmla="*/ 9 h 143"/>
                <a:gd name="T8" fmla="*/ 147 w 189"/>
                <a:gd name="T9" fmla="*/ 30 h 143"/>
                <a:gd name="T10" fmla="*/ 174 w 189"/>
                <a:gd name="T11" fmla="*/ 17 h 143"/>
                <a:gd name="T12" fmla="*/ 184 w 189"/>
                <a:gd name="T13" fmla="*/ 18 h 143"/>
                <a:gd name="T14" fmla="*/ 184 w 189"/>
                <a:gd name="T15" fmla="*/ 23 h 143"/>
                <a:gd name="T16" fmla="*/ 174 w 189"/>
                <a:gd name="T17" fmla="*/ 26 h 143"/>
                <a:gd name="T18" fmla="*/ 143 w 189"/>
                <a:gd name="T19" fmla="*/ 37 h 143"/>
                <a:gd name="T20" fmla="*/ 147 w 189"/>
                <a:gd name="T21" fmla="*/ 49 h 143"/>
                <a:gd name="T22" fmla="*/ 138 w 189"/>
                <a:gd name="T23" fmla="*/ 64 h 143"/>
                <a:gd name="T24" fmla="*/ 138 w 189"/>
                <a:gd name="T25" fmla="*/ 72 h 143"/>
                <a:gd name="T26" fmla="*/ 129 w 189"/>
                <a:gd name="T27" fmla="*/ 82 h 143"/>
                <a:gd name="T28" fmla="*/ 114 w 189"/>
                <a:gd name="T29" fmla="*/ 98 h 143"/>
                <a:gd name="T30" fmla="*/ 112 w 189"/>
                <a:gd name="T31" fmla="*/ 110 h 143"/>
                <a:gd name="T32" fmla="*/ 101 w 189"/>
                <a:gd name="T33" fmla="*/ 106 h 143"/>
                <a:gd name="T34" fmla="*/ 97 w 189"/>
                <a:gd name="T35" fmla="*/ 113 h 143"/>
                <a:gd name="T36" fmla="*/ 79 w 189"/>
                <a:gd name="T37" fmla="*/ 121 h 143"/>
                <a:gd name="T38" fmla="*/ 76 w 189"/>
                <a:gd name="T39" fmla="*/ 137 h 143"/>
                <a:gd name="T40" fmla="*/ 52 w 189"/>
                <a:gd name="T41" fmla="*/ 140 h 143"/>
                <a:gd name="T42" fmla="*/ 39 w 189"/>
                <a:gd name="T43" fmla="*/ 140 h 143"/>
                <a:gd name="T44" fmla="*/ 6 w 189"/>
                <a:gd name="T45" fmla="*/ 137 h 143"/>
                <a:gd name="T46" fmla="*/ 17 w 189"/>
                <a:gd name="T47" fmla="*/ 116 h 143"/>
                <a:gd name="T48" fmla="*/ 5 w 189"/>
                <a:gd name="T49" fmla="*/ 106 h 143"/>
                <a:gd name="T50" fmla="*/ 5 w 189"/>
                <a:gd name="T51" fmla="*/ 79 h 143"/>
                <a:gd name="T52" fmla="*/ 0 w 189"/>
                <a:gd name="T53" fmla="*/ 69 h 143"/>
                <a:gd name="T54" fmla="*/ 9 w 189"/>
                <a:gd name="T55" fmla="*/ 58 h 143"/>
                <a:gd name="T56" fmla="*/ 15 w 189"/>
                <a:gd name="T57" fmla="*/ 49 h 143"/>
                <a:gd name="T58" fmla="*/ 34 w 189"/>
                <a:gd name="T59" fmla="*/ 49 h 143"/>
                <a:gd name="T60" fmla="*/ 36 w 189"/>
                <a:gd name="T61" fmla="*/ 43 h 143"/>
                <a:gd name="T62" fmla="*/ 60 w 189"/>
                <a:gd name="T63" fmla="*/ 20 h 143"/>
                <a:gd name="T64" fmla="*/ 70 w 189"/>
                <a:gd name="T65" fmla="*/ 15 h 143"/>
                <a:gd name="T66" fmla="*/ 95 w 189"/>
                <a:gd name="T67" fmla="*/ 20 h 143"/>
                <a:gd name="T68" fmla="*/ 112 w 189"/>
                <a:gd name="T69" fmla="*/ 18 h 143"/>
                <a:gd name="T70" fmla="*/ 119 w 189"/>
                <a:gd name="T71" fmla="*/ 14 h 143"/>
                <a:gd name="T72" fmla="*/ 129 w 189"/>
                <a:gd name="T73" fmla="*/ 12 h 143"/>
                <a:gd name="T74" fmla="*/ 137 w 189"/>
                <a:gd name="T7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143">
                  <a:moveTo>
                    <a:pt x="12" y="43"/>
                  </a:moveTo>
                  <a:lnTo>
                    <a:pt x="12" y="46"/>
                  </a:lnTo>
                  <a:lnTo>
                    <a:pt x="11" y="46"/>
                  </a:lnTo>
                  <a:lnTo>
                    <a:pt x="12" y="43"/>
                  </a:lnTo>
                  <a:close/>
                  <a:moveTo>
                    <a:pt x="137" y="0"/>
                  </a:moveTo>
                  <a:lnTo>
                    <a:pt x="143" y="3"/>
                  </a:lnTo>
                  <a:lnTo>
                    <a:pt x="141" y="8"/>
                  </a:lnTo>
                  <a:lnTo>
                    <a:pt x="146" y="9"/>
                  </a:lnTo>
                  <a:lnTo>
                    <a:pt x="144" y="23"/>
                  </a:lnTo>
                  <a:lnTo>
                    <a:pt x="147" y="30"/>
                  </a:lnTo>
                  <a:lnTo>
                    <a:pt x="171" y="17"/>
                  </a:lnTo>
                  <a:lnTo>
                    <a:pt x="174" y="17"/>
                  </a:lnTo>
                  <a:lnTo>
                    <a:pt x="175" y="20"/>
                  </a:lnTo>
                  <a:lnTo>
                    <a:pt x="184" y="18"/>
                  </a:lnTo>
                  <a:lnTo>
                    <a:pt x="189" y="18"/>
                  </a:lnTo>
                  <a:lnTo>
                    <a:pt x="184" y="23"/>
                  </a:lnTo>
                  <a:lnTo>
                    <a:pt x="186" y="24"/>
                  </a:lnTo>
                  <a:lnTo>
                    <a:pt x="174" y="26"/>
                  </a:lnTo>
                  <a:lnTo>
                    <a:pt x="160" y="27"/>
                  </a:lnTo>
                  <a:lnTo>
                    <a:pt x="143" y="37"/>
                  </a:lnTo>
                  <a:lnTo>
                    <a:pt x="141" y="39"/>
                  </a:lnTo>
                  <a:lnTo>
                    <a:pt x="147" y="49"/>
                  </a:lnTo>
                  <a:lnTo>
                    <a:pt x="147" y="54"/>
                  </a:lnTo>
                  <a:lnTo>
                    <a:pt x="138" y="64"/>
                  </a:lnTo>
                  <a:lnTo>
                    <a:pt x="141" y="67"/>
                  </a:lnTo>
                  <a:lnTo>
                    <a:pt x="138" y="72"/>
                  </a:lnTo>
                  <a:lnTo>
                    <a:pt x="125" y="72"/>
                  </a:lnTo>
                  <a:lnTo>
                    <a:pt x="129" y="82"/>
                  </a:lnTo>
                  <a:lnTo>
                    <a:pt x="119" y="86"/>
                  </a:lnTo>
                  <a:lnTo>
                    <a:pt x="114" y="98"/>
                  </a:lnTo>
                  <a:lnTo>
                    <a:pt x="116" y="106"/>
                  </a:lnTo>
                  <a:lnTo>
                    <a:pt x="112" y="110"/>
                  </a:lnTo>
                  <a:lnTo>
                    <a:pt x="107" y="106"/>
                  </a:lnTo>
                  <a:lnTo>
                    <a:pt x="101" y="106"/>
                  </a:lnTo>
                  <a:lnTo>
                    <a:pt x="94" y="112"/>
                  </a:lnTo>
                  <a:lnTo>
                    <a:pt x="97" y="113"/>
                  </a:lnTo>
                  <a:lnTo>
                    <a:pt x="83" y="115"/>
                  </a:lnTo>
                  <a:lnTo>
                    <a:pt x="79" y="121"/>
                  </a:lnTo>
                  <a:lnTo>
                    <a:pt x="77" y="135"/>
                  </a:lnTo>
                  <a:lnTo>
                    <a:pt x="76" y="137"/>
                  </a:lnTo>
                  <a:lnTo>
                    <a:pt x="61" y="140"/>
                  </a:lnTo>
                  <a:lnTo>
                    <a:pt x="52" y="140"/>
                  </a:lnTo>
                  <a:lnTo>
                    <a:pt x="48" y="143"/>
                  </a:lnTo>
                  <a:lnTo>
                    <a:pt x="39" y="140"/>
                  </a:lnTo>
                  <a:lnTo>
                    <a:pt x="26" y="143"/>
                  </a:lnTo>
                  <a:lnTo>
                    <a:pt x="6" y="137"/>
                  </a:lnTo>
                  <a:lnTo>
                    <a:pt x="15" y="123"/>
                  </a:lnTo>
                  <a:lnTo>
                    <a:pt x="17" y="116"/>
                  </a:lnTo>
                  <a:lnTo>
                    <a:pt x="12" y="110"/>
                  </a:lnTo>
                  <a:lnTo>
                    <a:pt x="5" y="106"/>
                  </a:lnTo>
                  <a:lnTo>
                    <a:pt x="2" y="88"/>
                  </a:lnTo>
                  <a:lnTo>
                    <a:pt x="5" y="79"/>
                  </a:lnTo>
                  <a:lnTo>
                    <a:pt x="0" y="76"/>
                  </a:lnTo>
                  <a:lnTo>
                    <a:pt x="0" y="69"/>
                  </a:lnTo>
                  <a:lnTo>
                    <a:pt x="6" y="67"/>
                  </a:lnTo>
                  <a:lnTo>
                    <a:pt x="9" y="58"/>
                  </a:lnTo>
                  <a:lnTo>
                    <a:pt x="12" y="46"/>
                  </a:lnTo>
                  <a:lnTo>
                    <a:pt x="15" y="49"/>
                  </a:lnTo>
                  <a:lnTo>
                    <a:pt x="30" y="52"/>
                  </a:lnTo>
                  <a:lnTo>
                    <a:pt x="34" y="49"/>
                  </a:lnTo>
                  <a:lnTo>
                    <a:pt x="37" y="45"/>
                  </a:lnTo>
                  <a:lnTo>
                    <a:pt x="36" y="43"/>
                  </a:lnTo>
                  <a:lnTo>
                    <a:pt x="54" y="35"/>
                  </a:lnTo>
                  <a:lnTo>
                    <a:pt x="60" y="20"/>
                  </a:lnTo>
                  <a:lnTo>
                    <a:pt x="66" y="20"/>
                  </a:lnTo>
                  <a:lnTo>
                    <a:pt x="70" y="15"/>
                  </a:lnTo>
                  <a:lnTo>
                    <a:pt x="80" y="17"/>
                  </a:lnTo>
                  <a:lnTo>
                    <a:pt x="95" y="20"/>
                  </a:lnTo>
                  <a:lnTo>
                    <a:pt x="100" y="24"/>
                  </a:lnTo>
                  <a:lnTo>
                    <a:pt x="112" y="18"/>
                  </a:lnTo>
                  <a:lnTo>
                    <a:pt x="117" y="23"/>
                  </a:lnTo>
                  <a:lnTo>
                    <a:pt x="119" y="14"/>
                  </a:lnTo>
                  <a:lnTo>
                    <a:pt x="128" y="15"/>
                  </a:lnTo>
                  <a:lnTo>
                    <a:pt x="129" y="12"/>
                  </a:lnTo>
                  <a:lnTo>
                    <a:pt x="128" y="9"/>
                  </a:lnTo>
                  <a:lnTo>
                    <a:pt x="13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3" name="Iraq">
              <a:extLst>
                <a:ext uri="{FF2B5EF4-FFF2-40B4-BE49-F238E27FC236}">
                  <a16:creationId xmlns:a16="http://schemas.microsoft.com/office/drawing/2014/main" id="{E03CB969-1114-5EE6-74AD-5863286E6AD2}"/>
                </a:ext>
              </a:extLst>
            </p:cNvPr>
            <p:cNvSpPr>
              <a:spLocks/>
            </p:cNvSpPr>
            <p:nvPr/>
          </p:nvSpPr>
          <p:spPr bwMode="auto">
            <a:xfrm>
              <a:off x="6738411" y="3635085"/>
              <a:ext cx="234918" cy="238532"/>
            </a:xfrm>
            <a:custGeom>
              <a:avLst/>
              <a:gdLst>
                <a:gd name="T0" fmla="*/ 56 w 130"/>
                <a:gd name="T1" fmla="*/ 0 h 132"/>
                <a:gd name="T2" fmla="*/ 59 w 130"/>
                <a:gd name="T3" fmla="*/ 0 h 132"/>
                <a:gd name="T4" fmla="*/ 62 w 130"/>
                <a:gd name="T5" fmla="*/ 2 h 132"/>
                <a:gd name="T6" fmla="*/ 66 w 130"/>
                <a:gd name="T7" fmla="*/ 2 h 132"/>
                <a:gd name="T8" fmla="*/ 69 w 130"/>
                <a:gd name="T9" fmla="*/ 3 h 132"/>
                <a:gd name="T10" fmla="*/ 74 w 130"/>
                <a:gd name="T11" fmla="*/ 3 h 132"/>
                <a:gd name="T12" fmla="*/ 75 w 130"/>
                <a:gd name="T13" fmla="*/ 5 h 132"/>
                <a:gd name="T14" fmla="*/ 78 w 130"/>
                <a:gd name="T15" fmla="*/ 3 h 132"/>
                <a:gd name="T16" fmla="*/ 81 w 130"/>
                <a:gd name="T17" fmla="*/ 3 h 132"/>
                <a:gd name="T18" fmla="*/ 81 w 130"/>
                <a:gd name="T19" fmla="*/ 12 h 132"/>
                <a:gd name="T20" fmla="*/ 90 w 130"/>
                <a:gd name="T21" fmla="*/ 24 h 132"/>
                <a:gd name="T22" fmla="*/ 99 w 130"/>
                <a:gd name="T23" fmla="*/ 27 h 132"/>
                <a:gd name="T24" fmla="*/ 101 w 130"/>
                <a:gd name="T25" fmla="*/ 27 h 132"/>
                <a:gd name="T26" fmla="*/ 101 w 130"/>
                <a:gd name="T27" fmla="*/ 28 h 132"/>
                <a:gd name="T28" fmla="*/ 98 w 130"/>
                <a:gd name="T29" fmla="*/ 33 h 132"/>
                <a:gd name="T30" fmla="*/ 98 w 130"/>
                <a:gd name="T31" fmla="*/ 37 h 132"/>
                <a:gd name="T32" fmla="*/ 90 w 130"/>
                <a:gd name="T33" fmla="*/ 49 h 132"/>
                <a:gd name="T34" fmla="*/ 89 w 130"/>
                <a:gd name="T35" fmla="*/ 57 h 132"/>
                <a:gd name="T36" fmla="*/ 96 w 130"/>
                <a:gd name="T37" fmla="*/ 70 h 132"/>
                <a:gd name="T38" fmla="*/ 112 w 130"/>
                <a:gd name="T39" fmla="*/ 80 h 132"/>
                <a:gd name="T40" fmla="*/ 118 w 130"/>
                <a:gd name="T41" fmla="*/ 91 h 132"/>
                <a:gd name="T42" fmla="*/ 117 w 130"/>
                <a:gd name="T43" fmla="*/ 103 h 132"/>
                <a:gd name="T44" fmla="*/ 120 w 130"/>
                <a:gd name="T45" fmla="*/ 104 h 132"/>
                <a:gd name="T46" fmla="*/ 121 w 130"/>
                <a:gd name="T47" fmla="*/ 104 h 132"/>
                <a:gd name="T48" fmla="*/ 123 w 130"/>
                <a:gd name="T49" fmla="*/ 111 h 132"/>
                <a:gd name="T50" fmla="*/ 130 w 130"/>
                <a:gd name="T51" fmla="*/ 117 h 132"/>
                <a:gd name="T52" fmla="*/ 130 w 130"/>
                <a:gd name="T53" fmla="*/ 119 h 132"/>
                <a:gd name="T54" fmla="*/ 127 w 130"/>
                <a:gd name="T55" fmla="*/ 120 h 132"/>
                <a:gd name="T56" fmla="*/ 121 w 130"/>
                <a:gd name="T57" fmla="*/ 119 h 132"/>
                <a:gd name="T58" fmla="*/ 112 w 130"/>
                <a:gd name="T59" fmla="*/ 119 h 132"/>
                <a:gd name="T60" fmla="*/ 104 w 130"/>
                <a:gd name="T61" fmla="*/ 132 h 132"/>
                <a:gd name="T62" fmla="*/ 90 w 130"/>
                <a:gd name="T63" fmla="*/ 128 h 132"/>
                <a:gd name="T64" fmla="*/ 81 w 130"/>
                <a:gd name="T65" fmla="*/ 131 h 132"/>
                <a:gd name="T66" fmla="*/ 80 w 130"/>
                <a:gd name="T67" fmla="*/ 131 h 132"/>
                <a:gd name="T68" fmla="*/ 65 w 130"/>
                <a:gd name="T69" fmla="*/ 125 h 132"/>
                <a:gd name="T70" fmla="*/ 65 w 130"/>
                <a:gd name="T71" fmla="*/ 123 h 132"/>
                <a:gd name="T72" fmla="*/ 64 w 130"/>
                <a:gd name="T73" fmla="*/ 114 h 132"/>
                <a:gd name="T74" fmla="*/ 58 w 130"/>
                <a:gd name="T75" fmla="*/ 113 h 132"/>
                <a:gd name="T76" fmla="*/ 56 w 130"/>
                <a:gd name="T77" fmla="*/ 113 h 132"/>
                <a:gd name="T78" fmla="*/ 53 w 130"/>
                <a:gd name="T79" fmla="*/ 107 h 132"/>
                <a:gd name="T80" fmla="*/ 40 w 130"/>
                <a:gd name="T81" fmla="*/ 103 h 132"/>
                <a:gd name="T82" fmla="*/ 25 w 130"/>
                <a:gd name="T83" fmla="*/ 91 h 132"/>
                <a:gd name="T84" fmla="*/ 6 w 130"/>
                <a:gd name="T85" fmla="*/ 85 h 132"/>
                <a:gd name="T86" fmla="*/ 4 w 130"/>
                <a:gd name="T87" fmla="*/ 85 h 132"/>
                <a:gd name="T88" fmla="*/ 0 w 130"/>
                <a:gd name="T89" fmla="*/ 68 h 132"/>
                <a:gd name="T90" fmla="*/ 0 w 130"/>
                <a:gd name="T91" fmla="*/ 67 h 132"/>
                <a:gd name="T92" fmla="*/ 31 w 130"/>
                <a:gd name="T93" fmla="*/ 49 h 132"/>
                <a:gd name="T94" fmla="*/ 32 w 130"/>
                <a:gd name="T95" fmla="*/ 43 h 132"/>
                <a:gd name="T96" fmla="*/ 34 w 130"/>
                <a:gd name="T97" fmla="*/ 18 h 132"/>
                <a:gd name="T98" fmla="*/ 34 w 130"/>
                <a:gd name="T99" fmla="*/ 17 h 132"/>
                <a:gd name="T100" fmla="*/ 43 w 130"/>
                <a:gd name="T101" fmla="*/ 15 h 132"/>
                <a:gd name="T102" fmla="*/ 50 w 130"/>
                <a:gd name="T103" fmla="*/ 5 h 132"/>
                <a:gd name="T104" fmla="*/ 56 w 130"/>
                <a:gd name="T10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 h="132">
                  <a:moveTo>
                    <a:pt x="56" y="0"/>
                  </a:moveTo>
                  <a:lnTo>
                    <a:pt x="59" y="0"/>
                  </a:lnTo>
                  <a:lnTo>
                    <a:pt x="62" y="2"/>
                  </a:lnTo>
                  <a:lnTo>
                    <a:pt x="66" y="2"/>
                  </a:lnTo>
                  <a:lnTo>
                    <a:pt x="69" y="3"/>
                  </a:lnTo>
                  <a:lnTo>
                    <a:pt x="74" y="3"/>
                  </a:lnTo>
                  <a:lnTo>
                    <a:pt x="75" y="5"/>
                  </a:lnTo>
                  <a:lnTo>
                    <a:pt x="78" y="3"/>
                  </a:lnTo>
                  <a:lnTo>
                    <a:pt x="81" y="3"/>
                  </a:lnTo>
                  <a:lnTo>
                    <a:pt x="81" y="12"/>
                  </a:lnTo>
                  <a:lnTo>
                    <a:pt x="90" y="24"/>
                  </a:lnTo>
                  <a:lnTo>
                    <a:pt x="99" y="27"/>
                  </a:lnTo>
                  <a:lnTo>
                    <a:pt x="101" y="27"/>
                  </a:lnTo>
                  <a:lnTo>
                    <a:pt x="101" y="28"/>
                  </a:lnTo>
                  <a:lnTo>
                    <a:pt x="98" y="33"/>
                  </a:lnTo>
                  <a:lnTo>
                    <a:pt x="98" y="37"/>
                  </a:lnTo>
                  <a:lnTo>
                    <a:pt x="90" y="49"/>
                  </a:lnTo>
                  <a:lnTo>
                    <a:pt x="89" y="57"/>
                  </a:lnTo>
                  <a:lnTo>
                    <a:pt x="96" y="70"/>
                  </a:lnTo>
                  <a:lnTo>
                    <a:pt x="112" y="80"/>
                  </a:lnTo>
                  <a:lnTo>
                    <a:pt x="118" y="91"/>
                  </a:lnTo>
                  <a:lnTo>
                    <a:pt x="117" y="103"/>
                  </a:lnTo>
                  <a:lnTo>
                    <a:pt x="120" y="104"/>
                  </a:lnTo>
                  <a:lnTo>
                    <a:pt x="121" y="104"/>
                  </a:lnTo>
                  <a:lnTo>
                    <a:pt x="123" y="111"/>
                  </a:lnTo>
                  <a:lnTo>
                    <a:pt x="130" y="117"/>
                  </a:lnTo>
                  <a:lnTo>
                    <a:pt x="130" y="119"/>
                  </a:lnTo>
                  <a:lnTo>
                    <a:pt x="127" y="120"/>
                  </a:lnTo>
                  <a:lnTo>
                    <a:pt x="121" y="119"/>
                  </a:lnTo>
                  <a:lnTo>
                    <a:pt x="112" y="119"/>
                  </a:lnTo>
                  <a:lnTo>
                    <a:pt x="104" y="132"/>
                  </a:lnTo>
                  <a:lnTo>
                    <a:pt x="90" y="128"/>
                  </a:lnTo>
                  <a:lnTo>
                    <a:pt x="81" y="131"/>
                  </a:lnTo>
                  <a:lnTo>
                    <a:pt x="80" y="131"/>
                  </a:lnTo>
                  <a:lnTo>
                    <a:pt x="65" y="125"/>
                  </a:lnTo>
                  <a:lnTo>
                    <a:pt x="65" y="123"/>
                  </a:lnTo>
                  <a:lnTo>
                    <a:pt x="64" y="114"/>
                  </a:lnTo>
                  <a:lnTo>
                    <a:pt x="58" y="113"/>
                  </a:lnTo>
                  <a:lnTo>
                    <a:pt x="56" y="113"/>
                  </a:lnTo>
                  <a:lnTo>
                    <a:pt x="53" y="107"/>
                  </a:lnTo>
                  <a:lnTo>
                    <a:pt x="40" y="103"/>
                  </a:lnTo>
                  <a:lnTo>
                    <a:pt x="25" y="91"/>
                  </a:lnTo>
                  <a:lnTo>
                    <a:pt x="6" y="85"/>
                  </a:lnTo>
                  <a:lnTo>
                    <a:pt x="4" y="85"/>
                  </a:lnTo>
                  <a:lnTo>
                    <a:pt x="0" y="68"/>
                  </a:lnTo>
                  <a:lnTo>
                    <a:pt x="0" y="67"/>
                  </a:lnTo>
                  <a:lnTo>
                    <a:pt x="31" y="49"/>
                  </a:lnTo>
                  <a:lnTo>
                    <a:pt x="32" y="43"/>
                  </a:lnTo>
                  <a:lnTo>
                    <a:pt x="34" y="18"/>
                  </a:lnTo>
                  <a:lnTo>
                    <a:pt x="34" y="17"/>
                  </a:lnTo>
                  <a:lnTo>
                    <a:pt x="43" y="15"/>
                  </a:lnTo>
                  <a:lnTo>
                    <a:pt x="50" y="5"/>
                  </a:lnTo>
                  <a:lnTo>
                    <a:pt x="5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4" name="Jordan">
              <a:extLst>
                <a:ext uri="{FF2B5EF4-FFF2-40B4-BE49-F238E27FC236}">
                  <a16:creationId xmlns:a16="http://schemas.microsoft.com/office/drawing/2014/main" id="{F7035432-503A-6FA8-9342-FF2A82D6B235}"/>
                </a:ext>
              </a:extLst>
            </p:cNvPr>
            <p:cNvSpPr>
              <a:spLocks/>
            </p:cNvSpPr>
            <p:nvPr/>
          </p:nvSpPr>
          <p:spPr bwMode="auto">
            <a:xfrm>
              <a:off x="6646250" y="3756157"/>
              <a:ext cx="103003" cy="117460"/>
            </a:xfrm>
            <a:custGeom>
              <a:avLst/>
              <a:gdLst>
                <a:gd name="T0" fmla="*/ 51 w 57"/>
                <a:gd name="T1" fmla="*/ 0 h 65"/>
                <a:gd name="T2" fmla="*/ 52 w 57"/>
                <a:gd name="T3" fmla="*/ 0 h 65"/>
                <a:gd name="T4" fmla="*/ 52 w 57"/>
                <a:gd name="T5" fmla="*/ 1 h 65"/>
                <a:gd name="T6" fmla="*/ 57 w 57"/>
                <a:gd name="T7" fmla="*/ 18 h 65"/>
                <a:gd name="T8" fmla="*/ 54 w 57"/>
                <a:gd name="T9" fmla="*/ 24 h 65"/>
                <a:gd name="T10" fmla="*/ 52 w 57"/>
                <a:gd name="T11" fmla="*/ 24 h 65"/>
                <a:gd name="T12" fmla="*/ 30 w 57"/>
                <a:gd name="T13" fmla="*/ 28 h 65"/>
                <a:gd name="T14" fmla="*/ 42 w 57"/>
                <a:gd name="T15" fmla="*/ 43 h 65"/>
                <a:gd name="T16" fmla="*/ 37 w 57"/>
                <a:gd name="T17" fmla="*/ 47 h 65"/>
                <a:gd name="T18" fmla="*/ 36 w 57"/>
                <a:gd name="T19" fmla="*/ 52 h 65"/>
                <a:gd name="T20" fmla="*/ 34 w 57"/>
                <a:gd name="T21" fmla="*/ 52 h 65"/>
                <a:gd name="T22" fmla="*/ 26 w 57"/>
                <a:gd name="T23" fmla="*/ 55 h 65"/>
                <a:gd name="T24" fmla="*/ 17 w 57"/>
                <a:gd name="T25" fmla="*/ 65 h 65"/>
                <a:gd name="T26" fmla="*/ 2 w 57"/>
                <a:gd name="T27" fmla="*/ 64 h 65"/>
                <a:gd name="T28" fmla="*/ 2 w 57"/>
                <a:gd name="T29" fmla="*/ 61 h 65"/>
                <a:gd name="T30" fmla="*/ 8 w 57"/>
                <a:gd name="T31" fmla="*/ 31 h 65"/>
                <a:gd name="T32" fmla="*/ 0 w 57"/>
                <a:gd name="T33" fmla="*/ 31 h 65"/>
                <a:gd name="T34" fmla="*/ 3 w 57"/>
                <a:gd name="T35" fmla="*/ 25 h 65"/>
                <a:gd name="T36" fmla="*/ 2 w 57"/>
                <a:gd name="T37" fmla="*/ 24 h 65"/>
                <a:gd name="T38" fmla="*/ 0 w 57"/>
                <a:gd name="T39" fmla="*/ 24 h 65"/>
                <a:gd name="T40" fmla="*/ 0 w 57"/>
                <a:gd name="T41" fmla="*/ 18 h 65"/>
                <a:gd name="T42" fmla="*/ 5 w 57"/>
                <a:gd name="T43" fmla="*/ 13 h 65"/>
                <a:gd name="T44" fmla="*/ 5 w 57"/>
                <a:gd name="T45" fmla="*/ 12 h 65"/>
                <a:gd name="T46" fmla="*/ 9 w 57"/>
                <a:gd name="T47" fmla="*/ 15 h 65"/>
                <a:gd name="T48" fmla="*/ 9 w 57"/>
                <a:gd name="T49" fmla="*/ 10 h 65"/>
                <a:gd name="T50" fmla="*/ 12 w 57"/>
                <a:gd name="T51" fmla="*/ 10 h 65"/>
                <a:gd name="T52" fmla="*/ 23 w 57"/>
                <a:gd name="T53" fmla="*/ 16 h 65"/>
                <a:gd name="T54" fmla="*/ 51 w 57"/>
                <a:gd name="T5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 h="65">
                  <a:moveTo>
                    <a:pt x="51" y="0"/>
                  </a:moveTo>
                  <a:lnTo>
                    <a:pt x="52" y="0"/>
                  </a:lnTo>
                  <a:lnTo>
                    <a:pt x="52" y="1"/>
                  </a:lnTo>
                  <a:lnTo>
                    <a:pt x="57" y="18"/>
                  </a:lnTo>
                  <a:lnTo>
                    <a:pt x="54" y="24"/>
                  </a:lnTo>
                  <a:lnTo>
                    <a:pt x="52" y="24"/>
                  </a:lnTo>
                  <a:lnTo>
                    <a:pt x="30" y="28"/>
                  </a:lnTo>
                  <a:lnTo>
                    <a:pt x="42" y="43"/>
                  </a:lnTo>
                  <a:lnTo>
                    <a:pt x="37" y="47"/>
                  </a:lnTo>
                  <a:lnTo>
                    <a:pt x="36" y="52"/>
                  </a:lnTo>
                  <a:lnTo>
                    <a:pt x="34" y="52"/>
                  </a:lnTo>
                  <a:lnTo>
                    <a:pt x="26" y="55"/>
                  </a:lnTo>
                  <a:lnTo>
                    <a:pt x="17" y="65"/>
                  </a:lnTo>
                  <a:lnTo>
                    <a:pt x="2" y="64"/>
                  </a:lnTo>
                  <a:lnTo>
                    <a:pt x="2" y="61"/>
                  </a:lnTo>
                  <a:lnTo>
                    <a:pt x="8" y="31"/>
                  </a:lnTo>
                  <a:lnTo>
                    <a:pt x="0" y="31"/>
                  </a:lnTo>
                  <a:lnTo>
                    <a:pt x="3" y="25"/>
                  </a:lnTo>
                  <a:lnTo>
                    <a:pt x="2" y="24"/>
                  </a:lnTo>
                  <a:lnTo>
                    <a:pt x="0" y="24"/>
                  </a:lnTo>
                  <a:lnTo>
                    <a:pt x="0" y="18"/>
                  </a:lnTo>
                  <a:lnTo>
                    <a:pt x="5" y="13"/>
                  </a:lnTo>
                  <a:lnTo>
                    <a:pt x="5" y="12"/>
                  </a:lnTo>
                  <a:lnTo>
                    <a:pt x="9" y="15"/>
                  </a:lnTo>
                  <a:lnTo>
                    <a:pt x="9" y="10"/>
                  </a:lnTo>
                  <a:lnTo>
                    <a:pt x="12" y="10"/>
                  </a:lnTo>
                  <a:lnTo>
                    <a:pt x="23" y="16"/>
                  </a:lnTo>
                  <a:lnTo>
                    <a:pt x="5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5" name="Saudi Arabia">
              <a:extLst>
                <a:ext uri="{FF2B5EF4-FFF2-40B4-BE49-F238E27FC236}">
                  <a16:creationId xmlns:a16="http://schemas.microsoft.com/office/drawing/2014/main" id="{BEB3990B-3C9E-9E0F-A58F-0AE771AA77EF}"/>
                </a:ext>
              </a:extLst>
            </p:cNvPr>
            <p:cNvSpPr>
              <a:spLocks/>
            </p:cNvSpPr>
            <p:nvPr/>
          </p:nvSpPr>
          <p:spPr bwMode="auto">
            <a:xfrm>
              <a:off x="6644443" y="3785071"/>
              <a:ext cx="498749" cy="433695"/>
            </a:xfrm>
            <a:custGeom>
              <a:avLst/>
              <a:gdLst>
                <a:gd name="T0" fmla="*/ 77 w 276"/>
                <a:gd name="T1" fmla="*/ 8 h 240"/>
                <a:gd name="T2" fmla="*/ 107 w 276"/>
                <a:gd name="T3" fmla="*/ 23 h 240"/>
                <a:gd name="T4" fmla="*/ 116 w 276"/>
                <a:gd name="T5" fmla="*/ 30 h 240"/>
                <a:gd name="T6" fmla="*/ 118 w 276"/>
                <a:gd name="T7" fmla="*/ 40 h 240"/>
                <a:gd name="T8" fmla="*/ 142 w 276"/>
                <a:gd name="T9" fmla="*/ 54 h 240"/>
                <a:gd name="T10" fmla="*/ 166 w 276"/>
                <a:gd name="T11" fmla="*/ 51 h 240"/>
                <a:gd name="T12" fmla="*/ 179 w 276"/>
                <a:gd name="T13" fmla="*/ 57 h 240"/>
                <a:gd name="T14" fmla="*/ 191 w 276"/>
                <a:gd name="T15" fmla="*/ 73 h 240"/>
                <a:gd name="T16" fmla="*/ 201 w 276"/>
                <a:gd name="T17" fmla="*/ 83 h 240"/>
                <a:gd name="T18" fmla="*/ 201 w 276"/>
                <a:gd name="T19" fmla="*/ 97 h 240"/>
                <a:gd name="T20" fmla="*/ 215 w 276"/>
                <a:gd name="T21" fmla="*/ 114 h 240"/>
                <a:gd name="T22" fmla="*/ 227 w 276"/>
                <a:gd name="T23" fmla="*/ 137 h 240"/>
                <a:gd name="T24" fmla="*/ 268 w 276"/>
                <a:gd name="T25" fmla="*/ 141 h 240"/>
                <a:gd name="T26" fmla="*/ 276 w 276"/>
                <a:gd name="T27" fmla="*/ 153 h 240"/>
                <a:gd name="T28" fmla="*/ 225 w 276"/>
                <a:gd name="T29" fmla="*/ 194 h 240"/>
                <a:gd name="T30" fmla="*/ 153 w 276"/>
                <a:gd name="T31" fmla="*/ 240 h 240"/>
                <a:gd name="T32" fmla="*/ 151 w 276"/>
                <a:gd name="T33" fmla="*/ 226 h 240"/>
                <a:gd name="T34" fmla="*/ 114 w 276"/>
                <a:gd name="T35" fmla="*/ 220 h 240"/>
                <a:gd name="T36" fmla="*/ 104 w 276"/>
                <a:gd name="T37" fmla="*/ 229 h 240"/>
                <a:gd name="T38" fmla="*/ 90 w 276"/>
                <a:gd name="T39" fmla="*/ 208 h 240"/>
                <a:gd name="T40" fmla="*/ 80 w 276"/>
                <a:gd name="T41" fmla="*/ 187 h 240"/>
                <a:gd name="T42" fmla="*/ 59 w 276"/>
                <a:gd name="T43" fmla="*/ 171 h 240"/>
                <a:gd name="T44" fmla="*/ 56 w 276"/>
                <a:gd name="T45" fmla="*/ 146 h 240"/>
                <a:gd name="T46" fmla="*/ 40 w 276"/>
                <a:gd name="T47" fmla="*/ 120 h 240"/>
                <a:gd name="T48" fmla="*/ 35 w 276"/>
                <a:gd name="T49" fmla="*/ 119 h 240"/>
                <a:gd name="T50" fmla="*/ 6 w 276"/>
                <a:gd name="T51" fmla="*/ 66 h 240"/>
                <a:gd name="T52" fmla="*/ 3 w 276"/>
                <a:gd name="T53" fmla="*/ 43 h 240"/>
                <a:gd name="T54" fmla="*/ 4 w 276"/>
                <a:gd name="T55" fmla="*/ 46 h 240"/>
                <a:gd name="T56" fmla="*/ 25 w 276"/>
                <a:gd name="T57" fmla="*/ 37 h 240"/>
                <a:gd name="T58" fmla="*/ 37 w 276"/>
                <a:gd name="T59" fmla="*/ 30 h 240"/>
                <a:gd name="T60" fmla="*/ 28 w 276"/>
                <a:gd name="T61" fmla="*/ 12 h 240"/>
                <a:gd name="T62" fmla="*/ 30 w 276"/>
                <a:gd name="T63" fmla="*/ 11 h 240"/>
                <a:gd name="T64" fmla="*/ 56 w 276"/>
                <a:gd name="T65" fmla="*/ 2 h 240"/>
                <a:gd name="T66" fmla="*/ 58 w 276"/>
                <a:gd name="T6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240">
                  <a:moveTo>
                    <a:pt x="58" y="0"/>
                  </a:moveTo>
                  <a:lnTo>
                    <a:pt x="77" y="8"/>
                  </a:lnTo>
                  <a:lnTo>
                    <a:pt x="93" y="18"/>
                  </a:lnTo>
                  <a:lnTo>
                    <a:pt x="107" y="23"/>
                  </a:lnTo>
                  <a:lnTo>
                    <a:pt x="110" y="28"/>
                  </a:lnTo>
                  <a:lnTo>
                    <a:pt x="116" y="30"/>
                  </a:lnTo>
                  <a:lnTo>
                    <a:pt x="117" y="30"/>
                  </a:lnTo>
                  <a:lnTo>
                    <a:pt x="118" y="40"/>
                  </a:lnTo>
                  <a:lnTo>
                    <a:pt x="133" y="46"/>
                  </a:lnTo>
                  <a:lnTo>
                    <a:pt x="142" y="54"/>
                  </a:lnTo>
                  <a:lnTo>
                    <a:pt x="156" y="48"/>
                  </a:lnTo>
                  <a:lnTo>
                    <a:pt x="166" y="51"/>
                  </a:lnTo>
                  <a:lnTo>
                    <a:pt x="170" y="57"/>
                  </a:lnTo>
                  <a:lnTo>
                    <a:pt x="179" y="57"/>
                  </a:lnTo>
                  <a:lnTo>
                    <a:pt x="184" y="67"/>
                  </a:lnTo>
                  <a:lnTo>
                    <a:pt x="191" y="73"/>
                  </a:lnTo>
                  <a:lnTo>
                    <a:pt x="193" y="77"/>
                  </a:lnTo>
                  <a:lnTo>
                    <a:pt x="201" y="83"/>
                  </a:lnTo>
                  <a:lnTo>
                    <a:pt x="203" y="91"/>
                  </a:lnTo>
                  <a:lnTo>
                    <a:pt x="201" y="97"/>
                  </a:lnTo>
                  <a:lnTo>
                    <a:pt x="210" y="111"/>
                  </a:lnTo>
                  <a:lnTo>
                    <a:pt x="215" y="114"/>
                  </a:lnTo>
                  <a:lnTo>
                    <a:pt x="222" y="126"/>
                  </a:lnTo>
                  <a:lnTo>
                    <a:pt x="227" y="137"/>
                  </a:lnTo>
                  <a:lnTo>
                    <a:pt x="265" y="143"/>
                  </a:lnTo>
                  <a:lnTo>
                    <a:pt x="268" y="141"/>
                  </a:lnTo>
                  <a:lnTo>
                    <a:pt x="276" y="151"/>
                  </a:lnTo>
                  <a:lnTo>
                    <a:pt x="276" y="153"/>
                  </a:lnTo>
                  <a:lnTo>
                    <a:pt x="265" y="180"/>
                  </a:lnTo>
                  <a:lnTo>
                    <a:pt x="225" y="194"/>
                  </a:lnTo>
                  <a:lnTo>
                    <a:pt x="185" y="203"/>
                  </a:lnTo>
                  <a:lnTo>
                    <a:pt x="153" y="240"/>
                  </a:lnTo>
                  <a:lnTo>
                    <a:pt x="151" y="240"/>
                  </a:lnTo>
                  <a:lnTo>
                    <a:pt x="151" y="226"/>
                  </a:lnTo>
                  <a:lnTo>
                    <a:pt x="127" y="217"/>
                  </a:lnTo>
                  <a:lnTo>
                    <a:pt x="114" y="220"/>
                  </a:lnTo>
                  <a:lnTo>
                    <a:pt x="104" y="230"/>
                  </a:lnTo>
                  <a:lnTo>
                    <a:pt x="104" y="229"/>
                  </a:lnTo>
                  <a:lnTo>
                    <a:pt x="98" y="214"/>
                  </a:lnTo>
                  <a:lnTo>
                    <a:pt x="90" y="208"/>
                  </a:lnTo>
                  <a:lnTo>
                    <a:pt x="83" y="197"/>
                  </a:lnTo>
                  <a:lnTo>
                    <a:pt x="80" y="187"/>
                  </a:lnTo>
                  <a:lnTo>
                    <a:pt x="73" y="180"/>
                  </a:lnTo>
                  <a:lnTo>
                    <a:pt x="59" y="171"/>
                  </a:lnTo>
                  <a:lnTo>
                    <a:pt x="55" y="153"/>
                  </a:lnTo>
                  <a:lnTo>
                    <a:pt x="56" y="146"/>
                  </a:lnTo>
                  <a:lnTo>
                    <a:pt x="47" y="126"/>
                  </a:lnTo>
                  <a:lnTo>
                    <a:pt x="40" y="120"/>
                  </a:lnTo>
                  <a:lnTo>
                    <a:pt x="35" y="120"/>
                  </a:lnTo>
                  <a:lnTo>
                    <a:pt x="35" y="119"/>
                  </a:lnTo>
                  <a:lnTo>
                    <a:pt x="30" y="103"/>
                  </a:lnTo>
                  <a:lnTo>
                    <a:pt x="6" y="66"/>
                  </a:lnTo>
                  <a:lnTo>
                    <a:pt x="0" y="64"/>
                  </a:lnTo>
                  <a:lnTo>
                    <a:pt x="3" y="43"/>
                  </a:lnTo>
                  <a:lnTo>
                    <a:pt x="4" y="43"/>
                  </a:lnTo>
                  <a:lnTo>
                    <a:pt x="4" y="46"/>
                  </a:lnTo>
                  <a:lnTo>
                    <a:pt x="18" y="48"/>
                  </a:lnTo>
                  <a:lnTo>
                    <a:pt x="25" y="37"/>
                  </a:lnTo>
                  <a:lnTo>
                    <a:pt x="35" y="34"/>
                  </a:lnTo>
                  <a:lnTo>
                    <a:pt x="37" y="30"/>
                  </a:lnTo>
                  <a:lnTo>
                    <a:pt x="41" y="27"/>
                  </a:lnTo>
                  <a:lnTo>
                    <a:pt x="28" y="12"/>
                  </a:lnTo>
                  <a:lnTo>
                    <a:pt x="28" y="11"/>
                  </a:lnTo>
                  <a:lnTo>
                    <a:pt x="30" y="11"/>
                  </a:lnTo>
                  <a:lnTo>
                    <a:pt x="53" y="6"/>
                  </a:lnTo>
                  <a:lnTo>
                    <a:pt x="56" y="2"/>
                  </a:lnTo>
                  <a:lnTo>
                    <a:pt x="58" y="2"/>
                  </a:lnTo>
                  <a:lnTo>
                    <a:pt x="5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6" name="Syria">
              <a:extLst>
                <a:ext uri="{FF2B5EF4-FFF2-40B4-BE49-F238E27FC236}">
                  <a16:creationId xmlns:a16="http://schemas.microsoft.com/office/drawing/2014/main" id="{387E2278-1629-FE7E-1C0B-029F09F659E1}"/>
                </a:ext>
              </a:extLst>
            </p:cNvPr>
            <p:cNvSpPr>
              <a:spLocks/>
            </p:cNvSpPr>
            <p:nvPr/>
          </p:nvSpPr>
          <p:spPr bwMode="auto">
            <a:xfrm>
              <a:off x="6662514" y="3640505"/>
              <a:ext cx="169864" cy="148179"/>
            </a:xfrm>
            <a:custGeom>
              <a:avLst/>
              <a:gdLst>
                <a:gd name="T0" fmla="*/ 88 w 94"/>
                <a:gd name="T1" fmla="*/ 0 h 82"/>
                <a:gd name="T2" fmla="*/ 89 w 94"/>
                <a:gd name="T3" fmla="*/ 0 h 82"/>
                <a:gd name="T4" fmla="*/ 92 w 94"/>
                <a:gd name="T5" fmla="*/ 2 h 82"/>
                <a:gd name="T6" fmla="*/ 94 w 94"/>
                <a:gd name="T7" fmla="*/ 2 h 82"/>
                <a:gd name="T8" fmla="*/ 94 w 94"/>
                <a:gd name="T9" fmla="*/ 3 h 82"/>
                <a:gd name="T10" fmla="*/ 85 w 94"/>
                <a:gd name="T11" fmla="*/ 12 h 82"/>
                <a:gd name="T12" fmla="*/ 77 w 94"/>
                <a:gd name="T13" fmla="*/ 15 h 82"/>
                <a:gd name="T14" fmla="*/ 76 w 94"/>
                <a:gd name="T15" fmla="*/ 40 h 82"/>
                <a:gd name="T16" fmla="*/ 74 w 94"/>
                <a:gd name="T17" fmla="*/ 46 h 82"/>
                <a:gd name="T18" fmla="*/ 74 w 94"/>
                <a:gd name="T19" fmla="*/ 48 h 82"/>
                <a:gd name="T20" fmla="*/ 43 w 94"/>
                <a:gd name="T21" fmla="*/ 65 h 82"/>
                <a:gd name="T22" fmla="*/ 14 w 94"/>
                <a:gd name="T23" fmla="*/ 82 h 82"/>
                <a:gd name="T24" fmla="*/ 3 w 94"/>
                <a:gd name="T25" fmla="*/ 74 h 82"/>
                <a:gd name="T26" fmla="*/ 0 w 94"/>
                <a:gd name="T27" fmla="*/ 76 h 82"/>
                <a:gd name="T28" fmla="*/ 0 w 94"/>
                <a:gd name="T29" fmla="*/ 65 h 82"/>
                <a:gd name="T30" fmla="*/ 8 w 94"/>
                <a:gd name="T31" fmla="*/ 61 h 82"/>
                <a:gd name="T32" fmla="*/ 8 w 94"/>
                <a:gd name="T33" fmla="*/ 57 h 82"/>
                <a:gd name="T34" fmla="*/ 11 w 94"/>
                <a:gd name="T35" fmla="*/ 55 h 82"/>
                <a:gd name="T36" fmla="*/ 11 w 94"/>
                <a:gd name="T37" fmla="*/ 54 h 82"/>
                <a:gd name="T38" fmla="*/ 15 w 94"/>
                <a:gd name="T39" fmla="*/ 51 h 82"/>
                <a:gd name="T40" fmla="*/ 12 w 94"/>
                <a:gd name="T41" fmla="*/ 46 h 82"/>
                <a:gd name="T42" fmla="*/ 12 w 94"/>
                <a:gd name="T43" fmla="*/ 43 h 82"/>
                <a:gd name="T44" fmla="*/ 6 w 94"/>
                <a:gd name="T45" fmla="*/ 43 h 82"/>
                <a:gd name="T46" fmla="*/ 6 w 94"/>
                <a:gd name="T47" fmla="*/ 21 h 82"/>
                <a:gd name="T48" fmla="*/ 9 w 94"/>
                <a:gd name="T49" fmla="*/ 24 h 82"/>
                <a:gd name="T50" fmla="*/ 12 w 94"/>
                <a:gd name="T51" fmla="*/ 18 h 82"/>
                <a:gd name="T52" fmla="*/ 15 w 94"/>
                <a:gd name="T53" fmla="*/ 18 h 82"/>
                <a:gd name="T54" fmla="*/ 14 w 94"/>
                <a:gd name="T55" fmla="*/ 15 h 82"/>
                <a:gd name="T56" fmla="*/ 14 w 94"/>
                <a:gd name="T57" fmla="*/ 14 h 82"/>
                <a:gd name="T58" fmla="*/ 15 w 94"/>
                <a:gd name="T59" fmla="*/ 8 h 82"/>
                <a:gd name="T60" fmla="*/ 17 w 94"/>
                <a:gd name="T61" fmla="*/ 8 h 82"/>
                <a:gd name="T62" fmla="*/ 27 w 94"/>
                <a:gd name="T63" fmla="*/ 11 h 82"/>
                <a:gd name="T64" fmla="*/ 39 w 94"/>
                <a:gd name="T65" fmla="*/ 6 h 82"/>
                <a:gd name="T66" fmla="*/ 49 w 94"/>
                <a:gd name="T67" fmla="*/ 11 h 82"/>
                <a:gd name="T68" fmla="*/ 68 w 94"/>
                <a:gd name="T69" fmla="*/ 2 h 82"/>
                <a:gd name="T70" fmla="*/ 83 w 94"/>
                <a:gd name="T71" fmla="*/ 3 h 82"/>
                <a:gd name="T72" fmla="*/ 88 w 94"/>
                <a:gd name="T7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82">
                  <a:moveTo>
                    <a:pt x="88" y="0"/>
                  </a:moveTo>
                  <a:lnTo>
                    <a:pt x="89" y="0"/>
                  </a:lnTo>
                  <a:lnTo>
                    <a:pt x="92" y="2"/>
                  </a:lnTo>
                  <a:lnTo>
                    <a:pt x="94" y="2"/>
                  </a:lnTo>
                  <a:lnTo>
                    <a:pt x="94" y="3"/>
                  </a:lnTo>
                  <a:lnTo>
                    <a:pt x="85" y="12"/>
                  </a:lnTo>
                  <a:lnTo>
                    <a:pt x="77" y="15"/>
                  </a:lnTo>
                  <a:lnTo>
                    <a:pt x="76" y="40"/>
                  </a:lnTo>
                  <a:lnTo>
                    <a:pt x="74" y="46"/>
                  </a:lnTo>
                  <a:lnTo>
                    <a:pt x="74" y="48"/>
                  </a:lnTo>
                  <a:lnTo>
                    <a:pt x="43" y="65"/>
                  </a:lnTo>
                  <a:lnTo>
                    <a:pt x="14" y="82"/>
                  </a:lnTo>
                  <a:lnTo>
                    <a:pt x="3" y="74"/>
                  </a:lnTo>
                  <a:lnTo>
                    <a:pt x="0" y="76"/>
                  </a:lnTo>
                  <a:lnTo>
                    <a:pt x="0" y="65"/>
                  </a:lnTo>
                  <a:lnTo>
                    <a:pt x="8" y="61"/>
                  </a:lnTo>
                  <a:lnTo>
                    <a:pt x="8" y="57"/>
                  </a:lnTo>
                  <a:lnTo>
                    <a:pt x="11" y="55"/>
                  </a:lnTo>
                  <a:lnTo>
                    <a:pt x="11" y="54"/>
                  </a:lnTo>
                  <a:lnTo>
                    <a:pt x="15" y="51"/>
                  </a:lnTo>
                  <a:lnTo>
                    <a:pt x="12" y="46"/>
                  </a:lnTo>
                  <a:lnTo>
                    <a:pt x="12" y="43"/>
                  </a:lnTo>
                  <a:lnTo>
                    <a:pt x="6" y="43"/>
                  </a:lnTo>
                  <a:lnTo>
                    <a:pt x="6" y="21"/>
                  </a:lnTo>
                  <a:lnTo>
                    <a:pt x="9" y="24"/>
                  </a:lnTo>
                  <a:lnTo>
                    <a:pt x="12" y="18"/>
                  </a:lnTo>
                  <a:lnTo>
                    <a:pt x="15" y="18"/>
                  </a:lnTo>
                  <a:lnTo>
                    <a:pt x="14" y="15"/>
                  </a:lnTo>
                  <a:lnTo>
                    <a:pt x="14" y="14"/>
                  </a:lnTo>
                  <a:lnTo>
                    <a:pt x="15" y="8"/>
                  </a:lnTo>
                  <a:lnTo>
                    <a:pt x="17" y="8"/>
                  </a:lnTo>
                  <a:lnTo>
                    <a:pt x="27" y="11"/>
                  </a:lnTo>
                  <a:lnTo>
                    <a:pt x="39" y="6"/>
                  </a:lnTo>
                  <a:lnTo>
                    <a:pt x="49" y="11"/>
                  </a:lnTo>
                  <a:lnTo>
                    <a:pt x="68" y="2"/>
                  </a:lnTo>
                  <a:lnTo>
                    <a:pt x="83" y="3"/>
                  </a:lnTo>
                  <a:lnTo>
                    <a:pt x="8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7" name="United Arab Emirates">
              <a:extLst>
                <a:ext uri="{FF2B5EF4-FFF2-40B4-BE49-F238E27FC236}">
                  <a16:creationId xmlns:a16="http://schemas.microsoft.com/office/drawing/2014/main" id="{EF543C6E-E263-5F87-3FA9-DD9A3F5CE5E6}"/>
                </a:ext>
              </a:extLst>
            </p:cNvPr>
            <p:cNvSpPr>
              <a:spLocks/>
            </p:cNvSpPr>
            <p:nvPr/>
          </p:nvSpPr>
          <p:spPr bwMode="auto">
            <a:xfrm>
              <a:off x="7029347" y="3954935"/>
              <a:ext cx="126495" cy="93967"/>
            </a:xfrm>
            <a:custGeom>
              <a:avLst/>
              <a:gdLst>
                <a:gd name="T0" fmla="*/ 66 w 70"/>
                <a:gd name="T1" fmla="*/ 0 h 52"/>
                <a:gd name="T2" fmla="*/ 67 w 70"/>
                <a:gd name="T3" fmla="*/ 0 h 52"/>
                <a:gd name="T4" fmla="*/ 67 w 70"/>
                <a:gd name="T5" fmla="*/ 4 h 52"/>
                <a:gd name="T6" fmla="*/ 69 w 70"/>
                <a:gd name="T7" fmla="*/ 6 h 52"/>
                <a:gd name="T8" fmla="*/ 70 w 70"/>
                <a:gd name="T9" fmla="*/ 16 h 52"/>
                <a:gd name="T10" fmla="*/ 70 w 70"/>
                <a:gd name="T11" fmla="*/ 17 h 52"/>
                <a:gd name="T12" fmla="*/ 63 w 70"/>
                <a:gd name="T13" fmla="*/ 17 h 52"/>
                <a:gd name="T14" fmla="*/ 66 w 70"/>
                <a:gd name="T15" fmla="*/ 28 h 52"/>
                <a:gd name="T16" fmla="*/ 58 w 70"/>
                <a:gd name="T17" fmla="*/ 31 h 52"/>
                <a:gd name="T18" fmla="*/ 55 w 70"/>
                <a:gd name="T19" fmla="*/ 47 h 52"/>
                <a:gd name="T20" fmla="*/ 52 w 70"/>
                <a:gd name="T21" fmla="*/ 50 h 52"/>
                <a:gd name="T22" fmla="*/ 52 w 70"/>
                <a:gd name="T23" fmla="*/ 52 h 52"/>
                <a:gd name="T24" fmla="*/ 12 w 70"/>
                <a:gd name="T25" fmla="*/ 44 h 52"/>
                <a:gd name="T26" fmla="*/ 8 w 70"/>
                <a:gd name="T27" fmla="*/ 32 h 52"/>
                <a:gd name="T28" fmla="*/ 0 w 70"/>
                <a:gd name="T29" fmla="*/ 22 h 52"/>
                <a:gd name="T30" fmla="*/ 0 w 70"/>
                <a:gd name="T31" fmla="*/ 20 h 52"/>
                <a:gd name="T32" fmla="*/ 5 w 70"/>
                <a:gd name="T33" fmla="*/ 19 h 52"/>
                <a:gd name="T34" fmla="*/ 6 w 70"/>
                <a:gd name="T35" fmla="*/ 19 h 52"/>
                <a:gd name="T36" fmla="*/ 6 w 70"/>
                <a:gd name="T37" fmla="*/ 25 h 52"/>
                <a:gd name="T38" fmla="*/ 9 w 70"/>
                <a:gd name="T39" fmla="*/ 25 h 52"/>
                <a:gd name="T40" fmla="*/ 11 w 70"/>
                <a:gd name="T41" fmla="*/ 28 h 52"/>
                <a:gd name="T42" fmla="*/ 17 w 70"/>
                <a:gd name="T43" fmla="*/ 28 h 52"/>
                <a:gd name="T44" fmla="*/ 21 w 70"/>
                <a:gd name="T45" fmla="*/ 25 h 52"/>
                <a:gd name="T46" fmla="*/ 39 w 70"/>
                <a:gd name="T47" fmla="*/ 26 h 52"/>
                <a:gd name="T48" fmla="*/ 43 w 70"/>
                <a:gd name="T49" fmla="*/ 25 h 52"/>
                <a:gd name="T50" fmla="*/ 43 w 70"/>
                <a:gd name="T51" fmla="*/ 22 h 52"/>
                <a:gd name="T52" fmla="*/ 66 w 70"/>
                <a:gd name="T5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52">
                  <a:moveTo>
                    <a:pt x="66" y="0"/>
                  </a:moveTo>
                  <a:lnTo>
                    <a:pt x="67" y="0"/>
                  </a:lnTo>
                  <a:lnTo>
                    <a:pt x="67" y="4"/>
                  </a:lnTo>
                  <a:lnTo>
                    <a:pt x="69" y="6"/>
                  </a:lnTo>
                  <a:lnTo>
                    <a:pt x="70" y="16"/>
                  </a:lnTo>
                  <a:lnTo>
                    <a:pt x="70" y="17"/>
                  </a:lnTo>
                  <a:lnTo>
                    <a:pt x="63" y="17"/>
                  </a:lnTo>
                  <a:lnTo>
                    <a:pt x="66" y="28"/>
                  </a:lnTo>
                  <a:lnTo>
                    <a:pt x="58" y="31"/>
                  </a:lnTo>
                  <a:lnTo>
                    <a:pt x="55" y="47"/>
                  </a:lnTo>
                  <a:lnTo>
                    <a:pt x="52" y="50"/>
                  </a:lnTo>
                  <a:lnTo>
                    <a:pt x="52" y="52"/>
                  </a:lnTo>
                  <a:lnTo>
                    <a:pt x="12" y="44"/>
                  </a:lnTo>
                  <a:lnTo>
                    <a:pt x="8" y="32"/>
                  </a:lnTo>
                  <a:lnTo>
                    <a:pt x="0" y="22"/>
                  </a:lnTo>
                  <a:lnTo>
                    <a:pt x="0" y="20"/>
                  </a:lnTo>
                  <a:lnTo>
                    <a:pt x="5" y="19"/>
                  </a:lnTo>
                  <a:lnTo>
                    <a:pt x="6" y="19"/>
                  </a:lnTo>
                  <a:lnTo>
                    <a:pt x="6" y="25"/>
                  </a:lnTo>
                  <a:lnTo>
                    <a:pt x="9" y="25"/>
                  </a:lnTo>
                  <a:lnTo>
                    <a:pt x="11" y="28"/>
                  </a:lnTo>
                  <a:lnTo>
                    <a:pt x="17" y="28"/>
                  </a:lnTo>
                  <a:lnTo>
                    <a:pt x="21" y="25"/>
                  </a:lnTo>
                  <a:lnTo>
                    <a:pt x="39" y="26"/>
                  </a:lnTo>
                  <a:lnTo>
                    <a:pt x="43" y="25"/>
                  </a:lnTo>
                  <a:lnTo>
                    <a:pt x="43" y="22"/>
                  </a:lnTo>
                  <a:lnTo>
                    <a:pt x="6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8" name="Yemen">
              <a:extLst>
                <a:ext uri="{FF2B5EF4-FFF2-40B4-BE49-F238E27FC236}">
                  <a16:creationId xmlns:a16="http://schemas.microsoft.com/office/drawing/2014/main" id="{C0F5F3EF-EEA0-7338-4162-43E8EB0D4A69}"/>
                </a:ext>
              </a:extLst>
            </p:cNvPr>
            <p:cNvSpPr>
              <a:spLocks/>
            </p:cNvSpPr>
            <p:nvPr/>
          </p:nvSpPr>
          <p:spPr bwMode="auto">
            <a:xfrm>
              <a:off x="6828764" y="4133834"/>
              <a:ext cx="249374" cy="155407"/>
            </a:xfrm>
            <a:custGeom>
              <a:avLst/>
              <a:gdLst>
                <a:gd name="T0" fmla="*/ 123 w 138"/>
                <a:gd name="T1" fmla="*/ 0 h 86"/>
                <a:gd name="T2" fmla="*/ 125 w 138"/>
                <a:gd name="T3" fmla="*/ 0 h 86"/>
                <a:gd name="T4" fmla="*/ 138 w 138"/>
                <a:gd name="T5" fmla="*/ 33 h 86"/>
                <a:gd name="T6" fmla="*/ 129 w 138"/>
                <a:gd name="T7" fmla="*/ 39 h 86"/>
                <a:gd name="T8" fmla="*/ 128 w 138"/>
                <a:gd name="T9" fmla="*/ 46 h 86"/>
                <a:gd name="T10" fmla="*/ 128 w 138"/>
                <a:gd name="T11" fmla="*/ 47 h 86"/>
                <a:gd name="T12" fmla="*/ 92 w 138"/>
                <a:gd name="T13" fmla="*/ 59 h 86"/>
                <a:gd name="T14" fmla="*/ 86 w 138"/>
                <a:gd name="T15" fmla="*/ 62 h 86"/>
                <a:gd name="T16" fmla="*/ 82 w 138"/>
                <a:gd name="T17" fmla="*/ 67 h 86"/>
                <a:gd name="T18" fmla="*/ 70 w 138"/>
                <a:gd name="T19" fmla="*/ 70 h 86"/>
                <a:gd name="T20" fmla="*/ 56 w 138"/>
                <a:gd name="T21" fmla="*/ 77 h 86"/>
                <a:gd name="T22" fmla="*/ 43 w 138"/>
                <a:gd name="T23" fmla="*/ 77 h 86"/>
                <a:gd name="T24" fmla="*/ 31 w 138"/>
                <a:gd name="T25" fmla="*/ 86 h 86"/>
                <a:gd name="T26" fmla="*/ 12 w 138"/>
                <a:gd name="T27" fmla="*/ 86 h 86"/>
                <a:gd name="T28" fmla="*/ 9 w 138"/>
                <a:gd name="T29" fmla="*/ 79 h 86"/>
                <a:gd name="T30" fmla="*/ 3 w 138"/>
                <a:gd name="T31" fmla="*/ 53 h 86"/>
                <a:gd name="T32" fmla="*/ 0 w 138"/>
                <a:gd name="T33" fmla="*/ 50 h 86"/>
                <a:gd name="T34" fmla="*/ 3 w 138"/>
                <a:gd name="T35" fmla="*/ 42 h 86"/>
                <a:gd name="T36" fmla="*/ 2 w 138"/>
                <a:gd name="T37" fmla="*/ 36 h 86"/>
                <a:gd name="T38" fmla="*/ 12 w 138"/>
                <a:gd name="T39" fmla="*/ 27 h 86"/>
                <a:gd name="T40" fmla="*/ 25 w 138"/>
                <a:gd name="T41" fmla="*/ 22 h 86"/>
                <a:gd name="T42" fmla="*/ 49 w 138"/>
                <a:gd name="T43" fmla="*/ 31 h 86"/>
                <a:gd name="T44" fmla="*/ 51 w 138"/>
                <a:gd name="T45" fmla="*/ 31 h 86"/>
                <a:gd name="T46" fmla="*/ 51 w 138"/>
                <a:gd name="T47" fmla="*/ 44 h 86"/>
                <a:gd name="T48" fmla="*/ 82 w 138"/>
                <a:gd name="T49" fmla="*/ 9 h 86"/>
                <a:gd name="T50" fmla="*/ 123 w 138"/>
                <a:gd name="T5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8" h="86">
                  <a:moveTo>
                    <a:pt x="123" y="0"/>
                  </a:moveTo>
                  <a:lnTo>
                    <a:pt x="125" y="0"/>
                  </a:lnTo>
                  <a:lnTo>
                    <a:pt x="138" y="33"/>
                  </a:lnTo>
                  <a:lnTo>
                    <a:pt x="129" y="39"/>
                  </a:lnTo>
                  <a:lnTo>
                    <a:pt x="128" y="46"/>
                  </a:lnTo>
                  <a:lnTo>
                    <a:pt x="128" y="47"/>
                  </a:lnTo>
                  <a:lnTo>
                    <a:pt x="92" y="59"/>
                  </a:lnTo>
                  <a:lnTo>
                    <a:pt x="86" y="62"/>
                  </a:lnTo>
                  <a:lnTo>
                    <a:pt x="82" y="67"/>
                  </a:lnTo>
                  <a:lnTo>
                    <a:pt x="70" y="70"/>
                  </a:lnTo>
                  <a:lnTo>
                    <a:pt x="56" y="77"/>
                  </a:lnTo>
                  <a:lnTo>
                    <a:pt x="43" y="77"/>
                  </a:lnTo>
                  <a:lnTo>
                    <a:pt x="31" y="86"/>
                  </a:lnTo>
                  <a:lnTo>
                    <a:pt x="12" y="86"/>
                  </a:lnTo>
                  <a:lnTo>
                    <a:pt x="9" y="79"/>
                  </a:lnTo>
                  <a:lnTo>
                    <a:pt x="3" y="53"/>
                  </a:lnTo>
                  <a:lnTo>
                    <a:pt x="0" y="50"/>
                  </a:lnTo>
                  <a:lnTo>
                    <a:pt x="3" y="42"/>
                  </a:lnTo>
                  <a:lnTo>
                    <a:pt x="2" y="36"/>
                  </a:lnTo>
                  <a:lnTo>
                    <a:pt x="12" y="27"/>
                  </a:lnTo>
                  <a:lnTo>
                    <a:pt x="25" y="22"/>
                  </a:lnTo>
                  <a:lnTo>
                    <a:pt x="49" y="31"/>
                  </a:lnTo>
                  <a:lnTo>
                    <a:pt x="51" y="31"/>
                  </a:lnTo>
                  <a:lnTo>
                    <a:pt x="51" y="44"/>
                  </a:lnTo>
                  <a:lnTo>
                    <a:pt x="82" y="9"/>
                  </a:lnTo>
                  <a:lnTo>
                    <a:pt x="12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9" name="Iran">
              <a:extLst>
                <a:ext uri="{FF2B5EF4-FFF2-40B4-BE49-F238E27FC236}">
                  <a16:creationId xmlns:a16="http://schemas.microsoft.com/office/drawing/2014/main" id="{6347C96E-B782-1F81-4D54-36D96EC19BE6}"/>
                </a:ext>
              </a:extLst>
            </p:cNvPr>
            <p:cNvSpPr>
              <a:spLocks/>
            </p:cNvSpPr>
            <p:nvPr/>
          </p:nvSpPr>
          <p:spPr bwMode="auto">
            <a:xfrm>
              <a:off x="6866711" y="3562803"/>
              <a:ext cx="451766" cy="415624"/>
            </a:xfrm>
            <a:custGeom>
              <a:avLst/>
              <a:gdLst>
                <a:gd name="T0" fmla="*/ 7 w 250"/>
                <a:gd name="T1" fmla="*/ 0 h 230"/>
                <a:gd name="T2" fmla="*/ 9 w 250"/>
                <a:gd name="T3" fmla="*/ 3 h 230"/>
                <a:gd name="T4" fmla="*/ 34 w 250"/>
                <a:gd name="T5" fmla="*/ 17 h 230"/>
                <a:gd name="T6" fmla="*/ 49 w 250"/>
                <a:gd name="T7" fmla="*/ 5 h 230"/>
                <a:gd name="T8" fmla="*/ 56 w 250"/>
                <a:gd name="T9" fmla="*/ 15 h 230"/>
                <a:gd name="T10" fmla="*/ 52 w 250"/>
                <a:gd name="T11" fmla="*/ 18 h 230"/>
                <a:gd name="T12" fmla="*/ 64 w 250"/>
                <a:gd name="T13" fmla="*/ 24 h 230"/>
                <a:gd name="T14" fmla="*/ 78 w 250"/>
                <a:gd name="T15" fmla="*/ 42 h 230"/>
                <a:gd name="T16" fmla="*/ 99 w 250"/>
                <a:gd name="T17" fmla="*/ 55 h 230"/>
                <a:gd name="T18" fmla="*/ 129 w 250"/>
                <a:gd name="T19" fmla="*/ 49 h 230"/>
                <a:gd name="T20" fmla="*/ 127 w 250"/>
                <a:gd name="T21" fmla="*/ 40 h 230"/>
                <a:gd name="T22" fmla="*/ 136 w 250"/>
                <a:gd name="T23" fmla="*/ 39 h 230"/>
                <a:gd name="T24" fmla="*/ 151 w 250"/>
                <a:gd name="T25" fmla="*/ 30 h 230"/>
                <a:gd name="T26" fmla="*/ 167 w 250"/>
                <a:gd name="T27" fmla="*/ 25 h 230"/>
                <a:gd name="T28" fmla="*/ 175 w 250"/>
                <a:gd name="T29" fmla="*/ 31 h 230"/>
                <a:gd name="T30" fmla="*/ 199 w 250"/>
                <a:gd name="T31" fmla="*/ 39 h 230"/>
                <a:gd name="T32" fmla="*/ 216 w 250"/>
                <a:gd name="T33" fmla="*/ 55 h 230"/>
                <a:gd name="T34" fmla="*/ 225 w 250"/>
                <a:gd name="T35" fmla="*/ 68 h 230"/>
                <a:gd name="T36" fmla="*/ 219 w 250"/>
                <a:gd name="T37" fmla="*/ 92 h 230"/>
                <a:gd name="T38" fmla="*/ 215 w 250"/>
                <a:gd name="T39" fmla="*/ 101 h 230"/>
                <a:gd name="T40" fmla="*/ 215 w 250"/>
                <a:gd name="T41" fmla="*/ 114 h 230"/>
                <a:gd name="T42" fmla="*/ 225 w 250"/>
                <a:gd name="T43" fmla="*/ 134 h 230"/>
                <a:gd name="T44" fmla="*/ 231 w 250"/>
                <a:gd name="T45" fmla="*/ 141 h 230"/>
                <a:gd name="T46" fmla="*/ 221 w 250"/>
                <a:gd name="T47" fmla="*/ 162 h 230"/>
                <a:gd name="T48" fmla="*/ 244 w 250"/>
                <a:gd name="T49" fmla="*/ 186 h 230"/>
                <a:gd name="T50" fmla="*/ 250 w 250"/>
                <a:gd name="T51" fmla="*/ 200 h 230"/>
                <a:gd name="T52" fmla="*/ 247 w 250"/>
                <a:gd name="T53" fmla="*/ 208 h 230"/>
                <a:gd name="T54" fmla="*/ 233 w 250"/>
                <a:gd name="T55" fmla="*/ 217 h 230"/>
                <a:gd name="T56" fmla="*/ 228 w 250"/>
                <a:gd name="T57" fmla="*/ 230 h 230"/>
                <a:gd name="T58" fmla="*/ 167 w 250"/>
                <a:gd name="T59" fmla="*/ 205 h 230"/>
                <a:gd name="T60" fmla="*/ 138 w 250"/>
                <a:gd name="T61" fmla="*/ 211 h 230"/>
                <a:gd name="T62" fmla="*/ 123 w 250"/>
                <a:gd name="T63" fmla="*/ 208 h 230"/>
                <a:gd name="T64" fmla="*/ 113 w 250"/>
                <a:gd name="T65" fmla="*/ 202 h 230"/>
                <a:gd name="T66" fmla="*/ 96 w 250"/>
                <a:gd name="T67" fmla="*/ 191 h 230"/>
                <a:gd name="T68" fmla="*/ 95 w 250"/>
                <a:gd name="T69" fmla="*/ 190 h 230"/>
                <a:gd name="T70" fmla="*/ 84 w 250"/>
                <a:gd name="T71" fmla="*/ 172 h 230"/>
                <a:gd name="T72" fmla="*/ 71 w 250"/>
                <a:gd name="T73" fmla="*/ 160 h 230"/>
                <a:gd name="T74" fmla="*/ 59 w 250"/>
                <a:gd name="T75" fmla="*/ 159 h 230"/>
                <a:gd name="T76" fmla="*/ 49 w 250"/>
                <a:gd name="T77" fmla="*/ 146 h 230"/>
                <a:gd name="T78" fmla="*/ 44 w 250"/>
                <a:gd name="T79" fmla="*/ 144 h 230"/>
                <a:gd name="T80" fmla="*/ 46 w 250"/>
                <a:gd name="T81" fmla="*/ 131 h 230"/>
                <a:gd name="T82" fmla="*/ 25 w 250"/>
                <a:gd name="T83" fmla="*/ 111 h 230"/>
                <a:gd name="T84" fmla="*/ 19 w 250"/>
                <a:gd name="T85" fmla="*/ 88 h 230"/>
                <a:gd name="T86" fmla="*/ 25 w 250"/>
                <a:gd name="T87" fmla="*/ 73 h 230"/>
                <a:gd name="T88" fmla="*/ 18 w 250"/>
                <a:gd name="T89" fmla="*/ 64 h 230"/>
                <a:gd name="T90" fmla="*/ 9 w 250"/>
                <a:gd name="T91" fmla="*/ 40 h 230"/>
                <a:gd name="T92" fmla="*/ 1 w 250"/>
                <a:gd name="T93" fmla="*/ 36 h 230"/>
                <a:gd name="T94" fmla="*/ 0 w 250"/>
                <a:gd name="T95" fmla="*/ 9 h 230"/>
                <a:gd name="T96" fmla="*/ 6 w 250"/>
                <a:gd name="T97" fmla="*/ 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 h="230">
                  <a:moveTo>
                    <a:pt x="6" y="0"/>
                  </a:moveTo>
                  <a:lnTo>
                    <a:pt x="7" y="0"/>
                  </a:lnTo>
                  <a:lnTo>
                    <a:pt x="7" y="2"/>
                  </a:lnTo>
                  <a:lnTo>
                    <a:pt x="9" y="3"/>
                  </a:lnTo>
                  <a:lnTo>
                    <a:pt x="18" y="17"/>
                  </a:lnTo>
                  <a:lnTo>
                    <a:pt x="34" y="17"/>
                  </a:lnTo>
                  <a:lnTo>
                    <a:pt x="38" y="8"/>
                  </a:lnTo>
                  <a:lnTo>
                    <a:pt x="49" y="5"/>
                  </a:lnTo>
                  <a:lnTo>
                    <a:pt x="53" y="6"/>
                  </a:lnTo>
                  <a:lnTo>
                    <a:pt x="56" y="15"/>
                  </a:lnTo>
                  <a:lnTo>
                    <a:pt x="55" y="15"/>
                  </a:lnTo>
                  <a:lnTo>
                    <a:pt x="52" y="18"/>
                  </a:lnTo>
                  <a:lnTo>
                    <a:pt x="62" y="24"/>
                  </a:lnTo>
                  <a:lnTo>
                    <a:pt x="64" y="24"/>
                  </a:lnTo>
                  <a:lnTo>
                    <a:pt x="67" y="39"/>
                  </a:lnTo>
                  <a:lnTo>
                    <a:pt x="78" y="42"/>
                  </a:lnTo>
                  <a:lnTo>
                    <a:pt x="87" y="49"/>
                  </a:lnTo>
                  <a:lnTo>
                    <a:pt x="99" y="55"/>
                  </a:lnTo>
                  <a:lnTo>
                    <a:pt x="120" y="51"/>
                  </a:lnTo>
                  <a:lnTo>
                    <a:pt x="129" y="49"/>
                  </a:lnTo>
                  <a:lnTo>
                    <a:pt x="127" y="42"/>
                  </a:lnTo>
                  <a:lnTo>
                    <a:pt x="127" y="40"/>
                  </a:lnTo>
                  <a:lnTo>
                    <a:pt x="129" y="40"/>
                  </a:lnTo>
                  <a:lnTo>
                    <a:pt x="136" y="39"/>
                  </a:lnTo>
                  <a:lnTo>
                    <a:pt x="147" y="30"/>
                  </a:lnTo>
                  <a:lnTo>
                    <a:pt x="151" y="30"/>
                  </a:lnTo>
                  <a:lnTo>
                    <a:pt x="159" y="27"/>
                  </a:lnTo>
                  <a:lnTo>
                    <a:pt x="167" y="25"/>
                  </a:lnTo>
                  <a:lnTo>
                    <a:pt x="170" y="25"/>
                  </a:lnTo>
                  <a:lnTo>
                    <a:pt x="175" y="31"/>
                  </a:lnTo>
                  <a:lnTo>
                    <a:pt x="199" y="37"/>
                  </a:lnTo>
                  <a:lnTo>
                    <a:pt x="199" y="39"/>
                  </a:lnTo>
                  <a:lnTo>
                    <a:pt x="202" y="45"/>
                  </a:lnTo>
                  <a:lnTo>
                    <a:pt x="216" y="55"/>
                  </a:lnTo>
                  <a:lnTo>
                    <a:pt x="224" y="55"/>
                  </a:lnTo>
                  <a:lnTo>
                    <a:pt x="225" y="68"/>
                  </a:lnTo>
                  <a:lnTo>
                    <a:pt x="222" y="83"/>
                  </a:lnTo>
                  <a:lnTo>
                    <a:pt x="219" y="92"/>
                  </a:lnTo>
                  <a:lnTo>
                    <a:pt x="215" y="95"/>
                  </a:lnTo>
                  <a:lnTo>
                    <a:pt x="215" y="101"/>
                  </a:lnTo>
                  <a:lnTo>
                    <a:pt x="218" y="104"/>
                  </a:lnTo>
                  <a:lnTo>
                    <a:pt x="215" y="114"/>
                  </a:lnTo>
                  <a:lnTo>
                    <a:pt x="218" y="131"/>
                  </a:lnTo>
                  <a:lnTo>
                    <a:pt x="225" y="134"/>
                  </a:lnTo>
                  <a:lnTo>
                    <a:pt x="230" y="141"/>
                  </a:lnTo>
                  <a:lnTo>
                    <a:pt x="231" y="141"/>
                  </a:lnTo>
                  <a:lnTo>
                    <a:pt x="228" y="150"/>
                  </a:lnTo>
                  <a:lnTo>
                    <a:pt x="221" y="162"/>
                  </a:lnTo>
                  <a:lnTo>
                    <a:pt x="230" y="177"/>
                  </a:lnTo>
                  <a:lnTo>
                    <a:pt x="244" y="186"/>
                  </a:lnTo>
                  <a:lnTo>
                    <a:pt x="244" y="197"/>
                  </a:lnTo>
                  <a:lnTo>
                    <a:pt x="250" y="200"/>
                  </a:lnTo>
                  <a:lnTo>
                    <a:pt x="250" y="202"/>
                  </a:lnTo>
                  <a:lnTo>
                    <a:pt x="247" y="208"/>
                  </a:lnTo>
                  <a:lnTo>
                    <a:pt x="237" y="212"/>
                  </a:lnTo>
                  <a:lnTo>
                    <a:pt x="233" y="217"/>
                  </a:lnTo>
                  <a:lnTo>
                    <a:pt x="230" y="230"/>
                  </a:lnTo>
                  <a:lnTo>
                    <a:pt x="228" y="230"/>
                  </a:lnTo>
                  <a:lnTo>
                    <a:pt x="173" y="223"/>
                  </a:lnTo>
                  <a:lnTo>
                    <a:pt x="167" y="205"/>
                  </a:lnTo>
                  <a:lnTo>
                    <a:pt x="161" y="202"/>
                  </a:lnTo>
                  <a:lnTo>
                    <a:pt x="138" y="211"/>
                  </a:lnTo>
                  <a:lnTo>
                    <a:pt x="124" y="208"/>
                  </a:lnTo>
                  <a:lnTo>
                    <a:pt x="123" y="208"/>
                  </a:lnTo>
                  <a:lnTo>
                    <a:pt x="121" y="205"/>
                  </a:lnTo>
                  <a:lnTo>
                    <a:pt x="113" y="202"/>
                  </a:lnTo>
                  <a:lnTo>
                    <a:pt x="108" y="196"/>
                  </a:lnTo>
                  <a:lnTo>
                    <a:pt x="96" y="191"/>
                  </a:lnTo>
                  <a:lnTo>
                    <a:pt x="95" y="191"/>
                  </a:lnTo>
                  <a:lnTo>
                    <a:pt x="95" y="190"/>
                  </a:lnTo>
                  <a:lnTo>
                    <a:pt x="89" y="177"/>
                  </a:lnTo>
                  <a:lnTo>
                    <a:pt x="84" y="172"/>
                  </a:lnTo>
                  <a:lnTo>
                    <a:pt x="77" y="157"/>
                  </a:lnTo>
                  <a:lnTo>
                    <a:pt x="71" y="160"/>
                  </a:lnTo>
                  <a:lnTo>
                    <a:pt x="62" y="151"/>
                  </a:lnTo>
                  <a:lnTo>
                    <a:pt x="59" y="159"/>
                  </a:lnTo>
                  <a:lnTo>
                    <a:pt x="50" y="151"/>
                  </a:lnTo>
                  <a:lnTo>
                    <a:pt x="49" y="146"/>
                  </a:lnTo>
                  <a:lnTo>
                    <a:pt x="46" y="144"/>
                  </a:lnTo>
                  <a:lnTo>
                    <a:pt x="44" y="144"/>
                  </a:lnTo>
                  <a:lnTo>
                    <a:pt x="44" y="143"/>
                  </a:lnTo>
                  <a:lnTo>
                    <a:pt x="46" y="131"/>
                  </a:lnTo>
                  <a:lnTo>
                    <a:pt x="41" y="122"/>
                  </a:lnTo>
                  <a:lnTo>
                    <a:pt x="25" y="111"/>
                  </a:lnTo>
                  <a:lnTo>
                    <a:pt x="16" y="97"/>
                  </a:lnTo>
                  <a:lnTo>
                    <a:pt x="19" y="88"/>
                  </a:lnTo>
                  <a:lnTo>
                    <a:pt x="25" y="77"/>
                  </a:lnTo>
                  <a:lnTo>
                    <a:pt x="25" y="73"/>
                  </a:lnTo>
                  <a:lnTo>
                    <a:pt x="28" y="68"/>
                  </a:lnTo>
                  <a:lnTo>
                    <a:pt x="18" y="64"/>
                  </a:lnTo>
                  <a:lnTo>
                    <a:pt x="9" y="52"/>
                  </a:lnTo>
                  <a:lnTo>
                    <a:pt x="9" y="40"/>
                  </a:lnTo>
                  <a:lnTo>
                    <a:pt x="3" y="36"/>
                  </a:lnTo>
                  <a:lnTo>
                    <a:pt x="1" y="36"/>
                  </a:lnTo>
                  <a:lnTo>
                    <a:pt x="1" y="15"/>
                  </a:lnTo>
                  <a:lnTo>
                    <a:pt x="0" y="9"/>
                  </a:lnTo>
                  <a:lnTo>
                    <a:pt x="0" y="8"/>
                  </a:lnTo>
                  <a:lnTo>
                    <a:pt x="6" y="2"/>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0" name="Bangladesh">
              <a:extLst>
                <a:ext uri="{FF2B5EF4-FFF2-40B4-BE49-F238E27FC236}">
                  <a16:creationId xmlns:a16="http://schemas.microsoft.com/office/drawing/2014/main" id="{5EDEDDEB-49D1-98DC-15E1-A8433AB97F44}"/>
                </a:ext>
              </a:extLst>
            </p:cNvPr>
            <p:cNvSpPr>
              <a:spLocks/>
            </p:cNvSpPr>
            <p:nvPr/>
          </p:nvSpPr>
          <p:spPr bwMode="auto">
            <a:xfrm>
              <a:off x="7898543" y="3940479"/>
              <a:ext cx="113845" cy="148179"/>
            </a:xfrm>
            <a:custGeom>
              <a:avLst/>
              <a:gdLst>
                <a:gd name="T0" fmla="*/ 7 w 63"/>
                <a:gd name="T1" fmla="*/ 0 h 82"/>
                <a:gd name="T2" fmla="*/ 8 w 63"/>
                <a:gd name="T3" fmla="*/ 0 h 82"/>
                <a:gd name="T4" fmla="*/ 11 w 63"/>
                <a:gd name="T5" fmla="*/ 6 h 82"/>
                <a:gd name="T6" fmla="*/ 14 w 63"/>
                <a:gd name="T7" fmla="*/ 2 h 82"/>
                <a:gd name="T8" fmla="*/ 17 w 63"/>
                <a:gd name="T9" fmla="*/ 8 h 82"/>
                <a:gd name="T10" fmla="*/ 20 w 63"/>
                <a:gd name="T11" fmla="*/ 8 h 82"/>
                <a:gd name="T12" fmla="*/ 20 w 63"/>
                <a:gd name="T13" fmla="*/ 5 h 82"/>
                <a:gd name="T14" fmla="*/ 22 w 63"/>
                <a:gd name="T15" fmla="*/ 5 h 82"/>
                <a:gd name="T16" fmla="*/ 25 w 63"/>
                <a:gd name="T17" fmla="*/ 15 h 82"/>
                <a:gd name="T18" fmla="*/ 29 w 63"/>
                <a:gd name="T19" fmla="*/ 18 h 82"/>
                <a:gd name="T20" fmla="*/ 57 w 63"/>
                <a:gd name="T21" fmla="*/ 21 h 82"/>
                <a:gd name="T22" fmla="*/ 57 w 63"/>
                <a:gd name="T23" fmla="*/ 22 h 82"/>
                <a:gd name="T24" fmla="*/ 43 w 63"/>
                <a:gd name="T25" fmla="*/ 39 h 82"/>
                <a:gd name="T26" fmla="*/ 46 w 63"/>
                <a:gd name="T27" fmla="*/ 46 h 82"/>
                <a:gd name="T28" fmla="*/ 49 w 63"/>
                <a:gd name="T29" fmla="*/ 49 h 82"/>
                <a:gd name="T30" fmla="*/ 56 w 63"/>
                <a:gd name="T31" fmla="*/ 40 h 82"/>
                <a:gd name="T32" fmla="*/ 57 w 63"/>
                <a:gd name="T33" fmla="*/ 40 h 82"/>
                <a:gd name="T34" fmla="*/ 63 w 63"/>
                <a:gd name="T35" fmla="*/ 67 h 82"/>
                <a:gd name="T36" fmla="*/ 63 w 63"/>
                <a:gd name="T37" fmla="*/ 76 h 82"/>
                <a:gd name="T38" fmla="*/ 59 w 63"/>
                <a:gd name="T39" fmla="*/ 76 h 82"/>
                <a:gd name="T40" fmla="*/ 59 w 63"/>
                <a:gd name="T41" fmla="*/ 82 h 82"/>
                <a:gd name="T42" fmla="*/ 57 w 63"/>
                <a:gd name="T43" fmla="*/ 82 h 82"/>
                <a:gd name="T44" fmla="*/ 57 w 63"/>
                <a:gd name="T45" fmla="*/ 80 h 82"/>
                <a:gd name="T46" fmla="*/ 51 w 63"/>
                <a:gd name="T47" fmla="*/ 63 h 82"/>
                <a:gd name="T48" fmla="*/ 49 w 63"/>
                <a:gd name="T49" fmla="*/ 57 h 82"/>
                <a:gd name="T50" fmla="*/ 41 w 63"/>
                <a:gd name="T51" fmla="*/ 57 h 82"/>
                <a:gd name="T52" fmla="*/ 38 w 63"/>
                <a:gd name="T53" fmla="*/ 54 h 82"/>
                <a:gd name="T54" fmla="*/ 35 w 63"/>
                <a:gd name="T55" fmla="*/ 57 h 82"/>
                <a:gd name="T56" fmla="*/ 35 w 63"/>
                <a:gd name="T57" fmla="*/ 63 h 82"/>
                <a:gd name="T58" fmla="*/ 32 w 63"/>
                <a:gd name="T59" fmla="*/ 68 h 82"/>
                <a:gd name="T60" fmla="*/ 31 w 63"/>
                <a:gd name="T61" fmla="*/ 68 h 82"/>
                <a:gd name="T62" fmla="*/ 28 w 63"/>
                <a:gd name="T63" fmla="*/ 65 h 82"/>
                <a:gd name="T64" fmla="*/ 25 w 63"/>
                <a:gd name="T65" fmla="*/ 70 h 82"/>
                <a:gd name="T66" fmla="*/ 23 w 63"/>
                <a:gd name="T67" fmla="*/ 70 h 82"/>
                <a:gd name="T68" fmla="*/ 23 w 63"/>
                <a:gd name="T69" fmla="*/ 68 h 82"/>
                <a:gd name="T70" fmla="*/ 22 w 63"/>
                <a:gd name="T71" fmla="*/ 68 h 82"/>
                <a:gd name="T72" fmla="*/ 14 w 63"/>
                <a:gd name="T73" fmla="*/ 71 h 82"/>
                <a:gd name="T74" fmla="*/ 13 w 63"/>
                <a:gd name="T75" fmla="*/ 71 h 82"/>
                <a:gd name="T76" fmla="*/ 7 w 63"/>
                <a:gd name="T77" fmla="*/ 42 h 82"/>
                <a:gd name="T78" fmla="*/ 7 w 63"/>
                <a:gd name="T79" fmla="*/ 33 h 82"/>
                <a:gd name="T80" fmla="*/ 0 w 63"/>
                <a:gd name="T81" fmla="*/ 27 h 82"/>
                <a:gd name="T82" fmla="*/ 0 w 63"/>
                <a:gd name="T83" fmla="*/ 25 h 82"/>
                <a:gd name="T84" fmla="*/ 4 w 63"/>
                <a:gd name="T85" fmla="*/ 20 h 82"/>
                <a:gd name="T86" fmla="*/ 10 w 63"/>
                <a:gd name="T87" fmla="*/ 20 h 82"/>
                <a:gd name="T88" fmla="*/ 8 w 63"/>
                <a:gd name="T89" fmla="*/ 15 h 82"/>
                <a:gd name="T90" fmla="*/ 4 w 63"/>
                <a:gd name="T91" fmla="*/ 15 h 82"/>
                <a:gd name="T92" fmla="*/ 3 w 63"/>
                <a:gd name="T93" fmla="*/ 11 h 82"/>
                <a:gd name="T94" fmla="*/ 7 w 63"/>
                <a:gd name="T9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 h="82">
                  <a:moveTo>
                    <a:pt x="7" y="0"/>
                  </a:moveTo>
                  <a:lnTo>
                    <a:pt x="8" y="0"/>
                  </a:lnTo>
                  <a:lnTo>
                    <a:pt x="11" y="6"/>
                  </a:lnTo>
                  <a:lnTo>
                    <a:pt x="14" y="2"/>
                  </a:lnTo>
                  <a:lnTo>
                    <a:pt x="17" y="8"/>
                  </a:lnTo>
                  <a:lnTo>
                    <a:pt x="20" y="8"/>
                  </a:lnTo>
                  <a:lnTo>
                    <a:pt x="20" y="5"/>
                  </a:lnTo>
                  <a:lnTo>
                    <a:pt x="22" y="5"/>
                  </a:lnTo>
                  <a:lnTo>
                    <a:pt x="25" y="15"/>
                  </a:lnTo>
                  <a:lnTo>
                    <a:pt x="29" y="18"/>
                  </a:lnTo>
                  <a:lnTo>
                    <a:pt x="57" y="21"/>
                  </a:lnTo>
                  <a:lnTo>
                    <a:pt x="57" y="22"/>
                  </a:lnTo>
                  <a:lnTo>
                    <a:pt x="43" y="39"/>
                  </a:lnTo>
                  <a:lnTo>
                    <a:pt x="46" y="46"/>
                  </a:lnTo>
                  <a:lnTo>
                    <a:pt x="49" y="49"/>
                  </a:lnTo>
                  <a:lnTo>
                    <a:pt x="56" y="40"/>
                  </a:lnTo>
                  <a:lnTo>
                    <a:pt x="57" y="40"/>
                  </a:lnTo>
                  <a:lnTo>
                    <a:pt x="63" y="67"/>
                  </a:lnTo>
                  <a:lnTo>
                    <a:pt x="63" y="76"/>
                  </a:lnTo>
                  <a:lnTo>
                    <a:pt x="59" y="76"/>
                  </a:lnTo>
                  <a:lnTo>
                    <a:pt x="59" y="82"/>
                  </a:lnTo>
                  <a:lnTo>
                    <a:pt x="57" y="82"/>
                  </a:lnTo>
                  <a:lnTo>
                    <a:pt x="57" y="80"/>
                  </a:lnTo>
                  <a:lnTo>
                    <a:pt x="51" y="63"/>
                  </a:lnTo>
                  <a:lnTo>
                    <a:pt x="49" y="57"/>
                  </a:lnTo>
                  <a:lnTo>
                    <a:pt x="41" y="57"/>
                  </a:lnTo>
                  <a:lnTo>
                    <a:pt x="38" y="54"/>
                  </a:lnTo>
                  <a:lnTo>
                    <a:pt x="35" y="57"/>
                  </a:lnTo>
                  <a:lnTo>
                    <a:pt x="35" y="63"/>
                  </a:lnTo>
                  <a:lnTo>
                    <a:pt x="32" y="68"/>
                  </a:lnTo>
                  <a:lnTo>
                    <a:pt x="31" y="68"/>
                  </a:lnTo>
                  <a:lnTo>
                    <a:pt x="28" y="65"/>
                  </a:lnTo>
                  <a:lnTo>
                    <a:pt x="25" y="70"/>
                  </a:lnTo>
                  <a:lnTo>
                    <a:pt x="23" y="70"/>
                  </a:lnTo>
                  <a:lnTo>
                    <a:pt x="23" y="68"/>
                  </a:lnTo>
                  <a:lnTo>
                    <a:pt x="22" y="68"/>
                  </a:lnTo>
                  <a:lnTo>
                    <a:pt x="14" y="71"/>
                  </a:lnTo>
                  <a:lnTo>
                    <a:pt x="13" y="71"/>
                  </a:lnTo>
                  <a:lnTo>
                    <a:pt x="7" y="42"/>
                  </a:lnTo>
                  <a:lnTo>
                    <a:pt x="7" y="33"/>
                  </a:lnTo>
                  <a:lnTo>
                    <a:pt x="0" y="27"/>
                  </a:lnTo>
                  <a:lnTo>
                    <a:pt x="0" y="25"/>
                  </a:lnTo>
                  <a:lnTo>
                    <a:pt x="4" y="20"/>
                  </a:lnTo>
                  <a:lnTo>
                    <a:pt x="10" y="20"/>
                  </a:lnTo>
                  <a:lnTo>
                    <a:pt x="8" y="15"/>
                  </a:lnTo>
                  <a:lnTo>
                    <a:pt x="4" y="15"/>
                  </a:lnTo>
                  <a:lnTo>
                    <a:pt x="3" y="11"/>
                  </a:lnTo>
                  <a:lnTo>
                    <a:pt x="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1" name="Bhutan">
              <a:extLst>
                <a:ext uri="{FF2B5EF4-FFF2-40B4-BE49-F238E27FC236}">
                  <a16:creationId xmlns:a16="http://schemas.microsoft.com/office/drawing/2014/main" id="{72F0929F-A1F5-F3EE-5CFB-E1C069573B00}"/>
                </a:ext>
              </a:extLst>
            </p:cNvPr>
            <p:cNvSpPr>
              <a:spLocks/>
            </p:cNvSpPr>
            <p:nvPr/>
          </p:nvSpPr>
          <p:spPr bwMode="auto">
            <a:xfrm>
              <a:off x="7918421" y="3895302"/>
              <a:ext cx="83124" cy="43369"/>
            </a:xfrm>
            <a:custGeom>
              <a:avLst/>
              <a:gdLst>
                <a:gd name="T0" fmla="*/ 17 w 46"/>
                <a:gd name="T1" fmla="*/ 0 h 24"/>
                <a:gd name="T2" fmla="*/ 36 w 46"/>
                <a:gd name="T3" fmla="*/ 5 h 24"/>
                <a:gd name="T4" fmla="*/ 40 w 46"/>
                <a:gd name="T5" fmla="*/ 7 h 24"/>
                <a:gd name="T6" fmla="*/ 40 w 46"/>
                <a:gd name="T7" fmla="*/ 10 h 24"/>
                <a:gd name="T8" fmla="*/ 46 w 46"/>
                <a:gd name="T9" fmla="*/ 13 h 24"/>
                <a:gd name="T10" fmla="*/ 46 w 46"/>
                <a:gd name="T11" fmla="*/ 15 h 24"/>
                <a:gd name="T12" fmla="*/ 43 w 46"/>
                <a:gd name="T13" fmla="*/ 21 h 24"/>
                <a:gd name="T14" fmla="*/ 40 w 46"/>
                <a:gd name="T15" fmla="*/ 21 h 24"/>
                <a:gd name="T16" fmla="*/ 33 w 46"/>
                <a:gd name="T17" fmla="*/ 22 h 24"/>
                <a:gd name="T18" fmla="*/ 23 w 46"/>
                <a:gd name="T19" fmla="*/ 22 h 24"/>
                <a:gd name="T20" fmla="*/ 15 w 46"/>
                <a:gd name="T21" fmla="*/ 24 h 24"/>
                <a:gd name="T22" fmla="*/ 12 w 46"/>
                <a:gd name="T23" fmla="*/ 24 h 24"/>
                <a:gd name="T24" fmla="*/ 2 w 46"/>
                <a:gd name="T25" fmla="*/ 21 h 24"/>
                <a:gd name="T26" fmla="*/ 0 w 46"/>
                <a:gd name="T27" fmla="*/ 18 h 24"/>
                <a:gd name="T28" fmla="*/ 0 w 46"/>
                <a:gd name="T29" fmla="*/ 16 h 24"/>
                <a:gd name="T30" fmla="*/ 17 w 46"/>
                <a:gd name="T3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24">
                  <a:moveTo>
                    <a:pt x="17" y="0"/>
                  </a:moveTo>
                  <a:lnTo>
                    <a:pt x="36" y="5"/>
                  </a:lnTo>
                  <a:lnTo>
                    <a:pt x="40" y="7"/>
                  </a:lnTo>
                  <a:lnTo>
                    <a:pt x="40" y="10"/>
                  </a:lnTo>
                  <a:lnTo>
                    <a:pt x="46" y="13"/>
                  </a:lnTo>
                  <a:lnTo>
                    <a:pt x="46" y="15"/>
                  </a:lnTo>
                  <a:lnTo>
                    <a:pt x="43" y="21"/>
                  </a:lnTo>
                  <a:lnTo>
                    <a:pt x="40" y="21"/>
                  </a:lnTo>
                  <a:lnTo>
                    <a:pt x="33" y="22"/>
                  </a:lnTo>
                  <a:lnTo>
                    <a:pt x="23" y="22"/>
                  </a:lnTo>
                  <a:lnTo>
                    <a:pt x="15" y="24"/>
                  </a:lnTo>
                  <a:lnTo>
                    <a:pt x="12" y="24"/>
                  </a:lnTo>
                  <a:lnTo>
                    <a:pt x="2" y="21"/>
                  </a:lnTo>
                  <a:lnTo>
                    <a:pt x="0" y="18"/>
                  </a:lnTo>
                  <a:lnTo>
                    <a:pt x="0" y="16"/>
                  </a:lnTo>
                  <a:lnTo>
                    <a:pt x="1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2" name="Myanmar">
              <a:extLst>
                <a:ext uri="{FF2B5EF4-FFF2-40B4-BE49-F238E27FC236}">
                  <a16:creationId xmlns:a16="http://schemas.microsoft.com/office/drawing/2014/main" id="{C570A5AF-F38E-52DE-81AB-6D707C19454C}"/>
                </a:ext>
              </a:extLst>
            </p:cNvPr>
            <p:cNvSpPr>
              <a:spLocks/>
            </p:cNvSpPr>
            <p:nvPr/>
          </p:nvSpPr>
          <p:spPr bwMode="auto">
            <a:xfrm>
              <a:off x="8001547" y="3895302"/>
              <a:ext cx="211427" cy="455380"/>
            </a:xfrm>
            <a:custGeom>
              <a:avLst/>
              <a:gdLst>
                <a:gd name="T0" fmla="*/ 72 w 117"/>
                <a:gd name="T1" fmla="*/ 0 h 252"/>
                <a:gd name="T2" fmla="*/ 80 w 117"/>
                <a:gd name="T3" fmla="*/ 10 h 252"/>
                <a:gd name="T4" fmla="*/ 83 w 117"/>
                <a:gd name="T5" fmla="*/ 12 h 252"/>
                <a:gd name="T6" fmla="*/ 86 w 117"/>
                <a:gd name="T7" fmla="*/ 33 h 252"/>
                <a:gd name="T8" fmla="*/ 72 w 117"/>
                <a:gd name="T9" fmla="*/ 64 h 252"/>
                <a:gd name="T10" fmla="*/ 88 w 117"/>
                <a:gd name="T11" fmla="*/ 59 h 252"/>
                <a:gd name="T12" fmla="*/ 89 w 117"/>
                <a:gd name="T13" fmla="*/ 71 h 252"/>
                <a:gd name="T14" fmla="*/ 97 w 117"/>
                <a:gd name="T15" fmla="*/ 77 h 252"/>
                <a:gd name="T16" fmla="*/ 101 w 117"/>
                <a:gd name="T17" fmla="*/ 89 h 252"/>
                <a:gd name="T18" fmla="*/ 115 w 117"/>
                <a:gd name="T19" fmla="*/ 92 h 252"/>
                <a:gd name="T20" fmla="*/ 106 w 117"/>
                <a:gd name="T21" fmla="*/ 108 h 252"/>
                <a:gd name="T22" fmla="*/ 88 w 117"/>
                <a:gd name="T23" fmla="*/ 123 h 252"/>
                <a:gd name="T24" fmla="*/ 73 w 117"/>
                <a:gd name="T25" fmla="*/ 141 h 252"/>
                <a:gd name="T26" fmla="*/ 83 w 117"/>
                <a:gd name="T27" fmla="*/ 157 h 252"/>
                <a:gd name="T28" fmla="*/ 86 w 117"/>
                <a:gd name="T29" fmla="*/ 171 h 252"/>
                <a:gd name="T30" fmla="*/ 88 w 117"/>
                <a:gd name="T31" fmla="*/ 172 h 252"/>
                <a:gd name="T32" fmla="*/ 80 w 117"/>
                <a:gd name="T33" fmla="*/ 193 h 252"/>
                <a:gd name="T34" fmla="*/ 91 w 117"/>
                <a:gd name="T35" fmla="*/ 212 h 252"/>
                <a:gd name="T36" fmla="*/ 88 w 117"/>
                <a:gd name="T37" fmla="*/ 242 h 252"/>
                <a:gd name="T38" fmla="*/ 86 w 117"/>
                <a:gd name="T39" fmla="*/ 252 h 252"/>
                <a:gd name="T40" fmla="*/ 85 w 117"/>
                <a:gd name="T41" fmla="*/ 251 h 252"/>
                <a:gd name="T42" fmla="*/ 82 w 117"/>
                <a:gd name="T43" fmla="*/ 249 h 252"/>
                <a:gd name="T44" fmla="*/ 83 w 117"/>
                <a:gd name="T45" fmla="*/ 228 h 252"/>
                <a:gd name="T46" fmla="*/ 82 w 117"/>
                <a:gd name="T47" fmla="*/ 227 h 252"/>
                <a:gd name="T48" fmla="*/ 83 w 117"/>
                <a:gd name="T49" fmla="*/ 215 h 252"/>
                <a:gd name="T50" fmla="*/ 79 w 117"/>
                <a:gd name="T51" fmla="*/ 206 h 252"/>
                <a:gd name="T52" fmla="*/ 73 w 117"/>
                <a:gd name="T53" fmla="*/ 187 h 252"/>
                <a:gd name="T54" fmla="*/ 61 w 117"/>
                <a:gd name="T55" fmla="*/ 162 h 252"/>
                <a:gd name="T56" fmla="*/ 60 w 117"/>
                <a:gd name="T57" fmla="*/ 165 h 252"/>
                <a:gd name="T58" fmla="*/ 37 w 117"/>
                <a:gd name="T59" fmla="*/ 176 h 252"/>
                <a:gd name="T60" fmla="*/ 30 w 117"/>
                <a:gd name="T61" fmla="*/ 175 h 252"/>
                <a:gd name="T62" fmla="*/ 27 w 117"/>
                <a:gd name="T63" fmla="*/ 174 h 252"/>
                <a:gd name="T64" fmla="*/ 26 w 117"/>
                <a:gd name="T65" fmla="*/ 172 h 252"/>
                <a:gd name="T66" fmla="*/ 27 w 117"/>
                <a:gd name="T67" fmla="*/ 141 h 252"/>
                <a:gd name="T68" fmla="*/ 23 w 117"/>
                <a:gd name="T69" fmla="*/ 133 h 252"/>
                <a:gd name="T70" fmla="*/ 17 w 117"/>
                <a:gd name="T71" fmla="*/ 129 h 252"/>
                <a:gd name="T72" fmla="*/ 20 w 117"/>
                <a:gd name="T73" fmla="*/ 126 h 252"/>
                <a:gd name="T74" fmla="*/ 9 w 117"/>
                <a:gd name="T75" fmla="*/ 119 h 252"/>
                <a:gd name="T76" fmla="*/ 0 w 117"/>
                <a:gd name="T77" fmla="*/ 99 h 252"/>
                <a:gd name="T78" fmla="*/ 5 w 117"/>
                <a:gd name="T79" fmla="*/ 90 h 252"/>
                <a:gd name="T80" fmla="*/ 9 w 117"/>
                <a:gd name="T81" fmla="*/ 80 h 252"/>
                <a:gd name="T82" fmla="*/ 11 w 117"/>
                <a:gd name="T83" fmla="*/ 77 h 252"/>
                <a:gd name="T84" fmla="*/ 14 w 117"/>
                <a:gd name="T85" fmla="*/ 65 h 252"/>
                <a:gd name="T86" fmla="*/ 26 w 117"/>
                <a:gd name="T87" fmla="*/ 62 h 252"/>
                <a:gd name="T88" fmla="*/ 39 w 117"/>
                <a:gd name="T89" fmla="*/ 36 h 252"/>
                <a:gd name="T90" fmla="*/ 51 w 117"/>
                <a:gd name="T91" fmla="*/ 16 h 252"/>
                <a:gd name="T92" fmla="*/ 63 w 117"/>
                <a:gd name="T93" fmla="*/ 7 h 252"/>
                <a:gd name="T94" fmla="*/ 67 w 117"/>
                <a:gd name="T95" fmla="*/ 5 h 252"/>
                <a:gd name="T96" fmla="*/ 70 w 117"/>
                <a:gd name="T9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7" h="252">
                  <a:moveTo>
                    <a:pt x="70" y="0"/>
                  </a:moveTo>
                  <a:lnTo>
                    <a:pt x="72" y="0"/>
                  </a:lnTo>
                  <a:lnTo>
                    <a:pt x="75" y="2"/>
                  </a:lnTo>
                  <a:lnTo>
                    <a:pt x="80" y="10"/>
                  </a:lnTo>
                  <a:lnTo>
                    <a:pt x="83" y="10"/>
                  </a:lnTo>
                  <a:lnTo>
                    <a:pt x="83" y="12"/>
                  </a:lnTo>
                  <a:lnTo>
                    <a:pt x="86" y="24"/>
                  </a:lnTo>
                  <a:lnTo>
                    <a:pt x="86" y="33"/>
                  </a:lnTo>
                  <a:lnTo>
                    <a:pt x="75" y="47"/>
                  </a:lnTo>
                  <a:lnTo>
                    <a:pt x="72" y="64"/>
                  </a:lnTo>
                  <a:lnTo>
                    <a:pt x="80" y="59"/>
                  </a:lnTo>
                  <a:lnTo>
                    <a:pt x="88" y="59"/>
                  </a:lnTo>
                  <a:lnTo>
                    <a:pt x="88" y="61"/>
                  </a:lnTo>
                  <a:lnTo>
                    <a:pt x="89" y="71"/>
                  </a:lnTo>
                  <a:lnTo>
                    <a:pt x="97" y="76"/>
                  </a:lnTo>
                  <a:lnTo>
                    <a:pt x="97" y="77"/>
                  </a:lnTo>
                  <a:lnTo>
                    <a:pt x="94" y="86"/>
                  </a:lnTo>
                  <a:lnTo>
                    <a:pt x="101" y="89"/>
                  </a:lnTo>
                  <a:lnTo>
                    <a:pt x="106" y="95"/>
                  </a:lnTo>
                  <a:lnTo>
                    <a:pt x="115" y="92"/>
                  </a:lnTo>
                  <a:lnTo>
                    <a:pt x="117" y="95"/>
                  </a:lnTo>
                  <a:lnTo>
                    <a:pt x="106" y="108"/>
                  </a:lnTo>
                  <a:lnTo>
                    <a:pt x="101" y="114"/>
                  </a:lnTo>
                  <a:lnTo>
                    <a:pt x="88" y="123"/>
                  </a:lnTo>
                  <a:lnTo>
                    <a:pt x="77" y="125"/>
                  </a:lnTo>
                  <a:lnTo>
                    <a:pt x="73" y="141"/>
                  </a:lnTo>
                  <a:lnTo>
                    <a:pt x="76" y="151"/>
                  </a:lnTo>
                  <a:lnTo>
                    <a:pt x="83" y="157"/>
                  </a:lnTo>
                  <a:lnTo>
                    <a:pt x="83" y="168"/>
                  </a:lnTo>
                  <a:lnTo>
                    <a:pt x="86" y="171"/>
                  </a:lnTo>
                  <a:lnTo>
                    <a:pt x="88" y="171"/>
                  </a:lnTo>
                  <a:lnTo>
                    <a:pt x="88" y="172"/>
                  </a:lnTo>
                  <a:lnTo>
                    <a:pt x="80" y="188"/>
                  </a:lnTo>
                  <a:lnTo>
                    <a:pt x="80" y="193"/>
                  </a:lnTo>
                  <a:lnTo>
                    <a:pt x="91" y="200"/>
                  </a:lnTo>
                  <a:lnTo>
                    <a:pt x="91" y="212"/>
                  </a:lnTo>
                  <a:lnTo>
                    <a:pt x="98" y="228"/>
                  </a:lnTo>
                  <a:lnTo>
                    <a:pt x="88" y="242"/>
                  </a:lnTo>
                  <a:lnTo>
                    <a:pt x="86" y="251"/>
                  </a:lnTo>
                  <a:lnTo>
                    <a:pt x="86" y="252"/>
                  </a:lnTo>
                  <a:lnTo>
                    <a:pt x="85" y="252"/>
                  </a:lnTo>
                  <a:lnTo>
                    <a:pt x="85" y="251"/>
                  </a:lnTo>
                  <a:lnTo>
                    <a:pt x="83" y="249"/>
                  </a:lnTo>
                  <a:lnTo>
                    <a:pt x="82" y="249"/>
                  </a:lnTo>
                  <a:lnTo>
                    <a:pt x="86" y="230"/>
                  </a:lnTo>
                  <a:lnTo>
                    <a:pt x="83" y="228"/>
                  </a:lnTo>
                  <a:lnTo>
                    <a:pt x="82" y="228"/>
                  </a:lnTo>
                  <a:lnTo>
                    <a:pt x="82" y="227"/>
                  </a:lnTo>
                  <a:lnTo>
                    <a:pt x="85" y="225"/>
                  </a:lnTo>
                  <a:lnTo>
                    <a:pt x="83" y="215"/>
                  </a:lnTo>
                  <a:lnTo>
                    <a:pt x="80" y="205"/>
                  </a:lnTo>
                  <a:lnTo>
                    <a:pt x="79" y="206"/>
                  </a:lnTo>
                  <a:lnTo>
                    <a:pt x="79" y="205"/>
                  </a:lnTo>
                  <a:lnTo>
                    <a:pt x="73" y="187"/>
                  </a:lnTo>
                  <a:lnTo>
                    <a:pt x="72" y="166"/>
                  </a:lnTo>
                  <a:lnTo>
                    <a:pt x="61" y="162"/>
                  </a:lnTo>
                  <a:lnTo>
                    <a:pt x="60" y="159"/>
                  </a:lnTo>
                  <a:lnTo>
                    <a:pt x="60" y="165"/>
                  </a:lnTo>
                  <a:lnTo>
                    <a:pt x="40" y="176"/>
                  </a:lnTo>
                  <a:lnTo>
                    <a:pt x="37" y="176"/>
                  </a:lnTo>
                  <a:lnTo>
                    <a:pt x="33" y="175"/>
                  </a:lnTo>
                  <a:lnTo>
                    <a:pt x="30" y="175"/>
                  </a:lnTo>
                  <a:lnTo>
                    <a:pt x="30" y="172"/>
                  </a:lnTo>
                  <a:lnTo>
                    <a:pt x="27" y="174"/>
                  </a:lnTo>
                  <a:lnTo>
                    <a:pt x="26" y="174"/>
                  </a:lnTo>
                  <a:lnTo>
                    <a:pt x="26" y="172"/>
                  </a:lnTo>
                  <a:lnTo>
                    <a:pt x="30" y="157"/>
                  </a:lnTo>
                  <a:lnTo>
                    <a:pt x="27" y="141"/>
                  </a:lnTo>
                  <a:lnTo>
                    <a:pt x="23" y="132"/>
                  </a:lnTo>
                  <a:lnTo>
                    <a:pt x="23" y="133"/>
                  </a:lnTo>
                  <a:lnTo>
                    <a:pt x="21" y="133"/>
                  </a:lnTo>
                  <a:lnTo>
                    <a:pt x="17" y="129"/>
                  </a:lnTo>
                  <a:lnTo>
                    <a:pt x="18" y="126"/>
                  </a:lnTo>
                  <a:lnTo>
                    <a:pt x="20" y="126"/>
                  </a:lnTo>
                  <a:lnTo>
                    <a:pt x="18" y="123"/>
                  </a:lnTo>
                  <a:lnTo>
                    <a:pt x="9" y="119"/>
                  </a:lnTo>
                  <a:lnTo>
                    <a:pt x="0" y="105"/>
                  </a:lnTo>
                  <a:lnTo>
                    <a:pt x="0" y="99"/>
                  </a:lnTo>
                  <a:lnTo>
                    <a:pt x="5" y="99"/>
                  </a:lnTo>
                  <a:lnTo>
                    <a:pt x="5" y="90"/>
                  </a:lnTo>
                  <a:lnTo>
                    <a:pt x="11" y="88"/>
                  </a:lnTo>
                  <a:lnTo>
                    <a:pt x="9" y="80"/>
                  </a:lnTo>
                  <a:lnTo>
                    <a:pt x="11" y="79"/>
                  </a:lnTo>
                  <a:lnTo>
                    <a:pt x="11" y="77"/>
                  </a:lnTo>
                  <a:lnTo>
                    <a:pt x="14" y="77"/>
                  </a:lnTo>
                  <a:lnTo>
                    <a:pt x="14" y="65"/>
                  </a:lnTo>
                  <a:lnTo>
                    <a:pt x="15" y="65"/>
                  </a:lnTo>
                  <a:lnTo>
                    <a:pt x="26" y="62"/>
                  </a:lnTo>
                  <a:lnTo>
                    <a:pt x="32" y="45"/>
                  </a:lnTo>
                  <a:lnTo>
                    <a:pt x="39" y="36"/>
                  </a:lnTo>
                  <a:lnTo>
                    <a:pt x="39" y="27"/>
                  </a:lnTo>
                  <a:lnTo>
                    <a:pt x="51" y="16"/>
                  </a:lnTo>
                  <a:lnTo>
                    <a:pt x="63" y="15"/>
                  </a:lnTo>
                  <a:lnTo>
                    <a:pt x="63" y="7"/>
                  </a:lnTo>
                  <a:lnTo>
                    <a:pt x="64" y="7"/>
                  </a:lnTo>
                  <a:lnTo>
                    <a:pt x="67" y="5"/>
                  </a:lnTo>
                  <a:lnTo>
                    <a:pt x="67" y="2"/>
                  </a:lnTo>
                  <a:lnTo>
                    <a:pt x="7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3" name="Laos">
              <a:extLst>
                <a:ext uri="{FF2B5EF4-FFF2-40B4-BE49-F238E27FC236}">
                  <a16:creationId xmlns:a16="http://schemas.microsoft.com/office/drawing/2014/main" id="{6099B163-77BC-B37A-635E-3E254FF754B8}"/>
                </a:ext>
              </a:extLst>
            </p:cNvPr>
            <p:cNvSpPr>
              <a:spLocks/>
            </p:cNvSpPr>
            <p:nvPr/>
          </p:nvSpPr>
          <p:spPr bwMode="auto">
            <a:xfrm>
              <a:off x="8189480" y="4045289"/>
              <a:ext cx="175286" cy="215041"/>
            </a:xfrm>
            <a:custGeom>
              <a:avLst/>
              <a:gdLst>
                <a:gd name="T0" fmla="*/ 21 w 97"/>
                <a:gd name="T1" fmla="*/ 0 h 119"/>
                <a:gd name="T2" fmla="*/ 22 w 97"/>
                <a:gd name="T3" fmla="*/ 0 h 119"/>
                <a:gd name="T4" fmla="*/ 28 w 97"/>
                <a:gd name="T5" fmla="*/ 2 h 119"/>
                <a:gd name="T6" fmla="*/ 36 w 97"/>
                <a:gd name="T7" fmla="*/ 12 h 119"/>
                <a:gd name="T8" fmla="*/ 37 w 97"/>
                <a:gd name="T9" fmla="*/ 19 h 119"/>
                <a:gd name="T10" fmla="*/ 40 w 97"/>
                <a:gd name="T11" fmla="*/ 22 h 119"/>
                <a:gd name="T12" fmla="*/ 54 w 97"/>
                <a:gd name="T13" fmla="*/ 22 h 119"/>
                <a:gd name="T14" fmla="*/ 56 w 97"/>
                <a:gd name="T15" fmla="*/ 25 h 119"/>
                <a:gd name="T16" fmla="*/ 61 w 97"/>
                <a:gd name="T17" fmla="*/ 36 h 119"/>
                <a:gd name="T18" fmla="*/ 56 w 97"/>
                <a:gd name="T19" fmla="*/ 40 h 119"/>
                <a:gd name="T20" fmla="*/ 52 w 97"/>
                <a:gd name="T21" fmla="*/ 40 h 119"/>
                <a:gd name="T22" fmla="*/ 51 w 97"/>
                <a:gd name="T23" fmla="*/ 45 h 119"/>
                <a:gd name="T24" fmla="*/ 65 w 97"/>
                <a:gd name="T25" fmla="*/ 53 h 119"/>
                <a:gd name="T26" fmla="*/ 76 w 97"/>
                <a:gd name="T27" fmla="*/ 68 h 119"/>
                <a:gd name="T28" fmla="*/ 82 w 97"/>
                <a:gd name="T29" fmla="*/ 71 h 119"/>
                <a:gd name="T30" fmla="*/ 82 w 97"/>
                <a:gd name="T31" fmla="*/ 73 h 119"/>
                <a:gd name="T32" fmla="*/ 83 w 97"/>
                <a:gd name="T33" fmla="*/ 82 h 119"/>
                <a:gd name="T34" fmla="*/ 92 w 97"/>
                <a:gd name="T35" fmla="*/ 86 h 119"/>
                <a:gd name="T36" fmla="*/ 97 w 97"/>
                <a:gd name="T37" fmla="*/ 99 h 119"/>
                <a:gd name="T38" fmla="*/ 95 w 97"/>
                <a:gd name="T39" fmla="*/ 107 h 119"/>
                <a:gd name="T40" fmla="*/ 95 w 97"/>
                <a:gd name="T41" fmla="*/ 108 h 119"/>
                <a:gd name="T42" fmla="*/ 89 w 97"/>
                <a:gd name="T43" fmla="*/ 113 h 119"/>
                <a:gd name="T44" fmla="*/ 86 w 97"/>
                <a:gd name="T45" fmla="*/ 113 h 119"/>
                <a:gd name="T46" fmla="*/ 85 w 97"/>
                <a:gd name="T47" fmla="*/ 111 h 119"/>
                <a:gd name="T48" fmla="*/ 82 w 97"/>
                <a:gd name="T49" fmla="*/ 111 h 119"/>
                <a:gd name="T50" fmla="*/ 76 w 97"/>
                <a:gd name="T51" fmla="*/ 117 h 119"/>
                <a:gd name="T52" fmla="*/ 76 w 97"/>
                <a:gd name="T53" fmla="*/ 119 h 119"/>
                <a:gd name="T54" fmla="*/ 74 w 97"/>
                <a:gd name="T55" fmla="*/ 119 h 119"/>
                <a:gd name="T56" fmla="*/ 65 w 97"/>
                <a:gd name="T57" fmla="*/ 113 h 119"/>
                <a:gd name="T58" fmla="*/ 68 w 97"/>
                <a:gd name="T59" fmla="*/ 110 h 119"/>
                <a:gd name="T60" fmla="*/ 68 w 97"/>
                <a:gd name="T61" fmla="*/ 95 h 119"/>
                <a:gd name="T62" fmla="*/ 59 w 97"/>
                <a:gd name="T63" fmla="*/ 86 h 119"/>
                <a:gd name="T64" fmla="*/ 56 w 97"/>
                <a:gd name="T65" fmla="*/ 68 h 119"/>
                <a:gd name="T66" fmla="*/ 48 w 97"/>
                <a:gd name="T67" fmla="*/ 58 h 119"/>
                <a:gd name="T68" fmla="*/ 43 w 97"/>
                <a:gd name="T69" fmla="*/ 58 h 119"/>
                <a:gd name="T70" fmla="*/ 39 w 97"/>
                <a:gd name="T71" fmla="*/ 59 h 119"/>
                <a:gd name="T72" fmla="*/ 37 w 97"/>
                <a:gd name="T73" fmla="*/ 62 h 119"/>
                <a:gd name="T74" fmla="*/ 33 w 97"/>
                <a:gd name="T75" fmla="*/ 64 h 119"/>
                <a:gd name="T76" fmla="*/ 31 w 97"/>
                <a:gd name="T77" fmla="*/ 64 h 119"/>
                <a:gd name="T78" fmla="*/ 22 w 97"/>
                <a:gd name="T79" fmla="*/ 61 h 119"/>
                <a:gd name="T80" fmla="*/ 11 w 97"/>
                <a:gd name="T81" fmla="*/ 68 h 119"/>
                <a:gd name="T82" fmla="*/ 9 w 97"/>
                <a:gd name="T83" fmla="*/ 68 h 119"/>
                <a:gd name="T84" fmla="*/ 12 w 97"/>
                <a:gd name="T85" fmla="*/ 42 h 119"/>
                <a:gd name="T86" fmla="*/ 6 w 97"/>
                <a:gd name="T87" fmla="*/ 40 h 119"/>
                <a:gd name="T88" fmla="*/ 5 w 97"/>
                <a:gd name="T89" fmla="*/ 40 h 119"/>
                <a:gd name="T90" fmla="*/ 5 w 97"/>
                <a:gd name="T91" fmla="*/ 31 h 119"/>
                <a:gd name="T92" fmla="*/ 0 w 97"/>
                <a:gd name="T93" fmla="*/ 30 h 119"/>
                <a:gd name="T94" fmla="*/ 0 w 97"/>
                <a:gd name="T95" fmla="*/ 28 h 119"/>
                <a:gd name="T96" fmla="*/ 2 w 97"/>
                <a:gd name="T97" fmla="*/ 25 h 119"/>
                <a:gd name="T98" fmla="*/ 12 w 97"/>
                <a:gd name="T99" fmla="*/ 12 h 119"/>
                <a:gd name="T100" fmla="*/ 13 w 97"/>
                <a:gd name="T101" fmla="*/ 12 h 119"/>
                <a:gd name="T102" fmla="*/ 15 w 97"/>
                <a:gd name="T103" fmla="*/ 18 h 119"/>
                <a:gd name="T104" fmla="*/ 19 w 97"/>
                <a:gd name="T105" fmla="*/ 16 h 119"/>
                <a:gd name="T106" fmla="*/ 18 w 97"/>
                <a:gd name="T107" fmla="*/ 2 h 119"/>
                <a:gd name="T108" fmla="*/ 21 w 97"/>
                <a:gd name="T10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119">
                  <a:moveTo>
                    <a:pt x="21" y="0"/>
                  </a:moveTo>
                  <a:lnTo>
                    <a:pt x="22" y="0"/>
                  </a:lnTo>
                  <a:lnTo>
                    <a:pt x="28" y="2"/>
                  </a:lnTo>
                  <a:lnTo>
                    <a:pt x="36" y="12"/>
                  </a:lnTo>
                  <a:lnTo>
                    <a:pt x="37" y="19"/>
                  </a:lnTo>
                  <a:lnTo>
                    <a:pt x="40" y="22"/>
                  </a:lnTo>
                  <a:lnTo>
                    <a:pt x="54" y="22"/>
                  </a:lnTo>
                  <a:lnTo>
                    <a:pt x="56" y="25"/>
                  </a:lnTo>
                  <a:lnTo>
                    <a:pt x="61" y="36"/>
                  </a:lnTo>
                  <a:lnTo>
                    <a:pt x="56" y="40"/>
                  </a:lnTo>
                  <a:lnTo>
                    <a:pt x="52" y="40"/>
                  </a:lnTo>
                  <a:lnTo>
                    <a:pt x="51" y="45"/>
                  </a:lnTo>
                  <a:lnTo>
                    <a:pt x="65" y="53"/>
                  </a:lnTo>
                  <a:lnTo>
                    <a:pt x="76" y="68"/>
                  </a:lnTo>
                  <a:lnTo>
                    <a:pt x="82" y="71"/>
                  </a:lnTo>
                  <a:lnTo>
                    <a:pt x="82" y="73"/>
                  </a:lnTo>
                  <a:lnTo>
                    <a:pt x="83" y="82"/>
                  </a:lnTo>
                  <a:lnTo>
                    <a:pt x="92" y="86"/>
                  </a:lnTo>
                  <a:lnTo>
                    <a:pt x="97" y="99"/>
                  </a:lnTo>
                  <a:lnTo>
                    <a:pt x="95" y="107"/>
                  </a:lnTo>
                  <a:lnTo>
                    <a:pt x="95" y="108"/>
                  </a:lnTo>
                  <a:lnTo>
                    <a:pt x="89" y="113"/>
                  </a:lnTo>
                  <a:lnTo>
                    <a:pt x="86" y="113"/>
                  </a:lnTo>
                  <a:lnTo>
                    <a:pt x="85" y="111"/>
                  </a:lnTo>
                  <a:lnTo>
                    <a:pt x="82" y="111"/>
                  </a:lnTo>
                  <a:lnTo>
                    <a:pt x="76" y="117"/>
                  </a:lnTo>
                  <a:lnTo>
                    <a:pt x="76" y="119"/>
                  </a:lnTo>
                  <a:lnTo>
                    <a:pt x="74" y="119"/>
                  </a:lnTo>
                  <a:lnTo>
                    <a:pt x="65" y="113"/>
                  </a:lnTo>
                  <a:lnTo>
                    <a:pt x="68" y="110"/>
                  </a:lnTo>
                  <a:lnTo>
                    <a:pt x="68" y="95"/>
                  </a:lnTo>
                  <a:lnTo>
                    <a:pt x="59" y="86"/>
                  </a:lnTo>
                  <a:lnTo>
                    <a:pt x="56" y="68"/>
                  </a:lnTo>
                  <a:lnTo>
                    <a:pt x="48" y="58"/>
                  </a:lnTo>
                  <a:lnTo>
                    <a:pt x="43" y="58"/>
                  </a:lnTo>
                  <a:lnTo>
                    <a:pt x="39" y="59"/>
                  </a:lnTo>
                  <a:lnTo>
                    <a:pt x="37" y="62"/>
                  </a:lnTo>
                  <a:lnTo>
                    <a:pt x="33" y="64"/>
                  </a:lnTo>
                  <a:lnTo>
                    <a:pt x="31" y="64"/>
                  </a:lnTo>
                  <a:lnTo>
                    <a:pt x="22" y="61"/>
                  </a:lnTo>
                  <a:lnTo>
                    <a:pt x="11" y="68"/>
                  </a:lnTo>
                  <a:lnTo>
                    <a:pt x="9" y="68"/>
                  </a:lnTo>
                  <a:lnTo>
                    <a:pt x="12" y="42"/>
                  </a:lnTo>
                  <a:lnTo>
                    <a:pt x="6" y="40"/>
                  </a:lnTo>
                  <a:lnTo>
                    <a:pt x="5" y="40"/>
                  </a:lnTo>
                  <a:lnTo>
                    <a:pt x="5" y="31"/>
                  </a:lnTo>
                  <a:lnTo>
                    <a:pt x="0" y="30"/>
                  </a:lnTo>
                  <a:lnTo>
                    <a:pt x="0" y="28"/>
                  </a:lnTo>
                  <a:lnTo>
                    <a:pt x="2" y="25"/>
                  </a:lnTo>
                  <a:lnTo>
                    <a:pt x="12" y="12"/>
                  </a:lnTo>
                  <a:lnTo>
                    <a:pt x="13" y="12"/>
                  </a:lnTo>
                  <a:lnTo>
                    <a:pt x="15" y="18"/>
                  </a:lnTo>
                  <a:lnTo>
                    <a:pt x="19" y="16"/>
                  </a:lnTo>
                  <a:lnTo>
                    <a:pt x="18" y="2"/>
                  </a:lnTo>
                  <a:lnTo>
                    <a:pt x="2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4" name="Malaysia - East">
              <a:extLst>
                <a:ext uri="{FF2B5EF4-FFF2-40B4-BE49-F238E27FC236}">
                  <a16:creationId xmlns:a16="http://schemas.microsoft.com/office/drawing/2014/main" id="{E64472B9-CB88-9029-07B1-F9BE8799464E}"/>
                </a:ext>
              </a:extLst>
            </p:cNvPr>
            <p:cNvSpPr>
              <a:spLocks/>
            </p:cNvSpPr>
            <p:nvPr/>
          </p:nvSpPr>
          <p:spPr bwMode="auto">
            <a:xfrm>
              <a:off x="8411748" y="4426578"/>
              <a:ext cx="231304" cy="140950"/>
            </a:xfrm>
            <a:custGeom>
              <a:avLst/>
              <a:gdLst>
                <a:gd name="T0" fmla="*/ 94 w 128"/>
                <a:gd name="T1" fmla="*/ 0 h 78"/>
                <a:gd name="T2" fmla="*/ 95 w 128"/>
                <a:gd name="T3" fmla="*/ 0 h 78"/>
                <a:gd name="T4" fmla="*/ 95 w 128"/>
                <a:gd name="T5" fmla="*/ 3 h 78"/>
                <a:gd name="T6" fmla="*/ 98 w 128"/>
                <a:gd name="T7" fmla="*/ 0 h 78"/>
                <a:gd name="T8" fmla="*/ 99 w 128"/>
                <a:gd name="T9" fmla="*/ 0 h 78"/>
                <a:gd name="T10" fmla="*/ 102 w 128"/>
                <a:gd name="T11" fmla="*/ 4 h 78"/>
                <a:gd name="T12" fmla="*/ 105 w 128"/>
                <a:gd name="T13" fmla="*/ 6 h 78"/>
                <a:gd name="T14" fmla="*/ 107 w 128"/>
                <a:gd name="T15" fmla="*/ 6 h 78"/>
                <a:gd name="T16" fmla="*/ 107 w 128"/>
                <a:gd name="T17" fmla="*/ 11 h 78"/>
                <a:gd name="T18" fmla="*/ 111 w 128"/>
                <a:gd name="T19" fmla="*/ 11 h 78"/>
                <a:gd name="T20" fmla="*/ 111 w 128"/>
                <a:gd name="T21" fmla="*/ 16 h 78"/>
                <a:gd name="T22" fmla="*/ 114 w 128"/>
                <a:gd name="T23" fmla="*/ 14 h 78"/>
                <a:gd name="T24" fmla="*/ 128 w 128"/>
                <a:gd name="T25" fmla="*/ 22 h 78"/>
                <a:gd name="T26" fmla="*/ 128 w 128"/>
                <a:gd name="T27" fmla="*/ 23 h 78"/>
                <a:gd name="T28" fmla="*/ 120 w 128"/>
                <a:gd name="T29" fmla="*/ 26 h 78"/>
                <a:gd name="T30" fmla="*/ 114 w 128"/>
                <a:gd name="T31" fmla="*/ 26 h 78"/>
                <a:gd name="T32" fmla="*/ 119 w 128"/>
                <a:gd name="T33" fmla="*/ 32 h 78"/>
                <a:gd name="T34" fmla="*/ 119 w 128"/>
                <a:gd name="T35" fmla="*/ 34 h 78"/>
                <a:gd name="T36" fmla="*/ 117 w 128"/>
                <a:gd name="T37" fmla="*/ 34 h 78"/>
                <a:gd name="T38" fmla="*/ 111 w 128"/>
                <a:gd name="T39" fmla="*/ 37 h 78"/>
                <a:gd name="T40" fmla="*/ 107 w 128"/>
                <a:gd name="T41" fmla="*/ 34 h 78"/>
                <a:gd name="T42" fmla="*/ 105 w 128"/>
                <a:gd name="T43" fmla="*/ 37 h 78"/>
                <a:gd name="T44" fmla="*/ 98 w 128"/>
                <a:gd name="T45" fmla="*/ 34 h 78"/>
                <a:gd name="T46" fmla="*/ 82 w 128"/>
                <a:gd name="T47" fmla="*/ 34 h 78"/>
                <a:gd name="T48" fmla="*/ 68 w 128"/>
                <a:gd name="T49" fmla="*/ 65 h 78"/>
                <a:gd name="T50" fmla="*/ 65 w 128"/>
                <a:gd name="T51" fmla="*/ 69 h 78"/>
                <a:gd name="T52" fmla="*/ 61 w 128"/>
                <a:gd name="T53" fmla="*/ 72 h 78"/>
                <a:gd name="T54" fmla="*/ 51 w 128"/>
                <a:gd name="T55" fmla="*/ 75 h 78"/>
                <a:gd name="T56" fmla="*/ 43 w 128"/>
                <a:gd name="T57" fmla="*/ 71 h 78"/>
                <a:gd name="T58" fmla="*/ 37 w 128"/>
                <a:gd name="T59" fmla="*/ 71 h 78"/>
                <a:gd name="T60" fmla="*/ 28 w 128"/>
                <a:gd name="T61" fmla="*/ 78 h 78"/>
                <a:gd name="T62" fmla="*/ 14 w 128"/>
                <a:gd name="T63" fmla="*/ 78 h 78"/>
                <a:gd name="T64" fmla="*/ 6 w 128"/>
                <a:gd name="T65" fmla="*/ 75 h 78"/>
                <a:gd name="T66" fmla="*/ 0 w 128"/>
                <a:gd name="T67" fmla="*/ 63 h 78"/>
                <a:gd name="T68" fmla="*/ 2 w 128"/>
                <a:gd name="T69" fmla="*/ 62 h 78"/>
                <a:gd name="T70" fmla="*/ 8 w 128"/>
                <a:gd name="T71" fmla="*/ 66 h 78"/>
                <a:gd name="T72" fmla="*/ 19 w 128"/>
                <a:gd name="T73" fmla="*/ 68 h 78"/>
                <a:gd name="T74" fmla="*/ 21 w 128"/>
                <a:gd name="T75" fmla="*/ 60 h 78"/>
                <a:gd name="T76" fmla="*/ 21 w 128"/>
                <a:gd name="T77" fmla="*/ 59 h 78"/>
                <a:gd name="T78" fmla="*/ 24 w 128"/>
                <a:gd name="T79" fmla="*/ 59 h 78"/>
                <a:gd name="T80" fmla="*/ 27 w 128"/>
                <a:gd name="T81" fmla="*/ 53 h 78"/>
                <a:gd name="T82" fmla="*/ 27 w 128"/>
                <a:gd name="T83" fmla="*/ 51 h 78"/>
                <a:gd name="T84" fmla="*/ 43 w 128"/>
                <a:gd name="T85" fmla="*/ 50 h 78"/>
                <a:gd name="T86" fmla="*/ 55 w 128"/>
                <a:gd name="T87" fmla="*/ 35 h 78"/>
                <a:gd name="T88" fmla="*/ 58 w 128"/>
                <a:gd name="T89" fmla="*/ 29 h 78"/>
                <a:gd name="T90" fmla="*/ 65 w 128"/>
                <a:gd name="T91" fmla="*/ 37 h 78"/>
                <a:gd name="T92" fmla="*/ 70 w 128"/>
                <a:gd name="T93" fmla="*/ 28 h 78"/>
                <a:gd name="T94" fmla="*/ 70 w 128"/>
                <a:gd name="T95" fmla="*/ 26 h 78"/>
                <a:gd name="T96" fmla="*/ 71 w 128"/>
                <a:gd name="T97" fmla="*/ 26 h 78"/>
                <a:gd name="T98" fmla="*/ 74 w 128"/>
                <a:gd name="T99" fmla="*/ 31 h 78"/>
                <a:gd name="T100" fmla="*/ 73 w 128"/>
                <a:gd name="T101" fmla="*/ 26 h 78"/>
                <a:gd name="T102" fmla="*/ 77 w 128"/>
                <a:gd name="T103" fmla="*/ 22 h 78"/>
                <a:gd name="T104" fmla="*/ 77 w 128"/>
                <a:gd name="T105" fmla="*/ 19 h 78"/>
                <a:gd name="T106" fmla="*/ 82 w 128"/>
                <a:gd name="T107" fmla="*/ 17 h 78"/>
                <a:gd name="T108" fmla="*/ 94 w 128"/>
                <a:gd name="T10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78">
                  <a:moveTo>
                    <a:pt x="94" y="0"/>
                  </a:moveTo>
                  <a:lnTo>
                    <a:pt x="95" y="0"/>
                  </a:lnTo>
                  <a:lnTo>
                    <a:pt x="95" y="3"/>
                  </a:lnTo>
                  <a:lnTo>
                    <a:pt x="98" y="0"/>
                  </a:lnTo>
                  <a:lnTo>
                    <a:pt x="99" y="0"/>
                  </a:lnTo>
                  <a:lnTo>
                    <a:pt x="102" y="4"/>
                  </a:lnTo>
                  <a:lnTo>
                    <a:pt x="105" y="6"/>
                  </a:lnTo>
                  <a:lnTo>
                    <a:pt x="107" y="6"/>
                  </a:lnTo>
                  <a:lnTo>
                    <a:pt x="107" y="11"/>
                  </a:lnTo>
                  <a:lnTo>
                    <a:pt x="111" y="11"/>
                  </a:lnTo>
                  <a:lnTo>
                    <a:pt x="111" y="16"/>
                  </a:lnTo>
                  <a:lnTo>
                    <a:pt x="114" y="14"/>
                  </a:lnTo>
                  <a:lnTo>
                    <a:pt x="128" y="22"/>
                  </a:lnTo>
                  <a:lnTo>
                    <a:pt x="128" y="23"/>
                  </a:lnTo>
                  <a:lnTo>
                    <a:pt x="120" y="26"/>
                  </a:lnTo>
                  <a:lnTo>
                    <a:pt x="114" y="26"/>
                  </a:lnTo>
                  <a:lnTo>
                    <a:pt x="119" y="32"/>
                  </a:lnTo>
                  <a:lnTo>
                    <a:pt x="119" y="34"/>
                  </a:lnTo>
                  <a:lnTo>
                    <a:pt x="117" y="34"/>
                  </a:lnTo>
                  <a:lnTo>
                    <a:pt x="111" y="37"/>
                  </a:lnTo>
                  <a:lnTo>
                    <a:pt x="107" y="34"/>
                  </a:lnTo>
                  <a:lnTo>
                    <a:pt x="105" y="37"/>
                  </a:lnTo>
                  <a:lnTo>
                    <a:pt x="98" y="34"/>
                  </a:lnTo>
                  <a:lnTo>
                    <a:pt x="82" y="34"/>
                  </a:lnTo>
                  <a:lnTo>
                    <a:pt x="68" y="65"/>
                  </a:lnTo>
                  <a:lnTo>
                    <a:pt x="65" y="69"/>
                  </a:lnTo>
                  <a:lnTo>
                    <a:pt x="61" y="72"/>
                  </a:lnTo>
                  <a:lnTo>
                    <a:pt x="51" y="75"/>
                  </a:lnTo>
                  <a:lnTo>
                    <a:pt x="43" y="71"/>
                  </a:lnTo>
                  <a:lnTo>
                    <a:pt x="37" y="71"/>
                  </a:lnTo>
                  <a:lnTo>
                    <a:pt x="28" y="78"/>
                  </a:lnTo>
                  <a:lnTo>
                    <a:pt x="14" y="78"/>
                  </a:lnTo>
                  <a:lnTo>
                    <a:pt x="6" y="75"/>
                  </a:lnTo>
                  <a:lnTo>
                    <a:pt x="0" y="63"/>
                  </a:lnTo>
                  <a:lnTo>
                    <a:pt x="2" y="62"/>
                  </a:lnTo>
                  <a:lnTo>
                    <a:pt x="8" y="66"/>
                  </a:lnTo>
                  <a:lnTo>
                    <a:pt x="19" y="68"/>
                  </a:lnTo>
                  <a:lnTo>
                    <a:pt x="21" y="60"/>
                  </a:lnTo>
                  <a:lnTo>
                    <a:pt x="21" y="59"/>
                  </a:lnTo>
                  <a:lnTo>
                    <a:pt x="24" y="59"/>
                  </a:lnTo>
                  <a:lnTo>
                    <a:pt x="27" y="53"/>
                  </a:lnTo>
                  <a:lnTo>
                    <a:pt x="27" y="51"/>
                  </a:lnTo>
                  <a:lnTo>
                    <a:pt x="43" y="50"/>
                  </a:lnTo>
                  <a:lnTo>
                    <a:pt x="55" y="35"/>
                  </a:lnTo>
                  <a:lnTo>
                    <a:pt x="58" y="29"/>
                  </a:lnTo>
                  <a:lnTo>
                    <a:pt x="65" y="37"/>
                  </a:lnTo>
                  <a:lnTo>
                    <a:pt x="70" y="28"/>
                  </a:lnTo>
                  <a:lnTo>
                    <a:pt x="70" y="26"/>
                  </a:lnTo>
                  <a:lnTo>
                    <a:pt x="71" y="26"/>
                  </a:lnTo>
                  <a:lnTo>
                    <a:pt x="74" y="31"/>
                  </a:lnTo>
                  <a:lnTo>
                    <a:pt x="73" y="26"/>
                  </a:lnTo>
                  <a:lnTo>
                    <a:pt x="77" y="22"/>
                  </a:lnTo>
                  <a:lnTo>
                    <a:pt x="77" y="19"/>
                  </a:lnTo>
                  <a:lnTo>
                    <a:pt x="82" y="17"/>
                  </a:lnTo>
                  <a:lnTo>
                    <a:pt x="9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5" name="Malaysia - West">
              <a:extLst>
                <a:ext uri="{FF2B5EF4-FFF2-40B4-BE49-F238E27FC236}">
                  <a16:creationId xmlns:a16="http://schemas.microsoft.com/office/drawing/2014/main" id="{A31BBCBC-0930-5BF2-06C9-334BC16EC53A}"/>
                </a:ext>
              </a:extLst>
            </p:cNvPr>
            <p:cNvSpPr>
              <a:spLocks/>
            </p:cNvSpPr>
            <p:nvPr/>
          </p:nvSpPr>
          <p:spPr bwMode="auto">
            <a:xfrm>
              <a:off x="8189480" y="4428386"/>
              <a:ext cx="99389" cy="126494"/>
            </a:xfrm>
            <a:custGeom>
              <a:avLst/>
              <a:gdLst>
                <a:gd name="T0" fmla="*/ 0 w 55"/>
                <a:gd name="T1" fmla="*/ 0 h 70"/>
                <a:gd name="T2" fmla="*/ 2 w 55"/>
                <a:gd name="T3" fmla="*/ 0 h 70"/>
                <a:gd name="T4" fmla="*/ 12 w 55"/>
                <a:gd name="T5" fmla="*/ 5 h 70"/>
                <a:gd name="T6" fmla="*/ 15 w 55"/>
                <a:gd name="T7" fmla="*/ 13 h 70"/>
                <a:gd name="T8" fmla="*/ 19 w 55"/>
                <a:gd name="T9" fmla="*/ 10 h 70"/>
                <a:gd name="T10" fmla="*/ 24 w 55"/>
                <a:gd name="T11" fmla="*/ 10 h 70"/>
                <a:gd name="T12" fmla="*/ 27 w 55"/>
                <a:gd name="T13" fmla="*/ 8 h 70"/>
                <a:gd name="T14" fmla="*/ 30 w 55"/>
                <a:gd name="T15" fmla="*/ 8 h 70"/>
                <a:gd name="T16" fmla="*/ 39 w 55"/>
                <a:gd name="T17" fmla="*/ 15 h 70"/>
                <a:gd name="T18" fmla="*/ 45 w 55"/>
                <a:gd name="T19" fmla="*/ 22 h 70"/>
                <a:gd name="T20" fmla="*/ 45 w 55"/>
                <a:gd name="T21" fmla="*/ 46 h 70"/>
                <a:gd name="T22" fmla="*/ 55 w 55"/>
                <a:gd name="T23" fmla="*/ 64 h 70"/>
                <a:gd name="T24" fmla="*/ 54 w 55"/>
                <a:gd name="T25" fmla="*/ 70 h 70"/>
                <a:gd name="T26" fmla="*/ 52 w 55"/>
                <a:gd name="T27" fmla="*/ 70 h 70"/>
                <a:gd name="T28" fmla="*/ 48 w 55"/>
                <a:gd name="T29" fmla="*/ 68 h 70"/>
                <a:gd name="T30" fmla="*/ 43 w 55"/>
                <a:gd name="T31" fmla="*/ 70 h 70"/>
                <a:gd name="T32" fmla="*/ 16 w 55"/>
                <a:gd name="T33" fmla="*/ 52 h 70"/>
                <a:gd name="T34" fmla="*/ 6 w 55"/>
                <a:gd name="T35" fmla="*/ 33 h 70"/>
                <a:gd name="T36" fmla="*/ 0 w 55"/>
                <a:gd name="T37" fmla="*/ 5 h 70"/>
                <a:gd name="T38" fmla="*/ 0 w 55"/>
                <a:gd name="T3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70">
                  <a:moveTo>
                    <a:pt x="0" y="0"/>
                  </a:moveTo>
                  <a:lnTo>
                    <a:pt x="2" y="0"/>
                  </a:lnTo>
                  <a:lnTo>
                    <a:pt x="12" y="5"/>
                  </a:lnTo>
                  <a:lnTo>
                    <a:pt x="15" y="13"/>
                  </a:lnTo>
                  <a:lnTo>
                    <a:pt x="19" y="10"/>
                  </a:lnTo>
                  <a:lnTo>
                    <a:pt x="24" y="10"/>
                  </a:lnTo>
                  <a:lnTo>
                    <a:pt x="27" y="8"/>
                  </a:lnTo>
                  <a:lnTo>
                    <a:pt x="30" y="8"/>
                  </a:lnTo>
                  <a:lnTo>
                    <a:pt x="39" y="15"/>
                  </a:lnTo>
                  <a:lnTo>
                    <a:pt x="45" y="22"/>
                  </a:lnTo>
                  <a:lnTo>
                    <a:pt x="45" y="46"/>
                  </a:lnTo>
                  <a:lnTo>
                    <a:pt x="55" y="64"/>
                  </a:lnTo>
                  <a:lnTo>
                    <a:pt x="54" y="70"/>
                  </a:lnTo>
                  <a:lnTo>
                    <a:pt x="52" y="70"/>
                  </a:lnTo>
                  <a:lnTo>
                    <a:pt x="48" y="68"/>
                  </a:lnTo>
                  <a:lnTo>
                    <a:pt x="43" y="70"/>
                  </a:lnTo>
                  <a:lnTo>
                    <a:pt x="16" y="52"/>
                  </a:lnTo>
                  <a:lnTo>
                    <a:pt x="6" y="33"/>
                  </a:lnTo>
                  <a:lnTo>
                    <a:pt x="0" y="5"/>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6" name="Nepal">
              <a:extLst>
                <a:ext uri="{FF2B5EF4-FFF2-40B4-BE49-F238E27FC236}">
                  <a16:creationId xmlns:a16="http://schemas.microsoft.com/office/drawing/2014/main" id="{3F37A98A-207A-BE35-4DDA-5A0B6F9DD44D}"/>
                </a:ext>
              </a:extLst>
            </p:cNvPr>
            <p:cNvSpPr>
              <a:spLocks/>
            </p:cNvSpPr>
            <p:nvPr/>
          </p:nvSpPr>
          <p:spPr bwMode="auto">
            <a:xfrm>
              <a:off x="7712416" y="3841090"/>
              <a:ext cx="193357" cy="108424"/>
            </a:xfrm>
            <a:custGeom>
              <a:avLst/>
              <a:gdLst>
                <a:gd name="T0" fmla="*/ 15 w 107"/>
                <a:gd name="T1" fmla="*/ 0 h 60"/>
                <a:gd name="T2" fmla="*/ 15 w 107"/>
                <a:gd name="T3" fmla="*/ 2 h 60"/>
                <a:gd name="T4" fmla="*/ 18 w 107"/>
                <a:gd name="T5" fmla="*/ 3 h 60"/>
                <a:gd name="T6" fmla="*/ 18 w 107"/>
                <a:gd name="T7" fmla="*/ 0 h 60"/>
                <a:gd name="T8" fmla="*/ 26 w 107"/>
                <a:gd name="T9" fmla="*/ 0 h 60"/>
                <a:gd name="T10" fmla="*/ 28 w 107"/>
                <a:gd name="T11" fmla="*/ 2 h 60"/>
                <a:gd name="T12" fmla="*/ 31 w 107"/>
                <a:gd name="T13" fmla="*/ 2 h 60"/>
                <a:gd name="T14" fmla="*/ 43 w 107"/>
                <a:gd name="T15" fmla="*/ 11 h 60"/>
                <a:gd name="T16" fmla="*/ 48 w 107"/>
                <a:gd name="T17" fmla="*/ 18 h 60"/>
                <a:gd name="T18" fmla="*/ 55 w 107"/>
                <a:gd name="T19" fmla="*/ 15 h 60"/>
                <a:gd name="T20" fmla="*/ 57 w 107"/>
                <a:gd name="T21" fmla="*/ 15 h 60"/>
                <a:gd name="T22" fmla="*/ 55 w 107"/>
                <a:gd name="T23" fmla="*/ 23 h 60"/>
                <a:gd name="T24" fmla="*/ 68 w 107"/>
                <a:gd name="T25" fmla="*/ 26 h 60"/>
                <a:gd name="T26" fmla="*/ 68 w 107"/>
                <a:gd name="T27" fmla="*/ 29 h 60"/>
                <a:gd name="T28" fmla="*/ 76 w 107"/>
                <a:gd name="T29" fmla="*/ 32 h 60"/>
                <a:gd name="T30" fmla="*/ 79 w 107"/>
                <a:gd name="T31" fmla="*/ 36 h 60"/>
                <a:gd name="T32" fmla="*/ 88 w 107"/>
                <a:gd name="T33" fmla="*/ 35 h 60"/>
                <a:gd name="T34" fmla="*/ 97 w 107"/>
                <a:gd name="T35" fmla="*/ 37 h 60"/>
                <a:gd name="T36" fmla="*/ 100 w 107"/>
                <a:gd name="T37" fmla="*/ 37 h 60"/>
                <a:gd name="T38" fmla="*/ 104 w 107"/>
                <a:gd name="T39" fmla="*/ 36 h 60"/>
                <a:gd name="T40" fmla="*/ 107 w 107"/>
                <a:gd name="T41" fmla="*/ 36 h 60"/>
                <a:gd name="T42" fmla="*/ 106 w 107"/>
                <a:gd name="T43" fmla="*/ 46 h 60"/>
                <a:gd name="T44" fmla="*/ 104 w 107"/>
                <a:gd name="T45" fmla="*/ 49 h 60"/>
                <a:gd name="T46" fmla="*/ 107 w 107"/>
                <a:gd name="T47" fmla="*/ 52 h 60"/>
                <a:gd name="T48" fmla="*/ 107 w 107"/>
                <a:gd name="T49" fmla="*/ 54 h 60"/>
                <a:gd name="T50" fmla="*/ 106 w 107"/>
                <a:gd name="T51" fmla="*/ 58 h 60"/>
                <a:gd name="T52" fmla="*/ 103 w 107"/>
                <a:gd name="T53" fmla="*/ 58 h 60"/>
                <a:gd name="T54" fmla="*/ 100 w 107"/>
                <a:gd name="T55" fmla="*/ 60 h 60"/>
                <a:gd name="T56" fmla="*/ 94 w 107"/>
                <a:gd name="T57" fmla="*/ 60 h 60"/>
                <a:gd name="T58" fmla="*/ 66 w 107"/>
                <a:gd name="T59" fmla="*/ 52 h 60"/>
                <a:gd name="T60" fmla="*/ 57 w 107"/>
                <a:gd name="T61" fmla="*/ 45 h 60"/>
                <a:gd name="T62" fmla="*/ 37 w 107"/>
                <a:gd name="T63" fmla="*/ 45 h 60"/>
                <a:gd name="T64" fmla="*/ 2 w 107"/>
                <a:gd name="T65" fmla="*/ 24 h 60"/>
                <a:gd name="T66" fmla="*/ 0 w 107"/>
                <a:gd name="T67" fmla="*/ 24 h 60"/>
                <a:gd name="T68" fmla="*/ 0 w 107"/>
                <a:gd name="T69" fmla="*/ 23 h 60"/>
                <a:gd name="T70" fmla="*/ 5 w 107"/>
                <a:gd name="T71" fmla="*/ 8 h 60"/>
                <a:gd name="T72" fmla="*/ 14 w 107"/>
                <a:gd name="T73" fmla="*/ 2 h 60"/>
                <a:gd name="T74" fmla="*/ 15 w 107"/>
                <a:gd name="T7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60">
                  <a:moveTo>
                    <a:pt x="15" y="0"/>
                  </a:moveTo>
                  <a:lnTo>
                    <a:pt x="15" y="2"/>
                  </a:lnTo>
                  <a:lnTo>
                    <a:pt x="18" y="3"/>
                  </a:lnTo>
                  <a:lnTo>
                    <a:pt x="18" y="0"/>
                  </a:lnTo>
                  <a:lnTo>
                    <a:pt x="26" y="0"/>
                  </a:lnTo>
                  <a:lnTo>
                    <a:pt x="28" y="2"/>
                  </a:lnTo>
                  <a:lnTo>
                    <a:pt x="31" y="2"/>
                  </a:lnTo>
                  <a:lnTo>
                    <a:pt x="43" y="11"/>
                  </a:lnTo>
                  <a:lnTo>
                    <a:pt x="48" y="18"/>
                  </a:lnTo>
                  <a:lnTo>
                    <a:pt x="55" y="15"/>
                  </a:lnTo>
                  <a:lnTo>
                    <a:pt x="57" y="15"/>
                  </a:lnTo>
                  <a:lnTo>
                    <a:pt x="55" y="23"/>
                  </a:lnTo>
                  <a:lnTo>
                    <a:pt x="68" y="26"/>
                  </a:lnTo>
                  <a:lnTo>
                    <a:pt x="68" y="29"/>
                  </a:lnTo>
                  <a:lnTo>
                    <a:pt x="76" y="32"/>
                  </a:lnTo>
                  <a:lnTo>
                    <a:pt x="79" y="36"/>
                  </a:lnTo>
                  <a:lnTo>
                    <a:pt x="88" y="35"/>
                  </a:lnTo>
                  <a:lnTo>
                    <a:pt x="97" y="37"/>
                  </a:lnTo>
                  <a:lnTo>
                    <a:pt x="100" y="37"/>
                  </a:lnTo>
                  <a:lnTo>
                    <a:pt x="104" y="36"/>
                  </a:lnTo>
                  <a:lnTo>
                    <a:pt x="107" y="36"/>
                  </a:lnTo>
                  <a:lnTo>
                    <a:pt x="106" y="46"/>
                  </a:lnTo>
                  <a:lnTo>
                    <a:pt x="104" y="49"/>
                  </a:lnTo>
                  <a:lnTo>
                    <a:pt x="107" y="52"/>
                  </a:lnTo>
                  <a:lnTo>
                    <a:pt x="107" y="54"/>
                  </a:lnTo>
                  <a:lnTo>
                    <a:pt x="106" y="58"/>
                  </a:lnTo>
                  <a:lnTo>
                    <a:pt x="103" y="58"/>
                  </a:lnTo>
                  <a:lnTo>
                    <a:pt x="100" y="60"/>
                  </a:lnTo>
                  <a:lnTo>
                    <a:pt x="94" y="60"/>
                  </a:lnTo>
                  <a:lnTo>
                    <a:pt x="66" y="52"/>
                  </a:lnTo>
                  <a:lnTo>
                    <a:pt x="57" y="45"/>
                  </a:lnTo>
                  <a:lnTo>
                    <a:pt x="37" y="45"/>
                  </a:lnTo>
                  <a:lnTo>
                    <a:pt x="2" y="24"/>
                  </a:lnTo>
                  <a:lnTo>
                    <a:pt x="0" y="24"/>
                  </a:lnTo>
                  <a:lnTo>
                    <a:pt x="0" y="23"/>
                  </a:lnTo>
                  <a:lnTo>
                    <a:pt x="5" y="8"/>
                  </a:lnTo>
                  <a:lnTo>
                    <a:pt x="14" y="2"/>
                  </a:lnTo>
                  <a:lnTo>
                    <a:pt x="1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7" name="Vietnam">
              <a:extLst>
                <a:ext uri="{FF2B5EF4-FFF2-40B4-BE49-F238E27FC236}">
                  <a16:creationId xmlns:a16="http://schemas.microsoft.com/office/drawing/2014/main" id="{71464DBB-4873-DEAB-4CA6-09B7E1D217CA}"/>
                </a:ext>
              </a:extLst>
            </p:cNvPr>
            <p:cNvSpPr>
              <a:spLocks/>
            </p:cNvSpPr>
            <p:nvPr/>
          </p:nvSpPr>
          <p:spPr bwMode="auto">
            <a:xfrm>
              <a:off x="8238270" y="4027218"/>
              <a:ext cx="168057" cy="357799"/>
            </a:xfrm>
            <a:custGeom>
              <a:avLst/>
              <a:gdLst>
                <a:gd name="T0" fmla="*/ 56 w 93"/>
                <a:gd name="T1" fmla="*/ 6 h 198"/>
                <a:gd name="T2" fmla="*/ 61 w 93"/>
                <a:gd name="T3" fmla="*/ 19 h 198"/>
                <a:gd name="T4" fmla="*/ 75 w 93"/>
                <a:gd name="T5" fmla="*/ 25 h 198"/>
                <a:gd name="T6" fmla="*/ 68 w 93"/>
                <a:gd name="T7" fmla="*/ 28 h 198"/>
                <a:gd name="T8" fmla="*/ 49 w 93"/>
                <a:gd name="T9" fmla="*/ 47 h 198"/>
                <a:gd name="T10" fmla="*/ 46 w 93"/>
                <a:gd name="T11" fmla="*/ 65 h 198"/>
                <a:gd name="T12" fmla="*/ 56 w 93"/>
                <a:gd name="T13" fmla="*/ 77 h 198"/>
                <a:gd name="T14" fmla="*/ 72 w 93"/>
                <a:gd name="T15" fmla="*/ 95 h 198"/>
                <a:gd name="T16" fmla="*/ 80 w 93"/>
                <a:gd name="T17" fmla="*/ 98 h 198"/>
                <a:gd name="T18" fmla="*/ 87 w 93"/>
                <a:gd name="T19" fmla="*/ 108 h 198"/>
                <a:gd name="T20" fmla="*/ 92 w 93"/>
                <a:gd name="T21" fmla="*/ 148 h 198"/>
                <a:gd name="T22" fmla="*/ 89 w 93"/>
                <a:gd name="T23" fmla="*/ 163 h 198"/>
                <a:gd name="T24" fmla="*/ 67 w 93"/>
                <a:gd name="T25" fmla="*/ 175 h 198"/>
                <a:gd name="T26" fmla="*/ 56 w 93"/>
                <a:gd name="T27" fmla="*/ 181 h 198"/>
                <a:gd name="T28" fmla="*/ 55 w 93"/>
                <a:gd name="T29" fmla="*/ 187 h 198"/>
                <a:gd name="T30" fmla="*/ 52 w 93"/>
                <a:gd name="T31" fmla="*/ 188 h 198"/>
                <a:gd name="T32" fmla="*/ 34 w 93"/>
                <a:gd name="T33" fmla="*/ 198 h 198"/>
                <a:gd name="T34" fmla="*/ 37 w 93"/>
                <a:gd name="T35" fmla="*/ 179 h 198"/>
                <a:gd name="T36" fmla="*/ 29 w 93"/>
                <a:gd name="T37" fmla="*/ 173 h 198"/>
                <a:gd name="T38" fmla="*/ 35 w 93"/>
                <a:gd name="T39" fmla="*/ 169 h 198"/>
                <a:gd name="T40" fmla="*/ 47 w 93"/>
                <a:gd name="T41" fmla="*/ 164 h 198"/>
                <a:gd name="T42" fmla="*/ 55 w 93"/>
                <a:gd name="T43" fmla="*/ 157 h 198"/>
                <a:gd name="T44" fmla="*/ 68 w 93"/>
                <a:gd name="T45" fmla="*/ 148 h 198"/>
                <a:gd name="T46" fmla="*/ 68 w 93"/>
                <a:gd name="T47" fmla="*/ 109 h 198"/>
                <a:gd name="T48" fmla="*/ 56 w 93"/>
                <a:gd name="T49" fmla="*/ 93 h 198"/>
                <a:gd name="T50" fmla="*/ 55 w 93"/>
                <a:gd name="T51" fmla="*/ 92 h 198"/>
                <a:gd name="T52" fmla="*/ 47 w 93"/>
                <a:gd name="T53" fmla="*/ 80 h 198"/>
                <a:gd name="T54" fmla="*/ 22 w 93"/>
                <a:gd name="T55" fmla="*/ 56 h 198"/>
                <a:gd name="T56" fmla="*/ 24 w 93"/>
                <a:gd name="T57" fmla="*/ 50 h 198"/>
                <a:gd name="T58" fmla="*/ 29 w 93"/>
                <a:gd name="T59" fmla="*/ 49 h 198"/>
                <a:gd name="T60" fmla="*/ 28 w 93"/>
                <a:gd name="T61" fmla="*/ 35 h 198"/>
                <a:gd name="T62" fmla="*/ 12 w 93"/>
                <a:gd name="T63" fmla="*/ 34 h 198"/>
                <a:gd name="T64" fmla="*/ 7 w 93"/>
                <a:gd name="T65" fmla="*/ 22 h 198"/>
                <a:gd name="T66" fmla="*/ 0 w 93"/>
                <a:gd name="T67" fmla="*/ 12 h 198"/>
                <a:gd name="T68" fmla="*/ 3 w 93"/>
                <a:gd name="T69" fmla="*/ 6 h 198"/>
                <a:gd name="T70" fmla="*/ 15 w 93"/>
                <a:gd name="T71" fmla="*/ 7 h 198"/>
                <a:gd name="T72" fmla="*/ 21 w 93"/>
                <a:gd name="T73" fmla="*/ 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 h="198">
                  <a:moveTo>
                    <a:pt x="38" y="0"/>
                  </a:moveTo>
                  <a:lnTo>
                    <a:pt x="56" y="6"/>
                  </a:lnTo>
                  <a:lnTo>
                    <a:pt x="56" y="7"/>
                  </a:lnTo>
                  <a:lnTo>
                    <a:pt x="61" y="19"/>
                  </a:lnTo>
                  <a:lnTo>
                    <a:pt x="67" y="23"/>
                  </a:lnTo>
                  <a:lnTo>
                    <a:pt x="75" y="25"/>
                  </a:lnTo>
                  <a:lnTo>
                    <a:pt x="75" y="26"/>
                  </a:lnTo>
                  <a:lnTo>
                    <a:pt x="68" y="28"/>
                  </a:lnTo>
                  <a:lnTo>
                    <a:pt x="58" y="37"/>
                  </a:lnTo>
                  <a:lnTo>
                    <a:pt x="49" y="47"/>
                  </a:lnTo>
                  <a:lnTo>
                    <a:pt x="46" y="59"/>
                  </a:lnTo>
                  <a:lnTo>
                    <a:pt x="46" y="65"/>
                  </a:lnTo>
                  <a:lnTo>
                    <a:pt x="53" y="71"/>
                  </a:lnTo>
                  <a:lnTo>
                    <a:pt x="56" y="77"/>
                  </a:lnTo>
                  <a:lnTo>
                    <a:pt x="64" y="86"/>
                  </a:lnTo>
                  <a:lnTo>
                    <a:pt x="72" y="95"/>
                  </a:lnTo>
                  <a:lnTo>
                    <a:pt x="78" y="98"/>
                  </a:lnTo>
                  <a:lnTo>
                    <a:pt x="80" y="98"/>
                  </a:lnTo>
                  <a:lnTo>
                    <a:pt x="81" y="103"/>
                  </a:lnTo>
                  <a:lnTo>
                    <a:pt x="87" y="108"/>
                  </a:lnTo>
                  <a:lnTo>
                    <a:pt x="93" y="142"/>
                  </a:lnTo>
                  <a:lnTo>
                    <a:pt x="92" y="148"/>
                  </a:lnTo>
                  <a:lnTo>
                    <a:pt x="92" y="158"/>
                  </a:lnTo>
                  <a:lnTo>
                    <a:pt x="89" y="163"/>
                  </a:lnTo>
                  <a:lnTo>
                    <a:pt x="75" y="172"/>
                  </a:lnTo>
                  <a:lnTo>
                    <a:pt x="67" y="175"/>
                  </a:lnTo>
                  <a:lnTo>
                    <a:pt x="61" y="175"/>
                  </a:lnTo>
                  <a:lnTo>
                    <a:pt x="56" y="181"/>
                  </a:lnTo>
                  <a:lnTo>
                    <a:pt x="56" y="187"/>
                  </a:lnTo>
                  <a:lnTo>
                    <a:pt x="55" y="187"/>
                  </a:lnTo>
                  <a:lnTo>
                    <a:pt x="50" y="184"/>
                  </a:lnTo>
                  <a:lnTo>
                    <a:pt x="52" y="188"/>
                  </a:lnTo>
                  <a:lnTo>
                    <a:pt x="38" y="198"/>
                  </a:lnTo>
                  <a:lnTo>
                    <a:pt x="34" y="198"/>
                  </a:lnTo>
                  <a:lnTo>
                    <a:pt x="34" y="188"/>
                  </a:lnTo>
                  <a:lnTo>
                    <a:pt x="37" y="179"/>
                  </a:lnTo>
                  <a:lnTo>
                    <a:pt x="29" y="175"/>
                  </a:lnTo>
                  <a:lnTo>
                    <a:pt x="29" y="173"/>
                  </a:lnTo>
                  <a:lnTo>
                    <a:pt x="34" y="172"/>
                  </a:lnTo>
                  <a:lnTo>
                    <a:pt x="35" y="169"/>
                  </a:lnTo>
                  <a:lnTo>
                    <a:pt x="35" y="167"/>
                  </a:lnTo>
                  <a:lnTo>
                    <a:pt x="47" y="164"/>
                  </a:lnTo>
                  <a:lnTo>
                    <a:pt x="47" y="157"/>
                  </a:lnTo>
                  <a:lnTo>
                    <a:pt x="55" y="157"/>
                  </a:lnTo>
                  <a:lnTo>
                    <a:pt x="55" y="154"/>
                  </a:lnTo>
                  <a:lnTo>
                    <a:pt x="68" y="148"/>
                  </a:lnTo>
                  <a:lnTo>
                    <a:pt x="67" y="117"/>
                  </a:lnTo>
                  <a:lnTo>
                    <a:pt x="68" y="109"/>
                  </a:lnTo>
                  <a:lnTo>
                    <a:pt x="64" y="96"/>
                  </a:lnTo>
                  <a:lnTo>
                    <a:pt x="56" y="93"/>
                  </a:lnTo>
                  <a:lnTo>
                    <a:pt x="55" y="93"/>
                  </a:lnTo>
                  <a:lnTo>
                    <a:pt x="55" y="92"/>
                  </a:lnTo>
                  <a:lnTo>
                    <a:pt x="53" y="83"/>
                  </a:lnTo>
                  <a:lnTo>
                    <a:pt x="47" y="80"/>
                  </a:lnTo>
                  <a:lnTo>
                    <a:pt x="37" y="65"/>
                  </a:lnTo>
                  <a:lnTo>
                    <a:pt x="22" y="56"/>
                  </a:lnTo>
                  <a:lnTo>
                    <a:pt x="22" y="55"/>
                  </a:lnTo>
                  <a:lnTo>
                    <a:pt x="24" y="50"/>
                  </a:lnTo>
                  <a:lnTo>
                    <a:pt x="24" y="49"/>
                  </a:lnTo>
                  <a:lnTo>
                    <a:pt x="29" y="49"/>
                  </a:lnTo>
                  <a:lnTo>
                    <a:pt x="32" y="46"/>
                  </a:lnTo>
                  <a:lnTo>
                    <a:pt x="28" y="35"/>
                  </a:lnTo>
                  <a:lnTo>
                    <a:pt x="25" y="34"/>
                  </a:lnTo>
                  <a:lnTo>
                    <a:pt x="12" y="34"/>
                  </a:lnTo>
                  <a:lnTo>
                    <a:pt x="9" y="29"/>
                  </a:lnTo>
                  <a:lnTo>
                    <a:pt x="7" y="22"/>
                  </a:lnTo>
                  <a:lnTo>
                    <a:pt x="0" y="13"/>
                  </a:lnTo>
                  <a:lnTo>
                    <a:pt x="0" y="12"/>
                  </a:lnTo>
                  <a:lnTo>
                    <a:pt x="3" y="7"/>
                  </a:lnTo>
                  <a:lnTo>
                    <a:pt x="3" y="6"/>
                  </a:lnTo>
                  <a:lnTo>
                    <a:pt x="12" y="9"/>
                  </a:lnTo>
                  <a:lnTo>
                    <a:pt x="15" y="7"/>
                  </a:lnTo>
                  <a:lnTo>
                    <a:pt x="16" y="7"/>
                  </a:lnTo>
                  <a:lnTo>
                    <a:pt x="21" y="9"/>
                  </a:lnTo>
                  <a:lnTo>
                    <a:pt x="3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8" name="India">
              <a:extLst>
                <a:ext uri="{FF2B5EF4-FFF2-40B4-BE49-F238E27FC236}">
                  <a16:creationId xmlns:a16="http://schemas.microsoft.com/office/drawing/2014/main" id="{2583D588-1F01-4E55-3543-6D606AC42C32}"/>
                </a:ext>
              </a:extLst>
            </p:cNvPr>
            <p:cNvSpPr>
              <a:spLocks/>
            </p:cNvSpPr>
            <p:nvPr/>
          </p:nvSpPr>
          <p:spPr bwMode="auto">
            <a:xfrm>
              <a:off x="7428708" y="3680262"/>
              <a:ext cx="697525" cy="719211"/>
            </a:xfrm>
            <a:custGeom>
              <a:avLst/>
              <a:gdLst>
                <a:gd name="T0" fmla="*/ 162 w 386"/>
                <a:gd name="T1" fmla="*/ 8 h 398"/>
                <a:gd name="T2" fmla="*/ 153 w 386"/>
                <a:gd name="T3" fmla="*/ 26 h 398"/>
                <a:gd name="T4" fmla="*/ 145 w 386"/>
                <a:gd name="T5" fmla="*/ 42 h 398"/>
                <a:gd name="T6" fmla="*/ 145 w 386"/>
                <a:gd name="T7" fmla="*/ 60 h 398"/>
                <a:gd name="T8" fmla="*/ 140 w 386"/>
                <a:gd name="T9" fmla="*/ 55 h 398"/>
                <a:gd name="T10" fmla="*/ 151 w 386"/>
                <a:gd name="T11" fmla="*/ 78 h 398"/>
                <a:gd name="T12" fmla="*/ 194 w 386"/>
                <a:gd name="T13" fmla="*/ 132 h 398"/>
                <a:gd name="T14" fmla="*/ 261 w 386"/>
                <a:gd name="T15" fmla="*/ 146 h 398"/>
                <a:gd name="T16" fmla="*/ 263 w 386"/>
                <a:gd name="T17" fmla="*/ 125 h 398"/>
                <a:gd name="T18" fmla="*/ 273 w 386"/>
                <a:gd name="T19" fmla="*/ 131 h 398"/>
                <a:gd name="T20" fmla="*/ 274 w 386"/>
                <a:gd name="T21" fmla="*/ 140 h 398"/>
                <a:gd name="T22" fmla="*/ 310 w 386"/>
                <a:gd name="T23" fmla="*/ 131 h 398"/>
                <a:gd name="T24" fmla="*/ 357 w 386"/>
                <a:gd name="T25" fmla="*/ 104 h 398"/>
                <a:gd name="T26" fmla="*/ 372 w 386"/>
                <a:gd name="T27" fmla="*/ 109 h 398"/>
                <a:gd name="T28" fmla="*/ 386 w 386"/>
                <a:gd name="T29" fmla="*/ 121 h 398"/>
                <a:gd name="T30" fmla="*/ 380 w 386"/>
                <a:gd name="T31" fmla="*/ 135 h 398"/>
                <a:gd name="T32" fmla="*/ 350 w 386"/>
                <a:gd name="T33" fmla="*/ 165 h 398"/>
                <a:gd name="T34" fmla="*/ 332 w 386"/>
                <a:gd name="T35" fmla="*/ 198 h 398"/>
                <a:gd name="T36" fmla="*/ 329 w 386"/>
                <a:gd name="T37" fmla="*/ 208 h 398"/>
                <a:gd name="T38" fmla="*/ 310 w 386"/>
                <a:gd name="T39" fmla="*/ 195 h 398"/>
                <a:gd name="T40" fmla="*/ 304 w 386"/>
                <a:gd name="T41" fmla="*/ 192 h 398"/>
                <a:gd name="T42" fmla="*/ 288 w 386"/>
                <a:gd name="T43" fmla="*/ 164 h 398"/>
                <a:gd name="T44" fmla="*/ 276 w 386"/>
                <a:gd name="T45" fmla="*/ 153 h 398"/>
                <a:gd name="T46" fmla="*/ 268 w 386"/>
                <a:gd name="T47" fmla="*/ 147 h 398"/>
                <a:gd name="T48" fmla="*/ 270 w 386"/>
                <a:gd name="T49" fmla="*/ 159 h 398"/>
                <a:gd name="T50" fmla="*/ 261 w 386"/>
                <a:gd name="T51" fmla="*/ 169 h 398"/>
                <a:gd name="T52" fmla="*/ 274 w 386"/>
                <a:gd name="T53" fmla="*/ 215 h 398"/>
                <a:gd name="T54" fmla="*/ 263 w 386"/>
                <a:gd name="T55" fmla="*/ 209 h 398"/>
                <a:gd name="T56" fmla="*/ 240 w 386"/>
                <a:gd name="T57" fmla="*/ 238 h 398"/>
                <a:gd name="T58" fmla="*/ 185 w 386"/>
                <a:gd name="T59" fmla="*/ 285 h 398"/>
                <a:gd name="T60" fmla="*/ 159 w 386"/>
                <a:gd name="T61" fmla="*/ 301 h 398"/>
                <a:gd name="T62" fmla="*/ 156 w 386"/>
                <a:gd name="T63" fmla="*/ 368 h 398"/>
                <a:gd name="T64" fmla="*/ 134 w 386"/>
                <a:gd name="T65" fmla="*/ 384 h 398"/>
                <a:gd name="T66" fmla="*/ 113 w 386"/>
                <a:gd name="T67" fmla="*/ 386 h 398"/>
                <a:gd name="T68" fmla="*/ 79 w 386"/>
                <a:gd name="T69" fmla="*/ 306 h 398"/>
                <a:gd name="T70" fmla="*/ 68 w 386"/>
                <a:gd name="T71" fmla="*/ 285 h 398"/>
                <a:gd name="T72" fmla="*/ 59 w 386"/>
                <a:gd name="T73" fmla="*/ 241 h 398"/>
                <a:gd name="T74" fmla="*/ 61 w 386"/>
                <a:gd name="T75" fmla="*/ 207 h 398"/>
                <a:gd name="T76" fmla="*/ 31 w 386"/>
                <a:gd name="T77" fmla="*/ 226 h 398"/>
                <a:gd name="T78" fmla="*/ 25 w 386"/>
                <a:gd name="T79" fmla="*/ 202 h 398"/>
                <a:gd name="T80" fmla="*/ 12 w 386"/>
                <a:gd name="T81" fmla="*/ 198 h 398"/>
                <a:gd name="T82" fmla="*/ 12 w 386"/>
                <a:gd name="T83" fmla="*/ 175 h 398"/>
                <a:gd name="T84" fmla="*/ 37 w 386"/>
                <a:gd name="T85" fmla="*/ 177 h 398"/>
                <a:gd name="T86" fmla="*/ 30 w 386"/>
                <a:gd name="T87" fmla="*/ 146 h 398"/>
                <a:gd name="T88" fmla="*/ 33 w 386"/>
                <a:gd name="T89" fmla="*/ 122 h 398"/>
                <a:gd name="T90" fmla="*/ 57 w 386"/>
                <a:gd name="T91" fmla="*/ 113 h 398"/>
                <a:gd name="T92" fmla="*/ 82 w 386"/>
                <a:gd name="T93" fmla="*/ 81 h 398"/>
                <a:gd name="T94" fmla="*/ 88 w 386"/>
                <a:gd name="T95" fmla="*/ 72 h 398"/>
                <a:gd name="T96" fmla="*/ 97 w 386"/>
                <a:gd name="T97" fmla="*/ 60 h 398"/>
                <a:gd name="T98" fmla="*/ 83 w 386"/>
                <a:gd name="T99" fmla="*/ 51 h 398"/>
                <a:gd name="T100" fmla="*/ 79 w 386"/>
                <a:gd name="T101" fmla="*/ 36 h 398"/>
                <a:gd name="T102" fmla="*/ 76 w 386"/>
                <a:gd name="T103" fmla="*/ 27 h 398"/>
                <a:gd name="T104" fmla="*/ 83 w 386"/>
                <a:gd name="T105" fmla="*/ 18 h 398"/>
                <a:gd name="T106" fmla="*/ 119 w 386"/>
                <a:gd name="T107" fmla="*/ 1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6" h="398">
                  <a:moveTo>
                    <a:pt x="148" y="0"/>
                  </a:moveTo>
                  <a:lnTo>
                    <a:pt x="159" y="6"/>
                  </a:lnTo>
                  <a:lnTo>
                    <a:pt x="159" y="9"/>
                  </a:lnTo>
                  <a:lnTo>
                    <a:pt x="162" y="8"/>
                  </a:lnTo>
                  <a:lnTo>
                    <a:pt x="163" y="8"/>
                  </a:lnTo>
                  <a:lnTo>
                    <a:pt x="163" y="9"/>
                  </a:lnTo>
                  <a:lnTo>
                    <a:pt x="159" y="21"/>
                  </a:lnTo>
                  <a:lnTo>
                    <a:pt x="153" y="26"/>
                  </a:lnTo>
                  <a:lnTo>
                    <a:pt x="153" y="32"/>
                  </a:lnTo>
                  <a:lnTo>
                    <a:pt x="151" y="32"/>
                  </a:lnTo>
                  <a:lnTo>
                    <a:pt x="144" y="33"/>
                  </a:lnTo>
                  <a:lnTo>
                    <a:pt x="145" y="42"/>
                  </a:lnTo>
                  <a:lnTo>
                    <a:pt x="151" y="45"/>
                  </a:lnTo>
                  <a:lnTo>
                    <a:pt x="153" y="52"/>
                  </a:lnTo>
                  <a:lnTo>
                    <a:pt x="145" y="58"/>
                  </a:lnTo>
                  <a:lnTo>
                    <a:pt x="145" y="60"/>
                  </a:lnTo>
                  <a:lnTo>
                    <a:pt x="144" y="60"/>
                  </a:lnTo>
                  <a:lnTo>
                    <a:pt x="144" y="58"/>
                  </a:lnTo>
                  <a:lnTo>
                    <a:pt x="141" y="54"/>
                  </a:lnTo>
                  <a:lnTo>
                    <a:pt x="140" y="55"/>
                  </a:lnTo>
                  <a:lnTo>
                    <a:pt x="142" y="64"/>
                  </a:lnTo>
                  <a:lnTo>
                    <a:pt x="142" y="72"/>
                  </a:lnTo>
                  <a:lnTo>
                    <a:pt x="145" y="78"/>
                  </a:lnTo>
                  <a:lnTo>
                    <a:pt x="151" y="78"/>
                  </a:lnTo>
                  <a:lnTo>
                    <a:pt x="172" y="91"/>
                  </a:lnTo>
                  <a:lnTo>
                    <a:pt x="163" y="98"/>
                  </a:lnTo>
                  <a:lnTo>
                    <a:pt x="159" y="112"/>
                  </a:lnTo>
                  <a:lnTo>
                    <a:pt x="194" y="132"/>
                  </a:lnTo>
                  <a:lnTo>
                    <a:pt x="215" y="132"/>
                  </a:lnTo>
                  <a:lnTo>
                    <a:pt x="223" y="141"/>
                  </a:lnTo>
                  <a:lnTo>
                    <a:pt x="251" y="147"/>
                  </a:lnTo>
                  <a:lnTo>
                    <a:pt x="261" y="146"/>
                  </a:lnTo>
                  <a:lnTo>
                    <a:pt x="263" y="141"/>
                  </a:lnTo>
                  <a:lnTo>
                    <a:pt x="260" y="138"/>
                  </a:lnTo>
                  <a:lnTo>
                    <a:pt x="261" y="135"/>
                  </a:lnTo>
                  <a:lnTo>
                    <a:pt x="263" y="125"/>
                  </a:lnTo>
                  <a:lnTo>
                    <a:pt x="264" y="125"/>
                  </a:lnTo>
                  <a:lnTo>
                    <a:pt x="271" y="122"/>
                  </a:lnTo>
                  <a:lnTo>
                    <a:pt x="273" y="122"/>
                  </a:lnTo>
                  <a:lnTo>
                    <a:pt x="273" y="131"/>
                  </a:lnTo>
                  <a:lnTo>
                    <a:pt x="274" y="132"/>
                  </a:lnTo>
                  <a:lnTo>
                    <a:pt x="274" y="134"/>
                  </a:lnTo>
                  <a:lnTo>
                    <a:pt x="273" y="135"/>
                  </a:lnTo>
                  <a:lnTo>
                    <a:pt x="274" y="140"/>
                  </a:lnTo>
                  <a:lnTo>
                    <a:pt x="283" y="141"/>
                  </a:lnTo>
                  <a:lnTo>
                    <a:pt x="313" y="138"/>
                  </a:lnTo>
                  <a:lnTo>
                    <a:pt x="316" y="134"/>
                  </a:lnTo>
                  <a:lnTo>
                    <a:pt x="310" y="131"/>
                  </a:lnTo>
                  <a:lnTo>
                    <a:pt x="310" y="126"/>
                  </a:lnTo>
                  <a:lnTo>
                    <a:pt x="328" y="119"/>
                  </a:lnTo>
                  <a:lnTo>
                    <a:pt x="347" y="104"/>
                  </a:lnTo>
                  <a:lnTo>
                    <a:pt x="357" y="104"/>
                  </a:lnTo>
                  <a:lnTo>
                    <a:pt x="366" y="101"/>
                  </a:lnTo>
                  <a:lnTo>
                    <a:pt x="368" y="101"/>
                  </a:lnTo>
                  <a:lnTo>
                    <a:pt x="371" y="109"/>
                  </a:lnTo>
                  <a:lnTo>
                    <a:pt x="372" y="109"/>
                  </a:lnTo>
                  <a:lnTo>
                    <a:pt x="372" y="116"/>
                  </a:lnTo>
                  <a:lnTo>
                    <a:pt x="381" y="118"/>
                  </a:lnTo>
                  <a:lnTo>
                    <a:pt x="384" y="121"/>
                  </a:lnTo>
                  <a:lnTo>
                    <a:pt x="386" y="121"/>
                  </a:lnTo>
                  <a:lnTo>
                    <a:pt x="386" y="125"/>
                  </a:lnTo>
                  <a:lnTo>
                    <a:pt x="384" y="125"/>
                  </a:lnTo>
                  <a:lnTo>
                    <a:pt x="381" y="126"/>
                  </a:lnTo>
                  <a:lnTo>
                    <a:pt x="380" y="135"/>
                  </a:lnTo>
                  <a:lnTo>
                    <a:pt x="369" y="137"/>
                  </a:lnTo>
                  <a:lnTo>
                    <a:pt x="357" y="146"/>
                  </a:lnTo>
                  <a:lnTo>
                    <a:pt x="357" y="156"/>
                  </a:lnTo>
                  <a:lnTo>
                    <a:pt x="350" y="165"/>
                  </a:lnTo>
                  <a:lnTo>
                    <a:pt x="344" y="181"/>
                  </a:lnTo>
                  <a:lnTo>
                    <a:pt x="344" y="183"/>
                  </a:lnTo>
                  <a:lnTo>
                    <a:pt x="332" y="186"/>
                  </a:lnTo>
                  <a:lnTo>
                    <a:pt x="332" y="198"/>
                  </a:lnTo>
                  <a:lnTo>
                    <a:pt x="328" y="198"/>
                  </a:lnTo>
                  <a:lnTo>
                    <a:pt x="328" y="199"/>
                  </a:lnTo>
                  <a:lnTo>
                    <a:pt x="329" y="207"/>
                  </a:lnTo>
                  <a:lnTo>
                    <a:pt x="329" y="208"/>
                  </a:lnTo>
                  <a:lnTo>
                    <a:pt x="323" y="211"/>
                  </a:lnTo>
                  <a:lnTo>
                    <a:pt x="322" y="211"/>
                  </a:lnTo>
                  <a:lnTo>
                    <a:pt x="316" y="187"/>
                  </a:lnTo>
                  <a:lnTo>
                    <a:pt x="310" y="195"/>
                  </a:lnTo>
                  <a:lnTo>
                    <a:pt x="310" y="196"/>
                  </a:lnTo>
                  <a:lnTo>
                    <a:pt x="309" y="196"/>
                  </a:lnTo>
                  <a:lnTo>
                    <a:pt x="309" y="195"/>
                  </a:lnTo>
                  <a:lnTo>
                    <a:pt x="304" y="192"/>
                  </a:lnTo>
                  <a:lnTo>
                    <a:pt x="301" y="183"/>
                  </a:lnTo>
                  <a:lnTo>
                    <a:pt x="301" y="181"/>
                  </a:lnTo>
                  <a:lnTo>
                    <a:pt x="316" y="166"/>
                  </a:lnTo>
                  <a:lnTo>
                    <a:pt x="288" y="164"/>
                  </a:lnTo>
                  <a:lnTo>
                    <a:pt x="283" y="159"/>
                  </a:lnTo>
                  <a:lnTo>
                    <a:pt x="282" y="152"/>
                  </a:lnTo>
                  <a:lnTo>
                    <a:pt x="280" y="153"/>
                  </a:lnTo>
                  <a:lnTo>
                    <a:pt x="276" y="153"/>
                  </a:lnTo>
                  <a:lnTo>
                    <a:pt x="274" y="149"/>
                  </a:lnTo>
                  <a:lnTo>
                    <a:pt x="273" y="152"/>
                  </a:lnTo>
                  <a:lnTo>
                    <a:pt x="271" y="152"/>
                  </a:lnTo>
                  <a:lnTo>
                    <a:pt x="268" y="147"/>
                  </a:lnTo>
                  <a:lnTo>
                    <a:pt x="264" y="155"/>
                  </a:lnTo>
                  <a:lnTo>
                    <a:pt x="266" y="158"/>
                  </a:lnTo>
                  <a:lnTo>
                    <a:pt x="270" y="158"/>
                  </a:lnTo>
                  <a:lnTo>
                    <a:pt x="270" y="159"/>
                  </a:lnTo>
                  <a:lnTo>
                    <a:pt x="271" y="164"/>
                  </a:lnTo>
                  <a:lnTo>
                    <a:pt x="271" y="165"/>
                  </a:lnTo>
                  <a:lnTo>
                    <a:pt x="266" y="165"/>
                  </a:lnTo>
                  <a:lnTo>
                    <a:pt x="261" y="169"/>
                  </a:lnTo>
                  <a:lnTo>
                    <a:pt x="268" y="177"/>
                  </a:lnTo>
                  <a:lnTo>
                    <a:pt x="268" y="186"/>
                  </a:lnTo>
                  <a:lnTo>
                    <a:pt x="274" y="214"/>
                  </a:lnTo>
                  <a:lnTo>
                    <a:pt x="274" y="215"/>
                  </a:lnTo>
                  <a:lnTo>
                    <a:pt x="270" y="215"/>
                  </a:lnTo>
                  <a:lnTo>
                    <a:pt x="266" y="217"/>
                  </a:lnTo>
                  <a:lnTo>
                    <a:pt x="264" y="217"/>
                  </a:lnTo>
                  <a:lnTo>
                    <a:pt x="263" y="209"/>
                  </a:lnTo>
                  <a:lnTo>
                    <a:pt x="261" y="212"/>
                  </a:lnTo>
                  <a:lnTo>
                    <a:pt x="249" y="218"/>
                  </a:lnTo>
                  <a:lnTo>
                    <a:pt x="249" y="229"/>
                  </a:lnTo>
                  <a:lnTo>
                    <a:pt x="240" y="238"/>
                  </a:lnTo>
                  <a:lnTo>
                    <a:pt x="223" y="248"/>
                  </a:lnTo>
                  <a:lnTo>
                    <a:pt x="212" y="261"/>
                  </a:lnTo>
                  <a:lnTo>
                    <a:pt x="188" y="279"/>
                  </a:lnTo>
                  <a:lnTo>
                    <a:pt x="185" y="285"/>
                  </a:lnTo>
                  <a:lnTo>
                    <a:pt x="174" y="288"/>
                  </a:lnTo>
                  <a:lnTo>
                    <a:pt x="169" y="297"/>
                  </a:lnTo>
                  <a:lnTo>
                    <a:pt x="162" y="297"/>
                  </a:lnTo>
                  <a:lnTo>
                    <a:pt x="159" y="301"/>
                  </a:lnTo>
                  <a:lnTo>
                    <a:pt x="159" y="324"/>
                  </a:lnTo>
                  <a:lnTo>
                    <a:pt x="162" y="330"/>
                  </a:lnTo>
                  <a:lnTo>
                    <a:pt x="156" y="350"/>
                  </a:lnTo>
                  <a:lnTo>
                    <a:pt x="156" y="368"/>
                  </a:lnTo>
                  <a:lnTo>
                    <a:pt x="148" y="368"/>
                  </a:lnTo>
                  <a:lnTo>
                    <a:pt x="144" y="377"/>
                  </a:lnTo>
                  <a:lnTo>
                    <a:pt x="144" y="381"/>
                  </a:lnTo>
                  <a:lnTo>
                    <a:pt x="134" y="384"/>
                  </a:lnTo>
                  <a:lnTo>
                    <a:pt x="132" y="392"/>
                  </a:lnTo>
                  <a:lnTo>
                    <a:pt x="128" y="398"/>
                  </a:lnTo>
                  <a:lnTo>
                    <a:pt x="122" y="398"/>
                  </a:lnTo>
                  <a:lnTo>
                    <a:pt x="113" y="386"/>
                  </a:lnTo>
                  <a:lnTo>
                    <a:pt x="101" y="353"/>
                  </a:lnTo>
                  <a:lnTo>
                    <a:pt x="92" y="341"/>
                  </a:lnTo>
                  <a:lnTo>
                    <a:pt x="88" y="324"/>
                  </a:lnTo>
                  <a:lnTo>
                    <a:pt x="79" y="306"/>
                  </a:lnTo>
                  <a:lnTo>
                    <a:pt x="77" y="300"/>
                  </a:lnTo>
                  <a:lnTo>
                    <a:pt x="74" y="300"/>
                  </a:lnTo>
                  <a:lnTo>
                    <a:pt x="73" y="295"/>
                  </a:lnTo>
                  <a:lnTo>
                    <a:pt x="68" y="285"/>
                  </a:lnTo>
                  <a:lnTo>
                    <a:pt x="62" y="260"/>
                  </a:lnTo>
                  <a:lnTo>
                    <a:pt x="64" y="251"/>
                  </a:lnTo>
                  <a:lnTo>
                    <a:pt x="62" y="251"/>
                  </a:lnTo>
                  <a:lnTo>
                    <a:pt x="59" y="241"/>
                  </a:lnTo>
                  <a:lnTo>
                    <a:pt x="62" y="230"/>
                  </a:lnTo>
                  <a:lnTo>
                    <a:pt x="58" y="211"/>
                  </a:lnTo>
                  <a:lnTo>
                    <a:pt x="58" y="209"/>
                  </a:lnTo>
                  <a:lnTo>
                    <a:pt x="61" y="207"/>
                  </a:lnTo>
                  <a:lnTo>
                    <a:pt x="55" y="205"/>
                  </a:lnTo>
                  <a:lnTo>
                    <a:pt x="52" y="221"/>
                  </a:lnTo>
                  <a:lnTo>
                    <a:pt x="42" y="226"/>
                  </a:lnTo>
                  <a:lnTo>
                    <a:pt x="31" y="226"/>
                  </a:lnTo>
                  <a:lnTo>
                    <a:pt x="14" y="208"/>
                  </a:lnTo>
                  <a:lnTo>
                    <a:pt x="12" y="205"/>
                  </a:lnTo>
                  <a:lnTo>
                    <a:pt x="12" y="204"/>
                  </a:lnTo>
                  <a:lnTo>
                    <a:pt x="25" y="202"/>
                  </a:lnTo>
                  <a:lnTo>
                    <a:pt x="30" y="199"/>
                  </a:lnTo>
                  <a:lnTo>
                    <a:pt x="30" y="195"/>
                  </a:lnTo>
                  <a:lnTo>
                    <a:pt x="22" y="198"/>
                  </a:lnTo>
                  <a:lnTo>
                    <a:pt x="12" y="198"/>
                  </a:lnTo>
                  <a:lnTo>
                    <a:pt x="0" y="184"/>
                  </a:lnTo>
                  <a:lnTo>
                    <a:pt x="5" y="181"/>
                  </a:lnTo>
                  <a:lnTo>
                    <a:pt x="11" y="181"/>
                  </a:lnTo>
                  <a:lnTo>
                    <a:pt x="12" y="175"/>
                  </a:lnTo>
                  <a:lnTo>
                    <a:pt x="27" y="178"/>
                  </a:lnTo>
                  <a:lnTo>
                    <a:pt x="33" y="174"/>
                  </a:lnTo>
                  <a:lnTo>
                    <a:pt x="34" y="174"/>
                  </a:lnTo>
                  <a:lnTo>
                    <a:pt x="37" y="177"/>
                  </a:lnTo>
                  <a:lnTo>
                    <a:pt x="42" y="175"/>
                  </a:lnTo>
                  <a:lnTo>
                    <a:pt x="34" y="158"/>
                  </a:lnTo>
                  <a:lnTo>
                    <a:pt x="28" y="155"/>
                  </a:lnTo>
                  <a:lnTo>
                    <a:pt x="30" y="146"/>
                  </a:lnTo>
                  <a:lnTo>
                    <a:pt x="21" y="144"/>
                  </a:lnTo>
                  <a:lnTo>
                    <a:pt x="19" y="143"/>
                  </a:lnTo>
                  <a:lnTo>
                    <a:pt x="21" y="137"/>
                  </a:lnTo>
                  <a:lnTo>
                    <a:pt x="33" y="122"/>
                  </a:lnTo>
                  <a:lnTo>
                    <a:pt x="34" y="122"/>
                  </a:lnTo>
                  <a:lnTo>
                    <a:pt x="39" y="126"/>
                  </a:lnTo>
                  <a:lnTo>
                    <a:pt x="51" y="124"/>
                  </a:lnTo>
                  <a:lnTo>
                    <a:pt x="57" y="113"/>
                  </a:lnTo>
                  <a:lnTo>
                    <a:pt x="64" y="109"/>
                  </a:lnTo>
                  <a:lnTo>
                    <a:pt x="71" y="95"/>
                  </a:lnTo>
                  <a:lnTo>
                    <a:pt x="76" y="92"/>
                  </a:lnTo>
                  <a:lnTo>
                    <a:pt x="82" y="81"/>
                  </a:lnTo>
                  <a:lnTo>
                    <a:pt x="89" y="78"/>
                  </a:lnTo>
                  <a:lnTo>
                    <a:pt x="86" y="76"/>
                  </a:lnTo>
                  <a:lnTo>
                    <a:pt x="86" y="75"/>
                  </a:lnTo>
                  <a:lnTo>
                    <a:pt x="88" y="72"/>
                  </a:lnTo>
                  <a:lnTo>
                    <a:pt x="86" y="70"/>
                  </a:lnTo>
                  <a:lnTo>
                    <a:pt x="86" y="69"/>
                  </a:lnTo>
                  <a:lnTo>
                    <a:pt x="88" y="64"/>
                  </a:lnTo>
                  <a:lnTo>
                    <a:pt x="97" y="60"/>
                  </a:lnTo>
                  <a:lnTo>
                    <a:pt x="95" y="57"/>
                  </a:lnTo>
                  <a:lnTo>
                    <a:pt x="88" y="57"/>
                  </a:lnTo>
                  <a:lnTo>
                    <a:pt x="88" y="52"/>
                  </a:lnTo>
                  <a:lnTo>
                    <a:pt x="83" y="51"/>
                  </a:lnTo>
                  <a:lnTo>
                    <a:pt x="77" y="45"/>
                  </a:lnTo>
                  <a:lnTo>
                    <a:pt x="77" y="43"/>
                  </a:lnTo>
                  <a:lnTo>
                    <a:pt x="82" y="40"/>
                  </a:lnTo>
                  <a:lnTo>
                    <a:pt x="79" y="36"/>
                  </a:lnTo>
                  <a:lnTo>
                    <a:pt x="82" y="33"/>
                  </a:lnTo>
                  <a:lnTo>
                    <a:pt x="77" y="30"/>
                  </a:lnTo>
                  <a:lnTo>
                    <a:pt x="79" y="27"/>
                  </a:lnTo>
                  <a:lnTo>
                    <a:pt x="76" y="27"/>
                  </a:lnTo>
                  <a:lnTo>
                    <a:pt x="76" y="26"/>
                  </a:lnTo>
                  <a:lnTo>
                    <a:pt x="77" y="20"/>
                  </a:lnTo>
                  <a:lnTo>
                    <a:pt x="79" y="20"/>
                  </a:lnTo>
                  <a:lnTo>
                    <a:pt x="83" y="18"/>
                  </a:lnTo>
                  <a:lnTo>
                    <a:pt x="100" y="23"/>
                  </a:lnTo>
                  <a:lnTo>
                    <a:pt x="110" y="20"/>
                  </a:lnTo>
                  <a:lnTo>
                    <a:pt x="116" y="20"/>
                  </a:lnTo>
                  <a:lnTo>
                    <a:pt x="119" y="15"/>
                  </a:lnTo>
                  <a:lnTo>
                    <a:pt x="126" y="9"/>
                  </a:lnTo>
                  <a:lnTo>
                    <a:pt x="14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79" name="Mongolia">
              <a:extLst>
                <a:ext uri="{FF2B5EF4-FFF2-40B4-BE49-F238E27FC236}">
                  <a16:creationId xmlns:a16="http://schemas.microsoft.com/office/drawing/2014/main" id="{8E638908-67AD-1AC3-A52D-5A4D5FF7E96F}"/>
                </a:ext>
              </a:extLst>
            </p:cNvPr>
            <p:cNvSpPr>
              <a:spLocks/>
            </p:cNvSpPr>
            <p:nvPr/>
          </p:nvSpPr>
          <p:spPr bwMode="auto">
            <a:xfrm>
              <a:off x="7894931" y="3145371"/>
              <a:ext cx="749931" cy="366834"/>
            </a:xfrm>
            <a:custGeom>
              <a:avLst/>
              <a:gdLst>
                <a:gd name="T0" fmla="*/ 151 w 415"/>
                <a:gd name="T1" fmla="*/ 0 h 203"/>
                <a:gd name="T2" fmla="*/ 187 w 415"/>
                <a:gd name="T3" fmla="*/ 15 h 203"/>
                <a:gd name="T4" fmla="*/ 200 w 415"/>
                <a:gd name="T5" fmla="*/ 37 h 203"/>
                <a:gd name="T6" fmla="*/ 225 w 415"/>
                <a:gd name="T7" fmla="*/ 31 h 203"/>
                <a:gd name="T8" fmla="*/ 265 w 415"/>
                <a:gd name="T9" fmla="*/ 49 h 203"/>
                <a:gd name="T10" fmla="*/ 292 w 415"/>
                <a:gd name="T11" fmla="*/ 59 h 203"/>
                <a:gd name="T12" fmla="*/ 331 w 415"/>
                <a:gd name="T13" fmla="*/ 53 h 203"/>
                <a:gd name="T14" fmla="*/ 351 w 415"/>
                <a:gd name="T15" fmla="*/ 40 h 203"/>
                <a:gd name="T16" fmla="*/ 369 w 415"/>
                <a:gd name="T17" fmla="*/ 47 h 203"/>
                <a:gd name="T18" fmla="*/ 375 w 415"/>
                <a:gd name="T19" fmla="*/ 46 h 203"/>
                <a:gd name="T20" fmla="*/ 365 w 415"/>
                <a:gd name="T21" fmla="*/ 62 h 203"/>
                <a:gd name="T22" fmla="*/ 366 w 415"/>
                <a:gd name="T23" fmla="*/ 90 h 203"/>
                <a:gd name="T24" fmla="*/ 397 w 415"/>
                <a:gd name="T25" fmla="*/ 83 h 203"/>
                <a:gd name="T26" fmla="*/ 411 w 415"/>
                <a:gd name="T27" fmla="*/ 96 h 203"/>
                <a:gd name="T28" fmla="*/ 415 w 415"/>
                <a:gd name="T29" fmla="*/ 110 h 203"/>
                <a:gd name="T30" fmla="*/ 381 w 415"/>
                <a:gd name="T31" fmla="*/ 114 h 203"/>
                <a:gd name="T32" fmla="*/ 354 w 415"/>
                <a:gd name="T33" fmla="*/ 133 h 203"/>
                <a:gd name="T34" fmla="*/ 337 w 415"/>
                <a:gd name="T35" fmla="*/ 147 h 203"/>
                <a:gd name="T36" fmla="*/ 317 w 415"/>
                <a:gd name="T37" fmla="*/ 144 h 203"/>
                <a:gd name="T38" fmla="*/ 317 w 415"/>
                <a:gd name="T39" fmla="*/ 164 h 203"/>
                <a:gd name="T40" fmla="*/ 279 w 415"/>
                <a:gd name="T41" fmla="*/ 190 h 203"/>
                <a:gd name="T42" fmla="*/ 224 w 415"/>
                <a:gd name="T43" fmla="*/ 203 h 203"/>
                <a:gd name="T44" fmla="*/ 171 w 415"/>
                <a:gd name="T45" fmla="*/ 182 h 203"/>
                <a:gd name="T46" fmla="*/ 135 w 415"/>
                <a:gd name="T47" fmla="*/ 184 h 203"/>
                <a:gd name="T48" fmla="*/ 108 w 415"/>
                <a:gd name="T49" fmla="*/ 172 h 203"/>
                <a:gd name="T50" fmla="*/ 68 w 415"/>
                <a:gd name="T51" fmla="*/ 142 h 203"/>
                <a:gd name="T52" fmla="*/ 39 w 415"/>
                <a:gd name="T53" fmla="*/ 136 h 203"/>
                <a:gd name="T54" fmla="*/ 40 w 415"/>
                <a:gd name="T55" fmla="*/ 113 h 203"/>
                <a:gd name="T56" fmla="*/ 31 w 415"/>
                <a:gd name="T57" fmla="*/ 90 h 203"/>
                <a:gd name="T58" fmla="*/ 5 w 415"/>
                <a:gd name="T59" fmla="*/ 76 h 203"/>
                <a:gd name="T60" fmla="*/ 0 w 415"/>
                <a:gd name="T61" fmla="*/ 65 h 203"/>
                <a:gd name="T62" fmla="*/ 39 w 415"/>
                <a:gd name="T63" fmla="*/ 38 h 203"/>
                <a:gd name="T64" fmla="*/ 86 w 415"/>
                <a:gd name="T65" fmla="*/ 36 h 203"/>
                <a:gd name="T66" fmla="*/ 132 w 415"/>
                <a:gd name="T67" fmla="*/ 44 h 203"/>
                <a:gd name="T68" fmla="*/ 134 w 415"/>
                <a:gd name="T69" fmla="*/ 36 h 203"/>
                <a:gd name="T70" fmla="*/ 132 w 415"/>
                <a:gd name="T71" fmla="*/ 16 h 203"/>
                <a:gd name="T72" fmla="*/ 150 w 415"/>
                <a:gd name="T73"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5" h="203">
                  <a:moveTo>
                    <a:pt x="150" y="0"/>
                  </a:moveTo>
                  <a:lnTo>
                    <a:pt x="151" y="0"/>
                  </a:lnTo>
                  <a:lnTo>
                    <a:pt x="185" y="13"/>
                  </a:lnTo>
                  <a:lnTo>
                    <a:pt x="187" y="15"/>
                  </a:lnTo>
                  <a:lnTo>
                    <a:pt x="190" y="30"/>
                  </a:lnTo>
                  <a:lnTo>
                    <a:pt x="200" y="37"/>
                  </a:lnTo>
                  <a:lnTo>
                    <a:pt x="208" y="40"/>
                  </a:lnTo>
                  <a:lnTo>
                    <a:pt x="225" y="31"/>
                  </a:lnTo>
                  <a:lnTo>
                    <a:pt x="234" y="33"/>
                  </a:lnTo>
                  <a:lnTo>
                    <a:pt x="265" y="49"/>
                  </a:lnTo>
                  <a:lnTo>
                    <a:pt x="274" y="56"/>
                  </a:lnTo>
                  <a:lnTo>
                    <a:pt x="292" y="59"/>
                  </a:lnTo>
                  <a:lnTo>
                    <a:pt x="302" y="62"/>
                  </a:lnTo>
                  <a:lnTo>
                    <a:pt x="331" y="53"/>
                  </a:lnTo>
                  <a:lnTo>
                    <a:pt x="350" y="40"/>
                  </a:lnTo>
                  <a:lnTo>
                    <a:pt x="351" y="40"/>
                  </a:lnTo>
                  <a:lnTo>
                    <a:pt x="366" y="47"/>
                  </a:lnTo>
                  <a:lnTo>
                    <a:pt x="369" y="47"/>
                  </a:lnTo>
                  <a:lnTo>
                    <a:pt x="372" y="46"/>
                  </a:lnTo>
                  <a:lnTo>
                    <a:pt x="375" y="46"/>
                  </a:lnTo>
                  <a:lnTo>
                    <a:pt x="375" y="47"/>
                  </a:lnTo>
                  <a:lnTo>
                    <a:pt x="365" y="62"/>
                  </a:lnTo>
                  <a:lnTo>
                    <a:pt x="363" y="83"/>
                  </a:lnTo>
                  <a:lnTo>
                    <a:pt x="366" y="90"/>
                  </a:lnTo>
                  <a:lnTo>
                    <a:pt x="383" y="93"/>
                  </a:lnTo>
                  <a:lnTo>
                    <a:pt x="397" y="83"/>
                  </a:lnTo>
                  <a:lnTo>
                    <a:pt x="399" y="83"/>
                  </a:lnTo>
                  <a:lnTo>
                    <a:pt x="411" y="96"/>
                  </a:lnTo>
                  <a:lnTo>
                    <a:pt x="412" y="105"/>
                  </a:lnTo>
                  <a:lnTo>
                    <a:pt x="415" y="110"/>
                  </a:lnTo>
                  <a:lnTo>
                    <a:pt x="415" y="111"/>
                  </a:lnTo>
                  <a:lnTo>
                    <a:pt x="381" y="114"/>
                  </a:lnTo>
                  <a:lnTo>
                    <a:pt x="365" y="130"/>
                  </a:lnTo>
                  <a:lnTo>
                    <a:pt x="354" y="133"/>
                  </a:lnTo>
                  <a:lnTo>
                    <a:pt x="338" y="147"/>
                  </a:lnTo>
                  <a:lnTo>
                    <a:pt x="337" y="147"/>
                  </a:lnTo>
                  <a:lnTo>
                    <a:pt x="322" y="141"/>
                  </a:lnTo>
                  <a:lnTo>
                    <a:pt x="317" y="144"/>
                  </a:lnTo>
                  <a:lnTo>
                    <a:pt x="311" y="156"/>
                  </a:lnTo>
                  <a:lnTo>
                    <a:pt x="317" y="164"/>
                  </a:lnTo>
                  <a:lnTo>
                    <a:pt x="294" y="187"/>
                  </a:lnTo>
                  <a:lnTo>
                    <a:pt x="279" y="190"/>
                  </a:lnTo>
                  <a:lnTo>
                    <a:pt x="261" y="190"/>
                  </a:lnTo>
                  <a:lnTo>
                    <a:pt x="224" y="203"/>
                  </a:lnTo>
                  <a:lnTo>
                    <a:pt x="193" y="194"/>
                  </a:lnTo>
                  <a:lnTo>
                    <a:pt x="171" y="182"/>
                  </a:lnTo>
                  <a:lnTo>
                    <a:pt x="147" y="182"/>
                  </a:lnTo>
                  <a:lnTo>
                    <a:pt x="135" y="184"/>
                  </a:lnTo>
                  <a:lnTo>
                    <a:pt x="122" y="184"/>
                  </a:lnTo>
                  <a:lnTo>
                    <a:pt x="108" y="172"/>
                  </a:lnTo>
                  <a:lnTo>
                    <a:pt x="98" y="156"/>
                  </a:lnTo>
                  <a:lnTo>
                    <a:pt x="68" y="142"/>
                  </a:lnTo>
                  <a:lnTo>
                    <a:pt x="59" y="144"/>
                  </a:lnTo>
                  <a:lnTo>
                    <a:pt x="39" y="136"/>
                  </a:lnTo>
                  <a:lnTo>
                    <a:pt x="40" y="129"/>
                  </a:lnTo>
                  <a:lnTo>
                    <a:pt x="40" y="113"/>
                  </a:lnTo>
                  <a:lnTo>
                    <a:pt x="33" y="93"/>
                  </a:lnTo>
                  <a:lnTo>
                    <a:pt x="31" y="90"/>
                  </a:lnTo>
                  <a:lnTo>
                    <a:pt x="15" y="87"/>
                  </a:lnTo>
                  <a:lnTo>
                    <a:pt x="5" y="76"/>
                  </a:lnTo>
                  <a:lnTo>
                    <a:pt x="0" y="67"/>
                  </a:lnTo>
                  <a:lnTo>
                    <a:pt x="0" y="65"/>
                  </a:lnTo>
                  <a:lnTo>
                    <a:pt x="8" y="56"/>
                  </a:lnTo>
                  <a:lnTo>
                    <a:pt x="39" y="38"/>
                  </a:lnTo>
                  <a:lnTo>
                    <a:pt x="53" y="33"/>
                  </a:lnTo>
                  <a:lnTo>
                    <a:pt x="86" y="36"/>
                  </a:lnTo>
                  <a:lnTo>
                    <a:pt x="93" y="44"/>
                  </a:lnTo>
                  <a:lnTo>
                    <a:pt x="132" y="44"/>
                  </a:lnTo>
                  <a:lnTo>
                    <a:pt x="134" y="43"/>
                  </a:lnTo>
                  <a:lnTo>
                    <a:pt x="134" y="36"/>
                  </a:lnTo>
                  <a:lnTo>
                    <a:pt x="135" y="31"/>
                  </a:lnTo>
                  <a:lnTo>
                    <a:pt x="132" y="16"/>
                  </a:lnTo>
                  <a:lnTo>
                    <a:pt x="132" y="15"/>
                  </a:lnTo>
                  <a:lnTo>
                    <a:pt x="15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0" name="Georgia">
              <a:extLst>
                <a:ext uri="{FF2B5EF4-FFF2-40B4-BE49-F238E27FC236}">
                  <a16:creationId xmlns:a16="http://schemas.microsoft.com/office/drawing/2014/main" id="{46560984-4A50-5D09-810C-AD5314061FB3}"/>
                </a:ext>
              </a:extLst>
            </p:cNvPr>
            <p:cNvSpPr>
              <a:spLocks/>
            </p:cNvSpPr>
            <p:nvPr/>
          </p:nvSpPr>
          <p:spPr bwMode="auto">
            <a:xfrm>
              <a:off x="6765516" y="3445344"/>
              <a:ext cx="162635" cy="84933"/>
            </a:xfrm>
            <a:custGeom>
              <a:avLst/>
              <a:gdLst>
                <a:gd name="T0" fmla="*/ 11 w 90"/>
                <a:gd name="T1" fmla="*/ 0 h 47"/>
                <a:gd name="T2" fmla="*/ 26 w 90"/>
                <a:gd name="T3" fmla="*/ 6 h 47"/>
                <a:gd name="T4" fmla="*/ 41 w 90"/>
                <a:gd name="T5" fmla="*/ 6 h 47"/>
                <a:gd name="T6" fmla="*/ 56 w 90"/>
                <a:gd name="T7" fmla="*/ 16 h 47"/>
                <a:gd name="T8" fmla="*/ 65 w 90"/>
                <a:gd name="T9" fmla="*/ 13 h 47"/>
                <a:gd name="T10" fmla="*/ 71 w 90"/>
                <a:gd name="T11" fmla="*/ 15 h 47"/>
                <a:gd name="T12" fmla="*/ 78 w 90"/>
                <a:gd name="T13" fmla="*/ 18 h 47"/>
                <a:gd name="T14" fmla="*/ 78 w 90"/>
                <a:gd name="T15" fmla="*/ 24 h 47"/>
                <a:gd name="T16" fmla="*/ 87 w 90"/>
                <a:gd name="T17" fmla="*/ 28 h 47"/>
                <a:gd name="T18" fmla="*/ 87 w 90"/>
                <a:gd name="T19" fmla="*/ 30 h 47"/>
                <a:gd name="T20" fmla="*/ 89 w 90"/>
                <a:gd name="T21" fmla="*/ 30 h 47"/>
                <a:gd name="T22" fmla="*/ 86 w 90"/>
                <a:gd name="T23" fmla="*/ 34 h 47"/>
                <a:gd name="T24" fmla="*/ 90 w 90"/>
                <a:gd name="T25" fmla="*/ 39 h 47"/>
                <a:gd name="T26" fmla="*/ 90 w 90"/>
                <a:gd name="T27" fmla="*/ 43 h 47"/>
                <a:gd name="T28" fmla="*/ 89 w 90"/>
                <a:gd name="T29" fmla="*/ 43 h 47"/>
                <a:gd name="T30" fmla="*/ 74 w 90"/>
                <a:gd name="T31" fmla="*/ 39 h 47"/>
                <a:gd name="T32" fmla="*/ 69 w 90"/>
                <a:gd name="T33" fmla="*/ 40 h 47"/>
                <a:gd name="T34" fmla="*/ 66 w 90"/>
                <a:gd name="T35" fmla="*/ 41 h 47"/>
                <a:gd name="T36" fmla="*/ 49 w 90"/>
                <a:gd name="T37" fmla="*/ 47 h 47"/>
                <a:gd name="T38" fmla="*/ 38 w 90"/>
                <a:gd name="T39" fmla="*/ 37 h 47"/>
                <a:gd name="T40" fmla="*/ 34 w 90"/>
                <a:gd name="T41" fmla="*/ 39 h 47"/>
                <a:gd name="T42" fmla="*/ 22 w 90"/>
                <a:gd name="T43" fmla="*/ 37 h 47"/>
                <a:gd name="T44" fmla="*/ 22 w 90"/>
                <a:gd name="T45" fmla="*/ 36 h 47"/>
                <a:gd name="T46" fmla="*/ 25 w 90"/>
                <a:gd name="T47" fmla="*/ 34 h 47"/>
                <a:gd name="T48" fmla="*/ 25 w 90"/>
                <a:gd name="T49" fmla="*/ 28 h 47"/>
                <a:gd name="T50" fmla="*/ 19 w 90"/>
                <a:gd name="T51" fmla="*/ 16 h 47"/>
                <a:gd name="T52" fmla="*/ 6 w 90"/>
                <a:gd name="T53" fmla="*/ 9 h 47"/>
                <a:gd name="T54" fmla="*/ 0 w 90"/>
                <a:gd name="T55" fmla="*/ 3 h 47"/>
                <a:gd name="T56" fmla="*/ 0 w 90"/>
                <a:gd name="T57" fmla="*/ 1 h 47"/>
                <a:gd name="T58" fmla="*/ 11 w 90"/>
                <a:gd name="T5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47">
                  <a:moveTo>
                    <a:pt x="11" y="0"/>
                  </a:moveTo>
                  <a:lnTo>
                    <a:pt x="26" y="6"/>
                  </a:lnTo>
                  <a:lnTo>
                    <a:pt x="41" y="6"/>
                  </a:lnTo>
                  <a:lnTo>
                    <a:pt x="56" y="16"/>
                  </a:lnTo>
                  <a:lnTo>
                    <a:pt x="65" y="13"/>
                  </a:lnTo>
                  <a:lnTo>
                    <a:pt x="71" y="15"/>
                  </a:lnTo>
                  <a:lnTo>
                    <a:pt x="78" y="18"/>
                  </a:lnTo>
                  <a:lnTo>
                    <a:pt x="78" y="24"/>
                  </a:lnTo>
                  <a:lnTo>
                    <a:pt x="87" y="28"/>
                  </a:lnTo>
                  <a:lnTo>
                    <a:pt x="87" y="30"/>
                  </a:lnTo>
                  <a:lnTo>
                    <a:pt x="89" y="30"/>
                  </a:lnTo>
                  <a:lnTo>
                    <a:pt x="86" y="34"/>
                  </a:lnTo>
                  <a:lnTo>
                    <a:pt x="90" y="39"/>
                  </a:lnTo>
                  <a:lnTo>
                    <a:pt x="90" y="43"/>
                  </a:lnTo>
                  <a:lnTo>
                    <a:pt x="89" y="43"/>
                  </a:lnTo>
                  <a:lnTo>
                    <a:pt x="74" y="39"/>
                  </a:lnTo>
                  <a:lnTo>
                    <a:pt x="69" y="40"/>
                  </a:lnTo>
                  <a:lnTo>
                    <a:pt x="66" y="41"/>
                  </a:lnTo>
                  <a:lnTo>
                    <a:pt x="49" y="47"/>
                  </a:lnTo>
                  <a:lnTo>
                    <a:pt x="38" y="37"/>
                  </a:lnTo>
                  <a:lnTo>
                    <a:pt x="34" y="39"/>
                  </a:lnTo>
                  <a:lnTo>
                    <a:pt x="22" y="37"/>
                  </a:lnTo>
                  <a:lnTo>
                    <a:pt x="22" y="36"/>
                  </a:lnTo>
                  <a:lnTo>
                    <a:pt x="25" y="34"/>
                  </a:lnTo>
                  <a:lnTo>
                    <a:pt x="25" y="28"/>
                  </a:lnTo>
                  <a:lnTo>
                    <a:pt x="19" y="16"/>
                  </a:lnTo>
                  <a:lnTo>
                    <a:pt x="6" y="9"/>
                  </a:lnTo>
                  <a:lnTo>
                    <a:pt x="0" y="3"/>
                  </a:lnTo>
                  <a:lnTo>
                    <a:pt x="0" y="1"/>
                  </a:lnTo>
                  <a:lnTo>
                    <a:pt x="1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1" name="Turkmenistan">
              <a:extLst>
                <a:ext uri="{FF2B5EF4-FFF2-40B4-BE49-F238E27FC236}">
                  <a16:creationId xmlns:a16="http://schemas.microsoft.com/office/drawing/2014/main" id="{98D32D1C-0CEF-9DBF-98F0-45E36E309DDB}"/>
                </a:ext>
              </a:extLst>
            </p:cNvPr>
            <p:cNvSpPr>
              <a:spLocks/>
            </p:cNvSpPr>
            <p:nvPr/>
          </p:nvSpPr>
          <p:spPr bwMode="auto">
            <a:xfrm>
              <a:off x="7061874" y="3468835"/>
              <a:ext cx="339728" cy="236726"/>
            </a:xfrm>
            <a:custGeom>
              <a:avLst/>
              <a:gdLst>
                <a:gd name="T0" fmla="*/ 83 w 188"/>
                <a:gd name="T1" fmla="*/ 0 h 131"/>
                <a:gd name="T2" fmla="*/ 101 w 188"/>
                <a:gd name="T3" fmla="*/ 9 h 131"/>
                <a:gd name="T4" fmla="*/ 104 w 188"/>
                <a:gd name="T5" fmla="*/ 18 h 131"/>
                <a:gd name="T6" fmla="*/ 102 w 188"/>
                <a:gd name="T7" fmla="*/ 20 h 131"/>
                <a:gd name="T8" fmla="*/ 117 w 188"/>
                <a:gd name="T9" fmla="*/ 28 h 131"/>
                <a:gd name="T10" fmla="*/ 126 w 188"/>
                <a:gd name="T11" fmla="*/ 30 h 131"/>
                <a:gd name="T12" fmla="*/ 148 w 188"/>
                <a:gd name="T13" fmla="*/ 58 h 131"/>
                <a:gd name="T14" fmla="*/ 162 w 188"/>
                <a:gd name="T15" fmla="*/ 69 h 131"/>
                <a:gd name="T16" fmla="*/ 178 w 188"/>
                <a:gd name="T17" fmla="*/ 77 h 131"/>
                <a:gd name="T18" fmla="*/ 187 w 188"/>
                <a:gd name="T19" fmla="*/ 88 h 131"/>
                <a:gd name="T20" fmla="*/ 182 w 188"/>
                <a:gd name="T21" fmla="*/ 95 h 131"/>
                <a:gd name="T22" fmla="*/ 175 w 188"/>
                <a:gd name="T23" fmla="*/ 94 h 131"/>
                <a:gd name="T24" fmla="*/ 165 w 188"/>
                <a:gd name="T25" fmla="*/ 97 h 131"/>
                <a:gd name="T26" fmla="*/ 159 w 188"/>
                <a:gd name="T27" fmla="*/ 112 h 131"/>
                <a:gd name="T28" fmla="*/ 142 w 188"/>
                <a:gd name="T29" fmla="*/ 122 h 131"/>
                <a:gd name="T30" fmla="*/ 141 w 188"/>
                <a:gd name="T31" fmla="*/ 126 h 131"/>
                <a:gd name="T32" fmla="*/ 135 w 188"/>
                <a:gd name="T33" fmla="*/ 131 h 131"/>
                <a:gd name="T34" fmla="*/ 116 w 188"/>
                <a:gd name="T35" fmla="*/ 123 h 131"/>
                <a:gd name="T36" fmla="*/ 114 w 188"/>
                <a:gd name="T37" fmla="*/ 109 h 131"/>
                <a:gd name="T38" fmla="*/ 94 w 188"/>
                <a:gd name="T39" fmla="*/ 98 h 131"/>
                <a:gd name="T40" fmla="*/ 67 w 188"/>
                <a:gd name="T41" fmla="*/ 85 h 131"/>
                <a:gd name="T42" fmla="*/ 40 w 188"/>
                <a:gd name="T43" fmla="*/ 83 h 131"/>
                <a:gd name="T44" fmla="*/ 21 w 188"/>
                <a:gd name="T45" fmla="*/ 94 h 131"/>
                <a:gd name="T46" fmla="*/ 18 w 188"/>
                <a:gd name="T47" fmla="*/ 76 h 131"/>
                <a:gd name="T48" fmla="*/ 13 w 188"/>
                <a:gd name="T49" fmla="*/ 63 h 131"/>
                <a:gd name="T50" fmla="*/ 12 w 188"/>
                <a:gd name="T51" fmla="*/ 61 h 131"/>
                <a:gd name="T52" fmla="*/ 18 w 188"/>
                <a:gd name="T53" fmla="*/ 58 h 131"/>
                <a:gd name="T54" fmla="*/ 12 w 188"/>
                <a:gd name="T55" fmla="*/ 55 h 131"/>
                <a:gd name="T56" fmla="*/ 15 w 188"/>
                <a:gd name="T57" fmla="*/ 52 h 131"/>
                <a:gd name="T58" fmla="*/ 6 w 188"/>
                <a:gd name="T59" fmla="*/ 52 h 131"/>
                <a:gd name="T60" fmla="*/ 6 w 188"/>
                <a:gd name="T61" fmla="*/ 31 h 131"/>
                <a:gd name="T62" fmla="*/ 9 w 188"/>
                <a:gd name="T63" fmla="*/ 37 h 131"/>
                <a:gd name="T64" fmla="*/ 25 w 188"/>
                <a:gd name="T65" fmla="*/ 39 h 131"/>
                <a:gd name="T66" fmla="*/ 24 w 188"/>
                <a:gd name="T67" fmla="*/ 36 h 131"/>
                <a:gd name="T68" fmla="*/ 22 w 188"/>
                <a:gd name="T69" fmla="*/ 24 h 131"/>
                <a:gd name="T70" fmla="*/ 15 w 188"/>
                <a:gd name="T71" fmla="*/ 17 h 131"/>
                <a:gd name="T72" fmla="*/ 6 w 188"/>
                <a:gd name="T73" fmla="*/ 31 h 131"/>
                <a:gd name="T74" fmla="*/ 5 w 188"/>
                <a:gd name="T75" fmla="*/ 30 h 131"/>
                <a:gd name="T76" fmla="*/ 9 w 188"/>
                <a:gd name="T77" fmla="*/ 12 h 131"/>
                <a:gd name="T78" fmla="*/ 25 w 188"/>
                <a:gd name="T79" fmla="*/ 8 h 131"/>
                <a:gd name="T80" fmla="*/ 42 w 188"/>
                <a:gd name="T81" fmla="*/ 27 h 131"/>
                <a:gd name="T82" fmla="*/ 61 w 188"/>
                <a:gd name="T83" fmla="*/ 27 h 131"/>
                <a:gd name="T84" fmla="*/ 61 w 188"/>
                <a:gd name="T85" fmla="*/ 17 h 131"/>
                <a:gd name="T86" fmla="*/ 73 w 188"/>
                <a:gd name="T87" fmla="*/ 11 h 131"/>
                <a:gd name="T88" fmla="*/ 76 w 188"/>
                <a:gd name="T89" fmla="*/ 6 h 131"/>
                <a:gd name="T90" fmla="*/ 77 w 188"/>
                <a:gd name="T91" fmla="*/ 5 h 131"/>
                <a:gd name="T92" fmla="*/ 80 w 188"/>
                <a:gd name="T93" fmla="*/ 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8" h="131">
                  <a:moveTo>
                    <a:pt x="82" y="0"/>
                  </a:moveTo>
                  <a:lnTo>
                    <a:pt x="83" y="0"/>
                  </a:lnTo>
                  <a:lnTo>
                    <a:pt x="92" y="9"/>
                  </a:lnTo>
                  <a:lnTo>
                    <a:pt x="101" y="9"/>
                  </a:lnTo>
                  <a:lnTo>
                    <a:pt x="101" y="15"/>
                  </a:lnTo>
                  <a:lnTo>
                    <a:pt x="104" y="18"/>
                  </a:lnTo>
                  <a:lnTo>
                    <a:pt x="104" y="20"/>
                  </a:lnTo>
                  <a:lnTo>
                    <a:pt x="102" y="20"/>
                  </a:lnTo>
                  <a:lnTo>
                    <a:pt x="104" y="26"/>
                  </a:lnTo>
                  <a:lnTo>
                    <a:pt x="117" y="28"/>
                  </a:lnTo>
                  <a:lnTo>
                    <a:pt x="122" y="26"/>
                  </a:lnTo>
                  <a:lnTo>
                    <a:pt x="126" y="30"/>
                  </a:lnTo>
                  <a:lnTo>
                    <a:pt x="136" y="52"/>
                  </a:lnTo>
                  <a:lnTo>
                    <a:pt x="148" y="58"/>
                  </a:lnTo>
                  <a:lnTo>
                    <a:pt x="154" y="66"/>
                  </a:lnTo>
                  <a:lnTo>
                    <a:pt x="162" y="69"/>
                  </a:lnTo>
                  <a:lnTo>
                    <a:pt x="174" y="77"/>
                  </a:lnTo>
                  <a:lnTo>
                    <a:pt x="178" y="77"/>
                  </a:lnTo>
                  <a:lnTo>
                    <a:pt x="188" y="83"/>
                  </a:lnTo>
                  <a:lnTo>
                    <a:pt x="187" y="88"/>
                  </a:lnTo>
                  <a:lnTo>
                    <a:pt x="187" y="95"/>
                  </a:lnTo>
                  <a:lnTo>
                    <a:pt x="182" y="95"/>
                  </a:lnTo>
                  <a:lnTo>
                    <a:pt x="178" y="94"/>
                  </a:lnTo>
                  <a:lnTo>
                    <a:pt x="175" y="94"/>
                  </a:lnTo>
                  <a:lnTo>
                    <a:pt x="171" y="97"/>
                  </a:lnTo>
                  <a:lnTo>
                    <a:pt x="165" y="97"/>
                  </a:lnTo>
                  <a:lnTo>
                    <a:pt x="160" y="112"/>
                  </a:lnTo>
                  <a:lnTo>
                    <a:pt x="159" y="112"/>
                  </a:lnTo>
                  <a:lnTo>
                    <a:pt x="141" y="120"/>
                  </a:lnTo>
                  <a:lnTo>
                    <a:pt x="142" y="122"/>
                  </a:lnTo>
                  <a:lnTo>
                    <a:pt x="142" y="123"/>
                  </a:lnTo>
                  <a:lnTo>
                    <a:pt x="141" y="126"/>
                  </a:lnTo>
                  <a:lnTo>
                    <a:pt x="136" y="131"/>
                  </a:lnTo>
                  <a:lnTo>
                    <a:pt x="135" y="131"/>
                  </a:lnTo>
                  <a:lnTo>
                    <a:pt x="120" y="126"/>
                  </a:lnTo>
                  <a:lnTo>
                    <a:pt x="116" y="123"/>
                  </a:lnTo>
                  <a:lnTo>
                    <a:pt x="116" y="119"/>
                  </a:lnTo>
                  <a:lnTo>
                    <a:pt x="114" y="109"/>
                  </a:lnTo>
                  <a:lnTo>
                    <a:pt x="108" y="109"/>
                  </a:lnTo>
                  <a:lnTo>
                    <a:pt x="94" y="98"/>
                  </a:lnTo>
                  <a:lnTo>
                    <a:pt x="89" y="91"/>
                  </a:lnTo>
                  <a:lnTo>
                    <a:pt x="67" y="85"/>
                  </a:lnTo>
                  <a:lnTo>
                    <a:pt x="62" y="79"/>
                  </a:lnTo>
                  <a:lnTo>
                    <a:pt x="40" y="83"/>
                  </a:lnTo>
                  <a:lnTo>
                    <a:pt x="28" y="92"/>
                  </a:lnTo>
                  <a:lnTo>
                    <a:pt x="21" y="94"/>
                  </a:lnTo>
                  <a:lnTo>
                    <a:pt x="19" y="94"/>
                  </a:lnTo>
                  <a:lnTo>
                    <a:pt x="18" y="76"/>
                  </a:lnTo>
                  <a:lnTo>
                    <a:pt x="21" y="67"/>
                  </a:lnTo>
                  <a:lnTo>
                    <a:pt x="13" y="63"/>
                  </a:lnTo>
                  <a:lnTo>
                    <a:pt x="12" y="63"/>
                  </a:lnTo>
                  <a:lnTo>
                    <a:pt x="12" y="61"/>
                  </a:lnTo>
                  <a:lnTo>
                    <a:pt x="13" y="61"/>
                  </a:lnTo>
                  <a:lnTo>
                    <a:pt x="18" y="58"/>
                  </a:lnTo>
                  <a:lnTo>
                    <a:pt x="13" y="55"/>
                  </a:lnTo>
                  <a:lnTo>
                    <a:pt x="12" y="55"/>
                  </a:lnTo>
                  <a:lnTo>
                    <a:pt x="12" y="54"/>
                  </a:lnTo>
                  <a:lnTo>
                    <a:pt x="15" y="52"/>
                  </a:lnTo>
                  <a:lnTo>
                    <a:pt x="13" y="51"/>
                  </a:lnTo>
                  <a:lnTo>
                    <a:pt x="6" y="52"/>
                  </a:lnTo>
                  <a:lnTo>
                    <a:pt x="5" y="45"/>
                  </a:lnTo>
                  <a:lnTo>
                    <a:pt x="6" y="31"/>
                  </a:lnTo>
                  <a:lnTo>
                    <a:pt x="8" y="31"/>
                  </a:lnTo>
                  <a:lnTo>
                    <a:pt x="9" y="37"/>
                  </a:lnTo>
                  <a:lnTo>
                    <a:pt x="24" y="39"/>
                  </a:lnTo>
                  <a:lnTo>
                    <a:pt x="25" y="39"/>
                  </a:lnTo>
                  <a:lnTo>
                    <a:pt x="24" y="37"/>
                  </a:lnTo>
                  <a:lnTo>
                    <a:pt x="24" y="36"/>
                  </a:lnTo>
                  <a:lnTo>
                    <a:pt x="30" y="31"/>
                  </a:lnTo>
                  <a:lnTo>
                    <a:pt x="22" y="24"/>
                  </a:lnTo>
                  <a:lnTo>
                    <a:pt x="18" y="17"/>
                  </a:lnTo>
                  <a:lnTo>
                    <a:pt x="15" y="17"/>
                  </a:lnTo>
                  <a:lnTo>
                    <a:pt x="6" y="21"/>
                  </a:lnTo>
                  <a:lnTo>
                    <a:pt x="6" y="31"/>
                  </a:lnTo>
                  <a:lnTo>
                    <a:pt x="5" y="31"/>
                  </a:lnTo>
                  <a:lnTo>
                    <a:pt x="5" y="30"/>
                  </a:lnTo>
                  <a:lnTo>
                    <a:pt x="0" y="18"/>
                  </a:lnTo>
                  <a:lnTo>
                    <a:pt x="9" y="12"/>
                  </a:lnTo>
                  <a:lnTo>
                    <a:pt x="24" y="8"/>
                  </a:lnTo>
                  <a:lnTo>
                    <a:pt x="25" y="8"/>
                  </a:lnTo>
                  <a:lnTo>
                    <a:pt x="33" y="12"/>
                  </a:lnTo>
                  <a:lnTo>
                    <a:pt x="42" y="27"/>
                  </a:lnTo>
                  <a:lnTo>
                    <a:pt x="49" y="26"/>
                  </a:lnTo>
                  <a:lnTo>
                    <a:pt x="61" y="27"/>
                  </a:lnTo>
                  <a:lnTo>
                    <a:pt x="62" y="27"/>
                  </a:lnTo>
                  <a:lnTo>
                    <a:pt x="61" y="17"/>
                  </a:lnTo>
                  <a:lnTo>
                    <a:pt x="65" y="12"/>
                  </a:lnTo>
                  <a:lnTo>
                    <a:pt x="73" y="11"/>
                  </a:lnTo>
                  <a:lnTo>
                    <a:pt x="74" y="6"/>
                  </a:lnTo>
                  <a:lnTo>
                    <a:pt x="76" y="6"/>
                  </a:lnTo>
                  <a:lnTo>
                    <a:pt x="79" y="8"/>
                  </a:lnTo>
                  <a:lnTo>
                    <a:pt x="77" y="5"/>
                  </a:lnTo>
                  <a:lnTo>
                    <a:pt x="77" y="3"/>
                  </a:lnTo>
                  <a:lnTo>
                    <a:pt x="80" y="3"/>
                  </a:lnTo>
                  <a:lnTo>
                    <a:pt x="8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2" name="Uzbekistan">
              <a:extLst>
                <a:ext uri="{FF2B5EF4-FFF2-40B4-BE49-F238E27FC236}">
                  <a16:creationId xmlns:a16="http://schemas.microsoft.com/office/drawing/2014/main" id="{18588C86-45C4-A1A4-C2EE-1A27907AC096}"/>
                </a:ext>
              </a:extLst>
            </p:cNvPr>
            <p:cNvSpPr>
              <a:spLocks/>
            </p:cNvSpPr>
            <p:nvPr/>
          </p:nvSpPr>
          <p:spPr bwMode="auto">
            <a:xfrm>
              <a:off x="7148613" y="3378482"/>
              <a:ext cx="406590" cy="265638"/>
            </a:xfrm>
            <a:custGeom>
              <a:avLst/>
              <a:gdLst>
                <a:gd name="T0" fmla="*/ 41 w 225"/>
                <a:gd name="T1" fmla="*/ 3 h 147"/>
                <a:gd name="T2" fmla="*/ 80 w 225"/>
                <a:gd name="T3" fmla="*/ 38 h 147"/>
                <a:gd name="T4" fmla="*/ 127 w 225"/>
                <a:gd name="T5" fmla="*/ 41 h 147"/>
                <a:gd name="T6" fmla="*/ 134 w 225"/>
                <a:gd name="T7" fmla="*/ 49 h 147"/>
                <a:gd name="T8" fmla="*/ 140 w 225"/>
                <a:gd name="T9" fmla="*/ 68 h 147"/>
                <a:gd name="T10" fmla="*/ 155 w 225"/>
                <a:gd name="T11" fmla="*/ 77 h 147"/>
                <a:gd name="T12" fmla="*/ 176 w 225"/>
                <a:gd name="T13" fmla="*/ 73 h 147"/>
                <a:gd name="T14" fmla="*/ 188 w 225"/>
                <a:gd name="T15" fmla="*/ 64 h 147"/>
                <a:gd name="T16" fmla="*/ 195 w 225"/>
                <a:gd name="T17" fmla="*/ 59 h 147"/>
                <a:gd name="T18" fmla="*/ 200 w 225"/>
                <a:gd name="T19" fmla="*/ 62 h 147"/>
                <a:gd name="T20" fmla="*/ 186 w 225"/>
                <a:gd name="T21" fmla="*/ 74 h 147"/>
                <a:gd name="T22" fmla="*/ 194 w 225"/>
                <a:gd name="T23" fmla="*/ 77 h 147"/>
                <a:gd name="T24" fmla="*/ 206 w 225"/>
                <a:gd name="T25" fmla="*/ 74 h 147"/>
                <a:gd name="T26" fmla="*/ 225 w 225"/>
                <a:gd name="T27" fmla="*/ 86 h 147"/>
                <a:gd name="T28" fmla="*/ 191 w 225"/>
                <a:gd name="T29" fmla="*/ 96 h 147"/>
                <a:gd name="T30" fmla="*/ 192 w 225"/>
                <a:gd name="T31" fmla="*/ 87 h 147"/>
                <a:gd name="T32" fmla="*/ 189 w 225"/>
                <a:gd name="T33" fmla="*/ 81 h 147"/>
                <a:gd name="T34" fmla="*/ 176 w 225"/>
                <a:gd name="T35" fmla="*/ 87 h 147"/>
                <a:gd name="T36" fmla="*/ 174 w 225"/>
                <a:gd name="T37" fmla="*/ 96 h 147"/>
                <a:gd name="T38" fmla="*/ 164 w 225"/>
                <a:gd name="T39" fmla="*/ 107 h 147"/>
                <a:gd name="T40" fmla="*/ 149 w 225"/>
                <a:gd name="T41" fmla="*/ 111 h 147"/>
                <a:gd name="T42" fmla="*/ 158 w 225"/>
                <a:gd name="T43" fmla="*/ 117 h 147"/>
                <a:gd name="T44" fmla="*/ 161 w 225"/>
                <a:gd name="T45" fmla="*/ 130 h 147"/>
                <a:gd name="T46" fmla="*/ 152 w 225"/>
                <a:gd name="T47" fmla="*/ 147 h 147"/>
                <a:gd name="T48" fmla="*/ 137 w 225"/>
                <a:gd name="T49" fmla="*/ 138 h 147"/>
                <a:gd name="T50" fmla="*/ 130 w 225"/>
                <a:gd name="T51" fmla="*/ 127 h 147"/>
                <a:gd name="T52" fmla="*/ 114 w 225"/>
                <a:gd name="T53" fmla="*/ 119 h 147"/>
                <a:gd name="T54" fmla="*/ 99 w 225"/>
                <a:gd name="T55" fmla="*/ 110 h 147"/>
                <a:gd name="T56" fmla="*/ 78 w 225"/>
                <a:gd name="T57" fmla="*/ 80 h 147"/>
                <a:gd name="T58" fmla="*/ 69 w 225"/>
                <a:gd name="T59" fmla="*/ 80 h 147"/>
                <a:gd name="T60" fmla="*/ 54 w 225"/>
                <a:gd name="T61" fmla="*/ 70 h 147"/>
                <a:gd name="T62" fmla="*/ 53 w 225"/>
                <a:gd name="T63" fmla="*/ 65 h 147"/>
                <a:gd name="T64" fmla="*/ 44 w 225"/>
                <a:gd name="T65" fmla="*/ 59 h 147"/>
                <a:gd name="T66" fmla="*/ 29 w 225"/>
                <a:gd name="T67" fmla="*/ 55 h 147"/>
                <a:gd name="T68" fmla="*/ 28 w 225"/>
                <a:gd name="T69" fmla="*/ 56 h 147"/>
                <a:gd name="T70" fmla="*/ 17 w 225"/>
                <a:gd name="T71" fmla="*/ 62 h 147"/>
                <a:gd name="T72" fmla="*/ 16 w 225"/>
                <a:gd name="T73" fmla="*/ 77 h 147"/>
                <a:gd name="T74" fmla="*/ 1 w 225"/>
                <a:gd name="T75" fmla="*/ 77 h 147"/>
                <a:gd name="T76" fmla="*/ 34 w 225"/>
                <a:gd name="T7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5" h="147">
                  <a:moveTo>
                    <a:pt x="34" y="0"/>
                  </a:moveTo>
                  <a:lnTo>
                    <a:pt x="41" y="3"/>
                  </a:lnTo>
                  <a:lnTo>
                    <a:pt x="54" y="13"/>
                  </a:lnTo>
                  <a:lnTo>
                    <a:pt x="80" y="38"/>
                  </a:lnTo>
                  <a:lnTo>
                    <a:pt x="118" y="34"/>
                  </a:lnTo>
                  <a:lnTo>
                    <a:pt x="127" y="41"/>
                  </a:lnTo>
                  <a:lnTo>
                    <a:pt x="130" y="49"/>
                  </a:lnTo>
                  <a:lnTo>
                    <a:pt x="134" y="49"/>
                  </a:lnTo>
                  <a:lnTo>
                    <a:pt x="133" y="67"/>
                  </a:lnTo>
                  <a:lnTo>
                    <a:pt x="140" y="68"/>
                  </a:lnTo>
                  <a:lnTo>
                    <a:pt x="143" y="78"/>
                  </a:lnTo>
                  <a:lnTo>
                    <a:pt x="155" y="77"/>
                  </a:lnTo>
                  <a:lnTo>
                    <a:pt x="167" y="81"/>
                  </a:lnTo>
                  <a:lnTo>
                    <a:pt x="176" y="73"/>
                  </a:lnTo>
                  <a:lnTo>
                    <a:pt x="185" y="68"/>
                  </a:lnTo>
                  <a:lnTo>
                    <a:pt x="188" y="64"/>
                  </a:lnTo>
                  <a:lnTo>
                    <a:pt x="192" y="64"/>
                  </a:lnTo>
                  <a:lnTo>
                    <a:pt x="195" y="59"/>
                  </a:lnTo>
                  <a:lnTo>
                    <a:pt x="198" y="61"/>
                  </a:lnTo>
                  <a:lnTo>
                    <a:pt x="200" y="62"/>
                  </a:lnTo>
                  <a:lnTo>
                    <a:pt x="186" y="71"/>
                  </a:lnTo>
                  <a:lnTo>
                    <a:pt x="186" y="74"/>
                  </a:lnTo>
                  <a:lnTo>
                    <a:pt x="192" y="74"/>
                  </a:lnTo>
                  <a:lnTo>
                    <a:pt x="194" y="77"/>
                  </a:lnTo>
                  <a:lnTo>
                    <a:pt x="201" y="80"/>
                  </a:lnTo>
                  <a:lnTo>
                    <a:pt x="206" y="74"/>
                  </a:lnTo>
                  <a:lnTo>
                    <a:pt x="212" y="81"/>
                  </a:lnTo>
                  <a:lnTo>
                    <a:pt x="225" y="86"/>
                  </a:lnTo>
                  <a:lnTo>
                    <a:pt x="209" y="96"/>
                  </a:lnTo>
                  <a:lnTo>
                    <a:pt x="191" y="96"/>
                  </a:lnTo>
                  <a:lnTo>
                    <a:pt x="189" y="90"/>
                  </a:lnTo>
                  <a:lnTo>
                    <a:pt x="192" y="87"/>
                  </a:lnTo>
                  <a:lnTo>
                    <a:pt x="192" y="81"/>
                  </a:lnTo>
                  <a:lnTo>
                    <a:pt x="189" y="81"/>
                  </a:lnTo>
                  <a:lnTo>
                    <a:pt x="180" y="89"/>
                  </a:lnTo>
                  <a:lnTo>
                    <a:pt x="176" y="87"/>
                  </a:lnTo>
                  <a:lnTo>
                    <a:pt x="174" y="90"/>
                  </a:lnTo>
                  <a:lnTo>
                    <a:pt x="174" y="96"/>
                  </a:lnTo>
                  <a:lnTo>
                    <a:pt x="167" y="99"/>
                  </a:lnTo>
                  <a:lnTo>
                    <a:pt x="164" y="107"/>
                  </a:lnTo>
                  <a:lnTo>
                    <a:pt x="152" y="107"/>
                  </a:lnTo>
                  <a:lnTo>
                    <a:pt x="149" y="111"/>
                  </a:lnTo>
                  <a:lnTo>
                    <a:pt x="154" y="116"/>
                  </a:lnTo>
                  <a:lnTo>
                    <a:pt x="158" y="117"/>
                  </a:lnTo>
                  <a:lnTo>
                    <a:pt x="158" y="121"/>
                  </a:lnTo>
                  <a:lnTo>
                    <a:pt x="161" y="130"/>
                  </a:lnTo>
                  <a:lnTo>
                    <a:pt x="155" y="139"/>
                  </a:lnTo>
                  <a:lnTo>
                    <a:pt x="152" y="147"/>
                  </a:lnTo>
                  <a:lnTo>
                    <a:pt x="137" y="144"/>
                  </a:lnTo>
                  <a:lnTo>
                    <a:pt x="137" y="138"/>
                  </a:lnTo>
                  <a:lnTo>
                    <a:pt x="140" y="133"/>
                  </a:lnTo>
                  <a:lnTo>
                    <a:pt x="130" y="127"/>
                  </a:lnTo>
                  <a:lnTo>
                    <a:pt x="124" y="129"/>
                  </a:lnTo>
                  <a:lnTo>
                    <a:pt x="114" y="119"/>
                  </a:lnTo>
                  <a:lnTo>
                    <a:pt x="106" y="116"/>
                  </a:lnTo>
                  <a:lnTo>
                    <a:pt x="99" y="110"/>
                  </a:lnTo>
                  <a:lnTo>
                    <a:pt x="87" y="102"/>
                  </a:lnTo>
                  <a:lnTo>
                    <a:pt x="78" y="80"/>
                  </a:lnTo>
                  <a:lnTo>
                    <a:pt x="74" y="77"/>
                  </a:lnTo>
                  <a:lnTo>
                    <a:pt x="69" y="80"/>
                  </a:lnTo>
                  <a:lnTo>
                    <a:pt x="54" y="77"/>
                  </a:lnTo>
                  <a:lnTo>
                    <a:pt x="54" y="70"/>
                  </a:lnTo>
                  <a:lnTo>
                    <a:pt x="56" y="68"/>
                  </a:lnTo>
                  <a:lnTo>
                    <a:pt x="53" y="65"/>
                  </a:lnTo>
                  <a:lnTo>
                    <a:pt x="51" y="61"/>
                  </a:lnTo>
                  <a:lnTo>
                    <a:pt x="44" y="59"/>
                  </a:lnTo>
                  <a:lnTo>
                    <a:pt x="35" y="52"/>
                  </a:lnTo>
                  <a:lnTo>
                    <a:pt x="29" y="55"/>
                  </a:lnTo>
                  <a:lnTo>
                    <a:pt x="32" y="59"/>
                  </a:lnTo>
                  <a:lnTo>
                    <a:pt x="28" y="56"/>
                  </a:lnTo>
                  <a:lnTo>
                    <a:pt x="25" y="61"/>
                  </a:lnTo>
                  <a:lnTo>
                    <a:pt x="17" y="62"/>
                  </a:lnTo>
                  <a:lnTo>
                    <a:pt x="14" y="67"/>
                  </a:lnTo>
                  <a:lnTo>
                    <a:pt x="16" y="77"/>
                  </a:lnTo>
                  <a:lnTo>
                    <a:pt x="13" y="78"/>
                  </a:lnTo>
                  <a:lnTo>
                    <a:pt x="1" y="77"/>
                  </a:lnTo>
                  <a:lnTo>
                    <a:pt x="0" y="12"/>
                  </a:lnTo>
                  <a:lnTo>
                    <a:pt x="3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3" name="Kazakhstan">
              <a:extLst>
                <a:ext uri="{FF2B5EF4-FFF2-40B4-BE49-F238E27FC236}">
                  <a16:creationId xmlns:a16="http://schemas.microsoft.com/office/drawing/2014/main" id="{755E4AF9-5621-3EAD-F4E0-856489E9A7BB}"/>
                </a:ext>
              </a:extLst>
            </p:cNvPr>
            <p:cNvSpPr>
              <a:spLocks/>
            </p:cNvSpPr>
            <p:nvPr/>
          </p:nvSpPr>
          <p:spPr bwMode="auto">
            <a:xfrm>
              <a:off x="6926344" y="3013456"/>
              <a:ext cx="961356" cy="515013"/>
            </a:xfrm>
            <a:custGeom>
              <a:avLst/>
              <a:gdLst>
                <a:gd name="T0" fmla="*/ 309 w 532"/>
                <a:gd name="T1" fmla="*/ 6 h 285"/>
                <a:gd name="T2" fmla="*/ 323 w 532"/>
                <a:gd name="T3" fmla="*/ 24 h 285"/>
                <a:gd name="T4" fmla="*/ 336 w 532"/>
                <a:gd name="T5" fmla="*/ 24 h 285"/>
                <a:gd name="T6" fmla="*/ 339 w 532"/>
                <a:gd name="T7" fmla="*/ 31 h 285"/>
                <a:gd name="T8" fmla="*/ 355 w 532"/>
                <a:gd name="T9" fmla="*/ 31 h 285"/>
                <a:gd name="T10" fmla="*/ 357 w 532"/>
                <a:gd name="T11" fmla="*/ 40 h 285"/>
                <a:gd name="T12" fmla="*/ 379 w 532"/>
                <a:gd name="T13" fmla="*/ 28 h 285"/>
                <a:gd name="T14" fmla="*/ 397 w 532"/>
                <a:gd name="T15" fmla="*/ 28 h 285"/>
                <a:gd name="T16" fmla="*/ 441 w 532"/>
                <a:gd name="T17" fmla="*/ 98 h 285"/>
                <a:gd name="T18" fmla="*/ 456 w 532"/>
                <a:gd name="T19" fmla="*/ 103 h 285"/>
                <a:gd name="T20" fmla="*/ 478 w 532"/>
                <a:gd name="T21" fmla="*/ 97 h 285"/>
                <a:gd name="T22" fmla="*/ 501 w 532"/>
                <a:gd name="T23" fmla="*/ 114 h 285"/>
                <a:gd name="T24" fmla="*/ 520 w 532"/>
                <a:gd name="T25" fmla="*/ 125 h 285"/>
                <a:gd name="T26" fmla="*/ 521 w 532"/>
                <a:gd name="T27" fmla="*/ 150 h 285"/>
                <a:gd name="T28" fmla="*/ 495 w 532"/>
                <a:gd name="T29" fmla="*/ 177 h 285"/>
                <a:gd name="T30" fmla="*/ 440 w 532"/>
                <a:gd name="T31" fmla="*/ 223 h 285"/>
                <a:gd name="T32" fmla="*/ 426 w 532"/>
                <a:gd name="T33" fmla="*/ 255 h 285"/>
                <a:gd name="T34" fmla="*/ 360 w 532"/>
                <a:gd name="T35" fmla="*/ 246 h 285"/>
                <a:gd name="T36" fmla="*/ 326 w 532"/>
                <a:gd name="T37" fmla="*/ 254 h 285"/>
                <a:gd name="T38" fmla="*/ 315 w 532"/>
                <a:gd name="T39" fmla="*/ 267 h 285"/>
                <a:gd name="T40" fmla="*/ 278 w 532"/>
                <a:gd name="T41" fmla="*/ 280 h 285"/>
                <a:gd name="T42" fmla="*/ 263 w 532"/>
                <a:gd name="T43" fmla="*/ 270 h 285"/>
                <a:gd name="T44" fmla="*/ 253 w 532"/>
                <a:gd name="T45" fmla="*/ 251 h 285"/>
                <a:gd name="T46" fmla="*/ 216 w 532"/>
                <a:gd name="T47" fmla="*/ 240 h 285"/>
                <a:gd name="T48" fmla="*/ 164 w 532"/>
                <a:gd name="T49" fmla="*/ 206 h 285"/>
                <a:gd name="T50" fmla="*/ 120 w 532"/>
                <a:gd name="T51" fmla="*/ 280 h 285"/>
                <a:gd name="T52" fmla="*/ 77 w 532"/>
                <a:gd name="T53" fmla="*/ 272 h 285"/>
                <a:gd name="T54" fmla="*/ 60 w 532"/>
                <a:gd name="T55" fmla="*/ 248 h 285"/>
                <a:gd name="T56" fmla="*/ 60 w 532"/>
                <a:gd name="T57" fmla="*/ 214 h 285"/>
                <a:gd name="T58" fmla="*/ 84 w 532"/>
                <a:gd name="T59" fmla="*/ 208 h 285"/>
                <a:gd name="T60" fmla="*/ 106 w 532"/>
                <a:gd name="T61" fmla="*/ 208 h 285"/>
                <a:gd name="T62" fmla="*/ 69 w 532"/>
                <a:gd name="T63" fmla="*/ 177 h 285"/>
                <a:gd name="T64" fmla="*/ 23 w 532"/>
                <a:gd name="T65" fmla="*/ 181 h 285"/>
                <a:gd name="T66" fmla="*/ 22 w 532"/>
                <a:gd name="T67" fmla="*/ 162 h 285"/>
                <a:gd name="T68" fmla="*/ 0 w 532"/>
                <a:gd name="T69" fmla="*/ 149 h 285"/>
                <a:gd name="T70" fmla="*/ 10 w 532"/>
                <a:gd name="T71" fmla="*/ 116 h 285"/>
                <a:gd name="T72" fmla="*/ 29 w 532"/>
                <a:gd name="T73" fmla="*/ 117 h 285"/>
                <a:gd name="T74" fmla="*/ 37 w 532"/>
                <a:gd name="T75" fmla="*/ 95 h 285"/>
                <a:gd name="T76" fmla="*/ 59 w 532"/>
                <a:gd name="T77" fmla="*/ 82 h 285"/>
                <a:gd name="T78" fmla="*/ 69 w 532"/>
                <a:gd name="T79" fmla="*/ 82 h 285"/>
                <a:gd name="T80" fmla="*/ 103 w 532"/>
                <a:gd name="T81" fmla="*/ 100 h 285"/>
                <a:gd name="T82" fmla="*/ 114 w 532"/>
                <a:gd name="T83" fmla="*/ 101 h 285"/>
                <a:gd name="T84" fmla="*/ 139 w 532"/>
                <a:gd name="T85" fmla="*/ 95 h 285"/>
                <a:gd name="T86" fmla="*/ 161 w 532"/>
                <a:gd name="T87" fmla="*/ 104 h 285"/>
                <a:gd name="T88" fmla="*/ 177 w 532"/>
                <a:gd name="T89" fmla="*/ 100 h 285"/>
                <a:gd name="T90" fmla="*/ 188 w 532"/>
                <a:gd name="T91" fmla="*/ 88 h 285"/>
                <a:gd name="T92" fmla="*/ 176 w 532"/>
                <a:gd name="T93" fmla="*/ 76 h 285"/>
                <a:gd name="T94" fmla="*/ 189 w 532"/>
                <a:gd name="T95" fmla="*/ 55 h 285"/>
                <a:gd name="T96" fmla="*/ 191 w 532"/>
                <a:gd name="T97" fmla="*/ 43 h 285"/>
                <a:gd name="T98" fmla="*/ 189 w 532"/>
                <a:gd name="T99" fmla="*/ 42 h 285"/>
                <a:gd name="T100" fmla="*/ 195 w 532"/>
                <a:gd name="T101" fmla="*/ 31 h 285"/>
                <a:gd name="T102" fmla="*/ 210 w 532"/>
                <a:gd name="T103" fmla="*/ 31 h 285"/>
                <a:gd name="T104" fmla="*/ 229 w 532"/>
                <a:gd name="T105" fmla="*/ 27 h 285"/>
                <a:gd name="T106" fmla="*/ 283 w 532"/>
                <a:gd name="T107" fmla="*/ 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2" h="285">
                  <a:moveTo>
                    <a:pt x="293" y="0"/>
                  </a:moveTo>
                  <a:lnTo>
                    <a:pt x="296" y="0"/>
                  </a:lnTo>
                  <a:lnTo>
                    <a:pt x="299" y="2"/>
                  </a:lnTo>
                  <a:lnTo>
                    <a:pt x="302" y="2"/>
                  </a:lnTo>
                  <a:lnTo>
                    <a:pt x="309" y="6"/>
                  </a:lnTo>
                  <a:lnTo>
                    <a:pt x="315" y="3"/>
                  </a:lnTo>
                  <a:lnTo>
                    <a:pt x="320" y="6"/>
                  </a:lnTo>
                  <a:lnTo>
                    <a:pt x="321" y="15"/>
                  </a:lnTo>
                  <a:lnTo>
                    <a:pt x="324" y="18"/>
                  </a:lnTo>
                  <a:lnTo>
                    <a:pt x="323" y="24"/>
                  </a:lnTo>
                  <a:lnTo>
                    <a:pt x="321" y="27"/>
                  </a:lnTo>
                  <a:lnTo>
                    <a:pt x="323" y="30"/>
                  </a:lnTo>
                  <a:lnTo>
                    <a:pt x="333" y="28"/>
                  </a:lnTo>
                  <a:lnTo>
                    <a:pt x="333" y="24"/>
                  </a:lnTo>
                  <a:lnTo>
                    <a:pt x="336" y="24"/>
                  </a:lnTo>
                  <a:lnTo>
                    <a:pt x="336" y="25"/>
                  </a:lnTo>
                  <a:lnTo>
                    <a:pt x="339" y="30"/>
                  </a:lnTo>
                  <a:lnTo>
                    <a:pt x="339" y="33"/>
                  </a:lnTo>
                  <a:lnTo>
                    <a:pt x="340" y="33"/>
                  </a:lnTo>
                  <a:lnTo>
                    <a:pt x="339" y="31"/>
                  </a:lnTo>
                  <a:lnTo>
                    <a:pt x="340" y="30"/>
                  </a:lnTo>
                  <a:lnTo>
                    <a:pt x="342" y="30"/>
                  </a:lnTo>
                  <a:lnTo>
                    <a:pt x="349" y="34"/>
                  </a:lnTo>
                  <a:lnTo>
                    <a:pt x="354" y="31"/>
                  </a:lnTo>
                  <a:lnTo>
                    <a:pt x="355" y="31"/>
                  </a:lnTo>
                  <a:lnTo>
                    <a:pt x="355" y="37"/>
                  </a:lnTo>
                  <a:lnTo>
                    <a:pt x="352" y="37"/>
                  </a:lnTo>
                  <a:lnTo>
                    <a:pt x="351" y="42"/>
                  </a:lnTo>
                  <a:lnTo>
                    <a:pt x="351" y="43"/>
                  </a:lnTo>
                  <a:lnTo>
                    <a:pt x="357" y="40"/>
                  </a:lnTo>
                  <a:lnTo>
                    <a:pt x="358" y="40"/>
                  </a:lnTo>
                  <a:lnTo>
                    <a:pt x="364" y="42"/>
                  </a:lnTo>
                  <a:lnTo>
                    <a:pt x="364" y="39"/>
                  </a:lnTo>
                  <a:lnTo>
                    <a:pt x="373" y="36"/>
                  </a:lnTo>
                  <a:lnTo>
                    <a:pt x="379" y="28"/>
                  </a:lnTo>
                  <a:lnTo>
                    <a:pt x="385" y="28"/>
                  </a:lnTo>
                  <a:lnTo>
                    <a:pt x="394" y="24"/>
                  </a:lnTo>
                  <a:lnTo>
                    <a:pt x="395" y="24"/>
                  </a:lnTo>
                  <a:lnTo>
                    <a:pt x="397" y="27"/>
                  </a:lnTo>
                  <a:lnTo>
                    <a:pt x="397" y="28"/>
                  </a:lnTo>
                  <a:lnTo>
                    <a:pt x="392" y="30"/>
                  </a:lnTo>
                  <a:lnTo>
                    <a:pt x="392" y="33"/>
                  </a:lnTo>
                  <a:lnTo>
                    <a:pt x="410" y="49"/>
                  </a:lnTo>
                  <a:lnTo>
                    <a:pt x="438" y="101"/>
                  </a:lnTo>
                  <a:lnTo>
                    <a:pt x="441" y="98"/>
                  </a:lnTo>
                  <a:lnTo>
                    <a:pt x="444" y="92"/>
                  </a:lnTo>
                  <a:lnTo>
                    <a:pt x="447" y="91"/>
                  </a:lnTo>
                  <a:lnTo>
                    <a:pt x="453" y="95"/>
                  </a:lnTo>
                  <a:lnTo>
                    <a:pt x="453" y="98"/>
                  </a:lnTo>
                  <a:lnTo>
                    <a:pt x="456" y="103"/>
                  </a:lnTo>
                  <a:lnTo>
                    <a:pt x="471" y="103"/>
                  </a:lnTo>
                  <a:lnTo>
                    <a:pt x="472" y="100"/>
                  </a:lnTo>
                  <a:lnTo>
                    <a:pt x="474" y="98"/>
                  </a:lnTo>
                  <a:lnTo>
                    <a:pt x="477" y="98"/>
                  </a:lnTo>
                  <a:lnTo>
                    <a:pt x="478" y="97"/>
                  </a:lnTo>
                  <a:lnTo>
                    <a:pt x="480" y="97"/>
                  </a:lnTo>
                  <a:lnTo>
                    <a:pt x="483" y="98"/>
                  </a:lnTo>
                  <a:lnTo>
                    <a:pt x="493" y="104"/>
                  </a:lnTo>
                  <a:lnTo>
                    <a:pt x="495" y="113"/>
                  </a:lnTo>
                  <a:lnTo>
                    <a:pt x="501" y="114"/>
                  </a:lnTo>
                  <a:lnTo>
                    <a:pt x="501" y="116"/>
                  </a:lnTo>
                  <a:lnTo>
                    <a:pt x="502" y="119"/>
                  </a:lnTo>
                  <a:lnTo>
                    <a:pt x="506" y="125"/>
                  </a:lnTo>
                  <a:lnTo>
                    <a:pt x="518" y="128"/>
                  </a:lnTo>
                  <a:lnTo>
                    <a:pt x="520" y="125"/>
                  </a:lnTo>
                  <a:lnTo>
                    <a:pt x="524" y="123"/>
                  </a:lnTo>
                  <a:lnTo>
                    <a:pt x="532" y="134"/>
                  </a:lnTo>
                  <a:lnTo>
                    <a:pt x="532" y="135"/>
                  </a:lnTo>
                  <a:lnTo>
                    <a:pt x="527" y="141"/>
                  </a:lnTo>
                  <a:lnTo>
                    <a:pt x="521" y="150"/>
                  </a:lnTo>
                  <a:lnTo>
                    <a:pt x="512" y="152"/>
                  </a:lnTo>
                  <a:lnTo>
                    <a:pt x="509" y="162"/>
                  </a:lnTo>
                  <a:lnTo>
                    <a:pt x="509" y="177"/>
                  </a:lnTo>
                  <a:lnTo>
                    <a:pt x="499" y="181"/>
                  </a:lnTo>
                  <a:lnTo>
                    <a:pt x="495" y="177"/>
                  </a:lnTo>
                  <a:lnTo>
                    <a:pt x="475" y="175"/>
                  </a:lnTo>
                  <a:lnTo>
                    <a:pt x="466" y="197"/>
                  </a:lnTo>
                  <a:lnTo>
                    <a:pt x="466" y="211"/>
                  </a:lnTo>
                  <a:lnTo>
                    <a:pt x="437" y="218"/>
                  </a:lnTo>
                  <a:lnTo>
                    <a:pt x="440" y="223"/>
                  </a:lnTo>
                  <a:lnTo>
                    <a:pt x="446" y="245"/>
                  </a:lnTo>
                  <a:lnTo>
                    <a:pt x="441" y="261"/>
                  </a:lnTo>
                  <a:lnTo>
                    <a:pt x="440" y="261"/>
                  </a:lnTo>
                  <a:lnTo>
                    <a:pt x="431" y="260"/>
                  </a:lnTo>
                  <a:lnTo>
                    <a:pt x="426" y="255"/>
                  </a:lnTo>
                  <a:lnTo>
                    <a:pt x="398" y="251"/>
                  </a:lnTo>
                  <a:lnTo>
                    <a:pt x="394" y="252"/>
                  </a:lnTo>
                  <a:lnTo>
                    <a:pt x="376" y="252"/>
                  </a:lnTo>
                  <a:lnTo>
                    <a:pt x="367" y="251"/>
                  </a:lnTo>
                  <a:lnTo>
                    <a:pt x="360" y="246"/>
                  </a:lnTo>
                  <a:lnTo>
                    <a:pt x="352" y="251"/>
                  </a:lnTo>
                  <a:lnTo>
                    <a:pt x="351" y="260"/>
                  </a:lnTo>
                  <a:lnTo>
                    <a:pt x="349" y="260"/>
                  </a:lnTo>
                  <a:lnTo>
                    <a:pt x="335" y="255"/>
                  </a:lnTo>
                  <a:lnTo>
                    <a:pt x="326" y="254"/>
                  </a:lnTo>
                  <a:lnTo>
                    <a:pt x="321" y="254"/>
                  </a:lnTo>
                  <a:lnTo>
                    <a:pt x="321" y="258"/>
                  </a:lnTo>
                  <a:lnTo>
                    <a:pt x="318" y="263"/>
                  </a:lnTo>
                  <a:lnTo>
                    <a:pt x="315" y="266"/>
                  </a:lnTo>
                  <a:lnTo>
                    <a:pt x="315" y="267"/>
                  </a:lnTo>
                  <a:lnTo>
                    <a:pt x="312" y="267"/>
                  </a:lnTo>
                  <a:lnTo>
                    <a:pt x="309" y="272"/>
                  </a:lnTo>
                  <a:lnTo>
                    <a:pt x="300" y="276"/>
                  </a:lnTo>
                  <a:lnTo>
                    <a:pt x="290" y="285"/>
                  </a:lnTo>
                  <a:lnTo>
                    <a:pt x="278" y="280"/>
                  </a:lnTo>
                  <a:lnTo>
                    <a:pt x="272" y="280"/>
                  </a:lnTo>
                  <a:lnTo>
                    <a:pt x="269" y="282"/>
                  </a:lnTo>
                  <a:lnTo>
                    <a:pt x="265" y="282"/>
                  </a:lnTo>
                  <a:lnTo>
                    <a:pt x="265" y="280"/>
                  </a:lnTo>
                  <a:lnTo>
                    <a:pt x="263" y="270"/>
                  </a:lnTo>
                  <a:lnTo>
                    <a:pt x="256" y="269"/>
                  </a:lnTo>
                  <a:lnTo>
                    <a:pt x="254" y="269"/>
                  </a:lnTo>
                  <a:lnTo>
                    <a:pt x="256" y="252"/>
                  </a:lnTo>
                  <a:lnTo>
                    <a:pt x="253" y="252"/>
                  </a:lnTo>
                  <a:lnTo>
                    <a:pt x="253" y="251"/>
                  </a:lnTo>
                  <a:lnTo>
                    <a:pt x="249" y="243"/>
                  </a:lnTo>
                  <a:lnTo>
                    <a:pt x="240" y="237"/>
                  </a:lnTo>
                  <a:lnTo>
                    <a:pt x="235" y="237"/>
                  </a:lnTo>
                  <a:lnTo>
                    <a:pt x="226" y="239"/>
                  </a:lnTo>
                  <a:lnTo>
                    <a:pt x="216" y="240"/>
                  </a:lnTo>
                  <a:lnTo>
                    <a:pt x="207" y="242"/>
                  </a:lnTo>
                  <a:lnTo>
                    <a:pt x="203" y="242"/>
                  </a:lnTo>
                  <a:lnTo>
                    <a:pt x="203" y="240"/>
                  </a:lnTo>
                  <a:lnTo>
                    <a:pt x="176" y="215"/>
                  </a:lnTo>
                  <a:lnTo>
                    <a:pt x="164" y="206"/>
                  </a:lnTo>
                  <a:lnTo>
                    <a:pt x="157" y="203"/>
                  </a:lnTo>
                  <a:lnTo>
                    <a:pt x="124" y="214"/>
                  </a:lnTo>
                  <a:lnTo>
                    <a:pt x="124" y="279"/>
                  </a:lnTo>
                  <a:lnTo>
                    <a:pt x="121" y="279"/>
                  </a:lnTo>
                  <a:lnTo>
                    <a:pt x="120" y="280"/>
                  </a:lnTo>
                  <a:lnTo>
                    <a:pt x="115" y="280"/>
                  </a:lnTo>
                  <a:lnTo>
                    <a:pt x="106" y="264"/>
                  </a:lnTo>
                  <a:lnTo>
                    <a:pt x="99" y="261"/>
                  </a:lnTo>
                  <a:lnTo>
                    <a:pt x="85" y="266"/>
                  </a:lnTo>
                  <a:lnTo>
                    <a:pt x="77" y="272"/>
                  </a:lnTo>
                  <a:lnTo>
                    <a:pt x="75" y="272"/>
                  </a:lnTo>
                  <a:lnTo>
                    <a:pt x="75" y="270"/>
                  </a:lnTo>
                  <a:lnTo>
                    <a:pt x="78" y="255"/>
                  </a:lnTo>
                  <a:lnTo>
                    <a:pt x="62" y="248"/>
                  </a:lnTo>
                  <a:lnTo>
                    <a:pt x="60" y="248"/>
                  </a:lnTo>
                  <a:lnTo>
                    <a:pt x="57" y="233"/>
                  </a:lnTo>
                  <a:lnTo>
                    <a:pt x="45" y="223"/>
                  </a:lnTo>
                  <a:lnTo>
                    <a:pt x="63" y="223"/>
                  </a:lnTo>
                  <a:lnTo>
                    <a:pt x="60" y="215"/>
                  </a:lnTo>
                  <a:lnTo>
                    <a:pt x="60" y="214"/>
                  </a:lnTo>
                  <a:lnTo>
                    <a:pt x="62" y="211"/>
                  </a:lnTo>
                  <a:lnTo>
                    <a:pt x="69" y="211"/>
                  </a:lnTo>
                  <a:lnTo>
                    <a:pt x="72" y="206"/>
                  </a:lnTo>
                  <a:lnTo>
                    <a:pt x="77" y="206"/>
                  </a:lnTo>
                  <a:lnTo>
                    <a:pt x="84" y="208"/>
                  </a:lnTo>
                  <a:lnTo>
                    <a:pt x="94" y="211"/>
                  </a:lnTo>
                  <a:lnTo>
                    <a:pt x="102" y="212"/>
                  </a:lnTo>
                  <a:lnTo>
                    <a:pt x="105" y="212"/>
                  </a:lnTo>
                  <a:lnTo>
                    <a:pt x="103" y="208"/>
                  </a:lnTo>
                  <a:lnTo>
                    <a:pt x="106" y="208"/>
                  </a:lnTo>
                  <a:lnTo>
                    <a:pt x="105" y="205"/>
                  </a:lnTo>
                  <a:lnTo>
                    <a:pt x="96" y="197"/>
                  </a:lnTo>
                  <a:lnTo>
                    <a:pt x="85" y="180"/>
                  </a:lnTo>
                  <a:lnTo>
                    <a:pt x="78" y="175"/>
                  </a:lnTo>
                  <a:lnTo>
                    <a:pt x="69" y="177"/>
                  </a:lnTo>
                  <a:lnTo>
                    <a:pt x="57" y="174"/>
                  </a:lnTo>
                  <a:lnTo>
                    <a:pt x="48" y="181"/>
                  </a:lnTo>
                  <a:lnTo>
                    <a:pt x="26" y="186"/>
                  </a:lnTo>
                  <a:lnTo>
                    <a:pt x="23" y="186"/>
                  </a:lnTo>
                  <a:lnTo>
                    <a:pt x="23" y="181"/>
                  </a:lnTo>
                  <a:lnTo>
                    <a:pt x="25" y="181"/>
                  </a:lnTo>
                  <a:lnTo>
                    <a:pt x="25" y="180"/>
                  </a:lnTo>
                  <a:lnTo>
                    <a:pt x="31" y="180"/>
                  </a:lnTo>
                  <a:lnTo>
                    <a:pt x="26" y="168"/>
                  </a:lnTo>
                  <a:lnTo>
                    <a:pt x="22" y="162"/>
                  </a:lnTo>
                  <a:lnTo>
                    <a:pt x="11" y="162"/>
                  </a:lnTo>
                  <a:lnTo>
                    <a:pt x="11" y="163"/>
                  </a:lnTo>
                  <a:lnTo>
                    <a:pt x="8" y="160"/>
                  </a:lnTo>
                  <a:lnTo>
                    <a:pt x="5" y="152"/>
                  </a:lnTo>
                  <a:lnTo>
                    <a:pt x="0" y="149"/>
                  </a:lnTo>
                  <a:lnTo>
                    <a:pt x="2" y="138"/>
                  </a:lnTo>
                  <a:lnTo>
                    <a:pt x="7" y="135"/>
                  </a:lnTo>
                  <a:lnTo>
                    <a:pt x="4" y="131"/>
                  </a:lnTo>
                  <a:lnTo>
                    <a:pt x="5" y="119"/>
                  </a:lnTo>
                  <a:lnTo>
                    <a:pt x="10" y="116"/>
                  </a:lnTo>
                  <a:lnTo>
                    <a:pt x="11" y="107"/>
                  </a:lnTo>
                  <a:lnTo>
                    <a:pt x="13" y="106"/>
                  </a:lnTo>
                  <a:lnTo>
                    <a:pt x="13" y="107"/>
                  </a:lnTo>
                  <a:lnTo>
                    <a:pt x="25" y="120"/>
                  </a:lnTo>
                  <a:lnTo>
                    <a:pt x="29" y="117"/>
                  </a:lnTo>
                  <a:lnTo>
                    <a:pt x="26" y="106"/>
                  </a:lnTo>
                  <a:lnTo>
                    <a:pt x="26" y="104"/>
                  </a:lnTo>
                  <a:lnTo>
                    <a:pt x="29" y="104"/>
                  </a:lnTo>
                  <a:lnTo>
                    <a:pt x="37" y="100"/>
                  </a:lnTo>
                  <a:lnTo>
                    <a:pt x="37" y="95"/>
                  </a:lnTo>
                  <a:lnTo>
                    <a:pt x="38" y="94"/>
                  </a:lnTo>
                  <a:lnTo>
                    <a:pt x="48" y="91"/>
                  </a:lnTo>
                  <a:lnTo>
                    <a:pt x="53" y="83"/>
                  </a:lnTo>
                  <a:lnTo>
                    <a:pt x="57" y="83"/>
                  </a:lnTo>
                  <a:lnTo>
                    <a:pt x="59" y="82"/>
                  </a:lnTo>
                  <a:lnTo>
                    <a:pt x="62" y="82"/>
                  </a:lnTo>
                  <a:lnTo>
                    <a:pt x="63" y="85"/>
                  </a:lnTo>
                  <a:lnTo>
                    <a:pt x="66" y="85"/>
                  </a:lnTo>
                  <a:lnTo>
                    <a:pt x="68" y="86"/>
                  </a:lnTo>
                  <a:lnTo>
                    <a:pt x="69" y="82"/>
                  </a:lnTo>
                  <a:lnTo>
                    <a:pt x="71" y="80"/>
                  </a:lnTo>
                  <a:lnTo>
                    <a:pt x="77" y="80"/>
                  </a:lnTo>
                  <a:lnTo>
                    <a:pt x="80" y="86"/>
                  </a:lnTo>
                  <a:lnTo>
                    <a:pt x="91" y="86"/>
                  </a:lnTo>
                  <a:lnTo>
                    <a:pt x="103" y="100"/>
                  </a:lnTo>
                  <a:lnTo>
                    <a:pt x="105" y="106"/>
                  </a:lnTo>
                  <a:lnTo>
                    <a:pt x="106" y="106"/>
                  </a:lnTo>
                  <a:lnTo>
                    <a:pt x="106" y="97"/>
                  </a:lnTo>
                  <a:lnTo>
                    <a:pt x="109" y="95"/>
                  </a:lnTo>
                  <a:lnTo>
                    <a:pt x="114" y="101"/>
                  </a:lnTo>
                  <a:lnTo>
                    <a:pt x="120" y="104"/>
                  </a:lnTo>
                  <a:lnTo>
                    <a:pt x="128" y="97"/>
                  </a:lnTo>
                  <a:lnTo>
                    <a:pt x="133" y="97"/>
                  </a:lnTo>
                  <a:lnTo>
                    <a:pt x="133" y="95"/>
                  </a:lnTo>
                  <a:lnTo>
                    <a:pt x="139" y="95"/>
                  </a:lnTo>
                  <a:lnTo>
                    <a:pt x="143" y="98"/>
                  </a:lnTo>
                  <a:lnTo>
                    <a:pt x="148" y="95"/>
                  </a:lnTo>
                  <a:lnTo>
                    <a:pt x="154" y="94"/>
                  </a:lnTo>
                  <a:lnTo>
                    <a:pt x="157" y="95"/>
                  </a:lnTo>
                  <a:lnTo>
                    <a:pt x="161" y="104"/>
                  </a:lnTo>
                  <a:lnTo>
                    <a:pt x="169" y="104"/>
                  </a:lnTo>
                  <a:lnTo>
                    <a:pt x="170" y="106"/>
                  </a:lnTo>
                  <a:lnTo>
                    <a:pt x="173" y="106"/>
                  </a:lnTo>
                  <a:lnTo>
                    <a:pt x="176" y="100"/>
                  </a:lnTo>
                  <a:lnTo>
                    <a:pt x="177" y="100"/>
                  </a:lnTo>
                  <a:lnTo>
                    <a:pt x="183" y="104"/>
                  </a:lnTo>
                  <a:lnTo>
                    <a:pt x="194" y="101"/>
                  </a:lnTo>
                  <a:lnTo>
                    <a:pt x="197" y="91"/>
                  </a:lnTo>
                  <a:lnTo>
                    <a:pt x="189" y="88"/>
                  </a:lnTo>
                  <a:lnTo>
                    <a:pt x="188" y="88"/>
                  </a:lnTo>
                  <a:lnTo>
                    <a:pt x="186" y="85"/>
                  </a:lnTo>
                  <a:lnTo>
                    <a:pt x="180" y="83"/>
                  </a:lnTo>
                  <a:lnTo>
                    <a:pt x="179" y="80"/>
                  </a:lnTo>
                  <a:lnTo>
                    <a:pt x="176" y="79"/>
                  </a:lnTo>
                  <a:lnTo>
                    <a:pt x="176" y="76"/>
                  </a:lnTo>
                  <a:lnTo>
                    <a:pt x="188" y="70"/>
                  </a:lnTo>
                  <a:lnTo>
                    <a:pt x="189" y="67"/>
                  </a:lnTo>
                  <a:lnTo>
                    <a:pt x="185" y="61"/>
                  </a:lnTo>
                  <a:lnTo>
                    <a:pt x="185" y="60"/>
                  </a:lnTo>
                  <a:lnTo>
                    <a:pt x="189" y="55"/>
                  </a:lnTo>
                  <a:lnTo>
                    <a:pt x="203" y="55"/>
                  </a:lnTo>
                  <a:lnTo>
                    <a:pt x="204" y="54"/>
                  </a:lnTo>
                  <a:lnTo>
                    <a:pt x="200" y="49"/>
                  </a:lnTo>
                  <a:lnTo>
                    <a:pt x="191" y="49"/>
                  </a:lnTo>
                  <a:lnTo>
                    <a:pt x="191" y="43"/>
                  </a:lnTo>
                  <a:lnTo>
                    <a:pt x="195" y="42"/>
                  </a:lnTo>
                  <a:lnTo>
                    <a:pt x="192" y="42"/>
                  </a:lnTo>
                  <a:lnTo>
                    <a:pt x="191" y="43"/>
                  </a:lnTo>
                  <a:lnTo>
                    <a:pt x="189" y="43"/>
                  </a:lnTo>
                  <a:lnTo>
                    <a:pt x="189" y="42"/>
                  </a:lnTo>
                  <a:lnTo>
                    <a:pt x="191" y="37"/>
                  </a:lnTo>
                  <a:lnTo>
                    <a:pt x="188" y="34"/>
                  </a:lnTo>
                  <a:lnTo>
                    <a:pt x="188" y="33"/>
                  </a:lnTo>
                  <a:lnTo>
                    <a:pt x="189" y="33"/>
                  </a:lnTo>
                  <a:lnTo>
                    <a:pt x="195" y="31"/>
                  </a:lnTo>
                  <a:lnTo>
                    <a:pt x="197" y="31"/>
                  </a:lnTo>
                  <a:lnTo>
                    <a:pt x="197" y="33"/>
                  </a:lnTo>
                  <a:lnTo>
                    <a:pt x="209" y="33"/>
                  </a:lnTo>
                  <a:lnTo>
                    <a:pt x="210" y="34"/>
                  </a:lnTo>
                  <a:lnTo>
                    <a:pt x="210" y="31"/>
                  </a:lnTo>
                  <a:lnTo>
                    <a:pt x="217" y="31"/>
                  </a:lnTo>
                  <a:lnTo>
                    <a:pt x="223" y="27"/>
                  </a:lnTo>
                  <a:lnTo>
                    <a:pt x="225" y="27"/>
                  </a:lnTo>
                  <a:lnTo>
                    <a:pt x="229" y="28"/>
                  </a:lnTo>
                  <a:lnTo>
                    <a:pt x="229" y="27"/>
                  </a:lnTo>
                  <a:lnTo>
                    <a:pt x="235" y="24"/>
                  </a:lnTo>
                  <a:lnTo>
                    <a:pt x="243" y="24"/>
                  </a:lnTo>
                  <a:lnTo>
                    <a:pt x="244" y="20"/>
                  </a:lnTo>
                  <a:lnTo>
                    <a:pt x="254" y="18"/>
                  </a:lnTo>
                  <a:lnTo>
                    <a:pt x="283" y="11"/>
                  </a:lnTo>
                  <a:lnTo>
                    <a:pt x="284" y="6"/>
                  </a:lnTo>
                  <a:lnTo>
                    <a:pt x="287" y="5"/>
                  </a:lnTo>
                  <a:lnTo>
                    <a:pt x="29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4" name="Kyrgyzstan">
              <a:extLst>
                <a:ext uri="{FF2B5EF4-FFF2-40B4-BE49-F238E27FC236}">
                  <a16:creationId xmlns:a16="http://schemas.microsoft.com/office/drawing/2014/main" id="{060E763F-AC89-3E21-FF70-7BB0173CADA6}"/>
                </a:ext>
              </a:extLst>
            </p:cNvPr>
            <p:cNvSpPr>
              <a:spLocks/>
            </p:cNvSpPr>
            <p:nvPr/>
          </p:nvSpPr>
          <p:spPr bwMode="auto">
            <a:xfrm>
              <a:off x="7461234" y="3456186"/>
              <a:ext cx="262024" cy="126495"/>
            </a:xfrm>
            <a:custGeom>
              <a:avLst/>
              <a:gdLst>
                <a:gd name="T0" fmla="*/ 65 w 145"/>
                <a:gd name="T1" fmla="*/ 0 h 70"/>
                <a:gd name="T2" fmla="*/ 80 w 145"/>
                <a:gd name="T3" fmla="*/ 6 h 70"/>
                <a:gd name="T4" fmla="*/ 102 w 145"/>
                <a:gd name="T5" fmla="*/ 4 h 70"/>
                <a:gd name="T6" fmla="*/ 135 w 145"/>
                <a:gd name="T7" fmla="*/ 13 h 70"/>
                <a:gd name="T8" fmla="*/ 145 w 145"/>
                <a:gd name="T9" fmla="*/ 16 h 70"/>
                <a:gd name="T10" fmla="*/ 142 w 145"/>
                <a:gd name="T11" fmla="*/ 25 h 70"/>
                <a:gd name="T12" fmla="*/ 117 w 145"/>
                <a:gd name="T13" fmla="*/ 40 h 70"/>
                <a:gd name="T14" fmla="*/ 99 w 145"/>
                <a:gd name="T15" fmla="*/ 44 h 70"/>
                <a:gd name="T16" fmla="*/ 92 w 145"/>
                <a:gd name="T17" fmla="*/ 53 h 70"/>
                <a:gd name="T18" fmla="*/ 84 w 145"/>
                <a:gd name="T19" fmla="*/ 52 h 70"/>
                <a:gd name="T20" fmla="*/ 77 w 145"/>
                <a:gd name="T21" fmla="*/ 50 h 70"/>
                <a:gd name="T22" fmla="*/ 73 w 145"/>
                <a:gd name="T23" fmla="*/ 53 h 70"/>
                <a:gd name="T24" fmla="*/ 61 w 145"/>
                <a:gd name="T25" fmla="*/ 67 h 70"/>
                <a:gd name="T26" fmla="*/ 52 w 145"/>
                <a:gd name="T27" fmla="*/ 68 h 70"/>
                <a:gd name="T28" fmla="*/ 44 w 145"/>
                <a:gd name="T29" fmla="*/ 70 h 70"/>
                <a:gd name="T30" fmla="*/ 33 w 145"/>
                <a:gd name="T31" fmla="*/ 65 h 70"/>
                <a:gd name="T32" fmla="*/ 22 w 145"/>
                <a:gd name="T33" fmla="*/ 67 h 70"/>
                <a:gd name="T34" fmla="*/ 1 w 145"/>
                <a:gd name="T35" fmla="*/ 65 h 70"/>
                <a:gd name="T36" fmla="*/ 0 w 145"/>
                <a:gd name="T37" fmla="*/ 58 h 70"/>
                <a:gd name="T38" fmla="*/ 12 w 145"/>
                <a:gd name="T39" fmla="*/ 53 h 70"/>
                <a:gd name="T40" fmla="*/ 22 w 145"/>
                <a:gd name="T41" fmla="*/ 52 h 70"/>
                <a:gd name="T42" fmla="*/ 50 w 145"/>
                <a:gd name="T43" fmla="*/ 43 h 70"/>
                <a:gd name="T44" fmla="*/ 33 w 145"/>
                <a:gd name="T45" fmla="*/ 33 h 70"/>
                <a:gd name="T46" fmla="*/ 30 w 145"/>
                <a:gd name="T47" fmla="*/ 38 h 70"/>
                <a:gd name="T48" fmla="*/ 21 w 145"/>
                <a:gd name="T49" fmla="*/ 35 h 70"/>
                <a:gd name="T50" fmla="*/ 13 w 145"/>
                <a:gd name="T51" fmla="*/ 31 h 70"/>
                <a:gd name="T52" fmla="*/ 25 w 145"/>
                <a:gd name="T53" fmla="*/ 19 h 70"/>
                <a:gd name="T54" fmla="*/ 21 w 145"/>
                <a:gd name="T55" fmla="*/ 18 h 70"/>
                <a:gd name="T56" fmla="*/ 24 w 145"/>
                <a:gd name="T57" fmla="*/ 13 h 70"/>
                <a:gd name="T58" fmla="*/ 30 w 145"/>
                <a:gd name="T59" fmla="*/ 7 h 70"/>
                <a:gd name="T60" fmla="*/ 53 w 145"/>
                <a:gd name="T61" fmla="*/ 13 h 70"/>
                <a:gd name="T62" fmla="*/ 64 w 145"/>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5" h="70">
                  <a:moveTo>
                    <a:pt x="64" y="0"/>
                  </a:moveTo>
                  <a:lnTo>
                    <a:pt x="65" y="0"/>
                  </a:lnTo>
                  <a:lnTo>
                    <a:pt x="71" y="4"/>
                  </a:lnTo>
                  <a:lnTo>
                    <a:pt x="80" y="6"/>
                  </a:lnTo>
                  <a:lnTo>
                    <a:pt x="98" y="6"/>
                  </a:lnTo>
                  <a:lnTo>
                    <a:pt x="102" y="4"/>
                  </a:lnTo>
                  <a:lnTo>
                    <a:pt x="132" y="9"/>
                  </a:lnTo>
                  <a:lnTo>
                    <a:pt x="135" y="13"/>
                  </a:lnTo>
                  <a:lnTo>
                    <a:pt x="145" y="15"/>
                  </a:lnTo>
                  <a:lnTo>
                    <a:pt x="145" y="16"/>
                  </a:lnTo>
                  <a:lnTo>
                    <a:pt x="142" y="24"/>
                  </a:lnTo>
                  <a:lnTo>
                    <a:pt x="142" y="25"/>
                  </a:lnTo>
                  <a:lnTo>
                    <a:pt x="122" y="34"/>
                  </a:lnTo>
                  <a:lnTo>
                    <a:pt x="117" y="40"/>
                  </a:lnTo>
                  <a:lnTo>
                    <a:pt x="117" y="41"/>
                  </a:lnTo>
                  <a:lnTo>
                    <a:pt x="99" y="44"/>
                  </a:lnTo>
                  <a:lnTo>
                    <a:pt x="92" y="52"/>
                  </a:lnTo>
                  <a:lnTo>
                    <a:pt x="92" y="53"/>
                  </a:lnTo>
                  <a:lnTo>
                    <a:pt x="89" y="53"/>
                  </a:lnTo>
                  <a:lnTo>
                    <a:pt x="84" y="52"/>
                  </a:lnTo>
                  <a:lnTo>
                    <a:pt x="82" y="52"/>
                  </a:lnTo>
                  <a:lnTo>
                    <a:pt x="77" y="50"/>
                  </a:lnTo>
                  <a:lnTo>
                    <a:pt x="74" y="50"/>
                  </a:lnTo>
                  <a:lnTo>
                    <a:pt x="73" y="53"/>
                  </a:lnTo>
                  <a:lnTo>
                    <a:pt x="62" y="58"/>
                  </a:lnTo>
                  <a:lnTo>
                    <a:pt x="61" y="67"/>
                  </a:lnTo>
                  <a:lnTo>
                    <a:pt x="55" y="67"/>
                  </a:lnTo>
                  <a:lnTo>
                    <a:pt x="52" y="68"/>
                  </a:lnTo>
                  <a:lnTo>
                    <a:pt x="47" y="68"/>
                  </a:lnTo>
                  <a:lnTo>
                    <a:pt x="44" y="70"/>
                  </a:lnTo>
                  <a:lnTo>
                    <a:pt x="33" y="70"/>
                  </a:lnTo>
                  <a:lnTo>
                    <a:pt x="33" y="65"/>
                  </a:lnTo>
                  <a:lnTo>
                    <a:pt x="30" y="65"/>
                  </a:lnTo>
                  <a:lnTo>
                    <a:pt x="22" y="67"/>
                  </a:lnTo>
                  <a:lnTo>
                    <a:pt x="16" y="65"/>
                  </a:lnTo>
                  <a:lnTo>
                    <a:pt x="1" y="65"/>
                  </a:lnTo>
                  <a:lnTo>
                    <a:pt x="1" y="64"/>
                  </a:lnTo>
                  <a:lnTo>
                    <a:pt x="0" y="58"/>
                  </a:lnTo>
                  <a:lnTo>
                    <a:pt x="0" y="56"/>
                  </a:lnTo>
                  <a:lnTo>
                    <a:pt x="12" y="53"/>
                  </a:lnTo>
                  <a:lnTo>
                    <a:pt x="18" y="56"/>
                  </a:lnTo>
                  <a:lnTo>
                    <a:pt x="22" y="52"/>
                  </a:lnTo>
                  <a:lnTo>
                    <a:pt x="36" y="52"/>
                  </a:lnTo>
                  <a:lnTo>
                    <a:pt x="50" y="43"/>
                  </a:lnTo>
                  <a:lnTo>
                    <a:pt x="39" y="40"/>
                  </a:lnTo>
                  <a:lnTo>
                    <a:pt x="33" y="33"/>
                  </a:lnTo>
                  <a:lnTo>
                    <a:pt x="30" y="37"/>
                  </a:lnTo>
                  <a:lnTo>
                    <a:pt x="30" y="38"/>
                  </a:lnTo>
                  <a:lnTo>
                    <a:pt x="28" y="38"/>
                  </a:lnTo>
                  <a:lnTo>
                    <a:pt x="21" y="35"/>
                  </a:lnTo>
                  <a:lnTo>
                    <a:pt x="18" y="33"/>
                  </a:lnTo>
                  <a:lnTo>
                    <a:pt x="13" y="31"/>
                  </a:lnTo>
                  <a:lnTo>
                    <a:pt x="13" y="28"/>
                  </a:lnTo>
                  <a:lnTo>
                    <a:pt x="25" y="19"/>
                  </a:lnTo>
                  <a:lnTo>
                    <a:pt x="25" y="18"/>
                  </a:lnTo>
                  <a:lnTo>
                    <a:pt x="21" y="18"/>
                  </a:lnTo>
                  <a:lnTo>
                    <a:pt x="21" y="16"/>
                  </a:lnTo>
                  <a:lnTo>
                    <a:pt x="24" y="13"/>
                  </a:lnTo>
                  <a:lnTo>
                    <a:pt x="24" y="9"/>
                  </a:lnTo>
                  <a:lnTo>
                    <a:pt x="30" y="7"/>
                  </a:lnTo>
                  <a:lnTo>
                    <a:pt x="39" y="9"/>
                  </a:lnTo>
                  <a:lnTo>
                    <a:pt x="53" y="13"/>
                  </a:lnTo>
                  <a:lnTo>
                    <a:pt x="56" y="4"/>
                  </a:lnTo>
                  <a:lnTo>
                    <a:pt x="6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5" name="Tajikistan">
              <a:extLst>
                <a:ext uri="{FF2B5EF4-FFF2-40B4-BE49-F238E27FC236}">
                  <a16:creationId xmlns:a16="http://schemas.microsoft.com/office/drawing/2014/main" id="{52676BE2-0F06-F81E-7645-16E4A5D09468}"/>
                </a:ext>
              </a:extLst>
            </p:cNvPr>
            <p:cNvSpPr>
              <a:spLocks/>
            </p:cNvSpPr>
            <p:nvPr/>
          </p:nvSpPr>
          <p:spPr bwMode="auto">
            <a:xfrm>
              <a:off x="7417865" y="3524853"/>
              <a:ext cx="180706" cy="137337"/>
            </a:xfrm>
            <a:custGeom>
              <a:avLst/>
              <a:gdLst>
                <a:gd name="T0" fmla="*/ 43 w 100"/>
                <a:gd name="T1" fmla="*/ 0 h 76"/>
                <a:gd name="T2" fmla="*/ 40 w 100"/>
                <a:gd name="T3" fmla="*/ 9 h 76"/>
                <a:gd name="T4" fmla="*/ 48 w 100"/>
                <a:gd name="T5" fmla="*/ 14 h 76"/>
                <a:gd name="T6" fmla="*/ 42 w 100"/>
                <a:gd name="T7" fmla="*/ 20 h 76"/>
                <a:gd name="T8" fmla="*/ 25 w 100"/>
                <a:gd name="T9" fmla="*/ 20 h 76"/>
                <a:gd name="T10" fmla="*/ 42 w 100"/>
                <a:gd name="T11" fmla="*/ 26 h 76"/>
                <a:gd name="T12" fmla="*/ 54 w 100"/>
                <a:gd name="T13" fmla="*/ 26 h 76"/>
                <a:gd name="T14" fmla="*/ 58 w 100"/>
                <a:gd name="T15" fmla="*/ 30 h 76"/>
                <a:gd name="T16" fmla="*/ 71 w 100"/>
                <a:gd name="T17" fmla="*/ 29 h 76"/>
                <a:gd name="T18" fmla="*/ 79 w 100"/>
                <a:gd name="T19" fmla="*/ 27 h 76"/>
                <a:gd name="T20" fmla="*/ 85 w 100"/>
                <a:gd name="T21" fmla="*/ 29 h 76"/>
                <a:gd name="T22" fmla="*/ 85 w 100"/>
                <a:gd name="T23" fmla="*/ 45 h 76"/>
                <a:gd name="T24" fmla="*/ 97 w 100"/>
                <a:gd name="T25" fmla="*/ 46 h 76"/>
                <a:gd name="T26" fmla="*/ 100 w 100"/>
                <a:gd name="T27" fmla="*/ 67 h 76"/>
                <a:gd name="T28" fmla="*/ 95 w 100"/>
                <a:gd name="T29" fmla="*/ 66 h 76"/>
                <a:gd name="T30" fmla="*/ 83 w 100"/>
                <a:gd name="T31" fmla="*/ 67 h 76"/>
                <a:gd name="T32" fmla="*/ 79 w 100"/>
                <a:gd name="T33" fmla="*/ 63 h 76"/>
                <a:gd name="T34" fmla="*/ 51 w 100"/>
                <a:gd name="T35" fmla="*/ 69 h 76"/>
                <a:gd name="T36" fmla="*/ 49 w 100"/>
                <a:gd name="T37" fmla="*/ 54 h 76"/>
                <a:gd name="T38" fmla="*/ 45 w 100"/>
                <a:gd name="T39" fmla="*/ 46 h 76"/>
                <a:gd name="T40" fmla="*/ 37 w 100"/>
                <a:gd name="T41" fmla="*/ 58 h 76"/>
                <a:gd name="T42" fmla="*/ 27 w 100"/>
                <a:gd name="T43" fmla="*/ 60 h 76"/>
                <a:gd name="T44" fmla="*/ 24 w 100"/>
                <a:gd name="T45" fmla="*/ 69 h 76"/>
                <a:gd name="T46" fmla="*/ 9 w 100"/>
                <a:gd name="T47" fmla="*/ 72 h 76"/>
                <a:gd name="T48" fmla="*/ 2 w 100"/>
                <a:gd name="T49" fmla="*/ 66 h 76"/>
                <a:gd name="T50" fmla="*/ 12 w 100"/>
                <a:gd name="T51" fmla="*/ 49 h 76"/>
                <a:gd name="T52" fmla="*/ 9 w 100"/>
                <a:gd name="T53" fmla="*/ 36 h 76"/>
                <a:gd name="T54" fmla="*/ 0 w 100"/>
                <a:gd name="T55" fmla="*/ 30 h 76"/>
                <a:gd name="T56" fmla="*/ 3 w 100"/>
                <a:gd name="T57" fmla="*/ 26 h 76"/>
                <a:gd name="T58" fmla="*/ 18 w 100"/>
                <a:gd name="T59" fmla="*/ 18 h 76"/>
                <a:gd name="T60" fmla="*/ 24 w 100"/>
                <a:gd name="T61" fmla="*/ 15 h 76"/>
                <a:gd name="T62" fmla="*/ 25 w 100"/>
                <a:gd name="T63" fmla="*/ 6 h 76"/>
                <a:gd name="T64" fmla="*/ 40 w 100"/>
                <a:gd name="T6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76">
                  <a:moveTo>
                    <a:pt x="40" y="0"/>
                  </a:moveTo>
                  <a:lnTo>
                    <a:pt x="43" y="0"/>
                  </a:lnTo>
                  <a:lnTo>
                    <a:pt x="45" y="6"/>
                  </a:lnTo>
                  <a:lnTo>
                    <a:pt x="40" y="9"/>
                  </a:lnTo>
                  <a:lnTo>
                    <a:pt x="42" y="14"/>
                  </a:lnTo>
                  <a:lnTo>
                    <a:pt x="48" y="14"/>
                  </a:lnTo>
                  <a:lnTo>
                    <a:pt x="48" y="15"/>
                  </a:lnTo>
                  <a:lnTo>
                    <a:pt x="42" y="20"/>
                  </a:lnTo>
                  <a:lnTo>
                    <a:pt x="36" y="17"/>
                  </a:lnTo>
                  <a:lnTo>
                    <a:pt x="25" y="20"/>
                  </a:lnTo>
                  <a:lnTo>
                    <a:pt x="27" y="26"/>
                  </a:lnTo>
                  <a:lnTo>
                    <a:pt x="42" y="26"/>
                  </a:lnTo>
                  <a:lnTo>
                    <a:pt x="46" y="27"/>
                  </a:lnTo>
                  <a:lnTo>
                    <a:pt x="54" y="26"/>
                  </a:lnTo>
                  <a:lnTo>
                    <a:pt x="58" y="27"/>
                  </a:lnTo>
                  <a:lnTo>
                    <a:pt x="58" y="30"/>
                  </a:lnTo>
                  <a:lnTo>
                    <a:pt x="68" y="30"/>
                  </a:lnTo>
                  <a:lnTo>
                    <a:pt x="71" y="29"/>
                  </a:lnTo>
                  <a:lnTo>
                    <a:pt x="76" y="29"/>
                  </a:lnTo>
                  <a:lnTo>
                    <a:pt x="79" y="27"/>
                  </a:lnTo>
                  <a:lnTo>
                    <a:pt x="85" y="27"/>
                  </a:lnTo>
                  <a:lnTo>
                    <a:pt x="85" y="29"/>
                  </a:lnTo>
                  <a:lnTo>
                    <a:pt x="82" y="39"/>
                  </a:lnTo>
                  <a:lnTo>
                    <a:pt x="85" y="45"/>
                  </a:lnTo>
                  <a:lnTo>
                    <a:pt x="95" y="45"/>
                  </a:lnTo>
                  <a:lnTo>
                    <a:pt x="97" y="46"/>
                  </a:lnTo>
                  <a:lnTo>
                    <a:pt x="100" y="66"/>
                  </a:lnTo>
                  <a:lnTo>
                    <a:pt x="100" y="67"/>
                  </a:lnTo>
                  <a:lnTo>
                    <a:pt x="95" y="67"/>
                  </a:lnTo>
                  <a:lnTo>
                    <a:pt x="95" y="66"/>
                  </a:lnTo>
                  <a:lnTo>
                    <a:pt x="92" y="66"/>
                  </a:lnTo>
                  <a:lnTo>
                    <a:pt x="83" y="67"/>
                  </a:lnTo>
                  <a:lnTo>
                    <a:pt x="82" y="64"/>
                  </a:lnTo>
                  <a:lnTo>
                    <a:pt x="79" y="63"/>
                  </a:lnTo>
                  <a:lnTo>
                    <a:pt x="55" y="76"/>
                  </a:lnTo>
                  <a:lnTo>
                    <a:pt x="51" y="69"/>
                  </a:lnTo>
                  <a:lnTo>
                    <a:pt x="52" y="57"/>
                  </a:lnTo>
                  <a:lnTo>
                    <a:pt x="49" y="54"/>
                  </a:lnTo>
                  <a:lnTo>
                    <a:pt x="49" y="49"/>
                  </a:lnTo>
                  <a:lnTo>
                    <a:pt x="45" y="46"/>
                  </a:lnTo>
                  <a:lnTo>
                    <a:pt x="37" y="55"/>
                  </a:lnTo>
                  <a:lnTo>
                    <a:pt x="37" y="58"/>
                  </a:lnTo>
                  <a:lnTo>
                    <a:pt x="36" y="63"/>
                  </a:lnTo>
                  <a:lnTo>
                    <a:pt x="27" y="60"/>
                  </a:lnTo>
                  <a:lnTo>
                    <a:pt x="25" y="69"/>
                  </a:lnTo>
                  <a:lnTo>
                    <a:pt x="24" y="69"/>
                  </a:lnTo>
                  <a:lnTo>
                    <a:pt x="20" y="66"/>
                  </a:lnTo>
                  <a:lnTo>
                    <a:pt x="9" y="72"/>
                  </a:lnTo>
                  <a:lnTo>
                    <a:pt x="8" y="72"/>
                  </a:lnTo>
                  <a:lnTo>
                    <a:pt x="2" y="66"/>
                  </a:lnTo>
                  <a:lnTo>
                    <a:pt x="6" y="58"/>
                  </a:lnTo>
                  <a:lnTo>
                    <a:pt x="12" y="49"/>
                  </a:lnTo>
                  <a:lnTo>
                    <a:pt x="8" y="42"/>
                  </a:lnTo>
                  <a:lnTo>
                    <a:pt x="9" y="36"/>
                  </a:lnTo>
                  <a:lnTo>
                    <a:pt x="5" y="35"/>
                  </a:lnTo>
                  <a:lnTo>
                    <a:pt x="0" y="30"/>
                  </a:lnTo>
                  <a:lnTo>
                    <a:pt x="2" y="26"/>
                  </a:lnTo>
                  <a:lnTo>
                    <a:pt x="3" y="26"/>
                  </a:lnTo>
                  <a:lnTo>
                    <a:pt x="15" y="24"/>
                  </a:lnTo>
                  <a:lnTo>
                    <a:pt x="18" y="18"/>
                  </a:lnTo>
                  <a:lnTo>
                    <a:pt x="18" y="17"/>
                  </a:lnTo>
                  <a:lnTo>
                    <a:pt x="24" y="15"/>
                  </a:lnTo>
                  <a:lnTo>
                    <a:pt x="24" y="9"/>
                  </a:lnTo>
                  <a:lnTo>
                    <a:pt x="25" y="6"/>
                  </a:lnTo>
                  <a:lnTo>
                    <a:pt x="31" y="6"/>
                  </a:lnTo>
                  <a:lnTo>
                    <a:pt x="4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6" name="Israel">
              <a:extLst>
                <a:ext uri="{FF2B5EF4-FFF2-40B4-BE49-F238E27FC236}">
                  <a16:creationId xmlns:a16="http://schemas.microsoft.com/office/drawing/2014/main" id="{801A8392-1F6B-4A50-5659-E104DB8C0F28}"/>
                </a:ext>
              </a:extLst>
            </p:cNvPr>
            <p:cNvSpPr>
              <a:spLocks/>
            </p:cNvSpPr>
            <p:nvPr/>
          </p:nvSpPr>
          <p:spPr bwMode="auto">
            <a:xfrm>
              <a:off x="6629987" y="3757965"/>
              <a:ext cx="36141" cy="110231"/>
            </a:xfrm>
            <a:custGeom>
              <a:avLst/>
              <a:gdLst>
                <a:gd name="T0" fmla="*/ 18 w 20"/>
                <a:gd name="T1" fmla="*/ 0 h 61"/>
                <a:gd name="T2" fmla="*/ 20 w 20"/>
                <a:gd name="T3" fmla="*/ 0 h 61"/>
                <a:gd name="T4" fmla="*/ 20 w 20"/>
                <a:gd name="T5" fmla="*/ 15 h 61"/>
                <a:gd name="T6" fmla="*/ 18 w 20"/>
                <a:gd name="T7" fmla="*/ 15 h 61"/>
                <a:gd name="T8" fmla="*/ 14 w 20"/>
                <a:gd name="T9" fmla="*/ 12 h 61"/>
                <a:gd name="T10" fmla="*/ 11 w 20"/>
                <a:gd name="T11" fmla="*/ 17 h 61"/>
                <a:gd name="T12" fmla="*/ 11 w 20"/>
                <a:gd name="T13" fmla="*/ 23 h 61"/>
                <a:gd name="T14" fmla="*/ 15 w 20"/>
                <a:gd name="T15" fmla="*/ 23 h 61"/>
                <a:gd name="T16" fmla="*/ 15 w 20"/>
                <a:gd name="T17" fmla="*/ 24 h 61"/>
                <a:gd name="T18" fmla="*/ 14 w 20"/>
                <a:gd name="T19" fmla="*/ 24 h 61"/>
                <a:gd name="T20" fmla="*/ 11 w 20"/>
                <a:gd name="T21" fmla="*/ 29 h 61"/>
                <a:gd name="T22" fmla="*/ 18 w 20"/>
                <a:gd name="T23" fmla="*/ 29 h 61"/>
                <a:gd name="T24" fmla="*/ 12 w 20"/>
                <a:gd name="T25" fmla="*/ 60 h 61"/>
                <a:gd name="T26" fmla="*/ 11 w 20"/>
                <a:gd name="T27" fmla="*/ 61 h 61"/>
                <a:gd name="T28" fmla="*/ 9 w 20"/>
                <a:gd name="T29" fmla="*/ 61 h 61"/>
                <a:gd name="T30" fmla="*/ 0 w 20"/>
                <a:gd name="T31" fmla="*/ 32 h 61"/>
                <a:gd name="T32" fmla="*/ 5 w 20"/>
                <a:gd name="T33" fmla="*/ 24 h 61"/>
                <a:gd name="T34" fmla="*/ 11 w 20"/>
                <a:gd name="T35" fmla="*/ 2 h 61"/>
                <a:gd name="T36" fmla="*/ 15 w 20"/>
                <a:gd name="T37" fmla="*/ 2 h 61"/>
                <a:gd name="T38" fmla="*/ 17 w 20"/>
                <a:gd name="T39" fmla="*/ 3 h 61"/>
                <a:gd name="T40" fmla="*/ 18 w 20"/>
                <a:gd name="T4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61">
                  <a:moveTo>
                    <a:pt x="18" y="0"/>
                  </a:moveTo>
                  <a:lnTo>
                    <a:pt x="20" y="0"/>
                  </a:lnTo>
                  <a:lnTo>
                    <a:pt x="20" y="15"/>
                  </a:lnTo>
                  <a:lnTo>
                    <a:pt x="18" y="15"/>
                  </a:lnTo>
                  <a:lnTo>
                    <a:pt x="14" y="12"/>
                  </a:lnTo>
                  <a:lnTo>
                    <a:pt x="11" y="17"/>
                  </a:lnTo>
                  <a:lnTo>
                    <a:pt x="11" y="23"/>
                  </a:lnTo>
                  <a:lnTo>
                    <a:pt x="15" y="23"/>
                  </a:lnTo>
                  <a:lnTo>
                    <a:pt x="15" y="24"/>
                  </a:lnTo>
                  <a:lnTo>
                    <a:pt x="14" y="24"/>
                  </a:lnTo>
                  <a:lnTo>
                    <a:pt x="11" y="29"/>
                  </a:lnTo>
                  <a:lnTo>
                    <a:pt x="18" y="29"/>
                  </a:lnTo>
                  <a:lnTo>
                    <a:pt x="12" y="60"/>
                  </a:lnTo>
                  <a:lnTo>
                    <a:pt x="11" y="61"/>
                  </a:lnTo>
                  <a:lnTo>
                    <a:pt x="9" y="61"/>
                  </a:lnTo>
                  <a:lnTo>
                    <a:pt x="0" y="32"/>
                  </a:lnTo>
                  <a:lnTo>
                    <a:pt x="5" y="24"/>
                  </a:lnTo>
                  <a:lnTo>
                    <a:pt x="11" y="2"/>
                  </a:lnTo>
                  <a:lnTo>
                    <a:pt x="15" y="2"/>
                  </a:lnTo>
                  <a:lnTo>
                    <a:pt x="17" y="3"/>
                  </a:lnTo>
                  <a:lnTo>
                    <a:pt x="1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7" name="Lebanon">
              <a:extLst>
                <a:ext uri="{FF2B5EF4-FFF2-40B4-BE49-F238E27FC236}">
                  <a16:creationId xmlns:a16="http://schemas.microsoft.com/office/drawing/2014/main" id="{ED80B75B-B66E-7EFA-2F3C-5AC4CC46AB2C}"/>
                </a:ext>
              </a:extLst>
            </p:cNvPr>
            <p:cNvSpPr>
              <a:spLocks/>
            </p:cNvSpPr>
            <p:nvPr/>
          </p:nvSpPr>
          <p:spPr bwMode="auto">
            <a:xfrm>
              <a:off x="6649864" y="3716402"/>
              <a:ext cx="43369" cy="50598"/>
            </a:xfrm>
            <a:custGeom>
              <a:avLst/>
              <a:gdLst>
                <a:gd name="T0" fmla="*/ 13 w 24"/>
                <a:gd name="T1" fmla="*/ 0 h 28"/>
                <a:gd name="T2" fmla="*/ 22 w 24"/>
                <a:gd name="T3" fmla="*/ 0 h 28"/>
                <a:gd name="T4" fmla="*/ 22 w 24"/>
                <a:gd name="T5" fmla="*/ 1 h 28"/>
                <a:gd name="T6" fmla="*/ 21 w 24"/>
                <a:gd name="T7" fmla="*/ 3 h 28"/>
                <a:gd name="T8" fmla="*/ 24 w 24"/>
                <a:gd name="T9" fmla="*/ 9 h 28"/>
                <a:gd name="T10" fmla="*/ 19 w 24"/>
                <a:gd name="T11" fmla="*/ 13 h 28"/>
                <a:gd name="T12" fmla="*/ 21 w 24"/>
                <a:gd name="T13" fmla="*/ 13 h 28"/>
                <a:gd name="T14" fmla="*/ 21 w 24"/>
                <a:gd name="T15" fmla="*/ 15 h 28"/>
                <a:gd name="T16" fmla="*/ 19 w 24"/>
                <a:gd name="T17" fmla="*/ 15 h 28"/>
                <a:gd name="T18" fmla="*/ 16 w 24"/>
                <a:gd name="T19" fmla="*/ 16 h 28"/>
                <a:gd name="T20" fmla="*/ 16 w 24"/>
                <a:gd name="T21" fmla="*/ 19 h 28"/>
                <a:gd name="T22" fmla="*/ 15 w 24"/>
                <a:gd name="T23" fmla="*/ 19 h 28"/>
                <a:gd name="T24" fmla="*/ 15 w 24"/>
                <a:gd name="T25" fmla="*/ 20 h 28"/>
                <a:gd name="T26" fmla="*/ 9 w 24"/>
                <a:gd name="T27" fmla="*/ 25 h 28"/>
                <a:gd name="T28" fmla="*/ 7 w 24"/>
                <a:gd name="T29" fmla="*/ 26 h 28"/>
                <a:gd name="T30" fmla="*/ 7 w 24"/>
                <a:gd name="T31" fmla="*/ 28 h 28"/>
                <a:gd name="T32" fmla="*/ 1 w 24"/>
                <a:gd name="T33" fmla="*/ 26 h 28"/>
                <a:gd name="T34" fmla="*/ 0 w 24"/>
                <a:gd name="T35" fmla="*/ 26 h 28"/>
                <a:gd name="T36" fmla="*/ 0 w 24"/>
                <a:gd name="T37" fmla="*/ 25 h 28"/>
                <a:gd name="T38" fmla="*/ 13 w 24"/>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8">
                  <a:moveTo>
                    <a:pt x="13" y="0"/>
                  </a:moveTo>
                  <a:lnTo>
                    <a:pt x="22" y="0"/>
                  </a:lnTo>
                  <a:lnTo>
                    <a:pt x="22" y="1"/>
                  </a:lnTo>
                  <a:lnTo>
                    <a:pt x="21" y="3"/>
                  </a:lnTo>
                  <a:lnTo>
                    <a:pt x="24" y="9"/>
                  </a:lnTo>
                  <a:lnTo>
                    <a:pt x="19" y="13"/>
                  </a:lnTo>
                  <a:lnTo>
                    <a:pt x="21" y="13"/>
                  </a:lnTo>
                  <a:lnTo>
                    <a:pt x="21" y="15"/>
                  </a:lnTo>
                  <a:lnTo>
                    <a:pt x="19" y="15"/>
                  </a:lnTo>
                  <a:lnTo>
                    <a:pt x="16" y="16"/>
                  </a:lnTo>
                  <a:lnTo>
                    <a:pt x="16" y="19"/>
                  </a:lnTo>
                  <a:lnTo>
                    <a:pt x="15" y="19"/>
                  </a:lnTo>
                  <a:lnTo>
                    <a:pt x="15" y="20"/>
                  </a:lnTo>
                  <a:lnTo>
                    <a:pt x="9" y="25"/>
                  </a:lnTo>
                  <a:lnTo>
                    <a:pt x="7" y="26"/>
                  </a:lnTo>
                  <a:lnTo>
                    <a:pt x="7" y="28"/>
                  </a:lnTo>
                  <a:lnTo>
                    <a:pt x="1" y="26"/>
                  </a:lnTo>
                  <a:lnTo>
                    <a:pt x="0" y="26"/>
                  </a:lnTo>
                  <a:lnTo>
                    <a:pt x="0" y="25"/>
                  </a:lnTo>
                  <a:lnTo>
                    <a:pt x="1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8" name="Pakistan">
              <a:extLst>
                <a:ext uri="{FF2B5EF4-FFF2-40B4-BE49-F238E27FC236}">
                  <a16:creationId xmlns:a16="http://schemas.microsoft.com/office/drawing/2014/main" id="{900F0659-82F2-00CA-8FC6-CF4A6DD4BF94}"/>
                </a:ext>
              </a:extLst>
            </p:cNvPr>
            <p:cNvSpPr>
              <a:spLocks/>
            </p:cNvSpPr>
            <p:nvPr/>
          </p:nvSpPr>
          <p:spPr bwMode="auto">
            <a:xfrm>
              <a:off x="7260651" y="3649541"/>
              <a:ext cx="399361" cy="363221"/>
            </a:xfrm>
            <a:custGeom>
              <a:avLst/>
              <a:gdLst>
                <a:gd name="T0" fmla="*/ 191 w 221"/>
                <a:gd name="T1" fmla="*/ 3 h 201"/>
                <a:gd name="T2" fmla="*/ 198 w 221"/>
                <a:gd name="T3" fmla="*/ 10 h 201"/>
                <a:gd name="T4" fmla="*/ 201 w 221"/>
                <a:gd name="T5" fmla="*/ 19 h 201"/>
                <a:gd name="T6" fmla="*/ 219 w 221"/>
                <a:gd name="T7" fmla="*/ 26 h 201"/>
                <a:gd name="T8" fmla="*/ 210 w 221"/>
                <a:gd name="T9" fmla="*/ 38 h 201"/>
                <a:gd name="T10" fmla="*/ 176 w 221"/>
                <a:gd name="T11" fmla="*/ 37 h 201"/>
                <a:gd name="T12" fmla="*/ 172 w 221"/>
                <a:gd name="T13" fmla="*/ 44 h 201"/>
                <a:gd name="T14" fmla="*/ 176 w 221"/>
                <a:gd name="T15" fmla="*/ 49 h 201"/>
                <a:gd name="T16" fmla="*/ 176 w 221"/>
                <a:gd name="T17" fmla="*/ 56 h 201"/>
                <a:gd name="T18" fmla="*/ 176 w 221"/>
                <a:gd name="T19" fmla="*/ 66 h 201"/>
                <a:gd name="T20" fmla="*/ 190 w 221"/>
                <a:gd name="T21" fmla="*/ 72 h 201"/>
                <a:gd name="T22" fmla="*/ 191 w 221"/>
                <a:gd name="T23" fmla="*/ 78 h 201"/>
                <a:gd name="T24" fmla="*/ 182 w 221"/>
                <a:gd name="T25" fmla="*/ 89 h 201"/>
                <a:gd name="T26" fmla="*/ 184 w 221"/>
                <a:gd name="T27" fmla="*/ 95 h 201"/>
                <a:gd name="T28" fmla="*/ 184 w 221"/>
                <a:gd name="T29" fmla="*/ 96 h 201"/>
                <a:gd name="T30" fmla="*/ 170 w 221"/>
                <a:gd name="T31" fmla="*/ 111 h 201"/>
                <a:gd name="T32" fmla="*/ 151 w 221"/>
                <a:gd name="T33" fmla="*/ 132 h 201"/>
                <a:gd name="T34" fmla="*/ 126 w 221"/>
                <a:gd name="T35" fmla="*/ 141 h 201"/>
                <a:gd name="T36" fmla="*/ 123 w 221"/>
                <a:gd name="T37" fmla="*/ 163 h 201"/>
                <a:gd name="T38" fmla="*/ 129 w 221"/>
                <a:gd name="T39" fmla="*/ 175 h 201"/>
                <a:gd name="T40" fmla="*/ 130 w 221"/>
                <a:gd name="T41" fmla="*/ 195 h 201"/>
                <a:gd name="T42" fmla="*/ 121 w 221"/>
                <a:gd name="T43" fmla="*/ 197 h 201"/>
                <a:gd name="T44" fmla="*/ 105 w 221"/>
                <a:gd name="T45" fmla="*/ 200 h 201"/>
                <a:gd name="T46" fmla="*/ 93 w 221"/>
                <a:gd name="T47" fmla="*/ 201 h 201"/>
                <a:gd name="T48" fmla="*/ 78 w 221"/>
                <a:gd name="T49" fmla="*/ 186 h 201"/>
                <a:gd name="T50" fmla="*/ 52 w 221"/>
                <a:gd name="T51" fmla="*/ 179 h 201"/>
                <a:gd name="T52" fmla="*/ 43 w 221"/>
                <a:gd name="T53" fmla="*/ 179 h 201"/>
                <a:gd name="T54" fmla="*/ 12 w 221"/>
                <a:gd name="T55" fmla="*/ 183 h 201"/>
                <a:gd name="T56" fmla="*/ 19 w 221"/>
                <a:gd name="T57" fmla="*/ 163 h 201"/>
                <a:gd name="T58" fmla="*/ 26 w 221"/>
                <a:gd name="T59" fmla="*/ 151 h 201"/>
                <a:gd name="T60" fmla="*/ 10 w 221"/>
                <a:gd name="T61" fmla="*/ 130 h 201"/>
                <a:gd name="T62" fmla="*/ 1 w 221"/>
                <a:gd name="T63" fmla="*/ 112 h 201"/>
                <a:gd name="T64" fmla="*/ 43 w 221"/>
                <a:gd name="T65" fmla="*/ 118 h 201"/>
                <a:gd name="T66" fmla="*/ 53 w 221"/>
                <a:gd name="T67" fmla="*/ 117 h 201"/>
                <a:gd name="T68" fmla="*/ 72 w 221"/>
                <a:gd name="T69" fmla="*/ 111 h 201"/>
                <a:gd name="T70" fmla="*/ 90 w 221"/>
                <a:gd name="T71" fmla="*/ 90 h 201"/>
                <a:gd name="T72" fmla="*/ 102 w 221"/>
                <a:gd name="T73" fmla="*/ 83 h 201"/>
                <a:gd name="T74" fmla="*/ 109 w 221"/>
                <a:gd name="T75" fmla="*/ 75 h 201"/>
                <a:gd name="T76" fmla="*/ 124 w 221"/>
                <a:gd name="T77" fmla="*/ 59 h 201"/>
                <a:gd name="T78" fmla="*/ 135 w 221"/>
                <a:gd name="T79" fmla="*/ 44 h 201"/>
                <a:gd name="T80" fmla="*/ 141 w 221"/>
                <a:gd name="T81" fmla="*/ 31 h 201"/>
                <a:gd name="T82" fmla="*/ 136 w 221"/>
                <a:gd name="T83" fmla="*/ 16 h 201"/>
                <a:gd name="T84" fmla="*/ 169 w 221"/>
                <a:gd name="T85"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01">
                  <a:moveTo>
                    <a:pt x="181" y="0"/>
                  </a:moveTo>
                  <a:lnTo>
                    <a:pt x="191" y="1"/>
                  </a:lnTo>
                  <a:lnTo>
                    <a:pt x="191" y="3"/>
                  </a:lnTo>
                  <a:lnTo>
                    <a:pt x="193" y="6"/>
                  </a:lnTo>
                  <a:lnTo>
                    <a:pt x="197" y="6"/>
                  </a:lnTo>
                  <a:lnTo>
                    <a:pt x="198" y="10"/>
                  </a:lnTo>
                  <a:lnTo>
                    <a:pt x="200" y="10"/>
                  </a:lnTo>
                  <a:lnTo>
                    <a:pt x="198" y="16"/>
                  </a:lnTo>
                  <a:lnTo>
                    <a:pt x="201" y="19"/>
                  </a:lnTo>
                  <a:lnTo>
                    <a:pt x="206" y="19"/>
                  </a:lnTo>
                  <a:lnTo>
                    <a:pt x="209" y="22"/>
                  </a:lnTo>
                  <a:lnTo>
                    <a:pt x="219" y="26"/>
                  </a:lnTo>
                  <a:lnTo>
                    <a:pt x="221" y="26"/>
                  </a:lnTo>
                  <a:lnTo>
                    <a:pt x="212" y="32"/>
                  </a:lnTo>
                  <a:lnTo>
                    <a:pt x="210" y="38"/>
                  </a:lnTo>
                  <a:lnTo>
                    <a:pt x="204" y="38"/>
                  </a:lnTo>
                  <a:lnTo>
                    <a:pt x="193" y="41"/>
                  </a:lnTo>
                  <a:lnTo>
                    <a:pt x="176" y="37"/>
                  </a:lnTo>
                  <a:lnTo>
                    <a:pt x="172" y="38"/>
                  </a:lnTo>
                  <a:lnTo>
                    <a:pt x="170" y="43"/>
                  </a:lnTo>
                  <a:lnTo>
                    <a:pt x="172" y="44"/>
                  </a:lnTo>
                  <a:lnTo>
                    <a:pt x="173" y="44"/>
                  </a:lnTo>
                  <a:lnTo>
                    <a:pt x="172" y="47"/>
                  </a:lnTo>
                  <a:lnTo>
                    <a:pt x="176" y="49"/>
                  </a:lnTo>
                  <a:lnTo>
                    <a:pt x="176" y="50"/>
                  </a:lnTo>
                  <a:lnTo>
                    <a:pt x="173" y="53"/>
                  </a:lnTo>
                  <a:lnTo>
                    <a:pt x="176" y="56"/>
                  </a:lnTo>
                  <a:lnTo>
                    <a:pt x="176" y="57"/>
                  </a:lnTo>
                  <a:lnTo>
                    <a:pt x="172" y="62"/>
                  </a:lnTo>
                  <a:lnTo>
                    <a:pt x="176" y="66"/>
                  </a:lnTo>
                  <a:lnTo>
                    <a:pt x="182" y="68"/>
                  </a:lnTo>
                  <a:lnTo>
                    <a:pt x="182" y="72"/>
                  </a:lnTo>
                  <a:lnTo>
                    <a:pt x="190" y="72"/>
                  </a:lnTo>
                  <a:lnTo>
                    <a:pt x="190" y="74"/>
                  </a:lnTo>
                  <a:lnTo>
                    <a:pt x="191" y="77"/>
                  </a:lnTo>
                  <a:lnTo>
                    <a:pt x="191" y="78"/>
                  </a:lnTo>
                  <a:lnTo>
                    <a:pt x="182" y="83"/>
                  </a:lnTo>
                  <a:lnTo>
                    <a:pt x="181" y="86"/>
                  </a:lnTo>
                  <a:lnTo>
                    <a:pt x="182" y="89"/>
                  </a:lnTo>
                  <a:lnTo>
                    <a:pt x="182" y="90"/>
                  </a:lnTo>
                  <a:lnTo>
                    <a:pt x="181" y="93"/>
                  </a:lnTo>
                  <a:lnTo>
                    <a:pt x="184" y="95"/>
                  </a:lnTo>
                  <a:lnTo>
                    <a:pt x="185" y="95"/>
                  </a:lnTo>
                  <a:lnTo>
                    <a:pt x="185" y="96"/>
                  </a:lnTo>
                  <a:lnTo>
                    <a:pt x="184" y="96"/>
                  </a:lnTo>
                  <a:lnTo>
                    <a:pt x="176" y="99"/>
                  </a:lnTo>
                  <a:lnTo>
                    <a:pt x="172" y="106"/>
                  </a:lnTo>
                  <a:lnTo>
                    <a:pt x="170" y="111"/>
                  </a:lnTo>
                  <a:lnTo>
                    <a:pt x="164" y="114"/>
                  </a:lnTo>
                  <a:lnTo>
                    <a:pt x="158" y="126"/>
                  </a:lnTo>
                  <a:lnTo>
                    <a:pt x="151" y="132"/>
                  </a:lnTo>
                  <a:lnTo>
                    <a:pt x="145" y="142"/>
                  </a:lnTo>
                  <a:lnTo>
                    <a:pt x="132" y="145"/>
                  </a:lnTo>
                  <a:lnTo>
                    <a:pt x="126" y="141"/>
                  </a:lnTo>
                  <a:lnTo>
                    <a:pt x="115" y="155"/>
                  </a:lnTo>
                  <a:lnTo>
                    <a:pt x="114" y="160"/>
                  </a:lnTo>
                  <a:lnTo>
                    <a:pt x="123" y="163"/>
                  </a:lnTo>
                  <a:lnTo>
                    <a:pt x="124" y="163"/>
                  </a:lnTo>
                  <a:lnTo>
                    <a:pt x="123" y="172"/>
                  </a:lnTo>
                  <a:lnTo>
                    <a:pt x="129" y="175"/>
                  </a:lnTo>
                  <a:lnTo>
                    <a:pt x="136" y="192"/>
                  </a:lnTo>
                  <a:lnTo>
                    <a:pt x="135" y="194"/>
                  </a:lnTo>
                  <a:lnTo>
                    <a:pt x="130" y="195"/>
                  </a:lnTo>
                  <a:lnTo>
                    <a:pt x="129" y="195"/>
                  </a:lnTo>
                  <a:lnTo>
                    <a:pt x="126" y="192"/>
                  </a:lnTo>
                  <a:lnTo>
                    <a:pt x="121" y="197"/>
                  </a:lnTo>
                  <a:lnTo>
                    <a:pt x="120" y="197"/>
                  </a:lnTo>
                  <a:lnTo>
                    <a:pt x="105" y="194"/>
                  </a:lnTo>
                  <a:lnTo>
                    <a:pt x="105" y="200"/>
                  </a:lnTo>
                  <a:lnTo>
                    <a:pt x="98" y="200"/>
                  </a:lnTo>
                  <a:lnTo>
                    <a:pt x="95" y="201"/>
                  </a:lnTo>
                  <a:lnTo>
                    <a:pt x="93" y="201"/>
                  </a:lnTo>
                  <a:lnTo>
                    <a:pt x="87" y="200"/>
                  </a:lnTo>
                  <a:lnTo>
                    <a:pt x="81" y="188"/>
                  </a:lnTo>
                  <a:lnTo>
                    <a:pt x="78" y="186"/>
                  </a:lnTo>
                  <a:lnTo>
                    <a:pt x="74" y="179"/>
                  </a:lnTo>
                  <a:lnTo>
                    <a:pt x="55" y="181"/>
                  </a:lnTo>
                  <a:lnTo>
                    <a:pt x="52" y="179"/>
                  </a:lnTo>
                  <a:lnTo>
                    <a:pt x="50" y="182"/>
                  </a:lnTo>
                  <a:lnTo>
                    <a:pt x="49" y="182"/>
                  </a:lnTo>
                  <a:lnTo>
                    <a:pt x="43" y="179"/>
                  </a:lnTo>
                  <a:lnTo>
                    <a:pt x="18" y="182"/>
                  </a:lnTo>
                  <a:lnTo>
                    <a:pt x="13" y="183"/>
                  </a:lnTo>
                  <a:lnTo>
                    <a:pt x="12" y="183"/>
                  </a:lnTo>
                  <a:lnTo>
                    <a:pt x="10" y="182"/>
                  </a:lnTo>
                  <a:lnTo>
                    <a:pt x="13" y="167"/>
                  </a:lnTo>
                  <a:lnTo>
                    <a:pt x="19" y="163"/>
                  </a:lnTo>
                  <a:lnTo>
                    <a:pt x="28" y="158"/>
                  </a:lnTo>
                  <a:lnTo>
                    <a:pt x="31" y="154"/>
                  </a:lnTo>
                  <a:lnTo>
                    <a:pt x="26" y="151"/>
                  </a:lnTo>
                  <a:lnTo>
                    <a:pt x="25" y="151"/>
                  </a:lnTo>
                  <a:lnTo>
                    <a:pt x="25" y="139"/>
                  </a:lnTo>
                  <a:lnTo>
                    <a:pt x="10" y="130"/>
                  </a:lnTo>
                  <a:lnTo>
                    <a:pt x="0" y="114"/>
                  </a:lnTo>
                  <a:lnTo>
                    <a:pt x="0" y="112"/>
                  </a:lnTo>
                  <a:lnTo>
                    <a:pt x="1" y="112"/>
                  </a:lnTo>
                  <a:lnTo>
                    <a:pt x="21" y="120"/>
                  </a:lnTo>
                  <a:lnTo>
                    <a:pt x="34" y="117"/>
                  </a:lnTo>
                  <a:lnTo>
                    <a:pt x="43" y="118"/>
                  </a:lnTo>
                  <a:lnTo>
                    <a:pt x="46" y="115"/>
                  </a:lnTo>
                  <a:lnTo>
                    <a:pt x="50" y="115"/>
                  </a:lnTo>
                  <a:lnTo>
                    <a:pt x="53" y="117"/>
                  </a:lnTo>
                  <a:lnTo>
                    <a:pt x="56" y="117"/>
                  </a:lnTo>
                  <a:lnTo>
                    <a:pt x="71" y="112"/>
                  </a:lnTo>
                  <a:lnTo>
                    <a:pt x="72" y="111"/>
                  </a:lnTo>
                  <a:lnTo>
                    <a:pt x="72" y="96"/>
                  </a:lnTo>
                  <a:lnTo>
                    <a:pt x="78" y="92"/>
                  </a:lnTo>
                  <a:lnTo>
                    <a:pt x="90" y="90"/>
                  </a:lnTo>
                  <a:lnTo>
                    <a:pt x="89" y="89"/>
                  </a:lnTo>
                  <a:lnTo>
                    <a:pt x="95" y="83"/>
                  </a:lnTo>
                  <a:lnTo>
                    <a:pt x="102" y="83"/>
                  </a:lnTo>
                  <a:lnTo>
                    <a:pt x="105" y="86"/>
                  </a:lnTo>
                  <a:lnTo>
                    <a:pt x="111" y="81"/>
                  </a:lnTo>
                  <a:lnTo>
                    <a:pt x="109" y="75"/>
                  </a:lnTo>
                  <a:lnTo>
                    <a:pt x="112" y="63"/>
                  </a:lnTo>
                  <a:lnTo>
                    <a:pt x="114" y="63"/>
                  </a:lnTo>
                  <a:lnTo>
                    <a:pt x="124" y="59"/>
                  </a:lnTo>
                  <a:lnTo>
                    <a:pt x="118" y="49"/>
                  </a:lnTo>
                  <a:lnTo>
                    <a:pt x="133" y="49"/>
                  </a:lnTo>
                  <a:lnTo>
                    <a:pt x="135" y="44"/>
                  </a:lnTo>
                  <a:lnTo>
                    <a:pt x="133" y="43"/>
                  </a:lnTo>
                  <a:lnTo>
                    <a:pt x="133" y="41"/>
                  </a:lnTo>
                  <a:lnTo>
                    <a:pt x="141" y="31"/>
                  </a:lnTo>
                  <a:lnTo>
                    <a:pt x="142" y="26"/>
                  </a:lnTo>
                  <a:lnTo>
                    <a:pt x="136" y="17"/>
                  </a:lnTo>
                  <a:lnTo>
                    <a:pt x="136" y="16"/>
                  </a:lnTo>
                  <a:lnTo>
                    <a:pt x="138" y="14"/>
                  </a:lnTo>
                  <a:lnTo>
                    <a:pt x="154" y="3"/>
                  </a:lnTo>
                  <a:lnTo>
                    <a:pt x="169" y="3"/>
                  </a:lnTo>
                  <a:lnTo>
                    <a:pt x="18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89" name="Cambodia">
              <a:extLst>
                <a:ext uri="{FF2B5EF4-FFF2-40B4-BE49-F238E27FC236}">
                  <a16:creationId xmlns:a16="http://schemas.microsoft.com/office/drawing/2014/main" id="{F4459EB2-091F-7BE5-FC91-935CA200D268}"/>
                </a:ext>
              </a:extLst>
            </p:cNvPr>
            <p:cNvSpPr>
              <a:spLocks/>
            </p:cNvSpPr>
            <p:nvPr/>
          </p:nvSpPr>
          <p:spPr bwMode="auto">
            <a:xfrm>
              <a:off x="8238270" y="4238644"/>
              <a:ext cx="126495" cy="104809"/>
            </a:xfrm>
            <a:custGeom>
              <a:avLst/>
              <a:gdLst>
                <a:gd name="T0" fmla="*/ 68 w 70"/>
                <a:gd name="T1" fmla="*/ 0 h 58"/>
                <a:gd name="T2" fmla="*/ 70 w 70"/>
                <a:gd name="T3" fmla="*/ 31 h 58"/>
                <a:gd name="T4" fmla="*/ 56 w 70"/>
                <a:gd name="T5" fmla="*/ 38 h 58"/>
                <a:gd name="T6" fmla="*/ 56 w 70"/>
                <a:gd name="T7" fmla="*/ 40 h 58"/>
                <a:gd name="T8" fmla="*/ 55 w 70"/>
                <a:gd name="T9" fmla="*/ 40 h 58"/>
                <a:gd name="T10" fmla="*/ 55 w 70"/>
                <a:gd name="T11" fmla="*/ 41 h 58"/>
                <a:gd name="T12" fmla="*/ 49 w 70"/>
                <a:gd name="T13" fmla="*/ 41 h 58"/>
                <a:gd name="T14" fmla="*/ 49 w 70"/>
                <a:gd name="T15" fmla="*/ 49 h 58"/>
                <a:gd name="T16" fmla="*/ 37 w 70"/>
                <a:gd name="T17" fmla="*/ 52 h 58"/>
                <a:gd name="T18" fmla="*/ 35 w 70"/>
                <a:gd name="T19" fmla="*/ 55 h 58"/>
                <a:gd name="T20" fmla="*/ 29 w 70"/>
                <a:gd name="T21" fmla="*/ 58 h 58"/>
                <a:gd name="T22" fmla="*/ 18 w 70"/>
                <a:gd name="T23" fmla="*/ 56 h 58"/>
                <a:gd name="T24" fmla="*/ 18 w 70"/>
                <a:gd name="T25" fmla="*/ 50 h 58"/>
                <a:gd name="T26" fmla="*/ 13 w 70"/>
                <a:gd name="T27" fmla="*/ 52 h 58"/>
                <a:gd name="T28" fmla="*/ 12 w 70"/>
                <a:gd name="T29" fmla="*/ 52 h 58"/>
                <a:gd name="T30" fmla="*/ 9 w 70"/>
                <a:gd name="T31" fmla="*/ 41 h 58"/>
                <a:gd name="T32" fmla="*/ 7 w 70"/>
                <a:gd name="T33" fmla="*/ 34 h 58"/>
                <a:gd name="T34" fmla="*/ 3 w 70"/>
                <a:gd name="T35" fmla="*/ 28 h 58"/>
                <a:gd name="T36" fmla="*/ 0 w 70"/>
                <a:gd name="T37" fmla="*/ 21 h 58"/>
                <a:gd name="T38" fmla="*/ 4 w 70"/>
                <a:gd name="T39" fmla="*/ 12 h 58"/>
                <a:gd name="T40" fmla="*/ 13 w 70"/>
                <a:gd name="T41" fmla="*/ 4 h 58"/>
                <a:gd name="T42" fmla="*/ 38 w 70"/>
                <a:gd name="T43" fmla="*/ 4 h 58"/>
                <a:gd name="T44" fmla="*/ 47 w 70"/>
                <a:gd name="T45" fmla="*/ 9 h 58"/>
                <a:gd name="T46" fmla="*/ 53 w 70"/>
                <a:gd name="T47" fmla="*/ 3 h 58"/>
                <a:gd name="T48" fmla="*/ 58 w 70"/>
                <a:gd name="T49" fmla="*/ 3 h 58"/>
                <a:gd name="T50" fmla="*/ 59 w 70"/>
                <a:gd name="T51" fmla="*/ 4 h 58"/>
                <a:gd name="T52" fmla="*/ 62 w 70"/>
                <a:gd name="T53" fmla="*/ 4 h 58"/>
                <a:gd name="T54" fmla="*/ 68 w 70"/>
                <a:gd name="T5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58">
                  <a:moveTo>
                    <a:pt x="68" y="0"/>
                  </a:moveTo>
                  <a:lnTo>
                    <a:pt x="70" y="31"/>
                  </a:lnTo>
                  <a:lnTo>
                    <a:pt x="56" y="38"/>
                  </a:lnTo>
                  <a:lnTo>
                    <a:pt x="56" y="40"/>
                  </a:lnTo>
                  <a:lnTo>
                    <a:pt x="55" y="40"/>
                  </a:lnTo>
                  <a:lnTo>
                    <a:pt x="55" y="41"/>
                  </a:lnTo>
                  <a:lnTo>
                    <a:pt x="49" y="41"/>
                  </a:lnTo>
                  <a:lnTo>
                    <a:pt x="49" y="49"/>
                  </a:lnTo>
                  <a:lnTo>
                    <a:pt x="37" y="52"/>
                  </a:lnTo>
                  <a:lnTo>
                    <a:pt x="35" y="55"/>
                  </a:lnTo>
                  <a:lnTo>
                    <a:pt x="29" y="58"/>
                  </a:lnTo>
                  <a:lnTo>
                    <a:pt x="18" y="56"/>
                  </a:lnTo>
                  <a:lnTo>
                    <a:pt x="18" y="50"/>
                  </a:lnTo>
                  <a:lnTo>
                    <a:pt x="13" y="52"/>
                  </a:lnTo>
                  <a:lnTo>
                    <a:pt x="12" y="52"/>
                  </a:lnTo>
                  <a:lnTo>
                    <a:pt x="9" y="41"/>
                  </a:lnTo>
                  <a:lnTo>
                    <a:pt x="7" y="34"/>
                  </a:lnTo>
                  <a:lnTo>
                    <a:pt x="3" y="28"/>
                  </a:lnTo>
                  <a:lnTo>
                    <a:pt x="0" y="21"/>
                  </a:lnTo>
                  <a:lnTo>
                    <a:pt x="4" y="12"/>
                  </a:lnTo>
                  <a:lnTo>
                    <a:pt x="13" y="4"/>
                  </a:lnTo>
                  <a:lnTo>
                    <a:pt x="38" y="4"/>
                  </a:lnTo>
                  <a:lnTo>
                    <a:pt x="47" y="9"/>
                  </a:lnTo>
                  <a:lnTo>
                    <a:pt x="53" y="3"/>
                  </a:lnTo>
                  <a:lnTo>
                    <a:pt x="58" y="3"/>
                  </a:lnTo>
                  <a:lnTo>
                    <a:pt x="59" y="4"/>
                  </a:lnTo>
                  <a:lnTo>
                    <a:pt x="62" y="4"/>
                  </a:lnTo>
                  <a:lnTo>
                    <a:pt x="6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0" name="Taiwan">
              <a:extLst>
                <a:ext uri="{FF2B5EF4-FFF2-40B4-BE49-F238E27FC236}">
                  <a16:creationId xmlns:a16="http://schemas.microsoft.com/office/drawing/2014/main" id="{9398507D-112C-11BB-2F18-D36CEC8ECE7F}"/>
                </a:ext>
              </a:extLst>
            </p:cNvPr>
            <p:cNvSpPr>
              <a:spLocks/>
            </p:cNvSpPr>
            <p:nvPr/>
          </p:nvSpPr>
          <p:spPr bwMode="auto">
            <a:xfrm>
              <a:off x="8659317" y="3976620"/>
              <a:ext cx="41563" cy="84933"/>
            </a:xfrm>
            <a:custGeom>
              <a:avLst/>
              <a:gdLst>
                <a:gd name="T0" fmla="*/ 17 w 23"/>
                <a:gd name="T1" fmla="*/ 0 h 47"/>
                <a:gd name="T2" fmla="*/ 23 w 23"/>
                <a:gd name="T3" fmla="*/ 1 h 47"/>
                <a:gd name="T4" fmla="*/ 23 w 23"/>
                <a:gd name="T5" fmla="*/ 8 h 47"/>
                <a:gd name="T6" fmla="*/ 10 w 23"/>
                <a:gd name="T7" fmla="*/ 47 h 47"/>
                <a:gd name="T8" fmla="*/ 8 w 23"/>
                <a:gd name="T9" fmla="*/ 47 h 47"/>
                <a:gd name="T10" fmla="*/ 1 w 23"/>
                <a:gd name="T11" fmla="*/ 35 h 47"/>
                <a:gd name="T12" fmla="*/ 0 w 23"/>
                <a:gd name="T13" fmla="*/ 23 h 47"/>
                <a:gd name="T14" fmla="*/ 10 w 23"/>
                <a:gd name="T15" fmla="*/ 2 h 47"/>
                <a:gd name="T16" fmla="*/ 10 w 23"/>
                <a:gd name="T17" fmla="*/ 1 h 47"/>
                <a:gd name="T18" fmla="*/ 11 w 23"/>
                <a:gd name="T19" fmla="*/ 1 h 47"/>
                <a:gd name="T20" fmla="*/ 17 w 23"/>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47">
                  <a:moveTo>
                    <a:pt x="17" y="0"/>
                  </a:moveTo>
                  <a:lnTo>
                    <a:pt x="23" y="1"/>
                  </a:lnTo>
                  <a:lnTo>
                    <a:pt x="23" y="8"/>
                  </a:lnTo>
                  <a:lnTo>
                    <a:pt x="10" y="47"/>
                  </a:lnTo>
                  <a:lnTo>
                    <a:pt x="8" y="47"/>
                  </a:lnTo>
                  <a:lnTo>
                    <a:pt x="1" y="35"/>
                  </a:lnTo>
                  <a:lnTo>
                    <a:pt x="0" y="23"/>
                  </a:lnTo>
                  <a:lnTo>
                    <a:pt x="10" y="2"/>
                  </a:lnTo>
                  <a:lnTo>
                    <a:pt x="10" y="1"/>
                  </a:lnTo>
                  <a:lnTo>
                    <a:pt x="11" y="1"/>
                  </a:lnTo>
                  <a:lnTo>
                    <a:pt x="1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1" name="Unknown">
              <a:extLst>
                <a:ext uri="{FF2B5EF4-FFF2-40B4-BE49-F238E27FC236}">
                  <a16:creationId xmlns:a16="http://schemas.microsoft.com/office/drawing/2014/main" id="{4927FFCE-603C-B211-B478-9B11E2839E79}"/>
                </a:ext>
              </a:extLst>
            </p:cNvPr>
            <p:cNvSpPr>
              <a:spLocks/>
            </p:cNvSpPr>
            <p:nvPr/>
          </p:nvSpPr>
          <p:spPr bwMode="auto">
            <a:xfrm>
              <a:off x="6882976" y="3862775"/>
              <a:ext cx="43369" cy="21685"/>
            </a:xfrm>
            <a:custGeom>
              <a:avLst/>
              <a:gdLst>
                <a:gd name="T0" fmla="*/ 10 w 24"/>
                <a:gd name="T1" fmla="*/ 0 h 12"/>
                <a:gd name="T2" fmla="*/ 24 w 24"/>
                <a:gd name="T3" fmla="*/ 5 h 12"/>
                <a:gd name="T4" fmla="*/ 24 w 24"/>
                <a:gd name="T5" fmla="*/ 6 h 12"/>
                <a:gd name="T6" fmla="*/ 10 w 24"/>
                <a:gd name="T7" fmla="*/ 12 h 12"/>
                <a:gd name="T8" fmla="*/ 0 w 24"/>
                <a:gd name="T9" fmla="*/ 5 h 12"/>
                <a:gd name="T10" fmla="*/ 0 w 24"/>
                <a:gd name="T11" fmla="*/ 3 h 12"/>
                <a:gd name="T12" fmla="*/ 10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0" y="0"/>
                  </a:moveTo>
                  <a:lnTo>
                    <a:pt x="24" y="5"/>
                  </a:lnTo>
                  <a:lnTo>
                    <a:pt x="24" y="6"/>
                  </a:lnTo>
                  <a:lnTo>
                    <a:pt x="10" y="12"/>
                  </a:lnTo>
                  <a:lnTo>
                    <a:pt x="0" y="5"/>
                  </a:lnTo>
                  <a:lnTo>
                    <a:pt x="0" y="3"/>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2" name="Kuwait">
              <a:extLst>
                <a:ext uri="{FF2B5EF4-FFF2-40B4-BE49-F238E27FC236}">
                  <a16:creationId xmlns:a16="http://schemas.microsoft.com/office/drawing/2014/main" id="{D2AD539A-C1DA-BE31-2366-C7D83D874FEF}"/>
                </a:ext>
              </a:extLst>
            </p:cNvPr>
            <p:cNvSpPr>
              <a:spLocks/>
            </p:cNvSpPr>
            <p:nvPr/>
          </p:nvSpPr>
          <p:spPr bwMode="auto">
            <a:xfrm>
              <a:off x="6922731" y="3846511"/>
              <a:ext cx="45177" cy="43369"/>
            </a:xfrm>
            <a:custGeom>
              <a:avLst/>
              <a:gdLst>
                <a:gd name="T0" fmla="*/ 10 w 25"/>
                <a:gd name="T1" fmla="*/ 0 h 24"/>
                <a:gd name="T2" fmla="*/ 21 w 25"/>
                <a:gd name="T3" fmla="*/ 0 h 24"/>
                <a:gd name="T4" fmla="*/ 21 w 25"/>
                <a:gd name="T5" fmla="*/ 2 h 24"/>
                <a:gd name="T6" fmla="*/ 24 w 25"/>
                <a:gd name="T7" fmla="*/ 6 h 24"/>
                <a:gd name="T8" fmla="*/ 24 w 25"/>
                <a:gd name="T9" fmla="*/ 8 h 24"/>
                <a:gd name="T10" fmla="*/ 18 w 25"/>
                <a:gd name="T11" fmla="*/ 12 h 24"/>
                <a:gd name="T12" fmla="*/ 21 w 25"/>
                <a:gd name="T13" fmla="*/ 12 h 24"/>
                <a:gd name="T14" fmla="*/ 25 w 25"/>
                <a:gd name="T15" fmla="*/ 23 h 24"/>
                <a:gd name="T16" fmla="*/ 25 w 25"/>
                <a:gd name="T17" fmla="*/ 24 h 24"/>
                <a:gd name="T18" fmla="*/ 15 w 25"/>
                <a:gd name="T19" fmla="*/ 24 h 24"/>
                <a:gd name="T20" fmla="*/ 12 w 25"/>
                <a:gd name="T21" fmla="*/ 18 h 24"/>
                <a:gd name="T22" fmla="*/ 2 w 25"/>
                <a:gd name="T23" fmla="*/ 15 h 24"/>
                <a:gd name="T24" fmla="*/ 0 w 25"/>
                <a:gd name="T25" fmla="*/ 14 h 24"/>
                <a:gd name="T26" fmla="*/ 2 w 25"/>
                <a:gd name="T27" fmla="*/ 14 h 24"/>
                <a:gd name="T28" fmla="*/ 10 w 25"/>
                <a:gd name="T2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4">
                  <a:moveTo>
                    <a:pt x="10" y="0"/>
                  </a:moveTo>
                  <a:lnTo>
                    <a:pt x="21" y="0"/>
                  </a:lnTo>
                  <a:lnTo>
                    <a:pt x="21" y="2"/>
                  </a:lnTo>
                  <a:lnTo>
                    <a:pt x="24" y="6"/>
                  </a:lnTo>
                  <a:lnTo>
                    <a:pt x="24" y="8"/>
                  </a:lnTo>
                  <a:lnTo>
                    <a:pt x="18" y="12"/>
                  </a:lnTo>
                  <a:lnTo>
                    <a:pt x="21" y="12"/>
                  </a:lnTo>
                  <a:lnTo>
                    <a:pt x="25" y="23"/>
                  </a:lnTo>
                  <a:lnTo>
                    <a:pt x="25" y="24"/>
                  </a:lnTo>
                  <a:lnTo>
                    <a:pt x="15" y="24"/>
                  </a:lnTo>
                  <a:lnTo>
                    <a:pt x="12" y="18"/>
                  </a:lnTo>
                  <a:lnTo>
                    <a:pt x="2" y="15"/>
                  </a:lnTo>
                  <a:lnTo>
                    <a:pt x="0" y="14"/>
                  </a:lnTo>
                  <a:lnTo>
                    <a:pt x="2" y="14"/>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3" name="Qatar">
              <a:extLst>
                <a:ext uri="{FF2B5EF4-FFF2-40B4-BE49-F238E27FC236}">
                  <a16:creationId xmlns:a16="http://schemas.microsoft.com/office/drawing/2014/main" id="{5642D2C5-15AE-2FAD-6FC8-BDB36313FC6A}"/>
                </a:ext>
              </a:extLst>
            </p:cNvPr>
            <p:cNvSpPr>
              <a:spLocks/>
            </p:cNvSpPr>
            <p:nvPr/>
          </p:nvSpPr>
          <p:spPr bwMode="auto">
            <a:xfrm>
              <a:off x="7022118" y="3951321"/>
              <a:ext cx="21685" cy="43369"/>
            </a:xfrm>
            <a:custGeom>
              <a:avLst/>
              <a:gdLst>
                <a:gd name="T0" fmla="*/ 6 w 12"/>
                <a:gd name="T1" fmla="*/ 0 h 24"/>
                <a:gd name="T2" fmla="*/ 12 w 12"/>
                <a:gd name="T3" fmla="*/ 3 h 24"/>
                <a:gd name="T4" fmla="*/ 12 w 12"/>
                <a:gd name="T5" fmla="*/ 5 h 24"/>
                <a:gd name="T6" fmla="*/ 10 w 12"/>
                <a:gd name="T7" fmla="*/ 22 h 24"/>
                <a:gd name="T8" fmla="*/ 4 w 12"/>
                <a:gd name="T9" fmla="*/ 24 h 24"/>
                <a:gd name="T10" fmla="*/ 0 w 12"/>
                <a:gd name="T11" fmla="*/ 21 h 24"/>
                <a:gd name="T12" fmla="*/ 0 w 12"/>
                <a:gd name="T13" fmla="*/ 9 h 24"/>
                <a:gd name="T14" fmla="*/ 6 w 12"/>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4">
                  <a:moveTo>
                    <a:pt x="6" y="0"/>
                  </a:moveTo>
                  <a:lnTo>
                    <a:pt x="12" y="3"/>
                  </a:lnTo>
                  <a:lnTo>
                    <a:pt x="12" y="5"/>
                  </a:lnTo>
                  <a:lnTo>
                    <a:pt x="10" y="22"/>
                  </a:lnTo>
                  <a:lnTo>
                    <a:pt x="4" y="24"/>
                  </a:lnTo>
                  <a:lnTo>
                    <a:pt x="0" y="21"/>
                  </a:lnTo>
                  <a:lnTo>
                    <a:pt x="0" y="9"/>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4" name="Asian Island">
              <a:extLst>
                <a:ext uri="{FF2B5EF4-FFF2-40B4-BE49-F238E27FC236}">
                  <a16:creationId xmlns:a16="http://schemas.microsoft.com/office/drawing/2014/main" id="{F1CF3C35-F79A-A5C6-64D1-245EF3EFFBBE}"/>
                </a:ext>
              </a:extLst>
            </p:cNvPr>
            <p:cNvSpPr>
              <a:spLocks/>
            </p:cNvSpPr>
            <p:nvPr/>
          </p:nvSpPr>
          <p:spPr bwMode="auto">
            <a:xfrm>
              <a:off x="9855591" y="4377787"/>
              <a:ext cx="10843" cy="12650"/>
            </a:xfrm>
            <a:custGeom>
              <a:avLst/>
              <a:gdLst>
                <a:gd name="T0" fmla="*/ 0 w 6"/>
                <a:gd name="T1" fmla="*/ 0 h 7"/>
                <a:gd name="T2" fmla="*/ 2 w 6"/>
                <a:gd name="T3" fmla="*/ 0 h 7"/>
                <a:gd name="T4" fmla="*/ 6 w 6"/>
                <a:gd name="T5" fmla="*/ 3 h 7"/>
                <a:gd name="T6" fmla="*/ 6 w 6"/>
                <a:gd name="T7" fmla="*/ 4 h 7"/>
                <a:gd name="T8" fmla="*/ 5 w 6"/>
                <a:gd name="T9" fmla="*/ 7 h 7"/>
                <a:gd name="T10" fmla="*/ 0 w 6"/>
                <a:gd name="T11" fmla="*/ 1 h 7"/>
                <a:gd name="T12" fmla="*/ 0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0" y="0"/>
                  </a:moveTo>
                  <a:lnTo>
                    <a:pt x="2" y="0"/>
                  </a:lnTo>
                  <a:lnTo>
                    <a:pt x="6" y="3"/>
                  </a:lnTo>
                  <a:lnTo>
                    <a:pt x="6" y="4"/>
                  </a:lnTo>
                  <a:lnTo>
                    <a:pt x="5" y="7"/>
                  </a:lnTo>
                  <a:lnTo>
                    <a:pt x="0" y="1"/>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5" name="Asian Island">
              <a:extLst>
                <a:ext uri="{FF2B5EF4-FFF2-40B4-BE49-F238E27FC236}">
                  <a16:creationId xmlns:a16="http://schemas.microsoft.com/office/drawing/2014/main" id="{1774133D-E9F1-CB34-B005-7D3DCCACCD8E}"/>
                </a:ext>
              </a:extLst>
            </p:cNvPr>
            <p:cNvSpPr>
              <a:spLocks/>
            </p:cNvSpPr>
            <p:nvPr/>
          </p:nvSpPr>
          <p:spPr bwMode="auto">
            <a:xfrm>
              <a:off x="9759816" y="4318154"/>
              <a:ext cx="10843" cy="9036"/>
            </a:xfrm>
            <a:custGeom>
              <a:avLst/>
              <a:gdLst>
                <a:gd name="T0" fmla="*/ 0 w 6"/>
                <a:gd name="T1" fmla="*/ 0 h 5"/>
                <a:gd name="T2" fmla="*/ 6 w 6"/>
                <a:gd name="T3" fmla="*/ 0 h 5"/>
                <a:gd name="T4" fmla="*/ 6 w 6"/>
                <a:gd name="T5" fmla="*/ 2 h 5"/>
                <a:gd name="T6" fmla="*/ 1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1" y="5"/>
                  </a:lnTo>
                  <a:lnTo>
                    <a:pt x="0" y="5"/>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6" name="Asian Island">
              <a:extLst>
                <a:ext uri="{FF2B5EF4-FFF2-40B4-BE49-F238E27FC236}">
                  <a16:creationId xmlns:a16="http://schemas.microsoft.com/office/drawing/2014/main" id="{FA5ECD21-3891-5E37-B2A2-0F6ADC677D77}"/>
                </a:ext>
              </a:extLst>
            </p:cNvPr>
            <p:cNvSpPr>
              <a:spLocks/>
            </p:cNvSpPr>
            <p:nvPr/>
          </p:nvSpPr>
          <p:spPr bwMode="auto">
            <a:xfrm>
              <a:off x="9765238" y="4368752"/>
              <a:ext cx="18071" cy="16264"/>
            </a:xfrm>
            <a:custGeom>
              <a:avLst/>
              <a:gdLst>
                <a:gd name="T0" fmla="*/ 0 w 10"/>
                <a:gd name="T1" fmla="*/ 0 h 9"/>
                <a:gd name="T2" fmla="*/ 7 w 10"/>
                <a:gd name="T3" fmla="*/ 0 h 9"/>
                <a:gd name="T4" fmla="*/ 10 w 10"/>
                <a:gd name="T5" fmla="*/ 8 h 9"/>
                <a:gd name="T6" fmla="*/ 10 w 10"/>
                <a:gd name="T7" fmla="*/ 9 h 9"/>
                <a:gd name="T8" fmla="*/ 9 w 10"/>
                <a:gd name="T9" fmla="*/ 9 h 9"/>
                <a:gd name="T10" fmla="*/ 6 w 10"/>
                <a:gd name="T11" fmla="*/ 3 h 9"/>
                <a:gd name="T12" fmla="*/ 0 w 10"/>
                <a:gd name="T13" fmla="*/ 2 h 9"/>
                <a:gd name="T14" fmla="*/ 0 w 10"/>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0" y="0"/>
                  </a:moveTo>
                  <a:lnTo>
                    <a:pt x="7" y="0"/>
                  </a:lnTo>
                  <a:lnTo>
                    <a:pt x="10" y="8"/>
                  </a:lnTo>
                  <a:lnTo>
                    <a:pt x="10" y="9"/>
                  </a:lnTo>
                  <a:lnTo>
                    <a:pt x="9" y="9"/>
                  </a:lnTo>
                  <a:lnTo>
                    <a:pt x="6" y="3"/>
                  </a:lnTo>
                  <a:lnTo>
                    <a:pt x="0" y="2"/>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7" name="Asian Island">
              <a:extLst>
                <a:ext uri="{FF2B5EF4-FFF2-40B4-BE49-F238E27FC236}">
                  <a16:creationId xmlns:a16="http://schemas.microsoft.com/office/drawing/2014/main" id="{420247F0-9D6D-8885-2317-C8A15954B802}"/>
                </a:ext>
              </a:extLst>
            </p:cNvPr>
            <p:cNvSpPr>
              <a:spLocks/>
            </p:cNvSpPr>
            <p:nvPr/>
          </p:nvSpPr>
          <p:spPr bwMode="auto">
            <a:xfrm>
              <a:off x="7455814" y="5893913"/>
              <a:ext cx="23493" cy="18071"/>
            </a:xfrm>
            <a:custGeom>
              <a:avLst/>
              <a:gdLst>
                <a:gd name="T0" fmla="*/ 4 w 13"/>
                <a:gd name="T1" fmla="*/ 0 h 10"/>
                <a:gd name="T2" fmla="*/ 7 w 13"/>
                <a:gd name="T3" fmla="*/ 3 h 10"/>
                <a:gd name="T4" fmla="*/ 6 w 13"/>
                <a:gd name="T5" fmla="*/ 7 h 10"/>
                <a:gd name="T6" fmla="*/ 13 w 13"/>
                <a:gd name="T7" fmla="*/ 7 h 10"/>
                <a:gd name="T8" fmla="*/ 10 w 13"/>
                <a:gd name="T9" fmla="*/ 10 h 10"/>
                <a:gd name="T10" fmla="*/ 3 w 13"/>
                <a:gd name="T11" fmla="*/ 10 h 10"/>
                <a:gd name="T12" fmla="*/ 0 w 13"/>
                <a:gd name="T13" fmla="*/ 5 h 10"/>
                <a:gd name="T14" fmla="*/ 4 w 13"/>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4" y="0"/>
                  </a:moveTo>
                  <a:lnTo>
                    <a:pt x="7" y="3"/>
                  </a:lnTo>
                  <a:lnTo>
                    <a:pt x="6" y="7"/>
                  </a:lnTo>
                  <a:lnTo>
                    <a:pt x="13" y="7"/>
                  </a:lnTo>
                  <a:lnTo>
                    <a:pt x="10" y="10"/>
                  </a:lnTo>
                  <a:lnTo>
                    <a:pt x="3" y="10"/>
                  </a:lnTo>
                  <a:lnTo>
                    <a:pt x="0" y="5"/>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8" name="Asian Island">
              <a:extLst>
                <a:ext uri="{FF2B5EF4-FFF2-40B4-BE49-F238E27FC236}">
                  <a16:creationId xmlns:a16="http://schemas.microsoft.com/office/drawing/2014/main" id="{F3534BEF-AC49-091A-347E-2F4B9FC75E2E}"/>
                </a:ext>
              </a:extLst>
            </p:cNvPr>
            <p:cNvSpPr>
              <a:spLocks/>
            </p:cNvSpPr>
            <p:nvPr/>
          </p:nvSpPr>
          <p:spPr bwMode="auto">
            <a:xfrm>
              <a:off x="7461235" y="5910176"/>
              <a:ext cx="39755" cy="23493"/>
            </a:xfrm>
            <a:custGeom>
              <a:avLst/>
              <a:gdLst>
                <a:gd name="T0" fmla="*/ 18 w 22"/>
                <a:gd name="T1" fmla="*/ 0 h 13"/>
                <a:gd name="T2" fmla="*/ 22 w 22"/>
                <a:gd name="T3" fmla="*/ 0 h 13"/>
                <a:gd name="T4" fmla="*/ 22 w 22"/>
                <a:gd name="T5" fmla="*/ 1 h 13"/>
                <a:gd name="T6" fmla="*/ 19 w 22"/>
                <a:gd name="T7" fmla="*/ 7 h 13"/>
                <a:gd name="T8" fmla="*/ 15 w 22"/>
                <a:gd name="T9" fmla="*/ 7 h 13"/>
                <a:gd name="T10" fmla="*/ 19 w 22"/>
                <a:gd name="T11" fmla="*/ 12 h 13"/>
                <a:gd name="T12" fmla="*/ 18 w 22"/>
                <a:gd name="T13" fmla="*/ 12 h 13"/>
                <a:gd name="T14" fmla="*/ 10 w 22"/>
                <a:gd name="T15" fmla="*/ 10 h 13"/>
                <a:gd name="T16" fmla="*/ 9 w 22"/>
                <a:gd name="T17" fmla="*/ 12 h 13"/>
                <a:gd name="T18" fmla="*/ 7 w 22"/>
                <a:gd name="T19" fmla="*/ 12 h 13"/>
                <a:gd name="T20" fmla="*/ 6 w 22"/>
                <a:gd name="T21" fmla="*/ 10 h 13"/>
                <a:gd name="T22" fmla="*/ 3 w 22"/>
                <a:gd name="T23" fmla="*/ 13 h 13"/>
                <a:gd name="T24" fmla="*/ 1 w 22"/>
                <a:gd name="T25" fmla="*/ 13 h 13"/>
                <a:gd name="T26" fmla="*/ 0 w 22"/>
                <a:gd name="T27" fmla="*/ 10 h 13"/>
                <a:gd name="T28" fmla="*/ 1 w 22"/>
                <a:gd name="T29" fmla="*/ 3 h 13"/>
                <a:gd name="T30" fmla="*/ 3 w 22"/>
                <a:gd name="T31" fmla="*/ 3 h 13"/>
                <a:gd name="T32" fmla="*/ 13 w 22"/>
                <a:gd name="T33" fmla="*/ 1 h 13"/>
                <a:gd name="T34" fmla="*/ 16 w 22"/>
                <a:gd name="T35" fmla="*/ 1 h 13"/>
                <a:gd name="T36" fmla="*/ 18 w 22"/>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3">
                  <a:moveTo>
                    <a:pt x="18" y="0"/>
                  </a:moveTo>
                  <a:lnTo>
                    <a:pt x="22" y="0"/>
                  </a:lnTo>
                  <a:lnTo>
                    <a:pt x="22" y="1"/>
                  </a:lnTo>
                  <a:lnTo>
                    <a:pt x="19" y="7"/>
                  </a:lnTo>
                  <a:lnTo>
                    <a:pt x="15" y="7"/>
                  </a:lnTo>
                  <a:lnTo>
                    <a:pt x="19" y="12"/>
                  </a:lnTo>
                  <a:lnTo>
                    <a:pt x="18" y="12"/>
                  </a:lnTo>
                  <a:lnTo>
                    <a:pt x="10" y="10"/>
                  </a:lnTo>
                  <a:lnTo>
                    <a:pt x="9" y="12"/>
                  </a:lnTo>
                  <a:lnTo>
                    <a:pt x="7" y="12"/>
                  </a:lnTo>
                  <a:lnTo>
                    <a:pt x="6" y="10"/>
                  </a:lnTo>
                  <a:lnTo>
                    <a:pt x="3" y="13"/>
                  </a:lnTo>
                  <a:lnTo>
                    <a:pt x="1" y="13"/>
                  </a:lnTo>
                  <a:lnTo>
                    <a:pt x="0" y="10"/>
                  </a:lnTo>
                  <a:lnTo>
                    <a:pt x="1" y="3"/>
                  </a:lnTo>
                  <a:lnTo>
                    <a:pt x="3" y="3"/>
                  </a:lnTo>
                  <a:lnTo>
                    <a:pt x="13" y="1"/>
                  </a:lnTo>
                  <a:lnTo>
                    <a:pt x="16" y="1"/>
                  </a:lnTo>
                  <a:lnTo>
                    <a:pt x="1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99" name="Brunei">
              <a:extLst>
                <a:ext uri="{FF2B5EF4-FFF2-40B4-BE49-F238E27FC236}">
                  <a16:creationId xmlns:a16="http://schemas.microsoft.com/office/drawing/2014/main" id="{7B62A10A-C366-38A2-D8ED-85E8F6C17D36}"/>
                </a:ext>
              </a:extLst>
            </p:cNvPr>
            <p:cNvSpPr>
              <a:spLocks/>
            </p:cNvSpPr>
            <p:nvPr/>
          </p:nvSpPr>
          <p:spPr bwMode="auto">
            <a:xfrm>
              <a:off x="8516558" y="4468141"/>
              <a:ext cx="34334" cy="27107"/>
            </a:xfrm>
            <a:custGeom>
              <a:avLst/>
              <a:gdLst>
                <a:gd name="T0" fmla="*/ 12 w 19"/>
                <a:gd name="T1" fmla="*/ 0 h 15"/>
                <a:gd name="T2" fmla="*/ 13 w 19"/>
                <a:gd name="T3" fmla="*/ 0 h 15"/>
                <a:gd name="T4" fmla="*/ 16 w 19"/>
                <a:gd name="T5" fmla="*/ 3 h 15"/>
                <a:gd name="T6" fmla="*/ 19 w 19"/>
                <a:gd name="T7" fmla="*/ 9 h 15"/>
                <a:gd name="T8" fmla="*/ 19 w 19"/>
                <a:gd name="T9" fmla="*/ 11 h 15"/>
                <a:gd name="T10" fmla="*/ 18 w 19"/>
                <a:gd name="T11" fmla="*/ 11 h 15"/>
                <a:gd name="T12" fmla="*/ 13 w 19"/>
                <a:gd name="T13" fmla="*/ 6 h 15"/>
                <a:gd name="T14" fmla="*/ 9 w 19"/>
                <a:gd name="T15" fmla="*/ 15 h 15"/>
                <a:gd name="T16" fmla="*/ 7 w 19"/>
                <a:gd name="T17" fmla="*/ 15 h 15"/>
                <a:gd name="T18" fmla="*/ 0 w 19"/>
                <a:gd name="T19" fmla="*/ 8 h 15"/>
                <a:gd name="T20" fmla="*/ 0 w 19"/>
                <a:gd name="T21" fmla="*/ 6 h 15"/>
                <a:gd name="T22" fmla="*/ 12 w 19"/>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5">
                  <a:moveTo>
                    <a:pt x="12" y="0"/>
                  </a:moveTo>
                  <a:lnTo>
                    <a:pt x="13" y="0"/>
                  </a:lnTo>
                  <a:lnTo>
                    <a:pt x="16" y="3"/>
                  </a:lnTo>
                  <a:lnTo>
                    <a:pt x="19" y="9"/>
                  </a:lnTo>
                  <a:lnTo>
                    <a:pt x="19" y="11"/>
                  </a:lnTo>
                  <a:lnTo>
                    <a:pt x="18" y="11"/>
                  </a:lnTo>
                  <a:lnTo>
                    <a:pt x="13" y="6"/>
                  </a:lnTo>
                  <a:lnTo>
                    <a:pt x="9" y="15"/>
                  </a:lnTo>
                  <a:lnTo>
                    <a:pt x="7" y="15"/>
                  </a:lnTo>
                  <a:lnTo>
                    <a:pt x="0" y="8"/>
                  </a:lnTo>
                  <a:lnTo>
                    <a:pt x="0" y="6"/>
                  </a:lnTo>
                  <a:lnTo>
                    <a:pt x="1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0" name="Philippines">
              <a:extLst>
                <a:ext uri="{FF2B5EF4-FFF2-40B4-BE49-F238E27FC236}">
                  <a16:creationId xmlns:a16="http://schemas.microsoft.com/office/drawing/2014/main" id="{FD1708B8-3229-3266-0A5D-C6FCBB730BA5}"/>
                </a:ext>
              </a:extLst>
            </p:cNvPr>
            <p:cNvSpPr>
              <a:spLocks/>
            </p:cNvSpPr>
            <p:nvPr/>
          </p:nvSpPr>
          <p:spPr bwMode="auto">
            <a:xfrm>
              <a:off x="8590647" y="4144676"/>
              <a:ext cx="224076" cy="328885"/>
            </a:xfrm>
            <a:custGeom>
              <a:avLst/>
              <a:gdLst/>
              <a:ahLst/>
              <a:cxnLst/>
              <a:rect l="l" t="t" r="r" b="b"/>
              <a:pathLst>
                <a:path w="225862" h="331507">
                  <a:moveTo>
                    <a:pt x="65572" y="324221"/>
                  </a:moveTo>
                  <a:lnTo>
                    <a:pt x="74680" y="324221"/>
                  </a:lnTo>
                  <a:lnTo>
                    <a:pt x="74680" y="326043"/>
                  </a:lnTo>
                  <a:lnTo>
                    <a:pt x="65572" y="331507"/>
                  </a:lnTo>
                  <a:lnTo>
                    <a:pt x="63751" y="331507"/>
                  </a:lnTo>
                  <a:lnTo>
                    <a:pt x="63751" y="329686"/>
                  </a:lnTo>
                  <a:close/>
                  <a:moveTo>
                    <a:pt x="92894" y="302364"/>
                  </a:moveTo>
                  <a:lnTo>
                    <a:pt x="94715" y="302364"/>
                  </a:lnTo>
                  <a:lnTo>
                    <a:pt x="100180" y="307829"/>
                  </a:lnTo>
                  <a:lnTo>
                    <a:pt x="103823" y="307829"/>
                  </a:lnTo>
                  <a:lnTo>
                    <a:pt x="100180" y="309650"/>
                  </a:lnTo>
                  <a:lnTo>
                    <a:pt x="89251" y="309650"/>
                  </a:lnTo>
                  <a:lnTo>
                    <a:pt x="89251" y="307829"/>
                  </a:lnTo>
                  <a:close/>
                  <a:moveTo>
                    <a:pt x="109288" y="289614"/>
                  </a:moveTo>
                  <a:lnTo>
                    <a:pt x="125682" y="289614"/>
                  </a:lnTo>
                  <a:lnTo>
                    <a:pt x="125682" y="291436"/>
                  </a:lnTo>
                  <a:lnTo>
                    <a:pt x="114753" y="296900"/>
                  </a:lnTo>
                  <a:lnTo>
                    <a:pt x="109288" y="291436"/>
                  </a:lnTo>
                  <a:close/>
                  <a:moveTo>
                    <a:pt x="200361" y="200362"/>
                  </a:moveTo>
                  <a:lnTo>
                    <a:pt x="204004" y="200362"/>
                  </a:lnTo>
                  <a:lnTo>
                    <a:pt x="204004" y="216755"/>
                  </a:lnTo>
                  <a:lnTo>
                    <a:pt x="204005" y="216755"/>
                  </a:lnTo>
                  <a:lnTo>
                    <a:pt x="216755" y="229505"/>
                  </a:lnTo>
                  <a:lnTo>
                    <a:pt x="220398" y="240434"/>
                  </a:lnTo>
                  <a:lnTo>
                    <a:pt x="216755" y="242256"/>
                  </a:lnTo>
                  <a:lnTo>
                    <a:pt x="220398" y="245899"/>
                  </a:lnTo>
                  <a:lnTo>
                    <a:pt x="225862" y="269578"/>
                  </a:lnTo>
                  <a:lnTo>
                    <a:pt x="216755" y="296900"/>
                  </a:lnTo>
                  <a:lnTo>
                    <a:pt x="214933" y="296900"/>
                  </a:lnTo>
                  <a:lnTo>
                    <a:pt x="209469" y="275042"/>
                  </a:lnTo>
                  <a:lnTo>
                    <a:pt x="198540" y="285971"/>
                  </a:lnTo>
                  <a:lnTo>
                    <a:pt x="198540" y="291435"/>
                  </a:lnTo>
                  <a:lnTo>
                    <a:pt x="205826" y="302364"/>
                  </a:lnTo>
                  <a:lnTo>
                    <a:pt x="198540" y="315114"/>
                  </a:lnTo>
                  <a:lnTo>
                    <a:pt x="193076" y="304185"/>
                  </a:lnTo>
                  <a:lnTo>
                    <a:pt x="183968" y="309650"/>
                  </a:lnTo>
                  <a:lnTo>
                    <a:pt x="167575" y="300543"/>
                  </a:lnTo>
                  <a:lnTo>
                    <a:pt x="165754" y="300543"/>
                  </a:lnTo>
                  <a:lnTo>
                    <a:pt x="162111" y="284149"/>
                  </a:lnTo>
                  <a:lnTo>
                    <a:pt x="162111" y="280506"/>
                  </a:lnTo>
                  <a:lnTo>
                    <a:pt x="165754" y="273221"/>
                  </a:lnTo>
                  <a:lnTo>
                    <a:pt x="154825" y="262292"/>
                  </a:lnTo>
                  <a:lnTo>
                    <a:pt x="149360" y="273221"/>
                  </a:lnTo>
                  <a:lnTo>
                    <a:pt x="147539" y="273221"/>
                  </a:lnTo>
                  <a:lnTo>
                    <a:pt x="143896" y="267756"/>
                  </a:lnTo>
                  <a:lnTo>
                    <a:pt x="138431" y="275042"/>
                  </a:lnTo>
                  <a:lnTo>
                    <a:pt x="136610" y="275042"/>
                  </a:lnTo>
                  <a:lnTo>
                    <a:pt x="132967" y="267756"/>
                  </a:lnTo>
                  <a:lnTo>
                    <a:pt x="131145" y="267756"/>
                  </a:lnTo>
                  <a:lnTo>
                    <a:pt x="122038" y="284149"/>
                  </a:lnTo>
                  <a:lnTo>
                    <a:pt x="122038" y="285971"/>
                  </a:lnTo>
                  <a:lnTo>
                    <a:pt x="114752" y="285971"/>
                  </a:lnTo>
                  <a:lnTo>
                    <a:pt x="114752" y="284149"/>
                  </a:lnTo>
                  <a:lnTo>
                    <a:pt x="111109" y="278685"/>
                  </a:lnTo>
                  <a:lnTo>
                    <a:pt x="122038" y="256827"/>
                  </a:lnTo>
                  <a:lnTo>
                    <a:pt x="136610" y="251363"/>
                  </a:lnTo>
                  <a:lnTo>
                    <a:pt x="147539" y="240434"/>
                  </a:lnTo>
                  <a:lnTo>
                    <a:pt x="149360" y="240434"/>
                  </a:lnTo>
                  <a:lnTo>
                    <a:pt x="156646" y="242256"/>
                  </a:lnTo>
                  <a:lnTo>
                    <a:pt x="156646" y="256827"/>
                  </a:lnTo>
                  <a:lnTo>
                    <a:pt x="165754" y="253185"/>
                  </a:lnTo>
                  <a:lnTo>
                    <a:pt x="167575" y="245899"/>
                  </a:lnTo>
                  <a:lnTo>
                    <a:pt x="176682" y="245899"/>
                  </a:lnTo>
                  <a:lnTo>
                    <a:pt x="178504" y="234970"/>
                  </a:lnTo>
                  <a:lnTo>
                    <a:pt x="182147" y="234970"/>
                  </a:lnTo>
                  <a:lnTo>
                    <a:pt x="194897" y="231327"/>
                  </a:lnTo>
                  <a:lnTo>
                    <a:pt x="194897" y="216755"/>
                  </a:lnTo>
                  <a:lnTo>
                    <a:pt x="200361" y="216755"/>
                  </a:lnTo>
                  <a:lnTo>
                    <a:pt x="200361" y="213113"/>
                  </a:lnTo>
                  <a:lnTo>
                    <a:pt x="198539" y="207648"/>
                  </a:lnTo>
                  <a:lnTo>
                    <a:pt x="198539" y="205826"/>
                  </a:lnTo>
                  <a:close/>
                  <a:moveTo>
                    <a:pt x="142074" y="185790"/>
                  </a:moveTo>
                  <a:lnTo>
                    <a:pt x="143896" y="185790"/>
                  </a:lnTo>
                  <a:lnTo>
                    <a:pt x="153003" y="189433"/>
                  </a:lnTo>
                  <a:lnTo>
                    <a:pt x="153003" y="194897"/>
                  </a:lnTo>
                  <a:lnTo>
                    <a:pt x="143896" y="213112"/>
                  </a:lnTo>
                  <a:lnTo>
                    <a:pt x="143896" y="229506"/>
                  </a:lnTo>
                  <a:lnTo>
                    <a:pt x="142074" y="234970"/>
                  </a:lnTo>
                  <a:lnTo>
                    <a:pt x="125680" y="218577"/>
                  </a:lnTo>
                  <a:lnTo>
                    <a:pt x="125680" y="211290"/>
                  </a:lnTo>
                  <a:lnTo>
                    <a:pt x="127502" y="211290"/>
                  </a:lnTo>
                  <a:lnTo>
                    <a:pt x="131145" y="207648"/>
                  </a:lnTo>
                  <a:lnTo>
                    <a:pt x="136609" y="189433"/>
                  </a:lnTo>
                  <a:close/>
                  <a:moveTo>
                    <a:pt x="162110" y="180326"/>
                  </a:moveTo>
                  <a:lnTo>
                    <a:pt x="165753" y="180326"/>
                  </a:lnTo>
                  <a:lnTo>
                    <a:pt x="165753" y="200362"/>
                  </a:lnTo>
                  <a:lnTo>
                    <a:pt x="157272" y="212612"/>
                  </a:lnTo>
                  <a:lnTo>
                    <a:pt x="165754" y="205827"/>
                  </a:lnTo>
                  <a:lnTo>
                    <a:pt x="178504" y="205827"/>
                  </a:lnTo>
                  <a:lnTo>
                    <a:pt x="178504" y="207648"/>
                  </a:lnTo>
                  <a:lnTo>
                    <a:pt x="176683" y="218578"/>
                  </a:lnTo>
                  <a:lnTo>
                    <a:pt x="171218" y="218578"/>
                  </a:lnTo>
                  <a:lnTo>
                    <a:pt x="167575" y="222221"/>
                  </a:lnTo>
                  <a:lnTo>
                    <a:pt x="160289" y="222221"/>
                  </a:lnTo>
                  <a:lnTo>
                    <a:pt x="156748" y="213368"/>
                  </a:lnTo>
                  <a:lnTo>
                    <a:pt x="149360" y="224041"/>
                  </a:lnTo>
                  <a:lnTo>
                    <a:pt x="147538" y="224041"/>
                  </a:lnTo>
                  <a:lnTo>
                    <a:pt x="147538" y="213112"/>
                  </a:lnTo>
                  <a:close/>
                  <a:moveTo>
                    <a:pt x="52823" y="174861"/>
                  </a:moveTo>
                  <a:lnTo>
                    <a:pt x="54644" y="174861"/>
                  </a:lnTo>
                  <a:lnTo>
                    <a:pt x="54644" y="178504"/>
                  </a:lnTo>
                  <a:lnTo>
                    <a:pt x="60109" y="200361"/>
                  </a:lnTo>
                  <a:lnTo>
                    <a:pt x="60109" y="202183"/>
                  </a:lnTo>
                  <a:lnTo>
                    <a:pt x="58287" y="202183"/>
                  </a:lnTo>
                  <a:lnTo>
                    <a:pt x="41894" y="213112"/>
                  </a:lnTo>
                  <a:lnTo>
                    <a:pt x="41894" y="218577"/>
                  </a:lnTo>
                  <a:lnTo>
                    <a:pt x="20036" y="236791"/>
                  </a:lnTo>
                  <a:lnTo>
                    <a:pt x="3643" y="247720"/>
                  </a:lnTo>
                  <a:lnTo>
                    <a:pt x="0" y="247720"/>
                  </a:lnTo>
                  <a:lnTo>
                    <a:pt x="0" y="245899"/>
                  </a:lnTo>
                  <a:lnTo>
                    <a:pt x="5464" y="234970"/>
                  </a:lnTo>
                  <a:lnTo>
                    <a:pt x="47358" y="200361"/>
                  </a:lnTo>
                  <a:lnTo>
                    <a:pt x="52823" y="178504"/>
                  </a:lnTo>
                  <a:close/>
                  <a:moveTo>
                    <a:pt x="111109" y="163932"/>
                  </a:moveTo>
                  <a:lnTo>
                    <a:pt x="114752" y="163932"/>
                  </a:lnTo>
                  <a:lnTo>
                    <a:pt x="125681" y="169396"/>
                  </a:lnTo>
                  <a:lnTo>
                    <a:pt x="142075" y="173039"/>
                  </a:lnTo>
                  <a:lnTo>
                    <a:pt x="142075" y="183968"/>
                  </a:lnTo>
                  <a:lnTo>
                    <a:pt x="138432" y="183968"/>
                  </a:lnTo>
                  <a:lnTo>
                    <a:pt x="114752" y="202183"/>
                  </a:lnTo>
                  <a:lnTo>
                    <a:pt x="114752" y="200361"/>
                  </a:lnTo>
                  <a:close/>
                  <a:moveTo>
                    <a:pt x="171218" y="147540"/>
                  </a:moveTo>
                  <a:lnTo>
                    <a:pt x="193076" y="147540"/>
                  </a:lnTo>
                  <a:lnTo>
                    <a:pt x="193076" y="151183"/>
                  </a:lnTo>
                  <a:lnTo>
                    <a:pt x="198540" y="156647"/>
                  </a:lnTo>
                  <a:lnTo>
                    <a:pt x="198540" y="173040"/>
                  </a:lnTo>
                  <a:lnTo>
                    <a:pt x="205826" y="185791"/>
                  </a:lnTo>
                  <a:lnTo>
                    <a:pt x="204005" y="185791"/>
                  </a:lnTo>
                  <a:lnTo>
                    <a:pt x="193076" y="183969"/>
                  </a:lnTo>
                  <a:lnTo>
                    <a:pt x="189433" y="183969"/>
                  </a:lnTo>
                  <a:lnTo>
                    <a:pt x="187739" y="180921"/>
                  </a:lnTo>
                  <a:lnTo>
                    <a:pt x="193076" y="205826"/>
                  </a:lnTo>
                  <a:lnTo>
                    <a:pt x="193076" y="207648"/>
                  </a:lnTo>
                  <a:lnTo>
                    <a:pt x="187612" y="207648"/>
                  </a:lnTo>
                  <a:lnTo>
                    <a:pt x="187612" y="211291"/>
                  </a:lnTo>
                  <a:lnTo>
                    <a:pt x="183969" y="211291"/>
                  </a:lnTo>
                  <a:lnTo>
                    <a:pt x="178504" y="205826"/>
                  </a:lnTo>
                  <a:lnTo>
                    <a:pt x="176683" y="189433"/>
                  </a:lnTo>
                  <a:lnTo>
                    <a:pt x="173040" y="191255"/>
                  </a:lnTo>
                  <a:lnTo>
                    <a:pt x="173040" y="189433"/>
                  </a:lnTo>
                  <a:lnTo>
                    <a:pt x="171218" y="174861"/>
                  </a:lnTo>
                  <a:lnTo>
                    <a:pt x="171218" y="173040"/>
                  </a:lnTo>
                  <a:lnTo>
                    <a:pt x="187342" y="180206"/>
                  </a:lnTo>
                  <a:lnTo>
                    <a:pt x="171218" y="151183"/>
                  </a:lnTo>
                  <a:close/>
                  <a:moveTo>
                    <a:pt x="143896" y="145718"/>
                  </a:moveTo>
                  <a:lnTo>
                    <a:pt x="147539" y="145718"/>
                  </a:lnTo>
                  <a:lnTo>
                    <a:pt x="162111" y="162112"/>
                  </a:lnTo>
                  <a:lnTo>
                    <a:pt x="165754" y="167576"/>
                  </a:lnTo>
                  <a:lnTo>
                    <a:pt x="162111" y="167576"/>
                  </a:lnTo>
                  <a:lnTo>
                    <a:pt x="162111" y="169398"/>
                  </a:lnTo>
                  <a:lnTo>
                    <a:pt x="153003" y="158469"/>
                  </a:lnTo>
                  <a:lnTo>
                    <a:pt x="143896" y="162112"/>
                  </a:lnTo>
                  <a:lnTo>
                    <a:pt x="142074" y="162112"/>
                  </a:lnTo>
                  <a:lnTo>
                    <a:pt x="143896" y="147539"/>
                  </a:lnTo>
                  <a:close/>
                  <a:moveTo>
                    <a:pt x="116574" y="145718"/>
                  </a:moveTo>
                  <a:lnTo>
                    <a:pt x="120217" y="145718"/>
                  </a:lnTo>
                  <a:lnTo>
                    <a:pt x="120217" y="147539"/>
                  </a:lnTo>
                  <a:lnTo>
                    <a:pt x="116574" y="158469"/>
                  </a:lnTo>
                  <a:lnTo>
                    <a:pt x="114752" y="158469"/>
                  </a:lnTo>
                  <a:lnTo>
                    <a:pt x="114752" y="151182"/>
                  </a:lnTo>
                  <a:close/>
                  <a:moveTo>
                    <a:pt x="109288" y="123860"/>
                  </a:moveTo>
                  <a:lnTo>
                    <a:pt x="116574" y="123860"/>
                  </a:lnTo>
                  <a:lnTo>
                    <a:pt x="116574" y="127503"/>
                  </a:lnTo>
                  <a:lnTo>
                    <a:pt x="120217" y="127503"/>
                  </a:lnTo>
                  <a:lnTo>
                    <a:pt x="120217" y="132967"/>
                  </a:lnTo>
                  <a:lnTo>
                    <a:pt x="116574" y="134789"/>
                  </a:lnTo>
                  <a:lnTo>
                    <a:pt x="109288" y="127503"/>
                  </a:lnTo>
                  <a:close/>
                  <a:moveTo>
                    <a:pt x="87429" y="123860"/>
                  </a:moveTo>
                  <a:lnTo>
                    <a:pt x="92893" y="123860"/>
                  </a:lnTo>
                  <a:lnTo>
                    <a:pt x="92893" y="127503"/>
                  </a:lnTo>
                  <a:lnTo>
                    <a:pt x="103822" y="132967"/>
                  </a:lnTo>
                  <a:lnTo>
                    <a:pt x="103822" y="153003"/>
                  </a:lnTo>
                  <a:lnTo>
                    <a:pt x="98357" y="158468"/>
                  </a:lnTo>
                  <a:lnTo>
                    <a:pt x="94715" y="158468"/>
                  </a:lnTo>
                  <a:lnTo>
                    <a:pt x="94715" y="156646"/>
                  </a:lnTo>
                  <a:lnTo>
                    <a:pt x="81965" y="132967"/>
                  </a:lnTo>
                  <a:lnTo>
                    <a:pt x="76500" y="129324"/>
                  </a:lnTo>
                  <a:lnTo>
                    <a:pt x="74679" y="129324"/>
                  </a:lnTo>
                  <a:lnTo>
                    <a:pt x="74679" y="127503"/>
                  </a:lnTo>
                  <a:lnTo>
                    <a:pt x="81965" y="127503"/>
                  </a:lnTo>
                  <a:close/>
                  <a:moveTo>
                    <a:pt x="114753" y="85610"/>
                  </a:moveTo>
                  <a:lnTo>
                    <a:pt x="116574" y="85610"/>
                  </a:lnTo>
                  <a:lnTo>
                    <a:pt x="116574" y="96539"/>
                  </a:lnTo>
                  <a:lnTo>
                    <a:pt x="114753" y="96539"/>
                  </a:lnTo>
                  <a:lnTo>
                    <a:pt x="111109" y="89253"/>
                  </a:lnTo>
                  <a:close/>
                  <a:moveTo>
                    <a:pt x="83787" y="0"/>
                  </a:moveTo>
                  <a:lnTo>
                    <a:pt x="109287" y="5464"/>
                  </a:lnTo>
                  <a:lnTo>
                    <a:pt x="114752" y="5464"/>
                  </a:lnTo>
                  <a:lnTo>
                    <a:pt x="116574" y="0"/>
                  </a:lnTo>
                  <a:lnTo>
                    <a:pt x="122038" y="1821"/>
                  </a:lnTo>
                  <a:lnTo>
                    <a:pt x="120217" y="27322"/>
                  </a:lnTo>
                  <a:lnTo>
                    <a:pt x="127502" y="40072"/>
                  </a:lnTo>
                  <a:lnTo>
                    <a:pt x="127502" y="43715"/>
                  </a:lnTo>
                  <a:lnTo>
                    <a:pt x="120217" y="61930"/>
                  </a:lnTo>
                  <a:lnTo>
                    <a:pt x="109287" y="69216"/>
                  </a:lnTo>
                  <a:lnTo>
                    <a:pt x="103823" y="80144"/>
                  </a:lnTo>
                  <a:lnTo>
                    <a:pt x="109287" y="102002"/>
                  </a:lnTo>
                  <a:lnTo>
                    <a:pt x="114752" y="112931"/>
                  </a:lnTo>
                  <a:lnTo>
                    <a:pt x="120217" y="112931"/>
                  </a:lnTo>
                  <a:lnTo>
                    <a:pt x="120217" y="107466"/>
                  </a:lnTo>
                  <a:lnTo>
                    <a:pt x="131145" y="102002"/>
                  </a:lnTo>
                  <a:lnTo>
                    <a:pt x="132967" y="102002"/>
                  </a:lnTo>
                  <a:lnTo>
                    <a:pt x="132967" y="105645"/>
                  </a:lnTo>
                  <a:lnTo>
                    <a:pt x="142074" y="118395"/>
                  </a:lnTo>
                  <a:lnTo>
                    <a:pt x="143896" y="112931"/>
                  </a:lnTo>
                  <a:lnTo>
                    <a:pt x="147539" y="112931"/>
                  </a:lnTo>
                  <a:lnTo>
                    <a:pt x="160289" y="118395"/>
                  </a:lnTo>
                  <a:lnTo>
                    <a:pt x="160289" y="122038"/>
                  </a:lnTo>
                  <a:lnTo>
                    <a:pt x="154824" y="123860"/>
                  </a:lnTo>
                  <a:lnTo>
                    <a:pt x="160289" y="129324"/>
                  </a:lnTo>
                  <a:lnTo>
                    <a:pt x="160289" y="134789"/>
                  </a:lnTo>
                  <a:lnTo>
                    <a:pt x="165753" y="138431"/>
                  </a:lnTo>
                  <a:lnTo>
                    <a:pt x="165753" y="151182"/>
                  </a:lnTo>
                  <a:lnTo>
                    <a:pt x="162110" y="151182"/>
                  </a:lnTo>
                  <a:lnTo>
                    <a:pt x="156646" y="143896"/>
                  </a:lnTo>
                  <a:lnTo>
                    <a:pt x="160289" y="143896"/>
                  </a:lnTo>
                  <a:lnTo>
                    <a:pt x="147539" y="138431"/>
                  </a:lnTo>
                  <a:lnTo>
                    <a:pt x="131145" y="118395"/>
                  </a:lnTo>
                  <a:lnTo>
                    <a:pt x="127502" y="118395"/>
                  </a:lnTo>
                  <a:lnTo>
                    <a:pt x="132967" y="132967"/>
                  </a:lnTo>
                  <a:lnTo>
                    <a:pt x="132967" y="134789"/>
                  </a:lnTo>
                  <a:lnTo>
                    <a:pt x="131145" y="134789"/>
                  </a:lnTo>
                  <a:lnTo>
                    <a:pt x="114752" y="116574"/>
                  </a:lnTo>
                  <a:lnTo>
                    <a:pt x="105644" y="116574"/>
                  </a:lnTo>
                  <a:lnTo>
                    <a:pt x="100180" y="123860"/>
                  </a:lnTo>
                  <a:lnTo>
                    <a:pt x="94716" y="123860"/>
                  </a:lnTo>
                  <a:lnTo>
                    <a:pt x="89251" y="122038"/>
                  </a:lnTo>
                  <a:lnTo>
                    <a:pt x="83787" y="122038"/>
                  </a:lnTo>
                  <a:lnTo>
                    <a:pt x="83787" y="118395"/>
                  </a:lnTo>
                  <a:lnTo>
                    <a:pt x="81965" y="111109"/>
                  </a:lnTo>
                  <a:lnTo>
                    <a:pt x="87430" y="100181"/>
                  </a:lnTo>
                  <a:lnTo>
                    <a:pt x="83787" y="96538"/>
                  </a:lnTo>
                  <a:lnTo>
                    <a:pt x="81965" y="105645"/>
                  </a:lnTo>
                  <a:lnTo>
                    <a:pt x="78322" y="105645"/>
                  </a:lnTo>
                  <a:lnTo>
                    <a:pt x="69215" y="89252"/>
                  </a:lnTo>
                  <a:lnTo>
                    <a:pt x="60108" y="61930"/>
                  </a:lnTo>
                  <a:lnTo>
                    <a:pt x="60108" y="60108"/>
                  </a:lnTo>
                  <a:lnTo>
                    <a:pt x="74679" y="60108"/>
                  </a:lnTo>
                  <a:lnTo>
                    <a:pt x="81965" y="182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1" name="Thailand">
              <a:extLst>
                <a:ext uri="{FF2B5EF4-FFF2-40B4-BE49-F238E27FC236}">
                  <a16:creationId xmlns:a16="http://schemas.microsoft.com/office/drawing/2014/main" id="{3ADD1E72-5A88-E5DD-92CC-046A7FD42A7A}"/>
                </a:ext>
              </a:extLst>
            </p:cNvPr>
            <p:cNvSpPr>
              <a:spLocks/>
            </p:cNvSpPr>
            <p:nvPr/>
          </p:nvSpPr>
          <p:spPr bwMode="auto">
            <a:xfrm>
              <a:off x="8131654" y="4090464"/>
              <a:ext cx="184321" cy="365026"/>
            </a:xfrm>
            <a:custGeom>
              <a:avLst/>
              <a:gdLst/>
              <a:ahLst/>
              <a:cxnLst/>
              <a:rect l="l" t="t" r="r" b="b"/>
              <a:pathLst>
                <a:path w="185790" h="367936">
                  <a:moveTo>
                    <a:pt x="18215" y="218576"/>
                  </a:moveTo>
                  <a:lnTo>
                    <a:pt x="20036" y="218576"/>
                  </a:lnTo>
                  <a:lnTo>
                    <a:pt x="20036" y="227684"/>
                  </a:lnTo>
                  <a:lnTo>
                    <a:pt x="12750" y="227684"/>
                  </a:lnTo>
                  <a:lnTo>
                    <a:pt x="12750" y="224041"/>
                  </a:lnTo>
                  <a:close/>
                  <a:moveTo>
                    <a:pt x="61930" y="0"/>
                  </a:moveTo>
                  <a:lnTo>
                    <a:pt x="61930" y="5465"/>
                  </a:lnTo>
                  <a:lnTo>
                    <a:pt x="67395" y="9107"/>
                  </a:lnTo>
                  <a:lnTo>
                    <a:pt x="69216" y="9107"/>
                  </a:lnTo>
                  <a:lnTo>
                    <a:pt x="69216" y="25501"/>
                  </a:lnTo>
                  <a:lnTo>
                    <a:pt x="81966" y="27322"/>
                  </a:lnTo>
                  <a:lnTo>
                    <a:pt x="81966" y="30965"/>
                  </a:lnTo>
                  <a:lnTo>
                    <a:pt x="78323" y="76502"/>
                  </a:lnTo>
                  <a:lnTo>
                    <a:pt x="98360" y="61930"/>
                  </a:lnTo>
                  <a:lnTo>
                    <a:pt x="118396" y="67394"/>
                  </a:lnTo>
                  <a:lnTo>
                    <a:pt x="123860" y="65573"/>
                  </a:lnTo>
                  <a:lnTo>
                    <a:pt x="129325" y="60108"/>
                  </a:lnTo>
                  <a:lnTo>
                    <a:pt x="136611" y="56466"/>
                  </a:lnTo>
                  <a:lnTo>
                    <a:pt x="145718" y="56466"/>
                  </a:lnTo>
                  <a:lnTo>
                    <a:pt x="160290" y="78323"/>
                  </a:lnTo>
                  <a:lnTo>
                    <a:pt x="169397" y="111110"/>
                  </a:lnTo>
                  <a:lnTo>
                    <a:pt x="185790" y="127503"/>
                  </a:lnTo>
                  <a:lnTo>
                    <a:pt x="185790" y="154825"/>
                  </a:lnTo>
                  <a:lnTo>
                    <a:pt x="180326" y="160289"/>
                  </a:lnTo>
                  <a:lnTo>
                    <a:pt x="134789" y="160289"/>
                  </a:lnTo>
                  <a:lnTo>
                    <a:pt x="114753" y="173039"/>
                  </a:lnTo>
                  <a:lnTo>
                    <a:pt x="109288" y="187611"/>
                  </a:lnTo>
                  <a:lnTo>
                    <a:pt x="114753" y="200361"/>
                  </a:lnTo>
                  <a:lnTo>
                    <a:pt x="123860" y="211290"/>
                  </a:lnTo>
                  <a:lnTo>
                    <a:pt x="125682" y="224040"/>
                  </a:lnTo>
                  <a:lnTo>
                    <a:pt x="123860" y="227683"/>
                  </a:lnTo>
                  <a:lnTo>
                    <a:pt x="123860" y="224040"/>
                  </a:lnTo>
                  <a:lnTo>
                    <a:pt x="118396" y="213112"/>
                  </a:lnTo>
                  <a:lnTo>
                    <a:pt x="98360" y="202183"/>
                  </a:lnTo>
                  <a:lnTo>
                    <a:pt x="78323" y="202183"/>
                  </a:lnTo>
                  <a:lnTo>
                    <a:pt x="74681" y="200361"/>
                  </a:lnTo>
                  <a:lnTo>
                    <a:pt x="74681" y="182147"/>
                  </a:lnTo>
                  <a:lnTo>
                    <a:pt x="61930" y="178504"/>
                  </a:lnTo>
                  <a:lnTo>
                    <a:pt x="56466" y="182147"/>
                  </a:lnTo>
                  <a:lnTo>
                    <a:pt x="52823" y="211290"/>
                  </a:lnTo>
                  <a:lnTo>
                    <a:pt x="36430" y="260470"/>
                  </a:lnTo>
                  <a:lnTo>
                    <a:pt x="40073" y="280506"/>
                  </a:lnTo>
                  <a:lnTo>
                    <a:pt x="52823" y="280506"/>
                  </a:lnTo>
                  <a:lnTo>
                    <a:pt x="69216" y="327864"/>
                  </a:lnTo>
                  <a:lnTo>
                    <a:pt x="78323" y="335150"/>
                  </a:lnTo>
                  <a:lnTo>
                    <a:pt x="92895" y="338793"/>
                  </a:lnTo>
                  <a:lnTo>
                    <a:pt x="109288" y="355186"/>
                  </a:lnTo>
                  <a:lnTo>
                    <a:pt x="109288" y="357007"/>
                  </a:lnTo>
                  <a:lnTo>
                    <a:pt x="103824" y="362472"/>
                  </a:lnTo>
                  <a:lnTo>
                    <a:pt x="92895" y="362472"/>
                  </a:lnTo>
                  <a:lnTo>
                    <a:pt x="85609" y="367936"/>
                  </a:lnTo>
                  <a:lnTo>
                    <a:pt x="81966" y="367936"/>
                  </a:lnTo>
                  <a:lnTo>
                    <a:pt x="78323" y="349722"/>
                  </a:lnTo>
                  <a:lnTo>
                    <a:pt x="61930" y="346079"/>
                  </a:lnTo>
                  <a:lnTo>
                    <a:pt x="61930" y="349722"/>
                  </a:lnTo>
                  <a:lnTo>
                    <a:pt x="23679" y="306006"/>
                  </a:lnTo>
                  <a:lnTo>
                    <a:pt x="14572" y="307828"/>
                  </a:lnTo>
                  <a:lnTo>
                    <a:pt x="14572" y="289613"/>
                  </a:lnTo>
                  <a:lnTo>
                    <a:pt x="23679" y="260470"/>
                  </a:lnTo>
                  <a:lnTo>
                    <a:pt x="25501" y="244077"/>
                  </a:lnTo>
                  <a:lnTo>
                    <a:pt x="45537" y="218576"/>
                  </a:lnTo>
                  <a:lnTo>
                    <a:pt x="30965" y="189433"/>
                  </a:lnTo>
                  <a:lnTo>
                    <a:pt x="30965" y="167575"/>
                  </a:lnTo>
                  <a:lnTo>
                    <a:pt x="14572" y="154825"/>
                  </a:lnTo>
                  <a:lnTo>
                    <a:pt x="12751" y="145717"/>
                  </a:lnTo>
                  <a:lnTo>
                    <a:pt x="23679" y="116574"/>
                  </a:lnTo>
                  <a:lnTo>
                    <a:pt x="18215" y="111110"/>
                  </a:lnTo>
                  <a:lnTo>
                    <a:pt x="18215" y="92895"/>
                  </a:lnTo>
                  <a:lnTo>
                    <a:pt x="7286" y="78323"/>
                  </a:lnTo>
                  <a:lnTo>
                    <a:pt x="0" y="60108"/>
                  </a:lnTo>
                  <a:lnTo>
                    <a:pt x="7286" y="30965"/>
                  </a:lnTo>
                  <a:lnTo>
                    <a:pt x="7286" y="27322"/>
                  </a:lnTo>
                  <a:lnTo>
                    <a:pt x="25501" y="25501"/>
                  </a:lnTo>
                  <a:lnTo>
                    <a:pt x="52823" y="9107"/>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2" name="Andaman &amp; Nicobar Islands">
              <a:extLst>
                <a:ext uri="{FF2B5EF4-FFF2-40B4-BE49-F238E27FC236}">
                  <a16:creationId xmlns:a16="http://schemas.microsoft.com/office/drawing/2014/main" id="{99B50069-4407-DB8B-5EBD-44FA77A45519}"/>
                </a:ext>
              </a:extLst>
            </p:cNvPr>
            <p:cNvSpPr>
              <a:spLocks/>
            </p:cNvSpPr>
            <p:nvPr/>
          </p:nvSpPr>
          <p:spPr bwMode="auto">
            <a:xfrm>
              <a:off x="8006968" y="4265750"/>
              <a:ext cx="14457" cy="50598"/>
            </a:xfrm>
            <a:custGeom>
              <a:avLst/>
              <a:gdLst>
                <a:gd name="T0" fmla="*/ 6 w 8"/>
                <a:gd name="T1" fmla="*/ 0 h 28"/>
                <a:gd name="T2" fmla="*/ 8 w 8"/>
                <a:gd name="T3" fmla="*/ 0 h 28"/>
                <a:gd name="T4" fmla="*/ 8 w 8"/>
                <a:gd name="T5" fmla="*/ 1 h 28"/>
                <a:gd name="T6" fmla="*/ 3 w 8"/>
                <a:gd name="T7" fmla="*/ 28 h 28"/>
                <a:gd name="T8" fmla="*/ 0 w 8"/>
                <a:gd name="T9" fmla="*/ 23 h 28"/>
                <a:gd name="T10" fmla="*/ 6 w 8"/>
                <a:gd name="T11" fmla="*/ 1 h 28"/>
                <a:gd name="T12" fmla="*/ 6 w 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8" h="28">
                  <a:moveTo>
                    <a:pt x="6" y="0"/>
                  </a:moveTo>
                  <a:lnTo>
                    <a:pt x="8" y="0"/>
                  </a:lnTo>
                  <a:lnTo>
                    <a:pt x="8" y="1"/>
                  </a:lnTo>
                  <a:lnTo>
                    <a:pt x="3" y="28"/>
                  </a:lnTo>
                  <a:lnTo>
                    <a:pt x="0" y="23"/>
                  </a:lnTo>
                  <a:lnTo>
                    <a:pt x="6" y="1"/>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3" name="Indonesia">
              <a:extLst>
                <a:ext uri="{FF2B5EF4-FFF2-40B4-BE49-F238E27FC236}">
                  <a16:creationId xmlns:a16="http://schemas.microsoft.com/office/drawing/2014/main" id="{FF566523-C40F-D207-D0E5-4BABC1E8AC25}"/>
                </a:ext>
              </a:extLst>
            </p:cNvPr>
            <p:cNvSpPr>
              <a:spLocks/>
            </p:cNvSpPr>
            <p:nvPr/>
          </p:nvSpPr>
          <p:spPr bwMode="auto">
            <a:xfrm>
              <a:off x="8034073" y="4415735"/>
              <a:ext cx="1127607" cy="430083"/>
            </a:xfrm>
            <a:custGeom>
              <a:avLst/>
              <a:gdLst/>
              <a:ahLst/>
              <a:cxnLst/>
              <a:rect l="l" t="t" r="r" b="b"/>
              <a:pathLst>
                <a:path w="1136596" h="433511">
                  <a:moveTo>
                    <a:pt x="708552" y="420760"/>
                  </a:moveTo>
                  <a:lnTo>
                    <a:pt x="710373" y="420760"/>
                  </a:lnTo>
                  <a:lnTo>
                    <a:pt x="710373" y="422582"/>
                  </a:lnTo>
                  <a:lnTo>
                    <a:pt x="708552" y="431690"/>
                  </a:lnTo>
                  <a:lnTo>
                    <a:pt x="704909" y="431690"/>
                  </a:lnTo>
                  <a:lnTo>
                    <a:pt x="697622" y="433511"/>
                  </a:lnTo>
                  <a:lnTo>
                    <a:pt x="697622" y="431690"/>
                  </a:lnTo>
                  <a:close/>
                  <a:moveTo>
                    <a:pt x="621121" y="393437"/>
                  </a:moveTo>
                  <a:lnTo>
                    <a:pt x="630228" y="393437"/>
                  </a:lnTo>
                  <a:lnTo>
                    <a:pt x="642978" y="404366"/>
                  </a:lnTo>
                  <a:lnTo>
                    <a:pt x="650264" y="413474"/>
                  </a:lnTo>
                  <a:lnTo>
                    <a:pt x="650264" y="415296"/>
                  </a:lnTo>
                  <a:lnTo>
                    <a:pt x="637514" y="420760"/>
                  </a:lnTo>
                  <a:lnTo>
                    <a:pt x="621121" y="408010"/>
                  </a:lnTo>
                  <a:lnTo>
                    <a:pt x="608370" y="408010"/>
                  </a:lnTo>
                  <a:lnTo>
                    <a:pt x="604727" y="398902"/>
                  </a:lnTo>
                  <a:lnTo>
                    <a:pt x="604727" y="397080"/>
                  </a:lnTo>
                  <a:lnTo>
                    <a:pt x="613835" y="397080"/>
                  </a:lnTo>
                  <a:close/>
                  <a:moveTo>
                    <a:pt x="790516" y="371580"/>
                  </a:moveTo>
                  <a:lnTo>
                    <a:pt x="801445" y="371580"/>
                  </a:lnTo>
                  <a:lnTo>
                    <a:pt x="801445" y="375223"/>
                  </a:lnTo>
                  <a:lnTo>
                    <a:pt x="799624" y="380688"/>
                  </a:lnTo>
                  <a:lnTo>
                    <a:pt x="799624" y="382509"/>
                  </a:lnTo>
                  <a:lnTo>
                    <a:pt x="750444" y="398902"/>
                  </a:lnTo>
                  <a:lnTo>
                    <a:pt x="743159" y="413474"/>
                  </a:lnTo>
                  <a:lnTo>
                    <a:pt x="723123" y="420760"/>
                  </a:lnTo>
                  <a:lnTo>
                    <a:pt x="714015" y="420760"/>
                  </a:lnTo>
                  <a:lnTo>
                    <a:pt x="714015" y="417117"/>
                  </a:lnTo>
                  <a:lnTo>
                    <a:pt x="717658" y="402545"/>
                  </a:lnTo>
                  <a:lnTo>
                    <a:pt x="717658" y="398902"/>
                  </a:lnTo>
                  <a:lnTo>
                    <a:pt x="743159" y="387974"/>
                  </a:lnTo>
                  <a:lnTo>
                    <a:pt x="748623" y="377045"/>
                  </a:lnTo>
                  <a:lnTo>
                    <a:pt x="759552" y="377045"/>
                  </a:lnTo>
                  <a:close/>
                  <a:moveTo>
                    <a:pt x="734052" y="366116"/>
                  </a:moveTo>
                  <a:lnTo>
                    <a:pt x="739517" y="366116"/>
                  </a:lnTo>
                  <a:lnTo>
                    <a:pt x="744982" y="369759"/>
                  </a:lnTo>
                  <a:lnTo>
                    <a:pt x="750446" y="369759"/>
                  </a:lnTo>
                  <a:lnTo>
                    <a:pt x="750446" y="371581"/>
                  </a:lnTo>
                  <a:lnTo>
                    <a:pt x="739517" y="375224"/>
                  </a:lnTo>
                  <a:lnTo>
                    <a:pt x="737695" y="375224"/>
                  </a:lnTo>
                  <a:lnTo>
                    <a:pt x="734052" y="369759"/>
                  </a:lnTo>
                  <a:close/>
                  <a:moveTo>
                    <a:pt x="728588" y="366116"/>
                  </a:moveTo>
                  <a:lnTo>
                    <a:pt x="732231" y="366116"/>
                  </a:lnTo>
                  <a:lnTo>
                    <a:pt x="732231" y="369759"/>
                  </a:lnTo>
                  <a:lnTo>
                    <a:pt x="728588" y="377045"/>
                  </a:lnTo>
                  <a:lnTo>
                    <a:pt x="728588" y="380688"/>
                  </a:lnTo>
                  <a:lnTo>
                    <a:pt x="726766" y="380688"/>
                  </a:lnTo>
                  <a:lnTo>
                    <a:pt x="723123" y="375224"/>
                  </a:lnTo>
                  <a:close/>
                  <a:moveTo>
                    <a:pt x="710373" y="366116"/>
                  </a:moveTo>
                  <a:lnTo>
                    <a:pt x="714016" y="369759"/>
                  </a:lnTo>
                  <a:lnTo>
                    <a:pt x="715838" y="366116"/>
                  </a:lnTo>
                  <a:lnTo>
                    <a:pt x="717659" y="366116"/>
                  </a:lnTo>
                  <a:lnTo>
                    <a:pt x="717659" y="369759"/>
                  </a:lnTo>
                  <a:lnTo>
                    <a:pt x="715838" y="377045"/>
                  </a:lnTo>
                  <a:lnTo>
                    <a:pt x="708551" y="377045"/>
                  </a:lnTo>
                  <a:lnTo>
                    <a:pt x="710373" y="369759"/>
                  </a:lnTo>
                  <a:close/>
                  <a:moveTo>
                    <a:pt x="697624" y="364294"/>
                  </a:moveTo>
                  <a:lnTo>
                    <a:pt x="699445" y="364294"/>
                  </a:lnTo>
                  <a:lnTo>
                    <a:pt x="703088" y="371580"/>
                  </a:lnTo>
                  <a:lnTo>
                    <a:pt x="699445" y="371580"/>
                  </a:lnTo>
                  <a:lnTo>
                    <a:pt x="692159" y="382510"/>
                  </a:lnTo>
                  <a:lnTo>
                    <a:pt x="683052" y="382510"/>
                  </a:lnTo>
                  <a:lnTo>
                    <a:pt x="677587" y="386153"/>
                  </a:lnTo>
                  <a:lnTo>
                    <a:pt x="670301" y="386153"/>
                  </a:lnTo>
                  <a:lnTo>
                    <a:pt x="664837" y="387974"/>
                  </a:lnTo>
                  <a:lnTo>
                    <a:pt x="655730" y="387974"/>
                  </a:lnTo>
                  <a:lnTo>
                    <a:pt x="626586" y="386153"/>
                  </a:lnTo>
                  <a:lnTo>
                    <a:pt x="626586" y="382510"/>
                  </a:lnTo>
                  <a:lnTo>
                    <a:pt x="624764" y="382510"/>
                  </a:lnTo>
                  <a:lnTo>
                    <a:pt x="626586" y="375223"/>
                  </a:lnTo>
                  <a:lnTo>
                    <a:pt x="626586" y="371580"/>
                  </a:lnTo>
                  <a:lnTo>
                    <a:pt x="642979" y="366116"/>
                  </a:lnTo>
                  <a:lnTo>
                    <a:pt x="644801" y="366116"/>
                  </a:lnTo>
                  <a:lnTo>
                    <a:pt x="664837" y="377045"/>
                  </a:lnTo>
                  <a:lnTo>
                    <a:pt x="677587" y="371580"/>
                  </a:lnTo>
                  <a:lnTo>
                    <a:pt x="686695" y="377045"/>
                  </a:lnTo>
                  <a:lnTo>
                    <a:pt x="697624" y="369759"/>
                  </a:lnTo>
                  <a:close/>
                  <a:moveTo>
                    <a:pt x="581049" y="364294"/>
                  </a:moveTo>
                  <a:lnTo>
                    <a:pt x="582870" y="364294"/>
                  </a:lnTo>
                  <a:lnTo>
                    <a:pt x="588335" y="371580"/>
                  </a:lnTo>
                  <a:lnTo>
                    <a:pt x="591978" y="371580"/>
                  </a:lnTo>
                  <a:lnTo>
                    <a:pt x="593799" y="369759"/>
                  </a:lnTo>
                  <a:lnTo>
                    <a:pt x="597442" y="369759"/>
                  </a:lnTo>
                  <a:lnTo>
                    <a:pt x="597442" y="375223"/>
                  </a:lnTo>
                  <a:lnTo>
                    <a:pt x="602906" y="369759"/>
                  </a:lnTo>
                  <a:lnTo>
                    <a:pt x="604728" y="369759"/>
                  </a:lnTo>
                  <a:lnTo>
                    <a:pt x="610192" y="380688"/>
                  </a:lnTo>
                  <a:lnTo>
                    <a:pt x="610192" y="382510"/>
                  </a:lnTo>
                  <a:lnTo>
                    <a:pt x="597442" y="386153"/>
                  </a:lnTo>
                  <a:lnTo>
                    <a:pt x="593799" y="382510"/>
                  </a:lnTo>
                  <a:lnTo>
                    <a:pt x="559191" y="391617"/>
                  </a:lnTo>
                  <a:lnTo>
                    <a:pt x="557370" y="391617"/>
                  </a:lnTo>
                  <a:lnTo>
                    <a:pt x="552451" y="381780"/>
                  </a:lnTo>
                  <a:lnTo>
                    <a:pt x="551905" y="386153"/>
                  </a:lnTo>
                  <a:lnTo>
                    <a:pt x="531868" y="386153"/>
                  </a:lnTo>
                  <a:lnTo>
                    <a:pt x="535511" y="375224"/>
                  </a:lnTo>
                  <a:lnTo>
                    <a:pt x="540976" y="366116"/>
                  </a:lnTo>
                  <a:lnTo>
                    <a:pt x="542797" y="366116"/>
                  </a:lnTo>
                  <a:lnTo>
                    <a:pt x="551905" y="371581"/>
                  </a:lnTo>
                  <a:lnTo>
                    <a:pt x="553726" y="371581"/>
                  </a:lnTo>
                  <a:lnTo>
                    <a:pt x="553161" y="376103"/>
                  </a:lnTo>
                  <a:lnTo>
                    <a:pt x="559191" y="371580"/>
                  </a:lnTo>
                  <a:lnTo>
                    <a:pt x="571941" y="371580"/>
                  </a:lnTo>
                  <a:lnTo>
                    <a:pt x="581049" y="380688"/>
                  </a:lnTo>
                  <a:lnTo>
                    <a:pt x="582870" y="377045"/>
                  </a:lnTo>
                  <a:lnTo>
                    <a:pt x="577406" y="371580"/>
                  </a:lnTo>
                  <a:lnTo>
                    <a:pt x="581049" y="366116"/>
                  </a:lnTo>
                  <a:close/>
                  <a:moveTo>
                    <a:pt x="786875" y="349722"/>
                  </a:moveTo>
                  <a:lnTo>
                    <a:pt x="788697" y="349722"/>
                  </a:lnTo>
                  <a:lnTo>
                    <a:pt x="794161" y="355187"/>
                  </a:lnTo>
                  <a:lnTo>
                    <a:pt x="794161" y="358830"/>
                  </a:lnTo>
                  <a:lnTo>
                    <a:pt x="783232" y="364295"/>
                  </a:lnTo>
                  <a:lnTo>
                    <a:pt x="777767" y="364295"/>
                  </a:lnTo>
                  <a:lnTo>
                    <a:pt x="775946" y="366116"/>
                  </a:lnTo>
                  <a:lnTo>
                    <a:pt x="770481" y="366116"/>
                  </a:lnTo>
                  <a:lnTo>
                    <a:pt x="770481" y="355187"/>
                  </a:lnTo>
                  <a:close/>
                  <a:moveTo>
                    <a:pt x="901628" y="342436"/>
                  </a:moveTo>
                  <a:lnTo>
                    <a:pt x="907092" y="342436"/>
                  </a:lnTo>
                  <a:lnTo>
                    <a:pt x="907092" y="353365"/>
                  </a:lnTo>
                  <a:lnTo>
                    <a:pt x="899806" y="366116"/>
                  </a:lnTo>
                  <a:lnTo>
                    <a:pt x="896163" y="366116"/>
                  </a:lnTo>
                  <a:lnTo>
                    <a:pt x="894341" y="358830"/>
                  </a:lnTo>
                  <a:close/>
                  <a:moveTo>
                    <a:pt x="457189" y="336972"/>
                  </a:moveTo>
                  <a:lnTo>
                    <a:pt x="486334" y="336972"/>
                  </a:lnTo>
                  <a:lnTo>
                    <a:pt x="488155" y="342437"/>
                  </a:lnTo>
                  <a:lnTo>
                    <a:pt x="484512" y="342437"/>
                  </a:lnTo>
                  <a:lnTo>
                    <a:pt x="480869" y="344258"/>
                  </a:lnTo>
                  <a:lnTo>
                    <a:pt x="459011" y="344258"/>
                  </a:lnTo>
                  <a:lnTo>
                    <a:pt x="457189" y="338794"/>
                  </a:lnTo>
                  <a:close/>
                  <a:moveTo>
                    <a:pt x="515476" y="335150"/>
                  </a:moveTo>
                  <a:lnTo>
                    <a:pt x="520941" y="336972"/>
                  </a:lnTo>
                  <a:lnTo>
                    <a:pt x="524584" y="336972"/>
                  </a:lnTo>
                  <a:lnTo>
                    <a:pt x="520941" y="342436"/>
                  </a:lnTo>
                  <a:lnTo>
                    <a:pt x="519119" y="342436"/>
                  </a:lnTo>
                  <a:lnTo>
                    <a:pt x="515476" y="336972"/>
                  </a:lnTo>
                  <a:close/>
                  <a:moveTo>
                    <a:pt x="302364" y="313293"/>
                  </a:moveTo>
                  <a:lnTo>
                    <a:pt x="318758" y="315115"/>
                  </a:lnTo>
                  <a:lnTo>
                    <a:pt x="329686" y="313293"/>
                  </a:lnTo>
                  <a:lnTo>
                    <a:pt x="333329" y="318758"/>
                  </a:lnTo>
                  <a:lnTo>
                    <a:pt x="351544" y="320579"/>
                  </a:lnTo>
                  <a:lnTo>
                    <a:pt x="367937" y="335151"/>
                  </a:lnTo>
                  <a:lnTo>
                    <a:pt x="400724" y="336972"/>
                  </a:lnTo>
                  <a:lnTo>
                    <a:pt x="413474" y="324222"/>
                  </a:lnTo>
                  <a:lnTo>
                    <a:pt x="415296" y="324222"/>
                  </a:lnTo>
                  <a:lnTo>
                    <a:pt x="420760" y="331508"/>
                  </a:lnTo>
                  <a:lnTo>
                    <a:pt x="426224" y="329687"/>
                  </a:lnTo>
                  <a:lnTo>
                    <a:pt x="451725" y="336972"/>
                  </a:lnTo>
                  <a:lnTo>
                    <a:pt x="464475" y="353366"/>
                  </a:lnTo>
                  <a:lnTo>
                    <a:pt x="497262" y="358830"/>
                  </a:lnTo>
                  <a:lnTo>
                    <a:pt x="499083" y="358830"/>
                  </a:lnTo>
                  <a:lnTo>
                    <a:pt x="498400" y="364977"/>
                  </a:lnTo>
                  <a:lnTo>
                    <a:pt x="499083" y="364294"/>
                  </a:lnTo>
                  <a:lnTo>
                    <a:pt x="520940" y="364294"/>
                  </a:lnTo>
                  <a:lnTo>
                    <a:pt x="526404" y="369759"/>
                  </a:lnTo>
                  <a:lnTo>
                    <a:pt x="526404" y="371580"/>
                  </a:lnTo>
                  <a:lnTo>
                    <a:pt x="519118" y="386152"/>
                  </a:lnTo>
                  <a:lnTo>
                    <a:pt x="515476" y="386152"/>
                  </a:lnTo>
                  <a:lnTo>
                    <a:pt x="508190" y="375223"/>
                  </a:lnTo>
                  <a:lnTo>
                    <a:pt x="499083" y="371580"/>
                  </a:lnTo>
                  <a:lnTo>
                    <a:pt x="497667" y="371580"/>
                  </a:lnTo>
                  <a:lnTo>
                    <a:pt x="497262" y="375223"/>
                  </a:lnTo>
                  <a:lnTo>
                    <a:pt x="499083" y="382509"/>
                  </a:lnTo>
                  <a:lnTo>
                    <a:pt x="499083" y="386152"/>
                  </a:lnTo>
                  <a:lnTo>
                    <a:pt x="468118" y="371580"/>
                  </a:lnTo>
                  <a:lnTo>
                    <a:pt x="457189" y="375223"/>
                  </a:lnTo>
                  <a:lnTo>
                    <a:pt x="442618" y="371580"/>
                  </a:lnTo>
                  <a:lnTo>
                    <a:pt x="431689" y="375223"/>
                  </a:lnTo>
                  <a:lnTo>
                    <a:pt x="409831" y="369759"/>
                  </a:lnTo>
                  <a:lnTo>
                    <a:pt x="384331" y="358830"/>
                  </a:lnTo>
                  <a:lnTo>
                    <a:pt x="362473" y="355187"/>
                  </a:lnTo>
                  <a:lnTo>
                    <a:pt x="357009" y="360652"/>
                  </a:lnTo>
                  <a:lnTo>
                    <a:pt x="318758" y="349723"/>
                  </a:lnTo>
                  <a:lnTo>
                    <a:pt x="306007" y="344258"/>
                  </a:lnTo>
                  <a:lnTo>
                    <a:pt x="306007" y="342437"/>
                  </a:lnTo>
                  <a:lnTo>
                    <a:pt x="307829" y="342437"/>
                  </a:lnTo>
                  <a:lnTo>
                    <a:pt x="280507" y="336972"/>
                  </a:lnTo>
                  <a:lnTo>
                    <a:pt x="280507" y="335151"/>
                  </a:lnTo>
                  <a:lnTo>
                    <a:pt x="278685" y="331508"/>
                  </a:lnTo>
                  <a:lnTo>
                    <a:pt x="278685" y="329687"/>
                  </a:lnTo>
                  <a:lnTo>
                    <a:pt x="289614" y="329687"/>
                  </a:lnTo>
                  <a:lnTo>
                    <a:pt x="296900" y="315115"/>
                  </a:lnTo>
                  <a:close/>
                  <a:moveTo>
                    <a:pt x="972664" y="302364"/>
                  </a:moveTo>
                  <a:lnTo>
                    <a:pt x="974485" y="302364"/>
                  </a:lnTo>
                  <a:lnTo>
                    <a:pt x="978128" y="304186"/>
                  </a:lnTo>
                  <a:lnTo>
                    <a:pt x="978128" y="326044"/>
                  </a:lnTo>
                  <a:lnTo>
                    <a:pt x="975326" y="325484"/>
                  </a:lnTo>
                  <a:lnTo>
                    <a:pt x="978128" y="329688"/>
                  </a:lnTo>
                  <a:lnTo>
                    <a:pt x="978128" y="331509"/>
                  </a:lnTo>
                  <a:lnTo>
                    <a:pt x="974485" y="331509"/>
                  </a:lnTo>
                  <a:lnTo>
                    <a:pt x="969022" y="338794"/>
                  </a:lnTo>
                  <a:lnTo>
                    <a:pt x="967200" y="338794"/>
                  </a:lnTo>
                  <a:lnTo>
                    <a:pt x="963557" y="331508"/>
                  </a:lnTo>
                  <a:lnTo>
                    <a:pt x="963557" y="329687"/>
                  </a:lnTo>
                  <a:lnTo>
                    <a:pt x="967200" y="331508"/>
                  </a:lnTo>
                  <a:lnTo>
                    <a:pt x="963557" y="324222"/>
                  </a:lnTo>
                  <a:lnTo>
                    <a:pt x="963557" y="320579"/>
                  </a:lnTo>
                  <a:lnTo>
                    <a:pt x="967199" y="320579"/>
                  </a:lnTo>
                  <a:lnTo>
                    <a:pt x="967199" y="315115"/>
                  </a:lnTo>
                  <a:lnTo>
                    <a:pt x="969021" y="317392"/>
                  </a:lnTo>
                  <a:lnTo>
                    <a:pt x="969021" y="313293"/>
                  </a:lnTo>
                  <a:lnTo>
                    <a:pt x="967199" y="313293"/>
                  </a:lnTo>
                  <a:lnTo>
                    <a:pt x="967199" y="309650"/>
                  </a:lnTo>
                  <a:close/>
                  <a:moveTo>
                    <a:pt x="945342" y="298721"/>
                  </a:moveTo>
                  <a:lnTo>
                    <a:pt x="945342" y="302364"/>
                  </a:lnTo>
                  <a:lnTo>
                    <a:pt x="939878" y="313294"/>
                  </a:lnTo>
                  <a:lnTo>
                    <a:pt x="939878" y="315115"/>
                  </a:lnTo>
                  <a:lnTo>
                    <a:pt x="938056" y="315115"/>
                  </a:lnTo>
                  <a:lnTo>
                    <a:pt x="938056" y="302364"/>
                  </a:lnTo>
                  <a:lnTo>
                    <a:pt x="939878" y="302364"/>
                  </a:lnTo>
                  <a:close/>
                  <a:moveTo>
                    <a:pt x="699444" y="275042"/>
                  </a:moveTo>
                  <a:lnTo>
                    <a:pt x="703087" y="276864"/>
                  </a:lnTo>
                  <a:lnTo>
                    <a:pt x="704908" y="287793"/>
                  </a:lnTo>
                  <a:lnTo>
                    <a:pt x="703087" y="293257"/>
                  </a:lnTo>
                  <a:lnTo>
                    <a:pt x="704908" y="302364"/>
                  </a:lnTo>
                  <a:lnTo>
                    <a:pt x="697622" y="309650"/>
                  </a:lnTo>
                  <a:lnTo>
                    <a:pt x="693979" y="309650"/>
                  </a:lnTo>
                  <a:lnTo>
                    <a:pt x="692158" y="302368"/>
                  </a:lnTo>
                  <a:lnTo>
                    <a:pt x="692158" y="304186"/>
                  </a:lnTo>
                  <a:lnTo>
                    <a:pt x="681230" y="302365"/>
                  </a:lnTo>
                  <a:lnTo>
                    <a:pt x="681230" y="304186"/>
                  </a:lnTo>
                  <a:lnTo>
                    <a:pt x="677587" y="304186"/>
                  </a:lnTo>
                  <a:lnTo>
                    <a:pt x="672122" y="298722"/>
                  </a:lnTo>
                  <a:lnTo>
                    <a:pt x="675765" y="293257"/>
                  </a:lnTo>
                  <a:lnTo>
                    <a:pt x="677587" y="293257"/>
                  </a:lnTo>
                  <a:lnTo>
                    <a:pt x="681229" y="302363"/>
                  </a:lnTo>
                  <a:lnTo>
                    <a:pt x="683051" y="287793"/>
                  </a:lnTo>
                  <a:lnTo>
                    <a:pt x="683051" y="285971"/>
                  </a:lnTo>
                  <a:lnTo>
                    <a:pt x="692158" y="285971"/>
                  </a:lnTo>
                  <a:lnTo>
                    <a:pt x="692158" y="302358"/>
                  </a:lnTo>
                  <a:lnTo>
                    <a:pt x="693979" y="291436"/>
                  </a:lnTo>
                  <a:lnTo>
                    <a:pt x="699444" y="276864"/>
                  </a:lnTo>
                  <a:close/>
                  <a:moveTo>
                    <a:pt x="699443" y="269577"/>
                  </a:moveTo>
                  <a:lnTo>
                    <a:pt x="704908" y="269577"/>
                  </a:lnTo>
                  <a:lnTo>
                    <a:pt x="704908" y="275042"/>
                  </a:lnTo>
                  <a:close/>
                  <a:moveTo>
                    <a:pt x="540976" y="251363"/>
                  </a:moveTo>
                  <a:lnTo>
                    <a:pt x="542797" y="253185"/>
                  </a:lnTo>
                  <a:lnTo>
                    <a:pt x="546440" y="265936"/>
                  </a:lnTo>
                  <a:lnTo>
                    <a:pt x="540976" y="271400"/>
                  </a:lnTo>
                  <a:lnTo>
                    <a:pt x="537333" y="271400"/>
                  </a:lnTo>
                  <a:lnTo>
                    <a:pt x="535511" y="258649"/>
                  </a:lnTo>
                  <a:lnTo>
                    <a:pt x="540976" y="253185"/>
                  </a:lnTo>
                  <a:close/>
                  <a:moveTo>
                    <a:pt x="770480" y="245899"/>
                  </a:moveTo>
                  <a:lnTo>
                    <a:pt x="788696" y="245899"/>
                  </a:lnTo>
                  <a:lnTo>
                    <a:pt x="799625" y="251364"/>
                  </a:lnTo>
                  <a:lnTo>
                    <a:pt x="801446" y="251364"/>
                  </a:lnTo>
                  <a:lnTo>
                    <a:pt x="801446" y="258650"/>
                  </a:lnTo>
                  <a:lnTo>
                    <a:pt x="790517" y="265936"/>
                  </a:lnTo>
                  <a:lnTo>
                    <a:pt x="783231" y="265936"/>
                  </a:lnTo>
                  <a:lnTo>
                    <a:pt x="775945" y="258650"/>
                  </a:lnTo>
                  <a:lnTo>
                    <a:pt x="770480" y="247721"/>
                  </a:lnTo>
                  <a:close/>
                  <a:moveTo>
                    <a:pt x="823303" y="240434"/>
                  </a:moveTo>
                  <a:lnTo>
                    <a:pt x="856090" y="240434"/>
                  </a:lnTo>
                  <a:lnTo>
                    <a:pt x="877947" y="245899"/>
                  </a:lnTo>
                  <a:lnTo>
                    <a:pt x="879769" y="245899"/>
                  </a:lnTo>
                  <a:lnTo>
                    <a:pt x="888876" y="260471"/>
                  </a:lnTo>
                  <a:lnTo>
                    <a:pt x="888876" y="264114"/>
                  </a:lnTo>
                  <a:lnTo>
                    <a:pt x="885233" y="265935"/>
                  </a:lnTo>
                  <a:lnTo>
                    <a:pt x="859733" y="256828"/>
                  </a:lnTo>
                  <a:lnTo>
                    <a:pt x="848804" y="258649"/>
                  </a:lnTo>
                  <a:lnTo>
                    <a:pt x="839696" y="253185"/>
                  </a:lnTo>
                  <a:lnTo>
                    <a:pt x="832411" y="258649"/>
                  </a:lnTo>
                  <a:lnTo>
                    <a:pt x="828768" y="258649"/>
                  </a:lnTo>
                  <a:lnTo>
                    <a:pt x="828768" y="258650"/>
                  </a:lnTo>
                  <a:lnTo>
                    <a:pt x="826947" y="258650"/>
                  </a:lnTo>
                  <a:lnTo>
                    <a:pt x="821482" y="265936"/>
                  </a:lnTo>
                  <a:lnTo>
                    <a:pt x="817839" y="265936"/>
                  </a:lnTo>
                  <a:lnTo>
                    <a:pt x="817839" y="258650"/>
                  </a:lnTo>
                  <a:lnTo>
                    <a:pt x="821482" y="258650"/>
                  </a:lnTo>
                  <a:lnTo>
                    <a:pt x="826947" y="256828"/>
                  </a:lnTo>
                  <a:lnTo>
                    <a:pt x="823303" y="253185"/>
                  </a:lnTo>
                  <a:lnTo>
                    <a:pt x="817839" y="258649"/>
                  </a:lnTo>
                  <a:lnTo>
                    <a:pt x="816017" y="258649"/>
                  </a:lnTo>
                  <a:lnTo>
                    <a:pt x="816017" y="251363"/>
                  </a:lnTo>
                  <a:lnTo>
                    <a:pt x="823303" y="242256"/>
                  </a:lnTo>
                  <a:close/>
                  <a:moveTo>
                    <a:pt x="336972" y="234970"/>
                  </a:moveTo>
                  <a:lnTo>
                    <a:pt x="340615" y="234970"/>
                  </a:lnTo>
                  <a:lnTo>
                    <a:pt x="351544" y="236792"/>
                  </a:lnTo>
                  <a:lnTo>
                    <a:pt x="351544" y="247721"/>
                  </a:lnTo>
                  <a:lnTo>
                    <a:pt x="347901" y="251364"/>
                  </a:lnTo>
                  <a:lnTo>
                    <a:pt x="336972" y="247721"/>
                  </a:lnTo>
                  <a:lnTo>
                    <a:pt x="335150" y="247721"/>
                  </a:lnTo>
                  <a:lnTo>
                    <a:pt x="335150" y="245900"/>
                  </a:lnTo>
                  <a:close/>
                  <a:moveTo>
                    <a:pt x="868841" y="213113"/>
                  </a:moveTo>
                  <a:lnTo>
                    <a:pt x="874305" y="213113"/>
                  </a:lnTo>
                  <a:lnTo>
                    <a:pt x="874305" y="224043"/>
                  </a:lnTo>
                  <a:lnTo>
                    <a:pt x="867019" y="225864"/>
                  </a:lnTo>
                  <a:lnTo>
                    <a:pt x="867019" y="224043"/>
                  </a:lnTo>
                  <a:lnTo>
                    <a:pt x="861554" y="218578"/>
                  </a:lnTo>
                  <a:lnTo>
                    <a:pt x="861554" y="214935"/>
                  </a:lnTo>
                  <a:lnTo>
                    <a:pt x="867019" y="214935"/>
                  </a:lnTo>
                  <a:close/>
                  <a:moveTo>
                    <a:pt x="732230" y="213113"/>
                  </a:moveTo>
                  <a:lnTo>
                    <a:pt x="739516" y="213113"/>
                  </a:lnTo>
                  <a:lnTo>
                    <a:pt x="748624" y="214935"/>
                  </a:lnTo>
                  <a:lnTo>
                    <a:pt x="755909" y="214935"/>
                  </a:lnTo>
                  <a:lnTo>
                    <a:pt x="755909" y="214933"/>
                  </a:lnTo>
                  <a:lnTo>
                    <a:pt x="781410" y="214933"/>
                  </a:lnTo>
                  <a:lnTo>
                    <a:pt x="781410" y="218576"/>
                  </a:lnTo>
                  <a:lnTo>
                    <a:pt x="777767" y="218576"/>
                  </a:lnTo>
                  <a:lnTo>
                    <a:pt x="761374" y="224041"/>
                  </a:lnTo>
                  <a:lnTo>
                    <a:pt x="759552" y="224041"/>
                  </a:lnTo>
                  <a:lnTo>
                    <a:pt x="759552" y="220398"/>
                  </a:lnTo>
                  <a:lnTo>
                    <a:pt x="755910" y="218577"/>
                  </a:lnTo>
                  <a:lnTo>
                    <a:pt x="755910" y="218578"/>
                  </a:lnTo>
                  <a:lnTo>
                    <a:pt x="754089" y="218578"/>
                  </a:lnTo>
                  <a:lnTo>
                    <a:pt x="739516" y="224042"/>
                  </a:lnTo>
                  <a:lnTo>
                    <a:pt x="737695" y="224042"/>
                  </a:lnTo>
                  <a:lnTo>
                    <a:pt x="732230" y="214935"/>
                  </a:lnTo>
                  <a:close/>
                  <a:moveTo>
                    <a:pt x="1007272" y="209470"/>
                  </a:moveTo>
                  <a:lnTo>
                    <a:pt x="1029131" y="213113"/>
                  </a:lnTo>
                  <a:lnTo>
                    <a:pt x="1030952" y="218578"/>
                  </a:lnTo>
                  <a:lnTo>
                    <a:pt x="1029131" y="218578"/>
                  </a:lnTo>
                  <a:lnTo>
                    <a:pt x="999986" y="214935"/>
                  </a:lnTo>
                  <a:lnTo>
                    <a:pt x="999986" y="213113"/>
                  </a:lnTo>
                  <a:close/>
                  <a:moveTo>
                    <a:pt x="805088" y="207648"/>
                  </a:moveTo>
                  <a:lnTo>
                    <a:pt x="812374" y="207648"/>
                  </a:lnTo>
                  <a:lnTo>
                    <a:pt x="823303" y="209470"/>
                  </a:lnTo>
                  <a:lnTo>
                    <a:pt x="823303" y="213113"/>
                  </a:lnTo>
                  <a:lnTo>
                    <a:pt x="806910" y="214934"/>
                  </a:lnTo>
                  <a:lnTo>
                    <a:pt x="805088" y="214934"/>
                  </a:lnTo>
                  <a:lnTo>
                    <a:pt x="805088" y="209470"/>
                  </a:lnTo>
                  <a:lnTo>
                    <a:pt x="801445" y="209470"/>
                  </a:lnTo>
                  <a:close/>
                  <a:moveTo>
                    <a:pt x="295079" y="207648"/>
                  </a:moveTo>
                  <a:lnTo>
                    <a:pt x="296900" y="207648"/>
                  </a:lnTo>
                  <a:lnTo>
                    <a:pt x="296900" y="209470"/>
                  </a:lnTo>
                  <a:lnTo>
                    <a:pt x="306007" y="231327"/>
                  </a:lnTo>
                  <a:lnTo>
                    <a:pt x="316936" y="231327"/>
                  </a:lnTo>
                  <a:lnTo>
                    <a:pt x="316936" y="247720"/>
                  </a:lnTo>
                  <a:lnTo>
                    <a:pt x="313293" y="247720"/>
                  </a:lnTo>
                  <a:lnTo>
                    <a:pt x="300543" y="242256"/>
                  </a:lnTo>
                  <a:lnTo>
                    <a:pt x="291436" y="225863"/>
                  </a:lnTo>
                  <a:lnTo>
                    <a:pt x="278685" y="220398"/>
                  </a:lnTo>
                  <a:lnTo>
                    <a:pt x="284150" y="209470"/>
                  </a:lnTo>
                  <a:lnTo>
                    <a:pt x="291436" y="213113"/>
                  </a:lnTo>
                  <a:close/>
                  <a:moveTo>
                    <a:pt x="703087" y="202184"/>
                  </a:moveTo>
                  <a:lnTo>
                    <a:pt x="704908" y="204006"/>
                  </a:lnTo>
                  <a:lnTo>
                    <a:pt x="704908" y="207648"/>
                  </a:lnTo>
                  <a:lnTo>
                    <a:pt x="710372" y="204005"/>
                  </a:lnTo>
                  <a:lnTo>
                    <a:pt x="714015" y="204005"/>
                  </a:lnTo>
                  <a:lnTo>
                    <a:pt x="714015" y="209470"/>
                  </a:lnTo>
                  <a:lnTo>
                    <a:pt x="710372" y="213113"/>
                  </a:lnTo>
                  <a:lnTo>
                    <a:pt x="704908" y="213113"/>
                  </a:lnTo>
                  <a:lnTo>
                    <a:pt x="703542" y="209015"/>
                  </a:lnTo>
                  <a:lnTo>
                    <a:pt x="699444" y="213113"/>
                  </a:lnTo>
                  <a:lnTo>
                    <a:pt x="697622" y="213113"/>
                  </a:lnTo>
                  <a:lnTo>
                    <a:pt x="697622" y="204006"/>
                  </a:lnTo>
                  <a:close/>
                  <a:moveTo>
                    <a:pt x="123860" y="196719"/>
                  </a:moveTo>
                  <a:lnTo>
                    <a:pt x="132968" y="196719"/>
                  </a:lnTo>
                  <a:lnTo>
                    <a:pt x="138432" y="214934"/>
                  </a:lnTo>
                  <a:lnTo>
                    <a:pt x="127503" y="209470"/>
                  </a:lnTo>
                  <a:lnTo>
                    <a:pt x="123860" y="209470"/>
                  </a:lnTo>
                  <a:close/>
                  <a:moveTo>
                    <a:pt x="996343" y="191255"/>
                  </a:moveTo>
                  <a:lnTo>
                    <a:pt x="1007272" y="191255"/>
                  </a:lnTo>
                  <a:lnTo>
                    <a:pt x="1018201" y="202185"/>
                  </a:lnTo>
                  <a:lnTo>
                    <a:pt x="1018201" y="204006"/>
                  </a:lnTo>
                  <a:lnTo>
                    <a:pt x="1010915" y="204006"/>
                  </a:lnTo>
                  <a:lnTo>
                    <a:pt x="996343" y="193077"/>
                  </a:lnTo>
                  <a:close/>
                  <a:moveTo>
                    <a:pt x="923484" y="182147"/>
                  </a:moveTo>
                  <a:lnTo>
                    <a:pt x="934413" y="182147"/>
                  </a:lnTo>
                  <a:lnTo>
                    <a:pt x="947163" y="191255"/>
                  </a:lnTo>
                  <a:lnTo>
                    <a:pt x="963557" y="191255"/>
                  </a:lnTo>
                  <a:lnTo>
                    <a:pt x="969021" y="204005"/>
                  </a:lnTo>
                  <a:lnTo>
                    <a:pt x="969021" y="231327"/>
                  </a:lnTo>
                  <a:lnTo>
                    <a:pt x="972664" y="236791"/>
                  </a:lnTo>
                  <a:lnTo>
                    <a:pt x="972664" y="234970"/>
                  </a:lnTo>
                  <a:lnTo>
                    <a:pt x="978128" y="234970"/>
                  </a:lnTo>
                  <a:lnTo>
                    <a:pt x="983593" y="251363"/>
                  </a:lnTo>
                  <a:lnTo>
                    <a:pt x="990879" y="253184"/>
                  </a:lnTo>
                  <a:lnTo>
                    <a:pt x="999986" y="253184"/>
                  </a:lnTo>
                  <a:lnTo>
                    <a:pt x="1018201" y="225862"/>
                  </a:lnTo>
                  <a:lnTo>
                    <a:pt x="1034594" y="225862"/>
                  </a:lnTo>
                  <a:lnTo>
                    <a:pt x="1040058" y="214934"/>
                  </a:lnTo>
                  <a:lnTo>
                    <a:pt x="1052809" y="207648"/>
                  </a:lnTo>
                  <a:lnTo>
                    <a:pt x="1056452" y="207648"/>
                  </a:lnTo>
                  <a:lnTo>
                    <a:pt x="1096524" y="225862"/>
                  </a:lnTo>
                  <a:lnTo>
                    <a:pt x="1131132" y="234970"/>
                  </a:lnTo>
                  <a:lnTo>
                    <a:pt x="1134775" y="234970"/>
                  </a:lnTo>
                  <a:lnTo>
                    <a:pt x="1134775" y="293257"/>
                  </a:lnTo>
                  <a:lnTo>
                    <a:pt x="1131132" y="336972"/>
                  </a:lnTo>
                  <a:lnTo>
                    <a:pt x="1136596" y="391616"/>
                  </a:lnTo>
                  <a:lnTo>
                    <a:pt x="1136596" y="393437"/>
                  </a:lnTo>
                  <a:lnTo>
                    <a:pt x="1134775" y="393437"/>
                  </a:lnTo>
                  <a:lnTo>
                    <a:pt x="1103810" y="366115"/>
                  </a:lnTo>
                  <a:lnTo>
                    <a:pt x="1083774" y="369758"/>
                  </a:lnTo>
                  <a:lnTo>
                    <a:pt x="1080131" y="371580"/>
                  </a:lnTo>
                  <a:lnTo>
                    <a:pt x="1080131" y="375223"/>
                  </a:lnTo>
                  <a:lnTo>
                    <a:pt x="1050987" y="375223"/>
                  </a:lnTo>
                  <a:lnTo>
                    <a:pt x="1050987" y="371580"/>
                  </a:lnTo>
                  <a:lnTo>
                    <a:pt x="1052809" y="371580"/>
                  </a:lnTo>
                  <a:lnTo>
                    <a:pt x="1063737" y="349722"/>
                  </a:lnTo>
                  <a:lnTo>
                    <a:pt x="1074666" y="347901"/>
                  </a:lnTo>
                  <a:lnTo>
                    <a:pt x="1078309" y="349722"/>
                  </a:lnTo>
                  <a:lnTo>
                    <a:pt x="1078309" y="347901"/>
                  </a:lnTo>
                  <a:lnTo>
                    <a:pt x="1074666" y="347901"/>
                  </a:lnTo>
                  <a:lnTo>
                    <a:pt x="1074666" y="344258"/>
                  </a:lnTo>
                  <a:lnTo>
                    <a:pt x="1080131" y="344258"/>
                  </a:lnTo>
                  <a:lnTo>
                    <a:pt x="1069202" y="338793"/>
                  </a:lnTo>
                  <a:lnTo>
                    <a:pt x="1069202" y="336972"/>
                  </a:lnTo>
                  <a:lnTo>
                    <a:pt x="1074666" y="331507"/>
                  </a:lnTo>
                  <a:lnTo>
                    <a:pt x="1058273" y="302364"/>
                  </a:lnTo>
                  <a:lnTo>
                    <a:pt x="1025487" y="287792"/>
                  </a:lnTo>
                  <a:lnTo>
                    <a:pt x="989057" y="282328"/>
                  </a:lnTo>
                  <a:lnTo>
                    <a:pt x="979950" y="271399"/>
                  </a:lnTo>
                  <a:lnTo>
                    <a:pt x="969021" y="271399"/>
                  </a:lnTo>
                  <a:lnTo>
                    <a:pt x="956271" y="260470"/>
                  </a:lnTo>
                  <a:lnTo>
                    <a:pt x="956271" y="253184"/>
                  </a:lnTo>
                  <a:lnTo>
                    <a:pt x="950806" y="269578"/>
                  </a:lnTo>
                  <a:lnTo>
                    <a:pt x="945342" y="269578"/>
                  </a:lnTo>
                  <a:lnTo>
                    <a:pt x="941699" y="271399"/>
                  </a:lnTo>
                  <a:lnTo>
                    <a:pt x="938056" y="271399"/>
                  </a:lnTo>
                  <a:lnTo>
                    <a:pt x="932592" y="253184"/>
                  </a:lnTo>
                  <a:lnTo>
                    <a:pt x="916198" y="245899"/>
                  </a:lnTo>
                  <a:lnTo>
                    <a:pt x="912555" y="245899"/>
                  </a:lnTo>
                  <a:lnTo>
                    <a:pt x="912555" y="240434"/>
                  </a:lnTo>
                  <a:lnTo>
                    <a:pt x="916198" y="240434"/>
                  </a:lnTo>
                  <a:lnTo>
                    <a:pt x="932592" y="236791"/>
                  </a:lnTo>
                  <a:lnTo>
                    <a:pt x="941699" y="231327"/>
                  </a:lnTo>
                  <a:lnTo>
                    <a:pt x="952628" y="234970"/>
                  </a:lnTo>
                  <a:lnTo>
                    <a:pt x="956271" y="231327"/>
                  </a:lnTo>
                  <a:lnTo>
                    <a:pt x="956271" y="224041"/>
                  </a:lnTo>
                  <a:lnTo>
                    <a:pt x="923484" y="229505"/>
                  </a:lnTo>
                  <a:lnTo>
                    <a:pt x="916198" y="225862"/>
                  </a:lnTo>
                  <a:lnTo>
                    <a:pt x="907091" y="213112"/>
                  </a:lnTo>
                  <a:lnTo>
                    <a:pt x="888876" y="209469"/>
                  </a:lnTo>
                  <a:lnTo>
                    <a:pt x="888876" y="207648"/>
                  </a:lnTo>
                  <a:lnTo>
                    <a:pt x="890698" y="204005"/>
                  </a:lnTo>
                  <a:lnTo>
                    <a:pt x="883412" y="204005"/>
                  </a:lnTo>
                  <a:lnTo>
                    <a:pt x="883412" y="196719"/>
                  </a:lnTo>
                  <a:lnTo>
                    <a:pt x="890698" y="196719"/>
                  </a:lnTo>
                  <a:lnTo>
                    <a:pt x="890698" y="204004"/>
                  </a:lnTo>
                  <a:lnTo>
                    <a:pt x="894341" y="196719"/>
                  </a:lnTo>
                  <a:close/>
                  <a:moveTo>
                    <a:pt x="801445" y="182147"/>
                  </a:moveTo>
                  <a:lnTo>
                    <a:pt x="806910" y="182147"/>
                  </a:lnTo>
                  <a:lnTo>
                    <a:pt x="816017" y="196719"/>
                  </a:lnTo>
                  <a:lnTo>
                    <a:pt x="812374" y="196719"/>
                  </a:lnTo>
                  <a:lnTo>
                    <a:pt x="806910" y="193076"/>
                  </a:lnTo>
                  <a:lnTo>
                    <a:pt x="805088" y="193076"/>
                  </a:lnTo>
                  <a:lnTo>
                    <a:pt x="801445" y="185790"/>
                  </a:lnTo>
                  <a:close/>
                  <a:moveTo>
                    <a:pt x="262292" y="180326"/>
                  </a:moveTo>
                  <a:lnTo>
                    <a:pt x="264113" y="187612"/>
                  </a:lnTo>
                  <a:lnTo>
                    <a:pt x="256827" y="187612"/>
                  </a:lnTo>
                  <a:lnTo>
                    <a:pt x="256827" y="185791"/>
                  </a:lnTo>
                  <a:close/>
                  <a:moveTo>
                    <a:pt x="883412" y="174861"/>
                  </a:moveTo>
                  <a:lnTo>
                    <a:pt x="896162" y="180326"/>
                  </a:lnTo>
                  <a:lnTo>
                    <a:pt x="896162" y="182147"/>
                  </a:lnTo>
                  <a:lnTo>
                    <a:pt x="888876" y="185790"/>
                  </a:lnTo>
                  <a:lnTo>
                    <a:pt x="885233" y="185790"/>
                  </a:lnTo>
                  <a:lnTo>
                    <a:pt x="874304" y="180326"/>
                  </a:lnTo>
                  <a:lnTo>
                    <a:pt x="874304" y="178504"/>
                  </a:lnTo>
                  <a:lnTo>
                    <a:pt x="877947" y="178504"/>
                  </a:lnTo>
                  <a:close/>
                  <a:moveTo>
                    <a:pt x="256827" y="145718"/>
                  </a:moveTo>
                  <a:lnTo>
                    <a:pt x="258649" y="145718"/>
                  </a:lnTo>
                  <a:lnTo>
                    <a:pt x="264113" y="147540"/>
                  </a:lnTo>
                  <a:lnTo>
                    <a:pt x="264113" y="156647"/>
                  </a:lnTo>
                  <a:lnTo>
                    <a:pt x="262292" y="156647"/>
                  </a:lnTo>
                  <a:lnTo>
                    <a:pt x="262292" y="153004"/>
                  </a:lnTo>
                  <a:close/>
                  <a:moveTo>
                    <a:pt x="245899" y="136611"/>
                  </a:moveTo>
                  <a:lnTo>
                    <a:pt x="251363" y="136611"/>
                  </a:lnTo>
                  <a:lnTo>
                    <a:pt x="251363" y="140255"/>
                  </a:lnTo>
                  <a:lnTo>
                    <a:pt x="244077" y="142076"/>
                  </a:lnTo>
                  <a:lnTo>
                    <a:pt x="240434" y="142076"/>
                  </a:lnTo>
                  <a:lnTo>
                    <a:pt x="240434" y="140255"/>
                  </a:lnTo>
                  <a:close/>
                  <a:moveTo>
                    <a:pt x="94716" y="136611"/>
                  </a:moveTo>
                  <a:lnTo>
                    <a:pt x="107467" y="151183"/>
                  </a:lnTo>
                  <a:lnTo>
                    <a:pt x="107467" y="162112"/>
                  </a:lnTo>
                  <a:lnTo>
                    <a:pt x="105646" y="162112"/>
                  </a:lnTo>
                  <a:lnTo>
                    <a:pt x="87430" y="142076"/>
                  </a:lnTo>
                  <a:lnTo>
                    <a:pt x="87430" y="140254"/>
                  </a:lnTo>
                  <a:close/>
                  <a:moveTo>
                    <a:pt x="202183" y="134789"/>
                  </a:moveTo>
                  <a:lnTo>
                    <a:pt x="213112" y="134789"/>
                  </a:lnTo>
                  <a:lnTo>
                    <a:pt x="216755" y="136611"/>
                  </a:lnTo>
                  <a:lnTo>
                    <a:pt x="216755" y="142075"/>
                  </a:lnTo>
                  <a:lnTo>
                    <a:pt x="213112" y="142075"/>
                  </a:lnTo>
                  <a:lnTo>
                    <a:pt x="202183" y="136611"/>
                  </a:lnTo>
                  <a:close/>
                  <a:moveTo>
                    <a:pt x="748624" y="131146"/>
                  </a:moveTo>
                  <a:lnTo>
                    <a:pt x="754088" y="142075"/>
                  </a:lnTo>
                  <a:lnTo>
                    <a:pt x="732231" y="167576"/>
                  </a:lnTo>
                  <a:lnTo>
                    <a:pt x="704909" y="167576"/>
                  </a:lnTo>
                  <a:lnTo>
                    <a:pt x="686694" y="163933"/>
                  </a:lnTo>
                  <a:lnTo>
                    <a:pt x="639336" y="163933"/>
                  </a:lnTo>
                  <a:lnTo>
                    <a:pt x="637514" y="169397"/>
                  </a:lnTo>
                  <a:lnTo>
                    <a:pt x="635693" y="191255"/>
                  </a:lnTo>
                  <a:lnTo>
                    <a:pt x="644800" y="207648"/>
                  </a:lnTo>
                  <a:lnTo>
                    <a:pt x="653907" y="207648"/>
                  </a:lnTo>
                  <a:lnTo>
                    <a:pt x="666658" y="193076"/>
                  </a:lnTo>
                  <a:lnTo>
                    <a:pt x="670301" y="193076"/>
                  </a:lnTo>
                  <a:lnTo>
                    <a:pt x="672122" y="196719"/>
                  </a:lnTo>
                  <a:lnTo>
                    <a:pt x="677587" y="196719"/>
                  </a:lnTo>
                  <a:lnTo>
                    <a:pt x="677587" y="191255"/>
                  </a:lnTo>
                  <a:lnTo>
                    <a:pt x="697623" y="191255"/>
                  </a:lnTo>
                  <a:lnTo>
                    <a:pt x="703087" y="185790"/>
                  </a:lnTo>
                  <a:lnTo>
                    <a:pt x="710373" y="185790"/>
                  </a:lnTo>
                  <a:lnTo>
                    <a:pt x="710373" y="187612"/>
                  </a:lnTo>
                  <a:lnTo>
                    <a:pt x="714016" y="196719"/>
                  </a:lnTo>
                  <a:lnTo>
                    <a:pt x="710373" y="196719"/>
                  </a:lnTo>
                  <a:lnTo>
                    <a:pt x="697623" y="198541"/>
                  </a:lnTo>
                  <a:lnTo>
                    <a:pt x="686694" y="213112"/>
                  </a:lnTo>
                  <a:lnTo>
                    <a:pt x="670301" y="218577"/>
                  </a:lnTo>
                  <a:lnTo>
                    <a:pt x="664836" y="218577"/>
                  </a:lnTo>
                  <a:lnTo>
                    <a:pt x="688515" y="251363"/>
                  </a:lnTo>
                  <a:lnTo>
                    <a:pt x="686694" y="258649"/>
                  </a:lnTo>
                  <a:lnTo>
                    <a:pt x="692158" y="269578"/>
                  </a:lnTo>
                  <a:lnTo>
                    <a:pt x="697623" y="269578"/>
                  </a:lnTo>
                  <a:lnTo>
                    <a:pt x="697623" y="276864"/>
                  </a:lnTo>
                  <a:lnTo>
                    <a:pt x="683051" y="282328"/>
                  </a:lnTo>
                  <a:lnTo>
                    <a:pt x="675765" y="291436"/>
                  </a:lnTo>
                  <a:lnTo>
                    <a:pt x="666658" y="291436"/>
                  </a:lnTo>
                  <a:lnTo>
                    <a:pt x="666658" y="271399"/>
                  </a:lnTo>
                  <a:lnTo>
                    <a:pt x="653907" y="260471"/>
                  </a:lnTo>
                  <a:lnTo>
                    <a:pt x="650264" y="256828"/>
                  </a:lnTo>
                  <a:lnTo>
                    <a:pt x="650264" y="253185"/>
                  </a:lnTo>
                  <a:lnTo>
                    <a:pt x="653907" y="240434"/>
                  </a:lnTo>
                  <a:lnTo>
                    <a:pt x="648443" y="236791"/>
                  </a:lnTo>
                  <a:lnTo>
                    <a:pt x="637514" y="247720"/>
                  </a:lnTo>
                  <a:lnTo>
                    <a:pt x="639336" y="253185"/>
                  </a:lnTo>
                  <a:lnTo>
                    <a:pt x="639336" y="307829"/>
                  </a:lnTo>
                  <a:lnTo>
                    <a:pt x="635693" y="307829"/>
                  </a:lnTo>
                  <a:lnTo>
                    <a:pt x="626585" y="309650"/>
                  </a:lnTo>
                  <a:lnTo>
                    <a:pt x="621121" y="309650"/>
                  </a:lnTo>
                  <a:lnTo>
                    <a:pt x="613835" y="302364"/>
                  </a:lnTo>
                  <a:lnTo>
                    <a:pt x="613835" y="298721"/>
                  </a:lnTo>
                  <a:lnTo>
                    <a:pt x="621121" y="269578"/>
                  </a:lnTo>
                  <a:lnTo>
                    <a:pt x="615657" y="258649"/>
                  </a:lnTo>
                  <a:lnTo>
                    <a:pt x="604728" y="258649"/>
                  </a:lnTo>
                  <a:lnTo>
                    <a:pt x="602906" y="240434"/>
                  </a:lnTo>
                  <a:lnTo>
                    <a:pt x="613835" y="218577"/>
                  </a:lnTo>
                  <a:lnTo>
                    <a:pt x="613835" y="204005"/>
                  </a:lnTo>
                  <a:lnTo>
                    <a:pt x="621121" y="187612"/>
                  </a:lnTo>
                  <a:lnTo>
                    <a:pt x="621121" y="174862"/>
                  </a:lnTo>
                  <a:lnTo>
                    <a:pt x="630228" y="156647"/>
                  </a:lnTo>
                  <a:lnTo>
                    <a:pt x="635693" y="153004"/>
                  </a:lnTo>
                  <a:lnTo>
                    <a:pt x="642979" y="153004"/>
                  </a:lnTo>
                  <a:lnTo>
                    <a:pt x="644800" y="145718"/>
                  </a:lnTo>
                  <a:lnTo>
                    <a:pt x="648443" y="145718"/>
                  </a:lnTo>
                  <a:lnTo>
                    <a:pt x="653907" y="142075"/>
                  </a:lnTo>
                  <a:lnTo>
                    <a:pt x="697623" y="153004"/>
                  </a:lnTo>
                  <a:lnTo>
                    <a:pt x="721302" y="153004"/>
                  </a:lnTo>
                  <a:close/>
                  <a:moveTo>
                    <a:pt x="817839" y="120217"/>
                  </a:moveTo>
                  <a:lnTo>
                    <a:pt x="821254" y="144124"/>
                  </a:lnTo>
                  <a:lnTo>
                    <a:pt x="812374" y="153004"/>
                  </a:lnTo>
                  <a:lnTo>
                    <a:pt x="821481" y="145718"/>
                  </a:lnTo>
                  <a:lnTo>
                    <a:pt x="821254" y="144124"/>
                  </a:lnTo>
                  <a:lnTo>
                    <a:pt x="828767" y="136611"/>
                  </a:lnTo>
                  <a:lnTo>
                    <a:pt x="837875" y="142075"/>
                  </a:lnTo>
                  <a:lnTo>
                    <a:pt x="837875" y="151182"/>
                  </a:lnTo>
                  <a:lnTo>
                    <a:pt x="828767" y="156647"/>
                  </a:lnTo>
                  <a:lnTo>
                    <a:pt x="839696" y="167576"/>
                  </a:lnTo>
                  <a:lnTo>
                    <a:pt x="839696" y="169397"/>
                  </a:lnTo>
                  <a:lnTo>
                    <a:pt x="837875" y="169397"/>
                  </a:lnTo>
                  <a:lnTo>
                    <a:pt x="821481" y="163933"/>
                  </a:lnTo>
                  <a:lnTo>
                    <a:pt x="817839" y="167576"/>
                  </a:lnTo>
                  <a:lnTo>
                    <a:pt x="817839" y="180326"/>
                  </a:lnTo>
                  <a:lnTo>
                    <a:pt x="826946" y="196719"/>
                  </a:lnTo>
                  <a:lnTo>
                    <a:pt x="823303" y="196719"/>
                  </a:lnTo>
                  <a:lnTo>
                    <a:pt x="812374" y="180326"/>
                  </a:lnTo>
                  <a:lnTo>
                    <a:pt x="801445" y="147539"/>
                  </a:lnTo>
                  <a:lnTo>
                    <a:pt x="806910" y="131146"/>
                  </a:lnTo>
                  <a:close/>
                  <a:moveTo>
                    <a:pt x="832411" y="109288"/>
                  </a:moveTo>
                  <a:lnTo>
                    <a:pt x="834232" y="109288"/>
                  </a:lnTo>
                  <a:lnTo>
                    <a:pt x="837875" y="120218"/>
                  </a:lnTo>
                  <a:lnTo>
                    <a:pt x="834232" y="120218"/>
                  </a:lnTo>
                  <a:lnTo>
                    <a:pt x="826946" y="125682"/>
                  </a:lnTo>
                  <a:lnTo>
                    <a:pt x="823303" y="118396"/>
                  </a:lnTo>
                  <a:lnTo>
                    <a:pt x="823303" y="114753"/>
                  </a:lnTo>
                  <a:close/>
                  <a:moveTo>
                    <a:pt x="56466" y="103825"/>
                  </a:moveTo>
                  <a:lnTo>
                    <a:pt x="71038" y="118398"/>
                  </a:lnTo>
                  <a:lnTo>
                    <a:pt x="71038" y="120219"/>
                  </a:lnTo>
                  <a:lnTo>
                    <a:pt x="54644" y="109290"/>
                  </a:lnTo>
                  <a:lnTo>
                    <a:pt x="54644" y="107468"/>
                  </a:lnTo>
                  <a:close/>
                  <a:moveTo>
                    <a:pt x="530047" y="69216"/>
                  </a:moveTo>
                  <a:lnTo>
                    <a:pt x="559191" y="69216"/>
                  </a:lnTo>
                  <a:lnTo>
                    <a:pt x="571941" y="74681"/>
                  </a:lnTo>
                  <a:lnTo>
                    <a:pt x="571941" y="78324"/>
                  </a:lnTo>
                  <a:lnTo>
                    <a:pt x="570119" y="78324"/>
                  </a:lnTo>
                  <a:lnTo>
                    <a:pt x="577405" y="85609"/>
                  </a:lnTo>
                  <a:lnTo>
                    <a:pt x="577405" y="89252"/>
                  </a:lnTo>
                  <a:lnTo>
                    <a:pt x="564655" y="91074"/>
                  </a:lnTo>
                  <a:lnTo>
                    <a:pt x="582870" y="118396"/>
                  </a:lnTo>
                  <a:lnTo>
                    <a:pt x="582870" y="120217"/>
                  </a:lnTo>
                  <a:lnTo>
                    <a:pt x="581048" y="129325"/>
                  </a:lnTo>
                  <a:lnTo>
                    <a:pt x="604727" y="153004"/>
                  </a:lnTo>
                  <a:lnTo>
                    <a:pt x="604727" y="156647"/>
                  </a:lnTo>
                  <a:lnTo>
                    <a:pt x="591977" y="156647"/>
                  </a:lnTo>
                  <a:lnTo>
                    <a:pt x="582870" y="151182"/>
                  </a:lnTo>
                  <a:lnTo>
                    <a:pt x="582870" y="156647"/>
                  </a:lnTo>
                  <a:lnTo>
                    <a:pt x="571941" y="167576"/>
                  </a:lnTo>
                  <a:lnTo>
                    <a:pt x="570119" y="185790"/>
                  </a:lnTo>
                  <a:lnTo>
                    <a:pt x="561012" y="202183"/>
                  </a:lnTo>
                  <a:lnTo>
                    <a:pt x="542797" y="218577"/>
                  </a:lnTo>
                  <a:lnTo>
                    <a:pt x="551905" y="225863"/>
                  </a:lnTo>
                  <a:lnTo>
                    <a:pt x="551905" y="229505"/>
                  </a:lnTo>
                  <a:lnTo>
                    <a:pt x="535511" y="258649"/>
                  </a:lnTo>
                  <a:lnTo>
                    <a:pt x="508189" y="271399"/>
                  </a:lnTo>
                  <a:lnTo>
                    <a:pt x="502725" y="271399"/>
                  </a:lnTo>
                  <a:lnTo>
                    <a:pt x="497261" y="258649"/>
                  </a:lnTo>
                  <a:lnTo>
                    <a:pt x="493618" y="256827"/>
                  </a:lnTo>
                  <a:lnTo>
                    <a:pt x="488153" y="256827"/>
                  </a:lnTo>
                  <a:lnTo>
                    <a:pt x="486332" y="258649"/>
                  </a:lnTo>
                  <a:lnTo>
                    <a:pt x="479046" y="258649"/>
                  </a:lnTo>
                  <a:lnTo>
                    <a:pt x="479046" y="251363"/>
                  </a:lnTo>
                  <a:lnTo>
                    <a:pt x="464474" y="247720"/>
                  </a:lnTo>
                  <a:lnTo>
                    <a:pt x="453545" y="256827"/>
                  </a:lnTo>
                  <a:lnTo>
                    <a:pt x="437152" y="258649"/>
                  </a:lnTo>
                  <a:lnTo>
                    <a:pt x="435331" y="258649"/>
                  </a:lnTo>
                  <a:lnTo>
                    <a:pt x="431688" y="242256"/>
                  </a:lnTo>
                  <a:lnTo>
                    <a:pt x="418937" y="247720"/>
                  </a:lnTo>
                  <a:lnTo>
                    <a:pt x="400723" y="245899"/>
                  </a:lnTo>
                  <a:lnTo>
                    <a:pt x="397080" y="245899"/>
                  </a:lnTo>
                  <a:lnTo>
                    <a:pt x="389794" y="204005"/>
                  </a:lnTo>
                  <a:lnTo>
                    <a:pt x="384329" y="191255"/>
                  </a:lnTo>
                  <a:lnTo>
                    <a:pt x="373401" y="185790"/>
                  </a:lnTo>
                  <a:lnTo>
                    <a:pt x="364293" y="162111"/>
                  </a:lnTo>
                  <a:lnTo>
                    <a:pt x="369758" y="136611"/>
                  </a:lnTo>
                  <a:lnTo>
                    <a:pt x="378865" y="125682"/>
                  </a:lnTo>
                  <a:lnTo>
                    <a:pt x="380686" y="123860"/>
                  </a:lnTo>
                  <a:lnTo>
                    <a:pt x="384329" y="123860"/>
                  </a:lnTo>
                  <a:lnTo>
                    <a:pt x="384329" y="125682"/>
                  </a:lnTo>
                  <a:lnTo>
                    <a:pt x="395258" y="145718"/>
                  </a:lnTo>
                  <a:lnTo>
                    <a:pt x="406187" y="151182"/>
                  </a:lnTo>
                  <a:lnTo>
                    <a:pt x="429866" y="151182"/>
                  </a:lnTo>
                  <a:lnTo>
                    <a:pt x="446259" y="136611"/>
                  </a:lnTo>
                  <a:lnTo>
                    <a:pt x="459010" y="136611"/>
                  </a:lnTo>
                  <a:lnTo>
                    <a:pt x="473581" y="145718"/>
                  </a:lnTo>
                  <a:lnTo>
                    <a:pt x="491796" y="140254"/>
                  </a:lnTo>
                  <a:lnTo>
                    <a:pt x="497261" y="136611"/>
                  </a:lnTo>
                  <a:lnTo>
                    <a:pt x="502725" y="129325"/>
                  </a:lnTo>
                  <a:lnTo>
                    <a:pt x="530047" y="72859"/>
                  </a:lnTo>
                  <a:close/>
                  <a:moveTo>
                    <a:pt x="40072" y="40073"/>
                  </a:moveTo>
                  <a:lnTo>
                    <a:pt x="54644" y="40073"/>
                  </a:lnTo>
                  <a:lnTo>
                    <a:pt x="71037" y="47359"/>
                  </a:lnTo>
                  <a:lnTo>
                    <a:pt x="98359" y="51002"/>
                  </a:lnTo>
                  <a:lnTo>
                    <a:pt x="100181" y="51002"/>
                  </a:lnTo>
                  <a:lnTo>
                    <a:pt x="116574" y="74681"/>
                  </a:lnTo>
                  <a:lnTo>
                    <a:pt x="143896" y="91074"/>
                  </a:lnTo>
                  <a:lnTo>
                    <a:pt x="171218" y="120218"/>
                  </a:lnTo>
                  <a:lnTo>
                    <a:pt x="176682" y="123861"/>
                  </a:lnTo>
                  <a:lnTo>
                    <a:pt x="178504" y="120218"/>
                  </a:lnTo>
                  <a:lnTo>
                    <a:pt x="180325" y="120218"/>
                  </a:lnTo>
                  <a:lnTo>
                    <a:pt x="189433" y="131147"/>
                  </a:lnTo>
                  <a:lnTo>
                    <a:pt x="196087" y="133999"/>
                  </a:lnTo>
                  <a:lnTo>
                    <a:pt x="189433" y="125682"/>
                  </a:lnTo>
                  <a:lnTo>
                    <a:pt x="189433" y="123860"/>
                  </a:lnTo>
                  <a:lnTo>
                    <a:pt x="200362" y="123860"/>
                  </a:lnTo>
                  <a:lnTo>
                    <a:pt x="200362" y="125682"/>
                  </a:lnTo>
                  <a:lnTo>
                    <a:pt x="196719" y="131146"/>
                  </a:lnTo>
                  <a:lnTo>
                    <a:pt x="196719" y="134270"/>
                  </a:lnTo>
                  <a:lnTo>
                    <a:pt x="202183" y="136611"/>
                  </a:lnTo>
                  <a:lnTo>
                    <a:pt x="207647" y="142076"/>
                  </a:lnTo>
                  <a:lnTo>
                    <a:pt x="211290" y="142076"/>
                  </a:lnTo>
                  <a:lnTo>
                    <a:pt x="216755" y="147540"/>
                  </a:lnTo>
                  <a:lnTo>
                    <a:pt x="229505" y="147540"/>
                  </a:lnTo>
                  <a:lnTo>
                    <a:pt x="229505" y="163933"/>
                  </a:lnTo>
                  <a:lnTo>
                    <a:pt x="234969" y="162112"/>
                  </a:lnTo>
                  <a:lnTo>
                    <a:pt x="244077" y="167576"/>
                  </a:lnTo>
                  <a:lnTo>
                    <a:pt x="245898" y="173041"/>
                  </a:lnTo>
                  <a:lnTo>
                    <a:pt x="245898" y="174862"/>
                  </a:lnTo>
                  <a:lnTo>
                    <a:pt x="240434" y="178505"/>
                  </a:lnTo>
                  <a:lnTo>
                    <a:pt x="244077" y="180326"/>
                  </a:lnTo>
                  <a:lnTo>
                    <a:pt x="240434" y="191255"/>
                  </a:lnTo>
                  <a:lnTo>
                    <a:pt x="240434" y="193077"/>
                  </a:lnTo>
                  <a:lnTo>
                    <a:pt x="258648" y="198541"/>
                  </a:lnTo>
                  <a:lnTo>
                    <a:pt x="264113" y="218577"/>
                  </a:lnTo>
                  <a:lnTo>
                    <a:pt x="273220" y="220399"/>
                  </a:lnTo>
                  <a:lnTo>
                    <a:pt x="273220" y="224042"/>
                  </a:lnTo>
                  <a:lnTo>
                    <a:pt x="269577" y="229506"/>
                  </a:lnTo>
                  <a:lnTo>
                    <a:pt x="289613" y="231328"/>
                  </a:lnTo>
                  <a:lnTo>
                    <a:pt x="300542" y="245899"/>
                  </a:lnTo>
                  <a:lnTo>
                    <a:pt x="295078" y="313294"/>
                  </a:lnTo>
                  <a:lnTo>
                    <a:pt x="291435" y="313294"/>
                  </a:lnTo>
                  <a:lnTo>
                    <a:pt x="284149" y="307829"/>
                  </a:lnTo>
                  <a:lnTo>
                    <a:pt x="278685" y="313294"/>
                  </a:lnTo>
                  <a:lnTo>
                    <a:pt x="275042" y="313294"/>
                  </a:lnTo>
                  <a:lnTo>
                    <a:pt x="269577" y="307829"/>
                  </a:lnTo>
                  <a:lnTo>
                    <a:pt x="267756" y="307829"/>
                  </a:lnTo>
                  <a:lnTo>
                    <a:pt x="267756" y="315115"/>
                  </a:lnTo>
                  <a:lnTo>
                    <a:pt x="264113" y="315115"/>
                  </a:lnTo>
                  <a:lnTo>
                    <a:pt x="244077" y="293258"/>
                  </a:lnTo>
                  <a:lnTo>
                    <a:pt x="213112" y="271400"/>
                  </a:lnTo>
                  <a:lnTo>
                    <a:pt x="205826" y="258650"/>
                  </a:lnTo>
                  <a:lnTo>
                    <a:pt x="178504" y="229506"/>
                  </a:lnTo>
                  <a:lnTo>
                    <a:pt x="160289" y="191255"/>
                  </a:lnTo>
                  <a:lnTo>
                    <a:pt x="149360" y="174862"/>
                  </a:lnTo>
                  <a:lnTo>
                    <a:pt x="138432" y="169398"/>
                  </a:lnTo>
                  <a:lnTo>
                    <a:pt x="138432" y="167576"/>
                  </a:lnTo>
                  <a:lnTo>
                    <a:pt x="134789" y="167576"/>
                  </a:lnTo>
                  <a:lnTo>
                    <a:pt x="123860" y="134790"/>
                  </a:lnTo>
                  <a:lnTo>
                    <a:pt x="118395" y="125682"/>
                  </a:lnTo>
                  <a:lnTo>
                    <a:pt x="100181" y="120218"/>
                  </a:lnTo>
                  <a:lnTo>
                    <a:pt x="100181" y="118396"/>
                  </a:lnTo>
                  <a:lnTo>
                    <a:pt x="98359" y="107468"/>
                  </a:lnTo>
                  <a:lnTo>
                    <a:pt x="87430" y="91074"/>
                  </a:lnTo>
                  <a:lnTo>
                    <a:pt x="76502" y="85610"/>
                  </a:lnTo>
                  <a:lnTo>
                    <a:pt x="49180" y="61931"/>
                  </a:lnTo>
                  <a:lnTo>
                    <a:pt x="40072" y="41895"/>
                  </a:lnTo>
                  <a:close/>
                  <a:moveTo>
                    <a:pt x="5465" y="0"/>
                  </a:moveTo>
                  <a:lnTo>
                    <a:pt x="9108" y="0"/>
                  </a:lnTo>
                  <a:lnTo>
                    <a:pt x="9108" y="1821"/>
                  </a:lnTo>
                  <a:lnTo>
                    <a:pt x="5465" y="12751"/>
                  </a:lnTo>
                  <a:lnTo>
                    <a:pt x="3643" y="12751"/>
                  </a:lnTo>
                  <a:lnTo>
                    <a:pt x="0" y="1821"/>
                  </a:lnTo>
                  <a:lnTo>
                    <a:pt x="3643" y="182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4" name="Socotra">
              <a:extLst>
                <a:ext uri="{FF2B5EF4-FFF2-40B4-BE49-F238E27FC236}">
                  <a16:creationId xmlns:a16="http://schemas.microsoft.com/office/drawing/2014/main" id="{ED960BE1-E6E7-0804-2494-6365335DBABF}"/>
                </a:ext>
              </a:extLst>
            </p:cNvPr>
            <p:cNvSpPr>
              <a:spLocks/>
            </p:cNvSpPr>
            <p:nvPr/>
          </p:nvSpPr>
          <p:spPr bwMode="auto">
            <a:xfrm>
              <a:off x="7085366" y="4287434"/>
              <a:ext cx="27107" cy="14457"/>
            </a:xfrm>
            <a:custGeom>
              <a:avLst/>
              <a:gdLst>
                <a:gd name="T0" fmla="*/ 3 w 15"/>
                <a:gd name="T1" fmla="*/ 0 h 8"/>
                <a:gd name="T2" fmla="*/ 6 w 15"/>
                <a:gd name="T3" fmla="*/ 0 h 8"/>
                <a:gd name="T4" fmla="*/ 11 w 15"/>
                <a:gd name="T5" fmla="*/ 1 h 8"/>
                <a:gd name="T6" fmla="*/ 15 w 15"/>
                <a:gd name="T7" fmla="*/ 1 h 8"/>
                <a:gd name="T8" fmla="*/ 15 w 15"/>
                <a:gd name="T9" fmla="*/ 2 h 8"/>
                <a:gd name="T10" fmla="*/ 14 w 15"/>
                <a:gd name="T11" fmla="*/ 4 h 8"/>
                <a:gd name="T12" fmla="*/ 14 w 15"/>
                <a:gd name="T13" fmla="*/ 5 h 8"/>
                <a:gd name="T14" fmla="*/ 9 w 15"/>
                <a:gd name="T15" fmla="*/ 8 h 8"/>
                <a:gd name="T16" fmla="*/ 2 w 15"/>
                <a:gd name="T17" fmla="*/ 4 h 8"/>
                <a:gd name="T18" fmla="*/ 0 w 15"/>
                <a:gd name="T19" fmla="*/ 4 h 8"/>
                <a:gd name="T20" fmla="*/ 3 w 15"/>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8">
                  <a:moveTo>
                    <a:pt x="3" y="0"/>
                  </a:moveTo>
                  <a:lnTo>
                    <a:pt x="6" y="0"/>
                  </a:lnTo>
                  <a:lnTo>
                    <a:pt x="11" y="1"/>
                  </a:lnTo>
                  <a:lnTo>
                    <a:pt x="15" y="1"/>
                  </a:lnTo>
                  <a:lnTo>
                    <a:pt x="15" y="2"/>
                  </a:lnTo>
                  <a:lnTo>
                    <a:pt x="14" y="4"/>
                  </a:lnTo>
                  <a:lnTo>
                    <a:pt x="14" y="5"/>
                  </a:lnTo>
                  <a:lnTo>
                    <a:pt x="9" y="8"/>
                  </a:lnTo>
                  <a:lnTo>
                    <a:pt x="2" y="4"/>
                  </a:lnTo>
                  <a:lnTo>
                    <a:pt x="0" y="4"/>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5" name="Bahrain">
              <a:extLst>
                <a:ext uri="{FF2B5EF4-FFF2-40B4-BE49-F238E27FC236}">
                  <a16:creationId xmlns:a16="http://schemas.microsoft.com/office/drawing/2014/main" id="{84AA7D79-D3C0-8E1C-9BC4-E05044C12C06}"/>
                </a:ext>
              </a:extLst>
            </p:cNvPr>
            <p:cNvSpPr>
              <a:spLocks/>
            </p:cNvSpPr>
            <p:nvPr/>
          </p:nvSpPr>
          <p:spPr bwMode="auto">
            <a:xfrm>
              <a:off x="7013084" y="3945900"/>
              <a:ext cx="9036" cy="10843"/>
            </a:xfrm>
            <a:custGeom>
              <a:avLst/>
              <a:gdLst>
                <a:gd name="T0" fmla="*/ 0 w 5"/>
                <a:gd name="T1" fmla="*/ 0 h 6"/>
                <a:gd name="T2" fmla="*/ 2 w 5"/>
                <a:gd name="T3" fmla="*/ 0 h 6"/>
                <a:gd name="T4" fmla="*/ 3 w 5"/>
                <a:gd name="T5" fmla="*/ 2 h 6"/>
                <a:gd name="T6" fmla="*/ 5 w 5"/>
                <a:gd name="T7" fmla="*/ 2 h 6"/>
                <a:gd name="T8" fmla="*/ 2 w 5"/>
                <a:gd name="T9" fmla="*/ 6 h 6"/>
                <a:gd name="T10" fmla="*/ 0 w 5"/>
                <a:gd name="T11" fmla="*/ 6 h 6"/>
                <a:gd name="T12" fmla="*/ 0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0" y="0"/>
                  </a:moveTo>
                  <a:lnTo>
                    <a:pt x="2" y="0"/>
                  </a:lnTo>
                  <a:lnTo>
                    <a:pt x="3" y="2"/>
                  </a:lnTo>
                  <a:lnTo>
                    <a:pt x="5" y="2"/>
                  </a:lnTo>
                  <a:lnTo>
                    <a:pt x="2" y="6"/>
                  </a:lnTo>
                  <a:lnTo>
                    <a:pt x="0" y="6"/>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6" name="Oman">
              <a:extLst>
                <a:ext uri="{FF2B5EF4-FFF2-40B4-BE49-F238E27FC236}">
                  <a16:creationId xmlns:a16="http://schemas.microsoft.com/office/drawing/2014/main" id="{D19CF17F-1CDF-C531-EC4B-AA5271A49AA4}"/>
                </a:ext>
              </a:extLst>
            </p:cNvPr>
            <p:cNvSpPr>
              <a:spLocks/>
            </p:cNvSpPr>
            <p:nvPr/>
          </p:nvSpPr>
          <p:spPr bwMode="auto">
            <a:xfrm>
              <a:off x="7051032" y="3983847"/>
              <a:ext cx="187935" cy="209619"/>
            </a:xfrm>
            <a:custGeom>
              <a:avLst/>
              <a:gdLst>
                <a:gd name="T0" fmla="*/ 49 w 104"/>
                <a:gd name="T1" fmla="*/ 0 h 116"/>
                <a:gd name="T2" fmla="*/ 58 w 104"/>
                <a:gd name="T3" fmla="*/ 0 h 116"/>
                <a:gd name="T4" fmla="*/ 65 w 104"/>
                <a:gd name="T5" fmla="*/ 10 h 116"/>
                <a:gd name="T6" fmla="*/ 88 w 104"/>
                <a:gd name="T7" fmla="*/ 19 h 116"/>
                <a:gd name="T8" fmla="*/ 97 w 104"/>
                <a:gd name="T9" fmla="*/ 30 h 116"/>
                <a:gd name="T10" fmla="*/ 102 w 104"/>
                <a:gd name="T11" fmla="*/ 34 h 116"/>
                <a:gd name="T12" fmla="*/ 104 w 104"/>
                <a:gd name="T13" fmla="*/ 36 h 116"/>
                <a:gd name="T14" fmla="*/ 101 w 104"/>
                <a:gd name="T15" fmla="*/ 43 h 116"/>
                <a:gd name="T16" fmla="*/ 86 w 104"/>
                <a:gd name="T17" fmla="*/ 64 h 116"/>
                <a:gd name="T18" fmla="*/ 85 w 104"/>
                <a:gd name="T19" fmla="*/ 64 h 116"/>
                <a:gd name="T20" fmla="*/ 82 w 104"/>
                <a:gd name="T21" fmla="*/ 62 h 116"/>
                <a:gd name="T22" fmla="*/ 79 w 104"/>
                <a:gd name="T23" fmla="*/ 64 h 116"/>
                <a:gd name="T24" fmla="*/ 76 w 104"/>
                <a:gd name="T25" fmla="*/ 70 h 116"/>
                <a:gd name="T26" fmla="*/ 77 w 104"/>
                <a:gd name="T27" fmla="*/ 83 h 116"/>
                <a:gd name="T28" fmla="*/ 76 w 104"/>
                <a:gd name="T29" fmla="*/ 83 h 116"/>
                <a:gd name="T30" fmla="*/ 64 w 104"/>
                <a:gd name="T31" fmla="*/ 87 h 116"/>
                <a:gd name="T32" fmla="*/ 58 w 104"/>
                <a:gd name="T33" fmla="*/ 98 h 116"/>
                <a:gd name="T34" fmla="*/ 48 w 104"/>
                <a:gd name="T35" fmla="*/ 101 h 116"/>
                <a:gd name="T36" fmla="*/ 40 w 104"/>
                <a:gd name="T37" fmla="*/ 111 h 116"/>
                <a:gd name="T38" fmla="*/ 28 w 104"/>
                <a:gd name="T39" fmla="*/ 111 h 116"/>
                <a:gd name="T40" fmla="*/ 14 w 104"/>
                <a:gd name="T41" fmla="*/ 116 h 116"/>
                <a:gd name="T42" fmla="*/ 0 w 104"/>
                <a:gd name="T43" fmla="*/ 83 h 116"/>
                <a:gd name="T44" fmla="*/ 39 w 104"/>
                <a:gd name="T45" fmla="*/ 68 h 116"/>
                <a:gd name="T46" fmla="*/ 49 w 104"/>
                <a:gd name="T47" fmla="*/ 41 h 116"/>
                <a:gd name="T48" fmla="*/ 42 w 104"/>
                <a:gd name="T49" fmla="*/ 31 h 116"/>
                <a:gd name="T50" fmla="*/ 45 w 104"/>
                <a:gd name="T51" fmla="*/ 15 h 116"/>
                <a:gd name="T52" fmla="*/ 45 w 104"/>
                <a:gd name="T53" fmla="*/ 13 h 116"/>
                <a:gd name="T54" fmla="*/ 46 w 104"/>
                <a:gd name="T55" fmla="*/ 13 h 116"/>
                <a:gd name="T56" fmla="*/ 52 w 104"/>
                <a:gd name="T57" fmla="*/ 12 h 116"/>
                <a:gd name="T58" fmla="*/ 49 w 104"/>
                <a:gd name="T59" fmla="*/ 1 h 116"/>
                <a:gd name="T60" fmla="*/ 49 w 104"/>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116">
                  <a:moveTo>
                    <a:pt x="49" y="0"/>
                  </a:moveTo>
                  <a:lnTo>
                    <a:pt x="58" y="0"/>
                  </a:lnTo>
                  <a:lnTo>
                    <a:pt x="65" y="10"/>
                  </a:lnTo>
                  <a:lnTo>
                    <a:pt x="88" y="19"/>
                  </a:lnTo>
                  <a:lnTo>
                    <a:pt x="97" y="30"/>
                  </a:lnTo>
                  <a:lnTo>
                    <a:pt x="102" y="34"/>
                  </a:lnTo>
                  <a:lnTo>
                    <a:pt x="104" y="36"/>
                  </a:lnTo>
                  <a:lnTo>
                    <a:pt x="101" y="43"/>
                  </a:lnTo>
                  <a:lnTo>
                    <a:pt x="86" y="64"/>
                  </a:lnTo>
                  <a:lnTo>
                    <a:pt x="85" y="64"/>
                  </a:lnTo>
                  <a:lnTo>
                    <a:pt x="82" y="62"/>
                  </a:lnTo>
                  <a:lnTo>
                    <a:pt x="79" y="64"/>
                  </a:lnTo>
                  <a:lnTo>
                    <a:pt x="76" y="70"/>
                  </a:lnTo>
                  <a:lnTo>
                    <a:pt x="77" y="83"/>
                  </a:lnTo>
                  <a:lnTo>
                    <a:pt x="76" y="83"/>
                  </a:lnTo>
                  <a:lnTo>
                    <a:pt x="64" y="87"/>
                  </a:lnTo>
                  <a:lnTo>
                    <a:pt x="58" y="98"/>
                  </a:lnTo>
                  <a:lnTo>
                    <a:pt x="48" y="101"/>
                  </a:lnTo>
                  <a:lnTo>
                    <a:pt x="40" y="111"/>
                  </a:lnTo>
                  <a:lnTo>
                    <a:pt x="28" y="111"/>
                  </a:lnTo>
                  <a:lnTo>
                    <a:pt x="14" y="116"/>
                  </a:lnTo>
                  <a:lnTo>
                    <a:pt x="0" y="83"/>
                  </a:lnTo>
                  <a:lnTo>
                    <a:pt x="39" y="68"/>
                  </a:lnTo>
                  <a:lnTo>
                    <a:pt x="49" y="41"/>
                  </a:lnTo>
                  <a:lnTo>
                    <a:pt x="42" y="31"/>
                  </a:lnTo>
                  <a:lnTo>
                    <a:pt x="45" y="15"/>
                  </a:lnTo>
                  <a:lnTo>
                    <a:pt x="45" y="13"/>
                  </a:lnTo>
                  <a:lnTo>
                    <a:pt x="46" y="13"/>
                  </a:lnTo>
                  <a:lnTo>
                    <a:pt x="52" y="12"/>
                  </a:lnTo>
                  <a:lnTo>
                    <a:pt x="49" y="1"/>
                  </a:lnTo>
                  <a:lnTo>
                    <a:pt x="4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7" name="Musandam Peninsula">
              <a:extLst>
                <a:ext uri="{FF2B5EF4-FFF2-40B4-BE49-F238E27FC236}">
                  <a16:creationId xmlns:a16="http://schemas.microsoft.com/office/drawing/2014/main" id="{05728CEA-66E5-39C4-E39A-6B44CF25FA4D}"/>
                </a:ext>
              </a:extLst>
            </p:cNvPr>
            <p:cNvSpPr>
              <a:spLocks/>
            </p:cNvSpPr>
            <p:nvPr/>
          </p:nvSpPr>
          <p:spPr bwMode="auto">
            <a:xfrm>
              <a:off x="7148613" y="3945900"/>
              <a:ext cx="7228" cy="21685"/>
            </a:xfrm>
            <a:custGeom>
              <a:avLst/>
              <a:gdLst>
                <a:gd name="T0" fmla="*/ 3 w 4"/>
                <a:gd name="T1" fmla="*/ 0 h 12"/>
                <a:gd name="T2" fmla="*/ 4 w 4"/>
                <a:gd name="T3" fmla="*/ 0 h 12"/>
                <a:gd name="T4" fmla="*/ 4 w 4"/>
                <a:gd name="T5" fmla="*/ 2 h 12"/>
                <a:gd name="T6" fmla="*/ 3 w 4"/>
                <a:gd name="T7" fmla="*/ 11 h 12"/>
                <a:gd name="T8" fmla="*/ 3 w 4"/>
                <a:gd name="T9" fmla="*/ 12 h 12"/>
                <a:gd name="T10" fmla="*/ 0 w 4"/>
                <a:gd name="T11" fmla="*/ 11 h 12"/>
                <a:gd name="T12" fmla="*/ 0 w 4"/>
                <a:gd name="T13" fmla="*/ 5 h 12"/>
                <a:gd name="T14" fmla="*/ 3 w 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3" y="0"/>
                  </a:moveTo>
                  <a:lnTo>
                    <a:pt x="4" y="0"/>
                  </a:lnTo>
                  <a:lnTo>
                    <a:pt x="4" y="2"/>
                  </a:lnTo>
                  <a:lnTo>
                    <a:pt x="3" y="11"/>
                  </a:lnTo>
                  <a:lnTo>
                    <a:pt x="3" y="12"/>
                  </a:lnTo>
                  <a:lnTo>
                    <a:pt x="0" y="11"/>
                  </a:lnTo>
                  <a:lnTo>
                    <a:pt x="0" y="5"/>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8" name="Qeshm Island">
              <a:extLst>
                <a:ext uri="{FF2B5EF4-FFF2-40B4-BE49-F238E27FC236}">
                  <a16:creationId xmlns:a16="http://schemas.microsoft.com/office/drawing/2014/main" id="{E2B137FF-DF6E-EB8E-A6FA-87E4200ABBB4}"/>
                </a:ext>
              </a:extLst>
            </p:cNvPr>
            <p:cNvSpPr>
              <a:spLocks/>
            </p:cNvSpPr>
            <p:nvPr/>
          </p:nvSpPr>
          <p:spPr bwMode="auto">
            <a:xfrm>
              <a:off x="7128736" y="3933250"/>
              <a:ext cx="25299" cy="12650"/>
            </a:xfrm>
            <a:custGeom>
              <a:avLst/>
              <a:gdLst>
                <a:gd name="T0" fmla="*/ 8 w 14"/>
                <a:gd name="T1" fmla="*/ 0 h 7"/>
                <a:gd name="T2" fmla="*/ 14 w 14"/>
                <a:gd name="T3" fmla="*/ 0 h 7"/>
                <a:gd name="T4" fmla="*/ 2 w 14"/>
                <a:gd name="T5" fmla="*/ 6 h 7"/>
                <a:gd name="T6" fmla="*/ 2 w 14"/>
                <a:gd name="T7" fmla="*/ 7 h 7"/>
                <a:gd name="T8" fmla="*/ 0 w 14"/>
                <a:gd name="T9" fmla="*/ 6 h 7"/>
                <a:gd name="T10" fmla="*/ 8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8" y="0"/>
                  </a:moveTo>
                  <a:lnTo>
                    <a:pt x="14" y="0"/>
                  </a:lnTo>
                  <a:lnTo>
                    <a:pt x="2" y="6"/>
                  </a:lnTo>
                  <a:lnTo>
                    <a:pt x="2" y="7"/>
                  </a:lnTo>
                  <a:lnTo>
                    <a:pt x="0" y="6"/>
                  </a:lnTo>
                  <a:lnTo>
                    <a:pt x="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09" name="China">
              <a:extLst>
                <a:ext uri="{FF2B5EF4-FFF2-40B4-BE49-F238E27FC236}">
                  <a16:creationId xmlns:a16="http://schemas.microsoft.com/office/drawing/2014/main" id="{D649F587-7DC4-4176-89EA-0410FDAEC222}"/>
                </a:ext>
              </a:extLst>
            </p:cNvPr>
            <p:cNvSpPr>
              <a:spLocks/>
            </p:cNvSpPr>
            <p:nvPr/>
          </p:nvSpPr>
          <p:spPr bwMode="auto">
            <a:xfrm>
              <a:off x="7562428" y="3096580"/>
              <a:ext cx="1447457" cy="1058939"/>
            </a:xfrm>
            <a:custGeom>
              <a:avLst/>
              <a:gdLst/>
              <a:ahLst/>
              <a:cxnLst/>
              <a:rect l="l" t="t" r="r" b="b"/>
              <a:pathLst>
                <a:path w="1458996" h="1067381">
                  <a:moveTo>
                    <a:pt x="877948" y="1018201"/>
                  </a:moveTo>
                  <a:lnTo>
                    <a:pt x="888877" y="1018201"/>
                  </a:lnTo>
                  <a:lnTo>
                    <a:pt x="888877" y="1021844"/>
                  </a:lnTo>
                  <a:lnTo>
                    <a:pt x="890698" y="1029130"/>
                  </a:lnTo>
                  <a:lnTo>
                    <a:pt x="877948" y="1050988"/>
                  </a:lnTo>
                  <a:lnTo>
                    <a:pt x="859733" y="1067381"/>
                  </a:lnTo>
                  <a:lnTo>
                    <a:pt x="837876" y="1058274"/>
                  </a:lnTo>
                  <a:lnTo>
                    <a:pt x="832411" y="1038237"/>
                  </a:lnTo>
                  <a:lnTo>
                    <a:pt x="854269" y="1021844"/>
                  </a:lnTo>
                  <a:close/>
                  <a:moveTo>
                    <a:pt x="1191240" y="905270"/>
                  </a:moveTo>
                  <a:lnTo>
                    <a:pt x="1193062" y="905270"/>
                  </a:lnTo>
                  <a:lnTo>
                    <a:pt x="1196705" y="910734"/>
                  </a:lnTo>
                  <a:lnTo>
                    <a:pt x="1196705" y="912556"/>
                  </a:lnTo>
                  <a:lnTo>
                    <a:pt x="1191240" y="912556"/>
                  </a:lnTo>
                  <a:close/>
                  <a:moveTo>
                    <a:pt x="1183954" y="0"/>
                  </a:moveTo>
                  <a:lnTo>
                    <a:pt x="1191240" y="0"/>
                  </a:lnTo>
                  <a:lnTo>
                    <a:pt x="1209455" y="14572"/>
                  </a:lnTo>
                  <a:lnTo>
                    <a:pt x="1236777" y="20036"/>
                  </a:lnTo>
                  <a:lnTo>
                    <a:pt x="1240420" y="20036"/>
                  </a:lnTo>
                  <a:lnTo>
                    <a:pt x="1256813" y="43715"/>
                  </a:lnTo>
                  <a:lnTo>
                    <a:pt x="1262278" y="67394"/>
                  </a:lnTo>
                  <a:lnTo>
                    <a:pt x="1275028" y="100181"/>
                  </a:lnTo>
                  <a:lnTo>
                    <a:pt x="1282314" y="143896"/>
                  </a:lnTo>
                  <a:lnTo>
                    <a:pt x="1324208" y="151182"/>
                  </a:lnTo>
                  <a:lnTo>
                    <a:pt x="1355172" y="171218"/>
                  </a:lnTo>
                  <a:lnTo>
                    <a:pt x="1360637" y="187611"/>
                  </a:lnTo>
                  <a:lnTo>
                    <a:pt x="1360637" y="202183"/>
                  </a:lnTo>
                  <a:lnTo>
                    <a:pt x="1369744" y="213112"/>
                  </a:lnTo>
                  <a:lnTo>
                    <a:pt x="1391602" y="213112"/>
                  </a:lnTo>
                  <a:lnTo>
                    <a:pt x="1455353" y="187611"/>
                  </a:lnTo>
                  <a:lnTo>
                    <a:pt x="1458996" y="187611"/>
                  </a:lnTo>
                  <a:lnTo>
                    <a:pt x="1458996" y="189433"/>
                  </a:lnTo>
                  <a:lnTo>
                    <a:pt x="1453532" y="194897"/>
                  </a:lnTo>
                  <a:lnTo>
                    <a:pt x="1455353" y="218576"/>
                  </a:lnTo>
                  <a:lnTo>
                    <a:pt x="1444424" y="229505"/>
                  </a:lnTo>
                  <a:lnTo>
                    <a:pt x="1433496" y="271399"/>
                  </a:lnTo>
                  <a:lnTo>
                    <a:pt x="1417102" y="306006"/>
                  </a:lnTo>
                  <a:lnTo>
                    <a:pt x="1413459" y="311471"/>
                  </a:lnTo>
                  <a:lnTo>
                    <a:pt x="1409817" y="311471"/>
                  </a:lnTo>
                  <a:lnTo>
                    <a:pt x="1386137" y="302364"/>
                  </a:lnTo>
                  <a:lnTo>
                    <a:pt x="1366101" y="318757"/>
                  </a:lnTo>
                  <a:lnTo>
                    <a:pt x="1371566" y="335150"/>
                  </a:lnTo>
                  <a:lnTo>
                    <a:pt x="1371566" y="364293"/>
                  </a:lnTo>
                  <a:lnTo>
                    <a:pt x="1358815" y="380687"/>
                  </a:lnTo>
                  <a:lnTo>
                    <a:pt x="1358815" y="389794"/>
                  </a:lnTo>
                  <a:lnTo>
                    <a:pt x="1355172" y="389794"/>
                  </a:lnTo>
                  <a:lnTo>
                    <a:pt x="1344244" y="378865"/>
                  </a:lnTo>
                  <a:lnTo>
                    <a:pt x="1335136" y="397080"/>
                  </a:lnTo>
                  <a:lnTo>
                    <a:pt x="1320565" y="408009"/>
                  </a:lnTo>
                  <a:lnTo>
                    <a:pt x="1302350" y="408009"/>
                  </a:lnTo>
                  <a:lnTo>
                    <a:pt x="1302350" y="426223"/>
                  </a:lnTo>
                  <a:lnTo>
                    <a:pt x="1282314" y="429866"/>
                  </a:lnTo>
                  <a:lnTo>
                    <a:pt x="1269563" y="422580"/>
                  </a:lnTo>
                  <a:lnTo>
                    <a:pt x="1245884" y="446259"/>
                  </a:lnTo>
                  <a:lnTo>
                    <a:pt x="1220384" y="457188"/>
                  </a:lnTo>
                  <a:lnTo>
                    <a:pt x="1209455" y="473581"/>
                  </a:lnTo>
                  <a:lnTo>
                    <a:pt x="1185776" y="479046"/>
                  </a:lnTo>
                  <a:lnTo>
                    <a:pt x="1136596" y="510011"/>
                  </a:lnTo>
                  <a:lnTo>
                    <a:pt x="1134775" y="510011"/>
                  </a:lnTo>
                  <a:lnTo>
                    <a:pt x="1131132" y="508189"/>
                  </a:lnTo>
                  <a:lnTo>
                    <a:pt x="1131132" y="504546"/>
                  </a:lnTo>
                  <a:lnTo>
                    <a:pt x="1142061" y="500903"/>
                  </a:lnTo>
                  <a:lnTo>
                    <a:pt x="1142061" y="491796"/>
                  </a:lnTo>
                  <a:lnTo>
                    <a:pt x="1134775" y="486332"/>
                  </a:lnTo>
                  <a:lnTo>
                    <a:pt x="1134775" y="484510"/>
                  </a:lnTo>
                  <a:lnTo>
                    <a:pt x="1156632" y="457188"/>
                  </a:lnTo>
                  <a:lnTo>
                    <a:pt x="1147525" y="440795"/>
                  </a:lnTo>
                  <a:lnTo>
                    <a:pt x="1131132" y="442617"/>
                  </a:lnTo>
                  <a:lnTo>
                    <a:pt x="1114739" y="468117"/>
                  </a:lnTo>
                  <a:lnTo>
                    <a:pt x="1094703" y="479046"/>
                  </a:lnTo>
                  <a:lnTo>
                    <a:pt x="1085595" y="491796"/>
                  </a:lnTo>
                  <a:lnTo>
                    <a:pt x="1069202" y="500903"/>
                  </a:lnTo>
                  <a:lnTo>
                    <a:pt x="1058273" y="497261"/>
                  </a:lnTo>
                  <a:lnTo>
                    <a:pt x="1050987" y="510011"/>
                  </a:lnTo>
                  <a:lnTo>
                    <a:pt x="1047344" y="515475"/>
                  </a:lnTo>
                  <a:lnTo>
                    <a:pt x="1058273" y="526404"/>
                  </a:lnTo>
                  <a:lnTo>
                    <a:pt x="1074666" y="537333"/>
                  </a:lnTo>
                  <a:lnTo>
                    <a:pt x="1083774" y="551905"/>
                  </a:lnTo>
                  <a:lnTo>
                    <a:pt x="1094703" y="557369"/>
                  </a:lnTo>
                  <a:lnTo>
                    <a:pt x="1123846" y="537333"/>
                  </a:lnTo>
                  <a:lnTo>
                    <a:pt x="1125667" y="537333"/>
                  </a:lnTo>
                  <a:lnTo>
                    <a:pt x="1142061" y="548262"/>
                  </a:lnTo>
                  <a:lnTo>
                    <a:pt x="1167561" y="548262"/>
                  </a:lnTo>
                  <a:lnTo>
                    <a:pt x="1167561" y="551905"/>
                  </a:lnTo>
                  <a:lnTo>
                    <a:pt x="1162097" y="568298"/>
                  </a:lnTo>
                  <a:lnTo>
                    <a:pt x="1162097" y="570119"/>
                  </a:lnTo>
                  <a:lnTo>
                    <a:pt x="1158454" y="570119"/>
                  </a:lnTo>
                  <a:lnTo>
                    <a:pt x="1158454" y="568298"/>
                  </a:lnTo>
                  <a:lnTo>
                    <a:pt x="1156632" y="562833"/>
                  </a:lnTo>
                  <a:lnTo>
                    <a:pt x="1151168" y="562833"/>
                  </a:lnTo>
                  <a:lnTo>
                    <a:pt x="1145704" y="570119"/>
                  </a:lnTo>
                  <a:lnTo>
                    <a:pt x="1125667" y="573762"/>
                  </a:lnTo>
                  <a:lnTo>
                    <a:pt x="1125667" y="579227"/>
                  </a:lnTo>
                  <a:lnTo>
                    <a:pt x="1120203" y="588334"/>
                  </a:lnTo>
                  <a:lnTo>
                    <a:pt x="1118382" y="588334"/>
                  </a:lnTo>
                  <a:lnTo>
                    <a:pt x="1111096" y="586512"/>
                  </a:lnTo>
                  <a:lnTo>
                    <a:pt x="1111096" y="593798"/>
                  </a:lnTo>
                  <a:lnTo>
                    <a:pt x="1107453" y="593798"/>
                  </a:lnTo>
                  <a:lnTo>
                    <a:pt x="1096524" y="604727"/>
                  </a:lnTo>
                  <a:lnTo>
                    <a:pt x="1085595" y="624763"/>
                  </a:lnTo>
                  <a:lnTo>
                    <a:pt x="1111096" y="637514"/>
                  </a:lnTo>
                  <a:lnTo>
                    <a:pt x="1125667" y="683050"/>
                  </a:lnTo>
                  <a:lnTo>
                    <a:pt x="1151168" y="710372"/>
                  </a:lnTo>
                  <a:lnTo>
                    <a:pt x="1151168" y="714015"/>
                  </a:lnTo>
                  <a:lnTo>
                    <a:pt x="1118382" y="704908"/>
                  </a:lnTo>
                  <a:lnTo>
                    <a:pt x="1131132" y="714015"/>
                  </a:lnTo>
                  <a:lnTo>
                    <a:pt x="1151168" y="732230"/>
                  </a:lnTo>
                  <a:lnTo>
                    <a:pt x="1151168" y="735873"/>
                  </a:lnTo>
                  <a:lnTo>
                    <a:pt x="1118382" y="754088"/>
                  </a:lnTo>
                  <a:lnTo>
                    <a:pt x="1131132" y="750445"/>
                  </a:lnTo>
                  <a:lnTo>
                    <a:pt x="1151168" y="761373"/>
                  </a:lnTo>
                  <a:lnTo>
                    <a:pt x="1145704" y="766838"/>
                  </a:lnTo>
                  <a:lnTo>
                    <a:pt x="1147525" y="766838"/>
                  </a:lnTo>
                  <a:lnTo>
                    <a:pt x="1147525" y="781410"/>
                  </a:lnTo>
                  <a:lnTo>
                    <a:pt x="1140239" y="783231"/>
                  </a:lnTo>
                  <a:lnTo>
                    <a:pt x="1142061" y="786874"/>
                  </a:lnTo>
                  <a:lnTo>
                    <a:pt x="1136596" y="810553"/>
                  </a:lnTo>
                  <a:lnTo>
                    <a:pt x="1134775" y="810553"/>
                  </a:lnTo>
                  <a:lnTo>
                    <a:pt x="1129310" y="808732"/>
                  </a:lnTo>
                  <a:lnTo>
                    <a:pt x="1101988" y="854268"/>
                  </a:lnTo>
                  <a:lnTo>
                    <a:pt x="1100167" y="854268"/>
                  </a:lnTo>
                  <a:lnTo>
                    <a:pt x="1100167" y="848804"/>
                  </a:lnTo>
                  <a:lnTo>
                    <a:pt x="1094703" y="848804"/>
                  </a:lnTo>
                  <a:lnTo>
                    <a:pt x="1100167" y="859733"/>
                  </a:lnTo>
                  <a:lnTo>
                    <a:pt x="1091060" y="881590"/>
                  </a:lnTo>
                  <a:lnTo>
                    <a:pt x="1091060" y="883412"/>
                  </a:lnTo>
                  <a:lnTo>
                    <a:pt x="1089238" y="883412"/>
                  </a:lnTo>
                  <a:lnTo>
                    <a:pt x="1085595" y="881590"/>
                  </a:lnTo>
                  <a:lnTo>
                    <a:pt x="1072845" y="901626"/>
                  </a:lnTo>
                  <a:lnTo>
                    <a:pt x="1069202" y="901626"/>
                  </a:lnTo>
                  <a:lnTo>
                    <a:pt x="1058273" y="907091"/>
                  </a:lnTo>
                  <a:lnTo>
                    <a:pt x="1058273" y="916198"/>
                  </a:lnTo>
                  <a:lnTo>
                    <a:pt x="1047344" y="927127"/>
                  </a:lnTo>
                  <a:lnTo>
                    <a:pt x="1045523" y="927127"/>
                  </a:lnTo>
                  <a:lnTo>
                    <a:pt x="1032773" y="932591"/>
                  </a:lnTo>
                  <a:lnTo>
                    <a:pt x="1018201" y="945342"/>
                  </a:lnTo>
                  <a:lnTo>
                    <a:pt x="996343" y="954449"/>
                  </a:lnTo>
                  <a:lnTo>
                    <a:pt x="994522" y="954449"/>
                  </a:lnTo>
                  <a:lnTo>
                    <a:pt x="989057" y="948985"/>
                  </a:lnTo>
                  <a:lnTo>
                    <a:pt x="979950" y="956270"/>
                  </a:lnTo>
                  <a:lnTo>
                    <a:pt x="978129" y="956270"/>
                  </a:lnTo>
                  <a:lnTo>
                    <a:pt x="978129" y="954449"/>
                  </a:lnTo>
                  <a:lnTo>
                    <a:pt x="972664" y="959913"/>
                  </a:lnTo>
                  <a:lnTo>
                    <a:pt x="969021" y="956270"/>
                  </a:lnTo>
                  <a:lnTo>
                    <a:pt x="969021" y="961735"/>
                  </a:lnTo>
                  <a:lnTo>
                    <a:pt x="959914" y="961735"/>
                  </a:lnTo>
                  <a:lnTo>
                    <a:pt x="950807" y="950806"/>
                  </a:lnTo>
                  <a:lnTo>
                    <a:pt x="950807" y="965378"/>
                  </a:lnTo>
                  <a:lnTo>
                    <a:pt x="948985" y="965378"/>
                  </a:lnTo>
                  <a:lnTo>
                    <a:pt x="939878" y="956270"/>
                  </a:lnTo>
                  <a:lnTo>
                    <a:pt x="938056" y="972664"/>
                  </a:lnTo>
                  <a:lnTo>
                    <a:pt x="934413" y="972664"/>
                  </a:lnTo>
                  <a:lnTo>
                    <a:pt x="877948" y="985414"/>
                  </a:lnTo>
                  <a:lnTo>
                    <a:pt x="872483" y="996343"/>
                  </a:lnTo>
                  <a:lnTo>
                    <a:pt x="877948" y="1010914"/>
                  </a:lnTo>
                  <a:lnTo>
                    <a:pt x="877948" y="1012736"/>
                  </a:lnTo>
                  <a:lnTo>
                    <a:pt x="867019" y="1016379"/>
                  </a:lnTo>
                  <a:lnTo>
                    <a:pt x="856090" y="996343"/>
                  </a:lnTo>
                  <a:lnTo>
                    <a:pt x="856090" y="983592"/>
                  </a:lnTo>
                  <a:lnTo>
                    <a:pt x="845161" y="985414"/>
                  </a:lnTo>
                  <a:lnTo>
                    <a:pt x="832411" y="978128"/>
                  </a:lnTo>
                  <a:lnTo>
                    <a:pt x="823303" y="985414"/>
                  </a:lnTo>
                  <a:lnTo>
                    <a:pt x="823303" y="983592"/>
                  </a:lnTo>
                  <a:lnTo>
                    <a:pt x="821482" y="979950"/>
                  </a:lnTo>
                  <a:lnTo>
                    <a:pt x="817839" y="985414"/>
                  </a:lnTo>
                  <a:lnTo>
                    <a:pt x="816018" y="985414"/>
                  </a:lnTo>
                  <a:lnTo>
                    <a:pt x="803267" y="979950"/>
                  </a:lnTo>
                  <a:lnTo>
                    <a:pt x="788695" y="972664"/>
                  </a:lnTo>
                  <a:lnTo>
                    <a:pt x="783231" y="950806"/>
                  </a:lnTo>
                  <a:lnTo>
                    <a:pt x="750445" y="939877"/>
                  </a:lnTo>
                  <a:lnTo>
                    <a:pt x="719480" y="956270"/>
                  </a:lnTo>
                  <a:lnTo>
                    <a:pt x="710372" y="954449"/>
                  </a:lnTo>
                  <a:lnTo>
                    <a:pt x="703086" y="956270"/>
                  </a:lnTo>
                  <a:lnTo>
                    <a:pt x="699444" y="956270"/>
                  </a:lnTo>
                  <a:lnTo>
                    <a:pt x="686693" y="950806"/>
                  </a:lnTo>
                  <a:lnTo>
                    <a:pt x="683050" y="961735"/>
                  </a:lnTo>
                  <a:lnTo>
                    <a:pt x="681229" y="961735"/>
                  </a:lnTo>
                  <a:lnTo>
                    <a:pt x="670300" y="959913"/>
                  </a:lnTo>
                  <a:lnTo>
                    <a:pt x="666657" y="961735"/>
                  </a:lnTo>
                  <a:lnTo>
                    <a:pt x="670300" y="985414"/>
                  </a:lnTo>
                  <a:lnTo>
                    <a:pt x="666657" y="989057"/>
                  </a:lnTo>
                  <a:lnTo>
                    <a:pt x="659371" y="990878"/>
                  </a:lnTo>
                  <a:lnTo>
                    <a:pt x="655728" y="990878"/>
                  </a:lnTo>
                  <a:lnTo>
                    <a:pt x="653907" y="978128"/>
                  </a:lnTo>
                  <a:lnTo>
                    <a:pt x="652085" y="974485"/>
                  </a:lnTo>
                  <a:lnTo>
                    <a:pt x="635692" y="979950"/>
                  </a:lnTo>
                  <a:lnTo>
                    <a:pt x="624763" y="969021"/>
                  </a:lnTo>
                  <a:lnTo>
                    <a:pt x="610192" y="965378"/>
                  </a:lnTo>
                  <a:lnTo>
                    <a:pt x="615656" y="945342"/>
                  </a:lnTo>
                  <a:lnTo>
                    <a:pt x="604727" y="938056"/>
                  </a:lnTo>
                  <a:lnTo>
                    <a:pt x="602906" y="938056"/>
                  </a:lnTo>
                  <a:lnTo>
                    <a:pt x="599263" y="916198"/>
                  </a:lnTo>
                  <a:lnTo>
                    <a:pt x="588334" y="916198"/>
                  </a:lnTo>
                  <a:lnTo>
                    <a:pt x="573762" y="923484"/>
                  </a:lnTo>
                  <a:lnTo>
                    <a:pt x="570119" y="923484"/>
                  </a:lnTo>
                  <a:lnTo>
                    <a:pt x="579227" y="890698"/>
                  </a:lnTo>
                  <a:lnTo>
                    <a:pt x="597441" y="865197"/>
                  </a:lnTo>
                  <a:lnTo>
                    <a:pt x="597441" y="848804"/>
                  </a:lnTo>
                  <a:lnTo>
                    <a:pt x="591977" y="826946"/>
                  </a:lnTo>
                  <a:lnTo>
                    <a:pt x="586513" y="826946"/>
                  </a:lnTo>
                  <a:lnTo>
                    <a:pt x="579227" y="810553"/>
                  </a:lnTo>
                  <a:lnTo>
                    <a:pt x="570119" y="808732"/>
                  </a:lnTo>
                  <a:lnTo>
                    <a:pt x="564655" y="810553"/>
                  </a:lnTo>
                  <a:lnTo>
                    <a:pt x="559191" y="805089"/>
                  </a:lnTo>
                  <a:lnTo>
                    <a:pt x="540976" y="799624"/>
                  </a:lnTo>
                  <a:lnTo>
                    <a:pt x="540976" y="788695"/>
                  </a:lnTo>
                  <a:lnTo>
                    <a:pt x="537333" y="786874"/>
                  </a:lnTo>
                  <a:lnTo>
                    <a:pt x="531868" y="775945"/>
                  </a:lnTo>
                  <a:lnTo>
                    <a:pt x="515475" y="781410"/>
                  </a:lnTo>
                  <a:lnTo>
                    <a:pt x="500904" y="781410"/>
                  </a:lnTo>
                  <a:lnTo>
                    <a:pt x="462653" y="808732"/>
                  </a:lnTo>
                  <a:lnTo>
                    <a:pt x="431688" y="821482"/>
                  </a:lnTo>
                  <a:lnTo>
                    <a:pt x="429866" y="821482"/>
                  </a:lnTo>
                  <a:lnTo>
                    <a:pt x="429866" y="817839"/>
                  </a:lnTo>
                  <a:lnTo>
                    <a:pt x="424402" y="816017"/>
                  </a:lnTo>
                  <a:lnTo>
                    <a:pt x="389794" y="808732"/>
                  </a:lnTo>
                  <a:lnTo>
                    <a:pt x="364293" y="832411"/>
                  </a:lnTo>
                  <a:lnTo>
                    <a:pt x="358829" y="828768"/>
                  </a:lnTo>
                  <a:lnTo>
                    <a:pt x="358829" y="814196"/>
                  </a:lnTo>
                  <a:lnTo>
                    <a:pt x="346079" y="817839"/>
                  </a:lnTo>
                  <a:lnTo>
                    <a:pt x="327864" y="821482"/>
                  </a:lnTo>
                  <a:lnTo>
                    <a:pt x="311471" y="816017"/>
                  </a:lnTo>
                  <a:lnTo>
                    <a:pt x="306006" y="816017"/>
                  </a:lnTo>
                  <a:lnTo>
                    <a:pt x="300542" y="817839"/>
                  </a:lnTo>
                  <a:lnTo>
                    <a:pt x="291435" y="817839"/>
                  </a:lnTo>
                  <a:lnTo>
                    <a:pt x="285970" y="810553"/>
                  </a:lnTo>
                  <a:lnTo>
                    <a:pt x="273220" y="805089"/>
                  </a:lnTo>
                  <a:lnTo>
                    <a:pt x="273220" y="797803"/>
                  </a:lnTo>
                  <a:lnTo>
                    <a:pt x="251362" y="794160"/>
                  </a:lnTo>
                  <a:lnTo>
                    <a:pt x="249541" y="792338"/>
                  </a:lnTo>
                  <a:lnTo>
                    <a:pt x="251362" y="781410"/>
                  </a:lnTo>
                  <a:lnTo>
                    <a:pt x="238612" y="786874"/>
                  </a:lnTo>
                  <a:lnTo>
                    <a:pt x="234969" y="786874"/>
                  </a:lnTo>
                  <a:lnTo>
                    <a:pt x="227683" y="770481"/>
                  </a:lnTo>
                  <a:lnTo>
                    <a:pt x="207647" y="755909"/>
                  </a:lnTo>
                  <a:lnTo>
                    <a:pt x="187611" y="754088"/>
                  </a:lnTo>
                  <a:lnTo>
                    <a:pt x="183968" y="759552"/>
                  </a:lnTo>
                  <a:lnTo>
                    <a:pt x="176682" y="754088"/>
                  </a:lnTo>
                  <a:lnTo>
                    <a:pt x="140253" y="732230"/>
                  </a:lnTo>
                  <a:lnTo>
                    <a:pt x="127503" y="732230"/>
                  </a:lnTo>
                  <a:lnTo>
                    <a:pt x="122038" y="721301"/>
                  </a:lnTo>
                  <a:lnTo>
                    <a:pt x="122038" y="704908"/>
                  </a:lnTo>
                  <a:lnTo>
                    <a:pt x="114752" y="688515"/>
                  </a:lnTo>
                  <a:lnTo>
                    <a:pt x="116574" y="688515"/>
                  </a:lnTo>
                  <a:lnTo>
                    <a:pt x="122038" y="683050"/>
                  </a:lnTo>
                  <a:lnTo>
                    <a:pt x="123860" y="683050"/>
                  </a:lnTo>
                  <a:lnTo>
                    <a:pt x="129324" y="692158"/>
                  </a:lnTo>
                  <a:lnTo>
                    <a:pt x="140253" y="683050"/>
                  </a:lnTo>
                  <a:lnTo>
                    <a:pt x="138431" y="672121"/>
                  </a:lnTo>
                  <a:lnTo>
                    <a:pt x="127503" y="666657"/>
                  </a:lnTo>
                  <a:lnTo>
                    <a:pt x="127503" y="664836"/>
                  </a:lnTo>
                  <a:lnTo>
                    <a:pt x="123860" y="648442"/>
                  </a:lnTo>
                  <a:lnTo>
                    <a:pt x="123860" y="646621"/>
                  </a:lnTo>
                  <a:lnTo>
                    <a:pt x="127503" y="646621"/>
                  </a:lnTo>
                  <a:lnTo>
                    <a:pt x="140253" y="642978"/>
                  </a:lnTo>
                  <a:lnTo>
                    <a:pt x="140253" y="635692"/>
                  </a:lnTo>
                  <a:lnTo>
                    <a:pt x="151182" y="624763"/>
                  </a:lnTo>
                  <a:lnTo>
                    <a:pt x="160289" y="604727"/>
                  </a:lnTo>
                  <a:lnTo>
                    <a:pt x="154825" y="608370"/>
                  </a:lnTo>
                  <a:lnTo>
                    <a:pt x="151182" y="608370"/>
                  </a:lnTo>
                  <a:lnTo>
                    <a:pt x="151182" y="602906"/>
                  </a:lnTo>
                  <a:lnTo>
                    <a:pt x="134788" y="591977"/>
                  </a:lnTo>
                  <a:lnTo>
                    <a:pt x="98359" y="604727"/>
                  </a:lnTo>
                  <a:lnTo>
                    <a:pt x="94716" y="608370"/>
                  </a:lnTo>
                  <a:lnTo>
                    <a:pt x="94716" y="604727"/>
                  </a:lnTo>
                  <a:lnTo>
                    <a:pt x="76501" y="599263"/>
                  </a:lnTo>
                  <a:lnTo>
                    <a:pt x="71037" y="593798"/>
                  </a:lnTo>
                  <a:lnTo>
                    <a:pt x="60108" y="593798"/>
                  </a:lnTo>
                  <a:lnTo>
                    <a:pt x="54644" y="588334"/>
                  </a:lnTo>
                  <a:lnTo>
                    <a:pt x="54644" y="586512"/>
                  </a:lnTo>
                  <a:lnTo>
                    <a:pt x="56465" y="575584"/>
                  </a:lnTo>
                  <a:lnTo>
                    <a:pt x="51001" y="570119"/>
                  </a:lnTo>
                  <a:lnTo>
                    <a:pt x="43715" y="570119"/>
                  </a:lnTo>
                  <a:lnTo>
                    <a:pt x="41894" y="562833"/>
                  </a:lnTo>
                  <a:lnTo>
                    <a:pt x="25500" y="559190"/>
                  </a:lnTo>
                  <a:lnTo>
                    <a:pt x="20036" y="557369"/>
                  </a:lnTo>
                  <a:lnTo>
                    <a:pt x="20036" y="553726"/>
                  </a:lnTo>
                  <a:lnTo>
                    <a:pt x="27322" y="551905"/>
                  </a:lnTo>
                  <a:lnTo>
                    <a:pt x="32786" y="551905"/>
                  </a:lnTo>
                  <a:lnTo>
                    <a:pt x="27322" y="515475"/>
                  </a:lnTo>
                  <a:lnTo>
                    <a:pt x="9107" y="515475"/>
                  </a:lnTo>
                  <a:lnTo>
                    <a:pt x="0" y="504546"/>
                  </a:lnTo>
                  <a:lnTo>
                    <a:pt x="0" y="502725"/>
                  </a:lnTo>
                  <a:lnTo>
                    <a:pt x="5464" y="480867"/>
                  </a:lnTo>
                  <a:lnTo>
                    <a:pt x="9107" y="468117"/>
                  </a:lnTo>
                  <a:lnTo>
                    <a:pt x="27322" y="459010"/>
                  </a:lnTo>
                  <a:lnTo>
                    <a:pt x="30965" y="451724"/>
                  </a:lnTo>
                  <a:lnTo>
                    <a:pt x="38251" y="451724"/>
                  </a:lnTo>
                  <a:lnTo>
                    <a:pt x="47358" y="453545"/>
                  </a:lnTo>
                  <a:lnTo>
                    <a:pt x="51001" y="453545"/>
                  </a:lnTo>
                  <a:lnTo>
                    <a:pt x="60108" y="457188"/>
                  </a:lnTo>
                  <a:lnTo>
                    <a:pt x="65573" y="457188"/>
                  </a:lnTo>
                  <a:lnTo>
                    <a:pt x="78323" y="440795"/>
                  </a:lnTo>
                  <a:lnTo>
                    <a:pt x="109288" y="435331"/>
                  </a:lnTo>
                  <a:lnTo>
                    <a:pt x="120217" y="422580"/>
                  </a:lnTo>
                  <a:lnTo>
                    <a:pt x="154825" y="406187"/>
                  </a:lnTo>
                  <a:lnTo>
                    <a:pt x="160289" y="391615"/>
                  </a:lnTo>
                  <a:lnTo>
                    <a:pt x="167575" y="362472"/>
                  </a:lnTo>
                  <a:lnTo>
                    <a:pt x="156646" y="322400"/>
                  </a:lnTo>
                  <a:lnTo>
                    <a:pt x="149360" y="313292"/>
                  </a:lnTo>
                  <a:lnTo>
                    <a:pt x="149360" y="311471"/>
                  </a:lnTo>
                  <a:lnTo>
                    <a:pt x="151182" y="311471"/>
                  </a:lnTo>
                  <a:lnTo>
                    <a:pt x="205826" y="296899"/>
                  </a:lnTo>
                  <a:lnTo>
                    <a:pt x="205826" y="275041"/>
                  </a:lnTo>
                  <a:lnTo>
                    <a:pt x="222219" y="233148"/>
                  </a:lnTo>
                  <a:lnTo>
                    <a:pt x="240434" y="233148"/>
                  </a:lnTo>
                  <a:lnTo>
                    <a:pt x="245898" y="234969"/>
                  </a:lnTo>
                  <a:lnTo>
                    <a:pt x="262291" y="234969"/>
                  </a:lnTo>
                  <a:lnTo>
                    <a:pt x="267756" y="244077"/>
                  </a:lnTo>
                  <a:lnTo>
                    <a:pt x="284149" y="234969"/>
                  </a:lnTo>
                  <a:lnTo>
                    <a:pt x="284149" y="211290"/>
                  </a:lnTo>
                  <a:lnTo>
                    <a:pt x="289613" y="189433"/>
                  </a:lnTo>
                  <a:lnTo>
                    <a:pt x="291435" y="189433"/>
                  </a:lnTo>
                  <a:lnTo>
                    <a:pt x="307828" y="187611"/>
                  </a:lnTo>
                  <a:lnTo>
                    <a:pt x="316935" y="171218"/>
                  </a:lnTo>
                  <a:lnTo>
                    <a:pt x="318757" y="171218"/>
                  </a:lnTo>
                  <a:lnTo>
                    <a:pt x="327864" y="173039"/>
                  </a:lnTo>
                  <a:lnTo>
                    <a:pt x="335150" y="167575"/>
                  </a:lnTo>
                  <a:lnTo>
                    <a:pt x="338793" y="167575"/>
                  </a:lnTo>
                  <a:lnTo>
                    <a:pt x="338793" y="171218"/>
                  </a:lnTo>
                  <a:lnTo>
                    <a:pt x="346079" y="187611"/>
                  </a:lnTo>
                  <a:lnTo>
                    <a:pt x="362472" y="205826"/>
                  </a:lnTo>
                  <a:lnTo>
                    <a:pt x="391615" y="211290"/>
                  </a:lnTo>
                  <a:lnTo>
                    <a:pt x="395258" y="211290"/>
                  </a:lnTo>
                  <a:lnTo>
                    <a:pt x="397080" y="218576"/>
                  </a:lnTo>
                  <a:lnTo>
                    <a:pt x="408009" y="255005"/>
                  </a:lnTo>
                  <a:lnTo>
                    <a:pt x="411652" y="284149"/>
                  </a:lnTo>
                  <a:lnTo>
                    <a:pt x="408009" y="295078"/>
                  </a:lnTo>
                  <a:lnTo>
                    <a:pt x="446259" y="307828"/>
                  </a:lnTo>
                  <a:lnTo>
                    <a:pt x="459010" y="306006"/>
                  </a:lnTo>
                  <a:lnTo>
                    <a:pt x="515475" y="329686"/>
                  </a:lnTo>
                  <a:lnTo>
                    <a:pt x="535511" y="358829"/>
                  </a:lnTo>
                  <a:lnTo>
                    <a:pt x="559191" y="380687"/>
                  </a:lnTo>
                  <a:lnTo>
                    <a:pt x="646621" y="378865"/>
                  </a:lnTo>
                  <a:lnTo>
                    <a:pt x="686693" y="400723"/>
                  </a:lnTo>
                  <a:lnTo>
                    <a:pt x="743159" y="417116"/>
                  </a:lnTo>
                  <a:lnTo>
                    <a:pt x="810553" y="391615"/>
                  </a:lnTo>
                  <a:lnTo>
                    <a:pt x="839697" y="391615"/>
                  </a:lnTo>
                  <a:lnTo>
                    <a:pt x="867019" y="386151"/>
                  </a:lnTo>
                  <a:lnTo>
                    <a:pt x="910734" y="347900"/>
                  </a:lnTo>
                  <a:lnTo>
                    <a:pt x="899805" y="333328"/>
                  </a:lnTo>
                  <a:lnTo>
                    <a:pt x="899805" y="329686"/>
                  </a:lnTo>
                  <a:lnTo>
                    <a:pt x="910734" y="307828"/>
                  </a:lnTo>
                  <a:lnTo>
                    <a:pt x="912556" y="307828"/>
                  </a:lnTo>
                  <a:lnTo>
                    <a:pt x="921663" y="302364"/>
                  </a:lnTo>
                  <a:lnTo>
                    <a:pt x="948985" y="313292"/>
                  </a:lnTo>
                  <a:lnTo>
                    <a:pt x="978129" y="289613"/>
                  </a:lnTo>
                  <a:lnTo>
                    <a:pt x="999986" y="284149"/>
                  </a:lnTo>
                  <a:lnTo>
                    <a:pt x="1027308" y="255005"/>
                  </a:lnTo>
                  <a:lnTo>
                    <a:pt x="1029130" y="255005"/>
                  </a:lnTo>
                  <a:lnTo>
                    <a:pt x="1089238" y="249541"/>
                  </a:lnTo>
                  <a:lnTo>
                    <a:pt x="1083774" y="240434"/>
                  </a:lnTo>
                  <a:lnTo>
                    <a:pt x="1080131" y="224040"/>
                  </a:lnTo>
                  <a:lnTo>
                    <a:pt x="1061916" y="202183"/>
                  </a:lnTo>
                  <a:lnTo>
                    <a:pt x="1032773" y="222219"/>
                  </a:lnTo>
                  <a:lnTo>
                    <a:pt x="999986" y="216755"/>
                  </a:lnTo>
                  <a:lnTo>
                    <a:pt x="996343" y="202183"/>
                  </a:lnTo>
                  <a:lnTo>
                    <a:pt x="996343" y="162110"/>
                  </a:lnTo>
                  <a:lnTo>
                    <a:pt x="1016379" y="132967"/>
                  </a:lnTo>
                  <a:lnTo>
                    <a:pt x="1018201" y="132967"/>
                  </a:lnTo>
                  <a:lnTo>
                    <a:pt x="1052809" y="145717"/>
                  </a:lnTo>
                  <a:lnTo>
                    <a:pt x="1083774" y="127503"/>
                  </a:lnTo>
                  <a:lnTo>
                    <a:pt x="1085595" y="116574"/>
                  </a:lnTo>
                  <a:lnTo>
                    <a:pt x="1100167" y="72859"/>
                  </a:lnTo>
                  <a:lnTo>
                    <a:pt x="1118382" y="56465"/>
                  </a:lnTo>
                  <a:lnTo>
                    <a:pt x="1118382" y="40072"/>
                  </a:lnTo>
                  <a:lnTo>
                    <a:pt x="1101988" y="40072"/>
                  </a:lnTo>
                  <a:lnTo>
                    <a:pt x="1101988" y="38251"/>
                  </a:lnTo>
                  <a:lnTo>
                    <a:pt x="1105631" y="32786"/>
                  </a:lnTo>
                  <a:lnTo>
                    <a:pt x="1123846" y="9107"/>
                  </a:lnTo>
                  <a:lnTo>
                    <a:pt x="1129310" y="9107"/>
                  </a:lnTo>
                  <a:lnTo>
                    <a:pt x="1145704" y="5464"/>
                  </a:lnTo>
                  <a:lnTo>
                    <a:pt x="1167561" y="3643"/>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0" name="Japan - Offshore">
              <a:extLst>
                <a:ext uri="{FF2B5EF4-FFF2-40B4-BE49-F238E27FC236}">
                  <a16:creationId xmlns:a16="http://schemas.microsoft.com/office/drawing/2014/main" id="{1B7E8703-3470-F55C-E481-63AE6D5095EB}"/>
                </a:ext>
              </a:extLst>
            </p:cNvPr>
            <p:cNvSpPr>
              <a:spLocks/>
            </p:cNvSpPr>
            <p:nvPr/>
          </p:nvSpPr>
          <p:spPr bwMode="auto">
            <a:xfrm>
              <a:off x="8838215" y="3362218"/>
              <a:ext cx="540313" cy="592718"/>
            </a:xfrm>
            <a:custGeom>
              <a:avLst/>
              <a:gdLst/>
              <a:ahLst/>
              <a:cxnLst/>
              <a:rect l="l" t="t" r="r" b="b"/>
              <a:pathLst>
                <a:path w="544620" h="597443">
                  <a:moveTo>
                    <a:pt x="10929" y="575585"/>
                  </a:moveTo>
                  <a:lnTo>
                    <a:pt x="12751" y="575585"/>
                  </a:lnTo>
                  <a:lnTo>
                    <a:pt x="1821" y="593800"/>
                  </a:lnTo>
                  <a:lnTo>
                    <a:pt x="1821" y="597443"/>
                  </a:lnTo>
                  <a:lnTo>
                    <a:pt x="0" y="597443"/>
                  </a:lnTo>
                  <a:lnTo>
                    <a:pt x="0" y="593800"/>
                  </a:lnTo>
                  <a:lnTo>
                    <a:pt x="1821" y="586514"/>
                  </a:lnTo>
                  <a:close/>
                  <a:moveTo>
                    <a:pt x="45538" y="530048"/>
                  </a:moveTo>
                  <a:lnTo>
                    <a:pt x="45538" y="531870"/>
                  </a:lnTo>
                  <a:lnTo>
                    <a:pt x="49181" y="531870"/>
                  </a:lnTo>
                  <a:lnTo>
                    <a:pt x="40073" y="540977"/>
                  </a:lnTo>
                  <a:lnTo>
                    <a:pt x="38252" y="540977"/>
                  </a:lnTo>
                  <a:lnTo>
                    <a:pt x="38252" y="535513"/>
                  </a:lnTo>
                  <a:lnTo>
                    <a:pt x="40073" y="531870"/>
                  </a:lnTo>
                  <a:close/>
                  <a:moveTo>
                    <a:pt x="67395" y="480869"/>
                  </a:moveTo>
                  <a:lnTo>
                    <a:pt x="69216" y="480869"/>
                  </a:lnTo>
                  <a:lnTo>
                    <a:pt x="72860" y="486334"/>
                  </a:lnTo>
                  <a:lnTo>
                    <a:pt x="67395" y="486334"/>
                  </a:lnTo>
                  <a:close/>
                  <a:moveTo>
                    <a:pt x="32787" y="404367"/>
                  </a:moveTo>
                  <a:lnTo>
                    <a:pt x="34608" y="404367"/>
                  </a:lnTo>
                  <a:lnTo>
                    <a:pt x="38251" y="408010"/>
                  </a:lnTo>
                  <a:lnTo>
                    <a:pt x="40073" y="408010"/>
                  </a:lnTo>
                  <a:lnTo>
                    <a:pt x="40073" y="409832"/>
                  </a:lnTo>
                  <a:lnTo>
                    <a:pt x="38251" y="409832"/>
                  </a:lnTo>
                  <a:lnTo>
                    <a:pt x="34608" y="413475"/>
                  </a:lnTo>
                  <a:lnTo>
                    <a:pt x="34608" y="415296"/>
                  </a:lnTo>
                  <a:lnTo>
                    <a:pt x="32787" y="415296"/>
                  </a:lnTo>
                  <a:close/>
                  <a:moveTo>
                    <a:pt x="74681" y="380688"/>
                  </a:moveTo>
                  <a:lnTo>
                    <a:pt x="78323" y="380688"/>
                  </a:lnTo>
                  <a:lnTo>
                    <a:pt x="85609" y="391617"/>
                  </a:lnTo>
                  <a:lnTo>
                    <a:pt x="89252" y="391617"/>
                  </a:lnTo>
                  <a:lnTo>
                    <a:pt x="91074" y="389795"/>
                  </a:lnTo>
                  <a:lnTo>
                    <a:pt x="96538" y="389795"/>
                  </a:lnTo>
                  <a:lnTo>
                    <a:pt x="96538" y="398903"/>
                  </a:lnTo>
                  <a:lnTo>
                    <a:pt x="100181" y="402546"/>
                  </a:lnTo>
                  <a:lnTo>
                    <a:pt x="102003" y="402546"/>
                  </a:lnTo>
                  <a:lnTo>
                    <a:pt x="105646" y="413474"/>
                  </a:lnTo>
                  <a:lnTo>
                    <a:pt x="89252" y="453546"/>
                  </a:lnTo>
                  <a:lnTo>
                    <a:pt x="74681" y="464475"/>
                  </a:lnTo>
                  <a:lnTo>
                    <a:pt x="72859" y="464475"/>
                  </a:lnTo>
                  <a:lnTo>
                    <a:pt x="72859" y="459011"/>
                  </a:lnTo>
                  <a:lnTo>
                    <a:pt x="69216" y="462654"/>
                  </a:lnTo>
                  <a:lnTo>
                    <a:pt x="61930" y="457189"/>
                  </a:lnTo>
                  <a:lnTo>
                    <a:pt x="61930" y="437153"/>
                  </a:lnTo>
                  <a:lnTo>
                    <a:pt x="69216" y="424403"/>
                  </a:lnTo>
                  <a:lnTo>
                    <a:pt x="63752" y="408010"/>
                  </a:lnTo>
                  <a:lnTo>
                    <a:pt x="63752" y="418939"/>
                  </a:lnTo>
                  <a:lnTo>
                    <a:pt x="58287" y="418939"/>
                  </a:lnTo>
                  <a:lnTo>
                    <a:pt x="56466" y="420760"/>
                  </a:lnTo>
                  <a:lnTo>
                    <a:pt x="49180" y="420760"/>
                  </a:lnTo>
                  <a:lnTo>
                    <a:pt x="49180" y="408010"/>
                  </a:lnTo>
                  <a:lnTo>
                    <a:pt x="51001" y="408010"/>
                  </a:lnTo>
                  <a:lnTo>
                    <a:pt x="54644" y="409831"/>
                  </a:lnTo>
                  <a:lnTo>
                    <a:pt x="49180" y="402546"/>
                  </a:lnTo>
                  <a:close/>
                  <a:moveTo>
                    <a:pt x="174861" y="362473"/>
                  </a:moveTo>
                  <a:lnTo>
                    <a:pt x="178504" y="362473"/>
                  </a:lnTo>
                  <a:lnTo>
                    <a:pt x="174861" y="373403"/>
                  </a:lnTo>
                  <a:lnTo>
                    <a:pt x="173039" y="373403"/>
                  </a:lnTo>
                  <a:lnTo>
                    <a:pt x="169396" y="375224"/>
                  </a:lnTo>
                  <a:lnTo>
                    <a:pt x="167835" y="375224"/>
                  </a:lnTo>
                  <a:lnTo>
                    <a:pt x="169397" y="386153"/>
                  </a:lnTo>
                  <a:lnTo>
                    <a:pt x="158468" y="402546"/>
                  </a:lnTo>
                  <a:lnTo>
                    <a:pt x="156646" y="402546"/>
                  </a:lnTo>
                  <a:lnTo>
                    <a:pt x="140253" y="397082"/>
                  </a:lnTo>
                  <a:lnTo>
                    <a:pt x="129324" y="415296"/>
                  </a:lnTo>
                  <a:lnTo>
                    <a:pt x="129324" y="418939"/>
                  </a:lnTo>
                  <a:lnTo>
                    <a:pt x="123860" y="418939"/>
                  </a:lnTo>
                  <a:lnTo>
                    <a:pt x="123860" y="415296"/>
                  </a:lnTo>
                  <a:lnTo>
                    <a:pt x="116574" y="398903"/>
                  </a:lnTo>
                  <a:lnTo>
                    <a:pt x="107467" y="398903"/>
                  </a:lnTo>
                  <a:lnTo>
                    <a:pt x="107467" y="397082"/>
                  </a:lnTo>
                  <a:lnTo>
                    <a:pt x="123860" y="378867"/>
                  </a:lnTo>
                  <a:lnTo>
                    <a:pt x="129324" y="378867"/>
                  </a:lnTo>
                  <a:lnTo>
                    <a:pt x="131146" y="380688"/>
                  </a:lnTo>
                  <a:lnTo>
                    <a:pt x="136610" y="380688"/>
                  </a:lnTo>
                  <a:lnTo>
                    <a:pt x="151182" y="367938"/>
                  </a:lnTo>
                  <a:lnTo>
                    <a:pt x="153004" y="367938"/>
                  </a:lnTo>
                  <a:lnTo>
                    <a:pt x="167575" y="373402"/>
                  </a:lnTo>
                  <a:close/>
                  <a:moveTo>
                    <a:pt x="258650" y="253185"/>
                  </a:moveTo>
                  <a:lnTo>
                    <a:pt x="262293" y="253185"/>
                  </a:lnTo>
                  <a:lnTo>
                    <a:pt x="258650" y="269579"/>
                  </a:lnTo>
                  <a:lnTo>
                    <a:pt x="253185" y="269579"/>
                  </a:lnTo>
                  <a:lnTo>
                    <a:pt x="253185" y="267758"/>
                  </a:lnTo>
                  <a:close/>
                  <a:moveTo>
                    <a:pt x="442619" y="60109"/>
                  </a:moveTo>
                  <a:lnTo>
                    <a:pt x="444440" y="65574"/>
                  </a:lnTo>
                  <a:lnTo>
                    <a:pt x="426225" y="83789"/>
                  </a:lnTo>
                  <a:lnTo>
                    <a:pt x="424403" y="78325"/>
                  </a:lnTo>
                  <a:close/>
                  <a:moveTo>
                    <a:pt x="320578" y="32788"/>
                  </a:moveTo>
                  <a:lnTo>
                    <a:pt x="324222" y="32788"/>
                  </a:lnTo>
                  <a:lnTo>
                    <a:pt x="326043" y="38253"/>
                  </a:lnTo>
                  <a:lnTo>
                    <a:pt x="320578" y="34610"/>
                  </a:lnTo>
                  <a:close/>
                  <a:moveTo>
                    <a:pt x="336972" y="23680"/>
                  </a:moveTo>
                  <a:lnTo>
                    <a:pt x="340615" y="23680"/>
                  </a:lnTo>
                  <a:lnTo>
                    <a:pt x="377044" y="65574"/>
                  </a:lnTo>
                  <a:lnTo>
                    <a:pt x="404366" y="76503"/>
                  </a:lnTo>
                  <a:lnTo>
                    <a:pt x="413473" y="71039"/>
                  </a:lnTo>
                  <a:lnTo>
                    <a:pt x="424402" y="65574"/>
                  </a:lnTo>
                  <a:lnTo>
                    <a:pt x="424402" y="67396"/>
                  </a:lnTo>
                  <a:lnTo>
                    <a:pt x="418938" y="80146"/>
                  </a:lnTo>
                  <a:lnTo>
                    <a:pt x="424402" y="94718"/>
                  </a:lnTo>
                  <a:lnTo>
                    <a:pt x="426223" y="94718"/>
                  </a:lnTo>
                  <a:lnTo>
                    <a:pt x="429866" y="91075"/>
                  </a:lnTo>
                  <a:lnTo>
                    <a:pt x="437152" y="91075"/>
                  </a:lnTo>
                  <a:lnTo>
                    <a:pt x="431688" y="96539"/>
                  </a:lnTo>
                  <a:lnTo>
                    <a:pt x="387973" y="112933"/>
                  </a:lnTo>
                  <a:lnTo>
                    <a:pt x="371580" y="140255"/>
                  </a:lnTo>
                  <a:lnTo>
                    <a:pt x="371580" y="143898"/>
                  </a:lnTo>
                  <a:lnTo>
                    <a:pt x="340615" y="123862"/>
                  </a:lnTo>
                  <a:lnTo>
                    <a:pt x="324222" y="127504"/>
                  </a:lnTo>
                  <a:lnTo>
                    <a:pt x="307828" y="123862"/>
                  </a:lnTo>
                  <a:lnTo>
                    <a:pt x="304185" y="127504"/>
                  </a:lnTo>
                  <a:lnTo>
                    <a:pt x="307828" y="132969"/>
                  </a:lnTo>
                  <a:lnTo>
                    <a:pt x="324222" y="143898"/>
                  </a:lnTo>
                  <a:lnTo>
                    <a:pt x="324222" y="145719"/>
                  </a:lnTo>
                  <a:lnTo>
                    <a:pt x="296900" y="156648"/>
                  </a:lnTo>
                  <a:lnTo>
                    <a:pt x="296900" y="140255"/>
                  </a:lnTo>
                  <a:lnTo>
                    <a:pt x="287792" y="132969"/>
                  </a:lnTo>
                  <a:lnTo>
                    <a:pt x="291435" y="122040"/>
                  </a:lnTo>
                  <a:lnTo>
                    <a:pt x="304185" y="107468"/>
                  </a:lnTo>
                  <a:lnTo>
                    <a:pt x="304185" y="96539"/>
                  </a:lnTo>
                  <a:lnTo>
                    <a:pt x="309650" y="96539"/>
                  </a:lnTo>
                  <a:lnTo>
                    <a:pt x="318757" y="100182"/>
                  </a:lnTo>
                  <a:lnTo>
                    <a:pt x="324222" y="100182"/>
                  </a:lnTo>
                  <a:lnTo>
                    <a:pt x="326043" y="91075"/>
                  </a:lnTo>
                  <a:lnTo>
                    <a:pt x="326043" y="83789"/>
                  </a:lnTo>
                  <a:lnTo>
                    <a:pt x="331507" y="72860"/>
                  </a:lnTo>
                  <a:lnTo>
                    <a:pt x="336972" y="49181"/>
                  </a:lnTo>
                  <a:lnTo>
                    <a:pt x="331507" y="32788"/>
                  </a:lnTo>
                  <a:lnTo>
                    <a:pt x="331507" y="29145"/>
                  </a:lnTo>
                  <a:lnTo>
                    <a:pt x="335150" y="29145"/>
                  </a:lnTo>
                  <a:close/>
                  <a:moveTo>
                    <a:pt x="504547" y="21858"/>
                  </a:moveTo>
                  <a:lnTo>
                    <a:pt x="508190" y="27323"/>
                  </a:lnTo>
                  <a:lnTo>
                    <a:pt x="460832" y="60109"/>
                  </a:lnTo>
                  <a:lnTo>
                    <a:pt x="482690" y="29144"/>
                  </a:lnTo>
                  <a:lnTo>
                    <a:pt x="491797" y="32787"/>
                  </a:lnTo>
                  <a:close/>
                  <a:moveTo>
                    <a:pt x="544620" y="0"/>
                  </a:moveTo>
                  <a:lnTo>
                    <a:pt x="522762" y="21858"/>
                  </a:lnTo>
                  <a:lnTo>
                    <a:pt x="533691" y="5464"/>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1" name="Japan - Mainland">
              <a:extLst>
                <a:ext uri="{FF2B5EF4-FFF2-40B4-BE49-F238E27FC236}">
                  <a16:creationId xmlns:a16="http://schemas.microsoft.com/office/drawing/2014/main" id="{87DB36F9-6AA6-860B-8884-A603AF264242}"/>
                </a:ext>
              </a:extLst>
            </p:cNvPr>
            <p:cNvSpPr>
              <a:spLocks noEditPoints="1"/>
            </p:cNvSpPr>
            <p:nvPr/>
          </p:nvSpPr>
          <p:spPr bwMode="auto">
            <a:xfrm>
              <a:off x="8917726" y="3515820"/>
              <a:ext cx="263831" cy="240340"/>
            </a:xfrm>
            <a:custGeom>
              <a:avLst/>
              <a:gdLst>
                <a:gd name="T0" fmla="*/ 112 w 146"/>
                <a:gd name="T1" fmla="*/ 103 h 133"/>
                <a:gd name="T2" fmla="*/ 117 w 146"/>
                <a:gd name="T3" fmla="*/ 97 h 133"/>
                <a:gd name="T4" fmla="*/ 137 w 146"/>
                <a:gd name="T5" fmla="*/ 2 h 133"/>
                <a:gd name="T6" fmla="*/ 138 w 146"/>
                <a:gd name="T7" fmla="*/ 14 h 133"/>
                <a:gd name="T8" fmla="*/ 144 w 146"/>
                <a:gd name="T9" fmla="*/ 41 h 133"/>
                <a:gd name="T10" fmla="*/ 138 w 146"/>
                <a:gd name="T11" fmla="*/ 56 h 133"/>
                <a:gd name="T12" fmla="*/ 129 w 146"/>
                <a:gd name="T13" fmla="*/ 59 h 133"/>
                <a:gd name="T14" fmla="*/ 132 w 146"/>
                <a:gd name="T15" fmla="*/ 77 h 133"/>
                <a:gd name="T16" fmla="*/ 131 w 146"/>
                <a:gd name="T17" fmla="*/ 97 h 133"/>
                <a:gd name="T18" fmla="*/ 125 w 146"/>
                <a:gd name="T19" fmla="*/ 105 h 133"/>
                <a:gd name="T20" fmla="*/ 109 w 146"/>
                <a:gd name="T21" fmla="*/ 109 h 133"/>
                <a:gd name="T22" fmla="*/ 107 w 146"/>
                <a:gd name="T23" fmla="*/ 109 h 133"/>
                <a:gd name="T24" fmla="*/ 101 w 146"/>
                <a:gd name="T25" fmla="*/ 114 h 133"/>
                <a:gd name="T26" fmla="*/ 98 w 146"/>
                <a:gd name="T27" fmla="*/ 108 h 133"/>
                <a:gd name="T28" fmla="*/ 95 w 146"/>
                <a:gd name="T29" fmla="*/ 117 h 133"/>
                <a:gd name="T30" fmla="*/ 76 w 146"/>
                <a:gd name="T31" fmla="*/ 112 h 133"/>
                <a:gd name="T32" fmla="*/ 74 w 146"/>
                <a:gd name="T33" fmla="*/ 112 h 133"/>
                <a:gd name="T34" fmla="*/ 79 w 146"/>
                <a:gd name="T35" fmla="*/ 120 h 133"/>
                <a:gd name="T36" fmla="*/ 67 w 146"/>
                <a:gd name="T37" fmla="*/ 131 h 133"/>
                <a:gd name="T38" fmla="*/ 58 w 146"/>
                <a:gd name="T39" fmla="*/ 131 h 133"/>
                <a:gd name="T40" fmla="*/ 51 w 146"/>
                <a:gd name="T41" fmla="*/ 123 h 133"/>
                <a:gd name="T42" fmla="*/ 58 w 146"/>
                <a:gd name="T43" fmla="*/ 115 h 133"/>
                <a:gd name="T44" fmla="*/ 54 w 146"/>
                <a:gd name="T45" fmla="*/ 115 h 133"/>
                <a:gd name="T46" fmla="*/ 49 w 146"/>
                <a:gd name="T47" fmla="*/ 112 h 133"/>
                <a:gd name="T48" fmla="*/ 40 w 146"/>
                <a:gd name="T49" fmla="*/ 118 h 133"/>
                <a:gd name="T50" fmla="*/ 36 w 146"/>
                <a:gd name="T51" fmla="*/ 117 h 133"/>
                <a:gd name="T52" fmla="*/ 23 w 146"/>
                <a:gd name="T53" fmla="*/ 121 h 133"/>
                <a:gd name="T54" fmla="*/ 18 w 146"/>
                <a:gd name="T55" fmla="*/ 127 h 133"/>
                <a:gd name="T56" fmla="*/ 0 w 146"/>
                <a:gd name="T57" fmla="*/ 123 h 133"/>
                <a:gd name="T58" fmla="*/ 8 w 146"/>
                <a:gd name="T59" fmla="*/ 117 h 133"/>
                <a:gd name="T60" fmla="*/ 23 w 146"/>
                <a:gd name="T61" fmla="*/ 97 h 133"/>
                <a:gd name="T62" fmla="*/ 28 w 146"/>
                <a:gd name="T63" fmla="*/ 94 h 133"/>
                <a:gd name="T64" fmla="*/ 30 w 146"/>
                <a:gd name="T65" fmla="*/ 99 h 133"/>
                <a:gd name="T66" fmla="*/ 55 w 146"/>
                <a:gd name="T67" fmla="*/ 96 h 133"/>
                <a:gd name="T68" fmla="*/ 66 w 146"/>
                <a:gd name="T69" fmla="*/ 97 h 133"/>
                <a:gd name="T70" fmla="*/ 67 w 146"/>
                <a:gd name="T71" fmla="*/ 84 h 133"/>
                <a:gd name="T72" fmla="*/ 74 w 146"/>
                <a:gd name="T73" fmla="*/ 71 h 133"/>
                <a:gd name="T74" fmla="*/ 83 w 146"/>
                <a:gd name="T75" fmla="*/ 66 h 133"/>
                <a:gd name="T76" fmla="*/ 85 w 146"/>
                <a:gd name="T77" fmla="*/ 69 h 133"/>
                <a:gd name="T78" fmla="*/ 80 w 146"/>
                <a:gd name="T79" fmla="*/ 72 h 133"/>
                <a:gd name="T80" fmla="*/ 98 w 146"/>
                <a:gd name="T81" fmla="*/ 71 h 133"/>
                <a:gd name="T82" fmla="*/ 103 w 146"/>
                <a:gd name="T83" fmla="*/ 60 h 133"/>
                <a:gd name="T84" fmla="*/ 119 w 146"/>
                <a:gd name="T85" fmla="*/ 32 h 133"/>
                <a:gd name="T86" fmla="*/ 114 w 146"/>
                <a:gd name="T87" fmla="*/ 29 h 133"/>
                <a:gd name="T88" fmla="*/ 117 w 146"/>
                <a:gd name="T89" fmla="*/ 25 h 133"/>
                <a:gd name="T90" fmla="*/ 120 w 146"/>
                <a:gd name="T91" fmla="*/ 13 h 133"/>
                <a:gd name="T92" fmla="*/ 132 w 146"/>
                <a:gd name="T9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33">
                  <a:moveTo>
                    <a:pt x="117" y="97"/>
                  </a:moveTo>
                  <a:lnTo>
                    <a:pt x="112" y="103"/>
                  </a:lnTo>
                  <a:lnTo>
                    <a:pt x="117" y="100"/>
                  </a:lnTo>
                  <a:lnTo>
                    <a:pt x="117" y="97"/>
                  </a:lnTo>
                  <a:close/>
                  <a:moveTo>
                    <a:pt x="132" y="0"/>
                  </a:moveTo>
                  <a:lnTo>
                    <a:pt x="137" y="2"/>
                  </a:lnTo>
                  <a:lnTo>
                    <a:pt x="138" y="2"/>
                  </a:lnTo>
                  <a:lnTo>
                    <a:pt x="138" y="14"/>
                  </a:lnTo>
                  <a:lnTo>
                    <a:pt x="146" y="31"/>
                  </a:lnTo>
                  <a:lnTo>
                    <a:pt x="144" y="41"/>
                  </a:lnTo>
                  <a:lnTo>
                    <a:pt x="138" y="47"/>
                  </a:lnTo>
                  <a:lnTo>
                    <a:pt x="138" y="56"/>
                  </a:lnTo>
                  <a:lnTo>
                    <a:pt x="135" y="53"/>
                  </a:lnTo>
                  <a:lnTo>
                    <a:pt x="129" y="59"/>
                  </a:lnTo>
                  <a:lnTo>
                    <a:pt x="132" y="65"/>
                  </a:lnTo>
                  <a:lnTo>
                    <a:pt x="132" y="77"/>
                  </a:lnTo>
                  <a:lnTo>
                    <a:pt x="126" y="86"/>
                  </a:lnTo>
                  <a:lnTo>
                    <a:pt x="131" y="97"/>
                  </a:lnTo>
                  <a:lnTo>
                    <a:pt x="125" y="100"/>
                  </a:lnTo>
                  <a:lnTo>
                    <a:pt x="125" y="105"/>
                  </a:lnTo>
                  <a:lnTo>
                    <a:pt x="119" y="109"/>
                  </a:lnTo>
                  <a:lnTo>
                    <a:pt x="109" y="109"/>
                  </a:lnTo>
                  <a:lnTo>
                    <a:pt x="109" y="106"/>
                  </a:lnTo>
                  <a:lnTo>
                    <a:pt x="107" y="109"/>
                  </a:lnTo>
                  <a:lnTo>
                    <a:pt x="103" y="114"/>
                  </a:lnTo>
                  <a:lnTo>
                    <a:pt x="101" y="114"/>
                  </a:lnTo>
                  <a:lnTo>
                    <a:pt x="103" y="108"/>
                  </a:lnTo>
                  <a:lnTo>
                    <a:pt x="98" y="108"/>
                  </a:lnTo>
                  <a:lnTo>
                    <a:pt x="95" y="115"/>
                  </a:lnTo>
                  <a:lnTo>
                    <a:pt x="95" y="117"/>
                  </a:lnTo>
                  <a:lnTo>
                    <a:pt x="83" y="112"/>
                  </a:lnTo>
                  <a:lnTo>
                    <a:pt x="76" y="112"/>
                  </a:lnTo>
                  <a:lnTo>
                    <a:pt x="76" y="109"/>
                  </a:lnTo>
                  <a:lnTo>
                    <a:pt x="74" y="112"/>
                  </a:lnTo>
                  <a:lnTo>
                    <a:pt x="79" y="118"/>
                  </a:lnTo>
                  <a:lnTo>
                    <a:pt x="79" y="120"/>
                  </a:lnTo>
                  <a:lnTo>
                    <a:pt x="70" y="121"/>
                  </a:lnTo>
                  <a:lnTo>
                    <a:pt x="67" y="131"/>
                  </a:lnTo>
                  <a:lnTo>
                    <a:pt x="67" y="133"/>
                  </a:lnTo>
                  <a:lnTo>
                    <a:pt x="58" y="131"/>
                  </a:lnTo>
                  <a:lnTo>
                    <a:pt x="52" y="124"/>
                  </a:lnTo>
                  <a:lnTo>
                    <a:pt x="51" y="123"/>
                  </a:lnTo>
                  <a:lnTo>
                    <a:pt x="52" y="123"/>
                  </a:lnTo>
                  <a:lnTo>
                    <a:pt x="58" y="115"/>
                  </a:lnTo>
                  <a:lnTo>
                    <a:pt x="58" y="112"/>
                  </a:lnTo>
                  <a:lnTo>
                    <a:pt x="54" y="115"/>
                  </a:lnTo>
                  <a:lnTo>
                    <a:pt x="52" y="115"/>
                  </a:lnTo>
                  <a:lnTo>
                    <a:pt x="49" y="112"/>
                  </a:lnTo>
                  <a:lnTo>
                    <a:pt x="46" y="112"/>
                  </a:lnTo>
                  <a:lnTo>
                    <a:pt x="40" y="118"/>
                  </a:lnTo>
                  <a:lnTo>
                    <a:pt x="39" y="118"/>
                  </a:lnTo>
                  <a:lnTo>
                    <a:pt x="36" y="117"/>
                  </a:lnTo>
                  <a:lnTo>
                    <a:pt x="23" y="123"/>
                  </a:lnTo>
                  <a:lnTo>
                    <a:pt x="23" y="121"/>
                  </a:lnTo>
                  <a:lnTo>
                    <a:pt x="20" y="120"/>
                  </a:lnTo>
                  <a:lnTo>
                    <a:pt x="18" y="127"/>
                  </a:lnTo>
                  <a:lnTo>
                    <a:pt x="17" y="127"/>
                  </a:lnTo>
                  <a:lnTo>
                    <a:pt x="0" y="123"/>
                  </a:lnTo>
                  <a:lnTo>
                    <a:pt x="0" y="117"/>
                  </a:lnTo>
                  <a:lnTo>
                    <a:pt x="8" y="117"/>
                  </a:lnTo>
                  <a:lnTo>
                    <a:pt x="23" y="102"/>
                  </a:lnTo>
                  <a:lnTo>
                    <a:pt x="23" y="97"/>
                  </a:lnTo>
                  <a:lnTo>
                    <a:pt x="24" y="97"/>
                  </a:lnTo>
                  <a:lnTo>
                    <a:pt x="28" y="94"/>
                  </a:lnTo>
                  <a:lnTo>
                    <a:pt x="30" y="94"/>
                  </a:lnTo>
                  <a:lnTo>
                    <a:pt x="30" y="99"/>
                  </a:lnTo>
                  <a:lnTo>
                    <a:pt x="42" y="96"/>
                  </a:lnTo>
                  <a:lnTo>
                    <a:pt x="55" y="96"/>
                  </a:lnTo>
                  <a:lnTo>
                    <a:pt x="61" y="102"/>
                  </a:lnTo>
                  <a:lnTo>
                    <a:pt x="66" y="97"/>
                  </a:lnTo>
                  <a:lnTo>
                    <a:pt x="66" y="84"/>
                  </a:lnTo>
                  <a:lnTo>
                    <a:pt x="67" y="84"/>
                  </a:lnTo>
                  <a:lnTo>
                    <a:pt x="74" y="83"/>
                  </a:lnTo>
                  <a:lnTo>
                    <a:pt x="74" y="71"/>
                  </a:lnTo>
                  <a:lnTo>
                    <a:pt x="76" y="71"/>
                  </a:lnTo>
                  <a:lnTo>
                    <a:pt x="83" y="66"/>
                  </a:lnTo>
                  <a:lnTo>
                    <a:pt x="85" y="66"/>
                  </a:lnTo>
                  <a:lnTo>
                    <a:pt x="85" y="69"/>
                  </a:lnTo>
                  <a:lnTo>
                    <a:pt x="83" y="71"/>
                  </a:lnTo>
                  <a:lnTo>
                    <a:pt x="80" y="72"/>
                  </a:lnTo>
                  <a:lnTo>
                    <a:pt x="80" y="78"/>
                  </a:lnTo>
                  <a:lnTo>
                    <a:pt x="98" y="71"/>
                  </a:lnTo>
                  <a:lnTo>
                    <a:pt x="103" y="62"/>
                  </a:lnTo>
                  <a:lnTo>
                    <a:pt x="103" y="60"/>
                  </a:lnTo>
                  <a:lnTo>
                    <a:pt x="110" y="57"/>
                  </a:lnTo>
                  <a:lnTo>
                    <a:pt x="119" y="32"/>
                  </a:lnTo>
                  <a:lnTo>
                    <a:pt x="116" y="29"/>
                  </a:lnTo>
                  <a:lnTo>
                    <a:pt x="114" y="29"/>
                  </a:lnTo>
                  <a:lnTo>
                    <a:pt x="114" y="25"/>
                  </a:lnTo>
                  <a:lnTo>
                    <a:pt x="117" y="25"/>
                  </a:lnTo>
                  <a:lnTo>
                    <a:pt x="117" y="13"/>
                  </a:lnTo>
                  <a:lnTo>
                    <a:pt x="120" y="13"/>
                  </a:lnTo>
                  <a:lnTo>
                    <a:pt x="122" y="4"/>
                  </a:lnTo>
                  <a:lnTo>
                    <a:pt x="13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2" name="Korea - South">
              <a:extLst>
                <a:ext uri="{FF2B5EF4-FFF2-40B4-BE49-F238E27FC236}">
                  <a16:creationId xmlns:a16="http://schemas.microsoft.com/office/drawing/2014/main" id="{85625B89-30D5-C8BA-16EE-63EDCC7DB643}"/>
                </a:ext>
              </a:extLst>
            </p:cNvPr>
            <p:cNvSpPr>
              <a:spLocks/>
            </p:cNvSpPr>
            <p:nvPr/>
          </p:nvSpPr>
          <p:spPr bwMode="auto">
            <a:xfrm>
              <a:off x="8800267" y="3606172"/>
              <a:ext cx="86739" cy="157215"/>
            </a:xfrm>
            <a:custGeom>
              <a:avLst/>
              <a:gdLst/>
              <a:ahLst/>
              <a:cxnLst/>
              <a:rect l="l" t="t" r="r" b="b"/>
              <a:pathLst>
                <a:path w="87430" h="158468">
                  <a:moveTo>
                    <a:pt x="5465" y="151182"/>
                  </a:moveTo>
                  <a:lnTo>
                    <a:pt x="21858" y="151182"/>
                  </a:lnTo>
                  <a:lnTo>
                    <a:pt x="21858" y="153004"/>
                  </a:lnTo>
                  <a:lnTo>
                    <a:pt x="10929" y="158468"/>
                  </a:lnTo>
                  <a:lnTo>
                    <a:pt x="3643" y="158468"/>
                  </a:lnTo>
                  <a:lnTo>
                    <a:pt x="3643" y="156647"/>
                  </a:lnTo>
                  <a:close/>
                  <a:moveTo>
                    <a:pt x="56465" y="0"/>
                  </a:moveTo>
                  <a:lnTo>
                    <a:pt x="78323" y="32787"/>
                  </a:lnTo>
                  <a:lnTo>
                    <a:pt x="87430" y="74680"/>
                  </a:lnTo>
                  <a:lnTo>
                    <a:pt x="78323" y="96538"/>
                  </a:lnTo>
                  <a:lnTo>
                    <a:pt x="71037" y="102002"/>
                  </a:lnTo>
                  <a:lnTo>
                    <a:pt x="71037" y="105645"/>
                  </a:lnTo>
                  <a:lnTo>
                    <a:pt x="67394" y="105645"/>
                  </a:lnTo>
                  <a:lnTo>
                    <a:pt x="60108" y="102002"/>
                  </a:lnTo>
                  <a:lnTo>
                    <a:pt x="54644" y="111110"/>
                  </a:lnTo>
                  <a:lnTo>
                    <a:pt x="45537" y="107467"/>
                  </a:lnTo>
                  <a:lnTo>
                    <a:pt x="38251" y="116574"/>
                  </a:lnTo>
                  <a:lnTo>
                    <a:pt x="34608" y="116574"/>
                  </a:lnTo>
                  <a:lnTo>
                    <a:pt x="32786" y="112931"/>
                  </a:lnTo>
                  <a:lnTo>
                    <a:pt x="32786" y="118396"/>
                  </a:lnTo>
                  <a:lnTo>
                    <a:pt x="29144" y="122039"/>
                  </a:lnTo>
                  <a:lnTo>
                    <a:pt x="27322" y="118396"/>
                  </a:lnTo>
                  <a:lnTo>
                    <a:pt x="27322" y="116574"/>
                  </a:lnTo>
                  <a:lnTo>
                    <a:pt x="21858" y="122039"/>
                  </a:lnTo>
                  <a:lnTo>
                    <a:pt x="16393" y="122039"/>
                  </a:lnTo>
                  <a:lnTo>
                    <a:pt x="10929" y="123860"/>
                  </a:lnTo>
                  <a:lnTo>
                    <a:pt x="3643" y="123860"/>
                  </a:lnTo>
                  <a:lnTo>
                    <a:pt x="5465" y="112931"/>
                  </a:lnTo>
                  <a:lnTo>
                    <a:pt x="10929" y="116574"/>
                  </a:lnTo>
                  <a:lnTo>
                    <a:pt x="10929" y="111110"/>
                  </a:lnTo>
                  <a:lnTo>
                    <a:pt x="5465" y="111110"/>
                  </a:lnTo>
                  <a:lnTo>
                    <a:pt x="5465" y="107467"/>
                  </a:lnTo>
                  <a:lnTo>
                    <a:pt x="16393" y="80145"/>
                  </a:lnTo>
                  <a:lnTo>
                    <a:pt x="10929" y="60109"/>
                  </a:lnTo>
                  <a:lnTo>
                    <a:pt x="9108" y="65573"/>
                  </a:lnTo>
                  <a:lnTo>
                    <a:pt x="5465" y="65573"/>
                  </a:lnTo>
                  <a:lnTo>
                    <a:pt x="5465" y="61930"/>
                  </a:lnTo>
                  <a:lnTo>
                    <a:pt x="0" y="54644"/>
                  </a:lnTo>
                  <a:lnTo>
                    <a:pt x="3643" y="54644"/>
                  </a:lnTo>
                  <a:lnTo>
                    <a:pt x="16393" y="45537"/>
                  </a:lnTo>
                  <a:lnTo>
                    <a:pt x="16393" y="49180"/>
                  </a:lnTo>
                  <a:lnTo>
                    <a:pt x="18215" y="49180"/>
                  </a:lnTo>
                  <a:lnTo>
                    <a:pt x="10929" y="27322"/>
                  </a:lnTo>
                  <a:lnTo>
                    <a:pt x="10929" y="23679"/>
                  </a:lnTo>
                  <a:lnTo>
                    <a:pt x="27322" y="10929"/>
                  </a:lnTo>
                  <a:lnTo>
                    <a:pt x="43715" y="10929"/>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3" name="Korea - North">
              <a:extLst>
                <a:ext uri="{FF2B5EF4-FFF2-40B4-BE49-F238E27FC236}">
                  <a16:creationId xmlns:a16="http://schemas.microsoft.com/office/drawing/2014/main" id="{8040D101-3664-3E39-7B5E-BED011E7063E}"/>
                </a:ext>
              </a:extLst>
            </p:cNvPr>
            <p:cNvSpPr>
              <a:spLocks/>
            </p:cNvSpPr>
            <p:nvPr/>
          </p:nvSpPr>
          <p:spPr bwMode="auto">
            <a:xfrm>
              <a:off x="8760512" y="3468835"/>
              <a:ext cx="149986" cy="164443"/>
            </a:xfrm>
            <a:custGeom>
              <a:avLst/>
              <a:gdLst>
                <a:gd name="T0" fmla="*/ 74 w 83"/>
                <a:gd name="T1" fmla="*/ 0 h 91"/>
                <a:gd name="T2" fmla="*/ 75 w 83"/>
                <a:gd name="T3" fmla="*/ 0 h 91"/>
                <a:gd name="T4" fmla="*/ 81 w 83"/>
                <a:gd name="T5" fmla="*/ 6 h 91"/>
                <a:gd name="T6" fmla="*/ 83 w 83"/>
                <a:gd name="T7" fmla="*/ 11 h 91"/>
                <a:gd name="T8" fmla="*/ 71 w 83"/>
                <a:gd name="T9" fmla="*/ 24 h 91"/>
                <a:gd name="T10" fmla="*/ 71 w 83"/>
                <a:gd name="T11" fmla="*/ 37 h 91"/>
                <a:gd name="T12" fmla="*/ 53 w 83"/>
                <a:gd name="T13" fmla="*/ 51 h 91"/>
                <a:gd name="T14" fmla="*/ 41 w 83"/>
                <a:gd name="T15" fmla="*/ 57 h 91"/>
                <a:gd name="T16" fmla="*/ 41 w 83"/>
                <a:gd name="T17" fmla="*/ 66 h 91"/>
                <a:gd name="T18" fmla="*/ 53 w 83"/>
                <a:gd name="T19" fmla="*/ 76 h 91"/>
                <a:gd name="T20" fmla="*/ 53 w 83"/>
                <a:gd name="T21" fmla="*/ 77 h 91"/>
                <a:gd name="T22" fmla="*/ 46 w 83"/>
                <a:gd name="T23" fmla="*/ 83 h 91"/>
                <a:gd name="T24" fmla="*/ 37 w 83"/>
                <a:gd name="T25" fmla="*/ 83 h 91"/>
                <a:gd name="T26" fmla="*/ 30 w 83"/>
                <a:gd name="T27" fmla="*/ 91 h 91"/>
                <a:gd name="T28" fmla="*/ 28 w 83"/>
                <a:gd name="T29" fmla="*/ 91 h 91"/>
                <a:gd name="T30" fmla="*/ 18 w 83"/>
                <a:gd name="T31" fmla="*/ 86 h 91"/>
                <a:gd name="T32" fmla="*/ 18 w 83"/>
                <a:gd name="T33" fmla="*/ 89 h 91"/>
                <a:gd name="T34" fmla="*/ 16 w 83"/>
                <a:gd name="T35" fmla="*/ 89 h 91"/>
                <a:gd name="T36" fmla="*/ 12 w 83"/>
                <a:gd name="T37" fmla="*/ 91 h 91"/>
                <a:gd name="T38" fmla="*/ 9 w 83"/>
                <a:gd name="T39" fmla="*/ 86 h 91"/>
                <a:gd name="T40" fmla="*/ 10 w 83"/>
                <a:gd name="T41" fmla="*/ 85 h 91"/>
                <a:gd name="T42" fmla="*/ 4 w 83"/>
                <a:gd name="T43" fmla="*/ 85 h 91"/>
                <a:gd name="T44" fmla="*/ 9 w 83"/>
                <a:gd name="T45" fmla="*/ 77 h 91"/>
                <a:gd name="T46" fmla="*/ 13 w 83"/>
                <a:gd name="T47" fmla="*/ 74 h 91"/>
                <a:gd name="T48" fmla="*/ 12 w 83"/>
                <a:gd name="T49" fmla="*/ 73 h 91"/>
                <a:gd name="T50" fmla="*/ 10 w 83"/>
                <a:gd name="T51" fmla="*/ 73 h 91"/>
                <a:gd name="T52" fmla="*/ 13 w 83"/>
                <a:gd name="T53" fmla="*/ 61 h 91"/>
                <a:gd name="T54" fmla="*/ 4 w 83"/>
                <a:gd name="T55" fmla="*/ 60 h 91"/>
                <a:gd name="T56" fmla="*/ 3 w 83"/>
                <a:gd name="T57" fmla="*/ 60 h 91"/>
                <a:gd name="T58" fmla="*/ 0 w 83"/>
                <a:gd name="T59" fmla="*/ 54 h 91"/>
                <a:gd name="T60" fmla="*/ 7 w 83"/>
                <a:gd name="T61" fmla="*/ 43 h 91"/>
                <a:gd name="T62" fmla="*/ 19 w 83"/>
                <a:gd name="T63" fmla="*/ 37 h 91"/>
                <a:gd name="T64" fmla="*/ 32 w 83"/>
                <a:gd name="T65" fmla="*/ 24 h 91"/>
                <a:gd name="T66" fmla="*/ 34 w 83"/>
                <a:gd name="T67" fmla="*/ 24 h 91"/>
                <a:gd name="T68" fmla="*/ 41 w 83"/>
                <a:gd name="T69" fmla="*/ 28 h 91"/>
                <a:gd name="T70" fmla="*/ 50 w 83"/>
                <a:gd name="T71" fmla="*/ 27 h 91"/>
                <a:gd name="T72" fmla="*/ 50 w 83"/>
                <a:gd name="T73" fmla="*/ 17 h 91"/>
                <a:gd name="T74" fmla="*/ 61 w 83"/>
                <a:gd name="T75" fmla="*/ 17 h 91"/>
                <a:gd name="T76" fmla="*/ 68 w 83"/>
                <a:gd name="T77" fmla="*/ 11 h 91"/>
                <a:gd name="T78" fmla="*/ 74 w 83"/>
                <a:gd name="T7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3" h="91">
                  <a:moveTo>
                    <a:pt x="74" y="0"/>
                  </a:moveTo>
                  <a:lnTo>
                    <a:pt x="75" y="0"/>
                  </a:lnTo>
                  <a:lnTo>
                    <a:pt x="81" y="6"/>
                  </a:lnTo>
                  <a:lnTo>
                    <a:pt x="83" y="11"/>
                  </a:lnTo>
                  <a:lnTo>
                    <a:pt x="71" y="24"/>
                  </a:lnTo>
                  <a:lnTo>
                    <a:pt x="71" y="37"/>
                  </a:lnTo>
                  <a:lnTo>
                    <a:pt x="53" y="51"/>
                  </a:lnTo>
                  <a:lnTo>
                    <a:pt x="41" y="57"/>
                  </a:lnTo>
                  <a:lnTo>
                    <a:pt x="41" y="66"/>
                  </a:lnTo>
                  <a:lnTo>
                    <a:pt x="53" y="76"/>
                  </a:lnTo>
                  <a:lnTo>
                    <a:pt x="53" y="77"/>
                  </a:lnTo>
                  <a:lnTo>
                    <a:pt x="46" y="83"/>
                  </a:lnTo>
                  <a:lnTo>
                    <a:pt x="37" y="83"/>
                  </a:lnTo>
                  <a:lnTo>
                    <a:pt x="30" y="91"/>
                  </a:lnTo>
                  <a:lnTo>
                    <a:pt x="28" y="91"/>
                  </a:lnTo>
                  <a:lnTo>
                    <a:pt x="18" y="86"/>
                  </a:lnTo>
                  <a:lnTo>
                    <a:pt x="18" y="89"/>
                  </a:lnTo>
                  <a:lnTo>
                    <a:pt x="16" y="89"/>
                  </a:lnTo>
                  <a:lnTo>
                    <a:pt x="12" y="91"/>
                  </a:lnTo>
                  <a:lnTo>
                    <a:pt x="9" y="86"/>
                  </a:lnTo>
                  <a:lnTo>
                    <a:pt x="10" y="85"/>
                  </a:lnTo>
                  <a:lnTo>
                    <a:pt x="4" y="85"/>
                  </a:lnTo>
                  <a:lnTo>
                    <a:pt x="9" y="77"/>
                  </a:lnTo>
                  <a:lnTo>
                    <a:pt x="13" y="74"/>
                  </a:lnTo>
                  <a:lnTo>
                    <a:pt x="12" y="73"/>
                  </a:lnTo>
                  <a:lnTo>
                    <a:pt x="10" y="73"/>
                  </a:lnTo>
                  <a:lnTo>
                    <a:pt x="13" y="61"/>
                  </a:lnTo>
                  <a:lnTo>
                    <a:pt x="4" y="60"/>
                  </a:lnTo>
                  <a:lnTo>
                    <a:pt x="3" y="60"/>
                  </a:lnTo>
                  <a:lnTo>
                    <a:pt x="0" y="54"/>
                  </a:lnTo>
                  <a:lnTo>
                    <a:pt x="7" y="43"/>
                  </a:lnTo>
                  <a:lnTo>
                    <a:pt x="19" y="37"/>
                  </a:lnTo>
                  <a:lnTo>
                    <a:pt x="32" y="24"/>
                  </a:lnTo>
                  <a:lnTo>
                    <a:pt x="34" y="24"/>
                  </a:lnTo>
                  <a:lnTo>
                    <a:pt x="41" y="28"/>
                  </a:lnTo>
                  <a:lnTo>
                    <a:pt x="50" y="27"/>
                  </a:lnTo>
                  <a:lnTo>
                    <a:pt x="50" y="17"/>
                  </a:lnTo>
                  <a:lnTo>
                    <a:pt x="61" y="17"/>
                  </a:lnTo>
                  <a:lnTo>
                    <a:pt x="68" y="11"/>
                  </a:lnTo>
                  <a:lnTo>
                    <a:pt x="7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4" name="Russia - Offshore">
              <a:extLst>
                <a:ext uri="{FF2B5EF4-FFF2-40B4-BE49-F238E27FC236}">
                  <a16:creationId xmlns:a16="http://schemas.microsoft.com/office/drawing/2014/main" id="{6210A1AD-0FCD-9035-CD5D-EEF5D9CB3DA3}"/>
                </a:ext>
              </a:extLst>
            </p:cNvPr>
            <p:cNvSpPr>
              <a:spLocks/>
            </p:cNvSpPr>
            <p:nvPr/>
          </p:nvSpPr>
          <p:spPr bwMode="auto">
            <a:xfrm>
              <a:off x="6962485" y="1109715"/>
              <a:ext cx="3371978" cy="2259732"/>
            </a:xfrm>
            <a:custGeom>
              <a:avLst/>
              <a:gdLst/>
              <a:ahLst/>
              <a:cxnLst/>
              <a:rect l="l" t="t" r="r" b="b"/>
              <a:pathLst>
                <a:path w="3398859" h="2277745">
                  <a:moveTo>
                    <a:pt x="2568269" y="2108349"/>
                  </a:moveTo>
                  <a:lnTo>
                    <a:pt x="2568269" y="2117457"/>
                  </a:lnTo>
                  <a:lnTo>
                    <a:pt x="2564626" y="2121100"/>
                  </a:lnTo>
                  <a:lnTo>
                    <a:pt x="2550054" y="2132029"/>
                  </a:lnTo>
                  <a:lnTo>
                    <a:pt x="2550054" y="2124743"/>
                  </a:lnTo>
                  <a:close/>
                  <a:moveTo>
                    <a:pt x="3172996" y="2062812"/>
                  </a:moveTo>
                  <a:lnTo>
                    <a:pt x="3178461" y="2062812"/>
                  </a:lnTo>
                  <a:lnTo>
                    <a:pt x="3180282" y="2064634"/>
                  </a:lnTo>
                  <a:lnTo>
                    <a:pt x="3189390" y="2064634"/>
                  </a:lnTo>
                  <a:lnTo>
                    <a:pt x="3186111" y="2070098"/>
                  </a:lnTo>
                  <a:lnTo>
                    <a:pt x="3189390" y="2070098"/>
                  </a:lnTo>
                  <a:lnTo>
                    <a:pt x="3200319" y="2062812"/>
                  </a:lnTo>
                  <a:lnTo>
                    <a:pt x="3202141" y="2062812"/>
                  </a:lnTo>
                  <a:lnTo>
                    <a:pt x="3202141" y="2064634"/>
                  </a:lnTo>
                  <a:lnTo>
                    <a:pt x="3200319" y="2070098"/>
                  </a:lnTo>
                  <a:lnTo>
                    <a:pt x="3189390" y="2073741"/>
                  </a:lnTo>
                  <a:lnTo>
                    <a:pt x="3185747" y="2073741"/>
                  </a:lnTo>
                  <a:lnTo>
                    <a:pt x="3185747" y="2070705"/>
                  </a:lnTo>
                  <a:lnTo>
                    <a:pt x="3183925" y="2073742"/>
                  </a:lnTo>
                  <a:lnTo>
                    <a:pt x="3183925" y="2075563"/>
                  </a:lnTo>
                  <a:lnTo>
                    <a:pt x="3180282" y="2075563"/>
                  </a:lnTo>
                  <a:lnTo>
                    <a:pt x="3172996" y="2064634"/>
                  </a:lnTo>
                  <a:close/>
                  <a:moveTo>
                    <a:pt x="3211247" y="2059169"/>
                  </a:moveTo>
                  <a:lnTo>
                    <a:pt x="3213068" y="2059169"/>
                  </a:lnTo>
                  <a:lnTo>
                    <a:pt x="3218533" y="2068277"/>
                  </a:lnTo>
                  <a:lnTo>
                    <a:pt x="3218533" y="2070098"/>
                  </a:lnTo>
                  <a:lnTo>
                    <a:pt x="3211247" y="2075563"/>
                  </a:lnTo>
                  <a:lnTo>
                    <a:pt x="3207604" y="2075563"/>
                  </a:lnTo>
                  <a:lnTo>
                    <a:pt x="3207604" y="2073742"/>
                  </a:lnTo>
                  <a:lnTo>
                    <a:pt x="3205782" y="2070098"/>
                  </a:lnTo>
                  <a:lnTo>
                    <a:pt x="3205782" y="2068277"/>
                  </a:lnTo>
                  <a:close/>
                  <a:moveTo>
                    <a:pt x="3121995" y="2057348"/>
                  </a:moveTo>
                  <a:lnTo>
                    <a:pt x="3123817" y="2057348"/>
                  </a:lnTo>
                  <a:lnTo>
                    <a:pt x="3123817" y="2059170"/>
                  </a:lnTo>
                  <a:lnTo>
                    <a:pt x="3127460" y="2059170"/>
                  </a:lnTo>
                  <a:lnTo>
                    <a:pt x="3127460" y="2062813"/>
                  </a:lnTo>
                  <a:lnTo>
                    <a:pt x="3123817" y="2062813"/>
                  </a:lnTo>
                  <a:lnTo>
                    <a:pt x="3123817" y="2064634"/>
                  </a:lnTo>
                  <a:lnTo>
                    <a:pt x="3121995" y="2064634"/>
                  </a:lnTo>
                  <a:close/>
                  <a:moveTo>
                    <a:pt x="3072816" y="2053705"/>
                  </a:moveTo>
                  <a:lnTo>
                    <a:pt x="3076458" y="2053705"/>
                  </a:lnTo>
                  <a:lnTo>
                    <a:pt x="3078280" y="2062813"/>
                  </a:lnTo>
                  <a:lnTo>
                    <a:pt x="3067351" y="2068277"/>
                  </a:lnTo>
                  <a:lnTo>
                    <a:pt x="3067351" y="2064634"/>
                  </a:lnTo>
                  <a:close/>
                  <a:moveTo>
                    <a:pt x="3307785" y="2042776"/>
                  </a:moveTo>
                  <a:lnTo>
                    <a:pt x="3311428" y="2042776"/>
                  </a:lnTo>
                  <a:lnTo>
                    <a:pt x="3316893" y="2046419"/>
                  </a:lnTo>
                  <a:lnTo>
                    <a:pt x="3316893" y="2048241"/>
                  </a:lnTo>
                  <a:lnTo>
                    <a:pt x="3307785" y="2048241"/>
                  </a:lnTo>
                  <a:close/>
                  <a:moveTo>
                    <a:pt x="3267713" y="2042776"/>
                  </a:moveTo>
                  <a:lnTo>
                    <a:pt x="3269534" y="2042776"/>
                  </a:lnTo>
                  <a:lnTo>
                    <a:pt x="3274999" y="2048241"/>
                  </a:lnTo>
                  <a:lnTo>
                    <a:pt x="3274999" y="2051884"/>
                  </a:lnTo>
                  <a:lnTo>
                    <a:pt x="3258605" y="2057348"/>
                  </a:lnTo>
                  <a:lnTo>
                    <a:pt x="3267713" y="2046419"/>
                  </a:lnTo>
                  <a:close/>
                  <a:moveTo>
                    <a:pt x="2950777" y="2022740"/>
                  </a:moveTo>
                  <a:lnTo>
                    <a:pt x="2959884" y="2022740"/>
                  </a:lnTo>
                  <a:lnTo>
                    <a:pt x="2967170" y="2024562"/>
                  </a:lnTo>
                  <a:lnTo>
                    <a:pt x="2972635" y="2024562"/>
                  </a:lnTo>
                  <a:lnTo>
                    <a:pt x="2972635" y="2028205"/>
                  </a:lnTo>
                  <a:lnTo>
                    <a:pt x="2965349" y="2030026"/>
                  </a:lnTo>
                  <a:lnTo>
                    <a:pt x="2965349" y="2033669"/>
                  </a:lnTo>
                  <a:lnTo>
                    <a:pt x="2961706" y="2033669"/>
                  </a:lnTo>
                  <a:lnTo>
                    <a:pt x="2950777" y="2024562"/>
                  </a:lnTo>
                  <a:close/>
                  <a:moveTo>
                    <a:pt x="3397037" y="2011811"/>
                  </a:moveTo>
                  <a:lnTo>
                    <a:pt x="3398859" y="2011811"/>
                  </a:lnTo>
                  <a:lnTo>
                    <a:pt x="3398859" y="2024562"/>
                  </a:lnTo>
                  <a:lnTo>
                    <a:pt x="3389751" y="2030026"/>
                  </a:lnTo>
                  <a:lnTo>
                    <a:pt x="3386108" y="2030026"/>
                  </a:lnTo>
                  <a:lnTo>
                    <a:pt x="3389751" y="2028205"/>
                  </a:lnTo>
                  <a:lnTo>
                    <a:pt x="3397037" y="2013633"/>
                  </a:lnTo>
                  <a:close/>
                  <a:moveTo>
                    <a:pt x="2247691" y="1968096"/>
                  </a:moveTo>
                  <a:lnTo>
                    <a:pt x="2254977" y="1975382"/>
                  </a:lnTo>
                  <a:lnTo>
                    <a:pt x="2265906" y="2028204"/>
                  </a:lnTo>
                  <a:lnTo>
                    <a:pt x="2260441" y="2048241"/>
                  </a:lnTo>
                  <a:lnTo>
                    <a:pt x="2262263" y="2075563"/>
                  </a:lnTo>
                  <a:lnTo>
                    <a:pt x="2287763" y="2157528"/>
                  </a:lnTo>
                  <a:lnTo>
                    <a:pt x="2298692" y="2181208"/>
                  </a:lnTo>
                  <a:lnTo>
                    <a:pt x="2276835" y="2159350"/>
                  </a:lnTo>
                  <a:lnTo>
                    <a:pt x="2256798" y="2164814"/>
                  </a:lnTo>
                  <a:lnTo>
                    <a:pt x="2247691" y="2221280"/>
                  </a:lnTo>
                  <a:lnTo>
                    <a:pt x="2260441" y="2246780"/>
                  </a:lnTo>
                  <a:lnTo>
                    <a:pt x="2267727" y="2252245"/>
                  </a:lnTo>
                  <a:lnTo>
                    <a:pt x="2271370" y="2270459"/>
                  </a:lnTo>
                  <a:lnTo>
                    <a:pt x="2267727" y="2275924"/>
                  </a:lnTo>
                  <a:lnTo>
                    <a:pt x="2265906" y="2257709"/>
                  </a:lnTo>
                  <a:lnTo>
                    <a:pt x="2247691" y="2254066"/>
                  </a:lnTo>
                  <a:lnTo>
                    <a:pt x="2236762" y="2277745"/>
                  </a:lnTo>
                  <a:lnTo>
                    <a:pt x="2233119" y="2275924"/>
                  </a:lnTo>
                  <a:lnTo>
                    <a:pt x="2231298" y="2254066"/>
                  </a:lnTo>
                  <a:lnTo>
                    <a:pt x="2238584" y="2204887"/>
                  </a:lnTo>
                  <a:lnTo>
                    <a:pt x="2231298" y="2181208"/>
                  </a:lnTo>
                  <a:lnTo>
                    <a:pt x="2238584" y="2135671"/>
                  </a:lnTo>
                  <a:lnTo>
                    <a:pt x="2236762" y="2108349"/>
                  </a:lnTo>
                  <a:lnTo>
                    <a:pt x="2236762" y="2090134"/>
                  </a:lnTo>
                  <a:lnTo>
                    <a:pt x="2225833" y="2070098"/>
                  </a:lnTo>
                  <a:lnTo>
                    <a:pt x="2225833" y="2046419"/>
                  </a:lnTo>
                  <a:lnTo>
                    <a:pt x="2231298" y="2000882"/>
                  </a:lnTo>
                  <a:lnTo>
                    <a:pt x="2244048" y="2002704"/>
                  </a:lnTo>
                  <a:lnTo>
                    <a:pt x="2249512" y="1991775"/>
                  </a:lnTo>
                  <a:lnTo>
                    <a:pt x="2242227" y="1969918"/>
                  </a:lnTo>
                  <a:close/>
                  <a:moveTo>
                    <a:pt x="2127474" y="1929845"/>
                  </a:moveTo>
                  <a:lnTo>
                    <a:pt x="2142046" y="1938953"/>
                  </a:lnTo>
                  <a:lnTo>
                    <a:pt x="2131117" y="1957168"/>
                  </a:lnTo>
                  <a:lnTo>
                    <a:pt x="2127474" y="1957168"/>
                  </a:lnTo>
                  <a:lnTo>
                    <a:pt x="2120188" y="1955347"/>
                  </a:lnTo>
                  <a:lnTo>
                    <a:pt x="2120188" y="1949882"/>
                  </a:lnTo>
                  <a:lnTo>
                    <a:pt x="2127474" y="1933488"/>
                  </a:lnTo>
                  <a:close/>
                  <a:moveTo>
                    <a:pt x="2803240" y="1928023"/>
                  </a:moveTo>
                  <a:lnTo>
                    <a:pt x="2808704" y="1928023"/>
                  </a:lnTo>
                  <a:lnTo>
                    <a:pt x="2815990" y="1951703"/>
                  </a:lnTo>
                  <a:lnTo>
                    <a:pt x="2808704" y="1946239"/>
                  </a:lnTo>
                  <a:lnTo>
                    <a:pt x="2797775" y="1929845"/>
                  </a:lnTo>
                  <a:close/>
                  <a:moveTo>
                    <a:pt x="2763168" y="1756806"/>
                  </a:moveTo>
                  <a:lnTo>
                    <a:pt x="2768632" y="1767735"/>
                  </a:lnTo>
                  <a:lnTo>
                    <a:pt x="2737666" y="1793235"/>
                  </a:lnTo>
                  <a:lnTo>
                    <a:pt x="2748595" y="1767735"/>
                  </a:lnTo>
                  <a:lnTo>
                    <a:pt x="2746774" y="1767735"/>
                  </a:lnTo>
                  <a:close/>
                  <a:moveTo>
                    <a:pt x="3329642" y="1527301"/>
                  </a:moveTo>
                  <a:lnTo>
                    <a:pt x="3351500" y="1536409"/>
                  </a:lnTo>
                  <a:lnTo>
                    <a:pt x="3364250" y="1532766"/>
                  </a:lnTo>
                  <a:lnTo>
                    <a:pt x="3367893" y="1532766"/>
                  </a:lnTo>
                  <a:lnTo>
                    <a:pt x="3386108" y="1549159"/>
                  </a:lnTo>
                  <a:lnTo>
                    <a:pt x="3398858" y="1552802"/>
                  </a:lnTo>
                  <a:lnTo>
                    <a:pt x="3398858" y="1558266"/>
                  </a:lnTo>
                  <a:lnTo>
                    <a:pt x="3378822" y="1569195"/>
                  </a:lnTo>
                  <a:lnTo>
                    <a:pt x="3325999" y="1543694"/>
                  </a:lnTo>
                  <a:close/>
                  <a:moveTo>
                    <a:pt x="25500" y="1184865"/>
                  </a:moveTo>
                  <a:lnTo>
                    <a:pt x="51001" y="1212187"/>
                  </a:lnTo>
                  <a:lnTo>
                    <a:pt x="20036" y="1239509"/>
                  </a:lnTo>
                  <a:lnTo>
                    <a:pt x="3643" y="1228580"/>
                  </a:lnTo>
                  <a:lnTo>
                    <a:pt x="3643" y="1239509"/>
                  </a:lnTo>
                  <a:lnTo>
                    <a:pt x="0" y="1228580"/>
                  </a:lnTo>
                  <a:lnTo>
                    <a:pt x="0" y="1206723"/>
                  </a:lnTo>
                  <a:lnTo>
                    <a:pt x="10929" y="1188508"/>
                  </a:lnTo>
                  <a:close/>
                  <a:moveTo>
                    <a:pt x="2852419" y="1150257"/>
                  </a:moveTo>
                  <a:lnTo>
                    <a:pt x="2881562" y="1163007"/>
                  </a:lnTo>
                  <a:lnTo>
                    <a:pt x="2877919" y="1179400"/>
                  </a:lnTo>
                  <a:lnTo>
                    <a:pt x="2861526" y="1177579"/>
                  </a:lnTo>
                  <a:lnTo>
                    <a:pt x="2846954" y="1155721"/>
                  </a:lnTo>
                  <a:close/>
                  <a:moveTo>
                    <a:pt x="256828" y="1117471"/>
                  </a:moveTo>
                  <a:lnTo>
                    <a:pt x="295079" y="1166651"/>
                  </a:lnTo>
                  <a:lnTo>
                    <a:pt x="278686" y="1172115"/>
                  </a:lnTo>
                  <a:lnTo>
                    <a:pt x="256828" y="1155722"/>
                  </a:lnTo>
                  <a:lnTo>
                    <a:pt x="260471" y="1163008"/>
                  </a:lnTo>
                  <a:lnTo>
                    <a:pt x="245899" y="1135686"/>
                  </a:lnTo>
                  <a:lnTo>
                    <a:pt x="255007" y="1135686"/>
                  </a:lnTo>
                  <a:lnTo>
                    <a:pt x="249542" y="1130221"/>
                  </a:lnTo>
                  <a:close/>
                  <a:moveTo>
                    <a:pt x="98361" y="1057362"/>
                  </a:moveTo>
                  <a:lnTo>
                    <a:pt x="114755" y="1057362"/>
                  </a:lnTo>
                  <a:lnTo>
                    <a:pt x="118398" y="1062827"/>
                  </a:lnTo>
                  <a:lnTo>
                    <a:pt x="118398" y="1084685"/>
                  </a:lnTo>
                  <a:close/>
                  <a:moveTo>
                    <a:pt x="3156602" y="1035504"/>
                  </a:moveTo>
                  <a:lnTo>
                    <a:pt x="3191210" y="1057362"/>
                  </a:lnTo>
                  <a:lnTo>
                    <a:pt x="3185746" y="1071933"/>
                  </a:lnTo>
                  <a:lnTo>
                    <a:pt x="3156602" y="1084684"/>
                  </a:lnTo>
                  <a:lnTo>
                    <a:pt x="3132923" y="1079219"/>
                  </a:lnTo>
                  <a:lnTo>
                    <a:pt x="3105601" y="1090148"/>
                  </a:lnTo>
                  <a:lnTo>
                    <a:pt x="3100137" y="1077398"/>
                  </a:lnTo>
                  <a:lnTo>
                    <a:pt x="3129280" y="1039147"/>
                  </a:lnTo>
                  <a:lnTo>
                    <a:pt x="3138388" y="1039147"/>
                  </a:lnTo>
                  <a:close/>
                  <a:moveTo>
                    <a:pt x="2111081" y="1031862"/>
                  </a:moveTo>
                  <a:lnTo>
                    <a:pt x="2132939" y="1035505"/>
                  </a:lnTo>
                  <a:lnTo>
                    <a:pt x="2122010" y="1044613"/>
                  </a:lnTo>
                  <a:lnTo>
                    <a:pt x="2105616" y="1035505"/>
                  </a:lnTo>
                  <a:close/>
                  <a:moveTo>
                    <a:pt x="2152976" y="1028219"/>
                  </a:moveTo>
                  <a:lnTo>
                    <a:pt x="2158440" y="1040970"/>
                  </a:lnTo>
                  <a:lnTo>
                    <a:pt x="2138404" y="1051899"/>
                  </a:lnTo>
                  <a:lnTo>
                    <a:pt x="2132939" y="1051899"/>
                  </a:lnTo>
                  <a:lnTo>
                    <a:pt x="2138404" y="1039148"/>
                  </a:lnTo>
                  <a:close/>
                  <a:moveTo>
                    <a:pt x="2165725" y="962646"/>
                  </a:moveTo>
                  <a:lnTo>
                    <a:pt x="2194868" y="962646"/>
                  </a:lnTo>
                  <a:lnTo>
                    <a:pt x="2189404" y="979040"/>
                  </a:lnTo>
                  <a:lnTo>
                    <a:pt x="2158439" y="979040"/>
                  </a:lnTo>
                  <a:close/>
                  <a:moveTo>
                    <a:pt x="2203976" y="849715"/>
                  </a:moveTo>
                  <a:lnTo>
                    <a:pt x="2216726" y="849715"/>
                  </a:lnTo>
                  <a:lnTo>
                    <a:pt x="2244048" y="855180"/>
                  </a:lnTo>
                  <a:lnTo>
                    <a:pt x="2265906" y="878859"/>
                  </a:lnTo>
                  <a:lnTo>
                    <a:pt x="2267727" y="906181"/>
                  </a:lnTo>
                  <a:lnTo>
                    <a:pt x="2178476" y="893431"/>
                  </a:lnTo>
                  <a:lnTo>
                    <a:pt x="2176654" y="887966"/>
                  </a:lnTo>
                  <a:lnTo>
                    <a:pt x="2193047" y="882502"/>
                  </a:lnTo>
                  <a:close/>
                  <a:moveTo>
                    <a:pt x="2076473" y="820571"/>
                  </a:moveTo>
                  <a:lnTo>
                    <a:pt x="2091046" y="833321"/>
                  </a:lnTo>
                  <a:lnTo>
                    <a:pt x="2096510" y="844250"/>
                  </a:lnTo>
                  <a:lnTo>
                    <a:pt x="2091046" y="849714"/>
                  </a:lnTo>
                  <a:close/>
                  <a:moveTo>
                    <a:pt x="2194869" y="815107"/>
                  </a:moveTo>
                  <a:lnTo>
                    <a:pt x="2205798" y="827857"/>
                  </a:lnTo>
                  <a:lnTo>
                    <a:pt x="2194869" y="849715"/>
                  </a:lnTo>
                  <a:lnTo>
                    <a:pt x="2187583" y="844251"/>
                  </a:lnTo>
                  <a:lnTo>
                    <a:pt x="2187583" y="826036"/>
                  </a:lnTo>
                  <a:close/>
                  <a:moveTo>
                    <a:pt x="2333300" y="698534"/>
                  </a:moveTo>
                  <a:lnTo>
                    <a:pt x="2387944" y="714927"/>
                  </a:lnTo>
                  <a:lnTo>
                    <a:pt x="2378837" y="727678"/>
                  </a:lnTo>
                  <a:lnTo>
                    <a:pt x="2449874" y="742249"/>
                  </a:lnTo>
                  <a:lnTo>
                    <a:pt x="2438945" y="765929"/>
                  </a:lnTo>
                  <a:lnTo>
                    <a:pt x="2400695" y="775036"/>
                  </a:lnTo>
                  <a:lnTo>
                    <a:pt x="2351515" y="744071"/>
                  </a:lnTo>
                  <a:close/>
                  <a:moveTo>
                    <a:pt x="2076474" y="671211"/>
                  </a:moveTo>
                  <a:lnTo>
                    <a:pt x="2087403" y="693069"/>
                  </a:lnTo>
                  <a:lnTo>
                    <a:pt x="2085582" y="698533"/>
                  </a:lnTo>
                  <a:lnTo>
                    <a:pt x="2081939" y="720391"/>
                  </a:lnTo>
                  <a:lnTo>
                    <a:pt x="2074652" y="709462"/>
                  </a:lnTo>
                  <a:close/>
                  <a:moveTo>
                    <a:pt x="2216726" y="642068"/>
                  </a:moveTo>
                  <a:lnTo>
                    <a:pt x="2315085" y="707641"/>
                  </a:lnTo>
                  <a:lnTo>
                    <a:pt x="2295049" y="709463"/>
                  </a:lnTo>
                  <a:lnTo>
                    <a:pt x="2298692" y="725856"/>
                  </a:lnTo>
                  <a:lnTo>
                    <a:pt x="2287763" y="742249"/>
                  </a:lnTo>
                  <a:lnTo>
                    <a:pt x="2254977" y="742249"/>
                  </a:lnTo>
                  <a:lnTo>
                    <a:pt x="2238584" y="713106"/>
                  </a:lnTo>
                  <a:lnTo>
                    <a:pt x="2247691" y="676676"/>
                  </a:lnTo>
                  <a:close/>
                  <a:moveTo>
                    <a:pt x="2158439" y="634782"/>
                  </a:moveTo>
                  <a:lnTo>
                    <a:pt x="2182119" y="671211"/>
                  </a:lnTo>
                  <a:lnTo>
                    <a:pt x="2193047" y="674854"/>
                  </a:lnTo>
                  <a:lnTo>
                    <a:pt x="2189404" y="693069"/>
                  </a:lnTo>
                  <a:lnTo>
                    <a:pt x="2200333" y="696712"/>
                  </a:lnTo>
                  <a:lnTo>
                    <a:pt x="2205798" y="680319"/>
                  </a:lnTo>
                  <a:lnTo>
                    <a:pt x="2200333" y="654818"/>
                  </a:lnTo>
                  <a:lnTo>
                    <a:pt x="2220369" y="654818"/>
                  </a:lnTo>
                  <a:lnTo>
                    <a:pt x="2242227" y="685783"/>
                  </a:lnTo>
                  <a:lnTo>
                    <a:pt x="2236763" y="713105"/>
                  </a:lnTo>
                  <a:lnTo>
                    <a:pt x="2238584" y="733141"/>
                  </a:lnTo>
                  <a:lnTo>
                    <a:pt x="2262263" y="754999"/>
                  </a:lnTo>
                  <a:lnTo>
                    <a:pt x="2236763" y="765927"/>
                  </a:lnTo>
                  <a:lnTo>
                    <a:pt x="2225834" y="744070"/>
                  </a:lnTo>
                  <a:lnTo>
                    <a:pt x="2178476" y="769570"/>
                  </a:lnTo>
                  <a:lnTo>
                    <a:pt x="2176654" y="765927"/>
                  </a:lnTo>
                  <a:lnTo>
                    <a:pt x="2182119" y="764106"/>
                  </a:lnTo>
                  <a:lnTo>
                    <a:pt x="2176654" y="744070"/>
                  </a:lnTo>
                  <a:lnTo>
                    <a:pt x="2169368" y="749534"/>
                  </a:lnTo>
                  <a:lnTo>
                    <a:pt x="2169368" y="758641"/>
                  </a:lnTo>
                  <a:lnTo>
                    <a:pt x="2171190" y="758641"/>
                  </a:lnTo>
                  <a:lnTo>
                    <a:pt x="2165725" y="776856"/>
                  </a:lnTo>
                  <a:lnTo>
                    <a:pt x="2132939" y="765927"/>
                  </a:lnTo>
                  <a:lnTo>
                    <a:pt x="2103795" y="720391"/>
                  </a:lnTo>
                  <a:lnTo>
                    <a:pt x="2120188" y="718569"/>
                  </a:lnTo>
                  <a:lnTo>
                    <a:pt x="2109260" y="696712"/>
                  </a:lnTo>
                  <a:lnTo>
                    <a:pt x="2122010" y="676676"/>
                  </a:lnTo>
                  <a:lnTo>
                    <a:pt x="2116546" y="660283"/>
                  </a:lnTo>
                  <a:close/>
                  <a:moveTo>
                    <a:pt x="457189" y="561923"/>
                  </a:moveTo>
                  <a:lnTo>
                    <a:pt x="480868" y="563745"/>
                  </a:lnTo>
                  <a:lnTo>
                    <a:pt x="495440" y="592888"/>
                  </a:lnTo>
                  <a:lnTo>
                    <a:pt x="491797" y="609281"/>
                  </a:lnTo>
                  <a:lnTo>
                    <a:pt x="495440" y="609281"/>
                  </a:lnTo>
                  <a:lnTo>
                    <a:pt x="480868" y="642068"/>
                  </a:lnTo>
                  <a:lnTo>
                    <a:pt x="373402" y="696712"/>
                  </a:lnTo>
                  <a:lnTo>
                    <a:pt x="367938" y="685783"/>
                  </a:lnTo>
                  <a:lnTo>
                    <a:pt x="313293" y="744070"/>
                  </a:lnTo>
                  <a:lnTo>
                    <a:pt x="291436" y="744070"/>
                  </a:lnTo>
                  <a:lnTo>
                    <a:pt x="289614" y="753178"/>
                  </a:lnTo>
                  <a:lnTo>
                    <a:pt x="300543" y="760463"/>
                  </a:lnTo>
                  <a:lnTo>
                    <a:pt x="285971" y="782321"/>
                  </a:lnTo>
                  <a:lnTo>
                    <a:pt x="267757" y="776857"/>
                  </a:lnTo>
                  <a:lnTo>
                    <a:pt x="278686" y="796893"/>
                  </a:lnTo>
                  <a:lnTo>
                    <a:pt x="256828" y="785964"/>
                  </a:lnTo>
                  <a:lnTo>
                    <a:pt x="262292" y="798714"/>
                  </a:lnTo>
                  <a:lnTo>
                    <a:pt x="255007" y="806000"/>
                  </a:lnTo>
                  <a:lnTo>
                    <a:pt x="240435" y="793250"/>
                  </a:lnTo>
                  <a:lnTo>
                    <a:pt x="251364" y="822393"/>
                  </a:lnTo>
                  <a:lnTo>
                    <a:pt x="238613" y="844251"/>
                  </a:lnTo>
                  <a:lnTo>
                    <a:pt x="222220" y="822393"/>
                  </a:lnTo>
                  <a:lnTo>
                    <a:pt x="216756" y="838787"/>
                  </a:lnTo>
                  <a:lnTo>
                    <a:pt x="229506" y="849715"/>
                  </a:lnTo>
                  <a:lnTo>
                    <a:pt x="229506" y="864287"/>
                  </a:lnTo>
                  <a:lnTo>
                    <a:pt x="205827" y="855180"/>
                  </a:lnTo>
                  <a:lnTo>
                    <a:pt x="222220" y="875216"/>
                  </a:lnTo>
                  <a:lnTo>
                    <a:pt x="205827" y="869752"/>
                  </a:lnTo>
                  <a:lnTo>
                    <a:pt x="213113" y="889788"/>
                  </a:lnTo>
                  <a:lnTo>
                    <a:pt x="202184" y="906181"/>
                  </a:lnTo>
                  <a:lnTo>
                    <a:pt x="165755" y="889788"/>
                  </a:lnTo>
                  <a:lnTo>
                    <a:pt x="159931" y="891244"/>
                  </a:lnTo>
                  <a:lnTo>
                    <a:pt x="163058" y="890540"/>
                  </a:lnTo>
                  <a:lnTo>
                    <a:pt x="194774" y="908790"/>
                  </a:lnTo>
                  <a:lnTo>
                    <a:pt x="175867" y="928835"/>
                  </a:lnTo>
                  <a:lnTo>
                    <a:pt x="190809" y="924946"/>
                  </a:lnTo>
                  <a:lnTo>
                    <a:pt x="190809" y="934819"/>
                  </a:lnTo>
                  <a:lnTo>
                    <a:pt x="174342" y="944692"/>
                  </a:lnTo>
                  <a:lnTo>
                    <a:pt x="182271" y="947086"/>
                  </a:lnTo>
                  <a:lnTo>
                    <a:pt x="170377" y="968926"/>
                  </a:lnTo>
                  <a:lnTo>
                    <a:pt x="170377" y="1006922"/>
                  </a:lnTo>
                  <a:lnTo>
                    <a:pt x="186845" y="1059578"/>
                  </a:lnTo>
                  <a:lnTo>
                    <a:pt x="222220" y="1095779"/>
                  </a:lnTo>
                  <a:lnTo>
                    <a:pt x="207277" y="1101763"/>
                  </a:lnTo>
                  <a:lnTo>
                    <a:pt x="214901" y="1106550"/>
                  </a:lnTo>
                  <a:lnTo>
                    <a:pt x="210937" y="1110140"/>
                  </a:lnTo>
                  <a:lnTo>
                    <a:pt x="200263" y="1092488"/>
                  </a:lnTo>
                  <a:lnTo>
                    <a:pt x="190809" y="1097275"/>
                  </a:lnTo>
                  <a:lnTo>
                    <a:pt x="194469" y="1106550"/>
                  </a:lnTo>
                  <a:lnTo>
                    <a:pt x="170377" y="1097275"/>
                  </a:lnTo>
                  <a:lnTo>
                    <a:pt x="162753" y="1108046"/>
                  </a:lnTo>
                  <a:lnTo>
                    <a:pt x="151775" y="1095480"/>
                  </a:lnTo>
                  <a:lnTo>
                    <a:pt x="159399" y="1091890"/>
                  </a:lnTo>
                  <a:lnTo>
                    <a:pt x="129513" y="1089497"/>
                  </a:lnTo>
                  <a:lnTo>
                    <a:pt x="126158" y="1073640"/>
                  </a:lnTo>
                  <a:lnTo>
                    <a:pt x="143236" y="1067955"/>
                  </a:lnTo>
                  <a:lnTo>
                    <a:pt x="126158" y="1057185"/>
                  </a:lnTo>
                  <a:lnTo>
                    <a:pt x="135612" y="1040730"/>
                  </a:lnTo>
                  <a:lnTo>
                    <a:pt x="120973" y="1053595"/>
                  </a:lnTo>
                  <a:lnTo>
                    <a:pt x="120669" y="1035943"/>
                  </a:lnTo>
                  <a:lnTo>
                    <a:pt x="79804" y="1031754"/>
                  </a:lnTo>
                  <a:lnTo>
                    <a:pt x="74620" y="1019488"/>
                  </a:lnTo>
                  <a:lnTo>
                    <a:pt x="78279" y="997647"/>
                  </a:lnTo>
                  <a:lnTo>
                    <a:pt x="97187" y="1001238"/>
                  </a:lnTo>
                  <a:lnTo>
                    <a:pt x="113350" y="954565"/>
                  </a:lnTo>
                  <a:lnTo>
                    <a:pt x="107555" y="959352"/>
                  </a:lnTo>
                  <a:lnTo>
                    <a:pt x="100236" y="939905"/>
                  </a:lnTo>
                  <a:lnTo>
                    <a:pt x="120059" y="928835"/>
                  </a:lnTo>
                  <a:lnTo>
                    <a:pt x="114874" y="925245"/>
                  </a:lnTo>
                  <a:lnTo>
                    <a:pt x="119144" y="923450"/>
                  </a:lnTo>
                  <a:lnTo>
                    <a:pt x="115179" y="912081"/>
                  </a:lnTo>
                  <a:lnTo>
                    <a:pt x="129818" y="898020"/>
                  </a:lnTo>
                  <a:lnTo>
                    <a:pt x="144258" y="894770"/>
                  </a:lnTo>
                  <a:lnTo>
                    <a:pt x="165755" y="866109"/>
                  </a:lnTo>
                  <a:lnTo>
                    <a:pt x="138433" y="875216"/>
                  </a:lnTo>
                  <a:lnTo>
                    <a:pt x="129325" y="860644"/>
                  </a:lnTo>
                  <a:lnTo>
                    <a:pt x="165755" y="827858"/>
                  </a:lnTo>
                  <a:lnTo>
                    <a:pt x="189434" y="838787"/>
                  </a:lnTo>
                  <a:lnTo>
                    <a:pt x="165755" y="822393"/>
                  </a:lnTo>
                  <a:lnTo>
                    <a:pt x="178505" y="816929"/>
                  </a:lnTo>
                  <a:lnTo>
                    <a:pt x="167576" y="806000"/>
                  </a:lnTo>
                  <a:lnTo>
                    <a:pt x="187612" y="804179"/>
                  </a:lnTo>
                  <a:lnTo>
                    <a:pt x="176683" y="785964"/>
                  </a:lnTo>
                  <a:lnTo>
                    <a:pt x="202184" y="782321"/>
                  </a:lnTo>
                  <a:lnTo>
                    <a:pt x="178505" y="776857"/>
                  </a:lnTo>
                  <a:lnTo>
                    <a:pt x="183969" y="758642"/>
                  </a:lnTo>
                  <a:lnTo>
                    <a:pt x="176683" y="758642"/>
                  </a:lnTo>
                  <a:lnTo>
                    <a:pt x="173040" y="749535"/>
                  </a:lnTo>
                  <a:lnTo>
                    <a:pt x="176683" y="736784"/>
                  </a:lnTo>
                  <a:lnTo>
                    <a:pt x="189434" y="747713"/>
                  </a:lnTo>
                  <a:lnTo>
                    <a:pt x="222220" y="725855"/>
                  </a:lnTo>
                  <a:lnTo>
                    <a:pt x="251364" y="676676"/>
                  </a:lnTo>
                  <a:lnTo>
                    <a:pt x="291436" y="645711"/>
                  </a:lnTo>
                  <a:lnTo>
                    <a:pt x="296900" y="647532"/>
                  </a:lnTo>
                  <a:lnTo>
                    <a:pt x="289614" y="660282"/>
                  </a:lnTo>
                  <a:lnTo>
                    <a:pt x="306008" y="652997"/>
                  </a:lnTo>
                  <a:lnTo>
                    <a:pt x="306008" y="629317"/>
                  </a:lnTo>
                  <a:lnTo>
                    <a:pt x="338794" y="642068"/>
                  </a:lnTo>
                  <a:lnTo>
                    <a:pt x="384331" y="625675"/>
                  </a:lnTo>
                  <a:close/>
                  <a:moveTo>
                    <a:pt x="1301439" y="254094"/>
                  </a:moveTo>
                  <a:lnTo>
                    <a:pt x="1317832" y="267755"/>
                  </a:lnTo>
                  <a:lnTo>
                    <a:pt x="1315100" y="303274"/>
                  </a:lnTo>
                  <a:lnTo>
                    <a:pt x="1334225" y="292345"/>
                  </a:lnTo>
                  <a:lnTo>
                    <a:pt x="1364280" y="330596"/>
                  </a:lnTo>
                  <a:lnTo>
                    <a:pt x="1377940" y="371579"/>
                  </a:lnTo>
                  <a:lnTo>
                    <a:pt x="1358816" y="398901"/>
                  </a:lnTo>
                  <a:lnTo>
                    <a:pt x="1296887" y="415415"/>
                  </a:lnTo>
                  <a:lnTo>
                    <a:pt x="1296887" y="418027"/>
                  </a:lnTo>
                  <a:lnTo>
                    <a:pt x="1293244" y="418027"/>
                  </a:lnTo>
                  <a:lnTo>
                    <a:pt x="1258637" y="425313"/>
                  </a:lnTo>
                  <a:lnTo>
                    <a:pt x="1231314" y="452636"/>
                  </a:lnTo>
                  <a:lnTo>
                    <a:pt x="1214920" y="441707"/>
                  </a:lnTo>
                  <a:lnTo>
                    <a:pt x="1224028" y="414384"/>
                  </a:lnTo>
                  <a:lnTo>
                    <a:pt x="1229381" y="414384"/>
                  </a:lnTo>
                  <a:cubicBezTo>
                    <a:pt x="1235052" y="397333"/>
                    <a:pt x="1248615" y="371968"/>
                    <a:pt x="1244063" y="366114"/>
                  </a:cubicBezTo>
                  <a:lnTo>
                    <a:pt x="1260456" y="333328"/>
                  </a:lnTo>
                  <a:lnTo>
                    <a:pt x="1279581" y="275952"/>
                  </a:lnTo>
                  <a:close/>
                  <a:moveTo>
                    <a:pt x="1186686" y="158467"/>
                  </a:moveTo>
                  <a:lnTo>
                    <a:pt x="1203079" y="185790"/>
                  </a:lnTo>
                  <a:lnTo>
                    <a:pt x="1219473" y="174861"/>
                  </a:lnTo>
                  <a:lnTo>
                    <a:pt x="1246794" y="213111"/>
                  </a:lnTo>
                  <a:lnTo>
                    <a:pt x="1235865" y="289613"/>
                  </a:lnTo>
                  <a:lnTo>
                    <a:pt x="1252259" y="322399"/>
                  </a:lnTo>
                  <a:lnTo>
                    <a:pt x="1216741" y="341525"/>
                  </a:lnTo>
                  <a:lnTo>
                    <a:pt x="1189418" y="338793"/>
                  </a:lnTo>
                  <a:lnTo>
                    <a:pt x="1153900" y="314203"/>
                  </a:lnTo>
                  <a:lnTo>
                    <a:pt x="1115649" y="300542"/>
                  </a:lnTo>
                  <a:lnTo>
                    <a:pt x="1091059" y="248631"/>
                  </a:lnTo>
                  <a:lnTo>
                    <a:pt x="1115649" y="174861"/>
                  </a:lnTo>
                  <a:close/>
                  <a:moveTo>
                    <a:pt x="1151168" y="0"/>
                  </a:moveTo>
                  <a:lnTo>
                    <a:pt x="1164829" y="51912"/>
                  </a:lnTo>
                  <a:lnTo>
                    <a:pt x="1194883" y="65573"/>
                  </a:lnTo>
                  <a:lnTo>
                    <a:pt x="1197615" y="92894"/>
                  </a:lnTo>
                  <a:lnTo>
                    <a:pt x="1170293" y="98359"/>
                  </a:lnTo>
                  <a:lnTo>
                    <a:pt x="1186686" y="147538"/>
                  </a:lnTo>
                  <a:cubicBezTo>
                    <a:pt x="1170293" y="153003"/>
                    <a:pt x="1148436" y="150270"/>
                    <a:pt x="1132043" y="155735"/>
                  </a:cubicBezTo>
                  <a:lnTo>
                    <a:pt x="1096524" y="180325"/>
                  </a:lnTo>
                  <a:lnTo>
                    <a:pt x="1039147" y="147538"/>
                  </a:lnTo>
                  <a:lnTo>
                    <a:pt x="1082862" y="76502"/>
                  </a:lnTo>
                  <a:lnTo>
                    <a:pt x="1071934" y="57376"/>
                  </a:lnTo>
                  <a:lnTo>
                    <a:pt x="1134774" y="5464"/>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5" name="Russia - Mainland">
              <a:extLst>
                <a:ext uri="{FF2B5EF4-FFF2-40B4-BE49-F238E27FC236}">
                  <a16:creationId xmlns:a16="http://schemas.microsoft.com/office/drawing/2014/main" id="{D2F20DBE-00E9-6868-0F20-DDAF89F9F4A5}"/>
                </a:ext>
              </a:extLst>
            </p:cNvPr>
            <p:cNvSpPr>
              <a:spLocks noEditPoints="1"/>
            </p:cNvSpPr>
            <p:nvPr/>
          </p:nvSpPr>
          <p:spPr bwMode="auto">
            <a:xfrm>
              <a:off x="6465544" y="1584069"/>
              <a:ext cx="3854463" cy="1935364"/>
            </a:xfrm>
            <a:custGeom>
              <a:avLst/>
              <a:gdLst>
                <a:gd name="T0" fmla="*/ 1071 w 2133"/>
                <a:gd name="T1" fmla="*/ 56 h 1071"/>
                <a:gd name="T2" fmla="*/ 1107 w 2133"/>
                <a:gd name="T3" fmla="*/ 161 h 1071"/>
                <a:gd name="T4" fmla="*/ 1089 w 2133"/>
                <a:gd name="T5" fmla="*/ 210 h 1071"/>
                <a:gd name="T6" fmla="*/ 1128 w 2133"/>
                <a:gd name="T7" fmla="*/ 235 h 1071"/>
                <a:gd name="T8" fmla="*/ 1304 w 2133"/>
                <a:gd name="T9" fmla="*/ 219 h 1071"/>
                <a:gd name="T10" fmla="*/ 1406 w 2133"/>
                <a:gd name="T11" fmla="*/ 315 h 1071"/>
                <a:gd name="T12" fmla="*/ 1593 w 2133"/>
                <a:gd name="T13" fmla="*/ 302 h 1071"/>
                <a:gd name="T14" fmla="*/ 1801 w 2133"/>
                <a:gd name="T15" fmla="*/ 384 h 1071"/>
                <a:gd name="T16" fmla="*/ 1996 w 2133"/>
                <a:gd name="T17" fmla="*/ 407 h 1071"/>
                <a:gd name="T18" fmla="*/ 2054 w 2133"/>
                <a:gd name="T19" fmla="*/ 450 h 1071"/>
                <a:gd name="T20" fmla="*/ 2093 w 2133"/>
                <a:gd name="T21" fmla="*/ 475 h 1071"/>
                <a:gd name="T22" fmla="*/ 2093 w 2133"/>
                <a:gd name="T23" fmla="*/ 548 h 1071"/>
                <a:gd name="T24" fmla="*/ 2050 w 2133"/>
                <a:gd name="T25" fmla="*/ 539 h 1071"/>
                <a:gd name="T26" fmla="*/ 1978 w 2133"/>
                <a:gd name="T27" fmla="*/ 554 h 1071"/>
                <a:gd name="T28" fmla="*/ 1965 w 2133"/>
                <a:gd name="T29" fmla="*/ 609 h 1071"/>
                <a:gd name="T30" fmla="*/ 1870 w 2133"/>
                <a:gd name="T31" fmla="*/ 683 h 1071"/>
                <a:gd name="T32" fmla="*/ 1763 w 2133"/>
                <a:gd name="T33" fmla="*/ 738 h 1071"/>
                <a:gd name="T34" fmla="*/ 1756 w 2133"/>
                <a:gd name="T35" fmla="*/ 815 h 1071"/>
                <a:gd name="T36" fmla="*/ 1715 w 2133"/>
                <a:gd name="T37" fmla="*/ 729 h 1071"/>
                <a:gd name="T38" fmla="*/ 1778 w 2133"/>
                <a:gd name="T39" fmla="*/ 637 h 1071"/>
                <a:gd name="T40" fmla="*/ 1660 w 2133"/>
                <a:gd name="T41" fmla="*/ 686 h 1071"/>
                <a:gd name="T42" fmla="*/ 1590 w 2133"/>
                <a:gd name="T43" fmla="*/ 696 h 1071"/>
                <a:gd name="T44" fmla="*/ 1433 w 2133"/>
                <a:gd name="T45" fmla="*/ 811 h 1071"/>
                <a:gd name="T46" fmla="*/ 1491 w 2133"/>
                <a:gd name="T47" fmla="*/ 855 h 1071"/>
                <a:gd name="T48" fmla="*/ 1360 w 2133"/>
                <a:gd name="T49" fmla="*/ 1051 h 1071"/>
                <a:gd name="T50" fmla="*/ 1353 w 2133"/>
                <a:gd name="T51" fmla="*/ 940 h 1071"/>
                <a:gd name="T52" fmla="*/ 1184 w 2133"/>
                <a:gd name="T53" fmla="*/ 919 h 1071"/>
                <a:gd name="T54" fmla="*/ 923 w 2133"/>
                <a:gd name="T55" fmla="*/ 910 h 1071"/>
                <a:gd name="T56" fmla="*/ 754 w 2133"/>
                <a:gd name="T57" fmla="*/ 907 h 1071"/>
                <a:gd name="T58" fmla="*/ 650 w 2133"/>
                <a:gd name="T59" fmla="*/ 818 h 1071"/>
                <a:gd name="T60" fmla="*/ 592 w 2133"/>
                <a:gd name="T61" fmla="*/ 825 h 1071"/>
                <a:gd name="T62" fmla="*/ 548 w 2133"/>
                <a:gd name="T63" fmla="*/ 793 h 1071"/>
                <a:gd name="T64" fmla="*/ 447 w 2133"/>
                <a:gd name="T65" fmla="*/ 827 h 1071"/>
                <a:gd name="T66" fmla="*/ 435 w 2133"/>
                <a:gd name="T67" fmla="*/ 870 h 1071"/>
                <a:gd name="T68" fmla="*/ 398 w 2133"/>
                <a:gd name="T69" fmla="*/ 891 h 1071"/>
                <a:gd name="T70" fmla="*/ 323 w 2133"/>
                <a:gd name="T71" fmla="*/ 879 h 1071"/>
                <a:gd name="T72" fmla="*/ 263 w 2133"/>
                <a:gd name="T73" fmla="*/ 925 h 1071"/>
                <a:gd name="T74" fmla="*/ 271 w 2133"/>
                <a:gd name="T75" fmla="*/ 983 h 1071"/>
                <a:gd name="T76" fmla="*/ 243 w 2133"/>
                <a:gd name="T77" fmla="*/ 1055 h 1071"/>
                <a:gd name="T78" fmla="*/ 142 w 2133"/>
                <a:gd name="T79" fmla="*/ 986 h 1071"/>
                <a:gd name="T80" fmla="*/ 166 w 2133"/>
                <a:gd name="T81" fmla="*/ 934 h 1071"/>
                <a:gd name="T82" fmla="*/ 102 w 2133"/>
                <a:gd name="T83" fmla="*/ 885 h 1071"/>
                <a:gd name="T84" fmla="*/ 75 w 2133"/>
                <a:gd name="T85" fmla="*/ 833 h 1071"/>
                <a:gd name="T86" fmla="*/ 11 w 2133"/>
                <a:gd name="T87" fmla="*/ 759 h 1071"/>
                <a:gd name="T88" fmla="*/ 16 w 2133"/>
                <a:gd name="T89" fmla="*/ 665 h 1071"/>
                <a:gd name="T90" fmla="*/ 29 w 2133"/>
                <a:gd name="T91" fmla="*/ 437 h 1071"/>
                <a:gd name="T92" fmla="*/ 77 w 2133"/>
                <a:gd name="T93" fmla="*/ 385 h 1071"/>
                <a:gd name="T94" fmla="*/ 94 w 2133"/>
                <a:gd name="T95" fmla="*/ 486 h 1071"/>
                <a:gd name="T96" fmla="*/ 124 w 2133"/>
                <a:gd name="T97" fmla="*/ 550 h 1071"/>
                <a:gd name="T98" fmla="*/ 219 w 2133"/>
                <a:gd name="T99" fmla="*/ 504 h 1071"/>
                <a:gd name="T100" fmla="*/ 320 w 2133"/>
                <a:gd name="T101" fmla="*/ 425 h 1071"/>
                <a:gd name="T102" fmla="*/ 352 w 2133"/>
                <a:gd name="T103" fmla="*/ 430 h 1071"/>
                <a:gd name="T104" fmla="*/ 538 w 2133"/>
                <a:gd name="T105" fmla="*/ 432 h 1071"/>
                <a:gd name="T106" fmla="*/ 552 w 2133"/>
                <a:gd name="T107" fmla="*/ 247 h 1071"/>
                <a:gd name="T108" fmla="*/ 587 w 2133"/>
                <a:gd name="T109" fmla="*/ 477 h 1071"/>
                <a:gd name="T110" fmla="*/ 655 w 2133"/>
                <a:gd name="T111" fmla="*/ 431 h 1071"/>
                <a:gd name="T112" fmla="*/ 625 w 2133"/>
                <a:gd name="T113" fmla="*/ 277 h 1071"/>
                <a:gd name="T114" fmla="*/ 658 w 2133"/>
                <a:gd name="T115" fmla="*/ 320 h 1071"/>
                <a:gd name="T116" fmla="*/ 721 w 2133"/>
                <a:gd name="T117" fmla="*/ 358 h 1071"/>
                <a:gd name="T118" fmla="*/ 698 w 2133"/>
                <a:gd name="T119" fmla="*/ 234 h 1071"/>
                <a:gd name="T120" fmla="*/ 794 w 2133"/>
                <a:gd name="T121" fmla="*/ 145 h 1071"/>
                <a:gd name="T122" fmla="*/ 933 w 2133"/>
                <a:gd name="T123" fmla="*/ 84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33" h="1071">
                  <a:moveTo>
                    <a:pt x="1117" y="111"/>
                  </a:moveTo>
                  <a:lnTo>
                    <a:pt x="1122" y="120"/>
                  </a:lnTo>
                  <a:lnTo>
                    <a:pt x="1126" y="121"/>
                  </a:lnTo>
                  <a:lnTo>
                    <a:pt x="1117" y="111"/>
                  </a:lnTo>
                  <a:close/>
                  <a:moveTo>
                    <a:pt x="1005" y="0"/>
                  </a:moveTo>
                  <a:lnTo>
                    <a:pt x="1006" y="0"/>
                  </a:lnTo>
                  <a:lnTo>
                    <a:pt x="1027" y="10"/>
                  </a:lnTo>
                  <a:lnTo>
                    <a:pt x="1031" y="23"/>
                  </a:lnTo>
                  <a:lnTo>
                    <a:pt x="1013" y="41"/>
                  </a:lnTo>
                  <a:lnTo>
                    <a:pt x="1027" y="34"/>
                  </a:lnTo>
                  <a:lnTo>
                    <a:pt x="1027" y="40"/>
                  </a:lnTo>
                  <a:lnTo>
                    <a:pt x="1046" y="43"/>
                  </a:lnTo>
                  <a:lnTo>
                    <a:pt x="1048" y="43"/>
                  </a:lnTo>
                  <a:lnTo>
                    <a:pt x="1048" y="44"/>
                  </a:lnTo>
                  <a:lnTo>
                    <a:pt x="1049" y="49"/>
                  </a:lnTo>
                  <a:lnTo>
                    <a:pt x="1046" y="57"/>
                  </a:lnTo>
                  <a:lnTo>
                    <a:pt x="1033" y="72"/>
                  </a:lnTo>
                  <a:lnTo>
                    <a:pt x="1048" y="72"/>
                  </a:lnTo>
                  <a:lnTo>
                    <a:pt x="1058" y="56"/>
                  </a:lnTo>
                  <a:lnTo>
                    <a:pt x="1071" y="56"/>
                  </a:lnTo>
                  <a:lnTo>
                    <a:pt x="1083" y="57"/>
                  </a:lnTo>
                  <a:lnTo>
                    <a:pt x="1096" y="57"/>
                  </a:lnTo>
                  <a:lnTo>
                    <a:pt x="1096" y="59"/>
                  </a:lnTo>
                  <a:lnTo>
                    <a:pt x="1119" y="81"/>
                  </a:lnTo>
                  <a:lnTo>
                    <a:pt x="1116" y="87"/>
                  </a:lnTo>
                  <a:lnTo>
                    <a:pt x="1119" y="93"/>
                  </a:lnTo>
                  <a:lnTo>
                    <a:pt x="1123" y="86"/>
                  </a:lnTo>
                  <a:lnTo>
                    <a:pt x="1129" y="102"/>
                  </a:lnTo>
                  <a:lnTo>
                    <a:pt x="1132" y="102"/>
                  </a:lnTo>
                  <a:lnTo>
                    <a:pt x="1134" y="109"/>
                  </a:lnTo>
                  <a:lnTo>
                    <a:pt x="1128" y="121"/>
                  </a:lnTo>
                  <a:lnTo>
                    <a:pt x="1132" y="123"/>
                  </a:lnTo>
                  <a:lnTo>
                    <a:pt x="1132" y="124"/>
                  </a:lnTo>
                  <a:lnTo>
                    <a:pt x="1131" y="127"/>
                  </a:lnTo>
                  <a:lnTo>
                    <a:pt x="1132" y="136"/>
                  </a:lnTo>
                  <a:lnTo>
                    <a:pt x="1123" y="149"/>
                  </a:lnTo>
                  <a:lnTo>
                    <a:pt x="1113" y="157"/>
                  </a:lnTo>
                  <a:lnTo>
                    <a:pt x="1114" y="158"/>
                  </a:lnTo>
                  <a:lnTo>
                    <a:pt x="1114" y="160"/>
                  </a:lnTo>
                  <a:lnTo>
                    <a:pt x="1107" y="161"/>
                  </a:lnTo>
                  <a:lnTo>
                    <a:pt x="1107" y="169"/>
                  </a:lnTo>
                  <a:lnTo>
                    <a:pt x="1089" y="176"/>
                  </a:lnTo>
                  <a:lnTo>
                    <a:pt x="1059" y="219"/>
                  </a:lnTo>
                  <a:lnTo>
                    <a:pt x="1046" y="219"/>
                  </a:lnTo>
                  <a:lnTo>
                    <a:pt x="1025" y="249"/>
                  </a:lnTo>
                  <a:lnTo>
                    <a:pt x="1030" y="246"/>
                  </a:lnTo>
                  <a:lnTo>
                    <a:pt x="1031" y="246"/>
                  </a:lnTo>
                  <a:lnTo>
                    <a:pt x="1034" y="249"/>
                  </a:lnTo>
                  <a:lnTo>
                    <a:pt x="1034" y="237"/>
                  </a:lnTo>
                  <a:lnTo>
                    <a:pt x="1043" y="237"/>
                  </a:lnTo>
                  <a:lnTo>
                    <a:pt x="1046" y="238"/>
                  </a:lnTo>
                  <a:lnTo>
                    <a:pt x="1051" y="238"/>
                  </a:lnTo>
                  <a:lnTo>
                    <a:pt x="1071" y="228"/>
                  </a:lnTo>
                  <a:lnTo>
                    <a:pt x="1073" y="226"/>
                  </a:lnTo>
                  <a:lnTo>
                    <a:pt x="1070" y="220"/>
                  </a:lnTo>
                  <a:lnTo>
                    <a:pt x="1070" y="219"/>
                  </a:lnTo>
                  <a:lnTo>
                    <a:pt x="1071" y="220"/>
                  </a:lnTo>
                  <a:lnTo>
                    <a:pt x="1079" y="225"/>
                  </a:lnTo>
                  <a:lnTo>
                    <a:pt x="1093" y="215"/>
                  </a:lnTo>
                  <a:lnTo>
                    <a:pt x="1089" y="210"/>
                  </a:lnTo>
                  <a:lnTo>
                    <a:pt x="1079" y="219"/>
                  </a:lnTo>
                  <a:lnTo>
                    <a:pt x="1077" y="219"/>
                  </a:lnTo>
                  <a:lnTo>
                    <a:pt x="1077" y="218"/>
                  </a:lnTo>
                  <a:lnTo>
                    <a:pt x="1074" y="209"/>
                  </a:lnTo>
                  <a:lnTo>
                    <a:pt x="1082" y="198"/>
                  </a:lnTo>
                  <a:lnTo>
                    <a:pt x="1083" y="198"/>
                  </a:lnTo>
                  <a:lnTo>
                    <a:pt x="1092" y="204"/>
                  </a:lnTo>
                  <a:lnTo>
                    <a:pt x="1101" y="198"/>
                  </a:lnTo>
                  <a:lnTo>
                    <a:pt x="1101" y="200"/>
                  </a:lnTo>
                  <a:lnTo>
                    <a:pt x="1099" y="203"/>
                  </a:lnTo>
                  <a:lnTo>
                    <a:pt x="1099" y="209"/>
                  </a:lnTo>
                  <a:lnTo>
                    <a:pt x="1114" y="213"/>
                  </a:lnTo>
                  <a:lnTo>
                    <a:pt x="1119" y="209"/>
                  </a:lnTo>
                  <a:lnTo>
                    <a:pt x="1117" y="198"/>
                  </a:lnTo>
                  <a:lnTo>
                    <a:pt x="1119" y="198"/>
                  </a:lnTo>
                  <a:lnTo>
                    <a:pt x="1126" y="216"/>
                  </a:lnTo>
                  <a:lnTo>
                    <a:pt x="1125" y="229"/>
                  </a:lnTo>
                  <a:lnTo>
                    <a:pt x="1129" y="231"/>
                  </a:lnTo>
                  <a:lnTo>
                    <a:pt x="1125" y="234"/>
                  </a:lnTo>
                  <a:lnTo>
                    <a:pt x="1128" y="235"/>
                  </a:lnTo>
                  <a:lnTo>
                    <a:pt x="1136" y="231"/>
                  </a:lnTo>
                  <a:lnTo>
                    <a:pt x="1128" y="223"/>
                  </a:lnTo>
                  <a:lnTo>
                    <a:pt x="1128" y="222"/>
                  </a:lnTo>
                  <a:lnTo>
                    <a:pt x="1156" y="213"/>
                  </a:lnTo>
                  <a:lnTo>
                    <a:pt x="1199" y="222"/>
                  </a:lnTo>
                  <a:lnTo>
                    <a:pt x="1199" y="223"/>
                  </a:lnTo>
                  <a:lnTo>
                    <a:pt x="1193" y="226"/>
                  </a:lnTo>
                  <a:lnTo>
                    <a:pt x="1194" y="237"/>
                  </a:lnTo>
                  <a:lnTo>
                    <a:pt x="1227" y="247"/>
                  </a:lnTo>
                  <a:lnTo>
                    <a:pt x="1255" y="243"/>
                  </a:lnTo>
                  <a:lnTo>
                    <a:pt x="1258" y="238"/>
                  </a:lnTo>
                  <a:lnTo>
                    <a:pt x="1254" y="225"/>
                  </a:lnTo>
                  <a:lnTo>
                    <a:pt x="1257" y="212"/>
                  </a:lnTo>
                  <a:lnTo>
                    <a:pt x="1257" y="210"/>
                  </a:lnTo>
                  <a:lnTo>
                    <a:pt x="1261" y="212"/>
                  </a:lnTo>
                  <a:lnTo>
                    <a:pt x="1262" y="206"/>
                  </a:lnTo>
                  <a:lnTo>
                    <a:pt x="1264" y="206"/>
                  </a:lnTo>
                  <a:lnTo>
                    <a:pt x="1300" y="225"/>
                  </a:lnTo>
                  <a:lnTo>
                    <a:pt x="1304" y="220"/>
                  </a:lnTo>
                  <a:lnTo>
                    <a:pt x="1304" y="219"/>
                  </a:lnTo>
                  <a:lnTo>
                    <a:pt x="1305" y="219"/>
                  </a:lnTo>
                  <a:lnTo>
                    <a:pt x="1320" y="223"/>
                  </a:lnTo>
                  <a:lnTo>
                    <a:pt x="1338" y="246"/>
                  </a:lnTo>
                  <a:lnTo>
                    <a:pt x="1335" y="263"/>
                  </a:lnTo>
                  <a:lnTo>
                    <a:pt x="1340" y="272"/>
                  </a:lnTo>
                  <a:lnTo>
                    <a:pt x="1337" y="280"/>
                  </a:lnTo>
                  <a:lnTo>
                    <a:pt x="1338" y="281"/>
                  </a:lnTo>
                  <a:lnTo>
                    <a:pt x="1328" y="293"/>
                  </a:lnTo>
                  <a:lnTo>
                    <a:pt x="1329" y="304"/>
                  </a:lnTo>
                  <a:lnTo>
                    <a:pt x="1332" y="302"/>
                  </a:lnTo>
                  <a:lnTo>
                    <a:pt x="1344" y="327"/>
                  </a:lnTo>
                  <a:lnTo>
                    <a:pt x="1356" y="332"/>
                  </a:lnTo>
                  <a:lnTo>
                    <a:pt x="1357" y="332"/>
                  </a:lnTo>
                  <a:lnTo>
                    <a:pt x="1360" y="341"/>
                  </a:lnTo>
                  <a:lnTo>
                    <a:pt x="1369" y="323"/>
                  </a:lnTo>
                  <a:lnTo>
                    <a:pt x="1371" y="308"/>
                  </a:lnTo>
                  <a:lnTo>
                    <a:pt x="1378" y="289"/>
                  </a:lnTo>
                  <a:lnTo>
                    <a:pt x="1380" y="289"/>
                  </a:lnTo>
                  <a:lnTo>
                    <a:pt x="1391" y="312"/>
                  </a:lnTo>
                  <a:lnTo>
                    <a:pt x="1406" y="315"/>
                  </a:lnTo>
                  <a:lnTo>
                    <a:pt x="1408" y="305"/>
                  </a:lnTo>
                  <a:lnTo>
                    <a:pt x="1409" y="304"/>
                  </a:lnTo>
                  <a:lnTo>
                    <a:pt x="1417" y="304"/>
                  </a:lnTo>
                  <a:lnTo>
                    <a:pt x="1448" y="323"/>
                  </a:lnTo>
                  <a:lnTo>
                    <a:pt x="1467" y="308"/>
                  </a:lnTo>
                  <a:lnTo>
                    <a:pt x="1473" y="309"/>
                  </a:lnTo>
                  <a:lnTo>
                    <a:pt x="1470" y="299"/>
                  </a:lnTo>
                  <a:lnTo>
                    <a:pt x="1471" y="295"/>
                  </a:lnTo>
                  <a:lnTo>
                    <a:pt x="1470" y="287"/>
                  </a:lnTo>
                  <a:lnTo>
                    <a:pt x="1470" y="286"/>
                  </a:lnTo>
                  <a:lnTo>
                    <a:pt x="1488" y="263"/>
                  </a:lnTo>
                  <a:lnTo>
                    <a:pt x="1485" y="256"/>
                  </a:lnTo>
                  <a:lnTo>
                    <a:pt x="1488" y="252"/>
                  </a:lnTo>
                  <a:lnTo>
                    <a:pt x="1489" y="252"/>
                  </a:lnTo>
                  <a:lnTo>
                    <a:pt x="1597" y="278"/>
                  </a:lnTo>
                  <a:lnTo>
                    <a:pt x="1602" y="281"/>
                  </a:lnTo>
                  <a:lnTo>
                    <a:pt x="1606" y="295"/>
                  </a:lnTo>
                  <a:lnTo>
                    <a:pt x="1605" y="295"/>
                  </a:lnTo>
                  <a:lnTo>
                    <a:pt x="1597" y="293"/>
                  </a:lnTo>
                  <a:lnTo>
                    <a:pt x="1593" y="302"/>
                  </a:lnTo>
                  <a:lnTo>
                    <a:pt x="1608" y="304"/>
                  </a:lnTo>
                  <a:lnTo>
                    <a:pt x="1615" y="312"/>
                  </a:lnTo>
                  <a:lnTo>
                    <a:pt x="1618" y="312"/>
                  </a:lnTo>
                  <a:lnTo>
                    <a:pt x="1623" y="311"/>
                  </a:lnTo>
                  <a:lnTo>
                    <a:pt x="1626" y="311"/>
                  </a:lnTo>
                  <a:lnTo>
                    <a:pt x="1636" y="321"/>
                  </a:lnTo>
                  <a:lnTo>
                    <a:pt x="1636" y="323"/>
                  </a:lnTo>
                  <a:lnTo>
                    <a:pt x="1630" y="330"/>
                  </a:lnTo>
                  <a:lnTo>
                    <a:pt x="1639" y="336"/>
                  </a:lnTo>
                  <a:lnTo>
                    <a:pt x="1666" y="330"/>
                  </a:lnTo>
                  <a:lnTo>
                    <a:pt x="1720" y="330"/>
                  </a:lnTo>
                  <a:lnTo>
                    <a:pt x="1720" y="332"/>
                  </a:lnTo>
                  <a:lnTo>
                    <a:pt x="1735" y="352"/>
                  </a:lnTo>
                  <a:lnTo>
                    <a:pt x="1737" y="360"/>
                  </a:lnTo>
                  <a:lnTo>
                    <a:pt x="1732" y="375"/>
                  </a:lnTo>
                  <a:lnTo>
                    <a:pt x="1752" y="385"/>
                  </a:lnTo>
                  <a:lnTo>
                    <a:pt x="1752" y="390"/>
                  </a:lnTo>
                  <a:lnTo>
                    <a:pt x="1766" y="379"/>
                  </a:lnTo>
                  <a:lnTo>
                    <a:pt x="1787" y="376"/>
                  </a:lnTo>
                  <a:lnTo>
                    <a:pt x="1801" y="384"/>
                  </a:lnTo>
                  <a:lnTo>
                    <a:pt x="1824" y="387"/>
                  </a:lnTo>
                  <a:lnTo>
                    <a:pt x="1836" y="376"/>
                  </a:lnTo>
                  <a:lnTo>
                    <a:pt x="1838" y="376"/>
                  </a:lnTo>
                  <a:lnTo>
                    <a:pt x="1838" y="378"/>
                  </a:lnTo>
                  <a:lnTo>
                    <a:pt x="1842" y="384"/>
                  </a:lnTo>
                  <a:lnTo>
                    <a:pt x="1844" y="397"/>
                  </a:lnTo>
                  <a:lnTo>
                    <a:pt x="1864" y="413"/>
                  </a:lnTo>
                  <a:lnTo>
                    <a:pt x="1879" y="401"/>
                  </a:lnTo>
                  <a:lnTo>
                    <a:pt x="1873" y="385"/>
                  </a:lnTo>
                  <a:lnTo>
                    <a:pt x="1867" y="384"/>
                  </a:lnTo>
                  <a:lnTo>
                    <a:pt x="1866" y="384"/>
                  </a:lnTo>
                  <a:lnTo>
                    <a:pt x="1866" y="382"/>
                  </a:lnTo>
                  <a:lnTo>
                    <a:pt x="1870" y="378"/>
                  </a:lnTo>
                  <a:lnTo>
                    <a:pt x="1870" y="367"/>
                  </a:lnTo>
                  <a:lnTo>
                    <a:pt x="1872" y="367"/>
                  </a:lnTo>
                  <a:lnTo>
                    <a:pt x="1876" y="366"/>
                  </a:lnTo>
                  <a:lnTo>
                    <a:pt x="1907" y="375"/>
                  </a:lnTo>
                  <a:lnTo>
                    <a:pt x="1946" y="373"/>
                  </a:lnTo>
                  <a:lnTo>
                    <a:pt x="1975" y="390"/>
                  </a:lnTo>
                  <a:lnTo>
                    <a:pt x="1996" y="407"/>
                  </a:lnTo>
                  <a:lnTo>
                    <a:pt x="2001" y="410"/>
                  </a:lnTo>
                  <a:lnTo>
                    <a:pt x="2011" y="415"/>
                  </a:lnTo>
                  <a:lnTo>
                    <a:pt x="2012" y="422"/>
                  </a:lnTo>
                  <a:lnTo>
                    <a:pt x="2020" y="425"/>
                  </a:lnTo>
                  <a:lnTo>
                    <a:pt x="2023" y="431"/>
                  </a:lnTo>
                  <a:lnTo>
                    <a:pt x="2030" y="432"/>
                  </a:lnTo>
                  <a:lnTo>
                    <a:pt x="2036" y="437"/>
                  </a:lnTo>
                  <a:lnTo>
                    <a:pt x="2038" y="441"/>
                  </a:lnTo>
                  <a:lnTo>
                    <a:pt x="2036" y="443"/>
                  </a:lnTo>
                  <a:lnTo>
                    <a:pt x="2047" y="446"/>
                  </a:lnTo>
                  <a:lnTo>
                    <a:pt x="2048" y="446"/>
                  </a:lnTo>
                  <a:lnTo>
                    <a:pt x="2048" y="447"/>
                  </a:lnTo>
                  <a:lnTo>
                    <a:pt x="2047" y="447"/>
                  </a:lnTo>
                  <a:lnTo>
                    <a:pt x="2044" y="452"/>
                  </a:lnTo>
                  <a:lnTo>
                    <a:pt x="2054" y="458"/>
                  </a:lnTo>
                  <a:lnTo>
                    <a:pt x="2048" y="450"/>
                  </a:lnTo>
                  <a:lnTo>
                    <a:pt x="2050" y="450"/>
                  </a:lnTo>
                  <a:lnTo>
                    <a:pt x="2050" y="449"/>
                  </a:lnTo>
                  <a:lnTo>
                    <a:pt x="2053" y="449"/>
                  </a:lnTo>
                  <a:lnTo>
                    <a:pt x="2054" y="450"/>
                  </a:lnTo>
                  <a:lnTo>
                    <a:pt x="2057" y="450"/>
                  </a:lnTo>
                  <a:lnTo>
                    <a:pt x="2057" y="452"/>
                  </a:lnTo>
                  <a:lnTo>
                    <a:pt x="2064" y="461"/>
                  </a:lnTo>
                  <a:lnTo>
                    <a:pt x="2064" y="462"/>
                  </a:lnTo>
                  <a:lnTo>
                    <a:pt x="2061" y="464"/>
                  </a:lnTo>
                  <a:lnTo>
                    <a:pt x="2066" y="483"/>
                  </a:lnTo>
                  <a:lnTo>
                    <a:pt x="2072" y="487"/>
                  </a:lnTo>
                  <a:lnTo>
                    <a:pt x="2072" y="477"/>
                  </a:lnTo>
                  <a:lnTo>
                    <a:pt x="2067" y="474"/>
                  </a:lnTo>
                  <a:lnTo>
                    <a:pt x="2067" y="473"/>
                  </a:lnTo>
                  <a:lnTo>
                    <a:pt x="2070" y="473"/>
                  </a:lnTo>
                  <a:lnTo>
                    <a:pt x="2073" y="474"/>
                  </a:lnTo>
                  <a:lnTo>
                    <a:pt x="2076" y="474"/>
                  </a:lnTo>
                  <a:lnTo>
                    <a:pt x="2078" y="471"/>
                  </a:lnTo>
                  <a:lnTo>
                    <a:pt x="2078" y="470"/>
                  </a:lnTo>
                  <a:lnTo>
                    <a:pt x="2085" y="474"/>
                  </a:lnTo>
                  <a:lnTo>
                    <a:pt x="2082" y="477"/>
                  </a:lnTo>
                  <a:lnTo>
                    <a:pt x="2084" y="478"/>
                  </a:lnTo>
                  <a:lnTo>
                    <a:pt x="2085" y="475"/>
                  </a:lnTo>
                  <a:lnTo>
                    <a:pt x="2093" y="475"/>
                  </a:lnTo>
                  <a:lnTo>
                    <a:pt x="2097" y="477"/>
                  </a:lnTo>
                  <a:lnTo>
                    <a:pt x="2104" y="477"/>
                  </a:lnTo>
                  <a:lnTo>
                    <a:pt x="2122" y="498"/>
                  </a:lnTo>
                  <a:lnTo>
                    <a:pt x="2121" y="501"/>
                  </a:lnTo>
                  <a:lnTo>
                    <a:pt x="2131" y="504"/>
                  </a:lnTo>
                  <a:lnTo>
                    <a:pt x="2133" y="504"/>
                  </a:lnTo>
                  <a:lnTo>
                    <a:pt x="2133" y="505"/>
                  </a:lnTo>
                  <a:lnTo>
                    <a:pt x="2121" y="511"/>
                  </a:lnTo>
                  <a:lnTo>
                    <a:pt x="2119" y="520"/>
                  </a:lnTo>
                  <a:lnTo>
                    <a:pt x="2119" y="521"/>
                  </a:lnTo>
                  <a:lnTo>
                    <a:pt x="2110" y="514"/>
                  </a:lnTo>
                  <a:lnTo>
                    <a:pt x="2110" y="518"/>
                  </a:lnTo>
                  <a:lnTo>
                    <a:pt x="2113" y="524"/>
                  </a:lnTo>
                  <a:lnTo>
                    <a:pt x="2103" y="524"/>
                  </a:lnTo>
                  <a:lnTo>
                    <a:pt x="2098" y="532"/>
                  </a:lnTo>
                  <a:lnTo>
                    <a:pt x="2094" y="532"/>
                  </a:lnTo>
                  <a:lnTo>
                    <a:pt x="2100" y="538"/>
                  </a:lnTo>
                  <a:lnTo>
                    <a:pt x="2088" y="545"/>
                  </a:lnTo>
                  <a:lnTo>
                    <a:pt x="2093" y="547"/>
                  </a:lnTo>
                  <a:lnTo>
                    <a:pt x="2093" y="548"/>
                  </a:lnTo>
                  <a:lnTo>
                    <a:pt x="2090" y="550"/>
                  </a:lnTo>
                  <a:lnTo>
                    <a:pt x="2097" y="556"/>
                  </a:lnTo>
                  <a:lnTo>
                    <a:pt x="2097" y="557"/>
                  </a:lnTo>
                  <a:lnTo>
                    <a:pt x="2090" y="557"/>
                  </a:lnTo>
                  <a:lnTo>
                    <a:pt x="2088" y="563"/>
                  </a:lnTo>
                  <a:lnTo>
                    <a:pt x="2082" y="561"/>
                  </a:lnTo>
                  <a:lnTo>
                    <a:pt x="2082" y="556"/>
                  </a:lnTo>
                  <a:lnTo>
                    <a:pt x="2081" y="560"/>
                  </a:lnTo>
                  <a:lnTo>
                    <a:pt x="2079" y="560"/>
                  </a:lnTo>
                  <a:lnTo>
                    <a:pt x="2078" y="557"/>
                  </a:lnTo>
                  <a:lnTo>
                    <a:pt x="2075" y="559"/>
                  </a:lnTo>
                  <a:lnTo>
                    <a:pt x="2073" y="559"/>
                  </a:lnTo>
                  <a:lnTo>
                    <a:pt x="2073" y="557"/>
                  </a:lnTo>
                  <a:lnTo>
                    <a:pt x="2072" y="551"/>
                  </a:lnTo>
                  <a:lnTo>
                    <a:pt x="2064" y="548"/>
                  </a:lnTo>
                  <a:lnTo>
                    <a:pt x="2064" y="547"/>
                  </a:lnTo>
                  <a:lnTo>
                    <a:pt x="2063" y="547"/>
                  </a:lnTo>
                  <a:lnTo>
                    <a:pt x="2063" y="548"/>
                  </a:lnTo>
                  <a:lnTo>
                    <a:pt x="2057" y="547"/>
                  </a:lnTo>
                  <a:lnTo>
                    <a:pt x="2050" y="539"/>
                  </a:lnTo>
                  <a:lnTo>
                    <a:pt x="2048" y="539"/>
                  </a:lnTo>
                  <a:lnTo>
                    <a:pt x="2048" y="526"/>
                  </a:lnTo>
                  <a:lnTo>
                    <a:pt x="2042" y="521"/>
                  </a:lnTo>
                  <a:lnTo>
                    <a:pt x="2030" y="521"/>
                  </a:lnTo>
                  <a:lnTo>
                    <a:pt x="2021" y="523"/>
                  </a:lnTo>
                  <a:lnTo>
                    <a:pt x="2015" y="523"/>
                  </a:lnTo>
                  <a:lnTo>
                    <a:pt x="2010" y="505"/>
                  </a:lnTo>
                  <a:lnTo>
                    <a:pt x="2015" y="504"/>
                  </a:lnTo>
                  <a:lnTo>
                    <a:pt x="2015" y="499"/>
                  </a:lnTo>
                  <a:lnTo>
                    <a:pt x="2011" y="504"/>
                  </a:lnTo>
                  <a:lnTo>
                    <a:pt x="2010" y="504"/>
                  </a:lnTo>
                  <a:lnTo>
                    <a:pt x="2007" y="498"/>
                  </a:lnTo>
                  <a:lnTo>
                    <a:pt x="2005" y="498"/>
                  </a:lnTo>
                  <a:lnTo>
                    <a:pt x="2005" y="504"/>
                  </a:lnTo>
                  <a:lnTo>
                    <a:pt x="1998" y="505"/>
                  </a:lnTo>
                  <a:lnTo>
                    <a:pt x="1999" y="511"/>
                  </a:lnTo>
                  <a:lnTo>
                    <a:pt x="2007" y="523"/>
                  </a:lnTo>
                  <a:lnTo>
                    <a:pt x="1998" y="538"/>
                  </a:lnTo>
                  <a:lnTo>
                    <a:pt x="1995" y="541"/>
                  </a:lnTo>
                  <a:lnTo>
                    <a:pt x="1978" y="554"/>
                  </a:lnTo>
                  <a:lnTo>
                    <a:pt x="1977" y="554"/>
                  </a:lnTo>
                  <a:lnTo>
                    <a:pt x="1977" y="553"/>
                  </a:lnTo>
                  <a:lnTo>
                    <a:pt x="1972" y="548"/>
                  </a:lnTo>
                  <a:lnTo>
                    <a:pt x="1964" y="548"/>
                  </a:lnTo>
                  <a:lnTo>
                    <a:pt x="1965" y="557"/>
                  </a:lnTo>
                  <a:lnTo>
                    <a:pt x="1971" y="561"/>
                  </a:lnTo>
                  <a:lnTo>
                    <a:pt x="1974" y="559"/>
                  </a:lnTo>
                  <a:lnTo>
                    <a:pt x="1978" y="567"/>
                  </a:lnTo>
                  <a:lnTo>
                    <a:pt x="1977" y="567"/>
                  </a:lnTo>
                  <a:lnTo>
                    <a:pt x="1975" y="569"/>
                  </a:lnTo>
                  <a:lnTo>
                    <a:pt x="1980" y="570"/>
                  </a:lnTo>
                  <a:lnTo>
                    <a:pt x="1981" y="585"/>
                  </a:lnTo>
                  <a:lnTo>
                    <a:pt x="1989" y="597"/>
                  </a:lnTo>
                  <a:lnTo>
                    <a:pt x="1989" y="599"/>
                  </a:lnTo>
                  <a:lnTo>
                    <a:pt x="1984" y="599"/>
                  </a:lnTo>
                  <a:lnTo>
                    <a:pt x="1990" y="606"/>
                  </a:lnTo>
                  <a:lnTo>
                    <a:pt x="1990" y="607"/>
                  </a:lnTo>
                  <a:lnTo>
                    <a:pt x="1984" y="618"/>
                  </a:lnTo>
                  <a:lnTo>
                    <a:pt x="1983" y="618"/>
                  </a:lnTo>
                  <a:lnTo>
                    <a:pt x="1965" y="609"/>
                  </a:lnTo>
                  <a:lnTo>
                    <a:pt x="1964" y="612"/>
                  </a:lnTo>
                  <a:lnTo>
                    <a:pt x="1962" y="612"/>
                  </a:lnTo>
                  <a:lnTo>
                    <a:pt x="1959" y="606"/>
                  </a:lnTo>
                  <a:lnTo>
                    <a:pt x="1961" y="612"/>
                  </a:lnTo>
                  <a:lnTo>
                    <a:pt x="1961" y="613"/>
                  </a:lnTo>
                  <a:lnTo>
                    <a:pt x="1959" y="613"/>
                  </a:lnTo>
                  <a:lnTo>
                    <a:pt x="1932" y="624"/>
                  </a:lnTo>
                  <a:lnTo>
                    <a:pt x="1931" y="628"/>
                  </a:lnTo>
                  <a:lnTo>
                    <a:pt x="1931" y="630"/>
                  </a:lnTo>
                  <a:lnTo>
                    <a:pt x="1916" y="637"/>
                  </a:lnTo>
                  <a:lnTo>
                    <a:pt x="1912" y="636"/>
                  </a:lnTo>
                  <a:lnTo>
                    <a:pt x="1907" y="645"/>
                  </a:lnTo>
                  <a:lnTo>
                    <a:pt x="1897" y="650"/>
                  </a:lnTo>
                  <a:lnTo>
                    <a:pt x="1898" y="653"/>
                  </a:lnTo>
                  <a:lnTo>
                    <a:pt x="1897" y="653"/>
                  </a:lnTo>
                  <a:lnTo>
                    <a:pt x="1897" y="655"/>
                  </a:lnTo>
                  <a:lnTo>
                    <a:pt x="1894" y="653"/>
                  </a:lnTo>
                  <a:lnTo>
                    <a:pt x="1894" y="658"/>
                  </a:lnTo>
                  <a:lnTo>
                    <a:pt x="1873" y="670"/>
                  </a:lnTo>
                  <a:lnTo>
                    <a:pt x="1870" y="683"/>
                  </a:lnTo>
                  <a:lnTo>
                    <a:pt x="1869" y="683"/>
                  </a:lnTo>
                  <a:lnTo>
                    <a:pt x="1857" y="668"/>
                  </a:lnTo>
                  <a:lnTo>
                    <a:pt x="1842" y="665"/>
                  </a:lnTo>
                  <a:lnTo>
                    <a:pt x="1827" y="671"/>
                  </a:lnTo>
                  <a:lnTo>
                    <a:pt x="1817" y="686"/>
                  </a:lnTo>
                  <a:lnTo>
                    <a:pt x="1815" y="686"/>
                  </a:lnTo>
                  <a:lnTo>
                    <a:pt x="1817" y="670"/>
                  </a:lnTo>
                  <a:lnTo>
                    <a:pt x="1815" y="670"/>
                  </a:lnTo>
                  <a:lnTo>
                    <a:pt x="1803" y="677"/>
                  </a:lnTo>
                  <a:lnTo>
                    <a:pt x="1801" y="686"/>
                  </a:lnTo>
                  <a:lnTo>
                    <a:pt x="1795" y="682"/>
                  </a:lnTo>
                  <a:lnTo>
                    <a:pt x="1790" y="686"/>
                  </a:lnTo>
                  <a:lnTo>
                    <a:pt x="1789" y="686"/>
                  </a:lnTo>
                  <a:lnTo>
                    <a:pt x="1787" y="683"/>
                  </a:lnTo>
                  <a:lnTo>
                    <a:pt x="1781" y="686"/>
                  </a:lnTo>
                  <a:lnTo>
                    <a:pt x="1777" y="705"/>
                  </a:lnTo>
                  <a:lnTo>
                    <a:pt x="1774" y="705"/>
                  </a:lnTo>
                  <a:lnTo>
                    <a:pt x="1762" y="726"/>
                  </a:lnTo>
                  <a:lnTo>
                    <a:pt x="1762" y="735"/>
                  </a:lnTo>
                  <a:lnTo>
                    <a:pt x="1763" y="738"/>
                  </a:lnTo>
                  <a:lnTo>
                    <a:pt x="1769" y="732"/>
                  </a:lnTo>
                  <a:lnTo>
                    <a:pt x="1771" y="732"/>
                  </a:lnTo>
                  <a:lnTo>
                    <a:pt x="1778" y="736"/>
                  </a:lnTo>
                  <a:lnTo>
                    <a:pt x="1778" y="738"/>
                  </a:lnTo>
                  <a:lnTo>
                    <a:pt x="1771" y="753"/>
                  </a:lnTo>
                  <a:lnTo>
                    <a:pt x="1772" y="762"/>
                  </a:lnTo>
                  <a:lnTo>
                    <a:pt x="1778" y="765"/>
                  </a:lnTo>
                  <a:lnTo>
                    <a:pt x="1778" y="773"/>
                  </a:lnTo>
                  <a:lnTo>
                    <a:pt x="1775" y="781"/>
                  </a:lnTo>
                  <a:lnTo>
                    <a:pt x="1774" y="781"/>
                  </a:lnTo>
                  <a:lnTo>
                    <a:pt x="1769" y="775"/>
                  </a:lnTo>
                  <a:lnTo>
                    <a:pt x="1772" y="769"/>
                  </a:lnTo>
                  <a:lnTo>
                    <a:pt x="1766" y="772"/>
                  </a:lnTo>
                  <a:lnTo>
                    <a:pt x="1768" y="775"/>
                  </a:lnTo>
                  <a:lnTo>
                    <a:pt x="1768" y="776"/>
                  </a:lnTo>
                  <a:lnTo>
                    <a:pt x="1761" y="782"/>
                  </a:lnTo>
                  <a:lnTo>
                    <a:pt x="1758" y="791"/>
                  </a:lnTo>
                  <a:lnTo>
                    <a:pt x="1763" y="809"/>
                  </a:lnTo>
                  <a:lnTo>
                    <a:pt x="1762" y="809"/>
                  </a:lnTo>
                  <a:lnTo>
                    <a:pt x="1756" y="815"/>
                  </a:lnTo>
                  <a:lnTo>
                    <a:pt x="1755" y="815"/>
                  </a:lnTo>
                  <a:lnTo>
                    <a:pt x="1747" y="814"/>
                  </a:lnTo>
                  <a:lnTo>
                    <a:pt x="1735" y="825"/>
                  </a:lnTo>
                  <a:lnTo>
                    <a:pt x="1735" y="845"/>
                  </a:lnTo>
                  <a:lnTo>
                    <a:pt x="1734" y="845"/>
                  </a:lnTo>
                  <a:lnTo>
                    <a:pt x="1731" y="843"/>
                  </a:lnTo>
                  <a:lnTo>
                    <a:pt x="1718" y="849"/>
                  </a:lnTo>
                  <a:lnTo>
                    <a:pt x="1713" y="871"/>
                  </a:lnTo>
                  <a:lnTo>
                    <a:pt x="1694" y="892"/>
                  </a:lnTo>
                  <a:lnTo>
                    <a:pt x="1678" y="811"/>
                  </a:lnTo>
                  <a:lnTo>
                    <a:pt x="1678" y="793"/>
                  </a:lnTo>
                  <a:lnTo>
                    <a:pt x="1682" y="763"/>
                  </a:lnTo>
                  <a:lnTo>
                    <a:pt x="1694" y="754"/>
                  </a:lnTo>
                  <a:lnTo>
                    <a:pt x="1697" y="744"/>
                  </a:lnTo>
                  <a:lnTo>
                    <a:pt x="1694" y="736"/>
                  </a:lnTo>
                  <a:lnTo>
                    <a:pt x="1694" y="735"/>
                  </a:lnTo>
                  <a:lnTo>
                    <a:pt x="1697" y="735"/>
                  </a:lnTo>
                  <a:lnTo>
                    <a:pt x="1698" y="736"/>
                  </a:lnTo>
                  <a:lnTo>
                    <a:pt x="1701" y="736"/>
                  </a:lnTo>
                  <a:lnTo>
                    <a:pt x="1715" y="729"/>
                  </a:lnTo>
                  <a:lnTo>
                    <a:pt x="1741" y="693"/>
                  </a:lnTo>
                  <a:lnTo>
                    <a:pt x="1758" y="676"/>
                  </a:lnTo>
                  <a:lnTo>
                    <a:pt x="1761" y="670"/>
                  </a:lnTo>
                  <a:lnTo>
                    <a:pt x="1761" y="668"/>
                  </a:lnTo>
                  <a:lnTo>
                    <a:pt x="1783" y="658"/>
                  </a:lnTo>
                  <a:lnTo>
                    <a:pt x="1781" y="652"/>
                  </a:lnTo>
                  <a:lnTo>
                    <a:pt x="1784" y="647"/>
                  </a:lnTo>
                  <a:lnTo>
                    <a:pt x="1784" y="640"/>
                  </a:lnTo>
                  <a:lnTo>
                    <a:pt x="1787" y="636"/>
                  </a:lnTo>
                  <a:lnTo>
                    <a:pt x="1789" y="622"/>
                  </a:lnTo>
                  <a:lnTo>
                    <a:pt x="1789" y="621"/>
                  </a:lnTo>
                  <a:lnTo>
                    <a:pt x="1790" y="621"/>
                  </a:lnTo>
                  <a:lnTo>
                    <a:pt x="1799" y="615"/>
                  </a:lnTo>
                  <a:lnTo>
                    <a:pt x="1799" y="613"/>
                  </a:lnTo>
                  <a:lnTo>
                    <a:pt x="1793" y="609"/>
                  </a:lnTo>
                  <a:lnTo>
                    <a:pt x="1783" y="613"/>
                  </a:lnTo>
                  <a:lnTo>
                    <a:pt x="1775" y="624"/>
                  </a:lnTo>
                  <a:lnTo>
                    <a:pt x="1775" y="633"/>
                  </a:lnTo>
                  <a:lnTo>
                    <a:pt x="1778" y="636"/>
                  </a:lnTo>
                  <a:lnTo>
                    <a:pt x="1778" y="637"/>
                  </a:lnTo>
                  <a:lnTo>
                    <a:pt x="1775" y="640"/>
                  </a:lnTo>
                  <a:lnTo>
                    <a:pt x="1772" y="637"/>
                  </a:lnTo>
                  <a:lnTo>
                    <a:pt x="1766" y="639"/>
                  </a:lnTo>
                  <a:lnTo>
                    <a:pt x="1738" y="667"/>
                  </a:lnTo>
                  <a:lnTo>
                    <a:pt x="1737" y="667"/>
                  </a:lnTo>
                  <a:lnTo>
                    <a:pt x="1737" y="665"/>
                  </a:lnTo>
                  <a:lnTo>
                    <a:pt x="1740" y="656"/>
                  </a:lnTo>
                  <a:lnTo>
                    <a:pt x="1732" y="656"/>
                  </a:lnTo>
                  <a:lnTo>
                    <a:pt x="1732" y="655"/>
                  </a:lnTo>
                  <a:lnTo>
                    <a:pt x="1735" y="650"/>
                  </a:lnTo>
                  <a:lnTo>
                    <a:pt x="1734" y="646"/>
                  </a:lnTo>
                  <a:lnTo>
                    <a:pt x="1738" y="639"/>
                  </a:lnTo>
                  <a:lnTo>
                    <a:pt x="1740" y="631"/>
                  </a:lnTo>
                  <a:lnTo>
                    <a:pt x="1734" y="637"/>
                  </a:lnTo>
                  <a:lnTo>
                    <a:pt x="1722" y="631"/>
                  </a:lnTo>
                  <a:lnTo>
                    <a:pt x="1700" y="637"/>
                  </a:lnTo>
                  <a:lnTo>
                    <a:pt x="1683" y="662"/>
                  </a:lnTo>
                  <a:lnTo>
                    <a:pt x="1669" y="674"/>
                  </a:lnTo>
                  <a:lnTo>
                    <a:pt x="1663" y="686"/>
                  </a:lnTo>
                  <a:lnTo>
                    <a:pt x="1660" y="686"/>
                  </a:lnTo>
                  <a:lnTo>
                    <a:pt x="1663" y="692"/>
                  </a:lnTo>
                  <a:lnTo>
                    <a:pt x="1661" y="695"/>
                  </a:lnTo>
                  <a:lnTo>
                    <a:pt x="1672" y="698"/>
                  </a:lnTo>
                  <a:lnTo>
                    <a:pt x="1673" y="702"/>
                  </a:lnTo>
                  <a:lnTo>
                    <a:pt x="1672" y="704"/>
                  </a:lnTo>
                  <a:lnTo>
                    <a:pt x="1669" y="704"/>
                  </a:lnTo>
                  <a:lnTo>
                    <a:pt x="1652" y="702"/>
                  </a:lnTo>
                  <a:lnTo>
                    <a:pt x="1642" y="710"/>
                  </a:lnTo>
                  <a:lnTo>
                    <a:pt x="1637" y="707"/>
                  </a:lnTo>
                  <a:lnTo>
                    <a:pt x="1623" y="711"/>
                  </a:lnTo>
                  <a:lnTo>
                    <a:pt x="1620" y="705"/>
                  </a:lnTo>
                  <a:lnTo>
                    <a:pt x="1620" y="704"/>
                  </a:lnTo>
                  <a:lnTo>
                    <a:pt x="1632" y="699"/>
                  </a:lnTo>
                  <a:lnTo>
                    <a:pt x="1623" y="693"/>
                  </a:lnTo>
                  <a:lnTo>
                    <a:pt x="1617" y="696"/>
                  </a:lnTo>
                  <a:lnTo>
                    <a:pt x="1596" y="689"/>
                  </a:lnTo>
                  <a:lnTo>
                    <a:pt x="1593" y="690"/>
                  </a:lnTo>
                  <a:lnTo>
                    <a:pt x="1594" y="695"/>
                  </a:lnTo>
                  <a:lnTo>
                    <a:pt x="1594" y="696"/>
                  </a:lnTo>
                  <a:lnTo>
                    <a:pt x="1590" y="696"/>
                  </a:lnTo>
                  <a:lnTo>
                    <a:pt x="1590" y="702"/>
                  </a:lnTo>
                  <a:lnTo>
                    <a:pt x="1586" y="702"/>
                  </a:lnTo>
                  <a:lnTo>
                    <a:pt x="1583" y="698"/>
                  </a:lnTo>
                  <a:lnTo>
                    <a:pt x="1572" y="702"/>
                  </a:lnTo>
                  <a:lnTo>
                    <a:pt x="1559" y="696"/>
                  </a:lnTo>
                  <a:lnTo>
                    <a:pt x="1554" y="704"/>
                  </a:lnTo>
                  <a:lnTo>
                    <a:pt x="1553" y="704"/>
                  </a:lnTo>
                  <a:lnTo>
                    <a:pt x="1546" y="698"/>
                  </a:lnTo>
                  <a:lnTo>
                    <a:pt x="1516" y="699"/>
                  </a:lnTo>
                  <a:lnTo>
                    <a:pt x="1504" y="705"/>
                  </a:lnTo>
                  <a:lnTo>
                    <a:pt x="1486" y="726"/>
                  </a:lnTo>
                  <a:lnTo>
                    <a:pt x="1480" y="738"/>
                  </a:lnTo>
                  <a:lnTo>
                    <a:pt x="1464" y="750"/>
                  </a:lnTo>
                  <a:lnTo>
                    <a:pt x="1445" y="776"/>
                  </a:lnTo>
                  <a:lnTo>
                    <a:pt x="1414" y="805"/>
                  </a:lnTo>
                  <a:lnTo>
                    <a:pt x="1414" y="808"/>
                  </a:lnTo>
                  <a:lnTo>
                    <a:pt x="1420" y="812"/>
                  </a:lnTo>
                  <a:lnTo>
                    <a:pt x="1423" y="812"/>
                  </a:lnTo>
                  <a:lnTo>
                    <a:pt x="1427" y="811"/>
                  </a:lnTo>
                  <a:lnTo>
                    <a:pt x="1433" y="811"/>
                  </a:lnTo>
                  <a:lnTo>
                    <a:pt x="1433" y="830"/>
                  </a:lnTo>
                  <a:lnTo>
                    <a:pt x="1437" y="827"/>
                  </a:lnTo>
                  <a:lnTo>
                    <a:pt x="1437" y="821"/>
                  </a:lnTo>
                  <a:lnTo>
                    <a:pt x="1443" y="818"/>
                  </a:lnTo>
                  <a:lnTo>
                    <a:pt x="1445" y="818"/>
                  </a:lnTo>
                  <a:lnTo>
                    <a:pt x="1445" y="819"/>
                  </a:lnTo>
                  <a:lnTo>
                    <a:pt x="1440" y="822"/>
                  </a:lnTo>
                  <a:lnTo>
                    <a:pt x="1445" y="828"/>
                  </a:lnTo>
                  <a:lnTo>
                    <a:pt x="1440" y="834"/>
                  </a:lnTo>
                  <a:lnTo>
                    <a:pt x="1451" y="831"/>
                  </a:lnTo>
                  <a:lnTo>
                    <a:pt x="1454" y="828"/>
                  </a:lnTo>
                  <a:lnTo>
                    <a:pt x="1454" y="833"/>
                  </a:lnTo>
                  <a:lnTo>
                    <a:pt x="1457" y="830"/>
                  </a:lnTo>
                  <a:lnTo>
                    <a:pt x="1457" y="818"/>
                  </a:lnTo>
                  <a:lnTo>
                    <a:pt x="1473" y="818"/>
                  </a:lnTo>
                  <a:lnTo>
                    <a:pt x="1480" y="831"/>
                  </a:lnTo>
                  <a:lnTo>
                    <a:pt x="1494" y="840"/>
                  </a:lnTo>
                  <a:lnTo>
                    <a:pt x="1494" y="842"/>
                  </a:lnTo>
                  <a:lnTo>
                    <a:pt x="1489" y="849"/>
                  </a:lnTo>
                  <a:lnTo>
                    <a:pt x="1491" y="855"/>
                  </a:lnTo>
                  <a:lnTo>
                    <a:pt x="1491" y="859"/>
                  </a:lnTo>
                  <a:lnTo>
                    <a:pt x="1494" y="864"/>
                  </a:lnTo>
                  <a:lnTo>
                    <a:pt x="1494" y="865"/>
                  </a:lnTo>
                  <a:lnTo>
                    <a:pt x="1486" y="880"/>
                  </a:lnTo>
                  <a:lnTo>
                    <a:pt x="1482" y="895"/>
                  </a:lnTo>
                  <a:lnTo>
                    <a:pt x="1483" y="908"/>
                  </a:lnTo>
                  <a:lnTo>
                    <a:pt x="1479" y="941"/>
                  </a:lnTo>
                  <a:lnTo>
                    <a:pt x="1467" y="954"/>
                  </a:lnTo>
                  <a:lnTo>
                    <a:pt x="1457" y="971"/>
                  </a:lnTo>
                  <a:lnTo>
                    <a:pt x="1451" y="986"/>
                  </a:lnTo>
                  <a:lnTo>
                    <a:pt x="1411" y="1036"/>
                  </a:lnTo>
                  <a:lnTo>
                    <a:pt x="1397" y="1046"/>
                  </a:lnTo>
                  <a:lnTo>
                    <a:pt x="1387" y="1049"/>
                  </a:lnTo>
                  <a:lnTo>
                    <a:pt x="1375" y="1046"/>
                  </a:lnTo>
                  <a:lnTo>
                    <a:pt x="1374" y="1046"/>
                  </a:lnTo>
                  <a:lnTo>
                    <a:pt x="1374" y="1039"/>
                  </a:lnTo>
                  <a:lnTo>
                    <a:pt x="1371" y="1042"/>
                  </a:lnTo>
                  <a:lnTo>
                    <a:pt x="1368" y="1036"/>
                  </a:lnTo>
                  <a:lnTo>
                    <a:pt x="1360" y="1049"/>
                  </a:lnTo>
                  <a:lnTo>
                    <a:pt x="1360" y="1051"/>
                  </a:lnTo>
                  <a:lnTo>
                    <a:pt x="1354" y="1051"/>
                  </a:lnTo>
                  <a:lnTo>
                    <a:pt x="1354" y="1054"/>
                  </a:lnTo>
                  <a:lnTo>
                    <a:pt x="1353" y="1054"/>
                  </a:lnTo>
                  <a:lnTo>
                    <a:pt x="1351" y="1051"/>
                  </a:lnTo>
                  <a:lnTo>
                    <a:pt x="1351" y="1046"/>
                  </a:lnTo>
                  <a:lnTo>
                    <a:pt x="1359" y="1036"/>
                  </a:lnTo>
                  <a:lnTo>
                    <a:pt x="1359" y="1021"/>
                  </a:lnTo>
                  <a:lnTo>
                    <a:pt x="1356" y="1012"/>
                  </a:lnTo>
                  <a:lnTo>
                    <a:pt x="1368" y="1002"/>
                  </a:lnTo>
                  <a:lnTo>
                    <a:pt x="1381" y="1006"/>
                  </a:lnTo>
                  <a:lnTo>
                    <a:pt x="1384" y="1003"/>
                  </a:lnTo>
                  <a:lnTo>
                    <a:pt x="1393" y="986"/>
                  </a:lnTo>
                  <a:lnTo>
                    <a:pt x="1399" y="963"/>
                  </a:lnTo>
                  <a:lnTo>
                    <a:pt x="1405" y="957"/>
                  </a:lnTo>
                  <a:lnTo>
                    <a:pt x="1403" y="944"/>
                  </a:lnTo>
                  <a:lnTo>
                    <a:pt x="1405" y="941"/>
                  </a:lnTo>
                  <a:lnTo>
                    <a:pt x="1371" y="956"/>
                  </a:lnTo>
                  <a:lnTo>
                    <a:pt x="1357" y="956"/>
                  </a:lnTo>
                  <a:lnTo>
                    <a:pt x="1353" y="948"/>
                  </a:lnTo>
                  <a:lnTo>
                    <a:pt x="1353" y="940"/>
                  </a:lnTo>
                  <a:lnTo>
                    <a:pt x="1350" y="932"/>
                  </a:lnTo>
                  <a:lnTo>
                    <a:pt x="1332" y="922"/>
                  </a:lnTo>
                  <a:lnTo>
                    <a:pt x="1311" y="917"/>
                  </a:lnTo>
                  <a:lnTo>
                    <a:pt x="1310" y="917"/>
                  </a:lnTo>
                  <a:lnTo>
                    <a:pt x="1305" y="892"/>
                  </a:lnTo>
                  <a:lnTo>
                    <a:pt x="1298" y="874"/>
                  </a:lnTo>
                  <a:lnTo>
                    <a:pt x="1297" y="862"/>
                  </a:lnTo>
                  <a:lnTo>
                    <a:pt x="1286" y="849"/>
                  </a:lnTo>
                  <a:lnTo>
                    <a:pt x="1271" y="846"/>
                  </a:lnTo>
                  <a:lnTo>
                    <a:pt x="1260" y="839"/>
                  </a:lnTo>
                  <a:lnTo>
                    <a:pt x="1224" y="843"/>
                  </a:lnTo>
                  <a:lnTo>
                    <a:pt x="1215" y="855"/>
                  </a:lnTo>
                  <a:lnTo>
                    <a:pt x="1214" y="858"/>
                  </a:lnTo>
                  <a:lnTo>
                    <a:pt x="1222" y="858"/>
                  </a:lnTo>
                  <a:lnTo>
                    <a:pt x="1222" y="870"/>
                  </a:lnTo>
                  <a:lnTo>
                    <a:pt x="1212" y="879"/>
                  </a:lnTo>
                  <a:lnTo>
                    <a:pt x="1205" y="901"/>
                  </a:lnTo>
                  <a:lnTo>
                    <a:pt x="1203" y="908"/>
                  </a:lnTo>
                  <a:lnTo>
                    <a:pt x="1185" y="919"/>
                  </a:lnTo>
                  <a:lnTo>
                    <a:pt x="1184" y="919"/>
                  </a:lnTo>
                  <a:lnTo>
                    <a:pt x="1165" y="911"/>
                  </a:lnTo>
                  <a:lnTo>
                    <a:pt x="1156" y="913"/>
                  </a:lnTo>
                  <a:lnTo>
                    <a:pt x="1142" y="905"/>
                  </a:lnTo>
                  <a:lnTo>
                    <a:pt x="1122" y="919"/>
                  </a:lnTo>
                  <a:lnTo>
                    <a:pt x="1093" y="928"/>
                  </a:lnTo>
                  <a:lnTo>
                    <a:pt x="1083" y="925"/>
                  </a:lnTo>
                  <a:lnTo>
                    <a:pt x="1065" y="922"/>
                  </a:lnTo>
                  <a:lnTo>
                    <a:pt x="1055" y="914"/>
                  </a:lnTo>
                  <a:lnTo>
                    <a:pt x="1025" y="898"/>
                  </a:lnTo>
                  <a:lnTo>
                    <a:pt x="1016" y="897"/>
                  </a:lnTo>
                  <a:lnTo>
                    <a:pt x="999" y="905"/>
                  </a:lnTo>
                  <a:lnTo>
                    <a:pt x="990" y="902"/>
                  </a:lnTo>
                  <a:lnTo>
                    <a:pt x="979" y="895"/>
                  </a:lnTo>
                  <a:lnTo>
                    <a:pt x="976" y="879"/>
                  </a:lnTo>
                  <a:lnTo>
                    <a:pt x="942" y="865"/>
                  </a:lnTo>
                  <a:lnTo>
                    <a:pt x="925" y="880"/>
                  </a:lnTo>
                  <a:lnTo>
                    <a:pt x="927" y="895"/>
                  </a:lnTo>
                  <a:lnTo>
                    <a:pt x="925" y="900"/>
                  </a:lnTo>
                  <a:lnTo>
                    <a:pt x="926" y="908"/>
                  </a:lnTo>
                  <a:lnTo>
                    <a:pt x="923" y="910"/>
                  </a:lnTo>
                  <a:lnTo>
                    <a:pt x="884" y="910"/>
                  </a:lnTo>
                  <a:lnTo>
                    <a:pt x="877" y="901"/>
                  </a:lnTo>
                  <a:lnTo>
                    <a:pt x="844" y="898"/>
                  </a:lnTo>
                  <a:lnTo>
                    <a:pt x="830" y="902"/>
                  </a:lnTo>
                  <a:lnTo>
                    <a:pt x="799" y="922"/>
                  </a:lnTo>
                  <a:lnTo>
                    <a:pt x="793" y="931"/>
                  </a:lnTo>
                  <a:lnTo>
                    <a:pt x="788" y="934"/>
                  </a:lnTo>
                  <a:lnTo>
                    <a:pt x="788" y="935"/>
                  </a:lnTo>
                  <a:lnTo>
                    <a:pt x="787" y="935"/>
                  </a:lnTo>
                  <a:lnTo>
                    <a:pt x="787" y="934"/>
                  </a:lnTo>
                  <a:lnTo>
                    <a:pt x="781" y="932"/>
                  </a:lnTo>
                  <a:lnTo>
                    <a:pt x="781" y="931"/>
                  </a:lnTo>
                  <a:lnTo>
                    <a:pt x="785" y="926"/>
                  </a:lnTo>
                  <a:lnTo>
                    <a:pt x="779" y="916"/>
                  </a:lnTo>
                  <a:lnTo>
                    <a:pt x="776" y="916"/>
                  </a:lnTo>
                  <a:lnTo>
                    <a:pt x="775" y="919"/>
                  </a:lnTo>
                  <a:lnTo>
                    <a:pt x="773" y="920"/>
                  </a:lnTo>
                  <a:lnTo>
                    <a:pt x="760" y="916"/>
                  </a:lnTo>
                  <a:lnTo>
                    <a:pt x="756" y="910"/>
                  </a:lnTo>
                  <a:lnTo>
                    <a:pt x="754" y="907"/>
                  </a:lnTo>
                  <a:lnTo>
                    <a:pt x="748" y="904"/>
                  </a:lnTo>
                  <a:lnTo>
                    <a:pt x="747" y="897"/>
                  </a:lnTo>
                  <a:lnTo>
                    <a:pt x="738" y="889"/>
                  </a:lnTo>
                  <a:lnTo>
                    <a:pt x="735" y="889"/>
                  </a:lnTo>
                  <a:lnTo>
                    <a:pt x="732" y="891"/>
                  </a:lnTo>
                  <a:lnTo>
                    <a:pt x="729" y="891"/>
                  </a:lnTo>
                  <a:lnTo>
                    <a:pt x="727" y="894"/>
                  </a:lnTo>
                  <a:lnTo>
                    <a:pt x="727" y="895"/>
                  </a:lnTo>
                  <a:lnTo>
                    <a:pt x="710" y="895"/>
                  </a:lnTo>
                  <a:lnTo>
                    <a:pt x="710" y="894"/>
                  </a:lnTo>
                  <a:lnTo>
                    <a:pt x="707" y="889"/>
                  </a:lnTo>
                  <a:lnTo>
                    <a:pt x="707" y="886"/>
                  </a:lnTo>
                  <a:lnTo>
                    <a:pt x="702" y="883"/>
                  </a:lnTo>
                  <a:lnTo>
                    <a:pt x="701" y="883"/>
                  </a:lnTo>
                  <a:lnTo>
                    <a:pt x="698" y="891"/>
                  </a:lnTo>
                  <a:lnTo>
                    <a:pt x="693" y="894"/>
                  </a:lnTo>
                  <a:lnTo>
                    <a:pt x="664" y="840"/>
                  </a:lnTo>
                  <a:lnTo>
                    <a:pt x="646" y="825"/>
                  </a:lnTo>
                  <a:lnTo>
                    <a:pt x="646" y="821"/>
                  </a:lnTo>
                  <a:lnTo>
                    <a:pt x="650" y="818"/>
                  </a:lnTo>
                  <a:lnTo>
                    <a:pt x="649" y="816"/>
                  </a:lnTo>
                  <a:lnTo>
                    <a:pt x="640" y="821"/>
                  </a:lnTo>
                  <a:lnTo>
                    <a:pt x="635" y="821"/>
                  </a:lnTo>
                  <a:lnTo>
                    <a:pt x="630" y="828"/>
                  </a:lnTo>
                  <a:lnTo>
                    <a:pt x="621" y="831"/>
                  </a:lnTo>
                  <a:lnTo>
                    <a:pt x="621" y="836"/>
                  </a:lnTo>
                  <a:lnTo>
                    <a:pt x="619" y="836"/>
                  </a:lnTo>
                  <a:lnTo>
                    <a:pt x="619" y="834"/>
                  </a:lnTo>
                  <a:lnTo>
                    <a:pt x="613" y="833"/>
                  </a:lnTo>
                  <a:lnTo>
                    <a:pt x="606" y="836"/>
                  </a:lnTo>
                  <a:lnTo>
                    <a:pt x="604" y="833"/>
                  </a:lnTo>
                  <a:lnTo>
                    <a:pt x="604" y="831"/>
                  </a:lnTo>
                  <a:lnTo>
                    <a:pt x="606" y="828"/>
                  </a:lnTo>
                  <a:lnTo>
                    <a:pt x="609" y="827"/>
                  </a:lnTo>
                  <a:lnTo>
                    <a:pt x="609" y="824"/>
                  </a:lnTo>
                  <a:lnTo>
                    <a:pt x="606" y="827"/>
                  </a:lnTo>
                  <a:lnTo>
                    <a:pt x="604" y="827"/>
                  </a:lnTo>
                  <a:lnTo>
                    <a:pt x="595" y="822"/>
                  </a:lnTo>
                  <a:lnTo>
                    <a:pt x="597" y="825"/>
                  </a:lnTo>
                  <a:lnTo>
                    <a:pt x="592" y="825"/>
                  </a:lnTo>
                  <a:lnTo>
                    <a:pt x="592" y="821"/>
                  </a:lnTo>
                  <a:lnTo>
                    <a:pt x="591" y="816"/>
                  </a:lnTo>
                  <a:lnTo>
                    <a:pt x="590" y="816"/>
                  </a:lnTo>
                  <a:lnTo>
                    <a:pt x="590" y="819"/>
                  </a:lnTo>
                  <a:lnTo>
                    <a:pt x="588" y="821"/>
                  </a:lnTo>
                  <a:lnTo>
                    <a:pt x="584" y="821"/>
                  </a:lnTo>
                  <a:lnTo>
                    <a:pt x="581" y="822"/>
                  </a:lnTo>
                  <a:lnTo>
                    <a:pt x="576" y="822"/>
                  </a:lnTo>
                  <a:lnTo>
                    <a:pt x="576" y="821"/>
                  </a:lnTo>
                  <a:lnTo>
                    <a:pt x="575" y="818"/>
                  </a:lnTo>
                  <a:lnTo>
                    <a:pt x="578" y="814"/>
                  </a:lnTo>
                  <a:lnTo>
                    <a:pt x="578" y="809"/>
                  </a:lnTo>
                  <a:lnTo>
                    <a:pt x="575" y="808"/>
                  </a:lnTo>
                  <a:lnTo>
                    <a:pt x="575" y="806"/>
                  </a:lnTo>
                  <a:lnTo>
                    <a:pt x="573" y="797"/>
                  </a:lnTo>
                  <a:lnTo>
                    <a:pt x="570" y="796"/>
                  </a:lnTo>
                  <a:lnTo>
                    <a:pt x="564" y="799"/>
                  </a:lnTo>
                  <a:lnTo>
                    <a:pt x="563" y="799"/>
                  </a:lnTo>
                  <a:lnTo>
                    <a:pt x="557" y="794"/>
                  </a:lnTo>
                  <a:lnTo>
                    <a:pt x="548" y="793"/>
                  </a:lnTo>
                  <a:lnTo>
                    <a:pt x="544" y="797"/>
                  </a:lnTo>
                  <a:lnTo>
                    <a:pt x="539" y="797"/>
                  </a:lnTo>
                  <a:lnTo>
                    <a:pt x="539" y="803"/>
                  </a:lnTo>
                  <a:lnTo>
                    <a:pt x="538" y="803"/>
                  </a:lnTo>
                  <a:lnTo>
                    <a:pt x="509" y="811"/>
                  </a:lnTo>
                  <a:lnTo>
                    <a:pt x="501" y="812"/>
                  </a:lnTo>
                  <a:lnTo>
                    <a:pt x="498" y="816"/>
                  </a:lnTo>
                  <a:lnTo>
                    <a:pt x="490" y="816"/>
                  </a:lnTo>
                  <a:lnTo>
                    <a:pt x="486" y="819"/>
                  </a:lnTo>
                  <a:lnTo>
                    <a:pt x="484" y="821"/>
                  </a:lnTo>
                  <a:lnTo>
                    <a:pt x="478" y="819"/>
                  </a:lnTo>
                  <a:lnTo>
                    <a:pt x="472" y="824"/>
                  </a:lnTo>
                  <a:lnTo>
                    <a:pt x="466" y="824"/>
                  </a:lnTo>
                  <a:lnTo>
                    <a:pt x="465" y="827"/>
                  </a:lnTo>
                  <a:lnTo>
                    <a:pt x="464" y="827"/>
                  </a:lnTo>
                  <a:lnTo>
                    <a:pt x="462" y="825"/>
                  </a:lnTo>
                  <a:lnTo>
                    <a:pt x="452" y="825"/>
                  </a:lnTo>
                  <a:lnTo>
                    <a:pt x="450" y="824"/>
                  </a:lnTo>
                  <a:lnTo>
                    <a:pt x="446" y="825"/>
                  </a:lnTo>
                  <a:lnTo>
                    <a:pt x="447" y="827"/>
                  </a:lnTo>
                  <a:lnTo>
                    <a:pt x="447" y="828"/>
                  </a:lnTo>
                  <a:lnTo>
                    <a:pt x="446" y="833"/>
                  </a:lnTo>
                  <a:lnTo>
                    <a:pt x="449" y="831"/>
                  </a:lnTo>
                  <a:lnTo>
                    <a:pt x="450" y="831"/>
                  </a:lnTo>
                  <a:lnTo>
                    <a:pt x="452" y="833"/>
                  </a:lnTo>
                  <a:lnTo>
                    <a:pt x="452" y="834"/>
                  </a:lnTo>
                  <a:lnTo>
                    <a:pt x="447" y="836"/>
                  </a:lnTo>
                  <a:lnTo>
                    <a:pt x="447" y="839"/>
                  </a:lnTo>
                  <a:lnTo>
                    <a:pt x="455" y="840"/>
                  </a:lnTo>
                  <a:lnTo>
                    <a:pt x="461" y="843"/>
                  </a:lnTo>
                  <a:lnTo>
                    <a:pt x="461" y="845"/>
                  </a:lnTo>
                  <a:lnTo>
                    <a:pt x="458" y="846"/>
                  </a:lnTo>
                  <a:lnTo>
                    <a:pt x="446" y="848"/>
                  </a:lnTo>
                  <a:lnTo>
                    <a:pt x="441" y="852"/>
                  </a:lnTo>
                  <a:lnTo>
                    <a:pt x="446" y="857"/>
                  </a:lnTo>
                  <a:lnTo>
                    <a:pt x="446" y="858"/>
                  </a:lnTo>
                  <a:lnTo>
                    <a:pt x="444" y="861"/>
                  </a:lnTo>
                  <a:lnTo>
                    <a:pt x="444" y="862"/>
                  </a:lnTo>
                  <a:lnTo>
                    <a:pt x="432" y="868"/>
                  </a:lnTo>
                  <a:lnTo>
                    <a:pt x="435" y="870"/>
                  </a:lnTo>
                  <a:lnTo>
                    <a:pt x="437" y="873"/>
                  </a:lnTo>
                  <a:lnTo>
                    <a:pt x="441" y="874"/>
                  </a:lnTo>
                  <a:lnTo>
                    <a:pt x="443" y="874"/>
                  </a:lnTo>
                  <a:lnTo>
                    <a:pt x="444" y="879"/>
                  </a:lnTo>
                  <a:lnTo>
                    <a:pt x="453" y="880"/>
                  </a:lnTo>
                  <a:lnTo>
                    <a:pt x="453" y="882"/>
                  </a:lnTo>
                  <a:lnTo>
                    <a:pt x="450" y="892"/>
                  </a:lnTo>
                  <a:lnTo>
                    <a:pt x="450" y="894"/>
                  </a:lnTo>
                  <a:lnTo>
                    <a:pt x="449" y="894"/>
                  </a:lnTo>
                  <a:lnTo>
                    <a:pt x="438" y="897"/>
                  </a:lnTo>
                  <a:lnTo>
                    <a:pt x="432" y="892"/>
                  </a:lnTo>
                  <a:lnTo>
                    <a:pt x="428" y="898"/>
                  </a:lnTo>
                  <a:lnTo>
                    <a:pt x="424" y="898"/>
                  </a:lnTo>
                  <a:lnTo>
                    <a:pt x="422" y="897"/>
                  </a:lnTo>
                  <a:lnTo>
                    <a:pt x="415" y="897"/>
                  </a:lnTo>
                  <a:lnTo>
                    <a:pt x="415" y="895"/>
                  </a:lnTo>
                  <a:lnTo>
                    <a:pt x="410" y="888"/>
                  </a:lnTo>
                  <a:lnTo>
                    <a:pt x="409" y="886"/>
                  </a:lnTo>
                  <a:lnTo>
                    <a:pt x="403" y="888"/>
                  </a:lnTo>
                  <a:lnTo>
                    <a:pt x="398" y="891"/>
                  </a:lnTo>
                  <a:lnTo>
                    <a:pt x="394" y="888"/>
                  </a:lnTo>
                  <a:lnTo>
                    <a:pt x="389" y="888"/>
                  </a:lnTo>
                  <a:lnTo>
                    <a:pt x="389" y="889"/>
                  </a:lnTo>
                  <a:lnTo>
                    <a:pt x="388" y="891"/>
                  </a:lnTo>
                  <a:lnTo>
                    <a:pt x="386" y="889"/>
                  </a:lnTo>
                  <a:lnTo>
                    <a:pt x="385" y="889"/>
                  </a:lnTo>
                  <a:lnTo>
                    <a:pt x="376" y="897"/>
                  </a:lnTo>
                  <a:lnTo>
                    <a:pt x="375" y="897"/>
                  </a:lnTo>
                  <a:lnTo>
                    <a:pt x="367" y="894"/>
                  </a:lnTo>
                  <a:lnTo>
                    <a:pt x="363" y="888"/>
                  </a:lnTo>
                  <a:lnTo>
                    <a:pt x="363" y="897"/>
                  </a:lnTo>
                  <a:lnTo>
                    <a:pt x="361" y="897"/>
                  </a:lnTo>
                  <a:lnTo>
                    <a:pt x="360" y="898"/>
                  </a:lnTo>
                  <a:lnTo>
                    <a:pt x="358" y="892"/>
                  </a:lnTo>
                  <a:lnTo>
                    <a:pt x="346" y="879"/>
                  </a:lnTo>
                  <a:lnTo>
                    <a:pt x="333" y="879"/>
                  </a:lnTo>
                  <a:lnTo>
                    <a:pt x="333" y="877"/>
                  </a:lnTo>
                  <a:lnTo>
                    <a:pt x="330" y="873"/>
                  </a:lnTo>
                  <a:lnTo>
                    <a:pt x="326" y="873"/>
                  </a:lnTo>
                  <a:lnTo>
                    <a:pt x="323" y="879"/>
                  </a:lnTo>
                  <a:lnTo>
                    <a:pt x="321" y="877"/>
                  </a:lnTo>
                  <a:lnTo>
                    <a:pt x="320" y="877"/>
                  </a:lnTo>
                  <a:lnTo>
                    <a:pt x="318" y="879"/>
                  </a:lnTo>
                  <a:lnTo>
                    <a:pt x="317" y="877"/>
                  </a:lnTo>
                  <a:lnTo>
                    <a:pt x="317" y="874"/>
                  </a:lnTo>
                  <a:lnTo>
                    <a:pt x="309" y="876"/>
                  </a:lnTo>
                  <a:lnTo>
                    <a:pt x="303" y="882"/>
                  </a:lnTo>
                  <a:lnTo>
                    <a:pt x="293" y="886"/>
                  </a:lnTo>
                  <a:lnTo>
                    <a:pt x="292" y="892"/>
                  </a:lnTo>
                  <a:lnTo>
                    <a:pt x="286" y="897"/>
                  </a:lnTo>
                  <a:lnTo>
                    <a:pt x="283" y="897"/>
                  </a:lnTo>
                  <a:lnTo>
                    <a:pt x="286" y="908"/>
                  </a:lnTo>
                  <a:lnTo>
                    <a:pt x="280" y="914"/>
                  </a:lnTo>
                  <a:lnTo>
                    <a:pt x="280" y="913"/>
                  </a:lnTo>
                  <a:lnTo>
                    <a:pt x="268" y="900"/>
                  </a:lnTo>
                  <a:lnTo>
                    <a:pt x="266" y="907"/>
                  </a:lnTo>
                  <a:lnTo>
                    <a:pt x="266" y="908"/>
                  </a:lnTo>
                  <a:lnTo>
                    <a:pt x="262" y="911"/>
                  </a:lnTo>
                  <a:lnTo>
                    <a:pt x="260" y="922"/>
                  </a:lnTo>
                  <a:lnTo>
                    <a:pt x="263" y="925"/>
                  </a:lnTo>
                  <a:lnTo>
                    <a:pt x="263" y="926"/>
                  </a:lnTo>
                  <a:lnTo>
                    <a:pt x="259" y="931"/>
                  </a:lnTo>
                  <a:lnTo>
                    <a:pt x="256" y="940"/>
                  </a:lnTo>
                  <a:lnTo>
                    <a:pt x="262" y="941"/>
                  </a:lnTo>
                  <a:lnTo>
                    <a:pt x="262" y="943"/>
                  </a:lnTo>
                  <a:lnTo>
                    <a:pt x="265" y="951"/>
                  </a:lnTo>
                  <a:lnTo>
                    <a:pt x="277" y="951"/>
                  </a:lnTo>
                  <a:lnTo>
                    <a:pt x="277" y="953"/>
                  </a:lnTo>
                  <a:lnTo>
                    <a:pt x="278" y="953"/>
                  </a:lnTo>
                  <a:lnTo>
                    <a:pt x="283" y="959"/>
                  </a:lnTo>
                  <a:lnTo>
                    <a:pt x="287" y="972"/>
                  </a:lnTo>
                  <a:lnTo>
                    <a:pt x="280" y="972"/>
                  </a:lnTo>
                  <a:lnTo>
                    <a:pt x="280" y="975"/>
                  </a:lnTo>
                  <a:lnTo>
                    <a:pt x="281" y="975"/>
                  </a:lnTo>
                  <a:lnTo>
                    <a:pt x="287" y="980"/>
                  </a:lnTo>
                  <a:lnTo>
                    <a:pt x="287" y="981"/>
                  </a:lnTo>
                  <a:lnTo>
                    <a:pt x="281" y="983"/>
                  </a:lnTo>
                  <a:lnTo>
                    <a:pt x="275" y="990"/>
                  </a:lnTo>
                  <a:lnTo>
                    <a:pt x="274" y="990"/>
                  </a:lnTo>
                  <a:lnTo>
                    <a:pt x="271" y="983"/>
                  </a:lnTo>
                  <a:lnTo>
                    <a:pt x="268" y="981"/>
                  </a:lnTo>
                  <a:lnTo>
                    <a:pt x="269" y="984"/>
                  </a:lnTo>
                  <a:lnTo>
                    <a:pt x="268" y="993"/>
                  </a:lnTo>
                  <a:lnTo>
                    <a:pt x="265" y="993"/>
                  </a:lnTo>
                  <a:lnTo>
                    <a:pt x="265" y="1000"/>
                  </a:lnTo>
                  <a:lnTo>
                    <a:pt x="256" y="1014"/>
                  </a:lnTo>
                  <a:lnTo>
                    <a:pt x="262" y="1020"/>
                  </a:lnTo>
                  <a:lnTo>
                    <a:pt x="266" y="1028"/>
                  </a:lnTo>
                  <a:lnTo>
                    <a:pt x="266" y="1026"/>
                  </a:lnTo>
                  <a:lnTo>
                    <a:pt x="268" y="1026"/>
                  </a:lnTo>
                  <a:lnTo>
                    <a:pt x="268" y="1040"/>
                  </a:lnTo>
                  <a:lnTo>
                    <a:pt x="278" y="1060"/>
                  </a:lnTo>
                  <a:lnTo>
                    <a:pt x="280" y="1061"/>
                  </a:lnTo>
                  <a:lnTo>
                    <a:pt x="280" y="1063"/>
                  </a:lnTo>
                  <a:lnTo>
                    <a:pt x="272" y="1071"/>
                  </a:lnTo>
                  <a:lnTo>
                    <a:pt x="263" y="1071"/>
                  </a:lnTo>
                  <a:lnTo>
                    <a:pt x="262" y="1066"/>
                  </a:lnTo>
                  <a:lnTo>
                    <a:pt x="253" y="1060"/>
                  </a:lnTo>
                  <a:lnTo>
                    <a:pt x="244" y="1055"/>
                  </a:lnTo>
                  <a:lnTo>
                    <a:pt x="243" y="1055"/>
                  </a:lnTo>
                  <a:lnTo>
                    <a:pt x="243" y="1049"/>
                  </a:lnTo>
                  <a:lnTo>
                    <a:pt x="237" y="1046"/>
                  </a:lnTo>
                  <a:lnTo>
                    <a:pt x="231" y="1045"/>
                  </a:lnTo>
                  <a:lnTo>
                    <a:pt x="222" y="1048"/>
                  </a:lnTo>
                  <a:lnTo>
                    <a:pt x="220" y="1048"/>
                  </a:lnTo>
                  <a:lnTo>
                    <a:pt x="207" y="1037"/>
                  </a:lnTo>
                  <a:lnTo>
                    <a:pt x="192" y="1037"/>
                  </a:lnTo>
                  <a:lnTo>
                    <a:pt x="177" y="1031"/>
                  </a:lnTo>
                  <a:lnTo>
                    <a:pt x="174" y="1031"/>
                  </a:lnTo>
                  <a:lnTo>
                    <a:pt x="170" y="1033"/>
                  </a:lnTo>
                  <a:lnTo>
                    <a:pt x="166" y="1033"/>
                  </a:lnTo>
                  <a:lnTo>
                    <a:pt x="152" y="1020"/>
                  </a:lnTo>
                  <a:lnTo>
                    <a:pt x="137" y="1011"/>
                  </a:lnTo>
                  <a:lnTo>
                    <a:pt x="136" y="1011"/>
                  </a:lnTo>
                  <a:lnTo>
                    <a:pt x="134" y="1012"/>
                  </a:lnTo>
                  <a:lnTo>
                    <a:pt x="124" y="1002"/>
                  </a:lnTo>
                  <a:lnTo>
                    <a:pt x="124" y="1000"/>
                  </a:lnTo>
                  <a:lnTo>
                    <a:pt x="127" y="997"/>
                  </a:lnTo>
                  <a:lnTo>
                    <a:pt x="134" y="997"/>
                  </a:lnTo>
                  <a:lnTo>
                    <a:pt x="142" y="986"/>
                  </a:lnTo>
                  <a:lnTo>
                    <a:pt x="148" y="984"/>
                  </a:lnTo>
                  <a:lnTo>
                    <a:pt x="139" y="977"/>
                  </a:lnTo>
                  <a:lnTo>
                    <a:pt x="140" y="974"/>
                  </a:lnTo>
                  <a:lnTo>
                    <a:pt x="148" y="972"/>
                  </a:lnTo>
                  <a:lnTo>
                    <a:pt x="148" y="971"/>
                  </a:lnTo>
                  <a:lnTo>
                    <a:pt x="160" y="966"/>
                  </a:lnTo>
                  <a:lnTo>
                    <a:pt x="158" y="965"/>
                  </a:lnTo>
                  <a:lnTo>
                    <a:pt x="148" y="966"/>
                  </a:lnTo>
                  <a:lnTo>
                    <a:pt x="146" y="966"/>
                  </a:lnTo>
                  <a:lnTo>
                    <a:pt x="146" y="959"/>
                  </a:lnTo>
                  <a:lnTo>
                    <a:pt x="148" y="954"/>
                  </a:lnTo>
                  <a:lnTo>
                    <a:pt x="152" y="953"/>
                  </a:lnTo>
                  <a:lnTo>
                    <a:pt x="155" y="948"/>
                  </a:lnTo>
                  <a:lnTo>
                    <a:pt x="157" y="948"/>
                  </a:lnTo>
                  <a:lnTo>
                    <a:pt x="160" y="951"/>
                  </a:lnTo>
                  <a:lnTo>
                    <a:pt x="166" y="951"/>
                  </a:lnTo>
                  <a:lnTo>
                    <a:pt x="169" y="943"/>
                  </a:lnTo>
                  <a:lnTo>
                    <a:pt x="167" y="941"/>
                  </a:lnTo>
                  <a:lnTo>
                    <a:pt x="166" y="941"/>
                  </a:lnTo>
                  <a:lnTo>
                    <a:pt x="166" y="934"/>
                  </a:lnTo>
                  <a:lnTo>
                    <a:pt x="170" y="931"/>
                  </a:lnTo>
                  <a:lnTo>
                    <a:pt x="166" y="928"/>
                  </a:lnTo>
                  <a:lnTo>
                    <a:pt x="170" y="926"/>
                  </a:lnTo>
                  <a:lnTo>
                    <a:pt x="172" y="923"/>
                  </a:lnTo>
                  <a:lnTo>
                    <a:pt x="170" y="917"/>
                  </a:lnTo>
                  <a:lnTo>
                    <a:pt x="158" y="911"/>
                  </a:lnTo>
                  <a:lnTo>
                    <a:pt x="154" y="911"/>
                  </a:lnTo>
                  <a:lnTo>
                    <a:pt x="148" y="908"/>
                  </a:lnTo>
                  <a:lnTo>
                    <a:pt x="145" y="910"/>
                  </a:lnTo>
                  <a:lnTo>
                    <a:pt x="143" y="910"/>
                  </a:lnTo>
                  <a:lnTo>
                    <a:pt x="143" y="908"/>
                  </a:lnTo>
                  <a:lnTo>
                    <a:pt x="134" y="900"/>
                  </a:lnTo>
                  <a:lnTo>
                    <a:pt x="126" y="902"/>
                  </a:lnTo>
                  <a:lnTo>
                    <a:pt x="123" y="902"/>
                  </a:lnTo>
                  <a:lnTo>
                    <a:pt x="120" y="900"/>
                  </a:lnTo>
                  <a:lnTo>
                    <a:pt x="112" y="900"/>
                  </a:lnTo>
                  <a:lnTo>
                    <a:pt x="109" y="897"/>
                  </a:lnTo>
                  <a:lnTo>
                    <a:pt x="109" y="888"/>
                  </a:lnTo>
                  <a:lnTo>
                    <a:pt x="106" y="883"/>
                  </a:lnTo>
                  <a:lnTo>
                    <a:pt x="102" y="885"/>
                  </a:lnTo>
                  <a:lnTo>
                    <a:pt x="96" y="882"/>
                  </a:lnTo>
                  <a:lnTo>
                    <a:pt x="94" y="882"/>
                  </a:lnTo>
                  <a:lnTo>
                    <a:pt x="94" y="880"/>
                  </a:lnTo>
                  <a:lnTo>
                    <a:pt x="93" y="873"/>
                  </a:lnTo>
                  <a:lnTo>
                    <a:pt x="96" y="871"/>
                  </a:lnTo>
                  <a:lnTo>
                    <a:pt x="96" y="870"/>
                  </a:lnTo>
                  <a:lnTo>
                    <a:pt x="89" y="859"/>
                  </a:lnTo>
                  <a:lnTo>
                    <a:pt x="72" y="861"/>
                  </a:lnTo>
                  <a:lnTo>
                    <a:pt x="66" y="867"/>
                  </a:lnTo>
                  <a:lnTo>
                    <a:pt x="63" y="865"/>
                  </a:lnTo>
                  <a:lnTo>
                    <a:pt x="63" y="864"/>
                  </a:lnTo>
                  <a:lnTo>
                    <a:pt x="62" y="864"/>
                  </a:lnTo>
                  <a:lnTo>
                    <a:pt x="59" y="848"/>
                  </a:lnTo>
                  <a:lnTo>
                    <a:pt x="56" y="843"/>
                  </a:lnTo>
                  <a:lnTo>
                    <a:pt x="56" y="842"/>
                  </a:lnTo>
                  <a:lnTo>
                    <a:pt x="59" y="839"/>
                  </a:lnTo>
                  <a:lnTo>
                    <a:pt x="60" y="839"/>
                  </a:lnTo>
                  <a:lnTo>
                    <a:pt x="68" y="842"/>
                  </a:lnTo>
                  <a:lnTo>
                    <a:pt x="75" y="836"/>
                  </a:lnTo>
                  <a:lnTo>
                    <a:pt x="75" y="833"/>
                  </a:lnTo>
                  <a:lnTo>
                    <a:pt x="74" y="833"/>
                  </a:lnTo>
                  <a:lnTo>
                    <a:pt x="72" y="830"/>
                  </a:lnTo>
                  <a:lnTo>
                    <a:pt x="69" y="828"/>
                  </a:lnTo>
                  <a:lnTo>
                    <a:pt x="63" y="828"/>
                  </a:lnTo>
                  <a:lnTo>
                    <a:pt x="62" y="824"/>
                  </a:lnTo>
                  <a:lnTo>
                    <a:pt x="57" y="819"/>
                  </a:lnTo>
                  <a:lnTo>
                    <a:pt x="50" y="806"/>
                  </a:lnTo>
                  <a:lnTo>
                    <a:pt x="53" y="799"/>
                  </a:lnTo>
                  <a:lnTo>
                    <a:pt x="50" y="794"/>
                  </a:lnTo>
                  <a:lnTo>
                    <a:pt x="51" y="788"/>
                  </a:lnTo>
                  <a:lnTo>
                    <a:pt x="43" y="782"/>
                  </a:lnTo>
                  <a:lnTo>
                    <a:pt x="32" y="785"/>
                  </a:lnTo>
                  <a:lnTo>
                    <a:pt x="31" y="785"/>
                  </a:lnTo>
                  <a:lnTo>
                    <a:pt x="32" y="781"/>
                  </a:lnTo>
                  <a:lnTo>
                    <a:pt x="29" y="779"/>
                  </a:lnTo>
                  <a:lnTo>
                    <a:pt x="17" y="778"/>
                  </a:lnTo>
                  <a:lnTo>
                    <a:pt x="17" y="776"/>
                  </a:lnTo>
                  <a:lnTo>
                    <a:pt x="16" y="775"/>
                  </a:lnTo>
                  <a:lnTo>
                    <a:pt x="16" y="766"/>
                  </a:lnTo>
                  <a:lnTo>
                    <a:pt x="11" y="759"/>
                  </a:lnTo>
                  <a:lnTo>
                    <a:pt x="8" y="757"/>
                  </a:lnTo>
                  <a:lnTo>
                    <a:pt x="10" y="748"/>
                  </a:lnTo>
                  <a:lnTo>
                    <a:pt x="6" y="742"/>
                  </a:lnTo>
                  <a:lnTo>
                    <a:pt x="6" y="739"/>
                  </a:lnTo>
                  <a:lnTo>
                    <a:pt x="10" y="733"/>
                  </a:lnTo>
                  <a:lnTo>
                    <a:pt x="7" y="728"/>
                  </a:lnTo>
                  <a:lnTo>
                    <a:pt x="6" y="723"/>
                  </a:lnTo>
                  <a:lnTo>
                    <a:pt x="4" y="723"/>
                  </a:lnTo>
                  <a:lnTo>
                    <a:pt x="3" y="722"/>
                  </a:lnTo>
                  <a:lnTo>
                    <a:pt x="0" y="708"/>
                  </a:lnTo>
                  <a:lnTo>
                    <a:pt x="10" y="704"/>
                  </a:lnTo>
                  <a:lnTo>
                    <a:pt x="16" y="696"/>
                  </a:lnTo>
                  <a:lnTo>
                    <a:pt x="14" y="689"/>
                  </a:lnTo>
                  <a:lnTo>
                    <a:pt x="26" y="680"/>
                  </a:lnTo>
                  <a:lnTo>
                    <a:pt x="40" y="682"/>
                  </a:lnTo>
                  <a:lnTo>
                    <a:pt x="35" y="677"/>
                  </a:lnTo>
                  <a:lnTo>
                    <a:pt x="19" y="673"/>
                  </a:lnTo>
                  <a:lnTo>
                    <a:pt x="17" y="673"/>
                  </a:lnTo>
                  <a:lnTo>
                    <a:pt x="16" y="667"/>
                  </a:lnTo>
                  <a:lnTo>
                    <a:pt x="16" y="665"/>
                  </a:lnTo>
                  <a:lnTo>
                    <a:pt x="17" y="665"/>
                  </a:lnTo>
                  <a:lnTo>
                    <a:pt x="19" y="667"/>
                  </a:lnTo>
                  <a:lnTo>
                    <a:pt x="19" y="662"/>
                  </a:lnTo>
                  <a:lnTo>
                    <a:pt x="7" y="665"/>
                  </a:lnTo>
                  <a:lnTo>
                    <a:pt x="6" y="664"/>
                  </a:lnTo>
                  <a:lnTo>
                    <a:pt x="7" y="664"/>
                  </a:lnTo>
                  <a:lnTo>
                    <a:pt x="37" y="636"/>
                  </a:lnTo>
                  <a:lnTo>
                    <a:pt x="56" y="606"/>
                  </a:lnTo>
                  <a:lnTo>
                    <a:pt x="56" y="597"/>
                  </a:lnTo>
                  <a:lnTo>
                    <a:pt x="48" y="587"/>
                  </a:lnTo>
                  <a:lnTo>
                    <a:pt x="41" y="578"/>
                  </a:lnTo>
                  <a:lnTo>
                    <a:pt x="46" y="561"/>
                  </a:lnTo>
                  <a:lnTo>
                    <a:pt x="40" y="554"/>
                  </a:lnTo>
                  <a:lnTo>
                    <a:pt x="38" y="545"/>
                  </a:lnTo>
                  <a:lnTo>
                    <a:pt x="35" y="544"/>
                  </a:lnTo>
                  <a:lnTo>
                    <a:pt x="35" y="530"/>
                  </a:lnTo>
                  <a:lnTo>
                    <a:pt x="40" y="514"/>
                  </a:lnTo>
                  <a:lnTo>
                    <a:pt x="28" y="477"/>
                  </a:lnTo>
                  <a:lnTo>
                    <a:pt x="38" y="455"/>
                  </a:lnTo>
                  <a:lnTo>
                    <a:pt x="29" y="437"/>
                  </a:lnTo>
                  <a:lnTo>
                    <a:pt x="19" y="428"/>
                  </a:lnTo>
                  <a:lnTo>
                    <a:pt x="19" y="427"/>
                  </a:lnTo>
                  <a:lnTo>
                    <a:pt x="20" y="412"/>
                  </a:lnTo>
                  <a:lnTo>
                    <a:pt x="19" y="410"/>
                  </a:lnTo>
                  <a:lnTo>
                    <a:pt x="19" y="409"/>
                  </a:lnTo>
                  <a:lnTo>
                    <a:pt x="38" y="390"/>
                  </a:lnTo>
                  <a:lnTo>
                    <a:pt x="41" y="382"/>
                  </a:lnTo>
                  <a:lnTo>
                    <a:pt x="41" y="381"/>
                  </a:lnTo>
                  <a:lnTo>
                    <a:pt x="48" y="384"/>
                  </a:lnTo>
                  <a:lnTo>
                    <a:pt x="48" y="376"/>
                  </a:lnTo>
                  <a:lnTo>
                    <a:pt x="50" y="376"/>
                  </a:lnTo>
                  <a:lnTo>
                    <a:pt x="59" y="381"/>
                  </a:lnTo>
                  <a:lnTo>
                    <a:pt x="60" y="376"/>
                  </a:lnTo>
                  <a:lnTo>
                    <a:pt x="62" y="376"/>
                  </a:lnTo>
                  <a:lnTo>
                    <a:pt x="62" y="370"/>
                  </a:lnTo>
                  <a:lnTo>
                    <a:pt x="63" y="370"/>
                  </a:lnTo>
                  <a:lnTo>
                    <a:pt x="78" y="378"/>
                  </a:lnTo>
                  <a:lnTo>
                    <a:pt x="80" y="378"/>
                  </a:lnTo>
                  <a:lnTo>
                    <a:pt x="80" y="379"/>
                  </a:lnTo>
                  <a:lnTo>
                    <a:pt x="77" y="385"/>
                  </a:lnTo>
                  <a:lnTo>
                    <a:pt x="75" y="385"/>
                  </a:lnTo>
                  <a:lnTo>
                    <a:pt x="66" y="379"/>
                  </a:lnTo>
                  <a:lnTo>
                    <a:pt x="65" y="385"/>
                  </a:lnTo>
                  <a:lnTo>
                    <a:pt x="77" y="390"/>
                  </a:lnTo>
                  <a:lnTo>
                    <a:pt x="77" y="392"/>
                  </a:lnTo>
                  <a:lnTo>
                    <a:pt x="80" y="391"/>
                  </a:lnTo>
                  <a:lnTo>
                    <a:pt x="83" y="397"/>
                  </a:lnTo>
                  <a:lnTo>
                    <a:pt x="115" y="398"/>
                  </a:lnTo>
                  <a:lnTo>
                    <a:pt x="149" y="431"/>
                  </a:lnTo>
                  <a:lnTo>
                    <a:pt x="169" y="437"/>
                  </a:lnTo>
                  <a:lnTo>
                    <a:pt x="182" y="453"/>
                  </a:lnTo>
                  <a:lnTo>
                    <a:pt x="183" y="468"/>
                  </a:lnTo>
                  <a:lnTo>
                    <a:pt x="188" y="470"/>
                  </a:lnTo>
                  <a:lnTo>
                    <a:pt x="188" y="471"/>
                  </a:lnTo>
                  <a:lnTo>
                    <a:pt x="185" y="483"/>
                  </a:lnTo>
                  <a:lnTo>
                    <a:pt x="170" y="499"/>
                  </a:lnTo>
                  <a:lnTo>
                    <a:pt x="154" y="505"/>
                  </a:lnTo>
                  <a:lnTo>
                    <a:pt x="96" y="492"/>
                  </a:lnTo>
                  <a:lnTo>
                    <a:pt x="96" y="490"/>
                  </a:lnTo>
                  <a:lnTo>
                    <a:pt x="94" y="486"/>
                  </a:lnTo>
                  <a:lnTo>
                    <a:pt x="84" y="484"/>
                  </a:lnTo>
                  <a:lnTo>
                    <a:pt x="83" y="484"/>
                  </a:lnTo>
                  <a:lnTo>
                    <a:pt x="69" y="471"/>
                  </a:lnTo>
                  <a:lnTo>
                    <a:pt x="65" y="474"/>
                  </a:lnTo>
                  <a:lnTo>
                    <a:pt x="102" y="511"/>
                  </a:lnTo>
                  <a:lnTo>
                    <a:pt x="102" y="513"/>
                  </a:lnTo>
                  <a:lnTo>
                    <a:pt x="100" y="526"/>
                  </a:lnTo>
                  <a:lnTo>
                    <a:pt x="100" y="527"/>
                  </a:lnTo>
                  <a:lnTo>
                    <a:pt x="96" y="530"/>
                  </a:lnTo>
                  <a:lnTo>
                    <a:pt x="102" y="544"/>
                  </a:lnTo>
                  <a:lnTo>
                    <a:pt x="103" y="551"/>
                  </a:lnTo>
                  <a:lnTo>
                    <a:pt x="100" y="557"/>
                  </a:lnTo>
                  <a:lnTo>
                    <a:pt x="112" y="559"/>
                  </a:lnTo>
                  <a:lnTo>
                    <a:pt x="120" y="569"/>
                  </a:lnTo>
                  <a:lnTo>
                    <a:pt x="136" y="576"/>
                  </a:lnTo>
                  <a:lnTo>
                    <a:pt x="145" y="573"/>
                  </a:lnTo>
                  <a:lnTo>
                    <a:pt x="140" y="557"/>
                  </a:lnTo>
                  <a:lnTo>
                    <a:pt x="134" y="560"/>
                  </a:lnTo>
                  <a:lnTo>
                    <a:pt x="133" y="560"/>
                  </a:lnTo>
                  <a:lnTo>
                    <a:pt x="124" y="550"/>
                  </a:lnTo>
                  <a:lnTo>
                    <a:pt x="123" y="544"/>
                  </a:lnTo>
                  <a:lnTo>
                    <a:pt x="123" y="542"/>
                  </a:lnTo>
                  <a:lnTo>
                    <a:pt x="129" y="533"/>
                  </a:lnTo>
                  <a:lnTo>
                    <a:pt x="148" y="544"/>
                  </a:lnTo>
                  <a:lnTo>
                    <a:pt x="148" y="545"/>
                  </a:lnTo>
                  <a:lnTo>
                    <a:pt x="145" y="547"/>
                  </a:lnTo>
                  <a:lnTo>
                    <a:pt x="145" y="550"/>
                  </a:lnTo>
                  <a:lnTo>
                    <a:pt x="149" y="545"/>
                  </a:lnTo>
                  <a:lnTo>
                    <a:pt x="179" y="556"/>
                  </a:lnTo>
                  <a:lnTo>
                    <a:pt x="167" y="530"/>
                  </a:lnTo>
                  <a:lnTo>
                    <a:pt x="166" y="520"/>
                  </a:lnTo>
                  <a:lnTo>
                    <a:pt x="167" y="520"/>
                  </a:lnTo>
                  <a:lnTo>
                    <a:pt x="188" y="505"/>
                  </a:lnTo>
                  <a:lnTo>
                    <a:pt x="198" y="490"/>
                  </a:lnTo>
                  <a:lnTo>
                    <a:pt x="200" y="490"/>
                  </a:lnTo>
                  <a:lnTo>
                    <a:pt x="216" y="499"/>
                  </a:lnTo>
                  <a:lnTo>
                    <a:pt x="216" y="501"/>
                  </a:lnTo>
                  <a:lnTo>
                    <a:pt x="215" y="505"/>
                  </a:lnTo>
                  <a:lnTo>
                    <a:pt x="217" y="504"/>
                  </a:lnTo>
                  <a:lnTo>
                    <a:pt x="219" y="504"/>
                  </a:lnTo>
                  <a:lnTo>
                    <a:pt x="222" y="508"/>
                  </a:lnTo>
                  <a:lnTo>
                    <a:pt x="222" y="499"/>
                  </a:lnTo>
                  <a:lnTo>
                    <a:pt x="228" y="477"/>
                  </a:lnTo>
                  <a:lnTo>
                    <a:pt x="217" y="465"/>
                  </a:lnTo>
                  <a:lnTo>
                    <a:pt x="222" y="450"/>
                  </a:lnTo>
                  <a:lnTo>
                    <a:pt x="222" y="431"/>
                  </a:lnTo>
                  <a:lnTo>
                    <a:pt x="212" y="418"/>
                  </a:lnTo>
                  <a:lnTo>
                    <a:pt x="244" y="424"/>
                  </a:lnTo>
                  <a:lnTo>
                    <a:pt x="253" y="434"/>
                  </a:lnTo>
                  <a:lnTo>
                    <a:pt x="256" y="447"/>
                  </a:lnTo>
                  <a:lnTo>
                    <a:pt x="256" y="449"/>
                  </a:lnTo>
                  <a:lnTo>
                    <a:pt x="240" y="452"/>
                  </a:lnTo>
                  <a:lnTo>
                    <a:pt x="235" y="461"/>
                  </a:lnTo>
                  <a:lnTo>
                    <a:pt x="247" y="480"/>
                  </a:lnTo>
                  <a:lnTo>
                    <a:pt x="255" y="480"/>
                  </a:lnTo>
                  <a:lnTo>
                    <a:pt x="256" y="486"/>
                  </a:lnTo>
                  <a:lnTo>
                    <a:pt x="268" y="475"/>
                  </a:lnTo>
                  <a:lnTo>
                    <a:pt x="268" y="470"/>
                  </a:lnTo>
                  <a:lnTo>
                    <a:pt x="272" y="456"/>
                  </a:lnTo>
                  <a:lnTo>
                    <a:pt x="320" y="425"/>
                  </a:lnTo>
                  <a:lnTo>
                    <a:pt x="327" y="424"/>
                  </a:lnTo>
                  <a:lnTo>
                    <a:pt x="330" y="428"/>
                  </a:lnTo>
                  <a:lnTo>
                    <a:pt x="333" y="424"/>
                  </a:lnTo>
                  <a:lnTo>
                    <a:pt x="330" y="422"/>
                  </a:lnTo>
                  <a:lnTo>
                    <a:pt x="330" y="421"/>
                  </a:lnTo>
                  <a:lnTo>
                    <a:pt x="335" y="415"/>
                  </a:lnTo>
                  <a:lnTo>
                    <a:pt x="336" y="415"/>
                  </a:lnTo>
                  <a:lnTo>
                    <a:pt x="339" y="419"/>
                  </a:lnTo>
                  <a:lnTo>
                    <a:pt x="340" y="419"/>
                  </a:lnTo>
                  <a:lnTo>
                    <a:pt x="340" y="415"/>
                  </a:lnTo>
                  <a:lnTo>
                    <a:pt x="342" y="410"/>
                  </a:lnTo>
                  <a:lnTo>
                    <a:pt x="343" y="410"/>
                  </a:lnTo>
                  <a:lnTo>
                    <a:pt x="358" y="406"/>
                  </a:lnTo>
                  <a:lnTo>
                    <a:pt x="358" y="407"/>
                  </a:lnTo>
                  <a:lnTo>
                    <a:pt x="349" y="412"/>
                  </a:lnTo>
                  <a:lnTo>
                    <a:pt x="352" y="413"/>
                  </a:lnTo>
                  <a:lnTo>
                    <a:pt x="354" y="413"/>
                  </a:lnTo>
                  <a:lnTo>
                    <a:pt x="354" y="415"/>
                  </a:lnTo>
                  <a:lnTo>
                    <a:pt x="351" y="421"/>
                  </a:lnTo>
                  <a:lnTo>
                    <a:pt x="352" y="430"/>
                  </a:lnTo>
                  <a:lnTo>
                    <a:pt x="360" y="435"/>
                  </a:lnTo>
                  <a:lnTo>
                    <a:pt x="370" y="421"/>
                  </a:lnTo>
                  <a:lnTo>
                    <a:pt x="382" y="421"/>
                  </a:lnTo>
                  <a:lnTo>
                    <a:pt x="391" y="422"/>
                  </a:lnTo>
                  <a:lnTo>
                    <a:pt x="394" y="422"/>
                  </a:lnTo>
                  <a:lnTo>
                    <a:pt x="415" y="404"/>
                  </a:lnTo>
                  <a:lnTo>
                    <a:pt x="424" y="416"/>
                  </a:lnTo>
                  <a:lnTo>
                    <a:pt x="419" y="425"/>
                  </a:lnTo>
                  <a:lnTo>
                    <a:pt x="424" y="430"/>
                  </a:lnTo>
                  <a:lnTo>
                    <a:pt x="428" y="425"/>
                  </a:lnTo>
                  <a:lnTo>
                    <a:pt x="428" y="416"/>
                  </a:lnTo>
                  <a:lnTo>
                    <a:pt x="440" y="409"/>
                  </a:lnTo>
                  <a:lnTo>
                    <a:pt x="441" y="401"/>
                  </a:lnTo>
                  <a:lnTo>
                    <a:pt x="434" y="384"/>
                  </a:lnTo>
                  <a:lnTo>
                    <a:pt x="434" y="382"/>
                  </a:lnTo>
                  <a:lnTo>
                    <a:pt x="444" y="375"/>
                  </a:lnTo>
                  <a:lnTo>
                    <a:pt x="446" y="375"/>
                  </a:lnTo>
                  <a:lnTo>
                    <a:pt x="484" y="385"/>
                  </a:lnTo>
                  <a:lnTo>
                    <a:pt x="523" y="412"/>
                  </a:lnTo>
                  <a:lnTo>
                    <a:pt x="538" y="432"/>
                  </a:lnTo>
                  <a:lnTo>
                    <a:pt x="548" y="412"/>
                  </a:lnTo>
                  <a:lnTo>
                    <a:pt x="541" y="406"/>
                  </a:lnTo>
                  <a:lnTo>
                    <a:pt x="535" y="392"/>
                  </a:lnTo>
                  <a:lnTo>
                    <a:pt x="535" y="388"/>
                  </a:lnTo>
                  <a:lnTo>
                    <a:pt x="520" y="384"/>
                  </a:lnTo>
                  <a:lnTo>
                    <a:pt x="518" y="384"/>
                  </a:lnTo>
                  <a:lnTo>
                    <a:pt x="520" y="367"/>
                  </a:lnTo>
                  <a:lnTo>
                    <a:pt x="524" y="364"/>
                  </a:lnTo>
                  <a:lnTo>
                    <a:pt x="523" y="358"/>
                  </a:lnTo>
                  <a:lnTo>
                    <a:pt x="526" y="342"/>
                  </a:lnTo>
                  <a:lnTo>
                    <a:pt x="515" y="338"/>
                  </a:lnTo>
                  <a:lnTo>
                    <a:pt x="520" y="329"/>
                  </a:lnTo>
                  <a:lnTo>
                    <a:pt x="515" y="329"/>
                  </a:lnTo>
                  <a:lnTo>
                    <a:pt x="515" y="327"/>
                  </a:lnTo>
                  <a:lnTo>
                    <a:pt x="518" y="318"/>
                  </a:lnTo>
                  <a:lnTo>
                    <a:pt x="539" y="296"/>
                  </a:lnTo>
                  <a:lnTo>
                    <a:pt x="545" y="262"/>
                  </a:lnTo>
                  <a:lnTo>
                    <a:pt x="551" y="249"/>
                  </a:lnTo>
                  <a:lnTo>
                    <a:pt x="551" y="247"/>
                  </a:lnTo>
                  <a:lnTo>
                    <a:pt x="552" y="247"/>
                  </a:lnTo>
                  <a:lnTo>
                    <a:pt x="594" y="256"/>
                  </a:lnTo>
                  <a:lnTo>
                    <a:pt x="594" y="258"/>
                  </a:lnTo>
                  <a:lnTo>
                    <a:pt x="595" y="280"/>
                  </a:lnTo>
                  <a:lnTo>
                    <a:pt x="584" y="309"/>
                  </a:lnTo>
                  <a:lnTo>
                    <a:pt x="594" y="321"/>
                  </a:lnTo>
                  <a:lnTo>
                    <a:pt x="597" y="335"/>
                  </a:lnTo>
                  <a:lnTo>
                    <a:pt x="597" y="352"/>
                  </a:lnTo>
                  <a:lnTo>
                    <a:pt x="592" y="358"/>
                  </a:lnTo>
                  <a:lnTo>
                    <a:pt x="595" y="375"/>
                  </a:lnTo>
                  <a:lnTo>
                    <a:pt x="592" y="404"/>
                  </a:lnTo>
                  <a:lnTo>
                    <a:pt x="606" y="421"/>
                  </a:lnTo>
                  <a:lnTo>
                    <a:pt x="606" y="427"/>
                  </a:lnTo>
                  <a:lnTo>
                    <a:pt x="601" y="437"/>
                  </a:lnTo>
                  <a:lnTo>
                    <a:pt x="601" y="452"/>
                  </a:lnTo>
                  <a:lnTo>
                    <a:pt x="600" y="452"/>
                  </a:lnTo>
                  <a:lnTo>
                    <a:pt x="595" y="456"/>
                  </a:lnTo>
                  <a:lnTo>
                    <a:pt x="590" y="471"/>
                  </a:lnTo>
                  <a:lnTo>
                    <a:pt x="581" y="471"/>
                  </a:lnTo>
                  <a:lnTo>
                    <a:pt x="587" y="475"/>
                  </a:lnTo>
                  <a:lnTo>
                    <a:pt x="587" y="477"/>
                  </a:lnTo>
                  <a:lnTo>
                    <a:pt x="585" y="477"/>
                  </a:lnTo>
                  <a:lnTo>
                    <a:pt x="567" y="486"/>
                  </a:lnTo>
                  <a:lnTo>
                    <a:pt x="561" y="484"/>
                  </a:lnTo>
                  <a:lnTo>
                    <a:pt x="563" y="496"/>
                  </a:lnTo>
                  <a:lnTo>
                    <a:pt x="587" y="499"/>
                  </a:lnTo>
                  <a:lnTo>
                    <a:pt x="590" y="499"/>
                  </a:lnTo>
                  <a:lnTo>
                    <a:pt x="590" y="489"/>
                  </a:lnTo>
                  <a:lnTo>
                    <a:pt x="591" y="489"/>
                  </a:lnTo>
                  <a:lnTo>
                    <a:pt x="604" y="480"/>
                  </a:lnTo>
                  <a:lnTo>
                    <a:pt x="610" y="464"/>
                  </a:lnTo>
                  <a:lnTo>
                    <a:pt x="621" y="452"/>
                  </a:lnTo>
                  <a:lnTo>
                    <a:pt x="621" y="441"/>
                  </a:lnTo>
                  <a:lnTo>
                    <a:pt x="615" y="428"/>
                  </a:lnTo>
                  <a:lnTo>
                    <a:pt x="619" y="415"/>
                  </a:lnTo>
                  <a:lnTo>
                    <a:pt x="646" y="406"/>
                  </a:lnTo>
                  <a:lnTo>
                    <a:pt x="646" y="407"/>
                  </a:lnTo>
                  <a:lnTo>
                    <a:pt x="649" y="416"/>
                  </a:lnTo>
                  <a:lnTo>
                    <a:pt x="656" y="424"/>
                  </a:lnTo>
                  <a:lnTo>
                    <a:pt x="656" y="425"/>
                  </a:lnTo>
                  <a:lnTo>
                    <a:pt x="655" y="431"/>
                  </a:lnTo>
                  <a:lnTo>
                    <a:pt x="658" y="434"/>
                  </a:lnTo>
                  <a:lnTo>
                    <a:pt x="658" y="435"/>
                  </a:lnTo>
                  <a:lnTo>
                    <a:pt x="655" y="450"/>
                  </a:lnTo>
                  <a:lnTo>
                    <a:pt x="661" y="456"/>
                  </a:lnTo>
                  <a:lnTo>
                    <a:pt x="673" y="456"/>
                  </a:lnTo>
                  <a:lnTo>
                    <a:pt x="658" y="450"/>
                  </a:lnTo>
                  <a:lnTo>
                    <a:pt x="658" y="437"/>
                  </a:lnTo>
                  <a:lnTo>
                    <a:pt x="659" y="437"/>
                  </a:lnTo>
                  <a:lnTo>
                    <a:pt x="665" y="431"/>
                  </a:lnTo>
                  <a:lnTo>
                    <a:pt x="659" y="412"/>
                  </a:lnTo>
                  <a:lnTo>
                    <a:pt x="638" y="398"/>
                  </a:lnTo>
                  <a:lnTo>
                    <a:pt x="627" y="404"/>
                  </a:lnTo>
                  <a:lnTo>
                    <a:pt x="609" y="400"/>
                  </a:lnTo>
                  <a:lnTo>
                    <a:pt x="609" y="398"/>
                  </a:lnTo>
                  <a:lnTo>
                    <a:pt x="610" y="388"/>
                  </a:lnTo>
                  <a:lnTo>
                    <a:pt x="606" y="375"/>
                  </a:lnTo>
                  <a:lnTo>
                    <a:pt x="615" y="342"/>
                  </a:lnTo>
                  <a:lnTo>
                    <a:pt x="598" y="308"/>
                  </a:lnTo>
                  <a:lnTo>
                    <a:pt x="603" y="295"/>
                  </a:lnTo>
                  <a:lnTo>
                    <a:pt x="625" y="277"/>
                  </a:lnTo>
                  <a:lnTo>
                    <a:pt x="621" y="253"/>
                  </a:lnTo>
                  <a:lnTo>
                    <a:pt x="621" y="252"/>
                  </a:lnTo>
                  <a:lnTo>
                    <a:pt x="622" y="252"/>
                  </a:lnTo>
                  <a:lnTo>
                    <a:pt x="625" y="250"/>
                  </a:lnTo>
                  <a:lnTo>
                    <a:pt x="627" y="250"/>
                  </a:lnTo>
                  <a:lnTo>
                    <a:pt x="627" y="252"/>
                  </a:lnTo>
                  <a:lnTo>
                    <a:pt x="634" y="265"/>
                  </a:lnTo>
                  <a:lnTo>
                    <a:pt x="634" y="266"/>
                  </a:lnTo>
                  <a:lnTo>
                    <a:pt x="633" y="266"/>
                  </a:lnTo>
                  <a:lnTo>
                    <a:pt x="634" y="277"/>
                  </a:lnTo>
                  <a:lnTo>
                    <a:pt x="628" y="289"/>
                  </a:lnTo>
                  <a:lnTo>
                    <a:pt x="633" y="305"/>
                  </a:lnTo>
                  <a:lnTo>
                    <a:pt x="633" y="312"/>
                  </a:lnTo>
                  <a:lnTo>
                    <a:pt x="630" y="312"/>
                  </a:lnTo>
                  <a:lnTo>
                    <a:pt x="631" y="315"/>
                  </a:lnTo>
                  <a:lnTo>
                    <a:pt x="670" y="330"/>
                  </a:lnTo>
                  <a:lnTo>
                    <a:pt x="664" y="315"/>
                  </a:lnTo>
                  <a:lnTo>
                    <a:pt x="659" y="318"/>
                  </a:lnTo>
                  <a:lnTo>
                    <a:pt x="659" y="320"/>
                  </a:lnTo>
                  <a:lnTo>
                    <a:pt x="658" y="320"/>
                  </a:lnTo>
                  <a:lnTo>
                    <a:pt x="658" y="318"/>
                  </a:lnTo>
                  <a:lnTo>
                    <a:pt x="641" y="306"/>
                  </a:lnTo>
                  <a:lnTo>
                    <a:pt x="638" y="293"/>
                  </a:lnTo>
                  <a:lnTo>
                    <a:pt x="643" y="290"/>
                  </a:lnTo>
                  <a:lnTo>
                    <a:pt x="644" y="290"/>
                  </a:lnTo>
                  <a:lnTo>
                    <a:pt x="649" y="301"/>
                  </a:lnTo>
                  <a:lnTo>
                    <a:pt x="655" y="299"/>
                  </a:lnTo>
                  <a:lnTo>
                    <a:pt x="664" y="290"/>
                  </a:lnTo>
                  <a:lnTo>
                    <a:pt x="656" y="287"/>
                  </a:lnTo>
                  <a:lnTo>
                    <a:pt x="656" y="281"/>
                  </a:lnTo>
                  <a:lnTo>
                    <a:pt x="658" y="281"/>
                  </a:lnTo>
                  <a:lnTo>
                    <a:pt x="681" y="272"/>
                  </a:lnTo>
                  <a:lnTo>
                    <a:pt x="702" y="286"/>
                  </a:lnTo>
                  <a:lnTo>
                    <a:pt x="711" y="299"/>
                  </a:lnTo>
                  <a:lnTo>
                    <a:pt x="733" y="302"/>
                  </a:lnTo>
                  <a:lnTo>
                    <a:pt x="735" y="302"/>
                  </a:lnTo>
                  <a:lnTo>
                    <a:pt x="732" y="315"/>
                  </a:lnTo>
                  <a:lnTo>
                    <a:pt x="721" y="323"/>
                  </a:lnTo>
                  <a:lnTo>
                    <a:pt x="723" y="341"/>
                  </a:lnTo>
                  <a:lnTo>
                    <a:pt x="721" y="358"/>
                  </a:lnTo>
                  <a:lnTo>
                    <a:pt x="732" y="364"/>
                  </a:lnTo>
                  <a:lnTo>
                    <a:pt x="732" y="357"/>
                  </a:lnTo>
                  <a:lnTo>
                    <a:pt x="738" y="354"/>
                  </a:lnTo>
                  <a:lnTo>
                    <a:pt x="738" y="344"/>
                  </a:lnTo>
                  <a:lnTo>
                    <a:pt x="733" y="320"/>
                  </a:lnTo>
                  <a:lnTo>
                    <a:pt x="738" y="305"/>
                  </a:lnTo>
                  <a:lnTo>
                    <a:pt x="736" y="296"/>
                  </a:lnTo>
                  <a:lnTo>
                    <a:pt x="720" y="287"/>
                  </a:lnTo>
                  <a:lnTo>
                    <a:pt x="720" y="286"/>
                  </a:lnTo>
                  <a:lnTo>
                    <a:pt x="721" y="281"/>
                  </a:lnTo>
                  <a:lnTo>
                    <a:pt x="720" y="280"/>
                  </a:lnTo>
                  <a:lnTo>
                    <a:pt x="704" y="269"/>
                  </a:lnTo>
                  <a:lnTo>
                    <a:pt x="702" y="269"/>
                  </a:lnTo>
                  <a:lnTo>
                    <a:pt x="701" y="258"/>
                  </a:lnTo>
                  <a:lnTo>
                    <a:pt x="704" y="250"/>
                  </a:lnTo>
                  <a:lnTo>
                    <a:pt x="695" y="238"/>
                  </a:lnTo>
                  <a:lnTo>
                    <a:pt x="693" y="238"/>
                  </a:lnTo>
                  <a:lnTo>
                    <a:pt x="693" y="237"/>
                  </a:lnTo>
                  <a:lnTo>
                    <a:pt x="695" y="237"/>
                  </a:lnTo>
                  <a:lnTo>
                    <a:pt x="698" y="234"/>
                  </a:lnTo>
                  <a:lnTo>
                    <a:pt x="695" y="232"/>
                  </a:lnTo>
                  <a:lnTo>
                    <a:pt x="695" y="231"/>
                  </a:lnTo>
                  <a:lnTo>
                    <a:pt x="701" y="225"/>
                  </a:lnTo>
                  <a:lnTo>
                    <a:pt x="698" y="220"/>
                  </a:lnTo>
                  <a:lnTo>
                    <a:pt x="698" y="219"/>
                  </a:lnTo>
                  <a:lnTo>
                    <a:pt x="704" y="218"/>
                  </a:lnTo>
                  <a:lnTo>
                    <a:pt x="776" y="204"/>
                  </a:lnTo>
                  <a:lnTo>
                    <a:pt x="776" y="197"/>
                  </a:lnTo>
                  <a:lnTo>
                    <a:pt x="779" y="197"/>
                  </a:lnTo>
                  <a:lnTo>
                    <a:pt x="776" y="188"/>
                  </a:lnTo>
                  <a:lnTo>
                    <a:pt x="766" y="182"/>
                  </a:lnTo>
                  <a:lnTo>
                    <a:pt x="776" y="173"/>
                  </a:lnTo>
                  <a:lnTo>
                    <a:pt x="764" y="167"/>
                  </a:lnTo>
                  <a:lnTo>
                    <a:pt x="767" y="158"/>
                  </a:lnTo>
                  <a:lnTo>
                    <a:pt x="778" y="166"/>
                  </a:lnTo>
                  <a:lnTo>
                    <a:pt x="782" y="152"/>
                  </a:lnTo>
                  <a:lnTo>
                    <a:pt x="784" y="152"/>
                  </a:lnTo>
                  <a:lnTo>
                    <a:pt x="790" y="149"/>
                  </a:lnTo>
                  <a:lnTo>
                    <a:pt x="781" y="145"/>
                  </a:lnTo>
                  <a:lnTo>
                    <a:pt x="794" y="145"/>
                  </a:lnTo>
                  <a:lnTo>
                    <a:pt x="810" y="126"/>
                  </a:lnTo>
                  <a:lnTo>
                    <a:pt x="864" y="106"/>
                  </a:lnTo>
                  <a:lnTo>
                    <a:pt x="865" y="102"/>
                  </a:lnTo>
                  <a:lnTo>
                    <a:pt x="858" y="102"/>
                  </a:lnTo>
                  <a:lnTo>
                    <a:pt x="858" y="94"/>
                  </a:lnTo>
                  <a:lnTo>
                    <a:pt x="862" y="94"/>
                  </a:lnTo>
                  <a:lnTo>
                    <a:pt x="871" y="93"/>
                  </a:lnTo>
                  <a:lnTo>
                    <a:pt x="883" y="92"/>
                  </a:lnTo>
                  <a:lnTo>
                    <a:pt x="892" y="90"/>
                  </a:lnTo>
                  <a:lnTo>
                    <a:pt x="896" y="90"/>
                  </a:lnTo>
                  <a:lnTo>
                    <a:pt x="901" y="93"/>
                  </a:lnTo>
                  <a:lnTo>
                    <a:pt x="896" y="103"/>
                  </a:lnTo>
                  <a:lnTo>
                    <a:pt x="904" y="97"/>
                  </a:lnTo>
                  <a:lnTo>
                    <a:pt x="908" y="99"/>
                  </a:lnTo>
                  <a:lnTo>
                    <a:pt x="908" y="100"/>
                  </a:lnTo>
                  <a:lnTo>
                    <a:pt x="907" y="105"/>
                  </a:lnTo>
                  <a:lnTo>
                    <a:pt x="922" y="99"/>
                  </a:lnTo>
                  <a:lnTo>
                    <a:pt x="920" y="94"/>
                  </a:lnTo>
                  <a:lnTo>
                    <a:pt x="920" y="93"/>
                  </a:lnTo>
                  <a:lnTo>
                    <a:pt x="933" y="84"/>
                  </a:lnTo>
                  <a:lnTo>
                    <a:pt x="933" y="83"/>
                  </a:lnTo>
                  <a:lnTo>
                    <a:pt x="935" y="83"/>
                  </a:lnTo>
                  <a:lnTo>
                    <a:pt x="935" y="84"/>
                  </a:lnTo>
                  <a:lnTo>
                    <a:pt x="947" y="96"/>
                  </a:lnTo>
                  <a:lnTo>
                    <a:pt x="948" y="86"/>
                  </a:lnTo>
                  <a:lnTo>
                    <a:pt x="936" y="74"/>
                  </a:lnTo>
                  <a:lnTo>
                    <a:pt x="936" y="72"/>
                  </a:lnTo>
                  <a:lnTo>
                    <a:pt x="966" y="68"/>
                  </a:lnTo>
                  <a:lnTo>
                    <a:pt x="966" y="60"/>
                  </a:lnTo>
                  <a:lnTo>
                    <a:pt x="967" y="62"/>
                  </a:lnTo>
                  <a:lnTo>
                    <a:pt x="962" y="53"/>
                  </a:lnTo>
                  <a:lnTo>
                    <a:pt x="967" y="37"/>
                  </a:lnTo>
                  <a:lnTo>
                    <a:pt x="990" y="6"/>
                  </a:lnTo>
                  <a:lnTo>
                    <a:pt x="100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6" name="Turkey">
              <a:extLst>
                <a:ext uri="{FF2B5EF4-FFF2-40B4-BE49-F238E27FC236}">
                  <a16:creationId xmlns:a16="http://schemas.microsoft.com/office/drawing/2014/main" id="{BEDDD529-A99C-F657-F9C2-E9AF469F9F78}"/>
                </a:ext>
              </a:extLst>
            </p:cNvPr>
            <p:cNvSpPr>
              <a:spLocks/>
            </p:cNvSpPr>
            <p:nvPr/>
          </p:nvSpPr>
          <p:spPr bwMode="auto">
            <a:xfrm>
              <a:off x="6440245" y="3495941"/>
              <a:ext cx="444537" cy="189742"/>
            </a:xfrm>
            <a:custGeom>
              <a:avLst/>
              <a:gdLst/>
              <a:ahLst/>
              <a:cxnLst/>
              <a:rect l="l" t="t" r="r" b="b"/>
              <a:pathLst>
                <a:path w="448081" h="191255">
                  <a:moveTo>
                    <a:pt x="176683" y="0"/>
                  </a:moveTo>
                  <a:lnTo>
                    <a:pt x="218576" y="0"/>
                  </a:lnTo>
                  <a:lnTo>
                    <a:pt x="229505" y="10929"/>
                  </a:lnTo>
                  <a:lnTo>
                    <a:pt x="240434" y="10929"/>
                  </a:lnTo>
                  <a:lnTo>
                    <a:pt x="249541" y="23679"/>
                  </a:lnTo>
                  <a:lnTo>
                    <a:pt x="285971" y="34608"/>
                  </a:lnTo>
                  <a:lnTo>
                    <a:pt x="316936" y="29144"/>
                  </a:lnTo>
                  <a:lnTo>
                    <a:pt x="340615" y="32787"/>
                  </a:lnTo>
                  <a:lnTo>
                    <a:pt x="367937" y="14572"/>
                  </a:lnTo>
                  <a:lnTo>
                    <a:pt x="378865" y="14572"/>
                  </a:lnTo>
                  <a:lnTo>
                    <a:pt x="384330" y="16393"/>
                  </a:lnTo>
                  <a:lnTo>
                    <a:pt x="389794" y="16393"/>
                  </a:lnTo>
                  <a:lnTo>
                    <a:pt x="397080" y="14572"/>
                  </a:lnTo>
                  <a:lnTo>
                    <a:pt x="400723" y="14572"/>
                  </a:lnTo>
                  <a:lnTo>
                    <a:pt x="417116" y="32787"/>
                  </a:lnTo>
                  <a:lnTo>
                    <a:pt x="424402" y="56466"/>
                  </a:lnTo>
                  <a:lnTo>
                    <a:pt x="442617" y="67395"/>
                  </a:lnTo>
                  <a:lnTo>
                    <a:pt x="442617" y="71038"/>
                  </a:lnTo>
                  <a:lnTo>
                    <a:pt x="431688" y="83788"/>
                  </a:lnTo>
                  <a:lnTo>
                    <a:pt x="435331" y="94717"/>
                  </a:lnTo>
                  <a:lnTo>
                    <a:pt x="435331" y="129325"/>
                  </a:lnTo>
                  <a:lnTo>
                    <a:pt x="448081" y="140254"/>
                  </a:lnTo>
                  <a:lnTo>
                    <a:pt x="448081" y="149361"/>
                  </a:lnTo>
                  <a:lnTo>
                    <a:pt x="440795" y="149361"/>
                  </a:lnTo>
                  <a:lnTo>
                    <a:pt x="437152" y="151183"/>
                  </a:lnTo>
                  <a:lnTo>
                    <a:pt x="435331" y="151183"/>
                  </a:lnTo>
                  <a:lnTo>
                    <a:pt x="431688" y="145718"/>
                  </a:lnTo>
                  <a:lnTo>
                    <a:pt x="402545" y="143897"/>
                  </a:lnTo>
                  <a:lnTo>
                    <a:pt x="395259" y="151183"/>
                  </a:lnTo>
                  <a:lnTo>
                    <a:pt x="391616" y="151183"/>
                  </a:lnTo>
                  <a:lnTo>
                    <a:pt x="386151" y="149361"/>
                  </a:lnTo>
                  <a:lnTo>
                    <a:pt x="375223" y="154826"/>
                  </a:lnTo>
                  <a:lnTo>
                    <a:pt x="351543" y="151183"/>
                  </a:lnTo>
                  <a:lnTo>
                    <a:pt x="313293" y="167576"/>
                  </a:lnTo>
                  <a:lnTo>
                    <a:pt x="295078" y="160290"/>
                  </a:lnTo>
                  <a:lnTo>
                    <a:pt x="273220" y="167576"/>
                  </a:lnTo>
                  <a:lnTo>
                    <a:pt x="255006" y="162112"/>
                  </a:lnTo>
                  <a:lnTo>
                    <a:pt x="251363" y="171219"/>
                  </a:lnTo>
                  <a:lnTo>
                    <a:pt x="255006" y="178505"/>
                  </a:lnTo>
                  <a:lnTo>
                    <a:pt x="255006" y="180326"/>
                  </a:lnTo>
                  <a:lnTo>
                    <a:pt x="249541" y="180326"/>
                  </a:lnTo>
                  <a:lnTo>
                    <a:pt x="244077" y="191255"/>
                  </a:lnTo>
                  <a:lnTo>
                    <a:pt x="240434" y="191255"/>
                  </a:lnTo>
                  <a:lnTo>
                    <a:pt x="234970" y="185791"/>
                  </a:lnTo>
                  <a:lnTo>
                    <a:pt x="234970" y="171219"/>
                  </a:lnTo>
                  <a:lnTo>
                    <a:pt x="240434" y="165754"/>
                  </a:lnTo>
                  <a:lnTo>
                    <a:pt x="238613" y="162112"/>
                  </a:lnTo>
                  <a:lnTo>
                    <a:pt x="227684" y="171219"/>
                  </a:lnTo>
                  <a:lnTo>
                    <a:pt x="224041" y="171219"/>
                  </a:lnTo>
                  <a:lnTo>
                    <a:pt x="211290" y="165754"/>
                  </a:lnTo>
                  <a:lnTo>
                    <a:pt x="202183" y="167576"/>
                  </a:lnTo>
                  <a:lnTo>
                    <a:pt x="194897" y="176683"/>
                  </a:lnTo>
                  <a:lnTo>
                    <a:pt x="165754" y="185791"/>
                  </a:lnTo>
                  <a:lnTo>
                    <a:pt x="162111" y="185791"/>
                  </a:lnTo>
                  <a:lnTo>
                    <a:pt x="116574" y="160290"/>
                  </a:lnTo>
                  <a:lnTo>
                    <a:pt x="111110" y="162112"/>
                  </a:lnTo>
                  <a:lnTo>
                    <a:pt x="109288" y="178505"/>
                  </a:lnTo>
                  <a:lnTo>
                    <a:pt x="92895" y="183969"/>
                  </a:lnTo>
                  <a:lnTo>
                    <a:pt x="78323" y="178505"/>
                  </a:lnTo>
                  <a:lnTo>
                    <a:pt x="72859" y="167576"/>
                  </a:lnTo>
                  <a:lnTo>
                    <a:pt x="67395" y="171219"/>
                  </a:lnTo>
                  <a:lnTo>
                    <a:pt x="67395" y="167576"/>
                  </a:lnTo>
                  <a:lnTo>
                    <a:pt x="61930" y="162112"/>
                  </a:lnTo>
                  <a:lnTo>
                    <a:pt x="51001" y="171219"/>
                  </a:lnTo>
                  <a:lnTo>
                    <a:pt x="49180" y="171219"/>
                  </a:lnTo>
                  <a:lnTo>
                    <a:pt x="49180" y="165754"/>
                  </a:lnTo>
                  <a:lnTo>
                    <a:pt x="36430" y="167576"/>
                  </a:lnTo>
                  <a:lnTo>
                    <a:pt x="36430" y="165754"/>
                  </a:lnTo>
                  <a:lnTo>
                    <a:pt x="51001" y="156647"/>
                  </a:lnTo>
                  <a:lnTo>
                    <a:pt x="32787" y="156647"/>
                  </a:lnTo>
                  <a:lnTo>
                    <a:pt x="32787" y="154826"/>
                  </a:lnTo>
                  <a:lnTo>
                    <a:pt x="36430" y="149361"/>
                  </a:lnTo>
                  <a:lnTo>
                    <a:pt x="30965" y="145718"/>
                  </a:lnTo>
                  <a:lnTo>
                    <a:pt x="30965" y="138432"/>
                  </a:lnTo>
                  <a:lnTo>
                    <a:pt x="25501" y="134789"/>
                  </a:lnTo>
                  <a:lnTo>
                    <a:pt x="27322" y="127503"/>
                  </a:lnTo>
                  <a:lnTo>
                    <a:pt x="9108" y="118396"/>
                  </a:lnTo>
                  <a:lnTo>
                    <a:pt x="5465" y="118396"/>
                  </a:lnTo>
                  <a:lnTo>
                    <a:pt x="10929" y="105646"/>
                  </a:lnTo>
                  <a:lnTo>
                    <a:pt x="16394" y="111110"/>
                  </a:lnTo>
                  <a:lnTo>
                    <a:pt x="25501" y="111110"/>
                  </a:lnTo>
                  <a:lnTo>
                    <a:pt x="16394" y="107467"/>
                  </a:lnTo>
                  <a:lnTo>
                    <a:pt x="16394" y="105646"/>
                  </a:lnTo>
                  <a:lnTo>
                    <a:pt x="21858" y="100181"/>
                  </a:lnTo>
                  <a:lnTo>
                    <a:pt x="16394" y="89252"/>
                  </a:lnTo>
                  <a:lnTo>
                    <a:pt x="20036" y="81967"/>
                  </a:lnTo>
                  <a:lnTo>
                    <a:pt x="3643" y="81967"/>
                  </a:lnTo>
                  <a:lnTo>
                    <a:pt x="9108" y="65573"/>
                  </a:lnTo>
                  <a:lnTo>
                    <a:pt x="16394" y="56466"/>
                  </a:lnTo>
                  <a:lnTo>
                    <a:pt x="40073" y="54644"/>
                  </a:lnTo>
                  <a:lnTo>
                    <a:pt x="40073" y="49180"/>
                  </a:lnTo>
                  <a:lnTo>
                    <a:pt x="54644" y="49180"/>
                  </a:lnTo>
                  <a:lnTo>
                    <a:pt x="60109" y="51001"/>
                  </a:lnTo>
                  <a:lnTo>
                    <a:pt x="71038" y="51001"/>
                  </a:lnTo>
                  <a:lnTo>
                    <a:pt x="67395" y="45537"/>
                  </a:lnTo>
                  <a:lnTo>
                    <a:pt x="67395" y="43716"/>
                  </a:lnTo>
                  <a:lnTo>
                    <a:pt x="72859" y="43716"/>
                  </a:lnTo>
                  <a:lnTo>
                    <a:pt x="83788" y="40073"/>
                  </a:lnTo>
                  <a:lnTo>
                    <a:pt x="76502" y="40073"/>
                  </a:lnTo>
                  <a:lnTo>
                    <a:pt x="71038" y="34608"/>
                  </a:lnTo>
                  <a:lnTo>
                    <a:pt x="71038" y="32787"/>
                  </a:lnTo>
                  <a:lnTo>
                    <a:pt x="76502" y="27322"/>
                  </a:lnTo>
                  <a:lnTo>
                    <a:pt x="76502" y="23679"/>
                  </a:lnTo>
                  <a:lnTo>
                    <a:pt x="87431" y="23679"/>
                  </a:lnTo>
                  <a:lnTo>
                    <a:pt x="100181" y="27322"/>
                  </a:lnTo>
                  <a:lnTo>
                    <a:pt x="116574" y="32787"/>
                  </a:lnTo>
                  <a:lnTo>
                    <a:pt x="122039" y="32787"/>
                  </a:lnTo>
                  <a:lnTo>
                    <a:pt x="151182" y="10929"/>
                  </a:lnTo>
                  <a:close/>
                  <a:moveTo>
                    <a:pt x="27322" y="0"/>
                  </a:moveTo>
                  <a:lnTo>
                    <a:pt x="49180" y="3643"/>
                  </a:lnTo>
                  <a:lnTo>
                    <a:pt x="54644" y="14572"/>
                  </a:lnTo>
                  <a:lnTo>
                    <a:pt x="72859" y="23679"/>
                  </a:lnTo>
                  <a:lnTo>
                    <a:pt x="72859" y="27322"/>
                  </a:lnTo>
                  <a:lnTo>
                    <a:pt x="67395" y="32787"/>
                  </a:lnTo>
                  <a:lnTo>
                    <a:pt x="67395" y="34608"/>
                  </a:lnTo>
                  <a:lnTo>
                    <a:pt x="38251" y="34608"/>
                  </a:lnTo>
                  <a:lnTo>
                    <a:pt x="5465" y="61930"/>
                  </a:lnTo>
                  <a:lnTo>
                    <a:pt x="3643" y="61930"/>
                  </a:lnTo>
                  <a:lnTo>
                    <a:pt x="5465" y="51001"/>
                  </a:lnTo>
                  <a:lnTo>
                    <a:pt x="10929" y="45537"/>
                  </a:lnTo>
                  <a:lnTo>
                    <a:pt x="0" y="43715"/>
                  </a:lnTo>
                  <a:lnTo>
                    <a:pt x="0" y="40072"/>
                  </a:lnTo>
                  <a:lnTo>
                    <a:pt x="10929" y="20036"/>
                  </a:lnTo>
                  <a:lnTo>
                    <a:pt x="5465" y="9107"/>
                  </a:lnTo>
                  <a:lnTo>
                    <a:pt x="9108" y="9107"/>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7" name="African Island">
              <a:extLst>
                <a:ext uri="{FF2B5EF4-FFF2-40B4-BE49-F238E27FC236}">
                  <a16:creationId xmlns:a16="http://schemas.microsoft.com/office/drawing/2014/main" id="{C05C5AB9-FA0A-C8E7-2F65-4B4A8527A2E3}"/>
                </a:ext>
              </a:extLst>
            </p:cNvPr>
            <p:cNvSpPr>
              <a:spLocks/>
            </p:cNvSpPr>
            <p:nvPr/>
          </p:nvSpPr>
          <p:spPr bwMode="auto">
            <a:xfrm>
              <a:off x="5229514" y="4179011"/>
              <a:ext cx="10843" cy="9036"/>
            </a:xfrm>
            <a:custGeom>
              <a:avLst/>
              <a:gdLst>
                <a:gd name="T0" fmla="*/ 0 w 6"/>
                <a:gd name="T1" fmla="*/ 0 h 5"/>
                <a:gd name="T2" fmla="*/ 6 w 6"/>
                <a:gd name="T3" fmla="*/ 0 h 5"/>
                <a:gd name="T4" fmla="*/ 6 w 6"/>
                <a:gd name="T5" fmla="*/ 2 h 5"/>
                <a:gd name="T6" fmla="*/ 2 w 6"/>
                <a:gd name="T7" fmla="*/ 5 h 5"/>
                <a:gd name="T8" fmla="*/ 0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6" y="0"/>
                  </a:lnTo>
                  <a:lnTo>
                    <a:pt x="6" y="2"/>
                  </a:lnTo>
                  <a:lnTo>
                    <a:pt x="2" y="5"/>
                  </a:lnTo>
                  <a:lnTo>
                    <a:pt x="0" y="5"/>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8" name="African Island">
              <a:extLst>
                <a:ext uri="{FF2B5EF4-FFF2-40B4-BE49-F238E27FC236}">
                  <a16:creationId xmlns:a16="http://schemas.microsoft.com/office/drawing/2014/main" id="{1F71A504-4A33-D266-26C7-F9D804D0AA42}"/>
                </a:ext>
              </a:extLst>
            </p:cNvPr>
            <p:cNvSpPr>
              <a:spLocks/>
            </p:cNvSpPr>
            <p:nvPr/>
          </p:nvSpPr>
          <p:spPr bwMode="auto">
            <a:xfrm>
              <a:off x="5267462" y="4224187"/>
              <a:ext cx="7228" cy="14457"/>
            </a:xfrm>
            <a:custGeom>
              <a:avLst/>
              <a:gdLst>
                <a:gd name="T0" fmla="*/ 0 w 4"/>
                <a:gd name="T1" fmla="*/ 0 h 8"/>
                <a:gd name="T2" fmla="*/ 1 w 4"/>
                <a:gd name="T3" fmla="*/ 0 h 8"/>
                <a:gd name="T4" fmla="*/ 1 w 4"/>
                <a:gd name="T5" fmla="*/ 2 h 8"/>
                <a:gd name="T6" fmla="*/ 4 w 4"/>
                <a:gd name="T7" fmla="*/ 6 h 8"/>
                <a:gd name="T8" fmla="*/ 4 w 4"/>
                <a:gd name="T9" fmla="*/ 8 h 8"/>
                <a:gd name="T10" fmla="*/ 0 w 4"/>
                <a:gd name="T11" fmla="*/ 8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1" y="0"/>
                  </a:lnTo>
                  <a:lnTo>
                    <a:pt x="1" y="2"/>
                  </a:lnTo>
                  <a:lnTo>
                    <a:pt x="4" y="6"/>
                  </a:lnTo>
                  <a:lnTo>
                    <a:pt x="4" y="8"/>
                  </a:lnTo>
                  <a:lnTo>
                    <a:pt x="0" y="8"/>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19" name="African Island">
              <a:extLst>
                <a:ext uri="{FF2B5EF4-FFF2-40B4-BE49-F238E27FC236}">
                  <a16:creationId xmlns:a16="http://schemas.microsoft.com/office/drawing/2014/main" id="{53B01C36-B73F-6F34-CDDA-27D815D86521}"/>
                </a:ext>
              </a:extLst>
            </p:cNvPr>
            <p:cNvSpPr>
              <a:spLocks/>
            </p:cNvSpPr>
            <p:nvPr/>
          </p:nvSpPr>
          <p:spPr bwMode="auto">
            <a:xfrm>
              <a:off x="5285533" y="4204310"/>
              <a:ext cx="9036" cy="7228"/>
            </a:xfrm>
            <a:custGeom>
              <a:avLst/>
              <a:gdLst>
                <a:gd name="T0" fmla="*/ 0 w 5"/>
                <a:gd name="T1" fmla="*/ 0 h 4"/>
                <a:gd name="T2" fmla="*/ 2 w 5"/>
                <a:gd name="T3" fmla="*/ 0 h 4"/>
                <a:gd name="T4" fmla="*/ 5 w 5"/>
                <a:gd name="T5" fmla="*/ 1 h 4"/>
                <a:gd name="T6" fmla="*/ 5 w 5"/>
                <a:gd name="T7" fmla="*/ 3 h 4"/>
                <a:gd name="T8" fmla="*/ 2 w 5"/>
                <a:gd name="T9" fmla="*/ 4 h 4"/>
                <a:gd name="T10" fmla="*/ 0 w 5"/>
                <a:gd name="T11" fmla="*/ 4 h 4"/>
                <a:gd name="T12" fmla="*/ 0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0"/>
                  </a:moveTo>
                  <a:lnTo>
                    <a:pt x="2" y="0"/>
                  </a:lnTo>
                  <a:lnTo>
                    <a:pt x="5" y="1"/>
                  </a:lnTo>
                  <a:lnTo>
                    <a:pt x="5" y="3"/>
                  </a:lnTo>
                  <a:lnTo>
                    <a:pt x="2" y="4"/>
                  </a:lnTo>
                  <a:lnTo>
                    <a:pt x="0" y="4"/>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0" name="African Island">
              <a:extLst>
                <a:ext uri="{FF2B5EF4-FFF2-40B4-BE49-F238E27FC236}">
                  <a16:creationId xmlns:a16="http://schemas.microsoft.com/office/drawing/2014/main" id="{2D4BF81C-9244-FC54-CD28-4A28D0154889}"/>
                </a:ext>
              </a:extLst>
            </p:cNvPr>
            <p:cNvSpPr>
              <a:spLocks/>
            </p:cNvSpPr>
            <p:nvPr/>
          </p:nvSpPr>
          <p:spPr bwMode="auto">
            <a:xfrm>
              <a:off x="5424676" y="3772422"/>
              <a:ext cx="10843" cy="7228"/>
            </a:xfrm>
            <a:custGeom>
              <a:avLst/>
              <a:gdLst>
                <a:gd name="T0" fmla="*/ 2 w 6"/>
                <a:gd name="T1" fmla="*/ 0 h 4"/>
                <a:gd name="T2" fmla="*/ 3 w 6"/>
                <a:gd name="T3" fmla="*/ 0 h 4"/>
                <a:gd name="T4" fmla="*/ 6 w 6"/>
                <a:gd name="T5" fmla="*/ 3 h 4"/>
                <a:gd name="T6" fmla="*/ 3 w 6"/>
                <a:gd name="T7" fmla="*/ 4 h 4"/>
                <a:gd name="T8" fmla="*/ 0 w 6"/>
                <a:gd name="T9" fmla="*/ 1 h 4"/>
                <a:gd name="T10" fmla="*/ 2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2" y="0"/>
                  </a:moveTo>
                  <a:lnTo>
                    <a:pt x="3" y="0"/>
                  </a:lnTo>
                  <a:lnTo>
                    <a:pt x="6" y="3"/>
                  </a:lnTo>
                  <a:lnTo>
                    <a:pt x="3" y="4"/>
                  </a:lnTo>
                  <a:lnTo>
                    <a:pt x="0" y="1"/>
                  </a:lnTo>
                  <a:lnTo>
                    <a:pt x="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1" name="African Island">
              <a:extLst>
                <a:ext uri="{FF2B5EF4-FFF2-40B4-BE49-F238E27FC236}">
                  <a16:creationId xmlns:a16="http://schemas.microsoft.com/office/drawing/2014/main" id="{C277B47A-4DBA-3819-5073-AA9D7E1E3651}"/>
                </a:ext>
              </a:extLst>
            </p:cNvPr>
            <p:cNvSpPr>
              <a:spLocks/>
            </p:cNvSpPr>
            <p:nvPr/>
          </p:nvSpPr>
          <p:spPr bwMode="auto">
            <a:xfrm>
              <a:off x="5430098" y="3888073"/>
              <a:ext cx="16264" cy="16264"/>
            </a:xfrm>
            <a:custGeom>
              <a:avLst/>
              <a:gdLst>
                <a:gd name="T0" fmla="*/ 9 w 9"/>
                <a:gd name="T1" fmla="*/ 0 h 9"/>
                <a:gd name="T2" fmla="*/ 9 w 9"/>
                <a:gd name="T3" fmla="*/ 1 h 9"/>
                <a:gd name="T4" fmla="*/ 6 w 9"/>
                <a:gd name="T5" fmla="*/ 9 h 9"/>
                <a:gd name="T6" fmla="*/ 0 w 9"/>
                <a:gd name="T7" fmla="*/ 7 h 9"/>
                <a:gd name="T8" fmla="*/ 0 w 9"/>
                <a:gd name="T9" fmla="*/ 4 h 9"/>
                <a:gd name="T10" fmla="*/ 9 w 9"/>
                <a:gd name="T11" fmla="*/ 0 h 9"/>
              </a:gdLst>
              <a:ahLst/>
              <a:cxnLst>
                <a:cxn ang="0">
                  <a:pos x="T0" y="T1"/>
                </a:cxn>
                <a:cxn ang="0">
                  <a:pos x="T2" y="T3"/>
                </a:cxn>
                <a:cxn ang="0">
                  <a:pos x="T4" y="T5"/>
                </a:cxn>
                <a:cxn ang="0">
                  <a:pos x="T6" y="T7"/>
                </a:cxn>
                <a:cxn ang="0">
                  <a:pos x="T8" y="T9"/>
                </a:cxn>
                <a:cxn ang="0">
                  <a:pos x="T10" y="T11"/>
                </a:cxn>
              </a:cxnLst>
              <a:rect l="0" t="0" r="r" b="b"/>
              <a:pathLst>
                <a:path w="9" h="9">
                  <a:moveTo>
                    <a:pt x="9" y="0"/>
                  </a:moveTo>
                  <a:lnTo>
                    <a:pt x="9" y="1"/>
                  </a:lnTo>
                  <a:lnTo>
                    <a:pt x="6" y="9"/>
                  </a:lnTo>
                  <a:lnTo>
                    <a:pt x="0" y="7"/>
                  </a:lnTo>
                  <a:lnTo>
                    <a:pt x="0" y="4"/>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2" name="African Island">
              <a:extLst>
                <a:ext uri="{FF2B5EF4-FFF2-40B4-BE49-F238E27FC236}">
                  <a16:creationId xmlns:a16="http://schemas.microsoft.com/office/drawing/2014/main" id="{8B1E0617-ED61-1DF0-5A58-EFA02AA12998}"/>
                </a:ext>
              </a:extLst>
            </p:cNvPr>
            <p:cNvSpPr>
              <a:spLocks/>
            </p:cNvSpPr>
            <p:nvPr/>
          </p:nvSpPr>
          <p:spPr bwMode="auto">
            <a:xfrm>
              <a:off x="5487924" y="3884460"/>
              <a:ext cx="14457" cy="19879"/>
            </a:xfrm>
            <a:custGeom>
              <a:avLst/>
              <a:gdLst>
                <a:gd name="T0" fmla="*/ 7 w 8"/>
                <a:gd name="T1" fmla="*/ 0 h 11"/>
                <a:gd name="T2" fmla="*/ 8 w 8"/>
                <a:gd name="T3" fmla="*/ 0 h 11"/>
                <a:gd name="T4" fmla="*/ 7 w 8"/>
                <a:gd name="T5" fmla="*/ 6 h 11"/>
                <a:gd name="T6" fmla="*/ 7 w 8"/>
                <a:gd name="T7" fmla="*/ 8 h 11"/>
                <a:gd name="T8" fmla="*/ 1 w 8"/>
                <a:gd name="T9" fmla="*/ 11 h 11"/>
                <a:gd name="T10" fmla="*/ 0 w 8"/>
                <a:gd name="T11" fmla="*/ 11 h 11"/>
                <a:gd name="T12" fmla="*/ 0 w 8"/>
                <a:gd name="T13" fmla="*/ 9 h 11"/>
                <a:gd name="T14" fmla="*/ 1 w 8"/>
                <a:gd name="T15" fmla="*/ 9 h 11"/>
                <a:gd name="T16" fmla="*/ 7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7" y="0"/>
                  </a:moveTo>
                  <a:lnTo>
                    <a:pt x="8" y="0"/>
                  </a:lnTo>
                  <a:lnTo>
                    <a:pt x="7" y="6"/>
                  </a:lnTo>
                  <a:lnTo>
                    <a:pt x="7" y="8"/>
                  </a:lnTo>
                  <a:lnTo>
                    <a:pt x="1" y="11"/>
                  </a:lnTo>
                  <a:lnTo>
                    <a:pt x="0" y="11"/>
                  </a:lnTo>
                  <a:lnTo>
                    <a:pt x="0" y="9"/>
                  </a:lnTo>
                  <a:lnTo>
                    <a:pt x="1" y="9"/>
                  </a:lnTo>
                  <a:lnTo>
                    <a:pt x="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3" name="African Island">
              <a:extLst>
                <a:ext uri="{FF2B5EF4-FFF2-40B4-BE49-F238E27FC236}">
                  <a16:creationId xmlns:a16="http://schemas.microsoft.com/office/drawing/2014/main" id="{526950CE-ED09-95F4-4C6A-C3247DCDA7AB}"/>
                </a:ext>
              </a:extLst>
            </p:cNvPr>
            <p:cNvSpPr>
              <a:spLocks/>
            </p:cNvSpPr>
            <p:nvPr/>
          </p:nvSpPr>
          <p:spPr bwMode="auto">
            <a:xfrm>
              <a:off x="5455397" y="3898916"/>
              <a:ext cx="12650" cy="12650"/>
            </a:xfrm>
            <a:custGeom>
              <a:avLst/>
              <a:gdLst>
                <a:gd name="T0" fmla="*/ 3 w 7"/>
                <a:gd name="T1" fmla="*/ 0 h 7"/>
                <a:gd name="T2" fmla="*/ 3 w 7"/>
                <a:gd name="T3" fmla="*/ 1 h 7"/>
                <a:gd name="T4" fmla="*/ 6 w 7"/>
                <a:gd name="T5" fmla="*/ 3 h 7"/>
                <a:gd name="T6" fmla="*/ 7 w 7"/>
                <a:gd name="T7" fmla="*/ 3 h 7"/>
                <a:gd name="T8" fmla="*/ 6 w 7"/>
                <a:gd name="T9" fmla="*/ 4 h 7"/>
                <a:gd name="T10" fmla="*/ 4 w 7"/>
                <a:gd name="T11" fmla="*/ 7 h 7"/>
                <a:gd name="T12" fmla="*/ 0 w 7"/>
                <a:gd name="T13" fmla="*/ 7 h 7"/>
                <a:gd name="T14" fmla="*/ 1 w 7"/>
                <a:gd name="T15" fmla="*/ 1 h 7"/>
                <a:gd name="T16" fmla="*/ 3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0"/>
                  </a:moveTo>
                  <a:lnTo>
                    <a:pt x="3" y="1"/>
                  </a:lnTo>
                  <a:lnTo>
                    <a:pt x="6" y="3"/>
                  </a:lnTo>
                  <a:lnTo>
                    <a:pt x="7" y="3"/>
                  </a:lnTo>
                  <a:lnTo>
                    <a:pt x="6" y="4"/>
                  </a:lnTo>
                  <a:lnTo>
                    <a:pt x="4" y="7"/>
                  </a:lnTo>
                  <a:lnTo>
                    <a:pt x="0" y="7"/>
                  </a:lnTo>
                  <a:lnTo>
                    <a:pt x="1" y="1"/>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4" name="African Island">
              <a:extLst>
                <a:ext uri="{FF2B5EF4-FFF2-40B4-BE49-F238E27FC236}">
                  <a16:creationId xmlns:a16="http://schemas.microsoft.com/office/drawing/2014/main" id="{B25B5BC1-2ACC-4636-8CD9-5A67D40658FA}"/>
                </a:ext>
              </a:extLst>
            </p:cNvPr>
            <p:cNvSpPr>
              <a:spLocks/>
            </p:cNvSpPr>
            <p:nvPr/>
          </p:nvSpPr>
          <p:spPr bwMode="auto">
            <a:xfrm>
              <a:off x="6024620" y="4498860"/>
              <a:ext cx="14457" cy="12650"/>
            </a:xfrm>
            <a:custGeom>
              <a:avLst/>
              <a:gdLst>
                <a:gd name="T0" fmla="*/ 2 w 8"/>
                <a:gd name="T1" fmla="*/ 0 h 7"/>
                <a:gd name="T2" fmla="*/ 3 w 8"/>
                <a:gd name="T3" fmla="*/ 0 h 7"/>
                <a:gd name="T4" fmla="*/ 8 w 8"/>
                <a:gd name="T5" fmla="*/ 1 h 7"/>
                <a:gd name="T6" fmla="*/ 8 w 8"/>
                <a:gd name="T7" fmla="*/ 3 h 7"/>
                <a:gd name="T8" fmla="*/ 6 w 8"/>
                <a:gd name="T9" fmla="*/ 7 h 7"/>
                <a:gd name="T10" fmla="*/ 0 w 8"/>
                <a:gd name="T11" fmla="*/ 7 h 7"/>
                <a:gd name="T12" fmla="*/ 2 w 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0"/>
                  </a:moveTo>
                  <a:lnTo>
                    <a:pt x="3" y="0"/>
                  </a:lnTo>
                  <a:lnTo>
                    <a:pt x="8" y="1"/>
                  </a:lnTo>
                  <a:lnTo>
                    <a:pt x="8" y="3"/>
                  </a:lnTo>
                  <a:lnTo>
                    <a:pt x="6" y="7"/>
                  </a:lnTo>
                  <a:lnTo>
                    <a:pt x="0" y="7"/>
                  </a:lnTo>
                  <a:lnTo>
                    <a:pt x="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5" name="African Island">
              <a:extLst>
                <a:ext uri="{FF2B5EF4-FFF2-40B4-BE49-F238E27FC236}">
                  <a16:creationId xmlns:a16="http://schemas.microsoft.com/office/drawing/2014/main" id="{1179EAC3-BCC1-A574-D311-805FA67CC629}"/>
                </a:ext>
              </a:extLst>
            </p:cNvPr>
            <p:cNvSpPr>
              <a:spLocks/>
            </p:cNvSpPr>
            <p:nvPr/>
          </p:nvSpPr>
          <p:spPr bwMode="auto">
            <a:xfrm>
              <a:off x="5977637" y="4576564"/>
              <a:ext cx="10843" cy="10843"/>
            </a:xfrm>
            <a:custGeom>
              <a:avLst/>
              <a:gdLst>
                <a:gd name="T0" fmla="*/ 3 w 6"/>
                <a:gd name="T1" fmla="*/ 0 h 6"/>
                <a:gd name="T2" fmla="*/ 6 w 6"/>
                <a:gd name="T3" fmla="*/ 3 h 6"/>
                <a:gd name="T4" fmla="*/ 3 w 6"/>
                <a:gd name="T5" fmla="*/ 6 h 6"/>
                <a:gd name="T6" fmla="*/ 1 w 6"/>
                <a:gd name="T7" fmla="*/ 6 h 6"/>
                <a:gd name="T8" fmla="*/ 0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6" y="3"/>
                  </a:lnTo>
                  <a:lnTo>
                    <a:pt x="3" y="6"/>
                  </a:lnTo>
                  <a:lnTo>
                    <a:pt x="1" y="6"/>
                  </a:lnTo>
                  <a:lnTo>
                    <a:pt x="0" y="3"/>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6" name="African Island">
              <a:extLst>
                <a:ext uri="{FF2B5EF4-FFF2-40B4-BE49-F238E27FC236}">
                  <a16:creationId xmlns:a16="http://schemas.microsoft.com/office/drawing/2014/main" id="{0C36ECCC-28A8-60B0-9817-0CC96568D51D}"/>
                </a:ext>
              </a:extLst>
            </p:cNvPr>
            <p:cNvSpPr>
              <a:spLocks/>
            </p:cNvSpPr>
            <p:nvPr/>
          </p:nvSpPr>
          <p:spPr bwMode="auto">
            <a:xfrm>
              <a:off x="7177525" y="5066278"/>
              <a:ext cx="10843" cy="16264"/>
            </a:xfrm>
            <a:custGeom>
              <a:avLst/>
              <a:gdLst>
                <a:gd name="T0" fmla="*/ 1 w 6"/>
                <a:gd name="T1" fmla="*/ 0 h 9"/>
                <a:gd name="T2" fmla="*/ 6 w 6"/>
                <a:gd name="T3" fmla="*/ 0 h 9"/>
                <a:gd name="T4" fmla="*/ 6 w 6"/>
                <a:gd name="T5" fmla="*/ 7 h 9"/>
                <a:gd name="T6" fmla="*/ 1 w 6"/>
                <a:gd name="T7" fmla="*/ 9 h 9"/>
                <a:gd name="T8" fmla="*/ 0 w 6"/>
                <a:gd name="T9" fmla="*/ 9 h 9"/>
                <a:gd name="T10" fmla="*/ 0 w 6"/>
                <a:gd name="T11" fmla="*/ 7 h 9"/>
                <a:gd name="T12" fmla="*/ 1 w 6"/>
                <a:gd name="T13" fmla="*/ 1 h 9"/>
                <a:gd name="T14" fmla="*/ 1 w 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1" y="0"/>
                  </a:moveTo>
                  <a:lnTo>
                    <a:pt x="6" y="0"/>
                  </a:lnTo>
                  <a:lnTo>
                    <a:pt x="6" y="7"/>
                  </a:lnTo>
                  <a:lnTo>
                    <a:pt x="1" y="9"/>
                  </a:lnTo>
                  <a:lnTo>
                    <a:pt x="0" y="9"/>
                  </a:lnTo>
                  <a:lnTo>
                    <a:pt x="0" y="7"/>
                  </a:lnTo>
                  <a:lnTo>
                    <a:pt x="1" y="1"/>
                  </a:lnTo>
                  <a:lnTo>
                    <a:pt x="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7" name="African Island">
              <a:extLst>
                <a:ext uri="{FF2B5EF4-FFF2-40B4-BE49-F238E27FC236}">
                  <a16:creationId xmlns:a16="http://schemas.microsoft.com/office/drawing/2014/main" id="{B333A101-9632-1DFE-ED65-3376908BDC41}"/>
                </a:ext>
              </a:extLst>
            </p:cNvPr>
            <p:cNvSpPr>
              <a:spLocks/>
            </p:cNvSpPr>
            <p:nvPr/>
          </p:nvSpPr>
          <p:spPr bwMode="auto">
            <a:xfrm>
              <a:off x="6754673" y="4722936"/>
              <a:ext cx="10843" cy="19879"/>
            </a:xfrm>
            <a:custGeom>
              <a:avLst/>
              <a:gdLst>
                <a:gd name="T0" fmla="*/ 0 w 6"/>
                <a:gd name="T1" fmla="*/ 0 h 11"/>
                <a:gd name="T2" fmla="*/ 1 w 6"/>
                <a:gd name="T3" fmla="*/ 0 h 11"/>
                <a:gd name="T4" fmla="*/ 6 w 6"/>
                <a:gd name="T5" fmla="*/ 9 h 11"/>
                <a:gd name="T6" fmla="*/ 4 w 6"/>
                <a:gd name="T7" fmla="*/ 11 h 11"/>
                <a:gd name="T8" fmla="*/ 1 w 6"/>
                <a:gd name="T9" fmla="*/ 8 h 11"/>
                <a:gd name="T10" fmla="*/ 0 w 6"/>
                <a:gd name="T11" fmla="*/ 8 h 11"/>
                <a:gd name="T12" fmla="*/ 0 w 6"/>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0" y="0"/>
                  </a:moveTo>
                  <a:lnTo>
                    <a:pt x="1" y="0"/>
                  </a:lnTo>
                  <a:lnTo>
                    <a:pt x="6" y="9"/>
                  </a:lnTo>
                  <a:lnTo>
                    <a:pt x="4" y="11"/>
                  </a:lnTo>
                  <a:lnTo>
                    <a:pt x="1" y="8"/>
                  </a:lnTo>
                  <a:lnTo>
                    <a:pt x="0" y="8"/>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8" name="African Island">
              <a:extLst>
                <a:ext uri="{FF2B5EF4-FFF2-40B4-BE49-F238E27FC236}">
                  <a16:creationId xmlns:a16="http://schemas.microsoft.com/office/drawing/2014/main" id="{4A7AE45B-5DDF-02DF-5A0D-4CF792FF3C65}"/>
                </a:ext>
              </a:extLst>
            </p:cNvPr>
            <p:cNvSpPr>
              <a:spLocks/>
            </p:cNvSpPr>
            <p:nvPr/>
          </p:nvSpPr>
          <p:spPr bwMode="auto">
            <a:xfrm>
              <a:off x="6765516" y="4701251"/>
              <a:ext cx="5422" cy="16264"/>
            </a:xfrm>
            <a:custGeom>
              <a:avLst/>
              <a:gdLst>
                <a:gd name="T0" fmla="*/ 0 w 3"/>
                <a:gd name="T1" fmla="*/ 0 h 9"/>
                <a:gd name="T2" fmla="*/ 1 w 3"/>
                <a:gd name="T3" fmla="*/ 0 h 9"/>
                <a:gd name="T4" fmla="*/ 3 w 3"/>
                <a:gd name="T5" fmla="*/ 3 h 9"/>
                <a:gd name="T6" fmla="*/ 3 w 3"/>
                <a:gd name="T7" fmla="*/ 9 h 9"/>
                <a:gd name="T8" fmla="*/ 1 w 3"/>
                <a:gd name="T9" fmla="*/ 9 h 9"/>
                <a:gd name="T10" fmla="*/ 1 w 3"/>
                <a:gd name="T11" fmla="*/ 8 h 9"/>
                <a:gd name="T12" fmla="*/ 0 w 3"/>
                <a:gd name="T13" fmla="*/ 2 h 9"/>
                <a:gd name="T14" fmla="*/ 0 w 3"/>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9">
                  <a:moveTo>
                    <a:pt x="0" y="0"/>
                  </a:moveTo>
                  <a:lnTo>
                    <a:pt x="1" y="0"/>
                  </a:lnTo>
                  <a:lnTo>
                    <a:pt x="3" y="3"/>
                  </a:lnTo>
                  <a:lnTo>
                    <a:pt x="3" y="9"/>
                  </a:lnTo>
                  <a:lnTo>
                    <a:pt x="1" y="9"/>
                  </a:lnTo>
                  <a:lnTo>
                    <a:pt x="1" y="8"/>
                  </a:lnTo>
                  <a:lnTo>
                    <a:pt x="0" y="2"/>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9" name="African Island">
              <a:extLst>
                <a:ext uri="{FF2B5EF4-FFF2-40B4-BE49-F238E27FC236}">
                  <a16:creationId xmlns:a16="http://schemas.microsoft.com/office/drawing/2014/main" id="{11FA41E0-150F-55EE-4F81-6960A8147EE5}"/>
                </a:ext>
              </a:extLst>
            </p:cNvPr>
            <p:cNvSpPr>
              <a:spLocks/>
            </p:cNvSpPr>
            <p:nvPr/>
          </p:nvSpPr>
          <p:spPr bwMode="auto">
            <a:xfrm>
              <a:off x="6845026" y="4854852"/>
              <a:ext cx="9036" cy="16264"/>
            </a:xfrm>
            <a:custGeom>
              <a:avLst/>
              <a:gdLst>
                <a:gd name="T0" fmla="*/ 3 w 5"/>
                <a:gd name="T1" fmla="*/ 0 h 9"/>
                <a:gd name="T2" fmla="*/ 5 w 5"/>
                <a:gd name="T3" fmla="*/ 0 h 9"/>
                <a:gd name="T4" fmla="*/ 5 w 5"/>
                <a:gd name="T5" fmla="*/ 9 h 9"/>
                <a:gd name="T6" fmla="*/ 3 w 5"/>
                <a:gd name="T7" fmla="*/ 9 h 9"/>
                <a:gd name="T8" fmla="*/ 2 w 5"/>
                <a:gd name="T9" fmla="*/ 6 h 9"/>
                <a:gd name="T10" fmla="*/ 0 w 5"/>
                <a:gd name="T11" fmla="*/ 6 h 9"/>
                <a:gd name="T12" fmla="*/ 0 w 5"/>
                <a:gd name="T13" fmla="*/ 4 h 9"/>
                <a:gd name="T14" fmla="*/ 3 w 5"/>
                <a:gd name="T15" fmla="*/ 1 h 9"/>
                <a:gd name="T16" fmla="*/ 3 w 5"/>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3" y="0"/>
                  </a:moveTo>
                  <a:lnTo>
                    <a:pt x="5" y="0"/>
                  </a:lnTo>
                  <a:lnTo>
                    <a:pt x="5" y="9"/>
                  </a:lnTo>
                  <a:lnTo>
                    <a:pt x="3" y="9"/>
                  </a:lnTo>
                  <a:lnTo>
                    <a:pt x="2" y="6"/>
                  </a:lnTo>
                  <a:lnTo>
                    <a:pt x="0" y="6"/>
                  </a:lnTo>
                  <a:lnTo>
                    <a:pt x="0" y="4"/>
                  </a:lnTo>
                  <a:lnTo>
                    <a:pt x="3" y="1"/>
                  </a:lnTo>
                  <a:lnTo>
                    <a:pt x="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0" name="African Island">
              <a:extLst>
                <a:ext uri="{FF2B5EF4-FFF2-40B4-BE49-F238E27FC236}">
                  <a16:creationId xmlns:a16="http://schemas.microsoft.com/office/drawing/2014/main" id="{9A4A1823-2C30-C1AE-9C1C-FF967F12FFC2}"/>
                </a:ext>
              </a:extLst>
            </p:cNvPr>
            <p:cNvSpPr>
              <a:spLocks/>
            </p:cNvSpPr>
            <p:nvPr/>
          </p:nvSpPr>
          <p:spPr bwMode="auto">
            <a:xfrm>
              <a:off x="6868519" y="4872923"/>
              <a:ext cx="10843" cy="10843"/>
            </a:xfrm>
            <a:custGeom>
              <a:avLst/>
              <a:gdLst>
                <a:gd name="T0" fmla="*/ 5 w 6"/>
                <a:gd name="T1" fmla="*/ 0 h 6"/>
                <a:gd name="T2" fmla="*/ 6 w 6"/>
                <a:gd name="T3" fmla="*/ 0 h 6"/>
                <a:gd name="T4" fmla="*/ 6 w 6"/>
                <a:gd name="T5" fmla="*/ 5 h 6"/>
                <a:gd name="T6" fmla="*/ 5 w 6"/>
                <a:gd name="T7" fmla="*/ 6 h 6"/>
                <a:gd name="T8" fmla="*/ 2 w 6"/>
                <a:gd name="T9" fmla="*/ 3 h 6"/>
                <a:gd name="T10" fmla="*/ 0 w 6"/>
                <a:gd name="T11" fmla="*/ 3 h 6"/>
                <a:gd name="T12" fmla="*/ 0 w 6"/>
                <a:gd name="T13" fmla="*/ 2 h 6"/>
                <a:gd name="T14" fmla="*/ 2 w 6"/>
                <a:gd name="T15" fmla="*/ 2 h 6"/>
                <a:gd name="T16" fmla="*/ 5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5" y="0"/>
                  </a:moveTo>
                  <a:lnTo>
                    <a:pt x="6" y="0"/>
                  </a:lnTo>
                  <a:lnTo>
                    <a:pt x="6" y="5"/>
                  </a:lnTo>
                  <a:lnTo>
                    <a:pt x="5" y="6"/>
                  </a:lnTo>
                  <a:lnTo>
                    <a:pt x="2" y="3"/>
                  </a:lnTo>
                  <a:lnTo>
                    <a:pt x="0" y="3"/>
                  </a:lnTo>
                  <a:lnTo>
                    <a:pt x="0" y="2"/>
                  </a:lnTo>
                  <a:lnTo>
                    <a:pt x="2" y="2"/>
                  </a:lnTo>
                  <a:lnTo>
                    <a:pt x="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1" name="African Island">
              <a:extLst>
                <a:ext uri="{FF2B5EF4-FFF2-40B4-BE49-F238E27FC236}">
                  <a16:creationId xmlns:a16="http://schemas.microsoft.com/office/drawing/2014/main" id="{755AFAA9-1526-ACBE-B59B-AC430E7C0FDB}"/>
                </a:ext>
              </a:extLst>
            </p:cNvPr>
            <p:cNvSpPr>
              <a:spLocks/>
            </p:cNvSpPr>
            <p:nvPr/>
          </p:nvSpPr>
          <p:spPr bwMode="auto">
            <a:xfrm>
              <a:off x="6890204" y="4887379"/>
              <a:ext cx="5422" cy="10843"/>
            </a:xfrm>
            <a:custGeom>
              <a:avLst/>
              <a:gdLst>
                <a:gd name="T0" fmla="*/ 0 w 3"/>
                <a:gd name="T1" fmla="*/ 0 h 6"/>
                <a:gd name="T2" fmla="*/ 3 w 3"/>
                <a:gd name="T3" fmla="*/ 1 h 6"/>
                <a:gd name="T4" fmla="*/ 3 w 3"/>
                <a:gd name="T5" fmla="*/ 3 h 6"/>
                <a:gd name="T6" fmla="*/ 2 w 3"/>
                <a:gd name="T7" fmla="*/ 4 h 6"/>
                <a:gd name="T8" fmla="*/ 2 w 3"/>
                <a:gd name="T9" fmla="*/ 6 h 6"/>
                <a:gd name="T10" fmla="*/ 0 w 3"/>
                <a:gd name="T11" fmla="*/ 6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1"/>
                  </a:lnTo>
                  <a:lnTo>
                    <a:pt x="3" y="3"/>
                  </a:lnTo>
                  <a:lnTo>
                    <a:pt x="2" y="4"/>
                  </a:lnTo>
                  <a:lnTo>
                    <a:pt x="2" y="6"/>
                  </a:lnTo>
                  <a:lnTo>
                    <a:pt x="0" y="6"/>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2" name="African Island">
              <a:extLst>
                <a:ext uri="{FF2B5EF4-FFF2-40B4-BE49-F238E27FC236}">
                  <a16:creationId xmlns:a16="http://schemas.microsoft.com/office/drawing/2014/main" id="{D2F5D767-2CCE-987C-03FE-20565CFD7520}"/>
                </a:ext>
              </a:extLst>
            </p:cNvPr>
            <p:cNvSpPr>
              <a:spLocks/>
            </p:cNvSpPr>
            <p:nvPr/>
          </p:nvSpPr>
          <p:spPr bwMode="auto">
            <a:xfrm>
              <a:off x="7126928" y="5089770"/>
              <a:ext cx="16264" cy="14457"/>
            </a:xfrm>
            <a:custGeom>
              <a:avLst/>
              <a:gdLst>
                <a:gd name="T0" fmla="*/ 1 w 9"/>
                <a:gd name="T1" fmla="*/ 0 h 8"/>
                <a:gd name="T2" fmla="*/ 7 w 9"/>
                <a:gd name="T3" fmla="*/ 0 h 8"/>
                <a:gd name="T4" fmla="*/ 7 w 9"/>
                <a:gd name="T5" fmla="*/ 2 h 8"/>
                <a:gd name="T6" fmla="*/ 9 w 9"/>
                <a:gd name="T7" fmla="*/ 6 h 8"/>
                <a:gd name="T8" fmla="*/ 9 w 9"/>
                <a:gd name="T9" fmla="*/ 8 h 8"/>
                <a:gd name="T10" fmla="*/ 7 w 9"/>
                <a:gd name="T11" fmla="*/ 8 h 8"/>
                <a:gd name="T12" fmla="*/ 4 w 9"/>
                <a:gd name="T13" fmla="*/ 6 h 8"/>
                <a:gd name="T14" fmla="*/ 3 w 9"/>
                <a:gd name="T15" fmla="*/ 6 h 8"/>
                <a:gd name="T16" fmla="*/ 0 w 9"/>
                <a:gd name="T17" fmla="*/ 2 h 8"/>
                <a:gd name="T18" fmla="*/ 1 w 9"/>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1" y="0"/>
                  </a:moveTo>
                  <a:lnTo>
                    <a:pt x="7" y="0"/>
                  </a:lnTo>
                  <a:lnTo>
                    <a:pt x="7" y="2"/>
                  </a:lnTo>
                  <a:lnTo>
                    <a:pt x="9" y="6"/>
                  </a:lnTo>
                  <a:lnTo>
                    <a:pt x="9" y="8"/>
                  </a:lnTo>
                  <a:lnTo>
                    <a:pt x="7" y="8"/>
                  </a:lnTo>
                  <a:lnTo>
                    <a:pt x="4" y="6"/>
                  </a:lnTo>
                  <a:lnTo>
                    <a:pt x="3" y="6"/>
                  </a:lnTo>
                  <a:lnTo>
                    <a:pt x="0" y="2"/>
                  </a:lnTo>
                  <a:lnTo>
                    <a:pt x="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3" name="Zimbabwe">
              <a:extLst>
                <a:ext uri="{FF2B5EF4-FFF2-40B4-BE49-F238E27FC236}">
                  <a16:creationId xmlns:a16="http://schemas.microsoft.com/office/drawing/2014/main" id="{7770DC56-7D8C-3E3B-6512-6BAE21B49BED}"/>
                </a:ext>
              </a:extLst>
            </p:cNvPr>
            <p:cNvSpPr>
              <a:spLocks/>
            </p:cNvSpPr>
            <p:nvPr/>
          </p:nvSpPr>
          <p:spPr bwMode="auto">
            <a:xfrm>
              <a:off x="6418560" y="4956048"/>
              <a:ext cx="187935" cy="178900"/>
            </a:xfrm>
            <a:custGeom>
              <a:avLst/>
              <a:gdLst>
                <a:gd name="T0" fmla="*/ 61 w 104"/>
                <a:gd name="T1" fmla="*/ 0 h 99"/>
                <a:gd name="T2" fmla="*/ 69 w 104"/>
                <a:gd name="T3" fmla="*/ 2 h 99"/>
                <a:gd name="T4" fmla="*/ 69 w 104"/>
                <a:gd name="T5" fmla="*/ 5 h 99"/>
                <a:gd name="T6" fmla="*/ 82 w 104"/>
                <a:gd name="T7" fmla="*/ 6 h 99"/>
                <a:gd name="T8" fmla="*/ 100 w 104"/>
                <a:gd name="T9" fmla="*/ 14 h 99"/>
                <a:gd name="T10" fmla="*/ 104 w 104"/>
                <a:gd name="T11" fmla="*/ 27 h 99"/>
                <a:gd name="T12" fmla="*/ 104 w 104"/>
                <a:gd name="T13" fmla="*/ 37 h 99"/>
                <a:gd name="T14" fmla="*/ 100 w 104"/>
                <a:gd name="T15" fmla="*/ 48 h 99"/>
                <a:gd name="T16" fmla="*/ 103 w 104"/>
                <a:gd name="T17" fmla="*/ 61 h 99"/>
                <a:gd name="T18" fmla="*/ 92 w 104"/>
                <a:gd name="T19" fmla="*/ 86 h 99"/>
                <a:gd name="T20" fmla="*/ 86 w 104"/>
                <a:gd name="T21" fmla="*/ 92 h 99"/>
                <a:gd name="T22" fmla="*/ 85 w 104"/>
                <a:gd name="T23" fmla="*/ 98 h 99"/>
                <a:gd name="T24" fmla="*/ 85 w 104"/>
                <a:gd name="T25" fmla="*/ 99 h 99"/>
                <a:gd name="T26" fmla="*/ 83 w 104"/>
                <a:gd name="T27" fmla="*/ 98 h 99"/>
                <a:gd name="T28" fmla="*/ 74 w 104"/>
                <a:gd name="T29" fmla="*/ 92 h 99"/>
                <a:gd name="T30" fmla="*/ 55 w 104"/>
                <a:gd name="T31" fmla="*/ 92 h 99"/>
                <a:gd name="T32" fmla="*/ 36 w 104"/>
                <a:gd name="T33" fmla="*/ 83 h 99"/>
                <a:gd name="T34" fmla="*/ 36 w 104"/>
                <a:gd name="T35" fmla="*/ 82 h 99"/>
                <a:gd name="T36" fmla="*/ 34 w 104"/>
                <a:gd name="T37" fmla="*/ 71 h 99"/>
                <a:gd name="T38" fmla="*/ 12 w 104"/>
                <a:gd name="T39" fmla="*/ 54 h 99"/>
                <a:gd name="T40" fmla="*/ 0 w 104"/>
                <a:gd name="T41" fmla="*/ 31 h 99"/>
                <a:gd name="T42" fmla="*/ 0 w 104"/>
                <a:gd name="T43" fmla="*/ 30 h 99"/>
                <a:gd name="T44" fmla="*/ 3 w 104"/>
                <a:gd name="T45" fmla="*/ 30 h 99"/>
                <a:gd name="T46" fmla="*/ 8 w 104"/>
                <a:gd name="T47" fmla="*/ 31 h 99"/>
                <a:gd name="T48" fmla="*/ 15 w 104"/>
                <a:gd name="T49" fmla="*/ 31 h 99"/>
                <a:gd name="T50" fmla="*/ 20 w 104"/>
                <a:gd name="T51" fmla="*/ 33 h 99"/>
                <a:gd name="T52" fmla="*/ 23 w 104"/>
                <a:gd name="T53" fmla="*/ 33 h 99"/>
                <a:gd name="T54" fmla="*/ 34 w 104"/>
                <a:gd name="T55" fmla="*/ 19 h 99"/>
                <a:gd name="T56" fmla="*/ 45 w 104"/>
                <a:gd name="T57" fmla="*/ 15 h 99"/>
                <a:gd name="T58" fmla="*/ 46 w 104"/>
                <a:gd name="T59" fmla="*/ 6 h 99"/>
                <a:gd name="T60" fmla="*/ 48 w 104"/>
                <a:gd name="T61" fmla="*/ 5 h 99"/>
                <a:gd name="T62" fmla="*/ 61 w 104"/>
                <a:gd name="T6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99">
                  <a:moveTo>
                    <a:pt x="61" y="0"/>
                  </a:moveTo>
                  <a:lnTo>
                    <a:pt x="69" y="2"/>
                  </a:lnTo>
                  <a:lnTo>
                    <a:pt x="69" y="5"/>
                  </a:lnTo>
                  <a:lnTo>
                    <a:pt x="82" y="6"/>
                  </a:lnTo>
                  <a:lnTo>
                    <a:pt x="100" y="14"/>
                  </a:lnTo>
                  <a:lnTo>
                    <a:pt x="104" y="27"/>
                  </a:lnTo>
                  <a:lnTo>
                    <a:pt x="104" y="37"/>
                  </a:lnTo>
                  <a:lnTo>
                    <a:pt x="100" y="48"/>
                  </a:lnTo>
                  <a:lnTo>
                    <a:pt x="103" y="61"/>
                  </a:lnTo>
                  <a:lnTo>
                    <a:pt x="92" y="86"/>
                  </a:lnTo>
                  <a:lnTo>
                    <a:pt x="86" y="92"/>
                  </a:lnTo>
                  <a:lnTo>
                    <a:pt x="85" y="98"/>
                  </a:lnTo>
                  <a:lnTo>
                    <a:pt x="85" y="99"/>
                  </a:lnTo>
                  <a:lnTo>
                    <a:pt x="83" y="98"/>
                  </a:lnTo>
                  <a:lnTo>
                    <a:pt x="74" y="92"/>
                  </a:lnTo>
                  <a:lnTo>
                    <a:pt x="55" y="92"/>
                  </a:lnTo>
                  <a:lnTo>
                    <a:pt x="36" y="83"/>
                  </a:lnTo>
                  <a:lnTo>
                    <a:pt x="36" y="82"/>
                  </a:lnTo>
                  <a:lnTo>
                    <a:pt x="34" y="71"/>
                  </a:lnTo>
                  <a:lnTo>
                    <a:pt x="12" y="54"/>
                  </a:lnTo>
                  <a:lnTo>
                    <a:pt x="0" y="31"/>
                  </a:lnTo>
                  <a:lnTo>
                    <a:pt x="0" y="30"/>
                  </a:lnTo>
                  <a:lnTo>
                    <a:pt x="3" y="30"/>
                  </a:lnTo>
                  <a:lnTo>
                    <a:pt x="8" y="31"/>
                  </a:lnTo>
                  <a:lnTo>
                    <a:pt x="15" y="31"/>
                  </a:lnTo>
                  <a:lnTo>
                    <a:pt x="20" y="33"/>
                  </a:lnTo>
                  <a:lnTo>
                    <a:pt x="23" y="33"/>
                  </a:lnTo>
                  <a:lnTo>
                    <a:pt x="34" y="19"/>
                  </a:lnTo>
                  <a:lnTo>
                    <a:pt x="45" y="15"/>
                  </a:lnTo>
                  <a:lnTo>
                    <a:pt x="46" y="6"/>
                  </a:lnTo>
                  <a:lnTo>
                    <a:pt x="48" y="5"/>
                  </a:lnTo>
                  <a:lnTo>
                    <a:pt x="6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4" name="Zambia">
              <a:extLst>
                <a:ext uri="{FF2B5EF4-FFF2-40B4-BE49-F238E27FC236}">
                  <a16:creationId xmlns:a16="http://schemas.microsoft.com/office/drawing/2014/main" id="{F33FF4F5-B92A-7A24-3DB2-79C8974C24BB}"/>
                </a:ext>
              </a:extLst>
            </p:cNvPr>
            <p:cNvSpPr>
              <a:spLocks/>
            </p:cNvSpPr>
            <p:nvPr/>
          </p:nvSpPr>
          <p:spPr bwMode="auto">
            <a:xfrm>
              <a:off x="6344472" y="4778956"/>
              <a:ext cx="278287" cy="238533"/>
            </a:xfrm>
            <a:custGeom>
              <a:avLst/>
              <a:gdLst>
                <a:gd name="T0" fmla="*/ 114 w 154"/>
                <a:gd name="T1" fmla="*/ 0 h 132"/>
                <a:gd name="T2" fmla="*/ 118 w 154"/>
                <a:gd name="T3" fmla="*/ 8 h 132"/>
                <a:gd name="T4" fmla="*/ 145 w 154"/>
                <a:gd name="T5" fmla="*/ 17 h 132"/>
                <a:gd name="T6" fmla="*/ 154 w 154"/>
                <a:gd name="T7" fmla="*/ 33 h 132"/>
                <a:gd name="T8" fmla="*/ 151 w 154"/>
                <a:gd name="T9" fmla="*/ 37 h 132"/>
                <a:gd name="T10" fmla="*/ 150 w 154"/>
                <a:gd name="T11" fmla="*/ 54 h 132"/>
                <a:gd name="T12" fmla="*/ 151 w 154"/>
                <a:gd name="T13" fmla="*/ 58 h 132"/>
                <a:gd name="T14" fmla="*/ 142 w 154"/>
                <a:gd name="T15" fmla="*/ 73 h 132"/>
                <a:gd name="T16" fmla="*/ 107 w 154"/>
                <a:gd name="T17" fmla="*/ 94 h 132"/>
                <a:gd name="T18" fmla="*/ 110 w 154"/>
                <a:gd name="T19" fmla="*/ 101 h 132"/>
                <a:gd name="T20" fmla="*/ 105 w 154"/>
                <a:gd name="T21" fmla="*/ 100 h 132"/>
                <a:gd name="T22" fmla="*/ 89 w 154"/>
                <a:gd name="T23" fmla="*/ 104 h 132"/>
                <a:gd name="T24" fmla="*/ 77 w 154"/>
                <a:gd name="T25" fmla="*/ 119 h 132"/>
                <a:gd name="T26" fmla="*/ 64 w 154"/>
                <a:gd name="T27" fmla="*/ 132 h 132"/>
                <a:gd name="T28" fmla="*/ 37 w 154"/>
                <a:gd name="T29" fmla="*/ 126 h 132"/>
                <a:gd name="T30" fmla="*/ 27 w 154"/>
                <a:gd name="T31" fmla="*/ 125 h 132"/>
                <a:gd name="T32" fmla="*/ 21 w 154"/>
                <a:gd name="T33" fmla="*/ 126 h 132"/>
                <a:gd name="T34" fmla="*/ 16 w 154"/>
                <a:gd name="T35" fmla="*/ 128 h 132"/>
                <a:gd name="T36" fmla="*/ 0 w 154"/>
                <a:gd name="T37" fmla="*/ 64 h 132"/>
                <a:gd name="T38" fmla="*/ 25 w 154"/>
                <a:gd name="T39" fmla="*/ 63 h 132"/>
                <a:gd name="T40" fmla="*/ 30 w 154"/>
                <a:gd name="T41" fmla="*/ 36 h 132"/>
                <a:gd name="T42" fmla="*/ 31 w 154"/>
                <a:gd name="T43" fmla="*/ 36 h 132"/>
                <a:gd name="T44" fmla="*/ 43 w 154"/>
                <a:gd name="T45" fmla="*/ 39 h 132"/>
                <a:gd name="T46" fmla="*/ 58 w 154"/>
                <a:gd name="T47" fmla="*/ 49 h 132"/>
                <a:gd name="T48" fmla="*/ 61 w 154"/>
                <a:gd name="T49" fmla="*/ 48 h 132"/>
                <a:gd name="T50" fmla="*/ 65 w 154"/>
                <a:gd name="T51" fmla="*/ 46 h 132"/>
                <a:gd name="T52" fmla="*/ 68 w 154"/>
                <a:gd name="T53" fmla="*/ 48 h 132"/>
                <a:gd name="T54" fmla="*/ 80 w 154"/>
                <a:gd name="T55" fmla="*/ 54 h 132"/>
                <a:gd name="T56" fmla="*/ 102 w 154"/>
                <a:gd name="T57" fmla="*/ 69 h 132"/>
                <a:gd name="T58" fmla="*/ 92 w 154"/>
                <a:gd name="T59" fmla="*/ 55 h 132"/>
                <a:gd name="T60" fmla="*/ 90 w 154"/>
                <a:gd name="T61" fmla="*/ 30 h 132"/>
                <a:gd name="T62" fmla="*/ 95 w 154"/>
                <a:gd name="T63" fmla="*/ 5 h 132"/>
                <a:gd name="T64" fmla="*/ 98 w 154"/>
                <a:gd name="T65" fmla="*/ 3 h 132"/>
                <a:gd name="T66" fmla="*/ 105 w 154"/>
                <a:gd name="T67"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32">
                  <a:moveTo>
                    <a:pt x="110" y="0"/>
                  </a:moveTo>
                  <a:lnTo>
                    <a:pt x="114" y="0"/>
                  </a:lnTo>
                  <a:lnTo>
                    <a:pt x="114" y="6"/>
                  </a:lnTo>
                  <a:lnTo>
                    <a:pt x="118" y="8"/>
                  </a:lnTo>
                  <a:lnTo>
                    <a:pt x="120" y="6"/>
                  </a:lnTo>
                  <a:lnTo>
                    <a:pt x="145" y="17"/>
                  </a:lnTo>
                  <a:lnTo>
                    <a:pt x="147" y="17"/>
                  </a:lnTo>
                  <a:lnTo>
                    <a:pt x="154" y="33"/>
                  </a:lnTo>
                  <a:lnTo>
                    <a:pt x="154" y="34"/>
                  </a:lnTo>
                  <a:lnTo>
                    <a:pt x="151" y="37"/>
                  </a:lnTo>
                  <a:lnTo>
                    <a:pt x="150" y="46"/>
                  </a:lnTo>
                  <a:lnTo>
                    <a:pt x="150" y="54"/>
                  </a:lnTo>
                  <a:lnTo>
                    <a:pt x="151" y="57"/>
                  </a:lnTo>
                  <a:lnTo>
                    <a:pt x="151" y="58"/>
                  </a:lnTo>
                  <a:lnTo>
                    <a:pt x="147" y="61"/>
                  </a:lnTo>
                  <a:lnTo>
                    <a:pt x="142" y="73"/>
                  </a:lnTo>
                  <a:lnTo>
                    <a:pt x="147" y="79"/>
                  </a:lnTo>
                  <a:lnTo>
                    <a:pt x="107" y="94"/>
                  </a:lnTo>
                  <a:lnTo>
                    <a:pt x="110" y="100"/>
                  </a:lnTo>
                  <a:lnTo>
                    <a:pt x="110" y="101"/>
                  </a:lnTo>
                  <a:lnTo>
                    <a:pt x="107" y="101"/>
                  </a:lnTo>
                  <a:lnTo>
                    <a:pt x="105" y="100"/>
                  </a:lnTo>
                  <a:lnTo>
                    <a:pt x="102" y="100"/>
                  </a:lnTo>
                  <a:lnTo>
                    <a:pt x="89" y="104"/>
                  </a:lnTo>
                  <a:lnTo>
                    <a:pt x="87" y="114"/>
                  </a:lnTo>
                  <a:lnTo>
                    <a:pt x="77" y="119"/>
                  </a:lnTo>
                  <a:lnTo>
                    <a:pt x="65" y="132"/>
                  </a:lnTo>
                  <a:lnTo>
                    <a:pt x="64" y="132"/>
                  </a:lnTo>
                  <a:lnTo>
                    <a:pt x="41" y="129"/>
                  </a:lnTo>
                  <a:lnTo>
                    <a:pt x="37" y="126"/>
                  </a:lnTo>
                  <a:lnTo>
                    <a:pt x="28" y="125"/>
                  </a:lnTo>
                  <a:lnTo>
                    <a:pt x="27" y="125"/>
                  </a:lnTo>
                  <a:lnTo>
                    <a:pt x="25" y="126"/>
                  </a:lnTo>
                  <a:lnTo>
                    <a:pt x="21" y="126"/>
                  </a:lnTo>
                  <a:lnTo>
                    <a:pt x="18" y="128"/>
                  </a:lnTo>
                  <a:lnTo>
                    <a:pt x="16" y="128"/>
                  </a:lnTo>
                  <a:lnTo>
                    <a:pt x="0" y="113"/>
                  </a:lnTo>
                  <a:lnTo>
                    <a:pt x="0" y="64"/>
                  </a:lnTo>
                  <a:lnTo>
                    <a:pt x="27" y="64"/>
                  </a:lnTo>
                  <a:lnTo>
                    <a:pt x="25" y="63"/>
                  </a:lnTo>
                  <a:lnTo>
                    <a:pt x="27" y="36"/>
                  </a:lnTo>
                  <a:lnTo>
                    <a:pt x="30" y="36"/>
                  </a:lnTo>
                  <a:lnTo>
                    <a:pt x="31" y="34"/>
                  </a:lnTo>
                  <a:lnTo>
                    <a:pt x="31" y="36"/>
                  </a:lnTo>
                  <a:lnTo>
                    <a:pt x="34" y="42"/>
                  </a:lnTo>
                  <a:lnTo>
                    <a:pt x="43" y="39"/>
                  </a:lnTo>
                  <a:lnTo>
                    <a:pt x="47" y="43"/>
                  </a:lnTo>
                  <a:lnTo>
                    <a:pt x="58" y="49"/>
                  </a:lnTo>
                  <a:lnTo>
                    <a:pt x="59" y="49"/>
                  </a:lnTo>
                  <a:lnTo>
                    <a:pt x="61" y="48"/>
                  </a:lnTo>
                  <a:lnTo>
                    <a:pt x="64" y="48"/>
                  </a:lnTo>
                  <a:lnTo>
                    <a:pt x="65" y="46"/>
                  </a:lnTo>
                  <a:lnTo>
                    <a:pt x="68" y="46"/>
                  </a:lnTo>
                  <a:lnTo>
                    <a:pt x="68" y="48"/>
                  </a:lnTo>
                  <a:lnTo>
                    <a:pt x="73" y="52"/>
                  </a:lnTo>
                  <a:lnTo>
                    <a:pt x="80" y="54"/>
                  </a:lnTo>
                  <a:lnTo>
                    <a:pt x="92" y="66"/>
                  </a:lnTo>
                  <a:lnTo>
                    <a:pt x="102" y="69"/>
                  </a:lnTo>
                  <a:lnTo>
                    <a:pt x="101" y="55"/>
                  </a:lnTo>
                  <a:lnTo>
                    <a:pt x="92" y="55"/>
                  </a:lnTo>
                  <a:lnTo>
                    <a:pt x="86" y="48"/>
                  </a:lnTo>
                  <a:lnTo>
                    <a:pt x="90" y="30"/>
                  </a:lnTo>
                  <a:lnTo>
                    <a:pt x="89" y="14"/>
                  </a:lnTo>
                  <a:lnTo>
                    <a:pt x="95" y="5"/>
                  </a:lnTo>
                  <a:lnTo>
                    <a:pt x="95" y="3"/>
                  </a:lnTo>
                  <a:lnTo>
                    <a:pt x="98" y="3"/>
                  </a:lnTo>
                  <a:lnTo>
                    <a:pt x="102" y="2"/>
                  </a:lnTo>
                  <a:lnTo>
                    <a:pt x="105" y="2"/>
                  </a:lnTo>
                  <a:lnTo>
                    <a:pt x="1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5" name="Western Sahara">
              <a:extLst>
                <a:ext uri="{FF2B5EF4-FFF2-40B4-BE49-F238E27FC236}">
                  <a16:creationId xmlns:a16="http://schemas.microsoft.com/office/drawing/2014/main" id="{D7441089-27DA-9EF0-690A-BE4AA237C5AE}"/>
                </a:ext>
              </a:extLst>
            </p:cNvPr>
            <p:cNvSpPr>
              <a:spLocks/>
            </p:cNvSpPr>
            <p:nvPr/>
          </p:nvSpPr>
          <p:spPr bwMode="auto">
            <a:xfrm>
              <a:off x="5428290" y="3907952"/>
              <a:ext cx="198776" cy="177092"/>
            </a:xfrm>
            <a:custGeom>
              <a:avLst/>
              <a:gdLst>
                <a:gd name="T0" fmla="*/ 52 w 110"/>
                <a:gd name="T1" fmla="*/ 0 h 98"/>
                <a:gd name="T2" fmla="*/ 110 w 110"/>
                <a:gd name="T3" fmla="*/ 0 h 98"/>
                <a:gd name="T4" fmla="*/ 110 w 110"/>
                <a:gd name="T5" fmla="*/ 8 h 98"/>
                <a:gd name="T6" fmla="*/ 108 w 110"/>
                <a:gd name="T7" fmla="*/ 27 h 98"/>
                <a:gd name="T8" fmla="*/ 68 w 110"/>
                <a:gd name="T9" fmla="*/ 27 h 98"/>
                <a:gd name="T10" fmla="*/ 67 w 110"/>
                <a:gd name="T11" fmla="*/ 63 h 98"/>
                <a:gd name="T12" fmla="*/ 55 w 110"/>
                <a:gd name="T13" fmla="*/ 66 h 98"/>
                <a:gd name="T14" fmla="*/ 52 w 110"/>
                <a:gd name="T15" fmla="*/ 72 h 98"/>
                <a:gd name="T16" fmla="*/ 53 w 110"/>
                <a:gd name="T17" fmla="*/ 91 h 98"/>
                <a:gd name="T18" fmla="*/ 53 w 110"/>
                <a:gd name="T19" fmla="*/ 92 h 98"/>
                <a:gd name="T20" fmla="*/ 4 w 110"/>
                <a:gd name="T21" fmla="*/ 92 h 98"/>
                <a:gd name="T22" fmla="*/ 1 w 110"/>
                <a:gd name="T23" fmla="*/ 98 h 98"/>
                <a:gd name="T24" fmla="*/ 0 w 110"/>
                <a:gd name="T25" fmla="*/ 98 h 98"/>
                <a:gd name="T26" fmla="*/ 0 w 110"/>
                <a:gd name="T27" fmla="*/ 97 h 98"/>
                <a:gd name="T28" fmla="*/ 3 w 110"/>
                <a:gd name="T29" fmla="*/ 81 h 98"/>
                <a:gd name="T30" fmla="*/ 3 w 110"/>
                <a:gd name="T31" fmla="*/ 79 h 98"/>
                <a:gd name="T32" fmla="*/ 6 w 110"/>
                <a:gd name="T33" fmla="*/ 78 h 98"/>
                <a:gd name="T34" fmla="*/ 16 w 110"/>
                <a:gd name="T35" fmla="*/ 55 h 98"/>
                <a:gd name="T36" fmla="*/ 28 w 110"/>
                <a:gd name="T37" fmla="*/ 40 h 98"/>
                <a:gd name="T38" fmla="*/ 33 w 110"/>
                <a:gd name="T39" fmla="*/ 26 h 98"/>
                <a:gd name="T40" fmla="*/ 46 w 110"/>
                <a:gd name="T41" fmla="*/ 15 h 98"/>
                <a:gd name="T42" fmla="*/ 52 w 110"/>
                <a:gd name="T43" fmla="*/ 2 h 98"/>
                <a:gd name="T44" fmla="*/ 52 w 110"/>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98">
                  <a:moveTo>
                    <a:pt x="52" y="0"/>
                  </a:moveTo>
                  <a:lnTo>
                    <a:pt x="110" y="0"/>
                  </a:lnTo>
                  <a:lnTo>
                    <a:pt x="110" y="8"/>
                  </a:lnTo>
                  <a:lnTo>
                    <a:pt x="108" y="27"/>
                  </a:lnTo>
                  <a:lnTo>
                    <a:pt x="68" y="27"/>
                  </a:lnTo>
                  <a:lnTo>
                    <a:pt x="67" y="63"/>
                  </a:lnTo>
                  <a:lnTo>
                    <a:pt x="55" y="66"/>
                  </a:lnTo>
                  <a:lnTo>
                    <a:pt x="52" y="72"/>
                  </a:lnTo>
                  <a:lnTo>
                    <a:pt x="53" y="91"/>
                  </a:lnTo>
                  <a:lnTo>
                    <a:pt x="53" y="92"/>
                  </a:lnTo>
                  <a:lnTo>
                    <a:pt x="4" y="92"/>
                  </a:lnTo>
                  <a:lnTo>
                    <a:pt x="1" y="98"/>
                  </a:lnTo>
                  <a:lnTo>
                    <a:pt x="0" y="98"/>
                  </a:lnTo>
                  <a:lnTo>
                    <a:pt x="0" y="97"/>
                  </a:lnTo>
                  <a:lnTo>
                    <a:pt x="3" y="81"/>
                  </a:lnTo>
                  <a:lnTo>
                    <a:pt x="3" y="79"/>
                  </a:lnTo>
                  <a:lnTo>
                    <a:pt x="6" y="78"/>
                  </a:lnTo>
                  <a:lnTo>
                    <a:pt x="16" y="55"/>
                  </a:lnTo>
                  <a:lnTo>
                    <a:pt x="28" y="40"/>
                  </a:lnTo>
                  <a:lnTo>
                    <a:pt x="33" y="26"/>
                  </a:lnTo>
                  <a:lnTo>
                    <a:pt x="46" y="15"/>
                  </a:lnTo>
                  <a:lnTo>
                    <a:pt x="52" y="2"/>
                  </a:lnTo>
                  <a:lnTo>
                    <a:pt x="5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6" name="Uganda">
              <a:extLst>
                <a:ext uri="{FF2B5EF4-FFF2-40B4-BE49-F238E27FC236}">
                  <a16:creationId xmlns:a16="http://schemas.microsoft.com/office/drawing/2014/main" id="{A4B4D4B6-5FB7-66BB-CAA7-6B8CF436ACDF}"/>
                </a:ext>
              </a:extLst>
            </p:cNvPr>
            <p:cNvSpPr>
              <a:spLocks/>
            </p:cNvSpPr>
            <p:nvPr/>
          </p:nvSpPr>
          <p:spPr bwMode="auto">
            <a:xfrm>
              <a:off x="6528791" y="4493441"/>
              <a:ext cx="128302" cy="128302"/>
            </a:xfrm>
            <a:custGeom>
              <a:avLst/>
              <a:gdLst>
                <a:gd name="T0" fmla="*/ 55 w 71"/>
                <a:gd name="T1" fmla="*/ 0 h 71"/>
                <a:gd name="T2" fmla="*/ 61 w 71"/>
                <a:gd name="T3" fmla="*/ 1 h 71"/>
                <a:gd name="T4" fmla="*/ 64 w 71"/>
                <a:gd name="T5" fmla="*/ 12 h 71"/>
                <a:gd name="T6" fmla="*/ 68 w 71"/>
                <a:gd name="T7" fmla="*/ 16 h 71"/>
                <a:gd name="T8" fmla="*/ 71 w 71"/>
                <a:gd name="T9" fmla="*/ 25 h 71"/>
                <a:gd name="T10" fmla="*/ 68 w 71"/>
                <a:gd name="T11" fmla="*/ 34 h 71"/>
                <a:gd name="T12" fmla="*/ 56 w 71"/>
                <a:gd name="T13" fmla="*/ 50 h 71"/>
                <a:gd name="T14" fmla="*/ 54 w 71"/>
                <a:gd name="T15" fmla="*/ 50 h 71"/>
                <a:gd name="T16" fmla="*/ 51 w 71"/>
                <a:gd name="T17" fmla="*/ 49 h 71"/>
                <a:gd name="T18" fmla="*/ 48 w 71"/>
                <a:gd name="T19" fmla="*/ 49 h 71"/>
                <a:gd name="T20" fmla="*/ 45 w 71"/>
                <a:gd name="T21" fmla="*/ 53 h 71"/>
                <a:gd name="T22" fmla="*/ 43 w 71"/>
                <a:gd name="T23" fmla="*/ 53 h 71"/>
                <a:gd name="T24" fmla="*/ 39 w 71"/>
                <a:gd name="T25" fmla="*/ 52 h 71"/>
                <a:gd name="T26" fmla="*/ 30 w 71"/>
                <a:gd name="T27" fmla="*/ 55 h 71"/>
                <a:gd name="T28" fmla="*/ 28 w 71"/>
                <a:gd name="T29" fmla="*/ 65 h 71"/>
                <a:gd name="T30" fmla="*/ 28 w 71"/>
                <a:gd name="T31" fmla="*/ 66 h 71"/>
                <a:gd name="T32" fmla="*/ 11 w 71"/>
                <a:gd name="T33" fmla="*/ 66 h 71"/>
                <a:gd name="T34" fmla="*/ 6 w 71"/>
                <a:gd name="T35" fmla="*/ 71 h 71"/>
                <a:gd name="T36" fmla="*/ 5 w 71"/>
                <a:gd name="T37" fmla="*/ 71 h 71"/>
                <a:gd name="T38" fmla="*/ 0 w 71"/>
                <a:gd name="T39" fmla="*/ 69 h 71"/>
                <a:gd name="T40" fmla="*/ 2 w 71"/>
                <a:gd name="T41" fmla="*/ 47 h 71"/>
                <a:gd name="T42" fmla="*/ 11 w 71"/>
                <a:gd name="T43" fmla="*/ 37 h 71"/>
                <a:gd name="T44" fmla="*/ 12 w 71"/>
                <a:gd name="T45" fmla="*/ 37 h 71"/>
                <a:gd name="T46" fmla="*/ 13 w 71"/>
                <a:gd name="T47" fmla="*/ 38 h 71"/>
                <a:gd name="T48" fmla="*/ 19 w 71"/>
                <a:gd name="T49" fmla="*/ 31 h 71"/>
                <a:gd name="T50" fmla="*/ 19 w 71"/>
                <a:gd name="T51" fmla="*/ 23 h 71"/>
                <a:gd name="T52" fmla="*/ 15 w 71"/>
                <a:gd name="T53" fmla="*/ 19 h 71"/>
                <a:gd name="T54" fmla="*/ 13 w 71"/>
                <a:gd name="T55" fmla="*/ 19 h 71"/>
                <a:gd name="T56" fmla="*/ 15 w 71"/>
                <a:gd name="T57" fmla="*/ 6 h 71"/>
                <a:gd name="T58" fmla="*/ 49 w 71"/>
                <a:gd name="T59" fmla="*/ 3 h 71"/>
                <a:gd name="T60" fmla="*/ 55 w 71"/>
                <a:gd name="T6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1" h="71">
                  <a:moveTo>
                    <a:pt x="55" y="0"/>
                  </a:moveTo>
                  <a:lnTo>
                    <a:pt x="61" y="1"/>
                  </a:lnTo>
                  <a:lnTo>
                    <a:pt x="64" y="12"/>
                  </a:lnTo>
                  <a:lnTo>
                    <a:pt x="68" y="16"/>
                  </a:lnTo>
                  <a:lnTo>
                    <a:pt x="71" y="25"/>
                  </a:lnTo>
                  <a:lnTo>
                    <a:pt x="68" y="34"/>
                  </a:lnTo>
                  <a:lnTo>
                    <a:pt x="56" y="50"/>
                  </a:lnTo>
                  <a:lnTo>
                    <a:pt x="54" y="50"/>
                  </a:lnTo>
                  <a:lnTo>
                    <a:pt x="51" y="49"/>
                  </a:lnTo>
                  <a:lnTo>
                    <a:pt x="48" y="49"/>
                  </a:lnTo>
                  <a:lnTo>
                    <a:pt x="45" y="53"/>
                  </a:lnTo>
                  <a:lnTo>
                    <a:pt x="43" y="53"/>
                  </a:lnTo>
                  <a:lnTo>
                    <a:pt x="39" y="52"/>
                  </a:lnTo>
                  <a:lnTo>
                    <a:pt x="30" y="55"/>
                  </a:lnTo>
                  <a:lnTo>
                    <a:pt x="28" y="65"/>
                  </a:lnTo>
                  <a:lnTo>
                    <a:pt x="28" y="66"/>
                  </a:lnTo>
                  <a:lnTo>
                    <a:pt x="11" y="66"/>
                  </a:lnTo>
                  <a:lnTo>
                    <a:pt x="6" y="71"/>
                  </a:lnTo>
                  <a:lnTo>
                    <a:pt x="5" y="71"/>
                  </a:lnTo>
                  <a:lnTo>
                    <a:pt x="0" y="69"/>
                  </a:lnTo>
                  <a:lnTo>
                    <a:pt x="2" y="47"/>
                  </a:lnTo>
                  <a:lnTo>
                    <a:pt x="11" y="37"/>
                  </a:lnTo>
                  <a:lnTo>
                    <a:pt x="12" y="37"/>
                  </a:lnTo>
                  <a:lnTo>
                    <a:pt x="13" y="38"/>
                  </a:lnTo>
                  <a:lnTo>
                    <a:pt x="19" y="31"/>
                  </a:lnTo>
                  <a:lnTo>
                    <a:pt x="19" y="23"/>
                  </a:lnTo>
                  <a:lnTo>
                    <a:pt x="15" y="19"/>
                  </a:lnTo>
                  <a:lnTo>
                    <a:pt x="13" y="19"/>
                  </a:lnTo>
                  <a:lnTo>
                    <a:pt x="15" y="6"/>
                  </a:lnTo>
                  <a:lnTo>
                    <a:pt x="49" y="3"/>
                  </a:lnTo>
                  <a:lnTo>
                    <a:pt x="5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7" name="Tunisia">
              <a:extLst>
                <a:ext uri="{FF2B5EF4-FFF2-40B4-BE49-F238E27FC236}">
                  <a16:creationId xmlns:a16="http://schemas.microsoft.com/office/drawing/2014/main" id="{F873BE49-67AC-D2F4-5760-9C3E33D9AA6E}"/>
                </a:ext>
              </a:extLst>
            </p:cNvPr>
            <p:cNvSpPr>
              <a:spLocks/>
            </p:cNvSpPr>
            <p:nvPr/>
          </p:nvSpPr>
          <p:spPr bwMode="auto">
            <a:xfrm>
              <a:off x="6001130" y="3640507"/>
              <a:ext cx="93967" cy="200584"/>
            </a:xfrm>
            <a:custGeom>
              <a:avLst/>
              <a:gdLst>
                <a:gd name="T0" fmla="*/ 30 w 52"/>
                <a:gd name="T1" fmla="*/ 0 h 111"/>
                <a:gd name="T2" fmla="*/ 37 w 52"/>
                <a:gd name="T3" fmla="*/ 2 h 111"/>
                <a:gd name="T4" fmla="*/ 39 w 52"/>
                <a:gd name="T5" fmla="*/ 3 h 111"/>
                <a:gd name="T6" fmla="*/ 39 w 52"/>
                <a:gd name="T7" fmla="*/ 9 h 111"/>
                <a:gd name="T8" fmla="*/ 40 w 52"/>
                <a:gd name="T9" fmla="*/ 11 h 111"/>
                <a:gd name="T10" fmla="*/ 48 w 52"/>
                <a:gd name="T11" fmla="*/ 5 h 111"/>
                <a:gd name="T12" fmla="*/ 49 w 52"/>
                <a:gd name="T13" fmla="*/ 5 h 111"/>
                <a:gd name="T14" fmla="*/ 49 w 52"/>
                <a:gd name="T15" fmla="*/ 9 h 111"/>
                <a:gd name="T16" fmla="*/ 42 w 52"/>
                <a:gd name="T17" fmla="*/ 21 h 111"/>
                <a:gd name="T18" fmla="*/ 43 w 52"/>
                <a:gd name="T19" fmla="*/ 25 h 111"/>
                <a:gd name="T20" fmla="*/ 49 w 52"/>
                <a:gd name="T21" fmla="*/ 28 h 111"/>
                <a:gd name="T22" fmla="*/ 49 w 52"/>
                <a:gd name="T23" fmla="*/ 34 h 111"/>
                <a:gd name="T24" fmla="*/ 46 w 52"/>
                <a:gd name="T25" fmla="*/ 42 h 111"/>
                <a:gd name="T26" fmla="*/ 37 w 52"/>
                <a:gd name="T27" fmla="*/ 49 h 111"/>
                <a:gd name="T28" fmla="*/ 36 w 52"/>
                <a:gd name="T29" fmla="*/ 54 h 111"/>
                <a:gd name="T30" fmla="*/ 36 w 52"/>
                <a:gd name="T31" fmla="*/ 55 h 111"/>
                <a:gd name="T32" fmla="*/ 34 w 52"/>
                <a:gd name="T33" fmla="*/ 54 h 111"/>
                <a:gd name="T34" fmla="*/ 33 w 52"/>
                <a:gd name="T35" fmla="*/ 54 h 111"/>
                <a:gd name="T36" fmla="*/ 33 w 52"/>
                <a:gd name="T37" fmla="*/ 55 h 111"/>
                <a:gd name="T38" fmla="*/ 37 w 52"/>
                <a:gd name="T39" fmla="*/ 60 h 111"/>
                <a:gd name="T40" fmla="*/ 42 w 52"/>
                <a:gd name="T41" fmla="*/ 61 h 111"/>
                <a:gd name="T42" fmla="*/ 46 w 52"/>
                <a:gd name="T43" fmla="*/ 61 h 111"/>
                <a:gd name="T44" fmla="*/ 49 w 52"/>
                <a:gd name="T45" fmla="*/ 67 h 111"/>
                <a:gd name="T46" fmla="*/ 52 w 52"/>
                <a:gd name="T47" fmla="*/ 67 h 111"/>
                <a:gd name="T48" fmla="*/ 52 w 52"/>
                <a:gd name="T49" fmla="*/ 80 h 111"/>
                <a:gd name="T50" fmla="*/ 51 w 52"/>
                <a:gd name="T51" fmla="*/ 80 h 111"/>
                <a:gd name="T52" fmla="*/ 36 w 52"/>
                <a:gd name="T53" fmla="*/ 92 h 111"/>
                <a:gd name="T54" fmla="*/ 36 w 52"/>
                <a:gd name="T55" fmla="*/ 105 h 111"/>
                <a:gd name="T56" fmla="*/ 27 w 52"/>
                <a:gd name="T57" fmla="*/ 111 h 111"/>
                <a:gd name="T58" fmla="*/ 21 w 52"/>
                <a:gd name="T59" fmla="*/ 85 h 111"/>
                <a:gd name="T60" fmla="*/ 11 w 52"/>
                <a:gd name="T61" fmla="*/ 79 h 111"/>
                <a:gd name="T62" fmla="*/ 9 w 52"/>
                <a:gd name="T63" fmla="*/ 70 h 111"/>
                <a:gd name="T64" fmla="*/ 3 w 52"/>
                <a:gd name="T65" fmla="*/ 67 h 111"/>
                <a:gd name="T66" fmla="*/ 2 w 52"/>
                <a:gd name="T67" fmla="*/ 67 h 111"/>
                <a:gd name="T68" fmla="*/ 0 w 52"/>
                <a:gd name="T69" fmla="*/ 55 h 111"/>
                <a:gd name="T70" fmla="*/ 11 w 52"/>
                <a:gd name="T71" fmla="*/ 45 h 111"/>
                <a:gd name="T72" fmla="*/ 13 w 52"/>
                <a:gd name="T73" fmla="*/ 36 h 111"/>
                <a:gd name="T74" fmla="*/ 12 w 52"/>
                <a:gd name="T75" fmla="*/ 25 h 111"/>
                <a:gd name="T76" fmla="*/ 13 w 52"/>
                <a:gd name="T77" fmla="*/ 17 h 111"/>
                <a:gd name="T78" fmla="*/ 12 w 52"/>
                <a:gd name="T79" fmla="*/ 15 h 111"/>
                <a:gd name="T80" fmla="*/ 11 w 52"/>
                <a:gd name="T81" fmla="*/ 15 h 111"/>
                <a:gd name="T82" fmla="*/ 11 w 52"/>
                <a:gd name="T83" fmla="*/ 14 h 111"/>
                <a:gd name="T84" fmla="*/ 16 w 52"/>
                <a:gd name="T85" fmla="*/ 8 h 111"/>
                <a:gd name="T86" fmla="*/ 30 w 52"/>
                <a:gd name="T8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11">
                  <a:moveTo>
                    <a:pt x="30" y="0"/>
                  </a:moveTo>
                  <a:lnTo>
                    <a:pt x="37" y="2"/>
                  </a:lnTo>
                  <a:lnTo>
                    <a:pt x="39" y="3"/>
                  </a:lnTo>
                  <a:lnTo>
                    <a:pt x="39" y="9"/>
                  </a:lnTo>
                  <a:lnTo>
                    <a:pt x="40" y="11"/>
                  </a:lnTo>
                  <a:lnTo>
                    <a:pt x="48" y="5"/>
                  </a:lnTo>
                  <a:lnTo>
                    <a:pt x="49" y="5"/>
                  </a:lnTo>
                  <a:lnTo>
                    <a:pt x="49" y="9"/>
                  </a:lnTo>
                  <a:lnTo>
                    <a:pt x="42" y="21"/>
                  </a:lnTo>
                  <a:lnTo>
                    <a:pt x="43" y="25"/>
                  </a:lnTo>
                  <a:lnTo>
                    <a:pt x="49" y="28"/>
                  </a:lnTo>
                  <a:lnTo>
                    <a:pt x="49" y="34"/>
                  </a:lnTo>
                  <a:lnTo>
                    <a:pt x="46" y="42"/>
                  </a:lnTo>
                  <a:lnTo>
                    <a:pt x="37" y="49"/>
                  </a:lnTo>
                  <a:lnTo>
                    <a:pt x="36" y="54"/>
                  </a:lnTo>
                  <a:lnTo>
                    <a:pt x="36" y="55"/>
                  </a:lnTo>
                  <a:lnTo>
                    <a:pt x="34" y="54"/>
                  </a:lnTo>
                  <a:lnTo>
                    <a:pt x="33" y="54"/>
                  </a:lnTo>
                  <a:lnTo>
                    <a:pt x="33" y="55"/>
                  </a:lnTo>
                  <a:lnTo>
                    <a:pt x="37" y="60"/>
                  </a:lnTo>
                  <a:lnTo>
                    <a:pt x="42" y="61"/>
                  </a:lnTo>
                  <a:lnTo>
                    <a:pt x="46" y="61"/>
                  </a:lnTo>
                  <a:lnTo>
                    <a:pt x="49" y="67"/>
                  </a:lnTo>
                  <a:lnTo>
                    <a:pt x="52" y="67"/>
                  </a:lnTo>
                  <a:lnTo>
                    <a:pt x="52" y="80"/>
                  </a:lnTo>
                  <a:lnTo>
                    <a:pt x="51" y="80"/>
                  </a:lnTo>
                  <a:lnTo>
                    <a:pt x="36" y="92"/>
                  </a:lnTo>
                  <a:lnTo>
                    <a:pt x="36" y="105"/>
                  </a:lnTo>
                  <a:lnTo>
                    <a:pt x="27" y="111"/>
                  </a:lnTo>
                  <a:lnTo>
                    <a:pt x="21" y="85"/>
                  </a:lnTo>
                  <a:lnTo>
                    <a:pt x="11" y="79"/>
                  </a:lnTo>
                  <a:lnTo>
                    <a:pt x="9" y="70"/>
                  </a:lnTo>
                  <a:lnTo>
                    <a:pt x="3" y="67"/>
                  </a:lnTo>
                  <a:lnTo>
                    <a:pt x="2" y="67"/>
                  </a:lnTo>
                  <a:lnTo>
                    <a:pt x="0" y="55"/>
                  </a:lnTo>
                  <a:lnTo>
                    <a:pt x="11" y="45"/>
                  </a:lnTo>
                  <a:lnTo>
                    <a:pt x="13" y="36"/>
                  </a:lnTo>
                  <a:lnTo>
                    <a:pt x="12" y="25"/>
                  </a:lnTo>
                  <a:lnTo>
                    <a:pt x="13" y="17"/>
                  </a:lnTo>
                  <a:lnTo>
                    <a:pt x="12" y="15"/>
                  </a:lnTo>
                  <a:lnTo>
                    <a:pt x="11" y="15"/>
                  </a:lnTo>
                  <a:lnTo>
                    <a:pt x="11" y="14"/>
                  </a:lnTo>
                  <a:lnTo>
                    <a:pt x="16" y="8"/>
                  </a:lnTo>
                  <a:lnTo>
                    <a:pt x="3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8" name="Togo">
              <a:extLst>
                <a:ext uri="{FF2B5EF4-FFF2-40B4-BE49-F238E27FC236}">
                  <a16:creationId xmlns:a16="http://schemas.microsoft.com/office/drawing/2014/main" id="{5A199FA3-ECAA-A6F8-CA80-262DA09942FE}"/>
                </a:ext>
              </a:extLst>
            </p:cNvPr>
            <p:cNvSpPr>
              <a:spLocks/>
            </p:cNvSpPr>
            <p:nvPr/>
          </p:nvSpPr>
          <p:spPr bwMode="auto">
            <a:xfrm>
              <a:off x="5822230" y="4323577"/>
              <a:ext cx="52405" cy="122880"/>
            </a:xfrm>
            <a:custGeom>
              <a:avLst/>
              <a:gdLst>
                <a:gd name="T0" fmla="*/ 0 w 29"/>
                <a:gd name="T1" fmla="*/ 0 h 68"/>
                <a:gd name="T2" fmla="*/ 1 w 29"/>
                <a:gd name="T3" fmla="*/ 0 h 68"/>
                <a:gd name="T4" fmla="*/ 10 w 29"/>
                <a:gd name="T5" fmla="*/ 3 h 68"/>
                <a:gd name="T6" fmla="*/ 12 w 29"/>
                <a:gd name="T7" fmla="*/ 3 h 68"/>
                <a:gd name="T8" fmla="*/ 15 w 29"/>
                <a:gd name="T9" fmla="*/ 2 h 68"/>
                <a:gd name="T10" fmla="*/ 15 w 29"/>
                <a:gd name="T11" fmla="*/ 11 h 68"/>
                <a:gd name="T12" fmla="*/ 21 w 29"/>
                <a:gd name="T13" fmla="*/ 17 h 68"/>
                <a:gd name="T14" fmla="*/ 27 w 29"/>
                <a:gd name="T15" fmla="*/ 33 h 68"/>
                <a:gd name="T16" fmla="*/ 27 w 29"/>
                <a:gd name="T17" fmla="*/ 60 h 68"/>
                <a:gd name="T18" fmla="*/ 29 w 29"/>
                <a:gd name="T19" fmla="*/ 66 h 68"/>
                <a:gd name="T20" fmla="*/ 29 w 29"/>
                <a:gd name="T21" fmla="*/ 67 h 68"/>
                <a:gd name="T22" fmla="*/ 28 w 29"/>
                <a:gd name="T23" fmla="*/ 67 h 68"/>
                <a:gd name="T24" fmla="*/ 21 w 29"/>
                <a:gd name="T25" fmla="*/ 68 h 68"/>
                <a:gd name="T26" fmla="*/ 19 w 29"/>
                <a:gd name="T27" fmla="*/ 68 h 68"/>
                <a:gd name="T28" fmla="*/ 12 w 29"/>
                <a:gd name="T29" fmla="*/ 58 h 68"/>
                <a:gd name="T30" fmla="*/ 9 w 29"/>
                <a:gd name="T31" fmla="*/ 25 h 68"/>
                <a:gd name="T32" fmla="*/ 7 w 29"/>
                <a:gd name="T33" fmla="*/ 14 h 68"/>
                <a:gd name="T34" fmla="*/ 1 w 29"/>
                <a:gd name="T35" fmla="*/ 8 h 68"/>
                <a:gd name="T36" fmla="*/ 1 w 29"/>
                <a:gd name="T37" fmla="*/ 3 h 68"/>
                <a:gd name="T38" fmla="*/ 0 w 29"/>
                <a:gd name="T39" fmla="*/ 2 h 68"/>
                <a:gd name="T40" fmla="*/ 0 w 29"/>
                <a:gd name="T4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8">
                  <a:moveTo>
                    <a:pt x="0" y="0"/>
                  </a:moveTo>
                  <a:lnTo>
                    <a:pt x="1" y="0"/>
                  </a:lnTo>
                  <a:lnTo>
                    <a:pt x="10" y="3"/>
                  </a:lnTo>
                  <a:lnTo>
                    <a:pt x="12" y="3"/>
                  </a:lnTo>
                  <a:lnTo>
                    <a:pt x="15" y="2"/>
                  </a:lnTo>
                  <a:lnTo>
                    <a:pt x="15" y="11"/>
                  </a:lnTo>
                  <a:lnTo>
                    <a:pt x="21" y="17"/>
                  </a:lnTo>
                  <a:lnTo>
                    <a:pt x="27" y="33"/>
                  </a:lnTo>
                  <a:lnTo>
                    <a:pt x="27" y="60"/>
                  </a:lnTo>
                  <a:lnTo>
                    <a:pt x="29" y="66"/>
                  </a:lnTo>
                  <a:lnTo>
                    <a:pt x="29" y="67"/>
                  </a:lnTo>
                  <a:lnTo>
                    <a:pt x="28" y="67"/>
                  </a:lnTo>
                  <a:lnTo>
                    <a:pt x="21" y="68"/>
                  </a:lnTo>
                  <a:lnTo>
                    <a:pt x="19" y="68"/>
                  </a:lnTo>
                  <a:lnTo>
                    <a:pt x="12" y="58"/>
                  </a:lnTo>
                  <a:lnTo>
                    <a:pt x="9" y="25"/>
                  </a:lnTo>
                  <a:lnTo>
                    <a:pt x="7" y="14"/>
                  </a:lnTo>
                  <a:lnTo>
                    <a:pt x="1" y="8"/>
                  </a:lnTo>
                  <a:lnTo>
                    <a:pt x="1" y="3"/>
                  </a:lnTo>
                  <a:lnTo>
                    <a:pt x="0" y="2"/>
                  </a:lnTo>
                  <a:lnTo>
                    <a:pt x="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9" name="Tanzania">
              <a:extLst>
                <a:ext uri="{FF2B5EF4-FFF2-40B4-BE49-F238E27FC236}">
                  <a16:creationId xmlns:a16="http://schemas.microsoft.com/office/drawing/2014/main" id="{CB152E2A-2E8C-B5F2-3DF4-7F592D0724ED}"/>
                </a:ext>
              </a:extLst>
            </p:cNvPr>
            <p:cNvSpPr>
              <a:spLocks/>
            </p:cNvSpPr>
            <p:nvPr/>
          </p:nvSpPr>
          <p:spPr bwMode="auto">
            <a:xfrm>
              <a:off x="6526984" y="4610898"/>
              <a:ext cx="256602" cy="254796"/>
            </a:xfrm>
            <a:custGeom>
              <a:avLst/>
              <a:gdLst>
                <a:gd name="T0" fmla="*/ 10 w 142"/>
                <a:gd name="T1" fmla="*/ 0 h 141"/>
                <a:gd name="T2" fmla="*/ 29 w 142"/>
                <a:gd name="T3" fmla="*/ 0 h 141"/>
                <a:gd name="T4" fmla="*/ 28 w 142"/>
                <a:gd name="T5" fmla="*/ 15 h 141"/>
                <a:gd name="T6" fmla="*/ 29 w 142"/>
                <a:gd name="T7" fmla="*/ 22 h 141"/>
                <a:gd name="T8" fmla="*/ 34 w 142"/>
                <a:gd name="T9" fmla="*/ 21 h 141"/>
                <a:gd name="T10" fmla="*/ 34 w 142"/>
                <a:gd name="T11" fmla="*/ 16 h 141"/>
                <a:gd name="T12" fmla="*/ 35 w 142"/>
                <a:gd name="T13" fmla="*/ 16 h 141"/>
                <a:gd name="T14" fmla="*/ 40 w 142"/>
                <a:gd name="T15" fmla="*/ 21 h 141"/>
                <a:gd name="T16" fmla="*/ 43 w 142"/>
                <a:gd name="T17" fmla="*/ 21 h 141"/>
                <a:gd name="T18" fmla="*/ 43 w 142"/>
                <a:gd name="T19" fmla="*/ 22 h 141"/>
                <a:gd name="T20" fmla="*/ 44 w 142"/>
                <a:gd name="T21" fmla="*/ 19 h 141"/>
                <a:gd name="T22" fmla="*/ 53 w 142"/>
                <a:gd name="T23" fmla="*/ 16 h 141"/>
                <a:gd name="T24" fmla="*/ 49 w 142"/>
                <a:gd name="T25" fmla="*/ 15 h 141"/>
                <a:gd name="T26" fmla="*/ 47 w 142"/>
                <a:gd name="T27" fmla="*/ 15 h 141"/>
                <a:gd name="T28" fmla="*/ 47 w 142"/>
                <a:gd name="T29" fmla="*/ 13 h 141"/>
                <a:gd name="T30" fmla="*/ 59 w 142"/>
                <a:gd name="T31" fmla="*/ 0 h 141"/>
                <a:gd name="T32" fmla="*/ 60 w 142"/>
                <a:gd name="T33" fmla="*/ 0 h 141"/>
                <a:gd name="T34" fmla="*/ 105 w 142"/>
                <a:gd name="T35" fmla="*/ 27 h 141"/>
                <a:gd name="T36" fmla="*/ 106 w 142"/>
                <a:gd name="T37" fmla="*/ 27 h 141"/>
                <a:gd name="T38" fmla="*/ 109 w 142"/>
                <a:gd name="T39" fmla="*/ 37 h 141"/>
                <a:gd name="T40" fmla="*/ 127 w 142"/>
                <a:gd name="T41" fmla="*/ 47 h 141"/>
                <a:gd name="T42" fmla="*/ 127 w 142"/>
                <a:gd name="T43" fmla="*/ 49 h 141"/>
                <a:gd name="T44" fmla="*/ 123 w 142"/>
                <a:gd name="T45" fmla="*/ 70 h 141"/>
                <a:gd name="T46" fmla="*/ 132 w 142"/>
                <a:gd name="T47" fmla="*/ 80 h 141"/>
                <a:gd name="T48" fmla="*/ 127 w 142"/>
                <a:gd name="T49" fmla="*/ 96 h 141"/>
                <a:gd name="T50" fmla="*/ 129 w 142"/>
                <a:gd name="T51" fmla="*/ 104 h 141"/>
                <a:gd name="T52" fmla="*/ 135 w 142"/>
                <a:gd name="T53" fmla="*/ 119 h 141"/>
                <a:gd name="T54" fmla="*/ 142 w 142"/>
                <a:gd name="T55" fmla="*/ 123 h 141"/>
                <a:gd name="T56" fmla="*/ 142 w 142"/>
                <a:gd name="T57" fmla="*/ 126 h 141"/>
                <a:gd name="T58" fmla="*/ 136 w 142"/>
                <a:gd name="T59" fmla="*/ 132 h 141"/>
                <a:gd name="T60" fmla="*/ 121 w 142"/>
                <a:gd name="T61" fmla="*/ 136 h 141"/>
                <a:gd name="T62" fmla="*/ 114 w 142"/>
                <a:gd name="T63" fmla="*/ 135 h 141"/>
                <a:gd name="T64" fmla="*/ 105 w 142"/>
                <a:gd name="T65" fmla="*/ 139 h 141"/>
                <a:gd name="T66" fmla="*/ 99 w 142"/>
                <a:gd name="T67" fmla="*/ 139 h 141"/>
                <a:gd name="T68" fmla="*/ 95 w 142"/>
                <a:gd name="T69" fmla="*/ 141 h 141"/>
                <a:gd name="T70" fmla="*/ 89 w 142"/>
                <a:gd name="T71" fmla="*/ 141 h 141"/>
                <a:gd name="T72" fmla="*/ 83 w 142"/>
                <a:gd name="T73" fmla="*/ 138 h 141"/>
                <a:gd name="T74" fmla="*/ 80 w 142"/>
                <a:gd name="T75" fmla="*/ 138 h 141"/>
                <a:gd name="T76" fmla="*/ 77 w 142"/>
                <a:gd name="T77" fmla="*/ 139 h 141"/>
                <a:gd name="T78" fmla="*/ 69 w 142"/>
                <a:gd name="T79" fmla="*/ 139 h 141"/>
                <a:gd name="T80" fmla="*/ 65 w 142"/>
                <a:gd name="T81" fmla="*/ 133 h 141"/>
                <a:gd name="T82" fmla="*/ 62 w 142"/>
                <a:gd name="T83" fmla="*/ 119 h 141"/>
                <a:gd name="T84" fmla="*/ 56 w 142"/>
                <a:gd name="T85" fmla="*/ 114 h 141"/>
                <a:gd name="T86" fmla="*/ 52 w 142"/>
                <a:gd name="T87" fmla="*/ 114 h 141"/>
                <a:gd name="T88" fmla="*/ 44 w 142"/>
                <a:gd name="T89" fmla="*/ 111 h 141"/>
                <a:gd name="T90" fmla="*/ 19 w 142"/>
                <a:gd name="T91" fmla="*/ 101 h 141"/>
                <a:gd name="T92" fmla="*/ 19 w 142"/>
                <a:gd name="T93" fmla="*/ 99 h 141"/>
                <a:gd name="T94" fmla="*/ 12 w 142"/>
                <a:gd name="T95" fmla="*/ 84 h 141"/>
                <a:gd name="T96" fmla="*/ 12 w 142"/>
                <a:gd name="T97" fmla="*/ 78 h 141"/>
                <a:gd name="T98" fmla="*/ 3 w 142"/>
                <a:gd name="T99" fmla="*/ 71 h 141"/>
                <a:gd name="T100" fmla="*/ 3 w 142"/>
                <a:gd name="T101" fmla="*/ 70 h 141"/>
                <a:gd name="T102" fmla="*/ 4 w 142"/>
                <a:gd name="T103" fmla="*/ 64 h 141"/>
                <a:gd name="T104" fmla="*/ 0 w 142"/>
                <a:gd name="T105" fmla="*/ 44 h 141"/>
                <a:gd name="T106" fmla="*/ 1 w 142"/>
                <a:gd name="T107" fmla="*/ 44 h 141"/>
                <a:gd name="T108" fmla="*/ 7 w 142"/>
                <a:gd name="T109" fmla="*/ 41 h 141"/>
                <a:gd name="T110" fmla="*/ 14 w 142"/>
                <a:gd name="T111" fmla="*/ 30 h 141"/>
                <a:gd name="T112" fmla="*/ 12 w 142"/>
                <a:gd name="T113" fmla="*/ 24 h 141"/>
                <a:gd name="T114" fmla="*/ 12 w 142"/>
                <a:gd name="T115" fmla="*/ 22 h 141"/>
                <a:gd name="T116" fmla="*/ 13 w 142"/>
                <a:gd name="T117" fmla="*/ 18 h 141"/>
                <a:gd name="T118" fmla="*/ 16 w 142"/>
                <a:gd name="T119" fmla="*/ 13 h 141"/>
                <a:gd name="T120" fmla="*/ 10 w 142"/>
                <a:gd name="T121" fmla="*/ 1 h 141"/>
                <a:gd name="T122" fmla="*/ 10 w 142"/>
                <a:gd name="T123"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 h="141">
                  <a:moveTo>
                    <a:pt x="10" y="0"/>
                  </a:moveTo>
                  <a:lnTo>
                    <a:pt x="29" y="0"/>
                  </a:lnTo>
                  <a:lnTo>
                    <a:pt x="28" y="15"/>
                  </a:lnTo>
                  <a:lnTo>
                    <a:pt x="29" y="22"/>
                  </a:lnTo>
                  <a:lnTo>
                    <a:pt x="34" y="21"/>
                  </a:lnTo>
                  <a:lnTo>
                    <a:pt x="34" y="16"/>
                  </a:lnTo>
                  <a:lnTo>
                    <a:pt x="35" y="16"/>
                  </a:lnTo>
                  <a:lnTo>
                    <a:pt x="40" y="21"/>
                  </a:lnTo>
                  <a:lnTo>
                    <a:pt x="43" y="21"/>
                  </a:lnTo>
                  <a:lnTo>
                    <a:pt x="43" y="22"/>
                  </a:lnTo>
                  <a:lnTo>
                    <a:pt x="44" y="19"/>
                  </a:lnTo>
                  <a:lnTo>
                    <a:pt x="53" y="16"/>
                  </a:lnTo>
                  <a:lnTo>
                    <a:pt x="49" y="15"/>
                  </a:lnTo>
                  <a:lnTo>
                    <a:pt x="47" y="15"/>
                  </a:lnTo>
                  <a:lnTo>
                    <a:pt x="47" y="13"/>
                  </a:lnTo>
                  <a:lnTo>
                    <a:pt x="59" y="0"/>
                  </a:lnTo>
                  <a:lnTo>
                    <a:pt x="60" y="0"/>
                  </a:lnTo>
                  <a:lnTo>
                    <a:pt x="105" y="27"/>
                  </a:lnTo>
                  <a:lnTo>
                    <a:pt x="106" y="27"/>
                  </a:lnTo>
                  <a:lnTo>
                    <a:pt x="109" y="37"/>
                  </a:lnTo>
                  <a:lnTo>
                    <a:pt x="127" y="47"/>
                  </a:lnTo>
                  <a:lnTo>
                    <a:pt x="127" y="49"/>
                  </a:lnTo>
                  <a:lnTo>
                    <a:pt x="123" y="70"/>
                  </a:lnTo>
                  <a:lnTo>
                    <a:pt x="132" y="80"/>
                  </a:lnTo>
                  <a:lnTo>
                    <a:pt x="127" y="96"/>
                  </a:lnTo>
                  <a:lnTo>
                    <a:pt x="129" y="104"/>
                  </a:lnTo>
                  <a:lnTo>
                    <a:pt x="135" y="119"/>
                  </a:lnTo>
                  <a:lnTo>
                    <a:pt x="142" y="123"/>
                  </a:lnTo>
                  <a:lnTo>
                    <a:pt x="142" y="126"/>
                  </a:lnTo>
                  <a:lnTo>
                    <a:pt x="136" y="132"/>
                  </a:lnTo>
                  <a:lnTo>
                    <a:pt x="121" y="136"/>
                  </a:lnTo>
                  <a:lnTo>
                    <a:pt x="114" y="135"/>
                  </a:lnTo>
                  <a:lnTo>
                    <a:pt x="105" y="139"/>
                  </a:lnTo>
                  <a:lnTo>
                    <a:pt x="99" y="139"/>
                  </a:lnTo>
                  <a:lnTo>
                    <a:pt x="95" y="141"/>
                  </a:lnTo>
                  <a:lnTo>
                    <a:pt x="89" y="141"/>
                  </a:lnTo>
                  <a:lnTo>
                    <a:pt x="83" y="138"/>
                  </a:lnTo>
                  <a:lnTo>
                    <a:pt x="80" y="138"/>
                  </a:lnTo>
                  <a:lnTo>
                    <a:pt x="77" y="139"/>
                  </a:lnTo>
                  <a:lnTo>
                    <a:pt x="69" y="139"/>
                  </a:lnTo>
                  <a:lnTo>
                    <a:pt x="65" y="133"/>
                  </a:lnTo>
                  <a:lnTo>
                    <a:pt x="62" y="119"/>
                  </a:lnTo>
                  <a:lnTo>
                    <a:pt x="56" y="114"/>
                  </a:lnTo>
                  <a:lnTo>
                    <a:pt x="52" y="114"/>
                  </a:lnTo>
                  <a:lnTo>
                    <a:pt x="44" y="111"/>
                  </a:lnTo>
                  <a:lnTo>
                    <a:pt x="19" y="101"/>
                  </a:lnTo>
                  <a:lnTo>
                    <a:pt x="19" y="99"/>
                  </a:lnTo>
                  <a:lnTo>
                    <a:pt x="12" y="84"/>
                  </a:lnTo>
                  <a:lnTo>
                    <a:pt x="12" y="78"/>
                  </a:lnTo>
                  <a:lnTo>
                    <a:pt x="3" y="71"/>
                  </a:lnTo>
                  <a:lnTo>
                    <a:pt x="3" y="70"/>
                  </a:lnTo>
                  <a:lnTo>
                    <a:pt x="4" y="64"/>
                  </a:lnTo>
                  <a:lnTo>
                    <a:pt x="0" y="44"/>
                  </a:lnTo>
                  <a:lnTo>
                    <a:pt x="1" y="44"/>
                  </a:lnTo>
                  <a:lnTo>
                    <a:pt x="7" y="41"/>
                  </a:lnTo>
                  <a:lnTo>
                    <a:pt x="14" y="30"/>
                  </a:lnTo>
                  <a:lnTo>
                    <a:pt x="12" y="24"/>
                  </a:lnTo>
                  <a:lnTo>
                    <a:pt x="12" y="22"/>
                  </a:lnTo>
                  <a:lnTo>
                    <a:pt x="13" y="18"/>
                  </a:lnTo>
                  <a:lnTo>
                    <a:pt x="16" y="13"/>
                  </a:lnTo>
                  <a:lnTo>
                    <a:pt x="10" y="1"/>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0" name="Swaziland">
              <a:extLst>
                <a:ext uri="{FF2B5EF4-FFF2-40B4-BE49-F238E27FC236}">
                  <a16:creationId xmlns:a16="http://schemas.microsoft.com/office/drawing/2014/main" id="{4EE008A6-5CCD-2BB5-6F72-F0DA1C12095B}"/>
                </a:ext>
              </a:extLst>
            </p:cNvPr>
            <p:cNvSpPr>
              <a:spLocks/>
            </p:cNvSpPr>
            <p:nvPr/>
          </p:nvSpPr>
          <p:spPr bwMode="auto">
            <a:xfrm>
              <a:off x="6552283" y="5210844"/>
              <a:ext cx="32527" cy="43369"/>
            </a:xfrm>
            <a:custGeom>
              <a:avLst/>
              <a:gdLst>
                <a:gd name="T0" fmla="*/ 9 w 18"/>
                <a:gd name="T1" fmla="*/ 0 h 24"/>
                <a:gd name="T2" fmla="*/ 14 w 18"/>
                <a:gd name="T3" fmla="*/ 3 h 24"/>
                <a:gd name="T4" fmla="*/ 15 w 18"/>
                <a:gd name="T5" fmla="*/ 3 h 24"/>
                <a:gd name="T6" fmla="*/ 15 w 18"/>
                <a:gd name="T7" fmla="*/ 1 h 24"/>
                <a:gd name="T8" fmla="*/ 17 w 18"/>
                <a:gd name="T9" fmla="*/ 1 h 24"/>
                <a:gd name="T10" fmla="*/ 17 w 18"/>
                <a:gd name="T11" fmla="*/ 3 h 24"/>
                <a:gd name="T12" fmla="*/ 18 w 18"/>
                <a:gd name="T13" fmla="*/ 16 h 24"/>
                <a:gd name="T14" fmla="*/ 14 w 18"/>
                <a:gd name="T15" fmla="*/ 24 h 24"/>
                <a:gd name="T16" fmla="*/ 9 w 18"/>
                <a:gd name="T17" fmla="*/ 24 h 24"/>
                <a:gd name="T18" fmla="*/ 3 w 18"/>
                <a:gd name="T19" fmla="*/ 22 h 24"/>
                <a:gd name="T20" fmla="*/ 0 w 18"/>
                <a:gd name="T21" fmla="*/ 15 h 24"/>
                <a:gd name="T22" fmla="*/ 0 w 18"/>
                <a:gd name="T23" fmla="*/ 13 h 24"/>
                <a:gd name="T24" fmla="*/ 6 w 18"/>
                <a:gd name="T25" fmla="*/ 3 h 24"/>
                <a:gd name="T26" fmla="*/ 9 w 18"/>
                <a:gd name="T2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4">
                  <a:moveTo>
                    <a:pt x="9" y="0"/>
                  </a:moveTo>
                  <a:lnTo>
                    <a:pt x="14" y="3"/>
                  </a:lnTo>
                  <a:lnTo>
                    <a:pt x="15" y="3"/>
                  </a:lnTo>
                  <a:lnTo>
                    <a:pt x="15" y="1"/>
                  </a:lnTo>
                  <a:lnTo>
                    <a:pt x="17" y="1"/>
                  </a:lnTo>
                  <a:lnTo>
                    <a:pt x="17" y="3"/>
                  </a:lnTo>
                  <a:lnTo>
                    <a:pt x="18" y="16"/>
                  </a:lnTo>
                  <a:lnTo>
                    <a:pt x="14" y="24"/>
                  </a:lnTo>
                  <a:lnTo>
                    <a:pt x="9" y="24"/>
                  </a:lnTo>
                  <a:lnTo>
                    <a:pt x="3" y="22"/>
                  </a:lnTo>
                  <a:lnTo>
                    <a:pt x="0" y="15"/>
                  </a:lnTo>
                  <a:lnTo>
                    <a:pt x="0" y="13"/>
                  </a:lnTo>
                  <a:lnTo>
                    <a:pt x="6" y="3"/>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1" name="Sudan">
              <a:extLst>
                <a:ext uri="{FF2B5EF4-FFF2-40B4-BE49-F238E27FC236}">
                  <a16:creationId xmlns:a16="http://schemas.microsoft.com/office/drawing/2014/main" id="{7B3F1532-6393-CF25-89D6-741265C9183F}"/>
                </a:ext>
              </a:extLst>
            </p:cNvPr>
            <p:cNvSpPr>
              <a:spLocks/>
            </p:cNvSpPr>
            <p:nvPr/>
          </p:nvSpPr>
          <p:spPr bwMode="auto">
            <a:xfrm>
              <a:off x="6340857" y="4032639"/>
              <a:ext cx="393940" cy="338292"/>
            </a:xfrm>
            <a:custGeom>
              <a:avLst/>
              <a:gdLst>
                <a:gd name="connsiteX0" fmla="*/ 4413035 w 5344675"/>
                <a:gd name="connsiteY0" fmla="*/ 0 h 4589698"/>
                <a:gd name="connsiteX1" fmla="*/ 4437552 w 5344675"/>
                <a:gd name="connsiteY1" fmla="*/ 0 h 4589698"/>
                <a:gd name="connsiteX2" fmla="*/ 4854338 w 5344675"/>
                <a:gd name="connsiteY2" fmla="*/ 343236 h 4589698"/>
                <a:gd name="connsiteX3" fmla="*/ 4878855 w 5344675"/>
                <a:gd name="connsiteY3" fmla="*/ 539370 h 4589698"/>
                <a:gd name="connsiteX4" fmla="*/ 4952406 w 5344675"/>
                <a:gd name="connsiteY4" fmla="*/ 637438 h 4589698"/>
                <a:gd name="connsiteX5" fmla="*/ 5025956 w 5344675"/>
                <a:gd name="connsiteY5" fmla="*/ 1397459 h 4589698"/>
                <a:gd name="connsiteX6" fmla="*/ 5344675 w 5344675"/>
                <a:gd name="connsiteY6" fmla="*/ 1691661 h 4589698"/>
                <a:gd name="connsiteX7" fmla="*/ 5320158 w 5344675"/>
                <a:gd name="connsiteY7" fmla="*/ 1838762 h 4589698"/>
                <a:gd name="connsiteX8" fmla="*/ 4878855 w 5344675"/>
                <a:gd name="connsiteY8" fmla="*/ 2034897 h 4589698"/>
                <a:gd name="connsiteX9" fmla="*/ 4731754 w 5344675"/>
                <a:gd name="connsiteY9" fmla="*/ 2745885 h 4589698"/>
                <a:gd name="connsiteX10" fmla="*/ 4731754 w 5344675"/>
                <a:gd name="connsiteY10" fmla="*/ 3040087 h 4589698"/>
                <a:gd name="connsiteX11" fmla="*/ 4633686 w 5344675"/>
                <a:gd name="connsiteY11" fmla="*/ 3407839 h 4589698"/>
                <a:gd name="connsiteX12" fmla="*/ 4265934 w 5344675"/>
                <a:gd name="connsiteY12" fmla="*/ 3800109 h 4589698"/>
                <a:gd name="connsiteX13" fmla="*/ 4216900 w 5344675"/>
                <a:gd name="connsiteY13" fmla="*/ 4020760 h 4589698"/>
                <a:gd name="connsiteX14" fmla="*/ 4216900 w 5344675"/>
                <a:gd name="connsiteY14" fmla="*/ 4069794 h 4589698"/>
                <a:gd name="connsiteX15" fmla="*/ 3996248 w 5344675"/>
                <a:gd name="connsiteY15" fmla="*/ 4216895 h 4589698"/>
                <a:gd name="connsiteX16" fmla="*/ 3982381 w 5344675"/>
                <a:gd name="connsiteY16" fmla="*/ 4535837 h 4589698"/>
                <a:gd name="connsiteX17" fmla="*/ 3896876 w 5344675"/>
                <a:gd name="connsiteY17" fmla="*/ 4532548 h 4589698"/>
                <a:gd name="connsiteX18" fmla="*/ 3906401 w 5344675"/>
                <a:gd name="connsiteY18" fmla="*/ 4332523 h 4589698"/>
                <a:gd name="connsiteX19" fmla="*/ 3706376 w 5344675"/>
                <a:gd name="connsiteY19" fmla="*/ 4122973 h 4589698"/>
                <a:gd name="connsiteX20" fmla="*/ 3649226 w 5344675"/>
                <a:gd name="connsiteY20" fmla="*/ 3846748 h 4589698"/>
                <a:gd name="connsiteX21" fmla="*/ 3696851 w 5344675"/>
                <a:gd name="connsiteY21" fmla="*/ 3646723 h 4589698"/>
                <a:gd name="connsiteX22" fmla="*/ 3534926 w 5344675"/>
                <a:gd name="connsiteY22" fmla="*/ 3646723 h 4589698"/>
                <a:gd name="connsiteX23" fmla="*/ 3534926 w 5344675"/>
                <a:gd name="connsiteY23" fmla="*/ 3722923 h 4589698"/>
                <a:gd name="connsiteX24" fmla="*/ 3325376 w 5344675"/>
                <a:gd name="connsiteY24" fmla="*/ 3741973 h 4589698"/>
                <a:gd name="connsiteX25" fmla="*/ 3420626 w 5344675"/>
                <a:gd name="connsiteY25" fmla="*/ 3818173 h 4589698"/>
                <a:gd name="connsiteX26" fmla="*/ 3420626 w 5344675"/>
                <a:gd name="connsiteY26" fmla="*/ 4037248 h 4589698"/>
                <a:gd name="connsiteX27" fmla="*/ 3068201 w 5344675"/>
                <a:gd name="connsiteY27" fmla="*/ 4446823 h 4589698"/>
                <a:gd name="connsiteX28" fmla="*/ 2906276 w 5344675"/>
                <a:gd name="connsiteY28" fmla="*/ 4465873 h 4589698"/>
                <a:gd name="connsiteX29" fmla="*/ 2620526 w 5344675"/>
                <a:gd name="connsiteY29" fmla="*/ 4275373 h 4589698"/>
                <a:gd name="connsiteX30" fmla="*/ 2487176 w 5344675"/>
                <a:gd name="connsiteY30" fmla="*/ 4342048 h 4589698"/>
                <a:gd name="connsiteX31" fmla="*/ 2487176 w 5344675"/>
                <a:gd name="connsiteY31" fmla="*/ 4456348 h 4589698"/>
                <a:gd name="connsiteX32" fmla="*/ 2325251 w 5344675"/>
                <a:gd name="connsiteY32" fmla="*/ 4456348 h 4589698"/>
                <a:gd name="connsiteX33" fmla="*/ 2239526 w 5344675"/>
                <a:gd name="connsiteY33" fmla="*/ 4589698 h 4589698"/>
                <a:gd name="connsiteX34" fmla="*/ 2049026 w 5344675"/>
                <a:gd name="connsiteY34" fmla="*/ 4589698 h 4589698"/>
                <a:gd name="connsiteX35" fmla="*/ 1963301 w 5344675"/>
                <a:gd name="connsiteY35" fmla="*/ 4503973 h 4589698"/>
                <a:gd name="connsiteX36" fmla="*/ 1706126 w 5344675"/>
                <a:gd name="connsiteY36" fmla="*/ 4503973 h 4589698"/>
                <a:gd name="connsiteX37" fmla="*/ 1591826 w 5344675"/>
                <a:gd name="connsiteY37" fmla="*/ 4561123 h 4589698"/>
                <a:gd name="connsiteX38" fmla="*/ 1448951 w 5344675"/>
                <a:gd name="connsiteY38" fmla="*/ 4494448 h 4589698"/>
                <a:gd name="connsiteX39" fmla="*/ 1296551 w 5344675"/>
                <a:gd name="connsiteY39" fmla="*/ 4237273 h 4589698"/>
                <a:gd name="connsiteX40" fmla="*/ 1067951 w 5344675"/>
                <a:gd name="connsiteY40" fmla="*/ 4284898 h 4589698"/>
                <a:gd name="connsiteX41" fmla="*/ 1029851 w 5344675"/>
                <a:gd name="connsiteY41" fmla="*/ 4427773 h 4589698"/>
                <a:gd name="connsiteX42" fmla="*/ 563888 w 5344675"/>
                <a:gd name="connsiteY42" fmla="*/ 4494339 h 4589698"/>
                <a:gd name="connsiteX43" fmla="*/ 563888 w 5344675"/>
                <a:gd name="connsiteY43" fmla="*/ 4314962 h 4589698"/>
                <a:gd name="connsiteX44" fmla="*/ 294202 w 5344675"/>
                <a:gd name="connsiteY44" fmla="*/ 4020760 h 4589698"/>
                <a:gd name="connsiteX45" fmla="*/ 343236 w 5344675"/>
                <a:gd name="connsiteY45" fmla="*/ 3947209 h 4589698"/>
                <a:gd name="connsiteX46" fmla="*/ 196135 w 5344675"/>
                <a:gd name="connsiteY46" fmla="*/ 3628491 h 4589698"/>
                <a:gd name="connsiteX47" fmla="*/ 147101 w 5344675"/>
                <a:gd name="connsiteY47" fmla="*/ 3481390 h 4589698"/>
                <a:gd name="connsiteX48" fmla="*/ 0 w 5344675"/>
                <a:gd name="connsiteY48" fmla="*/ 3481390 h 4589698"/>
                <a:gd name="connsiteX49" fmla="*/ 0 w 5344675"/>
                <a:gd name="connsiteY49" fmla="*/ 3383323 h 4589698"/>
                <a:gd name="connsiteX50" fmla="*/ 122584 w 5344675"/>
                <a:gd name="connsiteY50" fmla="*/ 3089120 h 4589698"/>
                <a:gd name="connsiteX51" fmla="*/ 147101 w 5344675"/>
                <a:gd name="connsiteY51" fmla="*/ 3015570 h 4589698"/>
                <a:gd name="connsiteX52" fmla="*/ 147101 w 5344675"/>
                <a:gd name="connsiteY52" fmla="*/ 2892986 h 4589698"/>
                <a:gd name="connsiteX53" fmla="*/ 343236 w 5344675"/>
                <a:gd name="connsiteY53" fmla="*/ 2647818 h 4589698"/>
                <a:gd name="connsiteX54" fmla="*/ 367753 w 5344675"/>
                <a:gd name="connsiteY54" fmla="*/ 2500717 h 4589698"/>
                <a:gd name="connsiteX55" fmla="*/ 367753 w 5344675"/>
                <a:gd name="connsiteY55" fmla="*/ 2451683 h 4589698"/>
                <a:gd name="connsiteX56" fmla="*/ 710989 w 5344675"/>
                <a:gd name="connsiteY56" fmla="*/ 2427166 h 4589698"/>
                <a:gd name="connsiteX57" fmla="*/ 710989 w 5344675"/>
                <a:gd name="connsiteY57" fmla="*/ 1005190 h 4589698"/>
                <a:gd name="connsiteX58" fmla="*/ 1029708 w 5344675"/>
                <a:gd name="connsiteY58" fmla="*/ 1005190 h 4589698"/>
                <a:gd name="connsiteX59" fmla="*/ 1029708 w 5344675"/>
                <a:gd name="connsiteY59" fmla="*/ 343236 h 4589698"/>
                <a:gd name="connsiteX60" fmla="*/ 3015574 w 5344675"/>
                <a:gd name="connsiteY60" fmla="*/ 343236 h 4589698"/>
                <a:gd name="connsiteX61" fmla="*/ 3064607 w 5344675"/>
                <a:gd name="connsiteY61" fmla="*/ 294202 h 4589698"/>
                <a:gd name="connsiteX62" fmla="*/ 3138158 w 5344675"/>
                <a:gd name="connsiteY62" fmla="*/ 294202 h 4589698"/>
                <a:gd name="connsiteX63" fmla="*/ 3138158 w 5344675"/>
                <a:gd name="connsiteY63" fmla="*/ 343236 h 4589698"/>
                <a:gd name="connsiteX64" fmla="*/ 3653012 w 5344675"/>
                <a:gd name="connsiteY64" fmla="*/ 343236 h 4589698"/>
                <a:gd name="connsiteX65" fmla="*/ 3800113 w 5344675"/>
                <a:gd name="connsiteY65" fmla="*/ 416786 h 4589698"/>
                <a:gd name="connsiteX66" fmla="*/ 3898181 w 5344675"/>
                <a:gd name="connsiteY66" fmla="*/ 416786 h 4589698"/>
                <a:gd name="connsiteX67" fmla="*/ 3971731 w 5344675"/>
                <a:gd name="connsiteY67" fmla="*/ 294202 h 4589698"/>
                <a:gd name="connsiteX68" fmla="*/ 4118832 w 5344675"/>
                <a:gd name="connsiteY68" fmla="*/ 245168 h 4589698"/>
                <a:gd name="connsiteX69" fmla="*/ 4192383 w 5344675"/>
                <a:gd name="connsiteY69" fmla="*/ 73551 h 4589698"/>
                <a:gd name="connsiteX70" fmla="*/ 4290450 w 5344675"/>
                <a:gd name="connsiteY70" fmla="*/ 73551 h 458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344675" h="4589698">
                  <a:moveTo>
                    <a:pt x="4413035" y="0"/>
                  </a:moveTo>
                  <a:lnTo>
                    <a:pt x="4437552" y="0"/>
                  </a:lnTo>
                  <a:lnTo>
                    <a:pt x="4854338" y="343236"/>
                  </a:lnTo>
                  <a:lnTo>
                    <a:pt x="4878855" y="539370"/>
                  </a:lnTo>
                  <a:lnTo>
                    <a:pt x="4952406" y="637438"/>
                  </a:lnTo>
                  <a:lnTo>
                    <a:pt x="5025956" y="1397459"/>
                  </a:lnTo>
                  <a:lnTo>
                    <a:pt x="5344675" y="1691661"/>
                  </a:lnTo>
                  <a:lnTo>
                    <a:pt x="5320158" y="1838762"/>
                  </a:lnTo>
                  <a:lnTo>
                    <a:pt x="4878855" y="2034897"/>
                  </a:lnTo>
                  <a:lnTo>
                    <a:pt x="4731754" y="2745885"/>
                  </a:lnTo>
                  <a:lnTo>
                    <a:pt x="4731754" y="3040087"/>
                  </a:lnTo>
                  <a:lnTo>
                    <a:pt x="4633686" y="3407839"/>
                  </a:lnTo>
                  <a:lnTo>
                    <a:pt x="4265934" y="3800109"/>
                  </a:lnTo>
                  <a:lnTo>
                    <a:pt x="4216900" y="4020760"/>
                  </a:lnTo>
                  <a:lnTo>
                    <a:pt x="4216900" y="4069794"/>
                  </a:lnTo>
                  <a:lnTo>
                    <a:pt x="3996248" y="4216895"/>
                  </a:lnTo>
                  <a:lnTo>
                    <a:pt x="3982381" y="4535837"/>
                  </a:lnTo>
                  <a:lnTo>
                    <a:pt x="3896876" y="4532548"/>
                  </a:lnTo>
                  <a:lnTo>
                    <a:pt x="3906401" y="4332523"/>
                  </a:lnTo>
                  <a:lnTo>
                    <a:pt x="3706376" y="4122973"/>
                  </a:lnTo>
                  <a:lnTo>
                    <a:pt x="3649226" y="3846748"/>
                  </a:lnTo>
                  <a:lnTo>
                    <a:pt x="3696851" y="3646723"/>
                  </a:lnTo>
                  <a:lnTo>
                    <a:pt x="3534926" y="3646723"/>
                  </a:lnTo>
                  <a:lnTo>
                    <a:pt x="3534926" y="3722923"/>
                  </a:lnTo>
                  <a:lnTo>
                    <a:pt x="3325376" y="3741973"/>
                  </a:lnTo>
                  <a:lnTo>
                    <a:pt x="3420626" y="3818173"/>
                  </a:lnTo>
                  <a:lnTo>
                    <a:pt x="3420626" y="4037248"/>
                  </a:lnTo>
                  <a:lnTo>
                    <a:pt x="3068201" y="4446823"/>
                  </a:lnTo>
                  <a:lnTo>
                    <a:pt x="2906276" y="4465873"/>
                  </a:lnTo>
                  <a:lnTo>
                    <a:pt x="2620526" y="4275373"/>
                  </a:lnTo>
                  <a:lnTo>
                    <a:pt x="2487176" y="4342048"/>
                  </a:lnTo>
                  <a:lnTo>
                    <a:pt x="2487176" y="4456348"/>
                  </a:lnTo>
                  <a:lnTo>
                    <a:pt x="2325251" y="4456348"/>
                  </a:lnTo>
                  <a:lnTo>
                    <a:pt x="2239526" y="4589698"/>
                  </a:lnTo>
                  <a:lnTo>
                    <a:pt x="2049026" y="4589698"/>
                  </a:lnTo>
                  <a:lnTo>
                    <a:pt x="1963301" y="4503973"/>
                  </a:lnTo>
                  <a:lnTo>
                    <a:pt x="1706126" y="4503973"/>
                  </a:lnTo>
                  <a:lnTo>
                    <a:pt x="1591826" y="4561123"/>
                  </a:lnTo>
                  <a:lnTo>
                    <a:pt x="1448951" y="4494448"/>
                  </a:lnTo>
                  <a:lnTo>
                    <a:pt x="1296551" y="4237273"/>
                  </a:lnTo>
                  <a:lnTo>
                    <a:pt x="1067951" y="4284898"/>
                  </a:lnTo>
                  <a:lnTo>
                    <a:pt x="1029851" y="4427773"/>
                  </a:lnTo>
                  <a:lnTo>
                    <a:pt x="563888" y="4494339"/>
                  </a:lnTo>
                  <a:lnTo>
                    <a:pt x="563888" y="4314962"/>
                  </a:lnTo>
                  <a:lnTo>
                    <a:pt x="294202" y="4020760"/>
                  </a:lnTo>
                  <a:lnTo>
                    <a:pt x="343236" y="3947209"/>
                  </a:lnTo>
                  <a:lnTo>
                    <a:pt x="196135" y="3628491"/>
                  </a:lnTo>
                  <a:lnTo>
                    <a:pt x="147101" y="3481390"/>
                  </a:lnTo>
                  <a:lnTo>
                    <a:pt x="0" y="3481390"/>
                  </a:lnTo>
                  <a:lnTo>
                    <a:pt x="0" y="3383323"/>
                  </a:lnTo>
                  <a:lnTo>
                    <a:pt x="122584" y="3089120"/>
                  </a:lnTo>
                  <a:lnTo>
                    <a:pt x="147101" y="3015570"/>
                  </a:lnTo>
                  <a:lnTo>
                    <a:pt x="147101" y="2892986"/>
                  </a:lnTo>
                  <a:lnTo>
                    <a:pt x="343236" y="2647818"/>
                  </a:lnTo>
                  <a:lnTo>
                    <a:pt x="367753" y="2500717"/>
                  </a:lnTo>
                  <a:lnTo>
                    <a:pt x="367753" y="2451683"/>
                  </a:lnTo>
                  <a:lnTo>
                    <a:pt x="710989" y="2427166"/>
                  </a:lnTo>
                  <a:lnTo>
                    <a:pt x="710989" y="1005190"/>
                  </a:lnTo>
                  <a:lnTo>
                    <a:pt x="1029708" y="1005190"/>
                  </a:lnTo>
                  <a:lnTo>
                    <a:pt x="1029708" y="343236"/>
                  </a:lnTo>
                  <a:lnTo>
                    <a:pt x="3015574" y="343236"/>
                  </a:lnTo>
                  <a:lnTo>
                    <a:pt x="3064607" y="294202"/>
                  </a:lnTo>
                  <a:lnTo>
                    <a:pt x="3138158" y="294202"/>
                  </a:lnTo>
                  <a:lnTo>
                    <a:pt x="3138158" y="343236"/>
                  </a:lnTo>
                  <a:lnTo>
                    <a:pt x="3653012" y="343236"/>
                  </a:lnTo>
                  <a:lnTo>
                    <a:pt x="3800113" y="416786"/>
                  </a:lnTo>
                  <a:lnTo>
                    <a:pt x="3898181" y="416786"/>
                  </a:lnTo>
                  <a:lnTo>
                    <a:pt x="3971731" y="294202"/>
                  </a:lnTo>
                  <a:lnTo>
                    <a:pt x="4118832" y="245168"/>
                  </a:lnTo>
                  <a:lnTo>
                    <a:pt x="4192383" y="73551"/>
                  </a:lnTo>
                  <a:lnTo>
                    <a:pt x="4290450" y="73551"/>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2" name="South Sudan">
              <a:extLst>
                <a:ext uri="{FF2B5EF4-FFF2-40B4-BE49-F238E27FC236}">
                  <a16:creationId xmlns:a16="http://schemas.microsoft.com/office/drawing/2014/main" id="{622FF6E1-6F88-CA54-DD2E-03DB93B4B3A7}"/>
                </a:ext>
              </a:extLst>
            </p:cNvPr>
            <p:cNvSpPr>
              <a:spLocks/>
            </p:cNvSpPr>
            <p:nvPr/>
          </p:nvSpPr>
          <p:spPr bwMode="auto">
            <a:xfrm>
              <a:off x="6382420" y="4301427"/>
              <a:ext cx="294551" cy="204662"/>
            </a:xfrm>
            <a:custGeom>
              <a:avLst/>
              <a:gdLst>
                <a:gd name="connsiteX0" fmla="*/ 2971038 w 3996248"/>
                <a:gd name="connsiteY0" fmla="*/ 0 h 2776686"/>
                <a:gd name="connsiteX1" fmla="*/ 3132963 w 3996248"/>
                <a:gd name="connsiteY1" fmla="*/ 0 h 2776686"/>
                <a:gd name="connsiteX2" fmla="*/ 3085338 w 3996248"/>
                <a:gd name="connsiteY2" fmla="*/ 200025 h 2776686"/>
                <a:gd name="connsiteX3" fmla="*/ 3142488 w 3996248"/>
                <a:gd name="connsiteY3" fmla="*/ 476250 h 2776686"/>
                <a:gd name="connsiteX4" fmla="*/ 3342513 w 3996248"/>
                <a:gd name="connsiteY4" fmla="*/ 685800 h 2776686"/>
                <a:gd name="connsiteX5" fmla="*/ 3332988 w 3996248"/>
                <a:gd name="connsiteY5" fmla="*/ 885825 h 2776686"/>
                <a:gd name="connsiteX6" fmla="*/ 3418493 w 3996248"/>
                <a:gd name="connsiteY6" fmla="*/ 889114 h 2776686"/>
                <a:gd name="connsiteX7" fmla="*/ 3407843 w 3996248"/>
                <a:gd name="connsiteY7" fmla="*/ 1134059 h 2776686"/>
                <a:gd name="connsiteX8" fmla="*/ 3309776 w 3996248"/>
                <a:gd name="connsiteY8" fmla="*/ 1207609 h 2776686"/>
                <a:gd name="connsiteX9" fmla="*/ 3113641 w 3996248"/>
                <a:gd name="connsiteY9" fmla="*/ 1256643 h 2776686"/>
                <a:gd name="connsiteX10" fmla="*/ 3089124 w 3996248"/>
                <a:gd name="connsiteY10" fmla="*/ 1354710 h 2776686"/>
                <a:gd name="connsiteX11" fmla="*/ 3309776 w 3996248"/>
                <a:gd name="connsiteY11" fmla="*/ 1477294 h 2776686"/>
                <a:gd name="connsiteX12" fmla="*/ 3407843 w 3996248"/>
                <a:gd name="connsiteY12" fmla="*/ 1624395 h 2776686"/>
                <a:gd name="connsiteX13" fmla="*/ 3628495 w 3996248"/>
                <a:gd name="connsiteY13" fmla="*/ 1771496 h 2776686"/>
                <a:gd name="connsiteX14" fmla="*/ 3726562 w 3996248"/>
                <a:gd name="connsiteY14" fmla="*/ 2090215 h 2776686"/>
                <a:gd name="connsiteX15" fmla="*/ 3947214 w 3996248"/>
                <a:gd name="connsiteY15" fmla="*/ 2163766 h 2776686"/>
                <a:gd name="connsiteX16" fmla="*/ 3996248 w 3996248"/>
                <a:gd name="connsiteY16" fmla="*/ 2188282 h 2776686"/>
                <a:gd name="connsiteX17" fmla="*/ 3996248 w 3996248"/>
                <a:gd name="connsiteY17" fmla="*/ 2457967 h 2776686"/>
                <a:gd name="connsiteX18" fmla="*/ 3505911 w 3996248"/>
                <a:gd name="connsiteY18" fmla="*/ 2457967 h 2776686"/>
                <a:gd name="connsiteX19" fmla="*/ 3358809 w 3996248"/>
                <a:gd name="connsiteY19" fmla="*/ 2605068 h 2776686"/>
                <a:gd name="connsiteX20" fmla="*/ 3187191 w 3996248"/>
                <a:gd name="connsiteY20" fmla="*/ 2703136 h 2776686"/>
                <a:gd name="connsiteX21" fmla="*/ 3113641 w 3996248"/>
                <a:gd name="connsiteY21" fmla="*/ 2703136 h 2776686"/>
                <a:gd name="connsiteX22" fmla="*/ 2892989 w 3996248"/>
                <a:gd name="connsiteY22" fmla="*/ 2752169 h 2776686"/>
                <a:gd name="connsiteX23" fmla="*/ 2647820 w 3996248"/>
                <a:gd name="connsiteY23" fmla="*/ 2752169 h 2776686"/>
                <a:gd name="connsiteX24" fmla="*/ 2427169 w 3996248"/>
                <a:gd name="connsiteY24" fmla="*/ 2776686 h 2776686"/>
                <a:gd name="connsiteX25" fmla="*/ 2353618 w 3996248"/>
                <a:gd name="connsiteY25" fmla="*/ 2776686 h 2776686"/>
                <a:gd name="connsiteX26" fmla="*/ 2353618 w 3996248"/>
                <a:gd name="connsiteY26" fmla="*/ 2752169 h 2776686"/>
                <a:gd name="connsiteX27" fmla="*/ 1985865 w 3996248"/>
                <a:gd name="connsiteY27" fmla="*/ 2457967 h 2776686"/>
                <a:gd name="connsiteX28" fmla="*/ 1887798 w 3996248"/>
                <a:gd name="connsiteY28" fmla="*/ 2482484 h 2776686"/>
                <a:gd name="connsiteX29" fmla="*/ 1691663 w 3996248"/>
                <a:gd name="connsiteY29" fmla="*/ 2482484 h 2776686"/>
                <a:gd name="connsiteX30" fmla="*/ 1618112 w 3996248"/>
                <a:gd name="connsiteY30" fmla="*/ 2531518 h 2776686"/>
                <a:gd name="connsiteX31" fmla="*/ 1593596 w 3996248"/>
                <a:gd name="connsiteY31" fmla="*/ 2531518 h 2776686"/>
                <a:gd name="connsiteX32" fmla="*/ 1446495 w 3996248"/>
                <a:gd name="connsiteY32" fmla="*/ 2457967 h 2776686"/>
                <a:gd name="connsiteX33" fmla="*/ 1299393 w 3996248"/>
                <a:gd name="connsiteY33" fmla="*/ 2261833 h 2776686"/>
                <a:gd name="connsiteX34" fmla="*/ 1201326 w 3996248"/>
                <a:gd name="connsiteY34" fmla="*/ 2090215 h 2776686"/>
                <a:gd name="connsiteX35" fmla="*/ 1005191 w 3996248"/>
                <a:gd name="connsiteY35" fmla="*/ 1967631 h 2776686"/>
                <a:gd name="connsiteX36" fmla="*/ 858090 w 3996248"/>
                <a:gd name="connsiteY36" fmla="*/ 1722463 h 2776686"/>
                <a:gd name="connsiteX37" fmla="*/ 563888 w 3996248"/>
                <a:gd name="connsiteY37" fmla="*/ 1501811 h 2776686"/>
                <a:gd name="connsiteX38" fmla="*/ 539371 w 3996248"/>
                <a:gd name="connsiteY38" fmla="*/ 1501811 h 2776686"/>
                <a:gd name="connsiteX39" fmla="*/ 539371 w 3996248"/>
                <a:gd name="connsiteY39" fmla="*/ 1477294 h 2776686"/>
                <a:gd name="connsiteX40" fmla="*/ 490337 w 3996248"/>
                <a:gd name="connsiteY40" fmla="*/ 1330193 h 2776686"/>
                <a:gd name="connsiteX41" fmla="*/ 220652 w 3996248"/>
                <a:gd name="connsiteY41" fmla="*/ 1256643 h 2776686"/>
                <a:gd name="connsiteX42" fmla="*/ 220652 w 3996248"/>
                <a:gd name="connsiteY42" fmla="*/ 1207609 h 2776686"/>
                <a:gd name="connsiteX43" fmla="*/ 171618 w 3996248"/>
                <a:gd name="connsiteY43" fmla="*/ 1134059 h 2776686"/>
                <a:gd name="connsiteX44" fmla="*/ 0 w 3996248"/>
                <a:gd name="connsiteY44" fmla="*/ 1060508 h 2776686"/>
                <a:gd name="connsiteX45" fmla="*/ 0 w 3996248"/>
                <a:gd name="connsiteY45" fmla="*/ 847616 h 2776686"/>
                <a:gd name="connsiteX46" fmla="*/ 465963 w 3996248"/>
                <a:gd name="connsiteY46" fmla="*/ 781050 h 2776686"/>
                <a:gd name="connsiteX47" fmla="*/ 504063 w 3996248"/>
                <a:gd name="connsiteY47" fmla="*/ 638175 h 2776686"/>
                <a:gd name="connsiteX48" fmla="*/ 732663 w 3996248"/>
                <a:gd name="connsiteY48" fmla="*/ 590550 h 2776686"/>
                <a:gd name="connsiteX49" fmla="*/ 885063 w 3996248"/>
                <a:gd name="connsiteY49" fmla="*/ 847725 h 2776686"/>
                <a:gd name="connsiteX50" fmla="*/ 1027938 w 3996248"/>
                <a:gd name="connsiteY50" fmla="*/ 914400 h 2776686"/>
                <a:gd name="connsiteX51" fmla="*/ 1142238 w 3996248"/>
                <a:gd name="connsiteY51" fmla="*/ 857250 h 2776686"/>
                <a:gd name="connsiteX52" fmla="*/ 1399413 w 3996248"/>
                <a:gd name="connsiteY52" fmla="*/ 857250 h 2776686"/>
                <a:gd name="connsiteX53" fmla="*/ 1485138 w 3996248"/>
                <a:gd name="connsiteY53" fmla="*/ 942975 h 2776686"/>
                <a:gd name="connsiteX54" fmla="*/ 1675638 w 3996248"/>
                <a:gd name="connsiteY54" fmla="*/ 942975 h 2776686"/>
                <a:gd name="connsiteX55" fmla="*/ 1761363 w 3996248"/>
                <a:gd name="connsiteY55" fmla="*/ 809625 h 2776686"/>
                <a:gd name="connsiteX56" fmla="*/ 1923288 w 3996248"/>
                <a:gd name="connsiteY56" fmla="*/ 809625 h 2776686"/>
                <a:gd name="connsiteX57" fmla="*/ 1923288 w 3996248"/>
                <a:gd name="connsiteY57" fmla="*/ 695325 h 2776686"/>
                <a:gd name="connsiteX58" fmla="*/ 2056638 w 3996248"/>
                <a:gd name="connsiteY58" fmla="*/ 628650 h 2776686"/>
                <a:gd name="connsiteX59" fmla="*/ 2342388 w 3996248"/>
                <a:gd name="connsiteY59" fmla="*/ 819150 h 2776686"/>
                <a:gd name="connsiteX60" fmla="*/ 2504313 w 3996248"/>
                <a:gd name="connsiteY60" fmla="*/ 800100 h 2776686"/>
                <a:gd name="connsiteX61" fmla="*/ 2856738 w 3996248"/>
                <a:gd name="connsiteY61" fmla="*/ 390525 h 2776686"/>
                <a:gd name="connsiteX62" fmla="*/ 2856738 w 3996248"/>
                <a:gd name="connsiteY62" fmla="*/ 171450 h 2776686"/>
                <a:gd name="connsiteX63" fmla="*/ 2761488 w 3996248"/>
                <a:gd name="connsiteY63" fmla="*/ 95250 h 2776686"/>
                <a:gd name="connsiteX64" fmla="*/ 2971038 w 3996248"/>
                <a:gd name="connsiteY64" fmla="*/ 76200 h 277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96248" h="2776686">
                  <a:moveTo>
                    <a:pt x="2971038" y="0"/>
                  </a:moveTo>
                  <a:lnTo>
                    <a:pt x="3132963" y="0"/>
                  </a:lnTo>
                  <a:lnTo>
                    <a:pt x="3085338" y="200025"/>
                  </a:lnTo>
                  <a:lnTo>
                    <a:pt x="3142488" y="476250"/>
                  </a:lnTo>
                  <a:lnTo>
                    <a:pt x="3342513" y="685800"/>
                  </a:lnTo>
                  <a:lnTo>
                    <a:pt x="3332988" y="885825"/>
                  </a:lnTo>
                  <a:lnTo>
                    <a:pt x="3418493" y="889114"/>
                  </a:lnTo>
                  <a:lnTo>
                    <a:pt x="3407843" y="1134059"/>
                  </a:lnTo>
                  <a:lnTo>
                    <a:pt x="3309776" y="1207609"/>
                  </a:lnTo>
                  <a:lnTo>
                    <a:pt x="3113641" y="1256643"/>
                  </a:lnTo>
                  <a:lnTo>
                    <a:pt x="3089124" y="1354710"/>
                  </a:lnTo>
                  <a:lnTo>
                    <a:pt x="3309776" y="1477294"/>
                  </a:lnTo>
                  <a:lnTo>
                    <a:pt x="3407843" y="1624395"/>
                  </a:lnTo>
                  <a:lnTo>
                    <a:pt x="3628495" y="1771496"/>
                  </a:lnTo>
                  <a:lnTo>
                    <a:pt x="3726562" y="2090215"/>
                  </a:lnTo>
                  <a:lnTo>
                    <a:pt x="3947214" y="2163766"/>
                  </a:lnTo>
                  <a:lnTo>
                    <a:pt x="3996248" y="2188282"/>
                  </a:lnTo>
                  <a:lnTo>
                    <a:pt x="3996248" y="2457967"/>
                  </a:lnTo>
                  <a:lnTo>
                    <a:pt x="3505911" y="2457967"/>
                  </a:lnTo>
                  <a:lnTo>
                    <a:pt x="3358809" y="2605068"/>
                  </a:lnTo>
                  <a:lnTo>
                    <a:pt x="3187191" y="2703136"/>
                  </a:lnTo>
                  <a:lnTo>
                    <a:pt x="3113641" y="2703136"/>
                  </a:lnTo>
                  <a:lnTo>
                    <a:pt x="2892989" y="2752169"/>
                  </a:lnTo>
                  <a:lnTo>
                    <a:pt x="2647820" y="2752169"/>
                  </a:lnTo>
                  <a:lnTo>
                    <a:pt x="2427169" y="2776686"/>
                  </a:lnTo>
                  <a:lnTo>
                    <a:pt x="2353618" y="2776686"/>
                  </a:lnTo>
                  <a:lnTo>
                    <a:pt x="2353618" y="2752169"/>
                  </a:lnTo>
                  <a:lnTo>
                    <a:pt x="1985865" y="2457967"/>
                  </a:lnTo>
                  <a:lnTo>
                    <a:pt x="1887798" y="2482484"/>
                  </a:lnTo>
                  <a:lnTo>
                    <a:pt x="1691663" y="2482484"/>
                  </a:lnTo>
                  <a:lnTo>
                    <a:pt x="1618112" y="2531518"/>
                  </a:lnTo>
                  <a:lnTo>
                    <a:pt x="1593596" y="2531518"/>
                  </a:lnTo>
                  <a:lnTo>
                    <a:pt x="1446495" y="2457967"/>
                  </a:lnTo>
                  <a:lnTo>
                    <a:pt x="1299393" y="2261833"/>
                  </a:lnTo>
                  <a:lnTo>
                    <a:pt x="1201326" y="2090215"/>
                  </a:lnTo>
                  <a:lnTo>
                    <a:pt x="1005191" y="1967631"/>
                  </a:lnTo>
                  <a:lnTo>
                    <a:pt x="858090" y="1722463"/>
                  </a:lnTo>
                  <a:lnTo>
                    <a:pt x="563888" y="1501811"/>
                  </a:lnTo>
                  <a:lnTo>
                    <a:pt x="539371" y="1501811"/>
                  </a:lnTo>
                  <a:lnTo>
                    <a:pt x="539371" y="1477294"/>
                  </a:lnTo>
                  <a:lnTo>
                    <a:pt x="490337" y="1330193"/>
                  </a:lnTo>
                  <a:lnTo>
                    <a:pt x="220652" y="1256643"/>
                  </a:lnTo>
                  <a:lnTo>
                    <a:pt x="220652" y="1207609"/>
                  </a:lnTo>
                  <a:lnTo>
                    <a:pt x="171618" y="1134059"/>
                  </a:lnTo>
                  <a:lnTo>
                    <a:pt x="0" y="1060508"/>
                  </a:lnTo>
                  <a:lnTo>
                    <a:pt x="0" y="847616"/>
                  </a:lnTo>
                  <a:lnTo>
                    <a:pt x="465963" y="781050"/>
                  </a:lnTo>
                  <a:lnTo>
                    <a:pt x="504063" y="638175"/>
                  </a:lnTo>
                  <a:lnTo>
                    <a:pt x="732663" y="590550"/>
                  </a:lnTo>
                  <a:lnTo>
                    <a:pt x="885063" y="847725"/>
                  </a:lnTo>
                  <a:lnTo>
                    <a:pt x="1027938" y="914400"/>
                  </a:lnTo>
                  <a:lnTo>
                    <a:pt x="1142238" y="857250"/>
                  </a:lnTo>
                  <a:lnTo>
                    <a:pt x="1399413" y="857250"/>
                  </a:lnTo>
                  <a:lnTo>
                    <a:pt x="1485138" y="942975"/>
                  </a:lnTo>
                  <a:lnTo>
                    <a:pt x="1675638" y="942975"/>
                  </a:lnTo>
                  <a:lnTo>
                    <a:pt x="1761363" y="809625"/>
                  </a:lnTo>
                  <a:lnTo>
                    <a:pt x="1923288" y="809625"/>
                  </a:lnTo>
                  <a:lnTo>
                    <a:pt x="1923288" y="695325"/>
                  </a:lnTo>
                  <a:lnTo>
                    <a:pt x="2056638" y="628650"/>
                  </a:lnTo>
                  <a:lnTo>
                    <a:pt x="2342388" y="819150"/>
                  </a:lnTo>
                  <a:lnTo>
                    <a:pt x="2504313" y="800100"/>
                  </a:lnTo>
                  <a:lnTo>
                    <a:pt x="2856738" y="390525"/>
                  </a:lnTo>
                  <a:lnTo>
                    <a:pt x="2856738" y="171450"/>
                  </a:lnTo>
                  <a:lnTo>
                    <a:pt x="2761488" y="95250"/>
                  </a:lnTo>
                  <a:lnTo>
                    <a:pt x="2971038" y="7620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3" name="South Africa">
              <a:extLst>
                <a:ext uri="{FF2B5EF4-FFF2-40B4-BE49-F238E27FC236}">
                  <a16:creationId xmlns:a16="http://schemas.microsoft.com/office/drawing/2014/main" id="{15BCC8E6-18C7-8FE9-7EC9-4CAD8F042162}"/>
                </a:ext>
              </a:extLst>
            </p:cNvPr>
            <p:cNvSpPr>
              <a:spLocks/>
            </p:cNvSpPr>
            <p:nvPr/>
          </p:nvSpPr>
          <p:spPr bwMode="auto">
            <a:xfrm>
              <a:off x="6212555" y="5120490"/>
              <a:ext cx="392133" cy="339728"/>
            </a:xfrm>
            <a:custGeom>
              <a:avLst/>
              <a:gdLst>
                <a:gd name="T0" fmla="*/ 188 w 217"/>
                <a:gd name="T1" fmla="*/ 1 h 188"/>
                <a:gd name="T2" fmla="*/ 203 w 217"/>
                <a:gd name="T3" fmla="*/ 31 h 188"/>
                <a:gd name="T4" fmla="*/ 203 w 217"/>
                <a:gd name="T5" fmla="*/ 54 h 188"/>
                <a:gd name="T6" fmla="*/ 197 w 217"/>
                <a:gd name="T7" fmla="*/ 51 h 188"/>
                <a:gd name="T8" fmla="*/ 190 w 217"/>
                <a:gd name="T9" fmla="*/ 63 h 188"/>
                <a:gd name="T10" fmla="*/ 197 w 217"/>
                <a:gd name="T11" fmla="*/ 72 h 188"/>
                <a:gd name="T12" fmla="*/ 205 w 217"/>
                <a:gd name="T13" fmla="*/ 66 h 188"/>
                <a:gd name="T14" fmla="*/ 217 w 217"/>
                <a:gd name="T15" fmla="*/ 65 h 188"/>
                <a:gd name="T16" fmla="*/ 211 w 217"/>
                <a:gd name="T17" fmla="*/ 92 h 188"/>
                <a:gd name="T18" fmla="*/ 180 w 217"/>
                <a:gd name="T19" fmla="*/ 133 h 188"/>
                <a:gd name="T20" fmla="*/ 143 w 217"/>
                <a:gd name="T21" fmla="*/ 170 h 188"/>
                <a:gd name="T22" fmla="*/ 123 w 217"/>
                <a:gd name="T23" fmla="*/ 178 h 188"/>
                <a:gd name="T24" fmla="*/ 116 w 217"/>
                <a:gd name="T25" fmla="*/ 176 h 188"/>
                <a:gd name="T26" fmla="*/ 111 w 217"/>
                <a:gd name="T27" fmla="*/ 179 h 188"/>
                <a:gd name="T28" fmla="*/ 107 w 217"/>
                <a:gd name="T29" fmla="*/ 180 h 188"/>
                <a:gd name="T30" fmla="*/ 91 w 217"/>
                <a:gd name="T31" fmla="*/ 179 h 188"/>
                <a:gd name="T32" fmla="*/ 80 w 217"/>
                <a:gd name="T33" fmla="*/ 178 h 188"/>
                <a:gd name="T34" fmla="*/ 54 w 217"/>
                <a:gd name="T35" fmla="*/ 183 h 188"/>
                <a:gd name="T36" fmla="*/ 31 w 217"/>
                <a:gd name="T37" fmla="*/ 182 h 188"/>
                <a:gd name="T38" fmla="*/ 27 w 217"/>
                <a:gd name="T39" fmla="*/ 178 h 188"/>
                <a:gd name="T40" fmla="*/ 20 w 217"/>
                <a:gd name="T41" fmla="*/ 160 h 188"/>
                <a:gd name="T42" fmla="*/ 22 w 217"/>
                <a:gd name="T43" fmla="*/ 155 h 188"/>
                <a:gd name="T44" fmla="*/ 24 w 217"/>
                <a:gd name="T45" fmla="*/ 143 h 188"/>
                <a:gd name="T46" fmla="*/ 0 w 217"/>
                <a:gd name="T47" fmla="*/ 94 h 188"/>
                <a:gd name="T48" fmla="*/ 9 w 217"/>
                <a:gd name="T49" fmla="*/ 89 h 188"/>
                <a:gd name="T50" fmla="*/ 18 w 217"/>
                <a:gd name="T51" fmla="*/ 99 h 188"/>
                <a:gd name="T52" fmla="*/ 46 w 217"/>
                <a:gd name="T53" fmla="*/ 92 h 188"/>
                <a:gd name="T54" fmla="*/ 58 w 217"/>
                <a:gd name="T55" fmla="*/ 50 h 188"/>
                <a:gd name="T56" fmla="*/ 67 w 217"/>
                <a:gd name="T57" fmla="*/ 66 h 188"/>
                <a:gd name="T58" fmla="*/ 91 w 217"/>
                <a:gd name="T59" fmla="*/ 47 h 188"/>
                <a:gd name="T60" fmla="*/ 97 w 217"/>
                <a:gd name="T61" fmla="*/ 46 h 188"/>
                <a:gd name="T62" fmla="*/ 119 w 217"/>
                <a:gd name="T63" fmla="*/ 49 h 188"/>
                <a:gd name="T64" fmla="*/ 146 w 217"/>
                <a:gd name="T65" fmla="*/ 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188">
                  <a:moveTo>
                    <a:pt x="169" y="0"/>
                  </a:moveTo>
                  <a:lnTo>
                    <a:pt x="188" y="1"/>
                  </a:lnTo>
                  <a:lnTo>
                    <a:pt x="199" y="7"/>
                  </a:lnTo>
                  <a:lnTo>
                    <a:pt x="203" y="31"/>
                  </a:lnTo>
                  <a:lnTo>
                    <a:pt x="205" y="53"/>
                  </a:lnTo>
                  <a:lnTo>
                    <a:pt x="203" y="54"/>
                  </a:lnTo>
                  <a:lnTo>
                    <a:pt x="202" y="54"/>
                  </a:lnTo>
                  <a:lnTo>
                    <a:pt x="197" y="51"/>
                  </a:lnTo>
                  <a:lnTo>
                    <a:pt x="194" y="53"/>
                  </a:lnTo>
                  <a:lnTo>
                    <a:pt x="190" y="63"/>
                  </a:lnTo>
                  <a:lnTo>
                    <a:pt x="193" y="71"/>
                  </a:lnTo>
                  <a:lnTo>
                    <a:pt x="197" y="72"/>
                  </a:lnTo>
                  <a:lnTo>
                    <a:pt x="200" y="72"/>
                  </a:lnTo>
                  <a:lnTo>
                    <a:pt x="205" y="66"/>
                  </a:lnTo>
                  <a:lnTo>
                    <a:pt x="205" y="65"/>
                  </a:lnTo>
                  <a:lnTo>
                    <a:pt x="217" y="65"/>
                  </a:lnTo>
                  <a:lnTo>
                    <a:pt x="217" y="66"/>
                  </a:lnTo>
                  <a:lnTo>
                    <a:pt x="211" y="92"/>
                  </a:lnTo>
                  <a:lnTo>
                    <a:pt x="197" y="103"/>
                  </a:lnTo>
                  <a:lnTo>
                    <a:pt x="180" y="133"/>
                  </a:lnTo>
                  <a:lnTo>
                    <a:pt x="160" y="155"/>
                  </a:lnTo>
                  <a:lnTo>
                    <a:pt x="143" y="170"/>
                  </a:lnTo>
                  <a:lnTo>
                    <a:pt x="123" y="173"/>
                  </a:lnTo>
                  <a:lnTo>
                    <a:pt x="123" y="178"/>
                  </a:lnTo>
                  <a:lnTo>
                    <a:pt x="119" y="178"/>
                  </a:lnTo>
                  <a:lnTo>
                    <a:pt x="116" y="176"/>
                  </a:lnTo>
                  <a:lnTo>
                    <a:pt x="113" y="176"/>
                  </a:lnTo>
                  <a:lnTo>
                    <a:pt x="111" y="179"/>
                  </a:lnTo>
                  <a:lnTo>
                    <a:pt x="111" y="180"/>
                  </a:lnTo>
                  <a:lnTo>
                    <a:pt x="107" y="180"/>
                  </a:lnTo>
                  <a:lnTo>
                    <a:pt x="100" y="179"/>
                  </a:lnTo>
                  <a:lnTo>
                    <a:pt x="91" y="179"/>
                  </a:lnTo>
                  <a:lnTo>
                    <a:pt x="83" y="178"/>
                  </a:lnTo>
                  <a:lnTo>
                    <a:pt x="80" y="178"/>
                  </a:lnTo>
                  <a:lnTo>
                    <a:pt x="71" y="182"/>
                  </a:lnTo>
                  <a:lnTo>
                    <a:pt x="54" y="183"/>
                  </a:lnTo>
                  <a:lnTo>
                    <a:pt x="48" y="188"/>
                  </a:lnTo>
                  <a:lnTo>
                    <a:pt x="31" y="182"/>
                  </a:lnTo>
                  <a:lnTo>
                    <a:pt x="31" y="178"/>
                  </a:lnTo>
                  <a:lnTo>
                    <a:pt x="27" y="178"/>
                  </a:lnTo>
                  <a:lnTo>
                    <a:pt x="27" y="172"/>
                  </a:lnTo>
                  <a:lnTo>
                    <a:pt x="20" y="160"/>
                  </a:lnTo>
                  <a:lnTo>
                    <a:pt x="20" y="155"/>
                  </a:lnTo>
                  <a:lnTo>
                    <a:pt x="22" y="155"/>
                  </a:lnTo>
                  <a:lnTo>
                    <a:pt x="24" y="152"/>
                  </a:lnTo>
                  <a:lnTo>
                    <a:pt x="24" y="143"/>
                  </a:lnTo>
                  <a:lnTo>
                    <a:pt x="14" y="124"/>
                  </a:lnTo>
                  <a:lnTo>
                    <a:pt x="0" y="94"/>
                  </a:lnTo>
                  <a:lnTo>
                    <a:pt x="0" y="93"/>
                  </a:lnTo>
                  <a:lnTo>
                    <a:pt x="9" y="89"/>
                  </a:lnTo>
                  <a:lnTo>
                    <a:pt x="17" y="93"/>
                  </a:lnTo>
                  <a:lnTo>
                    <a:pt x="18" y="99"/>
                  </a:lnTo>
                  <a:lnTo>
                    <a:pt x="36" y="99"/>
                  </a:lnTo>
                  <a:lnTo>
                    <a:pt x="46" y="92"/>
                  </a:lnTo>
                  <a:lnTo>
                    <a:pt x="46" y="37"/>
                  </a:lnTo>
                  <a:lnTo>
                    <a:pt x="58" y="50"/>
                  </a:lnTo>
                  <a:lnTo>
                    <a:pt x="58" y="65"/>
                  </a:lnTo>
                  <a:lnTo>
                    <a:pt x="67" y="66"/>
                  </a:lnTo>
                  <a:lnTo>
                    <a:pt x="76" y="63"/>
                  </a:lnTo>
                  <a:lnTo>
                    <a:pt x="91" y="47"/>
                  </a:lnTo>
                  <a:lnTo>
                    <a:pt x="91" y="46"/>
                  </a:lnTo>
                  <a:lnTo>
                    <a:pt x="97" y="46"/>
                  </a:lnTo>
                  <a:lnTo>
                    <a:pt x="110" y="50"/>
                  </a:lnTo>
                  <a:lnTo>
                    <a:pt x="119" y="49"/>
                  </a:lnTo>
                  <a:lnTo>
                    <a:pt x="123" y="38"/>
                  </a:lnTo>
                  <a:lnTo>
                    <a:pt x="146" y="14"/>
                  </a:lnTo>
                  <a:lnTo>
                    <a:pt x="16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4" name="Somalia">
              <a:extLst>
                <a:ext uri="{FF2B5EF4-FFF2-40B4-BE49-F238E27FC236}">
                  <a16:creationId xmlns:a16="http://schemas.microsoft.com/office/drawing/2014/main" id="{657054FF-95E0-C8AE-0134-75C58EC01D39}"/>
                </a:ext>
              </a:extLst>
            </p:cNvPr>
            <p:cNvSpPr>
              <a:spLocks/>
            </p:cNvSpPr>
            <p:nvPr/>
          </p:nvSpPr>
          <p:spPr bwMode="auto">
            <a:xfrm>
              <a:off x="6794428" y="4305506"/>
              <a:ext cx="243954" cy="323464"/>
            </a:xfrm>
            <a:custGeom>
              <a:avLst/>
              <a:gdLst>
                <a:gd name="T0" fmla="*/ 126 w 135"/>
                <a:gd name="T1" fmla="*/ 0 h 179"/>
                <a:gd name="T2" fmla="*/ 133 w 135"/>
                <a:gd name="T3" fmla="*/ 3 h 179"/>
                <a:gd name="T4" fmla="*/ 133 w 135"/>
                <a:gd name="T5" fmla="*/ 4 h 179"/>
                <a:gd name="T6" fmla="*/ 132 w 135"/>
                <a:gd name="T7" fmla="*/ 10 h 179"/>
                <a:gd name="T8" fmla="*/ 133 w 135"/>
                <a:gd name="T9" fmla="*/ 19 h 179"/>
                <a:gd name="T10" fmla="*/ 132 w 135"/>
                <a:gd name="T11" fmla="*/ 21 h 179"/>
                <a:gd name="T12" fmla="*/ 135 w 135"/>
                <a:gd name="T13" fmla="*/ 22 h 179"/>
                <a:gd name="T14" fmla="*/ 135 w 135"/>
                <a:gd name="T15" fmla="*/ 24 h 179"/>
                <a:gd name="T16" fmla="*/ 129 w 135"/>
                <a:gd name="T17" fmla="*/ 24 h 179"/>
                <a:gd name="T18" fmla="*/ 127 w 135"/>
                <a:gd name="T19" fmla="*/ 38 h 179"/>
                <a:gd name="T20" fmla="*/ 120 w 135"/>
                <a:gd name="T21" fmla="*/ 50 h 179"/>
                <a:gd name="T22" fmla="*/ 116 w 135"/>
                <a:gd name="T23" fmla="*/ 53 h 179"/>
                <a:gd name="T24" fmla="*/ 104 w 135"/>
                <a:gd name="T25" fmla="*/ 83 h 179"/>
                <a:gd name="T26" fmla="*/ 96 w 135"/>
                <a:gd name="T27" fmla="*/ 92 h 179"/>
                <a:gd name="T28" fmla="*/ 87 w 135"/>
                <a:gd name="T29" fmla="*/ 105 h 179"/>
                <a:gd name="T30" fmla="*/ 64 w 135"/>
                <a:gd name="T31" fmla="*/ 127 h 179"/>
                <a:gd name="T32" fmla="*/ 52 w 135"/>
                <a:gd name="T33" fmla="*/ 135 h 179"/>
                <a:gd name="T34" fmla="*/ 27 w 135"/>
                <a:gd name="T35" fmla="*/ 159 h 179"/>
                <a:gd name="T36" fmla="*/ 22 w 135"/>
                <a:gd name="T37" fmla="*/ 160 h 179"/>
                <a:gd name="T38" fmla="*/ 21 w 135"/>
                <a:gd name="T39" fmla="*/ 164 h 179"/>
                <a:gd name="T40" fmla="*/ 9 w 135"/>
                <a:gd name="T41" fmla="*/ 179 h 179"/>
                <a:gd name="T42" fmla="*/ 7 w 135"/>
                <a:gd name="T43" fmla="*/ 179 h 179"/>
                <a:gd name="T44" fmla="*/ 0 w 135"/>
                <a:gd name="T45" fmla="*/ 169 h 179"/>
                <a:gd name="T46" fmla="*/ 0 w 135"/>
                <a:gd name="T47" fmla="*/ 120 h 179"/>
                <a:gd name="T48" fmla="*/ 12 w 135"/>
                <a:gd name="T49" fmla="*/ 105 h 179"/>
                <a:gd name="T50" fmla="*/ 38 w 135"/>
                <a:gd name="T51" fmla="*/ 92 h 179"/>
                <a:gd name="T52" fmla="*/ 53 w 135"/>
                <a:gd name="T53" fmla="*/ 90 h 179"/>
                <a:gd name="T54" fmla="*/ 89 w 135"/>
                <a:gd name="T55" fmla="*/ 56 h 179"/>
                <a:gd name="T56" fmla="*/ 90 w 135"/>
                <a:gd name="T57" fmla="*/ 52 h 179"/>
                <a:gd name="T58" fmla="*/ 80 w 135"/>
                <a:gd name="T59" fmla="*/ 53 h 179"/>
                <a:gd name="T60" fmla="*/ 40 w 135"/>
                <a:gd name="T61" fmla="*/ 38 h 179"/>
                <a:gd name="T62" fmla="*/ 25 w 135"/>
                <a:gd name="T63" fmla="*/ 24 h 179"/>
                <a:gd name="T64" fmla="*/ 25 w 135"/>
                <a:gd name="T65" fmla="*/ 15 h 179"/>
                <a:gd name="T66" fmla="*/ 28 w 135"/>
                <a:gd name="T67" fmla="*/ 7 h 179"/>
                <a:gd name="T68" fmla="*/ 30 w 135"/>
                <a:gd name="T69" fmla="*/ 6 h 179"/>
                <a:gd name="T70" fmla="*/ 46 w 135"/>
                <a:gd name="T71" fmla="*/ 21 h 179"/>
                <a:gd name="T72" fmla="*/ 52 w 135"/>
                <a:gd name="T73" fmla="*/ 21 h 179"/>
                <a:gd name="T74" fmla="*/ 62 w 135"/>
                <a:gd name="T75" fmla="*/ 15 h 179"/>
                <a:gd name="T76" fmla="*/ 73 w 135"/>
                <a:gd name="T77" fmla="*/ 16 h 179"/>
                <a:gd name="T78" fmla="*/ 81 w 135"/>
                <a:gd name="T79" fmla="*/ 12 h 179"/>
                <a:gd name="T80" fmla="*/ 107 w 135"/>
                <a:gd name="T81" fmla="*/ 7 h 179"/>
                <a:gd name="T82" fmla="*/ 118 w 135"/>
                <a:gd name="T83" fmla="*/ 6 h 179"/>
                <a:gd name="T84" fmla="*/ 126 w 135"/>
                <a:gd name="T85"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79">
                  <a:moveTo>
                    <a:pt x="126" y="0"/>
                  </a:moveTo>
                  <a:lnTo>
                    <a:pt x="133" y="3"/>
                  </a:lnTo>
                  <a:lnTo>
                    <a:pt x="133" y="4"/>
                  </a:lnTo>
                  <a:lnTo>
                    <a:pt x="132" y="10"/>
                  </a:lnTo>
                  <a:lnTo>
                    <a:pt x="133" y="19"/>
                  </a:lnTo>
                  <a:lnTo>
                    <a:pt x="132" y="21"/>
                  </a:lnTo>
                  <a:lnTo>
                    <a:pt x="135" y="22"/>
                  </a:lnTo>
                  <a:lnTo>
                    <a:pt x="135" y="24"/>
                  </a:lnTo>
                  <a:lnTo>
                    <a:pt x="129" y="24"/>
                  </a:lnTo>
                  <a:lnTo>
                    <a:pt x="127" y="38"/>
                  </a:lnTo>
                  <a:lnTo>
                    <a:pt x="120" y="50"/>
                  </a:lnTo>
                  <a:lnTo>
                    <a:pt x="116" y="53"/>
                  </a:lnTo>
                  <a:lnTo>
                    <a:pt x="104" y="83"/>
                  </a:lnTo>
                  <a:lnTo>
                    <a:pt x="96" y="92"/>
                  </a:lnTo>
                  <a:lnTo>
                    <a:pt x="87" y="105"/>
                  </a:lnTo>
                  <a:lnTo>
                    <a:pt x="64" y="127"/>
                  </a:lnTo>
                  <a:lnTo>
                    <a:pt x="52" y="135"/>
                  </a:lnTo>
                  <a:lnTo>
                    <a:pt x="27" y="159"/>
                  </a:lnTo>
                  <a:lnTo>
                    <a:pt x="22" y="160"/>
                  </a:lnTo>
                  <a:lnTo>
                    <a:pt x="21" y="164"/>
                  </a:lnTo>
                  <a:lnTo>
                    <a:pt x="9" y="179"/>
                  </a:lnTo>
                  <a:lnTo>
                    <a:pt x="7" y="179"/>
                  </a:lnTo>
                  <a:lnTo>
                    <a:pt x="0" y="169"/>
                  </a:lnTo>
                  <a:lnTo>
                    <a:pt x="0" y="120"/>
                  </a:lnTo>
                  <a:lnTo>
                    <a:pt x="12" y="105"/>
                  </a:lnTo>
                  <a:lnTo>
                    <a:pt x="38" y="92"/>
                  </a:lnTo>
                  <a:lnTo>
                    <a:pt x="53" y="90"/>
                  </a:lnTo>
                  <a:lnTo>
                    <a:pt x="89" y="56"/>
                  </a:lnTo>
                  <a:lnTo>
                    <a:pt x="90" y="52"/>
                  </a:lnTo>
                  <a:lnTo>
                    <a:pt x="80" y="53"/>
                  </a:lnTo>
                  <a:lnTo>
                    <a:pt x="40" y="38"/>
                  </a:lnTo>
                  <a:lnTo>
                    <a:pt x="25" y="24"/>
                  </a:lnTo>
                  <a:lnTo>
                    <a:pt x="25" y="15"/>
                  </a:lnTo>
                  <a:lnTo>
                    <a:pt x="28" y="7"/>
                  </a:lnTo>
                  <a:lnTo>
                    <a:pt x="30" y="6"/>
                  </a:lnTo>
                  <a:lnTo>
                    <a:pt x="46" y="21"/>
                  </a:lnTo>
                  <a:lnTo>
                    <a:pt x="52" y="21"/>
                  </a:lnTo>
                  <a:lnTo>
                    <a:pt x="62" y="15"/>
                  </a:lnTo>
                  <a:lnTo>
                    <a:pt x="73" y="16"/>
                  </a:lnTo>
                  <a:lnTo>
                    <a:pt x="81" y="12"/>
                  </a:lnTo>
                  <a:lnTo>
                    <a:pt x="107" y="7"/>
                  </a:lnTo>
                  <a:lnTo>
                    <a:pt x="118" y="6"/>
                  </a:lnTo>
                  <a:lnTo>
                    <a:pt x="12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5" name="Senegal">
              <a:extLst>
                <a:ext uri="{FF2B5EF4-FFF2-40B4-BE49-F238E27FC236}">
                  <a16:creationId xmlns:a16="http://schemas.microsoft.com/office/drawing/2014/main" id="{114ED1A9-7F30-A30E-65E6-11473600740A}"/>
                </a:ext>
              </a:extLst>
            </p:cNvPr>
            <p:cNvSpPr>
              <a:spLocks/>
            </p:cNvSpPr>
            <p:nvPr/>
          </p:nvSpPr>
          <p:spPr bwMode="auto">
            <a:xfrm>
              <a:off x="5412028" y="4189854"/>
              <a:ext cx="149986" cy="106617"/>
            </a:xfrm>
            <a:custGeom>
              <a:avLst/>
              <a:gdLst>
                <a:gd name="T0" fmla="*/ 39 w 83"/>
                <a:gd name="T1" fmla="*/ 0 h 59"/>
                <a:gd name="T2" fmla="*/ 43 w 83"/>
                <a:gd name="T3" fmla="*/ 0 h 59"/>
                <a:gd name="T4" fmla="*/ 50 w 83"/>
                <a:gd name="T5" fmla="*/ 8 h 59"/>
                <a:gd name="T6" fmla="*/ 55 w 83"/>
                <a:gd name="T7" fmla="*/ 8 h 59"/>
                <a:gd name="T8" fmla="*/ 62 w 83"/>
                <a:gd name="T9" fmla="*/ 19 h 59"/>
                <a:gd name="T10" fmla="*/ 73 w 83"/>
                <a:gd name="T11" fmla="*/ 25 h 59"/>
                <a:gd name="T12" fmla="*/ 76 w 83"/>
                <a:gd name="T13" fmla="*/ 37 h 59"/>
                <a:gd name="T14" fmla="*/ 74 w 83"/>
                <a:gd name="T15" fmla="*/ 42 h 59"/>
                <a:gd name="T16" fmla="*/ 83 w 83"/>
                <a:gd name="T17" fmla="*/ 51 h 59"/>
                <a:gd name="T18" fmla="*/ 83 w 83"/>
                <a:gd name="T19" fmla="*/ 58 h 59"/>
                <a:gd name="T20" fmla="*/ 80 w 83"/>
                <a:gd name="T21" fmla="*/ 58 h 59"/>
                <a:gd name="T22" fmla="*/ 76 w 83"/>
                <a:gd name="T23" fmla="*/ 59 h 59"/>
                <a:gd name="T24" fmla="*/ 70 w 83"/>
                <a:gd name="T25" fmla="*/ 59 h 59"/>
                <a:gd name="T26" fmla="*/ 50 w 83"/>
                <a:gd name="T27" fmla="*/ 55 h 59"/>
                <a:gd name="T28" fmla="*/ 33 w 83"/>
                <a:gd name="T29" fmla="*/ 55 h 59"/>
                <a:gd name="T30" fmla="*/ 25 w 83"/>
                <a:gd name="T31" fmla="*/ 58 h 59"/>
                <a:gd name="T32" fmla="*/ 10 w 83"/>
                <a:gd name="T33" fmla="*/ 58 h 59"/>
                <a:gd name="T34" fmla="*/ 10 w 83"/>
                <a:gd name="T35" fmla="*/ 49 h 59"/>
                <a:gd name="T36" fmla="*/ 22 w 83"/>
                <a:gd name="T37" fmla="*/ 46 h 59"/>
                <a:gd name="T38" fmla="*/ 33 w 83"/>
                <a:gd name="T39" fmla="*/ 42 h 59"/>
                <a:gd name="T40" fmla="*/ 46 w 83"/>
                <a:gd name="T41" fmla="*/ 46 h 59"/>
                <a:gd name="T42" fmla="*/ 49 w 83"/>
                <a:gd name="T43" fmla="*/ 45 h 59"/>
                <a:gd name="T44" fmla="*/ 49 w 83"/>
                <a:gd name="T45" fmla="*/ 43 h 59"/>
                <a:gd name="T46" fmla="*/ 43 w 83"/>
                <a:gd name="T47" fmla="*/ 45 h 59"/>
                <a:gd name="T48" fmla="*/ 34 w 83"/>
                <a:gd name="T49" fmla="*/ 40 h 59"/>
                <a:gd name="T50" fmla="*/ 27 w 83"/>
                <a:gd name="T51" fmla="*/ 43 h 59"/>
                <a:gd name="T52" fmla="*/ 13 w 83"/>
                <a:gd name="T53" fmla="*/ 43 h 59"/>
                <a:gd name="T54" fmla="*/ 13 w 83"/>
                <a:gd name="T55" fmla="*/ 42 h 59"/>
                <a:gd name="T56" fmla="*/ 3 w 83"/>
                <a:gd name="T57" fmla="*/ 28 h 59"/>
                <a:gd name="T58" fmla="*/ 0 w 83"/>
                <a:gd name="T59" fmla="*/ 27 h 59"/>
                <a:gd name="T60" fmla="*/ 0 w 83"/>
                <a:gd name="T61" fmla="*/ 25 h 59"/>
                <a:gd name="T62" fmla="*/ 9 w 83"/>
                <a:gd name="T63" fmla="*/ 21 h 59"/>
                <a:gd name="T64" fmla="*/ 13 w 83"/>
                <a:gd name="T65" fmla="*/ 13 h 59"/>
                <a:gd name="T66" fmla="*/ 13 w 83"/>
                <a:gd name="T67" fmla="*/ 8 h 59"/>
                <a:gd name="T68" fmla="*/ 16 w 83"/>
                <a:gd name="T69" fmla="*/ 3 h 59"/>
                <a:gd name="T70" fmla="*/ 16 w 83"/>
                <a:gd name="T71" fmla="*/ 2 h 59"/>
                <a:gd name="T72" fmla="*/ 30 w 83"/>
                <a:gd name="T73" fmla="*/ 2 h 59"/>
                <a:gd name="T74" fmla="*/ 39 w 83"/>
                <a:gd name="T7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59">
                  <a:moveTo>
                    <a:pt x="39" y="0"/>
                  </a:moveTo>
                  <a:lnTo>
                    <a:pt x="43" y="0"/>
                  </a:lnTo>
                  <a:lnTo>
                    <a:pt x="50" y="8"/>
                  </a:lnTo>
                  <a:lnTo>
                    <a:pt x="55" y="8"/>
                  </a:lnTo>
                  <a:lnTo>
                    <a:pt x="62" y="19"/>
                  </a:lnTo>
                  <a:lnTo>
                    <a:pt x="73" y="25"/>
                  </a:lnTo>
                  <a:lnTo>
                    <a:pt x="76" y="37"/>
                  </a:lnTo>
                  <a:lnTo>
                    <a:pt x="74" y="42"/>
                  </a:lnTo>
                  <a:lnTo>
                    <a:pt x="83" y="51"/>
                  </a:lnTo>
                  <a:lnTo>
                    <a:pt x="83" y="58"/>
                  </a:lnTo>
                  <a:lnTo>
                    <a:pt x="80" y="58"/>
                  </a:lnTo>
                  <a:lnTo>
                    <a:pt x="76" y="59"/>
                  </a:lnTo>
                  <a:lnTo>
                    <a:pt x="70" y="59"/>
                  </a:lnTo>
                  <a:lnTo>
                    <a:pt x="50" y="55"/>
                  </a:lnTo>
                  <a:lnTo>
                    <a:pt x="33" y="55"/>
                  </a:lnTo>
                  <a:lnTo>
                    <a:pt x="25" y="58"/>
                  </a:lnTo>
                  <a:lnTo>
                    <a:pt x="10" y="58"/>
                  </a:lnTo>
                  <a:lnTo>
                    <a:pt x="10" y="49"/>
                  </a:lnTo>
                  <a:lnTo>
                    <a:pt x="22" y="46"/>
                  </a:lnTo>
                  <a:lnTo>
                    <a:pt x="33" y="42"/>
                  </a:lnTo>
                  <a:lnTo>
                    <a:pt x="46" y="46"/>
                  </a:lnTo>
                  <a:lnTo>
                    <a:pt x="49" y="45"/>
                  </a:lnTo>
                  <a:lnTo>
                    <a:pt x="49" y="43"/>
                  </a:lnTo>
                  <a:lnTo>
                    <a:pt x="43" y="45"/>
                  </a:lnTo>
                  <a:lnTo>
                    <a:pt x="34" y="40"/>
                  </a:lnTo>
                  <a:lnTo>
                    <a:pt x="27" y="43"/>
                  </a:lnTo>
                  <a:lnTo>
                    <a:pt x="13" y="43"/>
                  </a:lnTo>
                  <a:lnTo>
                    <a:pt x="13" y="42"/>
                  </a:lnTo>
                  <a:lnTo>
                    <a:pt x="3" y="28"/>
                  </a:lnTo>
                  <a:lnTo>
                    <a:pt x="0" y="27"/>
                  </a:lnTo>
                  <a:lnTo>
                    <a:pt x="0" y="25"/>
                  </a:lnTo>
                  <a:lnTo>
                    <a:pt x="9" y="21"/>
                  </a:lnTo>
                  <a:lnTo>
                    <a:pt x="13" y="13"/>
                  </a:lnTo>
                  <a:lnTo>
                    <a:pt x="13" y="8"/>
                  </a:lnTo>
                  <a:lnTo>
                    <a:pt x="16" y="3"/>
                  </a:lnTo>
                  <a:lnTo>
                    <a:pt x="16" y="2"/>
                  </a:lnTo>
                  <a:lnTo>
                    <a:pt x="30" y="2"/>
                  </a:lnTo>
                  <a:lnTo>
                    <a:pt x="3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6" name="Sierra Leone">
              <a:extLst>
                <a:ext uri="{FF2B5EF4-FFF2-40B4-BE49-F238E27FC236}">
                  <a16:creationId xmlns:a16="http://schemas.microsoft.com/office/drawing/2014/main" id="{CCE7837F-EDF8-495C-121D-89E6212BF4F8}"/>
                </a:ext>
              </a:extLst>
            </p:cNvPr>
            <p:cNvSpPr>
              <a:spLocks/>
            </p:cNvSpPr>
            <p:nvPr/>
          </p:nvSpPr>
          <p:spPr bwMode="auto">
            <a:xfrm>
              <a:off x="5513223" y="4354296"/>
              <a:ext cx="72283" cy="72283"/>
            </a:xfrm>
            <a:custGeom>
              <a:avLst/>
              <a:gdLst>
                <a:gd name="T0" fmla="*/ 12 w 40"/>
                <a:gd name="T1" fmla="*/ 0 h 40"/>
                <a:gd name="T2" fmla="*/ 29 w 40"/>
                <a:gd name="T3" fmla="*/ 0 h 40"/>
                <a:gd name="T4" fmla="*/ 37 w 40"/>
                <a:gd name="T5" fmla="*/ 13 h 40"/>
                <a:gd name="T6" fmla="*/ 34 w 40"/>
                <a:gd name="T7" fmla="*/ 20 h 40"/>
                <a:gd name="T8" fmla="*/ 39 w 40"/>
                <a:gd name="T9" fmla="*/ 19 h 40"/>
                <a:gd name="T10" fmla="*/ 40 w 40"/>
                <a:gd name="T11" fmla="*/ 19 h 40"/>
                <a:gd name="T12" fmla="*/ 40 w 40"/>
                <a:gd name="T13" fmla="*/ 23 h 40"/>
                <a:gd name="T14" fmla="*/ 37 w 40"/>
                <a:gd name="T15" fmla="*/ 25 h 40"/>
                <a:gd name="T16" fmla="*/ 37 w 40"/>
                <a:gd name="T17" fmla="*/ 29 h 40"/>
                <a:gd name="T18" fmla="*/ 36 w 40"/>
                <a:gd name="T19" fmla="*/ 29 h 40"/>
                <a:gd name="T20" fmla="*/ 24 w 40"/>
                <a:gd name="T21" fmla="*/ 40 h 40"/>
                <a:gd name="T22" fmla="*/ 12 w 40"/>
                <a:gd name="T23" fmla="*/ 34 h 40"/>
                <a:gd name="T24" fmla="*/ 0 w 40"/>
                <a:gd name="T25" fmla="*/ 22 h 40"/>
                <a:gd name="T26" fmla="*/ 0 w 40"/>
                <a:gd name="T27" fmla="*/ 20 h 40"/>
                <a:gd name="T28" fmla="*/ 2 w 40"/>
                <a:gd name="T29" fmla="*/ 20 h 40"/>
                <a:gd name="T30" fmla="*/ 3 w 40"/>
                <a:gd name="T31" fmla="*/ 19 h 40"/>
                <a:gd name="T32" fmla="*/ 0 w 40"/>
                <a:gd name="T33" fmla="*/ 11 h 40"/>
                <a:gd name="T34" fmla="*/ 0 w 40"/>
                <a:gd name="T35" fmla="*/ 10 h 40"/>
                <a:gd name="T36" fmla="*/ 3 w 40"/>
                <a:gd name="T37" fmla="*/ 10 h 40"/>
                <a:gd name="T38" fmla="*/ 12 w 40"/>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12" y="0"/>
                  </a:moveTo>
                  <a:lnTo>
                    <a:pt x="29" y="0"/>
                  </a:lnTo>
                  <a:lnTo>
                    <a:pt x="37" y="13"/>
                  </a:lnTo>
                  <a:lnTo>
                    <a:pt x="34" y="20"/>
                  </a:lnTo>
                  <a:lnTo>
                    <a:pt x="39" y="19"/>
                  </a:lnTo>
                  <a:lnTo>
                    <a:pt x="40" y="19"/>
                  </a:lnTo>
                  <a:lnTo>
                    <a:pt x="40" y="23"/>
                  </a:lnTo>
                  <a:lnTo>
                    <a:pt x="37" y="25"/>
                  </a:lnTo>
                  <a:lnTo>
                    <a:pt x="37" y="29"/>
                  </a:lnTo>
                  <a:lnTo>
                    <a:pt x="36" y="29"/>
                  </a:lnTo>
                  <a:lnTo>
                    <a:pt x="24" y="40"/>
                  </a:lnTo>
                  <a:lnTo>
                    <a:pt x="12" y="34"/>
                  </a:lnTo>
                  <a:lnTo>
                    <a:pt x="0" y="22"/>
                  </a:lnTo>
                  <a:lnTo>
                    <a:pt x="0" y="20"/>
                  </a:lnTo>
                  <a:lnTo>
                    <a:pt x="2" y="20"/>
                  </a:lnTo>
                  <a:lnTo>
                    <a:pt x="3" y="19"/>
                  </a:lnTo>
                  <a:lnTo>
                    <a:pt x="0" y="11"/>
                  </a:lnTo>
                  <a:lnTo>
                    <a:pt x="0" y="10"/>
                  </a:lnTo>
                  <a:lnTo>
                    <a:pt x="3" y="10"/>
                  </a:lnTo>
                  <a:lnTo>
                    <a:pt x="1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7" name="Rwanda">
              <a:extLst>
                <a:ext uri="{FF2B5EF4-FFF2-40B4-BE49-F238E27FC236}">
                  <a16:creationId xmlns:a16="http://schemas.microsoft.com/office/drawing/2014/main" id="{517027D6-CD9D-DF0D-9F78-22C95007F2C0}"/>
                </a:ext>
              </a:extLst>
            </p:cNvPr>
            <p:cNvSpPr>
              <a:spLocks/>
            </p:cNvSpPr>
            <p:nvPr/>
          </p:nvSpPr>
          <p:spPr bwMode="auto">
            <a:xfrm>
              <a:off x="6510721" y="4610898"/>
              <a:ext cx="46983" cy="43369"/>
            </a:xfrm>
            <a:custGeom>
              <a:avLst/>
              <a:gdLst>
                <a:gd name="T0" fmla="*/ 21 w 26"/>
                <a:gd name="T1" fmla="*/ 0 h 24"/>
                <a:gd name="T2" fmla="*/ 21 w 26"/>
                <a:gd name="T3" fmla="*/ 1 h 24"/>
                <a:gd name="T4" fmla="*/ 26 w 26"/>
                <a:gd name="T5" fmla="*/ 13 h 24"/>
                <a:gd name="T6" fmla="*/ 23 w 26"/>
                <a:gd name="T7" fmla="*/ 19 h 24"/>
                <a:gd name="T8" fmla="*/ 15 w 26"/>
                <a:gd name="T9" fmla="*/ 19 h 24"/>
                <a:gd name="T10" fmla="*/ 13 w 26"/>
                <a:gd name="T11" fmla="*/ 24 h 24"/>
                <a:gd name="T12" fmla="*/ 7 w 26"/>
                <a:gd name="T13" fmla="*/ 24 h 24"/>
                <a:gd name="T14" fmla="*/ 4 w 26"/>
                <a:gd name="T15" fmla="*/ 21 h 24"/>
                <a:gd name="T16" fmla="*/ 4 w 26"/>
                <a:gd name="T17" fmla="*/ 24 h 24"/>
                <a:gd name="T18" fmla="*/ 3 w 26"/>
                <a:gd name="T19" fmla="*/ 24 h 24"/>
                <a:gd name="T20" fmla="*/ 0 w 26"/>
                <a:gd name="T21" fmla="*/ 19 h 24"/>
                <a:gd name="T22" fmla="*/ 0 w 26"/>
                <a:gd name="T23" fmla="*/ 18 h 24"/>
                <a:gd name="T24" fmla="*/ 10 w 26"/>
                <a:gd name="T25" fmla="*/ 4 h 24"/>
                <a:gd name="T26" fmla="*/ 10 w 26"/>
                <a:gd name="T27" fmla="*/ 3 h 24"/>
                <a:gd name="T28" fmla="*/ 13 w 26"/>
                <a:gd name="T29" fmla="*/ 4 h 24"/>
                <a:gd name="T30" fmla="*/ 15 w 26"/>
                <a:gd name="T31" fmla="*/ 4 h 24"/>
                <a:gd name="T32" fmla="*/ 21 w 26"/>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4">
                  <a:moveTo>
                    <a:pt x="21" y="0"/>
                  </a:moveTo>
                  <a:lnTo>
                    <a:pt x="21" y="1"/>
                  </a:lnTo>
                  <a:lnTo>
                    <a:pt x="26" y="13"/>
                  </a:lnTo>
                  <a:lnTo>
                    <a:pt x="23" y="19"/>
                  </a:lnTo>
                  <a:lnTo>
                    <a:pt x="15" y="19"/>
                  </a:lnTo>
                  <a:lnTo>
                    <a:pt x="13" y="24"/>
                  </a:lnTo>
                  <a:lnTo>
                    <a:pt x="7" y="24"/>
                  </a:lnTo>
                  <a:lnTo>
                    <a:pt x="4" y="21"/>
                  </a:lnTo>
                  <a:lnTo>
                    <a:pt x="4" y="24"/>
                  </a:lnTo>
                  <a:lnTo>
                    <a:pt x="3" y="24"/>
                  </a:lnTo>
                  <a:lnTo>
                    <a:pt x="0" y="19"/>
                  </a:lnTo>
                  <a:lnTo>
                    <a:pt x="0" y="18"/>
                  </a:lnTo>
                  <a:lnTo>
                    <a:pt x="10" y="4"/>
                  </a:lnTo>
                  <a:lnTo>
                    <a:pt x="10" y="3"/>
                  </a:lnTo>
                  <a:lnTo>
                    <a:pt x="13" y="4"/>
                  </a:lnTo>
                  <a:lnTo>
                    <a:pt x="15" y="4"/>
                  </a:lnTo>
                  <a:lnTo>
                    <a:pt x="2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8" name="Nigeria">
              <a:extLst>
                <a:ext uri="{FF2B5EF4-FFF2-40B4-BE49-F238E27FC236}">
                  <a16:creationId xmlns:a16="http://schemas.microsoft.com/office/drawing/2014/main" id="{7D3C35E6-CA73-BC90-E317-2A97C3C822EF}"/>
                </a:ext>
              </a:extLst>
            </p:cNvPr>
            <p:cNvSpPr>
              <a:spLocks/>
            </p:cNvSpPr>
            <p:nvPr/>
          </p:nvSpPr>
          <p:spPr bwMode="auto">
            <a:xfrm>
              <a:off x="5890898" y="4260329"/>
              <a:ext cx="276481" cy="233112"/>
            </a:xfrm>
            <a:custGeom>
              <a:avLst/>
              <a:gdLst>
                <a:gd name="T0" fmla="*/ 36 w 153"/>
                <a:gd name="T1" fmla="*/ 0 h 129"/>
                <a:gd name="T2" fmla="*/ 39 w 153"/>
                <a:gd name="T3" fmla="*/ 0 h 129"/>
                <a:gd name="T4" fmla="*/ 55 w 153"/>
                <a:gd name="T5" fmla="*/ 12 h 129"/>
                <a:gd name="T6" fmla="*/ 69 w 153"/>
                <a:gd name="T7" fmla="*/ 6 h 129"/>
                <a:gd name="T8" fmla="*/ 77 w 153"/>
                <a:gd name="T9" fmla="*/ 12 h 129"/>
                <a:gd name="T10" fmla="*/ 86 w 153"/>
                <a:gd name="T11" fmla="*/ 15 h 129"/>
                <a:gd name="T12" fmla="*/ 98 w 153"/>
                <a:gd name="T13" fmla="*/ 6 h 129"/>
                <a:gd name="T14" fmla="*/ 116 w 153"/>
                <a:gd name="T15" fmla="*/ 6 h 129"/>
                <a:gd name="T16" fmla="*/ 125 w 153"/>
                <a:gd name="T17" fmla="*/ 9 h 129"/>
                <a:gd name="T18" fmla="*/ 134 w 153"/>
                <a:gd name="T19" fmla="*/ 3 h 129"/>
                <a:gd name="T20" fmla="*/ 135 w 153"/>
                <a:gd name="T21" fmla="*/ 0 h 129"/>
                <a:gd name="T22" fmla="*/ 150 w 153"/>
                <a:gd name="T23" fmla="*/ 17 h 129"/>
                <a:gd name="T24" fmla="*/ 153 w 153"/>
                <a:gd name="T25" fmla="*/ 22 h 129"/>
                <a:gd name="T26" fmla="*/ 153 w 153"/>
                <a:gd name="T27" fmla="*/ 29 h 129"/>
                <a:gd name="T28" fmla="*/ 141 w 153"/>
                <a:gd name="T29" fmla="*/ 40 h 129"/>
                <a:gd name="T30" fmla="*/ 132 w 153"/>
                <a:gd name="T31" fmla="*/ 66 h 129"/>
                <a:gd name="T32" fmla="*/ 125 w 153"/>
                <a:gd name="T33" fmla="*/ 72 h 129"/>
                <a:gd name="T34" fmla="*/ 115 w 153"/>
                <a:gd name="T35" fmla="*/ 96 h 129"/>
                <a:gd name="T36" fmla="*/ 115 w 153"/>
                <a:gd name="T37" fmla="*/ 98 h 129"/>
                <a:gd name="T38" fmla="*/ 109 w 153"/>
                <a:gd name="T39" fmla="*/ 99 h 129"/>
                <a:gd name="T40" fmla="*/ 109 w 153"/>
                <a:gd name="T41" fmla="*/ 98 h 129"/>
                <a:gd name="T42" fmla="*/ 103 w 153"/>
                <a:gd name="T43" fmla="*/ 93 h 129"/>
                <a:gd name="T44" fmla="*/ 89 w 153"/>
                <a:gd name="T45" fmla="*/ 93 h 129"/>
                <a:gd name="T46" fmla="*/ 80 w 153"/>
                <a:gd name="T47" fmla="*/ 106 h 129"/>
                <a:gd name="T48" fmla="*/ 76 w 153"/>
                <a:gd name="T49" fmla="*/ 121 h 129"/>
                <a:gd name="T50" fmla="*/ 74 w 153"/>
                <a:gd name="T51" fmla="*/ 121 h 129"/>
                <a:gd name="T52" fmla="*/ 73 w 153"/>
                <a:gd name="T53" fmla="*/ 120 h 129"/>
                <a:gd name="T54" fmla="*/ 72 w 153"/>
                <a:gd name="T55" fmla="*/ 124 h 129"/>
                <a:gd name="T56" fmla="*/ 64 w 153"/>
                <a:gd name="T57" fmla="*/ 124 h 129"/>
                <a:gd name="T58" fmla="*/ 61 w 153"/>
                <a:gd name="T59" fmla="*/ 123 h 129"/>
                <a:gd name="T60" fmla="*/ 58 w 153"/>
                <a:gd name="T61" fmla="*/ 123 h 129"/>
                <a:gd name="T62" fmla="*/ 55 w 153"/>
                <a:gd name="T63" fmla="*/ 126 h 129"/>
                <a:gd name="T64" fmla="*/ 46 w 153"/>
                <a:gd name="T65" fmla="*/ 129 h 129"/>
                <a:gd name="T66" fmla="*/ 36 w 153"/>
                <a:gd name="T67" fmla="*/ 120 h 129"/>
                <a:gd name="T68" fmla="*/ 36 w 153"/>
                <a:gd name="T69" fmla="*/ 112 h 129"/>
                <a:gd name="T70" fmla="*/ 27 w 153"/>
                <a:gd name="T71" fmla="*/ 103 h 129"/>
                <a:gd name="T72" fmla="*/ 20 w 153"/>
                <a:gd name="T73" fmla="*/ 99 h 129"/>
                <a:gd name="T74" fmla="*/ 12 w 153"/>
                <a:gd name="T75" fmla="*/ 99 h 129"/>
                <a:gd name="T76" fmla="*/ 9 w 153"/>
                <a:gd name="T77" fmla="*/ 101 h 129"/>
                <a:gd name="T78" fmla="*/ 0 w 153"/>
                <a:gd name="T79" fmla="*/ 101 h 129"/>
                <a:gd name="T80" fmla="*/ 0 w 153"/>
                <a:gd name="T81" fmla="*/ 71 h 129"/>
                <a:gd name="T82" fmla="*/ 6 w 153"/>
                <a:gd name="T83" fmla="*/ 56 h 129"/>
                <a:gd name="T84" fmla="*/ 11 w 153"/>
                <a:gd name="T85" fmla="*/ 52 h 129"/>
                <a:gd name="T86" fmla="*/ 11 w 153"/>
                <a:gd name="T87" fmla="*/ 46 h 129"/>
                <a:gd name="T88" fmla="*/ 12 w 153"/>
                <a:gd name="T89" fmla="*/ 44 h 129"/>
                <a:gd name="T90" fmla="*/ 12 w 153"/>
                <a:gd name="T91" fmla="*/ 37 h 129"/>
                <a:gd name="T92" fmla="*/ 9 w 153"/>
                <a:gd name="T93" fmla="*/ 34 h 129"/>
                <a:gd name="T94" fmla="*/ 9 w 153"/>
                <a:gd name="T95" fmla="*/ 32 h 129"/>
                <a:gd name="T96" fmla="*/ 11 w 153"/>
                <a:gd name="T97" fmla="*/ 29 h 129"/>
                <a:gd name="T98" fmla="*/ 11 w 153"/>
                <a:gd name="T99" fmla="*/ 19 h 129"/>
                <a:gd name="T100" fmla="*/ 15 w 153"/>
                <a:gd name="T101" fmla="*/ 13 h 129"/>
                <a:gd name="T102" fmla="*/ 18 w 153"/>
                <a:gd name="T103" fmla="*/ 6 h 129"/>
                <a:gd name="T104" fmla="*/ 29 w 153"/>
                <a:gd name="T105" fmla="*/ 1 h 129"/>
                <a:gd name="T106" fmla="*/ 32 w 153"/>
                <a:gd name="T107" fmla="*/ 1 h 129"/>
                <a:gd name="T108" fmla="*/ 36 w 153"/>
                <a:gd name="T10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 h="129">
                  <a:moveTo>
                    <a:pt x="36" y="0"/>
                  </a:moveTo>
                  <a:lnTo>
                    <a:pt x="39" y="0"/>
                  </a:lnTo>
                  <a:lnTo>
                    <a:pt x="55" y="12"/>
                  </a:lnTo>
                  <a:lnTo>
                    <a:pt x="69" y="6"/>
                  </a:lnTo>
                  <a:lnTo>
                    <a:pt x="77" y="12"/>
                  </a:lnTo>
                  <a:lnTo>
                    <a:pt x="86" y="15"/>
                  </a:lnTo>
                  <a:lnTo>
                    <a:pt x="98" y="6"/>
                  </a:lnTo>
                  <a:lnTo>
                    <a:pt x="116" y="6"/>
                  </a:lnTo>
                  <a:lnTo>
                    <a:pt x="125" y="9"/>
                  </a:lnTo>
                  <a:lnTo>
                    <a:pt x="134" y="3"/>
                  </a:lnTo>
                  <a:lnTo>
                    <a:pt x="135" y="0"/>
                  </a:lnTo>
                  <a:lnTo>
                    <a:pt x="150" y="17"/>
                  </a:lnTo>
                  <a:lnTo>
                    <a:pt x="153" y="22"/>
                  </a:lnTo>
                  <a:lnTo>
                    <a:pt x="153" y="29"/>
                  </a:lnTo>
                  <a:lnTo>
                    <a:pt x="141" y="40"/>
                  </a:lnTo>
                  <a:lnTo>
                    <a:pt x="132" y="66"/>
                  </a:lnTo>
                  <a:lnTo>
                    <a:pt x="125" y="72"/>
                  </a:lnTo>
                  <a:lnTo>
                    <a:pt x="115" y="96"/>
                  </a:lnTo>
                  <a:lnTo>
                    <a:pt x="115" y="98"/>
                  </a:lnTo>
                  <a:lnTo>
                    <a:pt x="109" y="99"/>
                  </a:lnTo>
                  <a:lnTo>
                    <a:pt x="109" y="98"/>
                  </a:lnTo>
                  <a:lnTo>
                    <a:pt x="103" y="93"/>
                  </a:lnTo>
                  <a:lnTo>
                    <a:pt x="89" y="93"/>
                  </a:lnTo>
                  <a:lnTo>
                    <a:pt x="80" y="106"/>
                  </a:lnTo>
                  <a:lnTo>
                    <a:pt x="76" y="121"/>
                  </a:lnTo>
                  <a:lnTo>
                    <a:pt x="74" y="121"/>
                  </a:lnTo>
                  <a:lnTo>
                    <a:pt x="73" y="120"/>
                  </a:lnTo>
                  <a:lnTo>
                    <a:pt x="72" y="124"/>
                  </a:lnTo>
                  <a:lnTo>
                    <a:pt x="64" y="124"/>
                  </a:lnTo>
                  <a:lnTo>
                    <a:pt x="61" y="123"/>
                  </a:lnTo>
                  <a:lnTo>
                    <a:pt x="58" y="123"/>
                  </a:lnTo>
                  <a:lnTo>
                    <a:pt x="55" y="126"/>
                  </a:lnTo>
                  <a:lnTo>
                    <a:pt x="46" y="129"/>
                  </a:lnTo>
                  <a:lnTo>
                    <a:pt x="36" y="120"/>
                  </a:lnTo>
                  <a:lnTo>
                    <a:pt x="36" y="112"/>
                  </a:lnTo>
                  <a:lnTo>
                    <a:pt x="27" y="103"/>
                  </a:lnTo>
                  <a:lnTo>
                    <a:pt x="20" y="99"/>
                  </a:lnTo>
                  <a:lnTo>
                    <a:pt x="12" y="99"/>
                  </a:lnTo>
                  <a:lnTo>
                    <a:pt x="9" y="101"/>
                  </a:lnTo>
                  <a:lnTo>
                    <a:pt x="0" y="101"/>
                  </a:lnTo>
                  <a:lnTo>
                    <a:pt x="0" y="71"/>
                  </a:lnTo>
                  <a:lnTo>
                    <a:pt x="6" y="56"/>
                  </a:lnTo>
                  <a:lnTo>
                    <a:pt x="11" y="52"/>
                  </a:lnTo>
                  <a:lnTo>
                    <a:pt x="11" y="46"/>
                  </a:lnTo>
                  <a:lnTo>
                    <a:pt x="12" y="44"/>
                  </a:lnTo>
                  <a:lnTo>
                    <a:pt x="12" y="37"/>
                  </a:lnTo>
                  <a:lnTo>
                    <a:pt x="9" y="34"/>
                  </a:lnTo>
                  <a:lnTo>
                    <a:pt x="9" y="32"/>
                  </a:lnTo>
                  <a:lnTo>
                    <a:pt x="11" y="29"/>
                  </a:lnTo>
                  <a:lnTo>
                    <a:pt x="11" y="19"/>
                  </a:lnTo>
                  <a:lnTo>
                    <a:pt x="15" y="13"/>
                  </a:lnTo>
                  <a:lnTo>
                    <a:pt x="18" y="6"/>
                  </a:lnTo>
                  <a:lnTo>
                    <a:pt x="29" y="1"/>
                  </a:lnTo>
                  <a:lnTo>
                    <a:pt x="32" y="1"/>
                  </a:lnTo>
                  <a:lnTo>
                    <a:pt x="3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49" name="Niger">
              <a:extLst>
                <a:ext uri="{FF2B5EF4-FFF2-40B4-BE49-F238E27FC236}">
                  <a16:creationId xmlns:a16="http://schemas.microsoft.com/office/drawing/2014/main" id="{05AABF2B-BA6E-F3B6-867C-23494665127F}"/>
                </a:ext>
              </a:extLst>
            </p:cNvPr>
            <p:cNvSpPr>
              <a:spLocks/>
            </p:cNvSpPr>
            <p:nvPr/>
          </p:nvSpPr>
          <p:spPr bwMode="auto">
            <a:xfrm>
              <a:off x="5827652" y="4021797"/>
              <a:ext cx="379483" cy="290938"/>
            </a:xfrm>
            <a:custGeom>
              <a:avLst/>
              <a:gdLst>
                <a:gd name="T0" fmla="*/ 152 w 210"/>
                <a:gd name="T1" fmla="*/ 0 h 161"/>
                <a:gd name="T2" fmla="*/ 181 w 210"/>
                <a:gd name="T3" fmla="*/ 0 h 161"/>
                <a:gd name="T4" fmla="*/ 192 w 210"/>
                <a:gd name="T5" fmla="*/ 7 h 161"/>
                <a:gd name="T6" fmla="*/ 195 w 210"/>
                <a:gd name="T7" fmla="*/ 6 h 161"/>
                <a:gd name="T8" fmla="*/ 197 w 210"/>
                <a:gd name="T9" fmla="*/ 6 h 161"/>
                <a:gd name="T10" fmla="*/ 197 w 210"/>
                <a:gd name="T11" fmla="*/ 28 h 161"/>
                <a:gd name="T12" fmla="*/ 201 w 210"/>
                <a:gd name="T13" fmla="*/ 35 h 161"/>
                <a:gd name="T14" fmla="*/ 209 w 210"/>
                <a:gd name="T15" fmla="*/ 41 h 161"/>
                <a:gd name="T16" fmla="*/ 210 w 210"/>
                <a:gd name="T17" fmla="*/ 41 h 161"/>
                <a:gd name="T18" fmla="*/ 210 w 210"/>
                <a:gd name="T19" fmla="*/ 43 h 161"/>
                <a:gd name="T20" fmla="*/ 209 w 210"/>
                <a:gd name="T21" fmla="*/ 43 h 161"/>
                <a:gd name="T22" fmla="*/ 206 w 210"/>
                <a:gd name="T23" fmla="*/ 49 h 161"/>
                <a:gd name="T24" fmla="*/ 203 w 210"/>
                <a:gd name="T25" fmla="*/ 68 h 161"/>
                <a:gd name="T26" fmla="*/ 201 w 210"/>
                <a:gd name="T27" fmla="*/ 90 h 161"/>
                <a:gd name="T28" fmla="*/ 178 w 210"/>
                <a:gd name="T29" fmla="*/ 115 h 161"/>
                <a:gd name="T30" fmla="*/ 175 w 210"/>
                <a:gd name="T31" fmla="*/ 124 h 161"/>
                <a:gd name="T32" fmla="*/ 178 w 210"/>
                <a:gd name="T33" fmla="*/ 124 h 161"/>
                <a:gd name="T34" fmla="*/ 178 w 210"/>
                <a:gd name="T35" fmla="*/ 126 h 161"/>
                <a:gd name="T36" fmla="*/ 170 w 210"/>
                <a:gd name="T37" fmla="*/ 126 h 161"/>
                <a:gd name="T38" fmla="*/ 170 w 210"/>
                <a:gd name="T39" fmla="*/ 136 h 161"/>
                <a:gd name="T40" fmla="*/ 161 w 210"/>
                <a:gd name="T41" fmla="*/ 142 h 161"/>
                <a:gd name="T42" fmla="*/ 160 w 210"/>
                <a:gd name="T43" fmla="*/ 142 h 161"/>
                <a:gd name="T44" fmla="*/ 151 w 210"/>
                <a:gd name="T45" fmla="*/ 139 h 161"/>
                <a:gd name="T46" fmla="*/ 135 w 210"/>
                <a:gd name="T47" fmla="*/ 139 h 161"/>
                <a:gd name="T48" fmla="*/ 121 w 210"/>
                <a:gd name="T49" fmla="*/ 148 h 161"/>
                <a:gd name="T50" fmla="*/ 112 w 210"/>
                <a:gd name="T51" fmla="*/ 145 h 161"/>
                <a:gd name="T52" fmla="*/ 104 w 210"/>
                <a:gd name="T53" fmla="*/ 139 h 161"/>
                <a:gd name="T54" fmla="*/ 90 w 210"/>
                <a:gd name="T55" fmla="*/ 145 h 161"/>
                <a:gd name="T56" fmla="*/ 74 w 210"/>
                <a:gd name="T57" fmla="*/ 133 h 161"/>
                <a:gd name="T58" fmla="*/ 64 w 210"/>
                <a:gd name="T59" fmla="*/ 135 h 161"/>
                <a:gd name="T60" fmla="*/ 55 w 210"/>
                <a:gd name="T61" fmla="*/ 138 h 161"/>
                <a:gd name="T62" fmla="*/ 52 w 210"/>
                <a:gd name="T63" fmla="*/ 145 h 161"/>
                <a:gd name="T64" fmla="*/ 47 w 210"/>
                <a:gd name="T65" fmla="*/ 151 h 161"/>
                <a:gd name="T66" fmla="*/ 47 w 210"/>
                <a:gd name="T67" fmla="*/ 161 h 161"/>
                <a:gd name="T68" fmla="*/ 46 w 210"/>
                <a:gd name="T69" fmla="*/ 161 h 161"/>
                <a:gd name="T70" fmla="*/ 37 w 210"/>
                <a:gd name="T71" fmla="*/ 152 h 161"/>
                <a:gd name="T72" fmla="*/ 32 w 210"/>
                <a:gd name="T73" fmla="*/ 154 h 161"/>
                <a:gd name="T74" fmla="*/ 32 w 210"/>
                <a:gd name="T75" fmla="*/ 157 h 161"/>
                <a:gd name="T76" fmla="*/ 31 w 210"/>
                <a:gd name="T77" fmla="*/ 158 h 161"/>
                <a:gd name="T78" fmla="*/ 26 w 210"/>
                <a:gd name="T79" fmla="*/ 154 h 161"/>
                <a:gd name="T80" fmla="*/ 26 w 210"/>
                <a:gd name="T81" fmla="*/ 152 h 161"/>
                <a:gd name="T82" fmla="*/ 28 w 210"/>
                <a:gd name="T83" fmla="*/ 151 h 161"/>
                <a:gd name="T84" fmla="*/ 26 w 210"/>
                <a:gd name="T85" fmla="*/ 148 h 161"/>
                <a:gd name="T86" fmla="*/ 18 w 210"/>
                <a:gd name="T87" fmla="*/ 148 h 161"/>
                <a:gd name="T88" fmla="*/ 4 w 210"/>
                <a:gd name="T89" fmla="*/ 130 h 161"/>
                <a:gd name="T90" fmla="*/ 0 w 210"/>
                <a:gd name="T91" fmla="*/ 123 h 161"/>
                <a:gd name="T92" fmla="*/ 1 w 210"/>
                <a:gd name="T93" fmla="*/ 117 h 161"/>
                <a:gd name="T94" fmla="*/ 10 w 210"/>
                <a:gd name="T95" fmla="*/ 117 h 161"/>
                <a:gd name="T96" fmla="*/ 16 w 210"/>
                <a:gd name="T97" fmla="*/ 111 h 161"/>
                <a:gd name="T98" fmla="*/ 44 w 210"/>
                <a:gd name="T99" fmla="*/ 111 h 161"/>
                <a:gd name="T100" fmla="*/ 50 w 210"/>
                <a:gd name="T101" fmla="*/ 104 h 161"/>
                <a:gd name="T102" fmla="*/ 53 w 210"/>
                <a:gd name="T103" fmla="*/ 102 h 161"/>
                <a:gd name="T104" fmla="*/ 53 w 210"/>
                <a:gd name="T105" fmla="*/ 59 h 161"/>
                <a:gd name="T106" fmla="*/ 74 w 210"/>
                <a:gd name="T107" fmla="*/ 55 h 161"/>
                <a:gd name="T108" fmla="*/ 102 w 210"/>
                <a:gd name="T109" fmla="*/ 32 h 161"/>
                <a:gd name="T110" fmla="*/ 152 w 210"/>
                <a:gd name="T11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0" h="161">
                  <a:moveTo>
                    <a:pt x="152" y="0"/>
                  </a:moveTo>
                  <a:lnTo>
                    <a:pt x="181" y="0"/>
                  </a:lnTo>
                  <a:lnTo>
                    <a:pt x="192" y="7"/>
                  </a:lnTo>
                  <a:lnTo>
                    <a:pt x="195" y="6"/>
                  </a:lnTo>
                  <a:lnTo>
                    <a:pt x="197" y="6"/>
                  </a:lnTo>
                  <a:lnTo>
                    <a:pt x="197" y="28"/>
                  </a:lnTo>
                  <a:lnTo>
                    <a:pt x="201" y="35"/>
                  </a:lnTo>
                  <a:lnTo>
                    <a:pt x="209" y="41"/>
                  </a:lnTo>
                  <a:lnTo>
                    <a:pt x="210" y="41"/>
                  </a:lnTo>
                  <a:lnTo>
                    <a:pt x="210" y="43"/>
                  </a:lnTo>
                  <a:lnTo>
                    <a:pt x="209" y="43"/>
                  </a:lnTo>
                  <a:lnTo>
                    <a:pt x="206" y="49"/>
                  </a:lnTo>
                  <a:lnTo>
                    <a:pt x="203" y="68"/>
                  </a:lnTo>
                  <a:lnTo>
                    <a:pt x="201" y="90"/>
                  </a:lnTo>
                  <a:lnTo>
                    <a:pt x="178" y="115"/>
                  </a:lnTo>
                  <a:lnTo>
                    <a:pt x="175" y="124"/>
                  </a:lnTo>
                  <a:lnTo>
                    <a:pt x="178" y="124"/>
                  </a:lnTo>
                  <a:lnTo>
                    <a:pt x="178" y="126"/>
                  </a:lnTo>
                  <a:lnTo>
                    <a:pt x="170" y="126"/>
                  </a:lnTo>
                  <a:lnTo>
                    <a:pt x="170" y="136"/>
                  </a:lnTo>
                  <a:lnTo>
                    <a:pt x="161" y="142"/>
                  </a:lnTo>
                  <a:lnTo>
                    <a:pt x="160" y="142"/>
                  </a:lnTo>
                  <a:lnTo>
                    <a:pt x="151" y="139"/>
                  </a:lnTo>
                  <a:lnTo>
                    <a:pt x="135" y="139"/>
                  </a:lnTo>
                  <a:lnTo>
                    <a:pt x="121" y="148"/>
                  </a:lnTo>
                  <a:lnTo>
                    <a:pt x="112" y="145"/>
                  </a:lnTo>
                  <a:lnTo>
                    <a:pt x="104" y="139"/>
                  </a:lnTo>
                  <a:lnTo>
                    <a:pt x="90" y="145"/>
                  </a:lnTo>
                  <a:lnTo>
                    <a:pt x="74" y="133"/>
                  </a:lnTo>
                  <a:lnTo>
                    <a:pt x="64" y="135"/>
                  </a:lnTo>
                  <a:lnTo>
                    <a:pt x="55" y="138"/>
                  </a:lnTo>
                  <a:lnTo>
                    <a:pt x="52" y="145"/>
                  </a:lnTo>
                  <a:lnTo>
                    <a:pt x="47" y="151"/>
                  </a:lnTo>
                  <a:lnTo>
                    <a:pt x="47" y="161"/>
                  </a:lnTo>
                  <a:lnTo>
                    <a:pt x="46" y="161"/>
                  </a:lnTo>
                  <a:lnTo>
                    <a:pt x="37" y="152"/>
                  </a:lnTo>
                  <a:lnTo>
                    <a:pt x="32" y="154"/>
                  </a:lnTo>
                  <a:lnTo>
                    <a:pt x="32" y="157"/>
                  </a:lnTo>
                  <a:lnTo>
                    <a:pt x="31" y="158"/>
                  </a:lnTo>
                  <a:lnTo>
                    <a:pt x="26" y="154"/>
                  </a:lnTo>
                  <a:lnTo>
                    <a:pt x="26" y="152"/>
                  </a:lnTo>
                  <a:lnTo>
                    <a:pt x="28" y="151"/>
                  </a:lnTo>
                  <a:lnTo>
                    <a:pt x="26" y="148"/>
                  </a:lnTo>
                  <a:lnTo>
                    <a:pt x="18" y="148"/>
                  </a:lnTo>
                  <a:lnTo>
                    <a:pt x="4" y="130"/>
                  </a:lnTo>
                  <a:lnTo>
                    <a:pt x="0" y="123"/>
                  </a:lnTo>
                  <a:lnTo>
                    <a:pt x="1" y="117"/>
                  </a:lnTo>
                  <a:lnTo>
                    <a:pt x="10" y="117"/>
                  </a:lnTo>
                  <a:lnTo>
                    <a:pt x="16" y="111"/>
                  </a:lnTo>
                  <a:lnTo>
                    <a:pt x="44" y="111"/>
                  </a:lnTo>
                  <a:lnTo>
                    <a:pt x="50" y="104"/>
                  </a:lnTo>
                  <a:lnTo>
                    <a:pt x="53" y="102"/>
                  </a:lnTo>
                  <a:lnTo>
                    <a:pt x="53" y="59"/>
                  </a:lnTo>
                  <a:lnTo>
                    <a:pt x="74" y="55"/>
                  </a:lnTo>
                  <a:lnTo>
                    <a:pt x="102" y="32"/>
                  </a:lnTo>
                  <a:lnTo>
                    <a:pt x="15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0" name="Namibia">
              <a:extLst>
                <a:ext uri="{FF2B5EF4-FFF2-40B4-BE49-F238E27FC236}">
                  <a16:creationId xmlns:a16="http://schemas.microsoft.com/office/drawing/2014/main" id="{5D8EE4F4-F36E-F989-4B5B-0E9B2BFB1BD1}"/>
                </a:ext>
              </a:extLst>
            </p:cNvPr>
            <p:cNvSpPr>
              <a:spLocks/>
            </p:cNvSpPr>
            <p:nvPr/>
          </p:nvSpPr>
          <p:spPr bwMode="auto">
            <a:xfrm>
              <a:off x="6100517" y="4988576"/>
              <a:ext cx="321657" cy="312622"/>
            </a:xfrm>
            <a:custGeom>
              <a:avLst/>
              <a:gdLst>
                <a:gd name="T0" fmla="*/ 13 w 178"/>
                <a:gd name="T1" fmla="*/ 0 h 173"/>
                <a:gd name="T2" fmla="*/ 19 w 178"/>
                <a:gd name="T3" fmla="*/ 0 h 173"/>
                <a:gd name="T4" fmla="*/ 30 w 178"/>
                <a:gd name="T5" fmla="*/ 6 h 173"/>
                <a:gd name="T6" fmla="*/ 87 w 178"/>
                <a:gd name="T7" fmla="*/ 6 h 173"/>
                <a:gd name="T8" fmla="*/ 98 w 178"/>
                <a:gd name="T9" fmla="*/ 12 h 173"/>
                <a:gd name="T10" fmla="*/ 111 w 178"/>
                <a:gd name="T11" fmla="*/ 12 h 173"/>
                <a:gd name="T12" fmla="*/ 129 w 178"/>
                <a:gd name="T13" fmla="*/ 16 h 173"/>
                <a:gd name="T14" fmla="*/ 151 w 178"/>
                <a:gd name="T15" fmla="*/ 10 h 173"/>
                <a:gd name="T16" fmla="*/ 163 w 178"/>
                <a:gd name="T17" fmla="*/ 7 h 173"/>
                <a:gd name="T18" fmla="*/ 172 w 178"/>
                <a:gd name="T19" fmla="*/ 9 h 173"/>
                <a:gd name="T20" fmla="*/ 178 w 178"/>
                <a:gd name="T21" fmla="*/ 13 h 173"/>
                <a:gd name="T22" fmla="*/ 172 w 178"/>
                <a:gd name="T23" fmla="*/ 13 h 173"/>
                <a:gd name="T24" fmla="*/ 165 w 178"/>
                <a:gd name="T25" fmla="*/ 18 h 173"/>
                <a:gd name="T26" fmla="*/ 157 w 178"/>
                <a:gd name="T27" fmla="*/ 25 h 173"/>
                <a:gd name="T28" fmla="*/ 156 w 178"/>
                <a:gd name="T29" fmla="*/ 25 h 173"/>
                <a:gd name="T30" fmla="*/ 153 w 178"/>
                <a:gd name="T31" fmla="*/ 19 h 173"/>
                <a:gd name="T32" fmla="*/ 147 w 178"/>
                <a:gd name="T33" fmla="*/ 18 h 173"/>
                <a:gd name="T34" fmla="*/ 122 w 178"/>
                <a:gd name="T35" fmla="*/ 24 h 173"/>
                <a:gd name="T36" fmla="*/ 122 w 178"/>
                <a:gd name="T37" fmla="*/ 71 h 173"/>
                <a:gd name="T38" fmla="*/ 110 w 178"/>
                <a:gd name="T39" fmla="*/ 71 h 173"/>
                <a:gd name="T40" fmla="*/ 110 w 178"/>
                <a:gd name="T41" fmla="*/ 166 h 173"/>
                <a:gd name="T42" fmla="*/ 108 w 178"/>
                <a:gd name="T43" fmla="*/ 166 h 173"/>
                <a:gd name="T44" fmla="*/ 98 w 178"/>
                <a:gd name="T45" fmla="*/ 173 h 173"/>
                <a:gd name="T46" fmla="*/ 80 w 178"/>
                <a:gd name="T47" fmla="*/ 173 h 173"/>
                <a:gd name="T48" fmla="*/ 79 w 178"/>
                <a:gd name="T49" fmla="*/ 172 h 173"/>
                <a:gd name="T50" fmla="*/ 77 w 178"/>
                <a:gd name="T51" fmla="*/ 166 h 173"/>
                <a:gd name="T52" fmla="*/ 71 w 178"/>
                <a:gd name="T53" fmla="*/ 163 h 173"/>
                <a:gd name="T54" fmla="*/ 64 w 178"/>
                <a:gd name="T55" fmla="*/ 167 h 173"/>
                <a:gd name="T56" fmla="*/ 62 w 178"/>
                <a:gd name="T57" fmla="*/ 167 h 173"/>
                <a:gd name="T58" fmla="*/ 53 w 178"/>
                <a:gd name="T59" fmla="*/ 160 h 173"/>
                <a:gd name="T60" fmla="*/ 46 w 178"/>
                <a:gd name="T61" fmla="*/ 150 h 173"/>
                <a:gd name="T62" fmla="*/ 41 w 178"/>
                <a:gd name="T63" fmla="*/ 124 h 173"/>
                <a:gd name="T64" fmla="*/ 40 w 178"/>
                <a:gd name="T65" fmla="*/ 114 h 173"/>
                <a:gd name="T66" fmla="*/ 36 w 178"/>
                <a:gd name="T67" fmla="*/ 102 h 173"/>
                <a:gd name="T68" fmla="*/ 36 w 178"/>
                <a:gd name="T69" fmla="*/ 80 h 173"/>
                <a:gd name="T70" fmla="*/ 13 w 178"/>
                <a:gd name="T71" fmla="*/ 37 h 173"/>
                <a:gd name="T72" fmla="*/ 0 w 178"/>
                <a:gd name="T73" fmla="*/ 18 h 173"/>
                <a:gd name="T74" fmla="*/ 0 w 178"/>
                <a:gd name="T75" fmla="*/ 6 h 173"/>
                <a:gd name="T76" fmla="*/ 6 w 178"/>
                <a:gd name="T77" fmla="*/ 3 h 173"/>
                <a:gd name="T78" fmla="*/ 7 w 178"/>
                <a:gd name="T79" fmla="*/ 3 h 173"/>
                <a:gd name="T80" fmla="*/ 13 w 178"/>
                <a:gd name="T8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173">
                  <a:moveTo>
                    <a:pt x="13" y="0"/>
                  </a:moveTo>
                  <a:lnTo>
                    <a:pt x="19" y="0"/>
                  </a:lnTo>
                  <a:lnTo>
                    <a:pt x="30" y="6"/>
                  </a:lnTo>
                  <a:lnTo>
                    <a:pt x="87" y="6"/>
                  </a:lnTo>
                  <a:lnTo>
                    <a:pt x="98" y="12"/>
                  </a:lnTo>
                  <a:lnTo>
                    <a:pt x="111" y="12"/>
                  </a:lnTo>
                  <a:lnTo>
                    <a:pt x="129" y="16"/>
                  </a:lnTo>
                  <a:lnTo>
                    <a:pt x="151" y="10"/>
                  </a:lnTo>
                  <a:lnTo>
                    <a:pt x="163" y="7"/>
                  </a:lnTo>
                  <a:lnTo>
                    <a:pt x="172" y="9"/>
                  </a:lnTo>
                  <a:lnTo>
                    <a:pt x="178" y="13"/>
                  </a:lnTo>
                  <a:lnTo>
                    <a:pt x="172" y="13"/>
                  </a:lnTo>
                  <a:lnTo>
                    <a:pt x="165" y="18"/>
                  </a:lnTo>
                  <a:lnTo>
                    <a:pt x="157" y="25"/>
                  </a:lnTo>
                  <a:lnTo>
                    <a:pt x="156" y="25"/>
                  </a:lnTo>
                  <a:lnTo>
                    <a:pt x="153" y="19"/>
                  </a:lnTo>
                  <a:lnTo>
                    <a:pt x="147" y="18"/>
                  </a:lnTo>
                  <a:lnTo>
                    <a:pt x="122" y="24"/>
                  </a:lnTo>
                  <a:lnTo>
                    <a:pt x="122" y="71"/>
                  </a:lnTo>
                  <a:lnTo>
                    <a:pt x="110" y="71"/>
                  </a:lnTo>
                  <a:lnTo>
                    <a:pt x="110" y="166"/>
                  </a:lnTo>
                  <a:lnTo>
                    <a:pt x="108" y="166"/>
                  </a:lnTo>
                  <a:lnTo>
                    <a:pt x="98" y="173"/>
                  </a:lnTo>
                  <a:lnTo>
                    <a:pt x="80" y="173"/>
                  </a:lnTo>
                  <a:lnTo>
                    <a:pt x="79" y="172"/>
                  </a:lnTo>
                  <a:lnTo>
                    <a:pt x="77" y="166"/>
                  </a:lnTo>
                  <a:lnTo>
                    <a:pt x="71" y="163"/>
                  </a:lnTo>
                  <a:lnTo>
                    <a:pt x="64" y="167"/>
                  </a:lnTo>
                  <a:lnTo>
                    <a:pt x="62" y="167"/>
                  </a:lnTo>
                  <a:lnTo>
                    <a:pt x="53" y="160"/>
                  </a:lnTo>
                  <a:lnTo>
                    <a:pt x="46" y="150"/>
                  </a:lnTo>
                  <a:lnTo>
                    <a:pt x="41" y="124"/>
                  </a:lnTo>
                  <a:lnTo>
                    <a:pt x="40" y="114"/>
                  </a:lnTo>
                  <a:lnTo>
                    <a:pt x="36" y="102"/>
                  </a:lnTo>
                  <a:lnTo>
                    <a:pt x="36" y="80"/>
                  </a:lnTo>
                  <a:lnTo>
                    <a:pt x="13" y="37"/>
                  </a:lnTo>
                  <a:lnTo>
                    <a:pt x="0" y="18"/>
                  </a:lnTo>
                  <a:lnTo>
                    <a:pt x="0" y="6"/>
                  </a:lnTo>
                  <a:lnTo>
                    <a:pt x="6" y="3"/>
                  </a:lnTo>
                  <a:lnTo>
                    <a:pt x="7" y="3"/>
                  </a:lnTo>
                  <a:lnTo>
                    <a:pt x="1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1" name="Mali">
              <a:extLst>
                <a:ext uri="{FF2B5EF4-FFF2-40B4-BE49-F238E27FC236}">
                  <a16:creationId xmlns:a16="http://schemas.microsoft.com/office/drawing/2014/main" id="{D5062B6B-5E41-AECC-C29F-C3BCB0E31DEB}"/>
                </a:ext>
              </a:extLst>
            </p:cNvPr>
            <p:cNvSpPr>
              <a:spLocks/>
            </p:cNvSpPr>
            <p:nvPr/>
          </p:nvSpPr>
          <p:spPr bwMode="auto">
            <a:xfrm>
              <a:off x="5540328" y="3980235"/>
              <a:ext cx="386711" cy="370448"/>
            </a:xfrm>
            <a:custGeom>
              <a:avLst/>
              <a:gdLst>
                <a:gd name="T0" fmla="*/ 95 w 214"/>
                <a:gd name="T1" fmla="*/ 0 h 205"/>
                <a:gd name="T2" fmla="*/ 175 w 214"/>
                <a:gd name="T3" fmla="*/ 58 h 205"/>
                <a:gd name="T4" fmla="*/ 184 w 214"/>
                <a:gd name="T5" fmla="*/ 66 h 205"/>
                <a:gd name="T6" fmla="*/ 202 w 214"/>
                <a:gd name="T7" fmla="*/ 73 h 205"/>
                <a:gd name="T8" fmla="*/ 202 w 214"/>
                <a:gd name="T9" fmla="*/ 85 h 205"/>
                <a:gd name="T10" fmla="*/ 214 w 214"/>
                <a:gd name="T11" fmla="*/ 82 h 205"/>
                <a:gd name="T12" fmla="*/ 211 w 214"/>
                <a:gd name="T13" fmla="*/ 128 h 205"/>
                <a:gd name="T14" fmla="*/ 177 w 214"/>
                <a:gd name="T15" fmla="*/ 135 h 205"/>
                <a:gd name="T16" fmla="*/ 160 w 214"/>
                <a:gd name="T17" fmla="*/ 141 h 205"/>
                <a:gd name="T18" fmla="*/ 128 w 214"/>
                <a:gd name="T19" fmla="*/ 159 h 205"/>
                <a:gd name="T20" fmla="*/ 104 w 214"/>
                <a:gd name="T21" fmla="*/ 177 h 205"/>
                <a:gd name="T22" fmla="*/ 92 w 214"/>
                <a:gd name="T23" fmla="*/ 202 h 205"/>
                <a:gd name="T24" fmla="*/ 86 w 214"/>
                <a:gd name="T25" fmla="*/ 201 h 205"/>
                <a:gd name="T26" fmla="*/ 79 w 214"/>
                <a:gd name="T27" fmla="*/ 204 h 205"/>
                <a:gd name="T28" fmla="*/ 77 w 214"/>
                <a:gd name="T29" fmla="*/ 198 h 205"/>
                <a:gd name="T30" fmla="*/ 71 w 214"/>
                <a:gd name="T31" fmla="*/ 201 h 205"/>
                <a:gd name="T32" fmla="*/ 68 w 214"/>
                <a:gd name="T33" fmla="*/ 204 h 205"/>
                <a:gd name="T34" fmla="*/ 61 w 214"/>
                <a:gd name="T35" fmla="*/ 201 h 205"/>
                <a:gd name="T36" fmla="*/ 55 w 214"/>
                <a:gd name="T37" fmla="*/ 205 h 205"/>
                <a:gd name="T38" fmla="*/ 51 w 214"/>
                <a:gd name="T39" fmla="*/ 199 h 205"/>
                <a:gd name="T40" fmla="*/ 46 w 214"/>
                <a:gd name="T41" fmla="*/ 195 h 205"/>
                <a:gd name="T42" fmla="*/ 45 w 214"/>
                <a:gd name="T43" fmla="*/ 193 h 205"/>
                <a:gd name="T44" fmla="*/ 43 w 214"/>
                <a:gd name="T45" fmla="*/ 184 h 205"/>
                <a:gd name="T46" fmla="*/ 37 w 214"/>
                <a:gd name="T47" fmla="*/ 174 h 205"/>
                <a:gd name="T48" fmla="*/ 33 w 214"/>
                <a:gd name="T49" fmla="*/ 180 h 205"/>
                <a:gd name="T50" fmla="*/ 25 w 214"/>
                <a:gd name="T51" fmla="*/ 177 h 205"/>
                <a:gd name="T52" fmla="*/ 17 w 214"/>
                <a:gd name="T53" fmla="*/ 177 h 205"/>
                <a:gd name="T54" fmla="*/ 11 w 214"/>
                <a:gd name="T55" fmla="*/ 167 h 205"/>
                <a:gd name="T56" fmla="*/ 3 w 214"/>
                <a:gd name="T57" fmla="*/ 153 h 205"/>
                <a:gd name="T58" fmla="*/ 0 w 214"/>
                <a:gd name="T59" fmla="*/ 141 h 205"/>
                <a:gd name="T60" fmla="*/ 9 w 214"/>
                <a:gd name="T61" fmla="*/ 127 h 205"/>
                <a:gd name="T62" fmla="*/ 14 w 214"/>
                <a:gd name="T63" fmla="*/ 128 h 205"/>
                <a:gd name="T64" fmla="*/ 21 w 214"/>
                <a:gd name="T65" fmla="*/ 137 h 205"/>
                <a:gd name="T66" fmla="*/ 86 w 214"/>
                <a:gd name="T67" fmla="*/ 132 h 205"/>
                <a:gd name="T68" fmla="*/ 85 w 214"/>
                <a:gd name="T69" fmla="*/ 122 h 205"/>
                <a:gd name="T70" fmla="*/ 71 w 214"/>
                <a:gd name="T71" fmla="*/ 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05">
                  <a:moveTo>
                    <a:pt x="71" y="0"/>
                  </a:moveTo>
                  <a:lnTo>
                    <a:pt x="95" y="0"/>
                  </a:lnTo>
                  <a:lnTo>
                    <a:pt x="174" y="54"/>
                  </a:lnTo>
                  <a:lnTo>
                    <a:pt x="175" y="58"/>
                  </a:lnTo>
                  <a:lnTo>
                    <a:pt x="180" y="61"/>
                  </a:lnTo>
                  <a:lnTo>
                    <a:pt x="184" y="66"/>
                  </a:lnTo>
                  <a:lnTo>
                    <a:pt x="200" y="73"/>
                  </a:lnTo>
                  <a:lnTo>
                    <a:pt x="202" y="73"/>
                  </a:lnTo>
                  <a:lnTo>
                    <a:pt x="200" y="84"/>
                  </a:lnTo>
                  <a:lnTo>
                    <a:pt x="202" y="85"/>
                  </a:lnTo>
                  <a:lnTo>
                    <a:pt x="212" y="82"/>
                  </a:lnTo>
                  <a:lnTo>
                    <a:pt x="214" y="82"/>
                  </a:lnTo>
                  <a:lnTo>
                    <a:pt x="214" y="127"/>
                  </a:lnTo>
                  <a:lnTo>
                    <a:pt x="211" y="128"/>
                  </a:lnTo>
                  <a:lnTo>
                    <a:pt x="205" y="135"/>
                  </a:lnTo>
                  <a:lnTo>
                    <a:pt x="177" y="135"/>
                  </a:lnTo>
                  <a:lnTo>
                    <a:pt x="171" y="141"/>
                  </a:lnTo>
                  <a:lnTo>
                    <a:pt x="160" y="141"/>
                  </a:lnTo>
                  <a:lnTo>
                    <a:pt x="148" y="143"/>
                  </a:lnTo>
                  <a:lnTo>
                    <a:pt x="128" y="159"/>
                  </a:lnTo>
                  <a:lnTo>
                    <a:pt x="108" y="165"/>
                  </a:lnTo>
                  <a:lnTo>
                    <a:pt x="104" y="177"/>
                  </a:lnTo>
                  <a:lnTo>
                    <a:pt x="94" y="187"/>
                  </a:lnTo>
                  <a:lnTo>
                    <a:pt x="92" y="202"/>
                  </a:lnTo>
                  <a:lnTo>
                    <a:pt x="88" y="202"/>
                  </a:lnTo>
                  <a:lnTo>
                    <a:pt x="86" y="201"/>
                  </a:lnTo>
                  <a:lnTo>
                    <a:pt x="83" y="201"/>
                  </a:lnTo>
                  <a:lnTo>
                    <a:pt x="79" y="204"/>
                  </a:lnTo>
                  <a:lnTo>
                    <a:pt x="77" y="204"/>
                  </a:lnTo>
                  <a:lnTo>
                    <a:pt x="77" y="198"/>
                  </a:lnTo>
                  <a:lnTo>
                    <a:pt x="73" y="198"/>
                  </a:lnTo>
                  <a:lnTo>
                    <a:pt x="71" y="201"/>
                  </a:lnTo>
                  <a:lnTo>
                    <a:pt x="71" y="202"/>
                  </a:lnTo>
                  <a:lnTo>
                    <a:pt x="68" y="204"/>
                  </a:lnTo>
                  <a:lnTo>
                    <a:pt x="67" y="204"/>
                  </a:lnTo>
                  <a:lnTo>
                    <a:pt x="61" y="201"/>
                  </a:lnTo>
                  <a:lnTo>
                    <a:pt x="55" y="204"/>
                  </a:lnTo>
                  <a:lnTo>
                    <a:pt x="55" y="205"/>
                  </a:lnTo>
                  <a:lnTo>
                    <a:pt x="54" y="204"/>
                  </a:lnTo>
                  <a:lnTo>
                    <a:pt x="51" y="199"/>
                  </a:lnTo>
                  <a:lnTo>
                    <a:pt x="51" y="193"/>
                  </a:lnTo>
                  <a:lnTo>
                    <a:pt x="46" y="195"/>
                  </a:lnTo>
                  <a:lnTo>
                    <a:pt x="45" y="195"/>
                  </a:lnTo>
                  <a:lnTo>
                    <a:pt x="45" y="193"/>
                  </a:lnTo>
                  <a:lnTo>
                    <a:pt x="49" y="187"/>
                  </a:lnTo>
                  <a:lnTo>
                    <a:pt x="43" y="184"/>
                  </a:lnTo>
                  <a:lnTo>
                    <a:pt x="40" y="174"/>
                  </a:lnTo>
                  <a:lnTo>
                    <a:pt x="37" y="174"/>
                  </a:lnTo>
                  <a:lnTo>
                    <a:pt x="33" y="178"/>
                  </a:lnTo>
                  <a:lnTo>
                    <a:pt x="33" y="180"/>
                  </a:lnTo>
                  <a:lnTo>
                    <a:pt x="31" y="180"/>
                  </a:lnTo>
                  <a:lnTo>
                    <a:pt x="25" y="177"/>
                  </a:lnTo>
                  <a:lnTo>
                    <a:pt x="21" y="181"/>
                  </a:lnTo>
                  <a:lnTo>
                    <a:pt x="17" y="177"/>
                  </a:lnTo>
                  <a:lnTo>
                    <a:pt x="11" y="180"/>
                  </a:lnTo>
                  <a:lnTo>
                    <a:pt x="11" y="167"/>
                  </a:lnTo>
                  <a:lnTo>
                    <a:pt x="2" y="158"/>
                  </a:lnTo>
                  <a:lnTo>
                    <a:pt x="3" y="153"/>
                  </a:lnTo>
                  <a:lnTo>
                    <a:pt x="0" y="143"/>
                  </a:lnTo>
                  <a:lnTo>
                    <a:pt x="0" y="141"/>
                  </a:lnTo>
                  <a:lnTo>
                    <a:pt x="5" y="137"/>
                  </a:lnTo>
                  <a:lnTo>
                    <a:pt x="9" y="127"/>
                  </a:lnTo>
                  <a:lnTo>
                    <a:pt x="11" y="127"/>
                  </a:lnTo>
                  <a:lnTo>
                    <a:pt x="14" y="128"/>
                  </a:lnTo>
                  <a:lnTo>
                    <a:pt x="18" y="135"/>
                  </a:lnTo>
                  <a:lnTo>
                    <a:pt x="21" y="137"/>
                  </a:lnTo>
                  <a:lnTo>
                    <a:pt x="27" y="131"/>
                  </a:lnTo>
                  <a:lnTo>
                    <a:pt x="86" y="132"/>
                  </a:lnTo>
                  <a:lnTo>
                    <a:pt x="89" y="122"/>
                  </a:lnTo>
                  <a:lnTo>
                    <a:pt x="85" y="122"/>
                  </a:lnTo>
                  <a:lnTo>
                    <a:pt x="83" y="121"/>
                  </a:lnTo>
                  <a:lnTo>
                    <a:pt x="71" y="2"/>
                  </a:lnTo>
                  <a:lnTo>
                    <a:pt x="7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2" name="Madagascar">
              <a:extLst>
                <a:ext uri="{FF2B5EF4-FFF2-40B4-BE49-F238E27FC236}">
                  <a16:creationId xmlns:a16="http://schemas.microsoft.com/office/drawing/2014/main" id="{3FE0BAAC-636C-DE78-C0EE-70CE696E2AE9}"/>
                </a:ext>
              </a:extLst>
            </p:cNvPr>
            <p:cNvSpPr>
              <a:spLocks/>
            </p:cNvSpPr>
            <p:nvPr/>
          </p:nvSpPr>
          <p:spPr bwMode="auto">
            <a:xfrm>
              <a:off x="6843220" y="4876538"/>
              <a:ext cx="169864" cy="336114"/>
            </a:xfrm>
            <a:custGeom>
              <a:avLst/>
              <a:gdLst>
                <a:gd name="T0" fmla="*/ 78 w 94"/>
                <a:gd name="T1" fmla="*/ 0 h 186"/>
                <a:gd name="T2" fmla="*/ 87 w 94"/>
                <a:gd name="T3" fmla="*/ 12 h 186"/>
                <a:gd name="T4" fmla="*/ 94 w 94"/>
                <a:gd name="T5" fmla="*/ 43 h 186"/>
                <a:gd name="T6" fmla="*/ 93 w 94"/>
                <a:gd name="T7" fmla="*/ 50 h 186"/>
                <a:gd name="T8" fmla="*/ 90 w 94"/>
                <a:gd name="T9" fmla="*/ 50 h 186"/>
                <a:gd name="T10" fmla="*/ 89 w 94"/>
                <a:gd name="T11" fmla="*/ 44 h 186"/>
                <a:gd name="T12" fmla="*/ 87 w 94"/>
                <a:gd name="T13" fmla="*/ 44 h 186"/>
                <a:gd name="T14" fmla="*/ 87 w 94"/>
                <a:gd name="T15" fmla="*/ 59 h 186"/>
                <a:gd name="T16" fmla="*/ 83 w 94"/>
                <a:gd name="T17" fmla="*/ 66 h 186"/>
                <a:gd name="T18" fmla="*/ 80 w 94"/>
                <a:gd name="T19" fmla="*/ 87 h 186"/>
                <a:gd name="T20" fmla="*/ 54 w 94"/>
                <a:gd name="T21" fmla="*/ 170 h 186"/>
                <a:gd name="T22" fmla="*/ 47 w 94"/>
                <a:gd name="T23" fmla="*/ 179 h 186"/>
                <a:gd name="T24" fmla="*/ 38 w 94"/>
                <a:gd name="T25" fmla="*/ 181 h 186"/>
                <a:gd name="T26" fmla="*/ 26 w 94"/>
                <a:gd name="T27" fmla="*/ 186 h 186"/>
                <a:gd name="T28" fmla="*/ 26 w 94"/>
                <a:gd name="T29" fmla="*/ 185 h 186"/>
                <a:gd name="T30" fmla="*/ 11 w 94"/>
                <a:gd name="T31" fmla="*/ 176 h 186"/>
                <a:gd name="T32" fmla="*/ 8 w 94"/>
                <a:gd name="T33" fmla="*/ 172 h 186"/>
                <a:gd name="T34" fmla="*/ 7 w 94"/>
                <a:gd name="T35" fmla="*/ 155 h 186"/>
                <a:gd name="T36" fmla="*/ 1 w 94"/>
                <a:gd name="T37" fmla="*/ 143 h 186"/>
                <a:gd name="T38" fmla="*/ 0 w 94"/>
                <a:gd name="T39" fmla="*/ 132 h 186"/>
                <a:gd name="T40" fmla="*/ 17 w 94"/>
                <a:gd name="T41" fmla="*/ 103 h 186"/>
                <a:gd name="T42" fmla="*/ 8 w 94"/>
                <a:gd name="T43" fmla="*/ 72 h 186"/>
                <a:gd name="T44" fmla="*/ 8 w 94"/>
                <a:gd name="T45" fmla="*/ 71 h 186"/>
                <a:gd name="T46" fmla="*/ 16 w 94"/>
                <a:gd name="T47" fmla="*/ 59 h 186"/>
                <a:gd name="T48" fmla="*/ 16 w 94"/>
                <a:gd name="T49" fmla="*/ 55 h 186"/>
                <a:gd name="T50" fmla="*/ 26 w 94"/>
                <a:gd name="T51" fmla="*/ 50 h 186"/>
                <a:gd name="T52" fmla="*/ 28 w 94"/>
                <a:gd name="T53" fmla="*/ 52 h 186"/>
                <a:gd name="T54" fmla="*/ 37 w 94"/>
                <a:gd name="T55" fmla="*/ 47 h 186"/>
                <a:gd name="T56" fmla="*/ 38 w 94"/>
                <a:gd name="T57" fmla="*/ 47 h 186"/>
                <a:gd name="T58" fmla="*/ 41 w 94"/>
                <a:gd name="T59" fmla="*/ 52 h 186"/>
                <a:gd name="T60" fmla="*/ 44 w 94"/>
                <a:gd name="T61" fmla="*/ 52 h 186"/>
                <a:gd name="T62" fmla="*/ 41 w 94"/>
                <a:gd name="T63" fmla="*/ 46 h 186"/>
                <a:gd name="T64" fmla="*/ 41 w 94"/>
                <a:gd name="T65" fmla="*/ 44 h 186"/>
                <a:gd name="T66" fmla="*/ 47 w 94"/>
                <a:gd name="T67" fmla="*/ 41 h 186"/>
                <a:gd name="T68" fmla="*/ 48 w 94"/>
                <a:gd name="T69" fmla="*/ 41 h 186"/>
                <a:gd name="T70" fmla="*/ 50 w 94"/>
                <a:gd name="T71" fmla="*/ 44 h 186"/>
                <a:gd name="T72" fmla="*/ 51 w 94"/>
                <a:gd name="T73" fmla="*/ 44 h 186"/>
                <a:gd name="T74" fmla="*/ 50 w 94"/>
                <a:gd name="T75" fmla="*/ 40 h 186"/>
                <a:gd name="T76" fmla="*/ 53 w 94"/>
                <a:gd name="T77" fmla="*/ 35 h 186"/>
                <a:gd name="T78" fmla="*/ 54 w 94"/>
                <a:gd name="T79" fmla="*/ 32 h 186"/>
                <a:gd name="T80" fmla="*/ 56 w 94"/>
                <a:gd name="T81" fmla="*/ 32 h 186"/>
                <a:gd name="T82" fmla="*/ 56 w 94"/>
                <a:gd name="T83" fmla="*/ 37 h 186"/>
                <a:gd name="T84" fmla="*/ 59 w 94"/>
                <a:gd name="T85" fmla="*/ 32 h 186"/>
                <a:gd name="T86" fmla="*/ 62 w 94"/>
                <a:gd name="T87" fmla="*/ 32 h 186"/>
                <a:gd name="T88" fmla="*/ 59 w 94"/>
                <a:gd name="T89" fmla="*/ 29 h 186"/>
                <a:gd name="T90" fmla="*/ 57 w 94"/>
                <a:gd name="T91" fmla="*/ 29 h 186"/>
                <a:gd name="T92" fmla="*/ 60 w 94"/>
                <a:gd name="T93" fmla="*/ 25 h 186"/>
                <a:gd name="T94" fmla="*/ 62 w 94"/>
                <a:gd name="T95" fmla="*/ 25 h 186"/>
                <a:gd name="T96" fmla="*/ 60 w 94"/>
                <a:gd name="T97" fmla="*/ 19 h 186"/>
                <a:gd name="T98" fmla="*/ 65 w 94"/>
                <a:gd name="T99" fmla="*/ 19 h 186"/>
                <a:gd name="T100" fmla="*/ 65 w 94"/>
                <a:gd name="T101" fmla="*/ 20 h 186"/>
                <a:gd name="T102" fmla="*/ 68 w 94"/>
                <a:gd name="T103" fmla="*/ 15 h 186"/>
                <a:gd name="T104" fmla="*/ 72 w 94"/>
                <a:gd name="T105" fmla="*/ 15 h 186"/>
                <a:gd name="T106" fmla="*/ 72 w 94"/>
                <a:gd name="T107" fmla="*/ 3 h 186"/>
                <a:gd name="T108" fmla="*/ 78 w 94"/>
                <a:gd name="T10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 h="186">
                  <a:moveTo>
                    <a:pt x="78" y="0"/>
                  </a:moveTo>
                  <a:lnTo>
                    <a:pt x="87" y="12"/>
                  </a:lnTo>
                  <a:lnTo>
                    <a:pt x="94" y="43"/>
                  </a:lnTo>
                  <a:lnTo>
                    <a:pt x="93" y="50"/>
                  </a:lnTo>
                  <a:lnTo>
                    <a:pt x="90" y="50"/>
                  </a:lnTo>
                  <a:lnTo>
                    <a:pt x="89" y="44"/>
                  </a:lnTo>
                  <a:lnTo>
                    <a:pt x="87" y="44"/>
                  </a:lnTo>
                  <a:lnTo>
                    <a:pt x="87" y="59"/>
                  </a:lnTo>
                  <a:lnTo>
                    <a:pt x="83" y="66"/>
                  </a:lnTo>
                  <a:lnTo>
                    <a:pt x="80" y="87"/>
                  </a:lnTo>
                  <a:lnTo>
                    <a:pt x="54" y="170"/>
                  </a:lnTo>
                  <a:lnTo>
                    <a:pt x="47" y="179"/>
                  </a:lnTo>
                  <a:lnTo>
                    <a:pt x="38" y="181"/>
                  </a:lnTo>
                  <a:lnTo>
                    <a:pt x="26" y="186"/>
                  </a:lnTo>
                  <a:lnTo>
                    <a:pt x="26" y="185"/>
                  </a:lnTo>
                  <a:lnTo>
                    <a:pt x="11" y="176"/>
                  </a:lnTo>
                  <a:lnTo>
                    <a:pt x="8" y="172"/>
                  </a:lnTo>
                  <a:lnTo>
                    <a:pt x="7" y="155"/>
                  </a:lnTo>
                  <a:lnTo>
                    <a:pt x="1" y="143"/>
                  </a:lnTo>
                  <a:lnTo>
                    <a:pt x="0" y="132"/>
                  </a:lnTo>
                  <a:lnTo>
                    <a:pt x="17" y="103"/>
                  </a:lnTo>
                  <a:lnTo>
                    <a:pt x="8" y="72"/>
                  </a:lnTo>
                  <a:lnTo>
                    <a:pt x="8" y="71"/>
                  </a:lnTo>
                  <a:lnTo>
                    <a:pt x="16" y="59"/>
                  </a:lnTo>
                  <a:lnTo>
                    <a:pt x="16" y="55"/>
                  </a:lnTo>
                  <a:lnTo>
                    <a:pt x="26" y="50"/>
                  </a:lnTo>
                  <a:lnTo>
                    <a:pt x="28" y="52"/>
                  </a:lnTo>
                  <a:lnTo>
                    <a:pt x="37" y="47"/>
                  </a:lnTo>
                  <a:lnTo>
                    <a:pt x="38" y="47"/>
                  </a:lnTo>
                  <a:lnTo>
                    <a:pt x="41" y="52"/>
                  </a:lnTo>
                  <a:lnTo>
                    <a:pt x="44" y="52"/>
                  </a:lnTo>
                  <a:lnTo>
                    <a:pt x="41" y="46"/>
                  </a:lnTo>
                  <a:lnTo>
                    <a:pt x="41" y="44"/>
                  </a:lnTo>
                  <a:lnTo>
                    <a:pt x="47" y="41"/>
                  </a:lnTo>
                  <a:lnTo>
                    <a:pt x="48" y="41"/>
                  </a:lnTo>
                  <a:lnTo>
                    <a:pt x="50" y="44"/>
                  </a:lnTo>
                  <a:lnTo>
                    <a:pt x="51" y="44"/>
                  </a:lnTo>
                  <a:lnTo>
                    <a:pt x="50" y="40"/>
                  </a:lnTo>
                  <a:lnTo>
                    <a:pt x="53" y="35"/>
                  </a:lnTo>
                  <a:lnTo>
                    <a:pt x="54" y="32"/>
                  </a:lnTo>
                  <a:lnTo>
                    <a:pt x="56" y="32"/>
                  </a:lnTo>
                  <a:lnTo>
                    <a:pt x="56" y="37"/>
                  </a:lnTo>
                  <a:lnTo>
                    <a:pt x="59" y="32"/>
                  </a:lnTo>
                  <a:lnTo>
                    <a:pt x="62" y="32"/>
                  </a:lnTo>
                  <a:lnTo>
                    <a:pt x="59" y="29"/>
                  </a:lnTo>
                  <a:lnTo>
                    <a:pt x="57" y="29"/>
                  </a:lnTo>
                  <a:lnTo>
                    <a:pt x="60" y="25"/>
                  </a:lnTo>
                  <a:lnTo>
                    <a:pt x="62" y="25"/>
                  </a:lnTo>
                  <a:lnTo>
                    <a:pt x="60" y="19"/>
                  </a:lnTo>
                  <a:lnTo>
                    <a:pt x="65" y="19"/>
                  </a:lnTo>
                  <a:lnTo>
                    <a:pt x="65" y="20"/>
                  </a:lnTo>
                  <a:lnTo>
                    <a:pt x="68" y="15"/>
                  </a:lnTo>
                  <a:lnTo>
                    <a:pt x="72" y="15"/>
                  </a:lnTo>
                  <a:lnTo>
                    <a:pt x="72" y="3"/>
                  </a:lnTo>
                  <a:lnTo>
                    <a:pt x="7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3" name="Mauritania">
              <a:extLst>
                <a:ext uri="{FF2B5EF4-FFF2-40B4-BE49-F238E27FC236}">
                  <a16:creationId xmlns:a16="http://schemas.microsoft.com/office/drawing/2014/main" id="{2DE10F12-A7A6-4B35-1154-A97F14B29C4B}"/>
                </a:ext>
              </a:extLst>
            </p:cNvPr>
            <p:cNvSpPr>
              <a:spLocks/>
            </p:cNvSpPr>
            <p:nvPr/>
          </p:nvSpPr>
          <p:spPr bwMode="auto">
            <a:xfrm>
              <a:off x="5428290" y="3922409"/>
              <a:ext cx="287323" cy="316236"/>
            </a:xfrm>
            <a:custGeom>
              <a:avLst/>
              <a:gdLst>
                <a:gd name="T0" fmla="*/ 108 w 159"/>
                <a:gd name="T1" fmla="*/ 0 h 175"/>
                <a:gd name="T2" fmla="*/ 110 w 159"/>
                <a:gd name="T3" fmla="*/ 0 h 175"/>
                <a:gd name="T4" fmla="*/ 157 w 159"/>
                <a:gd name="T5" fmla="*/ 32 h 175"/>
                <a:gd name="T6" fmla="*/ 159 w 159"/>
                <a:gd name="T7" fmla="*/ 34 h 175"/>
                <a:gd name="T8" fmla="*/ 135 w 159"/>
                <a:gd name="T9" fmla="*/ 34 h 175"/>
                <a:gd name="T10" fmla="*/ 147 w 159"/>
                <a:gd name="T11" fmla="*/ 153 h 175"/>
                <a:gd name="T12" fmla="*/ 153 w 159"/>
                <a:gd name="T13" fmla="*/ 154 h 175"/>
                <a:gd name="T14" fmla="*/ 150 w 159"/>
                <a:gd name="T15" fmla="*/ 166 h 175"/>
                <a:gd name="T16" fmla="*/ 119 w 159"/>
                <a:gd name="T17" fmla="*/ 166 h 175"/>
                <a:gd name="T18" fmla="*/ 105 w 159"/>
                <a:gd name="T19" fmla="*/ 164 h 175"/>
                <a:gd name="T20" fmla="*/ 89 w 159"/>
                <a:gd name="T21" fmla="*/ 164 h 175"/>
                <a:gd name="T22" fmla="*/ 83 w 159"/>
                <a:gd name="T23" fmla="*/ 170 h 175"/>
                <a:gd name="T24" fmla="*/ 80 w 159"/>
                <a:gd name="T25" fmla="*/ 170 h 175"/>
                <a:gd name="T26" fmla="*/ 79 w 159"/>
                <a:gd name="T27" fmla="*/ 169 h 175"/>
                <a:gd name="T28" fmla="*/ 74 w 159"/>
                <a:gd name="T29" fmla="*/ 161 h 175"/>
                <a:gd name="T30" fmla="*/ 73 w 159"/>
                <a:gd name="T31" fmla="*/ 160 h 175"/>
                <a:gd name="T32" fmla="*/ 68 w 159"/>
                <a:gd name="T33" fmla="*/ 170 h 175"/>
                <a:gd name="T34" fmla="*/ 64 w 159"/>
                <a:gd name="T35" fmla="*/ 175 h 175"/>
                <a:gd name="T36" fmla="*/ 62 w 159"/>
                <a:gd name="T37" fmla="*/ 175 h 175"/>
                <a:gd name="T38" fmla="*/ 53 w 159"/>
                <a:gd name="T39" fmla="*/ 167 h 175"/>
                <a:gd name="T40" fmla="*/ 46 w 159"/>
                <a:gd name="T41" fmla="*/ 157 h 175"/>
                <a:gd name="T42" fmla="*/ 40 w 159"/>
                <a:gd name="T43" fmla="*/ 157 h 175"/>
                <a:gd name="T44" fmla="*/ 33 w 159"/>
                <a:gd name="T45" fmla="*/ 150 h 175"/>
                <a:gd name="T46" fmla="*/ 9 w 159"/>
                <a:gd name="T47" fmla="*/ 151 h 175"/>
                <a:gd name="T48" fmla="*/ 6 w 159"/>
                <a:gd name="T49" fmla="*/ 157 h 175"/>
                <a:gd name="T50" fmla="*/ 4 w 159"/>
                <a:gd name="T51" fmla="*/ 157 h 175"/>
                <a:gd name="T52" fmla="*/ 4 w 159"/>
                <a:gd name="T53" fmla="*/ 156 h 175"/>
                <a:gd name="T54" fmla="*/ 10 w 159"/>
                <a:gd name="T55" fmla="*/ 135 h 175"/>
                <a:gd name="T56" fmla="*/ 10 w 159"/>
                <a:gd name="T57" fmla="*/ 124 h 175"/>
                <a:gd name="T58" fmla="*/ 6 w 159"/>
                <a:gd name="T59" fmla="*/ 111 h 175"/>
                <a:gd name="T60" fmla="*/ 9 w 159"/>
                <a:gd name="T61" fmla="*/ 105 h 175"/>
                <a:gd name="T62" fmla="*/ 7 w 159"/>
                <a:gd name="T63" fmla="*/ 99 h 175"/>
                <a:gd name="T64" fmla="*/ 1 w 159"/>
                <a:gd name="T65" fmla="*/ 89 h 175"/>
                <a:gd name="T66" fmla="*/ 0 w 159"/>
                <a:gd name="T67" fmla="*/ 90 h 175"/>
                <a:gd name="T68" fmla="*/ 0 w 159"/>
                <a:gd name="T69" fmla="*/ 89 h 175"/>
                <a:gd name="T70" fmla="*/ 3 w 159"/>
                <a:gd name="T71" fmla="*/ 83 h 175"/>
                <a:gd name="T72" fmla="*/ 52 w 159"/>
                <a:gd name="T73" fmla="*/ 83 h 175"/>
                <a:gd name="T74" fmla="*/ 50 w 159"/>
                <a:gd name="T75" fmla="*/ 62 h 175"/>
                <a:gd name="T76" fmla="*/ 53 w 159"/>
                <a:gd name="T77" fmla="*/ 58 h 175"/>
                <a:gd name="T78" fmla="*/ 65 w 159"/>
                <a:gd name="T79" fmla="*/ 53 h 175"/>
                <a:gd name="T80" fmla="*/ 67 w 159"/>
                <a:gd name="T81" fmla="*/ 18 h 175"/>
                <a:gd name="T82" fmla="*/ 108 w 159"/>
                <a:gd name="T83" fmla="*/ 18 h 175"/>
                <a:gd name="T84" fmla="*/ 108 w 159"/>
                <a:gd name="T85"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9" h="175">
                  <a:moveTo>
                    <a:pt x="108" y="0"/>
                  </a:moveTo>
                  <a:lnTo>
                    <a:pt x="110" y="0"/>
                  </a:lnTo>
                  <a:lnTo>
                    <a:pt x="157" y="32"/>
                  </a:lnTo>
                  <a:lnTo>
                    <a:pt x="159" y="34"/>
                  </a:lnTo>
                  <a:lnTo>
                    <a:pt x="135" y="34"/>
                  </a:lnTo>
                  <a:lnTo>
                    <a:pt x="147" y="153"/>
                  </a:lnTo>
                  <a:lnTo>
                    <a:pt x="153" y="154"/>
                  </a:lnTo>
                  <a:lnTo>
                    <a:pt x="150" y="166"/>
                  </a:lnTo>
                  <a:lnTo>
                    <a:pt x="119" y="166"/>
                  </a:lnTo>
                  <a:lnTo>
                    <a:pt x="105" y="164"/>
                  </a:lnTo>
                  <a:lnTo>
                    <a:pt x="89" y="164"/>
                  </a:lnTo>
                  <a:lnTo>
                    <a:pt x="83" y="170"/>
                  </a:lnTo>
                  <a:lnTo>
                    <a:pt x="80" y="170"/>
                  </a:lnTo>
                  <a:lnTo>
                    <a:pt x="79" y="169"/>
                  </a:lnTo>
                  <a:lnTo>
                    <a:pt x="74" y="161"/>
                  </a:lnTo>
                  <a:lnTo>
                    <a:pt x="73" y="160"/>
                  </a:lnTo>
                  <a:lnTo>
                    <a:pt x="68" y="170"/>
                  </a:lnTo>
                  <a:lnTo>
                    <a:pt x="64" y="175"/>
                  </a:lnTo>
                  <a:lnTo>
                    <a:pt x="62" y="175"/>
                  </a:lnTo>
                  <a:lnTo>
                    <a:pt x="53" y="167"/>
                  </a:lnTo>
                  <a:lnTo>
                    <a:pt x="46" y="157"/>
                  </a:lnTo>
                  <a:lnTo>
                    <a:pt x="40" y="157"/>
                  </a:lnTo>
                  <a:lnTo>
                    <a:pt x="33" y="150"/>
                  </a:lnTo>
                  <a:lnTo>
                    <a:pt x="9" y="151"/>
                  </a:lnTo>
                  <a:lnTo>
                    <a:pt x="6" y="157"/>
                  </a:lnTo>
                  <a:lnTo>
                    <a:pt x="4" y="157"/>
                  </a:lnTo>
                  <a:lnTo>
                    <a:pt x="4" y="156"/>
                  </a:lnTo>
                  <a:lnTo>
                    <a:pt x="10" y="135"/>
                  </a:lnTo>
                  <a:lnTo>
                    <a:pt x="10" y="124"/>
                  </a:lnTo>
                  <a:lnTo>
                    <a:pt x="6" y="111"/>
                  </a:lnTo>
                  <a:lnTo>
                    <a:pt x="9" y="105"/>
                  </a:lnTo>
                  <a:lnTo>
                    <a:pt x="7" y="99"/>
                  </a:lnTo>
                  <a:lnTo>
                    <a:pt x="1" y="89"/>
                  </a:lnTo>
                  <a:lnTo>
                    <a:pt x="0" y="90"/>
                  </a:lnTo>
                  <a:lnTo>
                    <a:pt x="0" y="89"/>
                  </a:lnTo>
                  <a:lnTo>
                    <a:pt x="3" y="83"/>
                  </a:lnTo>
                  <a:lnTo>
                    <a:pt x="52" y="83"/>
                  </a:lnTo>
                  <a:lnTo>
                    <a:pt x="50" y="62"/>
                  </a:lnTo>
                  <a:lnTo>
                    <a:pt x="53" y="58"/>
                  </a:lnTo>
                  <a:lnTo>
                    <a:pt x="65" y="53"/>
                  </a:lnTo>
                  <a:lnTo>
                    <a:pt x="67" y="18"/>
                  </a:lnTo>
                  <a:lnTo>
                    <a:pt x="108" y="18"/>
                  </a:lnTo>
                  <a:lnTo>
                    <a:pt x="10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4" name="Mozambique">
              <a:extLst>
                <a:ext uri="{FF2B5EF4-FFF2-40B4-BE49-F238E27FC236}">
                  <a16:creationId xmlns:a16="http://schemas.microsoft.com/office/drawing/2014/main" id="{4A54D6DC-F045-DB20-E62C-B6A5BBDF7984}"/>
                </a:ext>
              </a:extLst>
            </p:cNvPr>
            <p:cNvSpPr>
              <a:spLocks/>
            </p:cNvSpPr>
            <p:nvPr/>
          </p:nvSpPr>
          <p:spPr bwMode="auto">
            <a:xfrm>
              <a:off x="6534212" y="4833168"/>
              <a:ext cx="254796" cy="406590"/>
            </a:xfrm>
            <a:custGeom>
              <a:avLst/>
              <a:gdLst>
                <a:gd name="T0" fmla="*/ 138 w 141"/>
                <a:gd name="T1" fmla="*/ 0 h 225"/>
                <a:gd name="T2" fmla="*/ 136 w 141"/>
                <a:gd name="T3" fmla="*/ 19 h 225"/>
                <a:gd name="T4" fmla="*/ 138 w 141"/>
                <a:gd name="T5" fmla="*/ 50 h 225"/>
                <a:gd name="T6" fmla="*/ 136 w 141"/>
                <a:gd name="T7" fmla="*/ 64 h 225"/>
                <a:gd name="T8" fmla="*/ 138 w 141"/>
                <a:gd name="T9" fmla="*/ 70 h 225"/>
                <a:gd name="T10" fmla="*/ 128 w 141"/>
                <a:gd name="T11" fmla="*/ 83 h 225"/>
                <a:gd name="T12" fmla="*/ 96 w 141"/>
                <a:gd name="T13" fmla="*/ 98 h 225"/>
                <a:gd name="T14" fmla="*/ 88 w 141"/>
                <a:gd name="T15" fmla="*/ 107 h 225"/>
                <a:gd name="T16" fmla="*/ 82 w 141"/>
                <a:gd name="T17" fmla="*/ 116 h 225"/>
                <a:gd name="T18" fmla="*/ 79 w 141"/>
                <a:gd name="T19" fmla="*/ 113 h 225"/>
                <a:gd name="T20" fmla="*/ 61 w 141"/>
                <a:gd name="T21" fmla="*/ 129 h 225"/>
                <a:gd name="T22" fmla="*/ 65 w 141"/>
                <a:gd name="T23" fmla="*/ 142 h 225"/>
                <a:gd name="T24" fmla="*/ 73 w 141"/>
                <a:gd name="T25" fmla="*/ 160 h 225"/>
                <a:gd name="T26" fmla="*/ 70 w 141"/>
                <a:gd name="T27" fmla="*/ 184 h 225"/>
                <a:gd name="T28" fmla="*/ 71 w 141"/>
                <a:gd name="T29" fmla="*/ 188 h 225"/>
                <a:gd name="T30" fmla="*/ 37 w 141"/>
                <a:gd name="T31" fmla="*/ 209 h 225"/>
                <a:gd name="T32" fmla="*/ 36 w 141"/>
                <a:gd name="T33" fmla="*/ 218 h 225"/>
                <a:gd name="T34" fmla="*/ 39 w 141"/>
                <a:gd name="T35" fmla="*/ 215 h 225"/>
                <a:gd name="T36" fmla="*/ 27 w 141"/>
                <a:gd name="T37" fmla="*/ 225 h 225"/>
                <a:gd name="T38" fmla="*/ 24 w 141"/>
                <a:gd name="T39" fmla="*/ 190 h 225"/>
                <a:gd name="T40" fmla="*/ 21 w 141"/>
                <a:gd name="T41" fmla="*/ 159 h 225"/>
                <a:gd name="T42" fmla="*/ 37 w 141"/>
                <a:gd name="T43" fmla="*/ 129 h 225"/>
                <a:gd name="T44" fmla="*/ 39 w 141"/>
                <a:gd name="T45" fmla="*/ 105 h 225"/>
                <a:gd name="T46" fmla="*/ 34 w 141"/>
                <a:gd name="T47" fmla="*/ 83 h 225"/>
                <a:gd name="T48" fmla="*/ 5 w 141"/>
                <a:gd name="T49" fmla="*/ 74 h 225"/>
                <a:gd name="T50" fmla="*/ 3 w 141"/>
                <a:gd name="T51" fmla="*/ 70 h 225"/>
                <a:gd name="T52" fmla="*/ 0 w 141"/>
                <a:gd name="T53" fmla="*/ 62 h 225"/>
                <a:gd name="T54" fmla="*/ 48 w 141"/>
                <a:gd name="T55" fmla="*/ 55 h 225"/>
                <a:gd name="T56" fmla="*/ 55 w 141"/>
                <a:gd name="T57" fmla="*/ 53 h 225"/>
                <a:gd name="T58" fmla="*/ 59 w 141"/>
                <a:gd name="T59" fmla="*/ 56 h 225"/>
                <a:gd name="T60" fmla="*/ 58 w 141"/>
                <a:gd name="T61" fmla="*/ 74 h 225"/>
                <a:gd name="T62" fmla="*/ 68 w 141"/>
                <a:gd name="T63" fmla="*/ 86 h 225"/>
                <a:gd name="T64" fmla="*/ 70 w 141"/>
                <a:gd name="T65" fmla="*/ 89 h 225"/>
                <a:gd name="T66" fmla="*/ 70 w 141"/>
                <a:gd name="T67" fmla="*/ 79 h 225"/>
                <a:gd name="T68" fmla="*/ 77 w 141"/>
                <a:gd name="T69" fmla="*/ 61 h 225"/>
                <a:gd name="T70" fmla="*/ 61 w 141"/>
                <a:gd name="T71" fmla="*/ 27 h 225"/>
                <a:gd name="T72" fmla="*/ 79 w 141"/>
                <a:gd name="T73" fmla="*/ 13 h 225"/>
                <a:gd name="T74" fmla="*/ 101 w 141"/>
                <a:gd name="T75" fmla="*/ 15 h 225"/>
                <a:gd name="T76" fmla="*/ 117 w 141"/>
                <a:gd name="T77" fmla="*/ 12 h 225"/>
                <a:gd name="T78" fmla="*/ 136 w 141"/>
                <a:gd name="T79"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1" h="225">
                  <a:moveTo>
                    <a:pt x="136" y="0"/>
                  </a:moveTo>
                  <a:lnTo>
                    <a:pt x="138" y="0"/>
                  </a:lnTo>
                  <a:lnTo>
                    <a:pt x="141" y="7"/>
                  </a:lnTo>
                  <a:lnTo>
                    <a:pt x="136" y="19"/>
                  </a:lnTo>
                  <a:lnTo>
                    <a:pt x="136" y="50"/>
                  </a:lnTo>
                  <a:lnTo>
                    <a:pt x="138" y="50"/>
                  </a:lnTo>
                  <a:lnTo>
                    <a:pt x="141" y="58"/>
                  </a:lnTo>
                  <a:lnTo>
                    <a:pt x="136" y="64"/>
                  </a:lnTo>
                  <a:lnTo>
                    <a:pt x="138" y="65"/>
                  </a:lnTo>
                  <a:lnTo>
                    <a:pt x="138" y="70"/>
                  </a:lnTo>
                  <a:lnTo>
                    <a:pt x="128" y="80"/>
                  </a:lnTo>
                  <a:lnTo>
                    <a:pt x="128" y="83"/>
                  </a:lnTo>
                  <a:lnTo>
                    <a:pt x="117" y="90"/>
                  </a:lnTo>
                  <a:lnTo>
                    <a:pt x="96" y="98"/>
                  </a:lnTo>
                  <a:lnTo>
                    <a:pt x="86" y="105"/>
                  </a:lnTo>
                  <a:lnTo>
                    <a:pt x="88" y="107"/>
                  </a:lnTo>
                  <a:lnTo>
                    <a:pt x="88" y="108"/>
                  </a:lnTo>
                  <a:lnTo>
                    <a:pt x="82" y="116"/>
                  </a:lnTo>
                  <a:lnTo>
                    <a:pt x="80" y="116"/>
                  </a:lnTo>
                  <a:lnTo>
                    <a:pt x="79" y="113"/>
                  </a:lnTo>
                  <a:lnTo>
                    <a:pt x="79" y="116"/>
                  </a:lnTo>
                  <a:lnTo>
                    <a:pt x="61" y="129"/>
                  </a:lnTo>
                  <a:lnTo>
                    <a:pt x="61" y="138"/>
                  </a:lnTo>
                  <a:lnTo>
                    <a:pt x="65" y="142"/>
                  </a:lnTo>
                  <a:lnTo>
                    <a:pt x="70" y="160"/>
                  </a:lnTo>
                  <a:lnTo>
                    <a:pt x="73" y="160"/>
                  </a:lnTo>
                  <a:lnTo>
                    <a:pt x="68" y="185"/>
                  </a:lnTo>
                  <a:lnTo>
                    <a:pt x="70" y="184"/>
                  </a:lnTo>
                  <a:lnTo>
                    <a:pt x="71" y="184"/>
                  </a:lnTo>
                  <a:lnTo>
                    <a:pt x="71" y="188"/>
                  </a:lnTo>
                  <a:lnTo>
                    <a:pt x="62" y="197"/>
                  </a:lnTo>
                  <a:lnTo>
                    <a:pt x="37" y="209"/>
                  </a:lnTo>
                  <a:lnTo>
                    <a:pt x="33" y="215"/>
                  </a:lnTo>
                  <a:lnTo>
                    <a:pt x="36" y="218"/>
                  </a:lnTo>
                  <a:lnTo>
                    <a:pt x="37" y="215"/>
                  </a:lnTo>
                  <a:lnTo>
                    <a:pt x="39" y="215"/>
                  </a:lnTo>
                  <a:lnTo>
                    <a:pt x="39" y="225"/>
                  </a:lnTo>
                  <a:lnTo>
                    <a:pt x="27" y="225"/>
                  </a:lnTo>
                  <a:lnTo>
                    <a:pt x="25" y="212"/>
                  </a:lnTo>
                  <a:lnTo>
                    <a:pt x="24" y="190"/>
                  </a:lnTo>
                  <a:lnTo>
                    <a:pt x="19" y="166"/>
                  </a:lnTo>
                  <a:lnTo>
                    <a:pt x="21" y="159"/>
                  </a:lnTo>
                  <a:lnTo>
                    <a:pt x="27" y="153"/>
                  </a:lnTo>
                  <a:lnTo>
                    <a:pt x="37" y="129"/>
                  </a:lnTo>
                  <a:lnTo>
                    <a:pt x="34" y="116"/>
                  </a:lnTo>
                  <a:lnTo>
                    <a:pt x="39" y="105"/>
                  </a:lnTo>
                  <a:lnTo>
                    <a:pt x="39" y="95"/>
                  </a:lnTo>
                  <a:lnTo>
                    <a:pt x="34" y="83"/>
                  </a:lnTo>
                  <a:lnTo>
                    <a:pt x="18" y="76"/>
                  </a:lnTo>
                  <a:lnTo>
                    <a:pt x="5" y="74"/>
                  </a:lnTo>
                  <a:lnTo>
                    <a:pt x="3" y="74"/>
                  </a:lnTo>
                  <a:lnTo>
                    <a:pt x="3" y="70"/>
                  </a:lnTo>
                  <a:lnTo>
                    <a:pt x="0" y="64"/>
                  </a:lnTo>
                  <a:lnTo>
                    <a:pt x="0" y="62"/>
                  </a:lnTo>
                  <a:lnTo>
                    <a:pt x="42" y="49"/>
                  </a:lnTo>
                  <a:lnTo>
                    <a:pt x="48" y="55"/>
                  </a:lnTo>
                  <a:lnTo>
                    <a:pt x="51" y="55"/>
                  </a:lnTo>
                  <a:lnTo>
                    <a:pt x="55" y="53"/>
                  </a:lnTo>
                  <a:lnTo>
                    <a:pt x="58" y="53"/>
                  </a:lnTo>
                  <a:lnTo>
                    <a:pt x="59" y="56"/>
                  </a:lnTo>
                  <a:lnTo>
                    <a:pt x="61" y="65"/>
                  </a:lnTo>
                  <a:lnTo>
                    <a:pt x="58" y="74"/>
                  </a:lnTo>
                  <a:lnTo>
                    <a:pt x="59" y="79"/>
                  </a:lnTo>
                  <a:lnTo>
                    <a:pt x="68" y="86"/>
                  </a:lnTo>
                  <a:lnTo>
                    <a:pt x="68" y="89"/>
                  </a:lnTo>
                  <a:lnTo>
                    <a:pt x="70" y="89"/>
                  </a:lnTo>
                  <a:lnTo>
                    <a:pt x="68" y="83"/>
                  </a:lnTo>
                  <a:lnTo>
                    <a:pt x="70" y="79"/>
                  </a:lnTo>
                  <a:lnTo>
                    <a:pt x="76" y="74"/>
                  </a:lnTo>
                  <a:lnTo>
                    <a:pt x="77" y="61"/>
                  </a:lnTo>
                  <a:lnTo>
                    <a:pt x="64" y="43"/>
                  </a:lnTo>
                  <a:lnTo>
                    <a:pt x="61" y="27"/>
                  </a:lnTo>
                  <a:lnTo>
                    <a:pt x="65" y="15"/>
                  </a:lnTo>
                  <a:lnTo>
                    <a:pt x="79" y="13"/>
                  </a:lnTo>
                  <a:lnTo>
                    <a:pt x="85" y="18"/>
                  </a:lnTo>
                  <a:lnTo>
                    <a:pt x="101" y="15"/>
                  </a:lnTo>
                  <a:lnTo>
                    <a:pt x="110" y="10"/>
                  </a:lnTo>
                  <a:lnTo>
                    <a:pt x="117" y="12"/>
                  </a:lnTo>
                  <a:lnTo>
                    <a:pt x="131" y="7"/>
                  </a:lnTo>
                  <a:lnTo>
                    <a:pt x="136" y="1"/>
                  </a:lnTo>
                  <a:lnTo>
                    <a:pt x="13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5" name="Morocco">
              <a:extLst>
                <a:ext uri="{FF2B5EF4-FFF2-40B4-BE49-F238E27FC236}">
                  <a16:creationId xmlns:a16="http://schemas.microsoft.com/office/drawing/2014/main" id="{94D034FA-9873-6A35-B6D8-938C8CF4D696}"/>
                </a:ext>
              </a:extLst>
            </p:cNvPr>
            <p:cNvSpPr>
              <a:spLocks/>
            </p:cNvSpPr>
            <p:nvPr/>
          </p:nvSpPr>
          <p:spPr bwMode="auto">
            <a:xfrm>
              <a:off x="5522258" y="3683876"/>
              <a:ext cx="280095" cy="227690"/>
            </a:xfrm>
            <a:custGeom>
              <a:avLst/>
              <a:gdLst>
                <a:gd name="T0" fmla="*/ 99 w 155"/>
                <a:gd name="T1" fmla="*/ 0 h 126"/>
                <a:gd name="T2" fmla="*/ 101 w 155"/>
                <a:gd name="T3" fmla="*/ 0 h 126"/>
                <a:gd name="T4" fmla="*/ 105 w 155"/>
                <a:gd name="T5" fmla="*/ 7 h 126"/>
                <a:gd name="T6" fmla="*/ 114 w 155"/>
                <a:gd name="T7" fmla="*/ 12 h 126"/>
                <a:gd name="T8" fmla="*/ 130 w 155"/>
                <a:gd name="T9" fmla="*/ 9 h 126"/>
                <a:gd name="T10" fmla="*/ 144 w 155"/>
                <a:gd name="T11" fmla="*/ 13 h 126"/>
                <a:gd name="T12" fmla="*/ 144 w 155"/>
                <a:gd name="T13" fmla="*/ 15 h 126"/>
                <a:gd name="T14" fmla="*/ 142 w 155"/>
                <a:gd name="T15" fmla="*/ 15 h 126"/>
                <a:gd name="T16" fmla="*/ 147 w 155"/>
                <a:gd name="T17" fmla="*/ 18 h 126"/>
                <a:gd name="T18" fmla="*/ 148 w 155"/>
                <a:gd name="T19" fmla="*/ 18 h 126"/>
                <a:gd name="T20" fmla="*/ 150 w 155"/>
                <a:gd name="T21" fmla="*/ 44 h 126"/>
                <a:gd name="T22" fmla="*/ 155 w 155"/>
                <a:gd name="T23" fmla="*/ 53 h 126"/>
                <a:gd name="T24" fmla="*/ 154 w 155"/>
                <a:gd name="T25" fmla="*/ 56 h 126"/>
                <a:gd name="T26" fmla="*/ 155 w 155"/>
                <a:gd name="T27" fmla="*/ 58 h 126"/>
                <a:gd name="T28" fmla="*/ 155 w 155"/>
                <a:gd name="T29" fmla="*/ 59 h 126"/>
                <a:gd name="T30" fmla="*/ 154 w 155"/>
                <a:gd name="T31" fmla="*/ 59 h 126"/>
                <a:gd name="T32" fmla="*/ 132 w 155"/>
                <a:gd name="T33" fmla="*/ 61 h 126"/>
                <a:gd name="T34" fmla="*/ 130 w 155"/>
                <a:gd name="T35" fmla="*/ 64 h 126"/>
                <a:gd name="T36" fmla="*/ 120 w 155"/>
                <a:gd name="T37" fmla="*/ 67 h 126"/>
                <a:gd name="T38" fmla="*/ 120 w 155"/>
                <a:gd name="T39" fmla="*/ 74 h 126"/>
                <a:gd name="T40" fmla="*/ 123 w 155"/>
                <a:gd name="T41" fmla="*/ 77 h 126"/>
                <a:gd name="T42" fmla="*/ 121 w 155"/>
                <a:gd name="T43" fmla="*/ 77 h 126"/>
                <a:gd name="T44" fmla="*/ 107 w 155"/>
                <a:gd name="T45" fmla="*/ 84 h 126"/>
                <a:gd name="T46" fmla="*/ 96 w 155"/>
                <a:gd name="T47" fmla="*/ 93 h 126"/>
                <a:gd name="T48" fmla="*/ 84 w 155"/>
                <a:gd name="T49" fmla="*/ 95 h 126"/>
                <a:gd name="T50" fmla="*/ 83 w 155"/>
                <a:gd name="T51" fmla="*/ 98 h 126"/>
                <a:gd name="T52" fmla="*/ 77 w 155"/>
                <a:gd name="T53" fmla="*/ 98 h 126"/>
                <a:gd name="T54" fmla="*/ 64 w 155"/>
                <a:gd name="T55" fmla="*/ 105 h 126"/>
                <a:gd name="T56" fmla="*/ 58 w 155"/>
                <a:gd name="T57" fmla="*/ 110 h 126"/>
                <a:gd name="T58" fmla="*/ 58 w 155"/>
                <a:gd name="T59" fmla="*/ 126 h 126"/>
                <a:gd name="T60" fmla="*/ 0 w 155"/>
                <a:gd name="T61" fmla="*/ 126 h 126"/>
                <a:gd name="T62" fmla="*/ 0 w 155"/>
                <a:gd name="T63" fmla="*/ 123 h 126"/>
                <a:gd name="T64" fmla="*/ 1 w 155"/>
                <a:gd name="T65" fmla="*/ 123 h 126"/>
                <a:gd name="T66" fmla="*/ 18 w 155"/>
                <a:gd name="T67" fmla="*/ 117 h 126"/>
                <a:gd name="T68" fmla="*/ 34 w 155"/>
                <a:gd name="T69" fmla="*/ 104 h 126"/>
                <a:gd name="T70" fmla="*/ 38 w 155"/>
                <a:gd name="T71" fmla="*/ 98 h 126"/>
                <a:gd name="T72" fmla="*/ 43 w 155"/>
                <a:gd name="T73" fmla="*/ 90 h 126"/>
                <a:gd name="T74" fmla="*/ 40 w 155"/>
                <a:gd name="T75" fmla="*/ 83 h 126"/>
                <a:gd name="T76" fmla="*/ 41 w 155"/>
                <a:gd name="T77" fmla="*/ 71 h 126"/>
                <a:gd name="T78" fmla="*/ 49 w 155"/>
                <a:gd name="T79" fmla="*/ 61 h 126"/>
                <a:gd name="T80" fmla="*/ 50 w 155"/>
                <a:gd name="T81" fmla="*/ 53 h 126"/>
                <a:gd name="T82" fmla="*/ 61 w 155"/>
                <a:gd name="T83" fmla="*/ 41 h 126"/>
                <a:gd name="T84" fmla="*/ 83 w 155"/>
                <a:gd name="T85" fmla="*/ 28 h 126"/>
                <a:gd name="T86" fmla="*/ 93 w 155"/>
                <a:gd name="T87" fmla="*/ 3 h 126"/>
                <a:gd name="T88" fmla="*/ 99 w 155"/>
                <a:gd name="T8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126">
                  <a:moveTo>
                    <a:pt x="99" y="0"/>
                  </a:moveTo>
                  <a:lnTo>
                    <a:pt x="101" y="0"/>
                  </a:lnTo>
                  <a:lnTo>
                    <a:pt x="105" y="7"/>
                  </a:lnTo>
                  <a:lnTo>
                    <a:pt x="114" y="12"/>
                  </a:lnTo>
                  <a:lnTo>
                    <a:pt x="130" y="9"/>
                  </a:lnTo>
                  <a:lnTo>
                    <a:pt x="144" y="13"/>
                  </a:lnTo>
                  <a:lnTo>
                    <a:pt x="144" y="15"/>
                  </a:lnTo>
                  <a:lnTo>
                    <a:pt x="142" y="15"/>
                  </a:lnTo>
                  <a:lnTo>
                    <a:pt x="147" y="18"/>
                  </a:lnTo>
                  <a:lnTo>
                    <a:pt x="148" y="18"/>
                  </a:lnTo>
                  <a:lnTo>
                    <a:pt x="150" y="44"/>
                  </a:lnTo>
                  <a:lnTo>
                    <a:pt x="155" y="53"/>
                  </a:lnTo>
                  <a:lnTo>
                    <a:pt x="154" y="56"/>
                  </a:lnTo>
                  <a:lnTo>
                    <a:pt x="155" y="58"/>
                  </a:lnTo>
                  <a:lnTo>
                    <a:pt x="155" y="59"/>
                  </a:lnTo>
                  <a:lnTo>
                    <a:pt x="154" y="59"/>
                  </a:lnTo>
                  <a:lnTo>
                    <a:pt x="132" y="61"/>
                  </a:lnTo>
                  <a:lnTo>
                    <a:pt x="130" y="64"/>
                  </a:lnTo>
                  <a:lnTo>
                    <a:pt x="120" y="67"/>
                  </a:lnTo>
                  <a:lnTo>
                    <a:pt x="120" y="74"/>
                  </a:lnTo>
                  <a:lnTo>
                    <a:pt x="123" y="77"/>
                  </a:lnTo>
                  <a:lnTo>
                    <a:pt x="121" y="77"/>
                  </a:lnTo>
                  <a:lnTo>
                    <a:pt x="107" y="84"/>
                  </a:lnTo>
                  <a:lnTo>
                    <a:pt x="96" y="93"/>
                  </a:lnTo>
                  <a:lnTo>
                    <a:pt x="84" y="95"/>
                  </a:lnTo>
                  <a:lnTo>
                    <a:pt x="83" y="98"/>
                  </a:lnTo>
                  <a:lnTo>
                    <a:pt x="77" y="98"/>
                  </a:lnTo>
                  <a:lnTo>
                    <a:pt x="64" y="105"/>
                  </a:lnTo>
                  <a:lnTo>
                    <a:pt x="58" y="110"/>
                  </a:lnTo>
                  <a:lnTo>
                    <a:pt x="58" y="126"/>
                  </a:lnTo>
                  <a:lnTo>
                    <a:pt x="0" y="126"/>
                  </a:lnTo>
                  <a:lnTo>
                    <a:pt x="0" y="123"/>
                  </a:lnTo>
                  <a:lnTo>
                    <a:pt x="1" y="123"/>
                  </a:lnTo>
                  <a:lnTo>
                    <a:pt x="18" y="117"/>
                  </a:lnTo>
                  <a:lnTo>
                    <a:pt x="34" y="104"/>
                  </a:lnTo>
                  <a:lnTo>
                    <a:pt x="38" y="98"/>
                  </a:lnTo>
                  <a:lnTo>
                    <a:pt x="43" y="90"/>
                  </a:lnTo>
                  <a:lnTo>
                    <a:pt x="40" y="83"/>
                  </a:lnTo>
                  <a:lnTo>
                    <a:pt x="41" y="71"/>
                  </a:lnTo>
                  <a:lnTo>
                    <a:pt x="49" y="61"/>
                  </a:lnTo>
                  <a:lnTo>
                    <a:pt x="50" y="53"/>
                  </a:lnTo>
                  <a:lnTo>
                    <a:pt x="61" y="41"/>
                  </a:lnTo>
                  <a:lnTo>
                    <a:pt x="83" y="28"/>
                  </a:lnTo>
                  <a:lnTo>
                    <a:pt x="93" y="3"/>
                  </a:lnTo>
                  <a:lnTo>
                    <a:pt x="9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6" name="Malawi">
              <a:extLst>
                <a:ext uri="{FF2B5EF4-FFF2-40B4-BE49-F238E27FC236}">
                  <a16:creationId xmlns:a16="http://schemas.microsoft.com/office/drawing/2014/main" id="{9907EB7F-56CC-D899-7BF5-605E93220065}"/>
                </a:ext>
              </a:extLst>
            </p:cNvPr>
            <p:cNvSpPr>
              <a:spLocks/>
            </p:cNvSpPr>
            <p:nvPr/>
          </p:nvSpPr>
          <p:spPr bwMode="auto">
            <a:xfrm>
              <a:off x="6599266" y="4809676"/>
              <a:ext cx="77705" cy="186128"/>
            </a:xfrm>
            <a:custGeom>
              <a:avLst/>
              <a:gdLst>
                <a:gd name="T0" fmla="*/ 4 w 43"/>
                <a:gd name="T1" fmla="*/ 0 h 103"/>
                <a:gd name="T2" fmla="*/ 12 w 43"/>
                <a:gd name="T3" fmla="*/ 3 h 103"/>
                <a:gd name="T4" fmla="*/ 17 w 43"/>
                <a:gd name="T5" fmla="*/ 3 h 103"/>
                <a:gd name="T6" fmla="*/ 16 w 43"/>
                <a:gd name="T7" fmla="*/ 7 h 103"/>
                <a:gd name="T8" fmla="*/ 20 w 43"/>
                <a:gd name="T9" fmla="*/ 13 h 103"/>
                <a:gd name="T10" fmla="*/ 20 w 43"/>
                <a:gd name="T11" fmla="*/ 31 h 103"/>
                <a:gd name="T12" fmla="*/ 17 w 43"/>
                <a:gd name="T13" fmla="*/ 40 h 103"/>
                <a:gd name="T14" fmla="*/ 25 w 43"/>
                <a:gd name="T15" fmla="*/ 59 h 103"/>
                <a:gd name="T16" fmla="*/ 25 w 43"/>
                <a:gd name="T17" fmla="*/ 63 h 103"/>
                <a:gd name="T18" fmla="*/ 28 w 43"/>
                <a:gd name="T19" fmla="*/ 62 h 103"/>
                <a:gd name="T20" fmla="*/ 29 w 43"/>
                <a:gd name="T21" fmla="*/ 62 h 103"/>
                <a:gd name="T22" fmla="*/ 32 w 43"/>
                <a:gd name="T23" fmla="*/ 65 h 103"/>
                <a:gd name="T24" fmla="*/ 28 w 43"/>
                <a:gd name="T25" fmla="*/ 56 h 103"/>
                <a:gd name="T26" fmla="*/ 28 w 43"/>
                <a:gd name="T27" fmla="*/ 54 h 103"/>
                <a:gd name="T28" fmla="*/ 29 w 43"/>
                <a:gd name="T29" fmla="*/ 54 h 103"/>
                <a:gd name="T30" fmla="*/ 43 w 43"/>
                <a:gd name="T31" fmla="*/ 72 h 103"/>
                <a:gd name="T32" fmla="*/ 43 w 43"/>
                <a:gd name="T33" fmla="*/ 74 h 103"/>
                <a:gd name="T34" fmla="*/ 41 w 43"/>
                <a:gd name="T35" fmla="*/ 87 h 103"/>
                <a:gd name="T36" fmla="*/ 35 w 43"/>
                <a:gd name="T37" fmla="*/ 92 h 103"/>
                <a:gd name="T38" fmla="*/ 34 w 43"/>
                <a:gd name="T39" fmla="*/ 96 h 103"/>
                <a:gd name="T40" fmla="*/ 35 w 43"/>
                <a:gd name="T41" fmla="*/ 103 h 103"/>
                <a:gd name="T42" fmla="*/ 31 w 43"/>
                <a:gd name="T43" fmla="*/ 103 h 103"/>
                <a:gd name="T44" fmla="*/ 31 w 43"/>
                <a:gd name="T45" fmla="*/ 100 h 103"/>
                <a:gd name="T46" fmla="*/ 22 w 43"/>
                <a:gd name="T47" fmla="*/ 92 h 103"/>
                <a:gd name="T48" fmla="*/ 20 w 43"/>
                <a:gd name="T49" fmla="*/ 87 h 103"/>
                <a:gd name="T50" fmla="*/ 25 w 43"/>
                <a:gd name="T51" fmla="*/ 78 h 103"/>
                <a:gd name="T52" fmla="*/ 22 w 43"/>
                <a:gd name="T53" fmla="*/ 69 h 103"/>
                <a:gd name="T54" fmla="*/ 22 w 43"/>
                <a:gd name="T55" fmla="*/ 68 h 103"/>
                <a:gd name="T56" fmla="*/ 19 w 43"/>
                <a:gd name="T57" fmla="*/ 68 h 103"/>
                <a:gd name="T58" fmla="*/ 15 w 43"/>
                <a:gd name="T59" fmla="*/ 69 h 103"/>
                <a:gd name="T60" fmla="*/ 12 w 43"/>
                <a:gd name="T61" fmla="*/ 69 h 103"/>
                <a:gd name="T62" fmla="*/ 6 w 43"/>
                <a:gd name="T63" fmla="*/ 62 h 103"/>
                <a:gd name="T64" fmla="*/ 1 w 43"/>
                <a:gd name="T65" fmla="*/ 57 h 103"/>
                <a:gd name="T66" fmla="*/ 0 w 43"/>
                <a:gd name="T67" fmla="*/ 57 h 103"/>
                <a:gd name="T68" fmla="*/ 0 w 43"/>
                <a:gd name="T69" fmla="*/ 56 h 103"/>
                <a:gd name="T70" fmla="*/ 4 w 43"/>
                <a:gd name="T71" fmla="*/ 44 h 103"/>
                <a:gd name="T72" fmla="*/ 9 w 43"/>
                <a:gd name="T73" fmla="*/ 41 h 103"/>
                <a:gd name="T74" fmla="*/ 7 w 43"/>
                <a:gd name="T75" fmla="*/ 38 h 103"/>
                <a:gd name="T76" fmla="*/ 7 w 43"/>
                <a:gd name="T77" fmla="*/ 29 h 103"/>
                <a:gd name="T78" fmla="*/ 9 w 43"/>
                <a:gd name="T79" fmla="*/ 20 h 103"/>
                <a:gd name="T80" fmla="*/ 12 w 43"/>
                <a:gd name="T81" fmla="*/ 17 h 103"/>
                <a:gd name="T82" fmla="*/ 4 w 43"/>
                <a:gd name="T83" fmla="*/ 1 h 103"/>
                <a:gd name="T84" fmla="*/ 4 w 43"/>
                <a:gd name="T8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103">
                  <a:moveTo>
                    <a:pt x="4" y="0"/>
                  </a:moveTo>
                  <a:lnTo>
                    <a:pt x="12" y="3"/>
                  </a:lnTo>
                  <a:lnTo>
                    <a:pt x="17" y="3"/>
                  </a:lnTo>
                  <a:lnTo>
                    <a:pt x="16" y="7"/>
                  </a:lnTo>
                  <a:lnTo>
                    <a:pt x="20" y="13"/>
                  </a:lnTo>
                  <a:lnTo>
                    <a:pt x="20" y="31"/>
                  </a:lnTo>
                  <a:lnTo>
                    <a:pt x="17" y="40"/>
                  </a:lnTo>
                  <a:lnTo>
                    <a:pt x="25" y="59"/>
                  </a:lnTo>
                  <a:lnTo>
                    <a:pt x="25" y="63"/>
                  </a:lnTo>
                  <a:lnTo>
                    <a:pt x="28" y="62"/>
                  </a:lnTo>
                  <a:lnTo>
                    <a:pt x="29" y="62"/>
                  </a:lnTo>
                  <a:lnTo>
                    <a:pt x="32" y="65"/>
                  </a:lnTo>
                  <a:lnTo>
                    <a:pt x="28" y="56"/>
                  </a:lnTo>
                  <a:lnTo>
                    <a:pt x="28" y="54"/>
                  </a:lnTo>
                  <a:lnTo>
                    <a:pt x="29" y="54"/>
                  </a:lnTo>
                  <a:lnTo>
                    <a:pt x="43" y="72"/>
                  </a:lnTo>
                  <a:lnTo>
                    <a:pt x="43" y="74"/>
                  </a:lnTo>
                  <a:lnTo>
                    <a:pt x="41" y="87"/>
                  </a:lnTo>
                  <a:lnTo>
                    <a:pt x="35" y="92"/>
                  </a:lnTo>
                  <a:lnTo>
                    <a:pt x="34" y="96"/>
                  </a:lnTo>
                  <a:lnTo>
                    <a:pt x="35" y="103"/>
                  </a:lnTo>
                  <a:lnTo>
                    <a:pt x="31" y="103"/>
                  </a:lnTo>
                  <a:lnTo>
                    <a:pt x="31" y="100"/>
                  </a:lnTo>
                  <a:lnTo>
                    <a:pt x="22" y="92"/>
                  </a:lnTo>
                  <a:lnTo>
                    <a:pt x="20" y="87"/>
                  </a:lnTo>
                  <a:lnTo>
                    <a:pt x="25" y="78"/>
                  </a:lnTo>
                  <a:lnTo>
                    <a:pt x="22" y="69"/>
                  </a:lnTo>
                  <a:lnTo>
                    <a:pt x="22" y="68"/>
                  </a:lnTo>
                  <a:lnTo>
                    <a:pt x="19" y="68"/>
                  </a:lnTo>
                  <a:lnTo>
                    <a:pt x="15" y="69"/>
                  </a:lnTo>
                  <a:lnTo>
                    <a:pt x="12" y="69"/>
                  </a:lnTo>
                  <a:lnTo>
                    <a:pt x="6" y="62"/>
                  </a:lnTo>
                  <a:lnTo>
                    <a:pt x="1" y="57"/>
                  </a:lnTo>
                  <a:lnTo>
                    <a:pt x="0" y="57"/>
                  </a:lnTo>
                  <a:lnTo>
                    <a:pt x="0" y="56"/>
                  </a:lnTo>
                  <a:lnTo>
                    <a:pt x="4" y="44"/>
                  </a:lnTo>
                  <a:lnTo>
                    <a:pt x="9" y="41"/>
                  </a:lnTo>
                  <a:lnTo>
                    <a:pt x="7" y="38"/>
                  </a:lnTo>
                  <a:lnTo>
                    <a:pt x="7" y="29"/>
                  </a:lnTo>
                  <a:lnTo>
                    <a:pt x="9" y="20"/>
                  </a:lnTo>
                  <a:lnTo>
                    <a:pt x="12" y="17"/>
                  </a:lnTo>
                  <a:lnTo>
                    <a:pt x="4" y="1"/>
                  </a:lnTo>
                  <a:lnTo>
                    <a:pt x="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7" name="Libya">
              <a:extLst>
                <a:ext uri="{FF2B5EF4-FFF2-40B4-BE49-F238E27FC236}">
                  <a16:creationId xmlns:a16="http://schemas.microsoft.com/office/drawing/2014/main" id="{F5C151B3-5B31-AFEA-84AB-21EC8A3A0497}"/>
                </a:ext>
              </a:extLst>
            </p:cNvPr>
            <p:cNvSpPr>
              <a:spLocks/>
            </p:cNvSpPr>
            <p:nvPr/>
          </p:nvSpPr>
          <p:spPr bwMode="auto">
            <a:xfrm>
              <a:off x="6040885" y="3761580"/>
              <a:ext cx="377676" cy="361412"/>
            </a:xfrm>
            <a:custGeom>
              <a:avLst/>
              <a:gdLst>
                <a:gd name="T0" fmla="*/ 29 w 209"/>
                <a:gd name="T1" fmla="*/ 0 h 200"/>
                <a:gd name="T2" fmla="*/ 30 w 209"/>
                <a:gd name="T3" fmla="*/ 0 h 200"/>
                <a:gd name="T4" fmla="*/ 42 w 209"/>
                <a:gd name="T5" fmla="*/ 6 h 200"/>
                <a:gd name="T6" fmla="*/ 61 w 209"/>
                <a:gd name="T7" fmla="*/ 6 h 200"/>
                <a:gd name="T8" fmla="*/ 79 w 209"/>
                <a:gd name="T9" fmla="*/ 13 h 200"/>
                <a:gd name="T10" fmla="*/ 86 w 209"/>
                <a:gd name="T11" fmla="*/ 28 h 200"/>
                <a:gd name="T12" fmla="*/ 112 w 209"/>
                <a:gd name="T13" fmla="*/ 34 h 200"/>
                <a:gd name="T14" fmla="*/ 126 w 209"/>
                <a:gd name="T15" fmla="*/ 44 h 200"/>
                <a:gd name="T16" fmla="*/ 138 w 209"/>
                <a:gd name="T17" fmla="*/ 38 h 200"/>
                <a:gd name="T18" fmla="*/ 141 w 209"/>
                <a:gd name="T19" fmla="*/ 33 h 200"/>
                <a:gd name="T20" fmla="*/ 140 w 209"/>
                <a:gd name="T21" fmla="*/ 25 h 200"/>
                <a:gd name="T22" fmla="*/ 141 w 209"/>
                <a:gd name="T23" fmla="*/ 18 h 200"/>
                <a:gd name="T24" fmla="*/ 155 w 209"/>
                <a:gd name="T25" fmla="*/ 6 h 200"/>
                <a:gd name="T26" fmla="*/ 168 w 209"/>
                <a:gd name="T27" fmla="*/ 4 h 200"/>
                <a:gd name="T28" fmla="*/ 180 w 209"/>
                <a:gd name="T29" fmla="*/ 7 h 200"/>
                <a:gd name="T30" fmla="*/ 184 w 209"/>
                <a:gd name="T31" fmla="*/ 15 h 200"/>
                <a:gd name="T32" fmla="*/ 205 w 209"/>
                <a:gd name="T33" fmla="*/ 19 h 200"/>
                <a:gd name="T34" fmla="*/ 206 w 209"/>
                <a:gd name="T35" fmla="*/ 19 h 200"/>
                <a:gd name="T36" fmla="*/ 209 w 209"/>
                <a:gd name="T37" fmla="*/ 24 h 200"/>
                <a:gd name="T38" fmla="*/ 209 w 209"/>
                <a:gd name="T39" fmla="*/ 25 h 200"/>
                <a:gd name="T40" fmla="*/ 205 w 209"/>
                <a:gd name="T41" fmla="*/ 30 h 200"/>
                <a:gd name="T42" fmla="*/ 206 w 209"/>
                <a:gd name="T43" fmla="*/ 44 h 200"/>
                <a:gd name="T44" fmla="*/ 203 w 209"/>
                <a:gd name="T45" fmla="*/ 47 h 200"/>
                <a:gd name="T46" fmla="*/ 205 w 209"/>
                <a:gd name="T47" fmla="*/ 59 h 200"/>
                <a:gd name="T48" fmla="*/ 208 w 209"/>
                <a:gd name="T49" fmla="*/ 62 h 200"/>
                <a:gd name="T50" fmla="*/ 209 w 209"/>
                <a:gd name="T51" fmla="*/ 62 h 200"/>
                <a:gd name="T52" fmla="*/ 209 w 209"/>
                <a:gd name="T53" fmla="*/ 193 h 200"/>
                <a:gd name="T54" fmla="*/ 196 w 209"/>
                <a:gd name="T55" fmla="*/ 193 h 200"/>
                <a:gd name="T56" fmla="*/ 196 w 209"/>
                <a:gd name="T57" fmla="*/ 200 h 200"/>
                <a:gd name="T58" fmla="*/ 195 w 209"/>
                <a:gd name="T59" fmla="*/ 200 h 200"/>
                <a:gd name="T60" fmla="*/ 91 w 209"/>
                <a:gd name="T61" fmla="*/ 147 h 200"/>
                <a:gd name="T62" fmla="*/ 79 w 209"/>
                <a:gd name="T63" fmla="*/ 151 h 200"/>
                <a:gd name="T64" fmla="*/ 74 w 209"/>
                <a:gd name="T65" fmla="*/ 153 h 200"/>
                <a:gd name="T66" fmla="*/ 73 w 209"/>
                <a:gd name="T67" fmla="*/ 153 h 200"/>
                <a:gd name="T68" fmla="*/ 63 w 209"/>
                <a:gd name="T69" fmla="*/ 144 h 200"/>
                <a:gd name="T70" fmla="*/ 36 w 209"/>
                <a:gd name="T71" fmla="*/ 145 h 200"/>
                <a:gd name="T72" fmla="*/ 34 w 209"/>
                <a:gd name="T73" fmla="*/ 145 h 200"/>
                <a:gd name="T74" fmla="*/ 34 w 209"/>
                <a:gd name="T75" fmla="*/ 144 h 200"/>
                <a:gd name="T76" fmla="*/ 29 w 209"/>
                <a:gd name="T77" fmla="*/ 132 h 200"/>
                <a:gd name="T78" fmla="*/ 15 w 209"/>
                <a:gd name="T79" fmla="*/ 129 h 200"/>
                <a:gd name="T80" fmla="*/ 12 w 209"/>
                <a:gd name="T81" fmla="*/ 126 h 200"/>
                <a:gd name="T82" fmla="*/ 9 w 209"/>
                <a:gd name="T83" fmla="*/ 117 h 200"/>
                <a:gd name="T84" fmla="*/ 2 w 209"/>
                <a:gd name="T85" fmla="*/ 105 h 200"/>
                <a:gd name="T86" fmla="*/ 6 w 209"/>
                <a:gd name="T87" fmla="*/ 101 h 200"/>
                <a:gd name="T88" fmla="*/ 8 w 209"/>
                <a:gd name="T89" fmla="*/ 81 h 200"/>
                <a:gd name="T90" fmla="*/ 6 w 209"/>
                <a:gd name="T91" fmla="*/ 59 h 200"/>
                <a:gd name="T92" fmla="*/ 0 w 209"/>
                <a:gd name="T93" fmla="*/ 50 h 200"/>
                <a:gd name="T94" fmla="*/ 5 w 209"/>
                <a:gd name="T95" fmla="*/ 44 h 200"/>
                <a:gd name="T96" fmla="*/ 12 w 209"/>
                <a:gd name="T97" fmla="*/ 37 h 200"/>
                <a:gd name="T98" fmla="*/ 12 w 209"/>
                <a:gd name="T99" fmla="*/ 24 h 200"/>
                <a:gd name="T100" fmla="*/ 14 w 209"/>
                <a:gd name="T101" fmla="*/ 24 h 200"/>
                <a:gd name="T102" fmla="*/ 29 w 209"/>
                <a:gd name="T103" fmla="*/ 13 h 200"/>
                <a:gd name="T104" fmla="*/ 29 w 209"/>
                <a:gd name="T10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00">
                  <a:moveTo>
                    <a:pt x="29" y="0"/>
                  </a:moveTo>
                  <a:lnTo>
                    <a:pt x="30" y="0"/>
                  </a:lnTo>
                  <a:lnTo>
                    <a:pt x="42" y="6"/>
                  </a:lnTo>
                  <a:lnTo>
                    <a:pt x="61" y="6"/>
                  </a:lnTo>
                  <a:lnTo>
                    <a:pt x="79" y="13"/>
                  </a:lnTo>
                  <a:lnTo>
                    <a:pt x="86" y="28"/>
                  </a:lnTo>
                  <a:lnTo>
                    <a:pt x="112" y="34"/>
                  </a:lnTo>
                  <a:lnTo>
                    <a:pt x="126" y="44"/>
                  </a:lnTo>
                  <a:lnTo>
                    <a:pt x="138" y="38"/>
                  </a:lnTo>
                  <a:lnTo>
                    <a:pt x="141" y="33"/>
                  </a:lnTo>
                  <a:lnTo>
                    <a:pt x="140" y="25"/>
                  </a:lnTo>
                  <a:lnTo>
                    <a:pt x="141" y="18"/>
                  </a:lnTo>
                  <a:lnTo>
                    <a:pt x="155" y="6"/>
                  </a:lnTo>
                  <a:lnTo>
                    <a:pt x="168" y="4"/>
                  </a:lnTo>
                  <a:lnTo>
                    <a:pt x="180" y="7"/>
                  </a:lnTo>
                  <a:lnTo>
                    <a:pt x="184" y="15"/>
                  </a:lnTo>
                  <a:lnTo>
                    <a:pt x="205" y="19"/>
                  </a:lnTo>
                  <a:lnTo>
                    <a:pt x="206" y="19"/>
                  </a:lnTo>
                  <a:lnTo>
                    <a:pt x="209" y="24"/>
                  </a:lnTo>
                  <a:lnTo>
                    <a:pt x="209" y="25"/>
                  </a:lnTo>
                  <a:lnTo>
                    <a:pt x="205" y="30"/>
                  </a:lnTo>
                  <a:lnTo>
                    <a:pt x="206" y="44"/>
                  </a:lnTo>
                  <a:lnTo>
                    <a:pt x="203" y="47"/>
                  </a:lnTo>
                  <a:lnTo>
                    <a:pt x="205" y="59"/>
                  </a:lnTo>
                  <a:lnTo>
                    <a:pt x="208" y="62"/>
                  </a:lnTo>
                  <a:lnTo>
                    <a:pt x="209" y="62"/>
                  </a:lnTo>
                  <a:lnTo>
                    <a:pt x="209" y="193"/>
                  </a:lnTo>
                  <a:lnTo>
                    <a:pt x="196" y="193"/>
                  </a:lnTo>
                  <a:lnTo>
                    <a:pt x="196" y="200"/>
                  </a:lnTo>
                  <a:lnTo>
                    <a:pt x="195" y="200"/>
                  </a:lnTo>
                  <a:lnTo>
                    <a:pt x="91" y="147"/>
                  </a:lnTo>
                  <a:lnTo>
                    <a:pt x="79" y="151"/>
                  </a:lnTo>
                  <a:lnTo>
                    <a:pt x="74" y="153"/>
                  </a:lnTo>
                  <a:lnTo>
                    <a:pt x="73" y="153"/>
                  </a:lnTo>
                  <a:lnTo>
                    <a:pt x="63" y="144"/>
                  </a:lnTo>
                  <a:lnTo>
                    <a:pt x="36" y="145"/>
                  </a:lnTo>
                  <a:lnTo>
                    <a:pt x="34" y="145"/>
                  </a:lnTo>
                  <a:lnTo>
                    <a:pt x="34" y="144"/>
                  </a:lnTo>
                  <a:lnTo>
                    <a:pt x="29" y="132"/>
                  </a:lnTo>
                  <a:lnTo>
                    <a:pt x="15" y="129"/>
                  </a:lnTo>
                  <a:lnTo>
                    <a:pt x="12" y="126"/>
                  </a:lnTo>
                  <a:lnTo>
                    <a:pt x="9" y="117"/>
                  </a:lnTo>
                  <a:lnTo>
                    <a:pt x="2" y="105"/>
                  </a:lnTo>
                  <a:lnTo>
                    <a:pt x="6" y="101"/>
                  </a:lnTo>
                  <a:lnTo>
                    <a:pt x="8" y="81"/>
                  </a:lnTo>
                  <a:lnTo>
                    <a:pt x="6" y="59"/>
                  </a:lnTo>
                  <a:lnTo>
                    <a:pt x="0" y="50"/>
                  </a:lnTo>
                  <a:lnTo>
                    <a:pt x="5" y="44"/>
                  </a:lnTo>
                  <a:lnTo>
                    <a:pt x="12" y="37"/>
                  </a:lnTo>
                  <a:lnTo>
                    <a:pt x="12" y="24"/>
                  </a:lnTo>
                  <a:lnTo>
                    <a:pt x="14" y="24"/>
                  </a:lnTo>
                  <a:lnTo>
                    <a:pt x="29" y="13"/>
                  </a:lnTo>
                  <a:lnTo>
                    <a:pt x="2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8" name="Liberia">
              <a:extLst>
                <a:ext uri="{FF2B5EF4-FFF2-40B4-BE49-F238E27FC236}">
                  <a16:creationId xmlns:a16="http://schemas.microsoft.com/office/drawing/2014/main" id="{9E0D719F-81AD-532B-06BD-817FF8A04361}"/>
                </a:ext>
              </a:extLst>
            </p:cNvPr>
            <p:cNvSpPr>
              <a:spLocks/>
            </p:cNvSpPr>
            <p:nvPr/>
          </p:nvSpPr>
          <p:spPr bwMode="auto">
            <a:xfrm>
              <a:off x="5554785" y="4385017"/>
              <a:ext cx="97581" cy="103003"/>
            </a:xfrm>
            <a:custGeom>
              <a:avLst/>
              <a:gdLst>
                <a:gd name="T0" fmla="*/ 23 w 54"/>
                <a:gd name="T1" fmla="*/ 0 h 57"/>
                <a:gd name="T2" fmla="*/ 25 w 54"/>
                <a:gd name="T3" fmla="*/ 0 h 57"/>
                <a:gd name="T4" fmla="*/ 28 w 54"/>
                <a:gd name="T5" fmla="*/ 3 h 57"/>
                <a:gd name="T6" fmla="*/ 29 w 54"/>
                <a:gd name="T7" fmla="*/ 11 h 57"/>
                <a:gd name="T8" fmla="*/ 28 w 54"/>
                <a:gd name="T9" fmla="*/ 17 h 57"/>
                <a:gd name="T10" fmla="*/ 34 w 54"/>
                <a:gd name="T11" fmla="*/ 18 h 57"/>
                <a:gd name="T12" fmla="*/ 37 w 54"/>
                <a:gd name="T13" fmla="*/ 12 h 57"/>
                <a:gd name="T14" fmla="*/ 38 w 54"/>
                <a:gd name="T15" fmla="*/ 12 h 57"/>
                <a:gd name="T16" fmla="*/ 41 w 54"/>
                <a:gd name="T17" fmla="*/ 14 h 57"/>
                <a:gd name="T18" fmla="*/ 44 w 54"/>
                <a:gd name="T19" fmla="*/ 20 h 57"/>
                <a:gd name="T20" fmla="*/ 41 w 54"/>
                <a:gd name="T21" fmla="*/ 29 h 57"/>
                <a:gd name="T22" fmla="*/ 47 w 54"/>
                <a:gd name="T23" fmla="*/ 30 h 57"/>
                <a:gd name="T24" fmla="*/ 49 w 54"/>
                <a:gd name="T25" fmla="*/ 30 h 57"/>
                <a:gd name="T26" fmla="*/ 50 w 54"/>
                <a:gd name="T27" fmla="*/ 36 h 57"/>
                <a:gd name="T28" fmla="*/ 54 w 54"/>
                <a:gd name="T29" fmla="*/ 36 h 57"/>
                <a:gd name="T30" fmla="*/ 53 w 54"/>
                <a:gd name="T31" fmla="*/ 55 h 57"/>
                <a:gd name="T32" fmla="*/ 53 w 54"/>
                <a:gd name="T33" fmla="*/ 57 h 57"/>
                <a:gd name="T34" fmla="*/ 29 w 54"/>
                <a:gd name="T35" fmla="*/ 46 h 57"/>
                <a:gd name="T36" fmla="*/ 1 w 54"/>
                <a:gd name="T37" fmla="*/ 23 h 57"/>
                <a:gd name="T38" fmla="*/ 0 w 54"/>
                <a:gd name="T39" fmla="*/ 23 h 57"/>
                <a:gd name="T40" fmla="*/ 0 w 54"/>
                <a:gd name="T41" fmla="*/ 21 h 57"/>
                <a:gd name="T42" fmla="*/ 1 w 54"/>
                <a:gd name="T43" fmla="*/ 21 h 57"/>
                <a:gd name="T44" fmla="*/ 13 w 54"/>
                <a:gd name="T45" fmla="*/ 12 h 57"/>
                <a:gd name="T46" fmla="*/ 13 w 54"/>
                <a:gd name="T47" fmla="*/ 6 h 57"/>
                <a:gd name="T48" fmla="*/ 16 w 54"/>
                <a:gd name="T49" fmla="*/ 6 h 57"/>
                <a:gd name="T50" fmla="*/ 16 w 54"/>
                <a:gd name="T51" fmla="*/ 3 h 57"/>
                <a:gd name="T52" fmla="*/ 23 w 54"/>
                <a:gd name="T5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7">
                  <a:moveTo>
                    <a:pt x="23" y="0"/>
                  </a:moveTo>
                  <a:lnTo>
                    <a:pt x="25" y="0"/>
                  </a:lnTo>
                  <a:lnTo>
                    <a:pt x="28" y="3"/>
                  </a:lnTo>
                  <a:lnTo>
                    <a:pt x="29" y="11"/>
                  </a:lnTo>
                  <a:lnTo>
                    <a:pt x="28" y="17"/>
                  </a:lnTo>
                  <a:lnTo>
                    <a:pt x="34" y="18"/>
                  </a:lnTo>
                  <a:lnTo>
                    <a:pt x="37" y="12"/>
                  </a:lnTo>
                  <a:lnTo>
                    <a:pt x="38" y="12"/>
                  </a:lnTo>
                  <a:lnTo>
                    <a:pt x="41" y="14"/>
                  </a:lnTo>
                  <a:lnTo>
                    <a:pt x="44" y="20"/>
                  </a:lnTo>
                  <a:lnTo>
                    <a:pt x="41" y="29"/>
                  </a:lnTo>
                  <a:lnTo>
                    <a:pt x="47" y="30"/>
                  </a:lnTo>
                  <a:lnTo>
                    <a:pt x="49" y="30"/>
                  </a:lnTo>
                  <a:lnTo>
                    <a:pt x="50" y="36"/>
                  </a:lnTo>
                  <a:lnTo>
                    <a:pt x="54" y="36"/>
                  </a:lnTo>
                  <a:lnTo>
                    <a:pt x="53" y="55"/>
                  </a:lnTo>
                  <a:lnTo>
                    <a:pt x="53" y="57"/>
                  </a:lnTo>
                  <a:lnTo>
                    <a:pt x="29" y="46"/>
                  </a:lnTo>
                  <a:lnTo>
                    <a:pt x="1" y="23"/>
                  </a:lnTo>
                  <a:lnTo>
                    <a:pt x="0" y="23"/>
                  </a:lnTo>
                  <a:lnTo>
                    <a:pt x="0" y="21"/>
                  </a:lnTo>
                  <a:lnTo>
                    <a:pt x="1" y="21"/>
                  </a:lnTo>
                  <a:lnTo>
                    <a:pt x="13" y="12"/>
                  </a:lnTo>
                  <a:lnTo>
                    <a:pt x="13" y="6"/>
                  </a:lnTo>
                  <a:lnTo>
                    <a:pt x="16" y="6"/>
                  </a:lnTo>
                  <a:lnTo>
                    <a:pt x="16" y="3"/>
                  </a:lnTo>
                  <a:lnTo>
                    <a:pt x="2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59" name="Lesotho">
              <a:extLst>
                <a:ext uri="{FF2B5EF4-FFF2-40B4-BE49-F238E27FC236}">
                  <a16:creationId xmlns:a16="http://schemas.microsoft.com/office/drawing/2014/main" id="{8C8AF8D7-897B-87D2-103E-896BD8F4670E}"/>
                </a:ext>
              </a:extLst>
            </p:cNvPr>
            <p:cNvSpPr>
              <a:spLocks/>
            </p:cNvSpPr>
            <p:nvPr/>
          </p:nvSpPr>
          <p:spPr bwMode="auto">
            <a:xfrm>
              <a:off x="6465543" y="5286740"/>
              <a:ext cx="56019" cy="56019"/>
            </a:xfrm>
            <a:custGeom>
              <a:avLst/>
              <a:gdLst>
                <a:gd name="T0" fmla="*/ 16 w 31"/>
                <a:gd name="T1" fmla="*/ 0 h 31"/>
                <a:gd name="T2" fmla="*/ 23 w 31"/>
                <a:gd name="T3" fmla="*/ 1 h 31"/>
                <a:gd name="T4" fmla="*/ 31 w 31"/>
                <a:gd name="T5" fmla="*/ 11 h 31"/>
                <a:gd name="T6" fmla="*/ 26 w 31"/>
                <a:gd name="T7" fmla="*/ 23 h 31"/>
                <a:gd name="T8" fmla="*/ 14 w 31"/>
                <a:gd name="T9" fmla="*/ 31 h 31"/>
                <a:gd name="T10" fmla="*/ 13 w 31"/>
                <a:gd name="T11" fmla="*/ 31 h 31"/>
                <a:gd name="T12" fmla="*/ 6 w 31"/>
                <a:gd name="T13" fmla="*/ 28 h 31"/>
                <a:gd name="T14" fmla="*/ 0 w 31"/>
                <a:gd name="T15" fmla="*/ 17 h 31"/>
                <a:gd name="T16" fmla="*/ 6 w 31"/>
                <a:gd name="T17" fmla="*/ 5 h 31"/>
                <a:gd name="T18" fmla="*/ 16 w 31"/>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0"/>
                  </a:moveTo>
                  <a:lnTo>
                    <a:pt x="23" y="1"/>
                  </a:lnTo>
                  <a:lnTo>
                    <a:pt x="31" y="11"/>
                  </a:lnTo>
                  <a:lnTo>
                    <a:pt x="26" y="23"/>
                  </a:lnTo>
                  <a:lnTo>
                    <a:pt x="14" y="31"/>
                  </a:lnTo>
                  <a:lnTo>
                    <a:pt x="13" y="31"/>
                  </a:lnTo>
                  <a:lnTo>
                    <a:pt x="6" y="28"/>
                  </a:lnTo>
                  <a:lnTo>
                    <a:pt x="0" y="17"/>
                  </a:lnTo>
                  <a:lnTo>
                    <a:pt x="6" y="5"/>
                  </a:lnTo>
                  <a:lnTo>
                    <a:pt x="1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0" name="Kenya">
              <a:extLst>
                <a:ext uri="{FF2B5EF4-FFF2-40B4-BE49-F238E27FC236}">
                  <a16:creationId xmlns:a16="http://schemas.microsoft.com/office/drawing/2014/main" id="{289D9F42-1BB5-C1B6-0A11-15C3EA21816A}"/>
                </a:ext>
              </a:extLst>
            </p:cNvPr>
            <p:cNvSpPr>
              <a:spLocks/>
            </p:cNvSpPr>
            <p:nvPr/>
          </p:nvSpPr>
          <p:spPr bwMode="auto">
            <a:xfrm>
              <a:off x="6628179" y="4478984"/>
              <a:ext cx="189742" cy="220462"/>
            </a:xfrm>
            <a:custGeom>
              <a:avLst/>
              <a:gdLst>
                <a:gd name="T0" fmla="*/ 6 w 105"/>
                <a:gd name="T1" fmla="*/ 0 h 122"/>
                <a:gd name="T2" fmla="*/ 25 w 105"/>
                <a:gd name="T3" fmla="*/ 0 h 122"/>
                <a:gd name="T4" fmla="*/ 36 w 105"/>
                <a:gd name="T5" fmla="*/ 2 h 122"/>
                <a:gd name="T6" fmla="*/ 52 w 105"/>
                <a:gd name="T7" fmla="*/ 11 h 122"/>
                <a:gd name="T8" fmla="*/ 65 w 105"/>
                <a:gd name="T9" fmla="*/ 14 h 122"/>
                <a:gd name="T10" fmla="*/ 71 w 105"/>
                <a:gd name="T11" fmla="*/ 14 h 122"/>
                <a:gd name="T12" fmla="*/ 80 w 105"/>
                <a:gd name="T13" fmla="*/ 8 h 122"/>
                <a:gd name="T14" fmla="*/ 90 w 105"/>
                <a:gd name="T15" fmla="*/ 6 h 122"/>
                <a:gd name="T16" fmla="*/ 98 w 105"/>
                <a:gd name="T17" fmla="*/ 9 h 122"/>
                <a:gd name="T18" fmla="*/ 105 w 105"/>
                <a:gd name="T19" fmla="*/ 9 h 122"/>
                <a:gd name="T20" fmla="*/ 105 w 105"/>
                <a:gd name="T21" fmla="*/ 11 h 122"/>
                <a:gd name="T22" fmla="*/ 93 w 105"/>
                <a:gd name="T23" fmla="*/ 25 h 122"/>
                <a:gd name="T24" fmla="*/ 93 w 105"/>
                <a:gd name="T25" fmla="*/ 73 h 122"/>
                <a:gd name="T26" fmla="*/ 101 w 105"/>
                <a:gd name="T27" fmla="*/ 82 h 122"/>
                <a:gd name="T28" fmla="*/ 101 w 105"/>
                <a:gd name="T29" fmla="*/ 83 h 122"/>
                <a:gd name="T30" fmla="*/ 84 w 105"/>
                <a:gd name="T31" fmla="*/ 97 h 122"/>
                <a:gd name="T32" fmla="*/ 76 w 105"/>
                <a:gd name="T33" fmla="*/ 117 h 122"/>
                <a:gd name="T34" fmla="*/ 71 w 105"/>
                <a:gd name="T35" fmla="*/ 122 h 122"/>
                <a:gd name="T36" fmla="*/ 52 w 105"/>
                <a:gd name="T37" fmla="*/ 110 h 122"/>
                <a:gd name="T38" fmla="*/ 49 w 105"/>
                <a:gd name="T39" fmla="*/ 100 h 122"/>
                <a:gd name="T40" fmla="*/ 4 w 105"/>
                <a:gd name="T41" fmla="*/ 74 h 122"/>
                <a:gd name="T42" fmla="*/ 1 w 105"/>
                <a:gd name="T43" fmla="*/ 71 h 122"/>
                <a:gd name="T44" fmla="*/ 1 w 105"/>
                <a:gd name="T45" fmla="*/ 70 h 122"/>
                <a:gd name="T46" fmla="*/ 3 w 105"/>
                <a:gd name="T47" fmla="*/ 67 h 122"/>
                <a:gd name="T48" fmla="*/ 7 w 105"/>
                <a:gd name="T49" fmla="*/ 65 h 122"/>
                <a:gd name="T50" fmla="*/ 1 w 105"/>
                <a:gd name="T51" fmla="*/ 65 h 122"/>
                <a:gd name="T52" fmla="*/ 1 w 105"/>
                <a:gd name="T53" fmla="*/ 57 h 122"/>
                <a:gd name="T54" fmla="*/ 12 w 105"/>
                <a:gd name="T55" fmla="*/ 40 h 122"/>
                <a:gd name="T56" fmla="*/ 15 w 105"/>
                <a:gd name="T57" fmla="*/ 33 h 122"/>
                <a:gd name="T58" fmla="*/ 12 w 105"/>
                <a:gd name="T59" fmla="*/ 24 h 122"/>
                <a:gd name="T60" fmla="*/ 7 w 105"/>
                <a:gd name="T61" fmla="*/ 21 h 122"/>
                <a:gd name="T62" fmla="*/ 4 w 105"/>
                <a:gd name="T63" fmla="*/ 11 h 122"/>
                <a:gd name="T64" fmla="*/ 0 w 105"/>
                <a:gd name="T65" fmla="*/ 9 h 122"/>
                <a:gd name="T66" fmla="*/ 0 w 105"/>
                <a:gd name="T67" fmla="*/ 8 h 122"/>
                <a:gd name="T68" fmla="*/ 6 w 105"/>
                <a:gd name="T6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2">
                  <a:moveTo>
                    <a:pt x="6" y="0"/>
                  </a:moveTo>
                  <a:lnTo>
                    <a:pt x="25" y="0"/>
                  </a:lnTo>
                  <a:lnTo>
                    <a:pt x="36" y="2"/>
                  </a:lnTo>
                  <a:lnTo>
                    <a:pt x="52" y="11"/>
                  </a:lnTo>
                  <a:lnTo>
                    <a:pt x="65" y="14"/>
                  </a:lnTo>
                  <a:lnTo>
                    <a:pt x="71" y="14"/>
                  </a:lnTo>
                  <a:lnTo>
                    <a:pt x="80" y="8"/>
                  </a:lnTo>
                  <a:lnTo>
                    <a:pt x="90" y="6"/>
                  </a:lnTo>
                  <a:lnTo>
                    <a:pt x="98" y="9"/>
                  </a:lnTo>
                  <a:lnTo>
                    <a:pt x="105" y="9"/>
                  </a:lnTo>
                  <a:lnTo>
                    <a:pt x="105" y="11"/>
                  </a:lnTo>
                  <a:lnTo>
                    <a:pt x="93" y="25"/>
                  </a:lnTo>
                  <a:lnTo>
                    <a:pt x="93" y="73"/>
                  </a:lnTo>
                  <a:lnTo>
                    <a:pt x="101" y="82"/>
                  </a:lnTo>
                  <a:lnTo>
                    <a:pt x="101" y="83"/>
                  </a:lnTo>
                  <a:lnTo>
                    <a:pt x="84" y="97"/>
                  </a:lnTo>
                  <a:lnTo>
                    <a:pt x="76" y="117"/>
                  </a:lnTo>
                  <a:lnTo>
                    <a:pt x="71" y="122"/>
                  </a:lnTo>
                  <a:lnTo>
                    <a:pt x="52" y="110"/>
                  </a:lnTo>
                  <a:lnTo>
                    <a:pt x="49" y="100"/>
                  </a:lnTo>
                  <a:lnTo>
                    <a:pt x="4" y="74"/>
                  </a:lnTo>
                  <a:lnTo>
                    <a:pt x="1" y="71"/>
                  </a:lnTo>
                  <a:lnTo>
                    <a:pt x="1" y="70"/>
                  </a:lnTo>
                  <a:lnTo>
                    <a:pt x="3" y="67"/>
                  </a:lnTo>
                  <a:lnTo>
                    <a:pt x="7" y="65"/>
                  </a:lnTo>
                  <a:lnTo>
                    <a:pt x="1" y="65"/>
                  </a:lnTo>
                  <a:lnTo>
                    <a:pt x="1" y="57"/>
                  </a:lnTo>
                  <a:lnTo>
                    <a:pt x="12" y="40"/>
                  </a:lnTo>
                  <a:lnTo>
                    <a:pt x="15" y="33"/>
                  </a:lnTo>
                  <a:lnTo>
                    <a:pt x="12" y="24"/>
                  </a:lnTo>
                  <a:lnTo>
                    <a:pt x="7" y="21"/>
                  </a:lnTo>
                  <a:lnTo>
                    <a:pt x="4" y="11"/>
                  </a:lnTo>
                  <a:lnTo>
                    <a:pt x="0" y="9"/>
                  </a:lnTo>
                  <a:lnTo>
                    <a:pt x="0" y="8"/>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1" name="Guinea">
              <a:extLst>
                <a:ext uri="{FF2B5EF4-FFF2-40B4-BE49-F238E27FC236}">
                  <a16:creationId xmlns:a16="http://schemas.microsoft.com/office/drawing/2014/main" id="{22AB3ED3-CA18-B6F4-931D-21CA2D7C21AE}"/>
                </a:ext>
              </a:extLst>
            </p:cNvPr>
            <p:cNvSpPr>
              <a:spLocks/>
            </p:cNvSpPr>
            <p:nvPr/>
          </p:nvSpPr>
          <p:spPr bwMode="auto">
            <a:xfrm>
              <a:off x="5471661" y="4287435"/>
              <a:ext cx="175286" cy="133723"/>
            </a:xfrm>
            <a:custGeom>
              <a:avLst/>
              <a:gdLst>
                <a:gd name="T0" fmla="*/ 37 w 97"/>
                <a:gd name="T1" fmla="*/ 4 h 74"/>
                <a:gd name="T2" fmla="*/ 47 w 97"/>
                <a:gd name="T3" fmla="*/ 2 h 74"/>
                <a:gd name="T4" fmla="*/ 50 w 97"/>
                <a:gd name="T5" fmla="*/ 7 h 74"/>
                <a:gd name="T6" fmla="*/ 56 w 97"/>
                <a:gd name="T7" fmla="*/ 5 h 74"/>
                <a:gd name="T8" fmla="*/ 62 w 97"/>
                <a:gd name="T9" fmla="*/ 5 h 74"/>
                <a:gd name="T10" fmla="*/ 69 w 97"/>
                <a:gd name="T11" fmla="*/ 7 h 74"/>
                <a:gd name="T12" fmla="*/ 80 w 97"/>
                <a:gd name="T13" fmla="*/ 2 h 74"/>
                <a:gd name="T14" fmla="*/ 89 w 97"/>
                <a:gd name="T15" fmla="*/ 17 h 74"/>
                <a:gd name="T16" fmla="*/ 86 w 97"/>
                <a:gd name="T17" fmla="*/ 22 h 74"/>
                <a:gd name="T18" fmla="*/ 90 w 97"/>
                <a:gd name="T19" fmla="*/ 28 h 74"/>
                <a:gd name="T20" fmla="*/ 92 w 97"/>
                <a:gd name="T21" fmla="*/ 37 h 74"/>
                <a:gd name="T22" fmla="*/ 95 w 97"/>
                <a:gd name="T23" fmla="*/ 44 h 74"/>
                <a:gd name="T24" fmla="*/ 97 w 97"/>
                <a:gd name="T25" fmla="*/ 50 h 74"/>
                <a:gd name="T26" fmla="*/ 95 w 97"/>
                <a:gd name="T27" fmla="*/ 51 h 74"/>
                <a:gd name="T28" fmla="*/ 96 w 97"/>
                <a:gd name="T29" fmla="*/ 53 h 74"/>
                <a:gd name="T30" fmla="*/ 97 w 97"/>
                <a:gd name="T31" fmla="*/ 59 h 74"/>
                <a:gd name="T32" fmla="*/ 92 w 97"/>
                <a:gd name="T33" fmla="*/ 57 h 74"/>
                <a:gd name="T34" fmla="*/ 90 w 97"/>
                <a:gd name="T35" fmla="*/ 59 h 74"/>
                <a:gd name="T36" fmla="*/ 93 w 97"/>
                <a:gd name="T37" fmla="*/ 62 h 74"/>
                <a:gd name="T38" fmla="*/ 90 w 97"/>
                <a:gd name="T39" fmla="*/ 69 h 74"/>
                <a:gd name="T40" fmla="*/ 84 w 97"/>
                <a:gd name="T41" fmla="*/ 68 h 74"/>
                <a:gd name="T42" fmla="*/ 72 w 97"/>
                <a:gd name="T43" fmla="*/ 72 h 74"/>
                <a:gd name="T44" fmla="*/ 74 w 97"/>
                <a:gd name="T45" fmla="*/ 65 h 74"/>
                <a:gd name="T46" fmla="*/ 69 w 97"/>
                <a:gd name="T47" fmla="*/ 56 h 74"/>
                <a:gd name="T48" fmla="*/ 62 w 97"/>
                <a:gd name="T49" fmla="*/ 57 h 74"/>
                <a:gd name="T50" fmla="*/ 56 w 97"/>
                <a:gd name="T51" fmla="*/ 59 h 74"/>
                <a:gd name="T52" fmla="*/ 59 w 97"/>
                <a:gd name="T53" fmla="*/ 50 h 74"/>
                <a:gd name="T54" fmla="*/ 35 w 97"/>
                <a:gd name="T55" fmla="*/ 38 h 74"/>
                <a:gd name="T56" fmla="*/ 23 w 97"/>
                <a:gd name="T57" fmla="*/ 48 h 74"/>
                <a:gd name="T58" fmla="*/ 10 w 97"/>
                <a:gd name="T59" fmla="*/ 35 h 74"/>
                <a:gd name="T60" fmla="*/ 3 w 97"/>
                <a:gd name="T61" fmla="*/ 26 h 74"/>
                <a:gd name="T62" fmla="*/ 1 w 97"/>
                <a:gd name="T63" fmla="*/ 28 h 74"/>
                <a:gd name="T64" fmla="*/ 0 w 97"/>
                <a:gd name="T65" fmla="*/ 25 h 74"/>
                <a:gd name="T66" fmla="*/ 6 w 97"/>
                <a:gd name="T67" fmla="*/ 16 h 74"/>
                <a:gd name="T68" fmla="*/ 14 w 97"/>
                <a:gd name="T69" fmla="*/ 7 h 74"/>
                <a:gd name="T70" fmla="*/ 19 w 97"/>
                <a:gd name="T71"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74">
                  <a:moveTo>
                    <a:pt x="17" y="0"/>
                  </a:moveTo>
                  <a:lnTo>
                    <a:pt x="37" y="4"/>
                  </a:lnTo>
                  <a:lnTo>
                    <a:pt x="43" y="4"/>
                  </a:lnTo>
                  <a:lnTo>
                    <a:pt x="47" y="2"/>
                  </a:lnTo>
                  <a:lnTo>
                    <a:pt x="50" y="2"/>
                  </a:lnTo>
                  <a:lnTo>
                    <a:pt x="50" y="7"/>
                  </a:lnTo>
                  <a:lnTo>
                    <a:pt x="55" y="5"/>
                  </a:lnTo>
                  <a:lnTo>
                    <a:pt x="56" y="5"/>
                  </a:lnTo>
                  <a:lnTo>
                    <a:pt x="59" y="10"/>
                  </a:lnTo>
                  <a:lnTo>
                    <a:pt x="62" y="5"/>
                  </a:lnTo>
                  <a:lnTo>
                    <a:pt x="63" y="5"/>
                  </a:lnTo>
                  <a:lnTo>
                    <a:pt x="69" y="7"/>
                  </a:lnTo>
                  <a:lnTo>
                    <a:pt x="75" y="2"/>
                  </a:lnTo>
                  <a:lnTo>
                    <a:pt x="80" y="2"/>
                  </a:lnTo>
                  <a:lnTo>
                    <a:pt x="83" y="13"/>
                  </a:lnTo>
                  <a:lnTo>
                    <a:pt x="89" y="17"/>
                  </a:lnTo>
                  <a:lnTo>
                    <a:pt x="89" y="19"/>
                  </a:lnTo>
                  <a:lnTo>
                    <a:pt x="86" y="22"/>
                  </a:lnTo>
                  <a:lnTo>
                    <a:pt x="90" y="22"/>
                  </a:lnTo>
                  <a:lnTo>
                    <a:pt x="90" y="28"/>
                  </a:lnTo>
                  <a:lnTo>
                    <a:pt x="93" y="34"/>
                  </a:lnTo>
                  <a:lnTo>
                    <a:pt x="92" y="37"/>
                  </a:lnTo>
                  <a:lnTo>
                    <a:pt x="92" y="43"/>
                  </a:lnTo>
                  <a:lnTo>
                    <a:pt x="95" y="44"/>
                  </a:lnTo>
                  <a:lnTo>
                    <a:pt x="96" y="44"/>
                  </a:lnTo>
                  <a:lnTo>
                    <a:pt x="97" y="50"/>
                  </a:lnTo>
                  <a:lnTo>
                    <a:pt x="96" y="50"/>
                  </a:lnTo>
                  <a:lnTo>
                    <a:pt x="95" y="51"/>
                  </a:lnTo>
                  <a:lnTo>
                    <a:pt x="96" y="51"/>
                  </a:lnTo>
                  <a:lnTo>
                    <a:pt x="96" y="53"/>
                  </a:lnTo>
                  <a:lnTo>
                    <a:pt x="97" y="57"/>
                  </a:lnTo>
                  <a:lnTo>
                    <a:pt x="97" y="59"/>
                  </a:lnTo>
                  <a:lnTo>
                    <a:pt x="93" y="59"/>
                  </a:lnTo>
                  <a:lnTo>
                    <a:pt x="92" y="57"/>
                  </a:lnTo>
                  <a:lnTo>
                    <a:pt x="90" y="57"/>
                  </a:lnTo>
                  <a:lnTo>
                    <a:pt x="90" y="59"/>
                  </a:lnTo>
                  <a:lnTo>
                    <a:pt x="93" y="60"/>
                  </a:lnTo>
                  <a:lnTo>
                    <a:pt x="93" y="62"/>
                  </a:lnTo>
                  <a:lnTo>
                    <a:pt x="90" y="68"/>
                  </a:lnTo>
                  <a:lnTo>
                    <a:pt x="90" y="69"/>
                  </a:lnTo>
                  <a:lnTo>
                    <a:pt x="86" y="69"/>
                  </a:lnTo>
                  <a:lnTo>
                    <a:pt x="84" y="68"/>
                  </a:lnTo>
                  <a:lnTo>
                    <a:pt x="80" y="74"/>
                  </a:lnTo>
                  <a:lnTo>
                    <a:pt x="72" y="72"/>
                  </a:lnTo>
                  <a:lnTo>
                    <a:pt x="72" y="71"/>
                  </a:lnTo>
                  <a:lnTo>
                    <a:pt x="74" y="65"/>
                  </a:lnTo>
                  <a:lnTo>
                    <a:pt x="72" y="59"/>
                  </a:lnTo>
                  <a:lnTo>
                    <a:pt x="69" y="56"/>
                  </a:lnTo>
                  <a:lnTo>
                    <a:pt x="62" y="59"/>
                  </a:lnTo>
                  <a:lnTo>
                    <a:pt x="62" y="57"/>
                  </a:lnTo>
                  <a:lnTo>
                    <a:pt x="57" y="59"/>
                  </a:lnTo>
                  <a:lnTo>
                    <a:pt x="56" y="59"/>
                  </a:lnTo>
                  <a:lnTo>
                    <a:pt x="56" y="57"/>
                  </a:lnTo>
                  <a:lnTo>
                    <a:pt x="59" y="50"/>
                  </a:lnTo>
                  <a:lnTo>
                    <a:pt x="50" y="38"/>
                  </a:lnTo>
                  <a:lnTo>
                    <a:pt x="35" y="38"/>
                  </a:lnTo>
                  <a:lnTo>
                    <a:pt x="28" y="48"/>
                  </a:lnTo>
                  <a:lnTo>
                    <a:pt x="23" y="48"/>
                  </a:lnTo>
                  <a:lnTo>
                    <a:pt x="16" y="38"/>
                  </a:lnTo>
                  <a:lnTo>
                    <a:pt x="10" y="35"/>
                  </a:lnTo>
                  <a:lnTo>
                    <a:pt x="4" y="25"/>
                  </a:lnTo>
                  <a:lnTo>
                    <a:pt x="3" y="26"/>
                  </a:lnTo>
                  <a:lnTo>
                    <a:pt x="3" y="28"/>
                  </a:lnTo>
                  <a:lnTo>
                    <a:pt x="1" y="28"/>
                  </a:lnTo>
                  <a:lnTo>
                    <a:pt x="1" y="26"/>
                  </a:lnTo>
                  <a:lnTo>
                    <a:pt x="0" y="25"/>
                  </a:lnTo>
                  <a:lnTo>
                    <a:pt x="0" y="23"/>
                  </a:lnTo>
                  <a:lnTo>
                    <a:pt x="6" y="16"/>
                  </a:lnTo>
                  <a:lnTo>
                    <a:pt x="17" y="13"/>
                  </a:lnTo>
                  <a:lnTo>
                    <a:pt x="14" y="7"/>
                  </a:lnTo>
                  <a:lnTo>
                    <a:pt x="16" y="7"/>
                  </a:lnTo>
                  <a:lnTo>
                    <a:pt x="19" y="4"/>
                  </a:lnTo>
                  <a:lnTo>
                    <a:pt x="1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2" name="Guinea-Bissau">
              <a:extLst>
                <a:ext uri="{FF2B5EF4-FFF2-40B4-BE49-F238E27FC236}">
                  <a16:creationId xmlns:a16="http://schemas.microsoft.com/office/drawing/2014/main" id="{112FCB27-8030-3C54-F5F0-ED7B895D121C}"/>
                </a:ext>
              </a:extLst>
            </p:cNvPr>
            <p:cNvSpPr>
              <a:spLocks/>
            </p:cNvSpPr>
            <p:nvPr/>
          </p:nvSpPr>
          <p:spPr bwMode="auto">
            <a:xfrm>
              <a:off x="5430098" y="4287435"/>
              <a:ext cx="77705" cy="45177"/>
            </a:xfrm>
            <a:custGeom>
              <a:avLst/>
              <a:gdLst>
                <a:gd name="T0" fmla="*/ 23 w 43"/>
                <a:gd name="T1" fmla="*/ 0 h 25"/>
                <a:gd name="T2" fmla="*/ 42 w 43"/>
                <a:gd name="T3" fmla="*/ 0 h 25"/>
                <a:gd name="T4" fmla="*/ 43 w 43"/>
                <a:gd name="T5" fmla="*/ 4 h 25"/>
                <a:gd name="T6" fmla="*/ 43 w 43"/>
                <a:gd name="T7" fmla="*/ 5 h 25"/>
                <a:gd name="T8" fmla="*/ 40 w 43"/>
                <a:gd name="T9" fmla="*/ 7 h 25"/>
                <a:gd name="T10" fmla="*/ 42 w 43"/>
                <a:gd name="T11" fmla="*/ 13 h 25"/>
                <a:gd name="T12" fmla="*/ 42 w 43"/>
                <a:gd name="T13" fmla="*/ 14 h 25"/>
                <a:gd name="T14" fmla="*/ 40 w 43"/>
                <a:gd name="T15" fmla="*/ 14 h 25"/>
                <a:gd name="T16" fmla="*/ 30 w 43"/>
                <a:gd name="T17" fmla="*/ 17 h 25"/>
                <a:gd name="T18" fmla="*/ 24 w 43"/>
                <a:gd name="T19" fmla="*/ 25 h 25"/>
                <a:gd name="T20" fmla="*/ 23 w 43"/>
                <a:gd name="T21" fmla="*/ 25 h 25"/>
                <a:gd name="T22" fmla="*/ 20 w 43"/>
                <a:gd name="T23" fmla="*/ 20 h 25"/>
                <a:gd name="T24" fmla="*/ 18 w 43"/>
                <a:gd name="T25" fmla="*/ 14 h 25"/>
                <a:gd name="T26" fmla="*/ 18 w 43"/>
                <a:gd name="T27" fmla="*/ 13 h 25"/>
                <a:gd name="T28" fmla="*/ 14 w 43"/>
                <a:gd name="T29" fmla="*/ 14 h 25"/>
                <a:gd name="T30" fmla="*/ 12 w 43"/>
                <a:gd name="T31" fmla="*/ 14 h 25"/>
                <a:gd name="T32" fmla="*/ 0 w 43"/>
                <a:gd name="T33" fmla="*/ 4 h 25"/>
                <a:gd name="T34" fmla="*/ 0 w 43"/>
                <a:gd name="T35" fmla="*/ 2 h 25"/>
                <a:gd name="T36" fmla="*/ 14 w 43"/>
                <a:gd name="T37" fmla="*/ 2 h 25"/>
                <a:gd name="T38" fmla="*/ 23 w 43"/>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25">
                  <a:moveTo>
                    <a:pt x="23" y="0"/>
                  </a:moveTo>
                  <a:lnTo>
                    <a:pt x="42" y="0"/>
                  </a:lnTo>
                  <a:lnTo>
                    <a:pt x="43" y="4"/>
                  </a:lnTo>
                  <a:lnTo>
                    <a:pt x="43" y="5"/>
                  </a:lnTo>
                  <a:lnTo>
                    <a:pt x="40" y="7"/>
                  </a:lnTo>
                  <a:lnTo>
                    <a:pt x="42" y="13"/>
                  </a:lnTo>
                  <a:lnTo>
                    <a:pt x="42" y="14"/>
                  </a:lnTo>
                  <a:lnTo>
                    <a:pt x="40" y="14"/>
                  </a:lnTo>
                  <a:lnTo>
                    <a:pt x="30" y="17"/>
                  </a:lnTo>
                  <a:lnTo>
                    <a:pt x="24" y="25"/>
                  </a:lnTo>
                  <a:lnTo>
                    <a:pt x="23" y="25"/>
                  </a:lnTo>
                  <a:lnTo>
                    <a:pt x="20" y="20"/>
                  </a:lnTo>
                  <a:lnTo>
                    <a:pt x="18" y="14"/>
                  </a:lnTo>
                  <a:lnTo>
                    <a:pt x="18" y="13"/>
                  </a:lnTo>
                  <a:lnTo>
                    <a:pt x="14" y="14"/>
                  </a:lnTo>
                  <a:lnTo>
                    <a:pt x="12" y="14"/>
                  </a:lnTo>
                  <a:lnTo>
                    <a:pt x="0" y="4"/>
                  </a:lnTo>
                  <a:lnTo>
                    <a:pt x="0" y="2"/>
                  </a:lnTo>
                  <a:lnTo>
                    <a:pt x="14" y="2"/>
                  </a:lnTo>
                  <a:lnTo>
                    <a:pt x="2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3" name="Ghana">
              <a:extLst>
                <a:ext uri="{FF2B5EF4-FFF2-40B4-BE49-F238E27FC236}">
                  <a16:creationId xmlns:a16="http://schemas.microsoft.com/office/drawing/2014/main" id="{3BD2B060-3440-B753-F560-C288D20ABE92}"/>
                </a:ext>
              </a:extLst>
            </p:cNvPr>
            <p:cNvSpPr>
              <a:spLocks/>
            </p:cNvSpPr>
            <p:nvPr/>
          </p:nvSpPr>
          <p:spPr bwMode="auto">
            <a:xfrm>
              <a:off x="5751755" y="4323577"/>
              <a:ext cx="108424" cy="159021"/>
            </a:xfrm>
            <a:custGeom>
              <a:avLst/>
              <a:gdLst>
                <a:gd name="T0" fmla="*/ 39 w 60"/>
                <a:gd name="T1" fmla="*/ 0 h 88"/>
                <a:gd name="T2" fmla="*/ 40 w 60"/>
                <a:gd name="T3" fmla="*/ 0 h 88"/>
                <a:gd name="T4" fmla="*/ 42 w 60"/>
                <a:gd name="T5" fmla="*/ 3 h 88"/>
                <a:gd name="T6" fmla="*/ 42 w 60"/>
                <a:gd name="T7" fmla="*/ 8 h 88"/>
                <a:gd name="T8" fmla="*/ 46 w 60"/>
                <a:gd name="T9" fmla="*/ 14 h 88"/>
                <a:gd name="T10" fmla="*/ 49 w 60"/>
                <a:gd name="T11" fmla="*/ 25 h 88"/>
                <a:gd name="T12" fmla="*/ 52 w 60"/>
                <a:gd name="T13" fmla="*/ 58 h 88"/>
                <a:gd name="T14" fmla="*/ 60 w 60"/>
                <a:gd name="T15" fmla="*/ 67 h 88"/>
                <a:gd name="T16" fmla="*/ 60 w 60"/>
                <a:gd name="T17" fmla="*/ 68 h 88"/>
                <a:gd name="T18" fmla="*/ 55 w 60"/>
                <a:gd name="T19" fmla="*/ 73 h 88"/>
                <a:gd name="T20" fmla="*/ 45 w 60"/>
                <a:gd name="T21" fmla="*/ 74 h 88"/>
                <a:gd name="T22" fmla="*/ 17 w 60"/>
                <a:gd name="T23" fmla="*/ 88 h 88"/>
                <a:gd name="T24" fmla="*/ 0 w 60"/>
                <a:gd name="T25" fmla="*/ 82 h 88"/>
                <a:gd name="T26" fmla="*/ 0 w 60"/>
                <a:gd name="T27" fmla="*/ 80 h 88"/>
                <a:gd name="T28" fmla="*/ 2 w 60"/>
                <a:gd name="T29" fmla="*/ 80 h 88"/>
                <a:gd name="T30" fmla="*/ 6 w 60"/>
                <a:gd name="T31" fmla="*/ 79 h 88"/>
                <a:gd name="T32" fmla="*/ 6 w 60"/>
                <a:gd name="T33" fmla="*/ 74 h 88"/>
                <a:gd name="T34" fmla="*/ 3 w 60"/>
                <a:gd name="T35" fmla="*/ 71 h 88"/>
                <a:gd name="T36" fmla="*/ 0 w 60"/>
                <a:gd name="T37" fmla="*/ 61 h 88"/>
                <a:gd name="T38" fmla="*/ 6 w 60"/>
                <a:gd name="T39" fmla="*/ 43 h 88"/>
                <a:gd name="T40" fmla="*/ 9 w 60"/>
                <a:gd name="T41" fmla="*/ 39 h 88"/>
                <a:gd name="T42" fmla="*/ 6 w 60"/>
                <a:gd name="T43" fmla="*/ 28 h 88"/>
                <a:gd name="T44" fmla="*/ 6 w 60"/>
                <a:gd name="T45" fmla="*/ 23 h 88"/>
                <a:gd name="T46" fmla="*/ 3 w 60"/>
                <a:gd name="T47" fmla="*/ 8 h 88"/>
                <a:gd name="T48" fmla="*/ 3 w 60"/>
                <a:gd name="T49" fmla="*/ 3 h 88"/>
                <a:gd name="T50" fmla="*/ 5 w 60"/>
                <a:gd name="T51" fmla="*/ 2 h 88"/>
                <a:gd name="T52" fmla="*/ 9 w 60"/>
                <a:gd name="T53" fmla="*/ 2 h 88"/>
                <a:gd name="T54" fmla="*/ 18 w 60"/>
                <a:gd name="T55" fmla="*/ 3 h 88"/>
                <a:gd name="T56" fmla="*/ 31 w 60"/>
                <a:gd name="T57" fmla="*/ 3 h 88"/>
                <a:gd name="T58" fmla="*/ 39 w 60"/>
                <a:gd name="T5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88">
                  <a:moveTo>
                    <a:pt x="39" y="0"/>
                  </a:moveTo>
                  <a:lnTo>
                    <a:pt x="40" y="0"/>
                  </a:lnTo>
                  <a:lnTo>
                    <a:pt x="42" y="3"/>
                  </a:lnTo>
                  <a:lnTo>
                    <a:pt x="42" y="8"/>
                  </a:lnTo>
                  <a:lnTo>
                    <a:pt x="46" y="14"/>
                  </a:lnTo>
                  <a:lnTo>
                    <a:pt x="49" y="25"/>
                  </a:lnTo>
                  <a:lnTo>
                    <a:pt x="52" y="58"/>
                  </a:lnTo>
                  <a:lnTo>
                    <a:pt x="60" y="67"/>
                  </a:lnTo>
                  <a:lnTo>
                    <a:pt x="60" y="68"/>
                  </a:lnTo>
                  <a:lnTo>
                    <a:pt x="55" y="73"/>
                  </a:lnTo>
                  <a:lnTo>
                    <a:pt x="45" y="74"/>
                  </a:lnTo>
                  <a:lnTo>
                    <a:pt x="17" y="88"/>
                  </a:lnTo>
                  <a:lnTo>
                    <a:pt x="0" y="82"/>
                  </a:lnTo>
                  <a:lnTo>
                    <a:pt x="0" y="80"/>
                  </a:lnTo>
                  <a:lnTo>
                    <a:pt x="2" y="80"/>
                  </a:lnTo>
                  <a:lnTo>
                    <a:pt x="6" y="79"/>
                  </a:lnTo>
                  <a:lnTo>
                    <a:pt x="6" y="74"/>
                  </a:lnTo>
                  <a:lnTo>
                    <a:pt x="3" y="71"/>
                  </a:lnTo>
                  <a:lnTo>
                    <a:pt x="0" y="61"/>
                  </a:lnTo>
                  <a:lnTo>
                    <a:pt x="6" y="43"/>
                  </a:lnTo>
                  <a:lnTo>
                    <a:pt x="9" y="39"/>
                  </a:lnTo>
                  <a:lnTo>
                    <a:pt x="6" y="28"/>
                  </a:lnTo>
                  <a:lnTo>
                    <a:pt x="6" y="23"/>
                  </a:lnTo>
                  <a:lnTo>
                    <a:pt x="3" y="8"/>
                  </a:lnTo>
                  <a:lnTo>
                    <a:pt x="3" y="3"/>
                  </a:lnTo>
                  <a:lnTo>
                    <a:pt x="5" y="2"/>
                  </a:lnTo>
                  <a:lnTo>
                    <a:pt x="9" y="2"/>
                  </a:lnTo>
                  <a:lnTo>
                    <a:pt x="18" y="3"/>
                  </a:lnTo>
                  <a:lnTo>
                    <a:pt x="31" y="3"/>
                  </a:lnTo>
                  <a:lnTo>
                    <a:pt x="3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4" name="The Gambia">
              <a:extLst>
                <a:ext uri="{FF2B5EF4-FFF2-40B4-BE49-F238E27FC236}">
                  <a16:creationId xmlns:a16="http://schemas.microsoft.com/office/drawing/2014/main" id="{0893626C-A720-4B0A-ED15-E8B64DAAF6EB}"/>
                </a:ext>
              </a:extLst>
            </p:cNvPr>
            <p:cNvSpPr>
              <a:spLocks/>
            </p:cNvSpPr>
            <p:nvPr/>
          </p:nvSpPr>
          <p:spPr bwMode="auto">
            <a:xfrm>
              <a:off x="5430098" y="4256715"/>
              <a:ext cx="72283" cy="25299"/>
            </a:xfrm>
            <a:custGeom>
              <a:avLst/>
              <a:gdLst>
                <a:gd name="T0" fmla="*/ 24 w 40"/>
                <a:gd name="T1" fmla="*/ 0 h 14"/>
                <a:gd name="T2" fmla="*/ 24 w 40"/>
                <a:gd name="T3" fmla="*/ 2 h 14"/>
                <a:gd name="T4" fmla="*/ 33 w 40"/>
                <a:gd name="T5" fmla="*/ 6 h 14"/>
                <a:gd name="T6" fmla="*/ 40 w 40"/>
                <a:gd name="T7" fmla="*/ 5 h 14"/>
                <a:gd name="T8" fmla="*/ 40 w 40"/>
                <a:gd name="T9" fmla="*/ 8 h 14"/>
                <a:gd name="T10" fmla="*/ 36 w 40"/>
                <a:gd name="T11" fmla="*/ 11 h 14"/>
                <a:gd name="T12" fmla="*/ 23 w 40"/>
                <a:gd name="T13" fmla="*/ 6 h 14"/>
                <a:gd name="T14" fmla="*/ 14 w 40"/>
                <a:gd name="T15" fmla="*/ 11 h 14"/>
                <a:gd name="T16" fmla="*/ 12 w 40"/>
                <a:gd name="T17" fmla="*/ 11 h 14"/>
                <a:gd name="T18" fmla="*/ 11 w 40"/>
                <a:gd name="T19" fmla="*/ 12 h 14"/>
                <a:gd name="T20" fmla="*/ 5 w 40"/>
                <a:gd name="T21" fmla="*/ 12 h 14"/>
                <a:gd name="T22" fmla="*/ 3 w 40"/>
                <a:gd name="T23" fmla="*/ 14 h 14"/>
                <a:gd name="T24" fmla="*/ 0 w 40"/>
                <a:gd name="T25" fmla="*/ 14 h 14"/>
                <a:gd name="T26" fmla="*/ 0 w 40"/>
                <a:gd name="T27" fmla="*/ 8 h 14"/>
                <a:gd name="T28" fmla="*/ 3 w 40"/>
                <a:gd name="T29" fmla="*/ 5 h 14"/>
                <a:gd name="T30" fmla="*/ 17 w 40"/>
                <a:gd name="T31" fmla="*/ 5 h 14"/>
                <a:gd name="T32" fmla="*/ 23 w 40"/>
                <a:gd name="T33" fmla="*/ 2 h 14"/>
                <a:gd name="T34" fmla="*/ 24 w 4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14">
                  <a:moveTo>
                    <a:pt x="24" y="0"/>
                  </a:moveTo>
                  <a:lnTo>
                    <a:pt x="24" y="2"/>
                  </a:lnTo>
                  <a:lnTo>
                    <a:pt x="33" y="6"/>
                  </a:lnTo>
                  <a:lnTo>
                    <a:pt x="40" y="5"/>
                  </a:lnTo>
                  <a:lnTo>
                    <a:pt x="40" y="8"/>
                  </a:lnTo>
                  <a:lnTo>
                    <a:pt x="36" y="11"/>
                  </a:lnTo>
                  <a:lnTo>
                    <a:pt x="23" y="6"/>
                  </a:lnTo>
                  <a:lnTo>
                    <a:pt x="14" y="11"/>
                  </a:lnTo>
                  <a:lnTo>
                    <a:pt x="12" y="11"/>
                  </a:lnTo>
                  <a:lnTo>
                    <a:pt x="11" y="12"/>
                  </a:lnTo>
                  <a:lnTo>
                    <a:pt x="5" y="12"/>
                  </a:lnTo>
                  <a:lnTo>
                    <a:pt x="3" y="14"/>
                  </a:lnTo>
                  <a:lnTo>
                    <a:pt x="0" y="14"/>
                  </a:lnTo>
                  <a:lnTo>
                    <a:pt x="0" y="8"/>
                  </a:lnTo>
                  <a:lnTo>
                    <a:pt x="3" y="5"/>
                  </a:lnTo>
                  <a:lnTo>
                    <a:pt x="17" y="5"/>
                  </a:lnTo>
                  <a:lnTo>
                    <a:pt x="23" y="2"/>
                  </a:lnTo>
                  <a:lnTo>
                    <a:pt x="2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5" name="Gabon">
              <a:extLst>
                <a:ext uri="{FF2B5EF4-FFF2-40B4-BE49-F238E27FC236}">
                  <a16:creationId xmlns:a16="http://schemas.microsoft.com/office/drawing/2014/main" id="{878B3F24-AE8A-BF8E-3430-68C46CE24071}"/>
                </a:ext>
              </a:extLst>
            </p:cNvPr>
            <p:cNvSpPr>
              <a:spLocks/>
            </p:cNvSpPr>
            <p:nvPr/>
          </p:nvSpPr>
          <p:spPr bwMode="auto">
            <a:xfrm>
              <a:off x="6033656" y="4535002"/>
              <a:ext cx="131916" cy="148179"/>
            </a:xfrm>
            <a:custGeom>
              <a:avLst/>
              <a:gdLst>
                <a:gd name="T0" fmla="*/ 33 w 73"/>
                <a:gd name="T1" fmla="*/ 0 h 82"/>
                <a:gd name="T2" fmla="*/ 37 w 73"/>
                <a:gd name="T3" fmla="*/ 0 h 82"/>
                <a:gd name="T4" fmla="*/ 46 w 73"/>
                <a:gd name="T5" fmla="*/ 2 h 82"/>
                <a:gd name="T6" fmla="*/ 59 w 73"/>
                <a:gd name="T7" fmla="*/ 2 h 82"/>
                <a:gd name="T8" fmla="*/ 56 w 73"/>
                <a:gd name="T9" fmla="*/ 14 h 82"/>
                <a:gd name="T10" fmla="*/ 59 w 73"/>
                <a:gd name="T11" fmla="*/ 14 h 82"/>
                <a:gd name="T12" fmla="*/ 62 w 73"/>
                <a:gd name="T13" fmla="*/ 9 h 82"/>
                <a:gd name="T14" fmla="*/ 62 w 73"/>
                <a:gd name="T15" fmla="*/ 8 h 82"/>
                <a:gd name="T16" fmla="*/ 65 w 73"/>
                <a:gd name="T17" fmla="*/ 8 h 82"/>
                <a:gd name="T18" fmla="*/ 67 w 73"/>
                <a:gd name="T19" fmla="*/ 9 h 82"/>
                <a:gd name="T20" fmla="*/ 70 w 73"/>
                <a:gd name="T21" fmla="*/ 9 h 82"/>
                <a:gd name="T22" fmla="*/ 73 w 73"/>
                <a:gd name="T23" fmla="*/ 14 h 82"/>
                <a:gd name="T24" fmla="*/ 73 w 73"/>
                <a:gd name="T25" fmla="*/ 20 h 82"/>
                <a:gd name="T26" fmla="*/ 70 w 73"/>
                <a:gd name="T27" fmla="*/ 27 h 82"/>
                <a:gd name="T28" fmla="*/ 71 w 73"/>
                <a:gd name="T29" fmla="*/ 40 h 82"/>
                <a:gd name="T30" fmla="*/ 70 w 73"/>
                <a:gd name="T31" fmla="*/ 60 h 82"/>
                <a:gd name="T32" fmla="*/ 65 w 73"/>
                <a:gd name="T33" fmla="*/ 63 h 82"/>
                <a:gd name="T34" fmla="*/ 64 w 73"/>
                <a:gd name="T35" fmla="*/ 63 h 82"/>
                <a:gd name="T36" fmla="*/ 50 w 73"/>
                <a:gd name="T37" fmla="*/ 54 h 82"/>
                <a:gd name="T38" fmla="*/ 38 w 73"/>
                <a:gd name="T39" fmla="*/ 63 h 82"/>
                <a:gd name="T40" fmla="*/ 38 w 73"/>
                <a:gd name="T41" fmla="*/ 76 h 82"/>
                <a:gd name="T42" fmla="*/ 33 w 73"/>
                <a:gd name="T43" fmla="*/ 76 h 82"/>
                <a:gd name="T44" fmla="*/ 31 w 73"/>
                <a:gd name="T45" fmla="*/ 82 h 82"/>
                <a:gd name="T46" fmla="*/ 30 w 73"/>
                <a:gd name="T47" fmla="*/ 82 h 82"/>
                <a:gd name="T48" fmla="*/ 6 w 73"/>
                <a:gd name="T49" fmla="*/ 55 h 82"/>
                <a:gd name="T50" fmla="*/ 0 w 73"/>
                <a:gd name="T51" fmla="*/ 40 h 82"/>
                <a:gd name="T52" fmla="*/ 0 w 73"/>
                <a:gd name="T53" fmla="*/ 39 h 82"/>
                <a:gd name="T54" fmla="*/ 6 w 73"/>
                <a:gd name="T55" fmla="*/ 36 h 82"/>
                <a:gd name="T56" fmla="*/ 6 w 73"/>
                <a:gd name="T57" fmla="*/ 26 h 82"/>
                <a:gd name="T58" fmla="*/ 7 w 73"/>
                <a:gd name="T59" fmla="*/ 26 h 82"/>
                <a:gd name="T60" fmla="*/ 10 w 73"/>
                <a:gd name="T61" fmla="*/ 27 h 82"/>
                <a:gd name="T62" fmla="*/ 7 w 73"/>
                <a:gd name="T63" fmla="*/ 24 h 82"/>
                <a:gd name="T64" fmla="*/ 7 w 73"/>
                <a:gd name="T65" fmla="*/ 23 h 82"/>
                <a:gd name="T66" fmla="*/ 9 w 73"/>
                <a:gd name="T67" fmla="*/ 20 h 82"/>
                <a:gd name="T68" fmla="*/ 9 w 73"/>
                <a:gd name="T69" fmla="*/ 17 h 82"/>
                <a:gd name="T70" fmla="*/ 10 w 73"/>
                <a:gd name="T71" fmla="*/ 17 h 82"/>
                <a:gd name="T72" fmla="*/ 33 w 73"/>
                <a:gd name="T73" fmla="*/ 15 h 82"/>
                <a:gd name="T74" fmla="*/ 33 w 73"/>
                <a:gd name="T7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82">
                  <a:moveTo>
                    <a:pt x="33" y="0"/>
                  </a:moveTo>
                  <a:lnTo>
                    <a:pt x="37" y="0"/>
                  </a:lnTo>
                  <a:lnTo>
                    <a:pt x="46" y="2"/>
                  </a:lnTo>
                  <a:lnTo>
                    <a:pt x="59" y="2"/>
                  </a:lnTo>
                  <a:lnTo>
                    <a:pt x="56" y="14"/>
                  </a:lnTo>
                  <a:lnTo>
                    <a:pt x="59" y="14"/>
                  </a:lnTo>
                  <a:lnTo>
                    <a:pt x="62" y="9"/>
                  </a:lnTo>
                  <a:lnTo>
                    <a:pt x="62" y="8"/>
                  </a:lnTo>
                  <a:lnTo>
                    <a:pt x="65" y="8"/>
                  </a:lnTo>
                  <a:lnTo>
                    <a:pt x="67" y="9"/>
                  </a:lnTo>
                  <a:lnTo>
                    <a:pt x="70" y="9"/>
                  </a:lnTo>
                  <a:lnTo>
                    <a:pt x="73" y="14"/>
                  </a:lnTo>
                  <a:lnTo>
                    <a:pt x="73" y="20"/>
                  </a:lnTo>
                  <a:lnTo>
                    <a:pt x="70" y="27"/>
                  </a:lnTo>
                  <a:lnTo>
                    <a:pt x="71" y="40"/>
                  </a:lnTo>
                  <a:lnTo>
                    <a:pt x="70" y="60"/>
                  </a:lnTo>
                  <a:lnTo>
                    <a:pt x="65" y="63"/>
                  </a:lnTo>
                  <a:lnTo>
                    <a:pt x="64" y="63"/>
                  </a:lnTo>
                  <a:lnTo>
                    <a:pt x="50" y="54"/>
                  </a:lnTo>
                  <a:lnTo>
                    <a:pt x="38" y="63"/>
                  </a:lnTo>
                  <a:lnTo>
                    <a:pt x="38" y="76"/>
                  </a:lnTo>
                  <a:lnTo>
                    <a:pt x="33" y="76"/>
                  </a:lnTo>
                  <a:lnTo>
                    <a:pt x="31" y="82"/>
                  </a:lnTo>
                  <a:lnTo>
                    <a:pt x="30" y="82"/>
                  </a:lnTo>
                  <a:lnTo>
                    <a:pt x="6" y="55"/>
                  </a:lnTo>
                  <a:lnTo>
                    <a:pt x="0" y="40"/>
                  </a:lnTo>
                  <a:lnTo>
                    <a:pt x="0" y="39"/>
                  </a:lnTo>
                  <a:lnTo>
                    <a:pt x="6" y="36"/>
                  </a:lnTo>
                  <a:lnTo>
                    <a:pt x="6" y="26"/>
                  </a:lnTo>
                  <a:lnTo>
                    <a:pt x="7" y="26"/>
                  </a:lnTo>
                  <a:lnTo>
                    <a:pt x="10" y="27"/>
                  </a:lnTo>
                  <a:lnTo>
                    <a:pt x="7" y="24"/>
                  </a:lnTo>
                  <a:lnTo>
                    <a:pt x="7" y="23"/>
                  </a:lnTo>
                  <a:lnTo>
                    <a:pt x="9" y="20"/>
                  </a:lnTo>
                  <a:lnTo>
                    <a:pt x="9" y="17"/>
                  </a:lnTo>
                  <a:lnTo>
                    <a:pt x="10" y="17"/>
                  </a:lnTo>
                  <a:lnTo>
                    <a:pt x="33" y="15"/>
                  </a:lnTo>
                  <a:lnTo>
                    <a:pt x="3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6" name="Eritrea">
              <a:extLst>
                <a:ext uri="{FF2B5EF4-FFF2-40B4-BE49-F238E27FC236}">
                  <a16:creationId xmlns:a16="http://schemas.microsoft.com/office/drawing/2014/main" id="{51E35ADA-1242-A6DF-AFE1-5C3CCD6D28F0}"/>
                </a:ext>
              </a:extLst>
            </p:cNvPr>
            <p:cNvSpPr>
              <a:spLocks/>
            </p:cNvSpPr>
            <p:nvPr/>
          </p:nvSpPr>
          <p:spPr bwMode="auto">
            <a:xfrm>
              <a:off x="6687811" y="4157326"/>
              <a:ext cx="155407" cy="142758"/>
            </a:xfrm>
            <a:custGeom>
              <a:avLst/>
              <a:gdLst>
                <a:gd name="T0" fmla="*/ 25 w 86"/>
                <a:gd name="T1" fmla="*/ 0 h 79"/>
                <a:gd name="T2" fmla="*/ 31 w 86"/>
                <a:gd name="T3" fmla="*/ 8 h 79"/>
                <a:gd name="T4" fmla="*/ 35 w 86"/>
                <a:gd name="T5" fmla="*/ 29 h 79"/>
                <a:gd name="T6" fmla="*/ 43 w 86"/>
                <a:gd name="T7" fmla="*/ 39 h 79"/>
                <a:gd name="T8" fmla="*/ 44 w 86"/>
                <a:gd name="T9" fmla="*/ 40 h 79"/>
                <a:gd name="T10" fmla="*/ 44 w 86"/>
                <a:gd name="T11" fmla="*/ 36 h 79"/>
                <a:gd name="T12" fmla="*/ 49 w 86"/>
                <a:gd name="T13" fmla="*/ 43 h 79"/>
                <a:gd name="T14" fmla="*/ 53 w 86"/>
                <a:gd name="T15" fmla="*/ 43 h 79"/>
                <a:gd name="T16" fmla="*/ 63 w 86"/>
                <a:gd name="T17" fmla="*/ 48 h 79"/>
                <a:gd name="T18" fmla="*/ 78 w 86"/>
                <a:gd name="T19" fmla="*/ 66 h 79"/>
                <a:gd name="T20" fmla="*/ 86 w 86"/>
                <a:gd name="T21" fmla="*/ 72 h 79"/>
                <a:gd name="T22" fmla="*/ 75 w 86"/>
                <a:gd name="T23" fmla="*/ 79 h 79"/>
                <a:gd name="T24" fmla="*/ 59 w 86"/>
                <a:gd name="T25" fmla="*/ 57 h 79"/>
                <a:gd name="T26" fmla="*/ 47 w 86"/>
                <a:gd name="T27" fmla="*/ 51 h 79"/>
                <a:gd name="T28" fmla="*/ 34 w 86"/>
                <a:gd name="T29" fmla="*/ 51 h 79"/>
                <a:gd name="T30" fmla="*/ 23 w 86"/>
                <a:gd name="T31" fmla="*/ 49 h 79"/>
                <a:gd name="T32" fmla="*/ 17 w 86"/>
                <a:gd name="T33" fmla="*/ 58 h 79"/>
                <a:gd name="T34" fmla="*/ 14 w 86"/>
                <a:gd name="T35" fmla="*/ 54 h 79"/>
                <a:gd name="T36" fmla="*/ 1 w 86"/>
                <a:gd name="T37" fmla="*/ 55 h 79"/>
                <a:gd name="T38" fmla="*/ 0 w 86"/>
                <a:gd name="T39" fmla="*/ 43 h 79"/>
                <a:gd name="T40" fmla="*/ 7 w 86"/>
                <a:gd name="T41" fmla="*/ 14 h 79"/>
                <a:gd name="T42" fmla="*/ 25 w 86"/>
                <a:gd name="T43" fmla="*/ 6 h 79"/>
                <a:gd name="T44" fmla="*/ 25 w 86"/>
                <a:gd name="T4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9">
                  <a:moveTo>
                    <a:pt x="25" y="0"/>
                  </a:moveTo>
                  <a:lnTo>
                    <a:pt x="31" y="8"/>
                  </a:lnTo>
                  <a:lnTo>
                    <a:pt x="35" y="29"/>
                  </a:lnTo>
                  <a:lnTo>
                    <a:pt x="43" y="39"/>
                  </a:lnTo>
                  <a:lnTo>
                    <a:pt x="44" y="40"/>
                  </a:lnTo>
                  <a:lnTo>
                    <a:pt x="44" y="36"/>
                  </a:lnTo>
                  <a:lnTo>
                    <a:pt x="49" y="43"/>
                  </a:lnTo>
                  <a:lnTo>
                    <a:pt x="53" y="43"/>
                  </a:lnTo>
                  <a:lnTo>
                    <a:pt x="63" y="48"/>
                  </a:lnTo>
                  <a:lnTo>
                    <a:pt x="78" y="66"/>
                  </a:lnTo>
                  <a:lnTo>
                    <a:pt x="86" y="72"/>
                  </a:lnTo>
                  <a:lnTo>
                    <a:pt x="75" y="79"/>
                  </a:lnTo>
                  <a:lnTo>
                    <a:pt x="59" y="57"/>
                  </a:lnTo>
                  <a:lnTo>
                    <a:pt x="47" y="51"/>
                  </a:lnTo>
                  <a:lnTo>
                    <a:pt x="34" y="51"/>
                  </a:lnTo>
                  <a:lnTo>
                    <a:pt x="23" y="49"/>
                  </a:lnTo>
                  <a:lnTo>
                    <a:pt x="17" y="58"/>
                  </a:lnTo>
                  <a:lnTo>
                    <a:pt x="14" y="54"/>
                  </a:lnTo>
                  <a:lnTo>
                    <a:pt x="1" y="55"/>
                  </a:lnTo>
                  <a:lnTo>
                    <a:pt x="0" y="43"/>
                  </a:lnTo>
                  <a:lnTo>
                    <a:pt x="7" y="14"/>
                  </a:lnTo>
                  <a:lnTo>
                    <a:pt x="25" y="6"/>
                  </a:lnTo>
                  <a:lnTo>
                    <a:pt x="2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7" name="Equatorial Guinea">
              <a:extLst>
                <a:ext uri="{FF2B5EF4-FFF2-40B4-BE49-F238E27FC236}">
                  <a16:creationId xmlns:a16="http://schemas.microsoft.com/office/drawing/2014/main" id="{33DD197C-A8DA-83DF-B572-61358E44105B}"/>
                </a:ext>
              </a:extLst>
            </p:cNvPr>
            <p:cNvSpPr>
              <a:spLocks/>
            </p:cNvSpPr>
            <p:nvPr/>
          </p:nvSpPr>
          <p:spPr bwMode="auto">
            <a:xfrm>
              <a:off x="6046306" y="4535002"/>
              <a:ext cx="48791" cy="32527"/>
            </a:xfrm>
            <a:custGeom>
              <a:avLst/>
              <a:gdLst>
                <a:gd name="T0" fmla="*/ 17 w 27"/>
                <a:gd name="T1" fmla="*/ 0 h 18"/>
                <a:gd name="T2" fmla="*/ 27 w 27"/>
                <a:gd name="T3" fmla="*/ 0 h 18"/>
                <a:gd name="T4" fmla="*/ 27 w 27"/>
                <a:gd name="T5" fmla="*/ 17 h 18"/>
                <a:gd name="T6" fmla="*/ 17 w 27"/>
                <a:gd name="T7" fmla="*/ 17 h 18"/>
                <a:gd name="T8" fmla="*/ 12 w 27"/>
                <a:gd name="T9" fmla="*/ 18 h 18"/>
                <a:gd name="T10" fmla="*/ 3 w 27"/>
                <a:gd name="T11" fmla="*/ 18 h 18"/>
                <a:gd name="T12" fmla="*/ 0 w 27"/>
                <a:gd name="T13" fmla="*/ 14 h 18"/>
                <a:gd name="T14" fmla="*/ 3 w 27"/>
                <a:gd name="T15" fmla="*/ 2 h 18"/>
                <a:gd name="T16" fmla="*/ 14 w 27"/>
                <a:gd name="T17" fmla="*/ 2 h 18"/>
                <a:gd name="T18" fmla="*/ 17 w 27"/>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8">
                  <a:moveTo>
                    <a:pt x="17" y="0"/>
                  </a:moveTo>
                  <a:lnTo>
                    <a:pt x="27" y="0"/>
                  </a:lnTo>
                  <a:lnTo>
                    <a:pt x="27" y="17"/>
                  </a:lnTo>
                  <a:lnTo>
                    <a:pt x="17" y="17"/>
                  </a:lnTo>
                  <a:lnTo>
                    <a:pt x="12" y="18"/>
                  </a:lnTo>
                  <a:lnTo>
                    <a:pt x="3" y="18"/>
                  </a:lnTo>
                  <a:lnTo>
                    <a:pt x="0" y="14"/>
                  </a:lnTo>
                  <a:lnTo>
                    <a:pt x="3" y="2"/>
                  </a:lnTo>
                  <a:lnTo>
                    <a:pt x="14" y="2"/>
                  </a:lnTo>
                  <a:lnTo>
                    <a:pt x="1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8" name="Ethiopia">
              <a:extLst>
                <a:ext uri="{FF2B5EF4-FFF2-40B4-BE49-F238E27FC236}">
                  <a16:creationId xmlns:a16="http://schemas.microsoft.com/office/drawing/2014/main" id="{0936CF96-66D1-87C6-6F13-BE85C690B2E8}"/>
                </a:ext>
              </a:extLst>
            </p:cNvPr>
            <p:cNvSpPr>
              <a:spLocks/>
            </p:cNvSpPr>
            <p:nvPr/>
          </p:nvSpPr>
          <p:spPr bwMode="auto">
            <a:xfrm>
              <a:off x="6606495" y="4245872"/>
              <a:ext cx="354183" cy="260217"/>
            </a:xfrm>
            <a:custGeom>
              <a:avLst/>
              <a:gdLst>
                <a:gd name="T0" fmla="*/ 68 w 196"/>
                <a:gd name="T1" fmla="*/ 0 h 144"/>
                <a:gd name="T2" fmla="*/ 79 w 196"/>
                <a:gd name="T3" fmla="*/ 2 h 144"/>
                <a:gd name="T4" fmla="*/ 92 w 196"/>
                <a:gd name="T5" fmla="*/ 2 h 144"/>
                <a:gd name="T6" fmla="*/ 104 w 196"/>
                <a:gd name="T7" fmla="*/ 8 h 144"/>
                <a:gd name="T8" fmla="*/ 120 w 196"/>
                <a:gd name="T9" fmla="*/ 30 h 144"/>
                <a:gd name="T10" fmla="*/ 116 w 196"/>
                <a:gd name="T11" fmla="*/ 43 h 144"/>
                <a:gd name="T12" fmla="*/ 117 w 196"/>
                <a:gd name="T13" fmla="*/ 48 h 144"/>
                <a:gd name="T14" fmla="*/ 126 w 196"/>
                <a:gd name="T15" fmla="*/ 45 h 144"/>
                <a:gd name="T16" fmla="*/ 129 w 196"/>
                <a:gd name="T17" fmla="*/ 48 h 144"/>
                <a:gd name="T18" fmla="*/ 129 w 196"/>
                <a:gd name="T19" fmla="*/ 57 h 144"/>
                <a:gd name="T20" fmla="*/ 144 w 196"/>
                <a:gd name="T21" fmla="*/ 71 h 144"/>
                <a:gd name="T22" fmla="*/ 184 w 196"/>
                <a:gd name="T23" fmla="*/ 86 h 144"/>
                <a:gd name="T24" fmla="*/ 196 w 196"/>
                <a:gd name="T25" fmla="*/ 85 h 144"/>
                <a:gd name="T26" fmla="*/ 194 w 196"/>
                <a:gd name="T27" fmla="*/ 89 h 144"/>
                <a:gd name="T28" fmla="*/ 157 w 196"/>
                <a:gd name="T29" fmla="*/ 125 h 144"/>
                <a:gd name="T30" fmla="*/ 142 w 196"/>
                <a:gd name="T31" fmla="*/ 125 h 144"/>
                <a:gd name="T32" fmla="*/ 116 w 196"/>
                <a:gd name="T33" fmla="*/ 138 h 144"/>
                <a:gd name="T34" fmla="*/ 110 w 196"/>
                <a:gd name="T35" fmla="*/ 140 h 144"/>
                <a:gd name="T36" fmla="*/ 102 w 196"/>
                <a:gd name="T37" fmla="*/ 135 h 144"/>
                <a:gd name="T38" fmla="*/ 94 w 196"/>
                <a:gd name="T39" fmla="*/ 138 h 144"/>
                <a:gd name="T40" fmla="*/ 83 w 196"/>
                <a:gd name="T41" fmla="*/ 144 h 144"/>
                <a:gd name="T42" fmla="*/ 77 w 196"/>
                <a:gd name="T43" fmla="*/ 144 h 144"/>
                <a:gd name="T44" fmla="*/ 64 w 196"/>
                <a:gd name="T45" fmla="*/ 141 h 144"/>
                <a:gd name="T46" fmla="*/ 48 w 196"/>
                <a:gd name="T47" fmla="*/ 131 h 144"/>
                <a:gd name="T48" fmla="*/ 37 w 196"/>
                <a:gd name="T49" fmla="*/ 131 h 144"/>
                <a:gd name="T50" fmla="*/ 37 w 196"/>
                <a:gd name="T51" fmla="*/ 120 h 144"/>
                <a:gd name="T52" fmla="*/ 28 w 196"/>
                <a:gd name="T53" fmla="*/ 117 h 144"/>
                <a:gd name="T54" fmla="*/ 22 w 196"/>
                <a:gd name="T55" fmla="*/ 103 h 144"/>
                <a:gd name="T56" fmla="*/ 15 w 196"/>
                <a:gd name="T57" fmla="*/ 98 h 144"/>
                <a:gd name="T58" fmla="*/ 11 w 196"/>
                <a:gd name="T59" fmla="*/ 91 h 144"/>
                <a:gd name="T60" fmla="*/ 0 w 196"/>
                <a:gd name="T61" fmla="*/ 88 h 144"/>
                <a:gd name="T62" fmla="*/ 3 w 196"/>
                <a:gd name="T63" fmla="*/ 80 h 144"/>
                <a:gd name="T64" fmla="*/ 11 w 196"/>
                <a:gd name="T65" fmla="*/ 80 h 144"/>
                <a:gd name="T66" fmla="*/ 15 w 196"/>
                <a:gd name="T67" fmla="*/ 77 h 144"/>
                <a:gd name="T68" fmla="*/ 16 w 196"/>
                <a:gd name="T69" fmla="*/ 52 h 144"/>
                <a:gd name="T70" fmla="*/ 25 w 196"/>
                <a:gd name="T71" fmla="*/ 46 h 144"/>
                <a:gd name="T72" fmla="*/ 27 w 196"/>
                <a:gd name="T73" fmla="*/ 37 h 144"/>
                <a:gd name="T74" fmla="*/ 42 w 196"/>
                <a:gd name="T75" fmla="*/ 20 h 144"/>
                <a:gd name="T76" fmla="*/ 46 w 196"/>
                <a:gd name="T77" fmla="*/ 6 h 144"/>
                <a:gd name="T78" fmla="*/ 59 w 196"/>
                <a:gd name="T79" fmla="*/ 5 h 144"/>
                <a:gd name="T80" fmla="*/ 62 w 196"/>
                <a:gd name="T81" fmla="*/ 9 h 144"/>
                <a:gd name="T82" fmla="*/ 68 w 196"/>
                <a:gd name="T8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6" h="144">
                  <a:moveTo>
                    <a:pt x="68" y="0"/>
                  </a:moveTo>
                  <a:lnTo>
                    <a:pt x="79" y="2"/>
                  </a:lnTo>
                  <a:lnTo>
                    <a:pt x="92" y="2"/>
                  </a:lnTo>
                  <a:lnTo>
                    <a:pt x="104" y="8"/>
                  </a:lnTo>
                  <a:lnTo>
                    <a:pt x="120" y="30"/>
                  </a:lnTo>
                  <a:lnTo>
                    <a:pt x="116" y="43"/>
                  </a:lnTo>
                  <a:lnTo>
                    <a:pt x="117" y="48"/>
                  </a:lnTo>
                  <a:lnTo>
                    <a:pt x="126" y="45"/>
                  </a:lnTo>
                  <a:lnTo>
                    <a:pt x="129" y="48"/>
                  </a:lnTo>
                  <a:lnTo>
                    <a:pt x="129" y="57"/>
                  </a:lnTo>
                  <a:lnTo>
                    <a:pt x="144" y="71"/>
                  </a:lnTo>
                  <a:lnTo>
                    <a:pt x="184" y="86"/>
                  </a:lnTo>
                  <a:lnTo>
                    <a:pt x="196" y="85"/>
                  </a:lnTo>
                  <a:lnTo>
                    <a:pt x="194" y="89"/>
                  </a:lnTo>
                  <a:lnTo>
                    <a:pt x="157" y="125"/>
                  </a:lnTo>
                  <a:lnTo>
                    <a:pt x="142" y="125"/>
                  </a:lnTo>
                  <a:lnTo>
                    <a:pt x="116" y="138"/>
                  </a:lnTo>
                  <a:lnTo>
                    <a:pt x="110" y="140"/>
                  </a:lnTo>
                  <a:lnTo>
                    <a:pt x="102" y="135"/>
                  </a:lnTo>
                  <a:lnTo>
                    <a:pt x="94" y="138"/>
                  </a:lnTo>
                  <a:lnTo>
                    <a:pt x="83" y="144"/>
                  </a:lnTo>
                  <a:lnTo>
                    <a:pt x="77" y="144"/>
                  </a:lnTo>
                  <a:lnTo>
                    <a:pt x="64" y="141"/>
                  </a:lnTo>
                  <a:lnTo>
                    <a:pt x="48" y="131"/>
                  </a:lnTo>
                  <a:lnTo>
                    <a:pt x="37" y="131"/>
                  </a:lnTo>
                  <a:lnTo>
                    <a:pt x="37" y="120"/>
                  </a:lnTo>
                  <a:lnTo>
                    <a:pt x="28" y="117"/>
                  </a:lnTo>
                  <a:lnTo>
                    <a:pt x="22" y="103"/>
                  </a:lnTo>
                  <a:lnTo>
                    <a:pt x="15" y="98"/>
                  </a:lnTo>
                  <a:lnTo>
                    <a:pt x="11" y="91"/>
                  </a:lnTo>
                  <a:lnTo>
                    <a:pt x="0" y="88"/>
                  </a:lnTo>
                  <a:lnTo>
                    <a:pt x="3" y="80"/>
                  </a:lnTo>
                  <a:lnTo>
                    <a:pt x="11" y="80"/>
                  </a:lnTo>
                  <a:lnTo>
                    <a:pt x="15" y="77"/>
                  </a:lnTo>
                  <a:lnTo>
                    <a:pt x="16" y="52"/>
                  </a:lnTo>
                  <a:lnTo>
                    <a:pt x="25" y="46"/>
                  </a:lnTo>
                  <a:lnTo>
                    <a:pt x="27" y="37"/>
                  </a:lnTo>
                  <a:lnTo>
                    <a:pt x="42" y="20"/>
                  </a:lnTo>
                  <a:lnTo>
                    <a:pt x="46" y="6"/>
                  </a:lnTo>
                  <a:lnTo>
                    <a:pt x="59" y="5"/>
                  </a:lnTo>
                  <a:lnTo>
                    <a:pt x="62" y="9"/>
                  </a:lnTo>
                  <a:lnTo>
                    <a:pt x="6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69" name="Egypt">
              <a:extLst>
                <a:ext uri="{FF2B5EF4-FFF2-40B4-BE49-F238E27FC236}">
                  <a16:creationId xmlns:a16="http://schemas.microsoft.com/office/drawing/2014/main" id="{29C39959-4CFD-D76F-390B-E31D692FDCDD}"/>
                </a:ext>
              </a:extLst>
            </p:cNvPr>
            <p:cNvSpPr>
              <a:spLocks/>
            </p:cNvSpPr>
            <p:nvPr/>
          </p:nvSpPr>
          <p:spPr bwMode="auto">
            <a:xfrm>
              <a:off x="6405911" y="3804949"/>
              <a:ext cx="267445" cy="262024"/>
            </a:xfrm>
            <a:custGeom>
              <a:avLst/>
              <a:gdLst>
                <a:gd name="T0" fmla="*/ 6 w 148"/>
                <a:gd name="T1" fmla="*/ 0 h 145"/>
                <a:gd name="T2" fmla="*/ 10 w 148"/>
                <a:gd name="T3" fmla="*/ 0 h 145"/>
                <a:gd name="T4" fmla="*/ 15 w 148"/>
                <a:gd name="T5" fmla="*/ 1 h 145"/>
                <a:gd name="T6" fmla="*/ 22 w 148"/>
                <a:gd name="T7" fmla="*/ 1 h 145"/>
                <a:gd name="T8" fmla="*/ 27 w 148"/>
                <a:gd name="T9" fmla="*/ 3 h 145"/>
                <a:gd name="T10" fmla="*/ 30 w 148"/>
                <a:gd name="T11" fmla="*/ 3 h 145"/>
                <a:gd name="T12" fmla="*/ 58 w 148"/>
                <a:gd name="T13" fmla="*/ 12 h 145"/>
                <a:gd name="T14" fmla="*/ 80 w 148"/>
                <a:gd name="T15" fmla="*/ 3 h 145"/>
                <a:gd name="T16" fmla="*/ 87 w 148"/>
                <a:gd name="T17" fmla="*/ 3 h 145"/>
                <a:gd name="T18" fmla="*/ 92 w 148"/>
                <a:gd name="T19" fmla="*/ 1 h 145"/>
                <a:gd name="T20" fmla="*/ 96 w 148"/>
                <a:gd name="T21" fmla="*/ 1 h 145"/>
                <a:gd name="T22" fmla="*/ 99 w 148"/>
                <a:gd name="T23" fmla="*/ 6 h 145"/>
                <a:gd name="T24" fmla="*/ 105 w 148"/>
                <a:gd name="T25" fmla="*/ 10 h 145"/>
                <a:gd name="T26" fmla="*/ 113 w 148"/>
                <a:gd name="T27" fmla="*/ 9 h 145"/>
                <a:gd name="T28" fmla="*/ 124 w 148"/>
                <a:gd name="T29" fmla="*/ 6 h 145"/>
                <a:gd name="T30" fmla="*/ 126 w 148"/>
                <a:gd name="T31" fmla="*/ 6 h 145"/>
                <a:gd name="T32" fmla="*/ 135 w 148"/>
                <a:gd name="T33" fmla="*/ 35 h 145"/>
                <a:gd name="T34" fmla="*/ 129 w 148"/>
                <a:gd name="T35" fmla="*/ 56 h 145"/>
                <a:gd name="T36" fmla="*/ 129 w 148"/>
                <a:gd name="T37" fmla="*/ 57 h 145"/>
                <a:gd name="T38" fmla="*/ 124 w 148"/>
                <a:gd name="T39" fmla="*/ 59 h 145"/>
                <a:gd name="T40" fmla="*/ 124 w 148"/>
                <a:gd name="T41" fmla="*/ 57 h 145"/>
                <a:gd name="T42" fmla="*/ 114 w 148"/>
                <a:gd name="T43" fmla="*/ 47 h 145"/>
                <a:gd name="T44" fmla="*/ 105 w 148"/>
                <a:gd name="T45" fmla="*/ 26 h 145"/>
                <a:gd name="T46" fmla="*/ 102 w 148"/>
                <a:gd name="T47" fmla="*/ 31 h 145"/>
                <a:gd name="T48" fmla="*/ 107 w 148"/>
                <a:gd name="T49" fmla="*/ 43 h 145"/>
                <a:gd name="T50" fmla="*/ 117 w 148"/>
                <a:gd name="T51" fmla="*/ 55 h 145"/>
                <a:gd name="T52" fmla="*/ 124 w 148"/>
                <a:gd name="T53" fmla="*/ 77 h 145"/>
                <a:gd name="T54" fmla="*/ 139 w 148"/>
                <a:gd name="T55" fmla="*/ 105 h 145"/>
                <a:gd name="T56" fmla="*/ 148 w 148"/>
                <a:gd name="T57" fmla="*/ 112 h 145"/>
                <a:gd name="T58" fmla="*/ 148 w 148"/>
                <a:gd name="T59" fmla="*/ 114 h 145"/>
                <a:gd name="T60" fmla="*/ 147 w 148"/>
                <a:gd name="T61" fmla="*/ 114 h 145"/>
                <a:gd name="T62" fmla="*/ 144 w 148"/>
                <a:gd name="T63" fmla="*/ 115 h 145"/>
                <a:gd name="T64" fmla="*/ 145 w 148"/>
                <a:gd name="T65" fmla="*/ 126 h 145"/>
                <a:gd name="T66" fmla="*/ 139 w 148"/>
                <a:gd name="T67" fmla="*/ 130 h 145"/>
                <a:gd name="T68" fmla="*/ 136 w 148"/>
                <a:gd name="T69" fmla="*/ 130 h 145"/>
                <a:gd name="T70" fmla="*/ 133 w 148"/>
                <a:gd name="T71" fmla="*/ 136 h 145"/>
                <a:gd name="T72" fmla="*/ 133 w 148"/>
                <a:gd name="T73" fmla="*/ 138 h 145"/>
                <a:gd name="T74" fmla="*/ 126 w 148"/>
                <a:gd name="T75" fmla="*/ 139 h 145"/>
                <a:gd name="T76" fmla="*/ 124 w 148"/>
                <a:gd name="T77" fmla="*/ 143 h 145"/>
                <a:gd name="T78" fmla="*/ 124 w 148"/>
                <a:gd name="T79" fmla="*/ 145 h 145"/>
                <a:gd name="T80" fmla="*/ 119 w 148"/>
                <a:gd name="T81" fmla="*/ 145 h 145"/>
                <a:gd name="T82" fmla="*/ 113 w 148"/>
                <a:gd name="T83" fmla="*/ 142 h 145"/>
                <a:gd name="T84" fmla="*/ 6 w 148"/>
                <a:gd name="T85" fmla="*/ 142 h 145"/>
                <a:gd name="T86" fmla="*/ 6 w 148"/>
                <a:gd name="T87" fmla="*/ 40 h 145"/>
                <a:gd name="T88" fmla="*/ 3 w 148"/>
                <a:gd name="T89" fmla="*/ 37 h 145"/>
                <a:gd name="T90" fmla="*/ 0 w 148"/>
                <a:gd name="T91" fmla="*/ 23 h 145"/>
                <a:gd name="T92" fmla="*/ 3 w 148"/>
                <a:gd name="T93" fmla="*/ 20 h 145"/>
                <a:gd name="T94" fmla="*/ 1 w 148"/>
                <a:gd name="T95" fmla="*/ 4 h 145"/>
                <a:gd name="T96" fmla="*/ 3 w 148"/>
                <a:gd name="T97" fmla="*/ 4 h 145"/>
                <a:gd name="T98" fmla="*/ 6 w 148"/>
                <a:gd name="T99"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8" h="145">
                  <a:moveTo>
                    <a:pt x="6" y="0"/>
                  </a:moveTo>
                  <a:lnTo>
                    <a:pt x="10" y="0"/>
                  </a:lnTo>
                  <a:lnTo>
                    <a:pt x="15" y="1"/>
                  </a:lnTo>
                  <a:lnTo>
                    <a:pt x="22" y="1"/>
                  </a:lnTo>
                  <a:lnTo>
                    <a:pt x="27" y="3"/>
                  </a:lnTo>
                  <a:lnTo>
                    <a:pt x="30" y="3"/>
                  </a:lnTo>
                  <a:lnTo>
                    <a:pt x="58" y="12"/>
                  </a:lnTo>
                  <a:lnTo>
                    <a:pt x="80" y="3"/>
                  </a:lnTo>
                  <a:lnTo>
                    <a:pt x="87" y="3"/>
                  </a:lnTo>
                  <a:lnTo>
                    <a:pt x="92" y="1"/>
                  </a:lnTo>
                  <a:lnTo>
                    <a:pt x="96" y="1"/>
                  </a:lnTo>
                  <a:lnTo>
                    <a:pt x="99" y="6"/>
                  </a:lnTo>
                  <a:lnTo>
                    <a:pt x="105" y="10"/>
                  </a:lnTo>
                  <a:lnTo>
                    <a:pt x="113" y="9"/>
                  </a:lnTo>
                  <a:lnTo>
                    <a:pt x="124" y="6"/>
                  </a:lnTo>
                  <a:lnTo>
                    <a:pt x="126" y="6"/>
                  </a:lnTo>
                  <a:lnTo>
                    <a:pt x="135" y="35"/>
                  </a:lnTo>
                  <a:lnTo>
                    <a:pt x="129" y="56"/>
                  </a:lnTo>
                  <a:lnTo>
                    <a:pt x="129" y="57"/>
                  </a:lnTo>
                  <a:lnTo>
                    <a:pt x="124" y="59"/>
                  </a:lnTo>
                  <a:lnTo>
                    <a:pt x="124" y="57"/>
                  </a:lnTo>
                  <a:lnTo>
                    <a:pt x="114" y="47"/>
                  </a:lnTo>
                  <a:lnTo>
                    <a:pt x="105" y="26"/>
                  </a:lnTo>
                  <a:lnTo>
                    <a:pt x="102" y="31"/>
                  </a:lnTo>
                  <a:lnTo>
                    <a:pt x="107" y="43"/>
                  </a:lnTo>
                  <a:lnTo>
                    <a:pt x="117" y="55"/>
                  </a:lnTo>
                  <a:lnTo>
                    <a:pt x="124" y="77"/>
                  </a:lnTo>
                  <a:lnTo>
                    <a:pt x="139" y="105"/>
                  </a:lnTo>
                  <a:lnTo>
                    <a:pt x="148" y="112"/>
                  </a:lnTo>
                  <a:lnTo>
                    <a:pt x="148" y="114"/>
                  </a:lnTo>
                  <a:lnTo>
                    <a:pt x="147" y="114"/>
                  </a:lnTo>
                  <a:lnTo>
                    <a:pt x="144" y="115"/>
                  </a:lnTo>
                  <a:lnTo>
                    <a:pt x="145" y="126"/>
                  </a:lnTo>
                  <a:lnTo>
                    <a:pt x="139" y="130"/>
                  </a:lnTo>
                  <a:lnTo>
                    <a:pt x="136" y="130"/>
                  </a:lnTo>
                  <a:lnTo>
                    <a:pt x="133" y="136"/>
                  </a:lnTo>
                  <a:lnTo>
                    <a:pt x="133" y="138"/>
                  </a:lnTo>
                  <a:lnTo>
                    <a:pt x="126" y="139"/>
                  </a:lnTo>
                  <a:lnTo>
                    <a:pt x="124" y="143"/>
                  </a:lnTo>
                  <a:lnTo>
                    <a:pt x="124" y="145"/>
                  </a:lnTo>
                  <a:lnTo>
                    <a:pt x="119" y="145"/>
                  </a:lnTo>
                  <a:lnTo>
                    <a:pt x="113" y="142"/>
                  </a:lnTo>
                  <a:lnTo>
                    <a:pt x="6" y="142"/>
                  </a:lnTo>
                  <a:lnTo>
                    <a:pt x="6" y="40"/>
                  </a:lnTo>
                  <a:lnTo>
                    <a:pt x="3" y="37"/>
                  </a:lnTo>
                  <a:lnTo>
                    <a:pt x="0" y="23"/>
                  </a:lnTo>
                  <a:lnTo>
                    <a:pt x="3" y="20"/>
                  </a:lnTo>
                  <a:lnTo>
                    <a:pt x="1" y="4"/>
                  </a:lnTo>
                  <a:lnTo>
                    <a:pt x="3" y="4"/>
                  </a:lnTo>
                  <a:lnTo>
                    <a:pt x="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0" name="Djibouti">
              <a:extLst>
                <a:ext uri="{FF2B5EF4-FFF2-40B4-BE49-F238E27FC236}">
                  <a16:creationId xmlns:a16="http://schemas.microsoft.com/office/drawing/2014/main" id="{68994018-91C6-E870-88FE-91538CD23A23}"/>
                </a:ext>
              </a:extLst>
            </p:cNvPr>
            <p:cNvSpPr>
              <a:spLocks/>
            </p:cNvSpPr>
            <p:nvPr/>
          </p:nvSpPr>
          <p:spPr bwMode="auto">
            <a:xfrm>
              <a:off x="6812499" y="4287435"/>
              <a:ext cx="41563" cy="45177"/>
            </a:xfrm>
            <a:custGeom>
              <a:avLst/>
              <a:gdLst>
                <a:gd name="T0" fmla="*/ 17 w 23"/>
                <a:gd name="T1" fmla="*/ 0 h 25"/>
                <a:gd name="T2" fmla="*/ 18 w 23"/>
                <a:gd name="T3" fmla="*/ 0 h 25"/>
                <a:gd name="T4" fmla="*/ 21 w 23"/>
                <a:gd name="T5" fmla="*/ 4 h 25"/>
                <a:gd name="T6" fmla="*/ 23 w 23"/>
                <a:gd name="T7" fmla="*/ 10 h 25"/>
                <a:gd name="T8" fmla="*/ 23 w 23"/>
                <a:gd name="T9" fmla="*/ 11 h 25"/>
                <a:gd name="T10" fmla="*/ 12 w 23"/>
                <a:gd name="T11" fmla="*/ 16 h 25"/>
                <a:gd name="T12" fmla="*/ 20 w 23"/>
                <a:gd name="T13" fmla="*/ 16 h 25"/>
                <a:gd name="T14" fmla="*/ 20 w 23"/>
                <a:gd name="T15" fmla="*/ 17 h 25"/>
                <a:gd name="T16" fmla="*/ 17 w 23"/>
                <a:gd name="T17" fmla="*/ 25 h 25"/>
                <a:gd name="T18" fmla="*/ 15 w 23"/>
                <a:gd name="T19" fmla="*/ 25 h 25"/>
                <a:gd name="T20" fmla="*/ 12 w 23"/>
                <a:gd name="T21" fmla="*/ 23 h 25"/>
                <a:gd name="T22" fmla="*/ 3 w 23"/>
                <a:gd name="T23" fmla="*/ 25 h 25"/>
                <a:gd name="T24" fmla="*/ 2 w 23"/>
                <a:gd name="T25" fmla="*/ 25 h 25"/>
                <a:gd name="T26" fmla="*/ 0 w 23"/>
                <a:gd name="T27" fmla="*/ 20 h 25"/>
                <a:gd name="T28" fmla="*/ 6 w 23"/>
                <a:gd name="T29" fmla="*/ 7 h 25"/>
                <a:gd name="T30" fmla="*/ 17 w 23"/>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5">
                  <a:moveTo>
                    <a:pt x="17" y="0"/>
                  </a:moveTo>
                  <a:lnTo>
                    <a:pt x="18" y="0"/>
                  </a:lnTo>
                  <a:lnTo>
                    <a:pt x="21" y="4"/>
                  </a:lnTo>
                  <a:lnTo>
                    <a:pt x="23" y="10"/>
                  </a:lnTo>
                  <a:lnTo>
                    <a:pt x="23" y="11"/>
                  </a:lnTo>
                  <a:lnTo>
                    <a:pt x="12" y="16"/>
                  </a:lnTo>
                  <a:lnTo>
                    <a:pt x="20" y="16"/>
                  </a:lnTo>
                  <a:lnTo>
                    <a:pt x="20" y="17"/>
                  </a:lnTo>
                  <a:lnTo>
                    <a:pt x="17" y="25"/>
                  </a:lnTo>
                  <a:lnTo>
                    <a:pt x="15" y="25"/>
                  </a:lnTo>
                  <a:lnTo>
                    <a:pt x="12" y="23"/>
                  </a:lnTo>
                  <a:lnTo>
                    <a:pt x="3" y="25"/>
                  </a:lnTo>
                  <a:lnTo>
                    <a:pt x="2" y="25"/>
                  </a:lnTo>
                  <a:lnTo>
                    <a:pt x="0" y="20"/>
                  </a:lnTo>
                  <a:lnTo>
                    <a:pt x="6" y="7"/>
                  </a:lnTo>
                  <a:lnTo>
                    <a:pt x="1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1" name="Democratic Republic of the Congo">
              <a:extLst>
                <a:ext uri="{FF2B5EF4-FFF2-40B4-BE49-F238E27FC236}">
                  <a16:creationId xmlns:a16="http://schemas.microsoft.com/office/drawing/2014/main" id="{8016A48D-D2AA-8298-F983-162C399F794C}"/>
                </a:ext>
              </a:extLst>
            </p:cNvPr>
            <p:cNvSpPr>
              <a:spLocks/>
            </p:cNvSpPr>
            <p:nvPr/>
          </p:nvSpPr>
          <p:spPr bwMode="auto">
            <a:xfrm>
              <a:off x="6116782" y="4462720"/>
              <a:ext cx="449959" cy="442731"/>
            </a:xfrm>
            <a:custGeom>
              <a:avLst/>
              <a:gdLst>
                <a:gd name="T0" fmla="*/ 184 w 249"/>
                <a:gd name="T1" fmla="*/ 0 h 245"/>
                <a:gd name="T2" fmla="*/ 188 w 249"/>
                <a:gd name="T3" fmla="*/ 2 h 245"/>
                <a:gd name="T4" fmla="*/ 191 w 249"/>
                <a:gd name="T5" fmla="*/ 3 h 245"/>
                <a:gd name="T6" fmla="*/ 200 w 249"/>
                <a:gd name="T7" fmla="*/ 2 h 245"/>
                <a:gd name="T8" fmla="*/ 212 w 249"/>
                <a:gd name="T9" fmla="*/ 12 h 245"/>
                <a:gd name="T10" fmla="*/ 224 w 249"/>
                <a:gd name="T11" fmla="*/ 11 h 245"/>
                <a:gd name="T12" fmla="*/ 228 w 249"/>
                <a:gd name="T13" fmla="*/ 9 h 245"/>
                <a:gd name="T14" fmla="*/ 243 w 249"/>
                <a:gd name="T15" fmla="*/ 34 h 245"/>
                <a:gd name="T16" fmla="*/ 249 w 249"/>
                <a:gd name="T17" fmla="*/ 42 h 245"/>
                <a:gd name="T18" fmla="*/ 240 w 249"/>
                <a:gd name="T19" fmla="*/ 54 h 245"/>
                <a:gd name="T20" fmla="*/ 230 w 249"/>
                <a:gd name="T21" fmla="*/ 86 h 245"/>
                <a:gd name="T22" fmla="*/ 222 w 249"/>
                <a:gd name="T23" fmla="*/ 104 h 245"/>
                <a:gd name="T24" fmla="*/ 222 w 249"/>
                <a:gd name="T25" fmla="*/ 137 h 245"/>
                <a:gd name="T26" fmla="*/ 224 w 249"/>
                <a:gd name="T27" fmla="*/ 153 h 245"/>
                <a:gd name="T28" fmla="*/ 237 w 249"/>
                <a:gd name="T29" fmla="*/ 168 h 245"/>
                <a:gd name="T30" fmla="*/ 240 w 249"/>
                <a:gd name="T31" fmla="*/ 177 h 245"/>
                <a:gd name="T32" fmla="*/ 222 w 249"/>
                <a:gd name="T33" fmla="*/ 180 h 245"/>
                <a:gd name="T34" fmla="*/ 218 w 249"/>
                <a:gd name="T35" fmla="*/ 205 h 245"/>
                <a:gd name="T36" fmla="*/ 219 w 249"/>
                <a:gd name="T37" fmla="*/ 229 h 245"/>
                <a:gd name="T38" fmla="*/ 230 w 249"/>
                <a:gd name="T39" fmla="*/ 244 h 245"/>
                <a:gd name="T40" fmla="*/ 228 w 249"/>
                <a:gd name="T41" fmla="*/ 245 h 245"/>
                <a:gd name="T42" fmla="*/ 206 w 249"/>
                <a:gd name="T43" fmla="*/ 230 h 245"/>
                <a:gd name="T44" fmla="*/ 193 w 249"/>
                <a:gd name="T45" fmla="*/ 224 h 245"/>
                <a:gd name="T46" fmla="*/ 172 w 249"/>
                <a:gd name="T47" fmla="*/ 220 h 245"/>
                <a:gd name="T48" fmla="*/ 160 w 249"/>
                <a:gd name="T49" fmla="*/ 218 h 245"/>
                <a:gd name="T50" fmla="*/ 154 w 249"/>
                <a:gd name="T51" fmla="*/ 212 h 245"/>
                <a:gd name="T52" fmla="*/ 130 w 249"/>
                <a:gd name="T53" fmla="*/ 218 h 245"/>
                <a:gd name="T54" fmla="*/ 126 w 249"/>
                <a:gd name="T55" fmla="*/ 214 h 245"/>
                <a:gd name="T56" fmla="*/ 124 w 249"/>
                <a:gd name="T57" fmla="*/ 193 h 245"/>
                <a:gd name="T58" fmla="*/ 121 w 249"/>
                <a:gd name="T59" fmla="*/ 165 h 245"/>
                <a:gd name="T60" fmla="*/ 110 w 249"/>
                <a:gd name="T61" fmla="*/ 160 h 245"/>
                <a:gd name="T62" fmla="*/ 92 w 249"/>
                <a:gd name="T63" fmla="*/ 174 h 245"/>
                <a:gd name="T64" fmla="*/ 83 w 249"/>
                <a:gd name="T65" fmla="*/ 175 h 245"/>
                <a:gd name="T66" fmla="*/ 75 w 249"/>
                <a:gd name="T67" fmla="*/ 177 h 245"/>
                <a:gd name="T68" fmla="*/ 61 w 249"/>
                <a:gd name="T69" fmla="*/ 165 h 245"/>
                <a:gd name="T70" fmla="*/ 52 w 249"/>
                <a:gd name="T71" fmla="*/ 146 h 245"/>
                <a:gd name="T72" fmla="*/ 1 w 249"/>
                <a:gd name="T73" fmla="*/ 152 h 245"/>
                <a:gd name="T74" fmla="*/ 0 w 249"/>
                <a:gd name="T75" fmla="*/ 146 h 245"/>
                <a:gd name="T76" fmla="*/ 3 w 249"/>
                <a:gd name="T77" fmla="*/ 135 h 245"/>
                <a:gd name="T78" fmla="*/ 9 w 249"/>
                <a:gd name="T79" fmla="*/ 129 h 245"/>
                <a:gd name="T80" fmla="*/ 19 w 249"/>
                <a:gd name="T81" fmla="*/ 128 h 245"/>
                <a:gd name="T82" fmla="*/ 27 w 249"/>
                <a:gd name="T83" fmla="*/ 126 h 245"/>
                <a:gd name="T84" fmla="*/ 30 w 249"/>
                <a:gd name="T85" fmla="*/ 132 h 245"/>
                <a:gd name="T86" fmla="*/ 50 w 249"/>
                <a:gd name="T87" fmla="*/ 112 h 245"/>
                <a:gd name="T88" fmla="*/ 58 w 249"/>
                <a:gd name="T89" fmla="*/ 88 h 245"/>
                <a:gd name="T90" fmla="*/ 74 w 249"/>
                <a:gd name="T91" fmla="*/ 43 h 245"/>
                <a:gd name="T92" fmla="*/ 83 w 249"/>
                <a:gd name="T93" fmla="*/ 23 h 245"/>
                <a:gd name="T94" fmla="*/ 86 w 249"/>
                <a:gd name="T95" fmla="*/ 20 h 245"/>
                <a:gd name="T96" fmla="*/ 93 w 249"/>
                <a:gd name="T97" fmla="*/ 2 h 245"/>
                <a:gd name="T98" fmla="*/ 110 w 249"/>
                <a:gd name="T99" fmla="*/ 9 h 245"/>
                <a:gd name="T100" fmla="*/ 121 w 249"/>
                <a:gd name="T101" fmla="*/ 12 h 245"/>
                <a:gd name="T102" fmla="*/ 138 w 249"/>
                <a:gd name="T103" fmla="*/ 6 h 245"/>
                <a:gd name="T104" fmla="*/ 145 w 249"/>
                <a:gd name="T105" fmla="*/ 8 h 245"/>
                <a:gd name="T106" fmla="*/ 164 w 249"/>
                <a:gd name="T107" fmla="*/ 5 h 245"/>
                <a:gd name="T108" fmla="*/ 169 w 249"/>
                <a:gd name="T109" fmla="*/ 2 h 245"/>
                <a:gd name="T110" fmla="*/ 179 w 249"/>
                <a:gd name="T11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9" h="245">
                  <a:moveTo>
                    <a:pt x="179" y="0"/>
                  </a:moveTo>
                  <a:lnTo>
                    <a:pt x="184" y="0"/>
                  </a:lnTo>
                  <a:lnTo>
                    <a:pt x="187" y="3"/>
                  </a:lnTo>
                  <a:lnTo>
                    <a:pt x="188" y="2"/>
                  </a:lnTo>
                  <a:lnTo>
                    <a:pt x="190" y="2"/>
                  </a:lnTo>
                  <a:lnTo>
                    <a:pt x="191" y="3"/>
                  </a:lnTo>
                  <a:lnTo>
                    <a:pt x="193" y="2"/>
                  </a:lnTo>
                  <a:lnTo>
                    <a:pt x="200" y="2"/>
                  </a:lnTo>
                  <a:lnTo>
                    <a:pt x="207" y="11"/>
                  </a:lnTo>
                  <a:lnTo>
                    <a:pt x="212" y="12"/>
                  </a:lnTo>
                  <a:lnTo>
                    <a:pt x="215" y="11"/>
                  </a:lnTo>
                  <a:lnTo>
                    <a:pt x="224" y="11"/>
                  </a:lnTo>
                  <a:lnTo>
                    <a:pt x="227" y="9"/>
                  </a:lnTo>
                  <a:lnTo>
                    <a:pt x="228" y="9"/>
                  </a:lnTo>
                  <a:lnTo>
                    <a:pt x="244" y="23"/>
                  </a:lnTo>
                  <a:lnTo>
                    <a:pt x="243" y="34"/>
                  </a:lnTo>
                  <a:lnTo>
                    <a:pt x="249" y="40"/>
                  </a:lnTo>
                  <a:lnTo>
                    <a:pt x="249" y="42"/>
                  </a:lnTo>
                  <a:lnTo>
                    <a:pt x="240" y="51"/>
                  </a:lnTo>
                  <a:lnTo>
                    <a:pt x="240" y="54"/>
                  </a:lnTo>
                  <a:lnTo>
                    <a:pt x="231" y="64"/>
                  </a:lnTo>
                  <a:lnTo>
                    <a:pt x="230" y="86"/>
                  </a:lnTo>
                  <a:lnTo>
                    <a:pt x="219" y="100"/>
                  </a:lnTo>
                  <a:lnTo>
                    <a:pt x="222" y="104"/>
                  </a:lnTo>
                  <a:lnTo>
                    <a:pt x="224" y="113"/>
                  </a:lnTo>
                  <a:lnTo>
                    <a:pt x="222" y="137"/>
                  </a:lnTo>
                  <a:lnTo>
                    <a:pt x="224" y="143"/>
                  </a:lnTo>
                  <a:lnTo>
                    <a:pt x="224" y="153"/>
                  </a:lnTo>
                  <a:lnTo>
                    <a:pt x="230" y="160"/>
                  </a:lnTo>
                  <a:lnTo>
                    <a:pt x="237" y="168"/>
                  </a:lnTo>
                  <a:lnTo>
                    <a:pt x="240" y="175"/>
                  </a:lnTo>
                  <a:lnTo>
                    <a:pt x="240" y="177"/>
                  </a:lnTo>
                  <a:lnTo>
                    <a:pt x="239" y="177"/>
                  </a:lnTo>
                  <a:lnTo>
                    <a:pt x="222" y="180"/>
                  </a:lnTo>
                  <a:lnTo>
                    <a:pt x="216" y="189"/>
                  </a:lnTo>
                  <a:lnTo>
                    <a:pt x="218" y="205"/>
                  </a:lnTo>
                  <a:lnTo>
                    <a:pt x="213" y="223"/>
                  </a:lnTo>
                  <a:lnTo>
                    <a:pt x="219" y="229"/>
                  </a:lnTo>
                  <a:lnTo>
                    <a:pt x="228" y="229"/>
                  </a:lnTo>
                  <a:lnTo>
                    <a:pt x="230" y="244"/>
                  </a:lnTo>
                  <a:lnTo>
                    <a:pt x="230" y="245"/>
                  </a:lnTo>
                  <a:lnTo>
                    <a:pt x="228" y="245"/>
                  </a:lnTo>
                  <a:lnTo>
                    <a:pt x="216" y="242"/>
                  </a:lnTo>
                  <a:lnTo>
                    <a:pt x="206" y="230"/>
                  </a:lnTo>
                  <a:lnTo>
                    <a:pt x="199" y="229"/>
                  </a:lnTo>
                  <a:lnTo>
                    <a:pt x="193" y="224"/>
                  </a:lnTo>
                  <a:lnTo>
                    <a:pt x="182" y="226"/>
                  </a:lnTo>
                  <a:lnTo>
                    <a:pt x="172" y="220"/>
                  </a:lnTo>
                  <a:lnTo>
                    <a:pt x="169" y="215"/>
                  </a:lnTo>
                  <a:lnTo>
                    <a:pt x="160" y="218"/>
                  </a:lnTo>
                  <a:lnTo>
                    <a:pt x="157" y="211"/>
                  </a:lnTo>
                  <a:lnTo>
                    <a:pt x="154" y="212"/>
                  </a:lnTo>
                  <a:lnTo>
                    <a:pt x="135" y="214"/>
                  </a:lnTo>
                  <a:lnTo>
                    <a:pt x="130" y="218"/>
                  </a:lnTo>
                  <a:lnTo>
                    <a:pt x="126" y="215"/>
                  </a:lnTo>
                  <a:lnTo>
                    <a:pt x="126" y="214"/>
                  </a:lnTo>
                  <a:lnTo>
                    <a:pt x="129" y="208"/>
                  </a:lnTo>
                  <a:lnTo>
                    <a:pt x="124" y="193"/>
                  </a:lnTo>
                  <a:lnTo>
                    <a:pt x="123" y="168"/>
                  </a:lnTo>
                  <a:lnTo>
                    <a:pt x="121" y="165"/>
                  </a:lnTo>
                  <a:lnTo>
                    <a:pt x="110" y="165"/>
                  </a:lnTo>
                  <a:lnTo>
                    <a:pt x="110" y="160"/>
                  </a:lnTo>
                  <a:lnTo>
                    <a:pt x="96" y="162"/>
                  </a:lnTo>
                  <a:lnTo>
                    <a:pt x="92" y="174"/>
                  </a:lnTo>
                  <a:lnTo>
                    <a:pt x="87" y="174"/>
                  </a:lnTo>
                  <a:lnTo>
                    <a:pt x="83" y="175"/>
                  </a:lnTo>
                  <a:lnTo>
                    <a:pt x="80" y="175"/>
                  </a:lnTo>
                  <a:lnTo>
                    <a:pt x="75" y="177"/>
                  </a:lnTo>
                  <a:lnTo>
                    <a:pt x="71" y="177"/>
                  </a:lnTo>
                  <a:lnTo>
                    <a:pt x="61" y="165"/>
                  </a:lnTo>
                  <a:lnTo>
                    <a:pt x="56" y="150"/>
                  </a:lnTo>
                  <a:lnTo>
                    <a:pt x="52" y="146"/>
                  </a:lnTo>
                  <a:lnTo>
                    <a:pt x="13" y="147"/>
                  </a:lnTo>
                  <a:lnTo>
                    <a:pt x="1" y="152"/>
                  </a:lnTo>
                  <a:lnTo>
                    <a:pt x="0" y="152"/>
                  </a:lnTo>
                  <a:lnTo>
                    <a:pt x="0" y="146"/>
                  </a:lnTo>
                  <a:lnTo>
                    <a:pt x="1" y="144"/>
                  </a:lnTo>
                  <a:lnTo>
                    <a:pt x="3" y="135"/>
                  </a:lnTo>
                  <a:lnTo>
                    <a:pt x="3" y="134"/>
                  </a:lnTo>
                  <a:lnTo>
                    <a:pt x="9" y="129"/>
                  </a:lnTo>
                  <a:lnTo>
                    <a:pt x="16" y="131"/>
                  </a:lnTo>
                  <a:lnTo>
                    <a:pt x="19" y="128"/>
                  </a:lnTo>
                  <a:lnTo>
                    <a:pt x="27" y="125"/>
                  </a:lnTo>
                  <a:lnTo>
                    <a:pt x="27" y="126"/>
                  </a:lnTo>
                  <a:lnTo>
                    <a:pt x="28" y="131"/>
                  </a:lnTo>
                  <a:lnTo>
                    <a:pt x="30" y="132"/>
                  </a:lnTo>
                  <a:lnTo>
                    <a:pt x="46" y="119"/>
                  </a:lnTo>
                  <a:lnTo>
                    <a:pt x="50" y="112"/>
                  </a:lnTo>
                  <a:lnTo>
                    <a:pt x="53" y="97"/>
                  </a:lnTo>
                  <a:lnTo>
                    <a:pt x="58" y="88"/>
                  </a:lnTo>
                  <a:lnTo>
                    <a:pt x="70" y="79"/>
                  </a:lnTo>
                  <a:lnTo>
                    <a:pt x="74" y="43"/>
                  </a:lnTo>
                  <a:lnTo>
                    <a:pt x="81" y="30"/>
                  </a:lnTo>
                  <a:lnTo>
                    <a:pt x="83" y="23"/>
                  </a:lnTo>
                  <a:lnTo>
                    <a:pt x="83" y="21"/>
                  </a:lnTo>
                  <a:lnTo>
                    <a:pt x="86" y="20"/>
                  </a:lnTo>
                  <a:lnTo>
                    <a:pt x="86" y="11"/>
                  </a:lnTo>
                  <a:lnTo>
                    <a:pt x="93" y="2"/>
                  </a:lnTo>
                  <a:lnTo>
                    <a:pt x="102" y="2"/>
                  </a:lnTo>
                  <a:lnTo>
                    <a:pt x="110" y="9"/>
                  </a:lnTo>
                  <a:lnTo>
                    <a:pt x="113" y="9"/>
                  </a:lnTo>
                  <a:lnTo>
                    <a:pt x="121" y="12"/>
                  </a:lnTo>
                  <a:lnTo>
                    <a:pt x="133" y="12"/>
                  </a:lnTo>
                  <a:lnTo>
                    <a:pt x="138" y="6"/>
                  </a:lnTo>
                  <a:lnTo>
                    <a:pt x="139" y="6"/>
                  </a:lnTo>
                  <a:lnTo>
                    <a:pt x="145" y="8"/>
                  </a:lnTo>
                  <a:lnTo>
                    <a:pt x="161" y="3"/>
                  </a:lnTo>
                  <a:lnTo>
                    <a:pt x="164" y="5"/>
                  </a:lnTo>
                  <a:lnTo>
                    <a:pt x="169" y="3"/>
                  </a:lnTo>
                  <a:lnTo>
                    <a:pt x="169" y="2"/>
                  </a:lnTo>
                  <a:lnTo>
                    <a:pt x="176" y="2"/>
                  </a:lnTo>
                  <a:lnTo>
                    <a:pt x="17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2" name="Cote d'Ivoire">
              <a:extLst>
                <a:ext uri="{FF2B5EF4-FFF2-40B4-BE49-F238E27FC236}">
                  <a16:creationId xmlns:a16="http://schemas.microsoft.com/office/drawing/2014/main" id="{6BC4A2D4-3F66-081B-4543-21C698D07A1D}"/>
                </a:ext>
              </a:extLst>
            </p:cNvPr>
            <p:cNvSpPr>
              <a:spLocks/>
            </p:cNvSpPr>
            <p:nvPr/>
          </p:nvSpPr>
          <p:spPr bwMode="auto">
            <a:xfrm>
              <a:off x="5623454" y="4334418"/>
              <a:ext cx="148179" cy="153601"/>
            </a:xfrm>
            <a:custGeom>
              <a:avLst/>
              <a:gdLst>
                <a:gd name="T0" fmla="*/ 31 w 82"/>
                <a:gd name="T1" fmla="*/ 0 h 85"/>
                <a:gd name="T2" fmla="*/ 33 w 82"/>
                <a:gd name="T3" fmla="*/ 6 h 85"/>
                <a:gd name="T4" fmla="*/ 37 w 82"/>
                <a:gd name="T5" fmla="*/ 3 h 85"/>
                <a:gd name="T6" fmla="*/ 45 w 82"/>
                <a:gd name="T7" fmla="*/ 5 h 85"/>
                <a:gd name="T8" fmla="*/ 46 w 82"/>
                <a:gd name="T9" fmla="*/ 5 h 85"/>
                <a:gd name="T10" fmla="*/ 52 w 82"/>
                <a:gd name="T11" fmla="*/ 14 h 85"/>
                <a:gd name="T12" fmla="*/ 56 w 82"/>
                <a:gd name="T13" fmla="*/ 14 h 85"/>
                <a:gd name="T14" fmla="*/ 65 w 82"/>
                <a:gd name="T15" fmla="*/ 9 h 85"/>
                <a:gd name="T16" fmla="*/ 71 w 82"/>
                <a:gd name="T17" fmla="*/ 11 h 85"/>
                <a:gd name="T18" fmla="*/ 73 w 82"/>
                <a:gd name="T19" fmla="*/ 11 h 85"/>
                <a:gd name="T20" fmla="*/ 76 w 82"/>
                <a:gd name="T21" fmla="*/ 17 h 85"/>
                <a:gd name="T22" fmla="*/ 79 w 82"/>
                <a:gd name="T23" fmla="*/ 17 h 85"/>
                <a:gd name="T24" fmla="*/ 79 w 82"/>
                <a:gd name="T25" fmla="*/ 21 h 85"/>
                <a:gd name="T26" fmla="*/ 82 w 82"/>
                <a:gd name="T27" fmla="*/ 33 h 85"/>
                <a:gd name="T28" fmla="*/ 82 w 82"/>
                <a:gd name="T29" fmla="*/ 34 h 85"/>
                <a:gd name="T30" fmla="*/ 79 w 82"/>
                <a:gd name="T31" fmla="*/ 37 h 85"/>
                <a:gd name="T32" fmla="*/ 73 w 82"/>
                <a:gd name="T33" fmla="*/ 55 h 85"/>
                <a:gd name="T34" fmla="*/ 74 w 82"/>
                <a:gd name="T35" fmla="*/ 65 h 85"/>
                <a:gd name="T36" fmla="*/ 79 w 82"/>
                <a:gd name="T37" fmla="*/ 67 h 85"/>
                <a:gd name="T38" fmla="*/ 79 w 82"/>
                <a:gd name="T39" fmla="*/ 74 h 85"/>
                <a:gd name="T40" fmla="*/ 73 w 82"/>
                <a:gd name="T41" fmla="*/ 76 h 85"/>
                <a:gd name="T42" fmla="*/ 51 w 82"/>
                <a:gd name="T43" fmla="*/ 74 h 85"/>
                <a:gd name="T44" fmla="*/ 33 w 82"/>
                <a:gd name="T45" fmla="*/ 79 h 85"/>
                <a:gd name="T46" fmla="*/ 19 w 82"/>
                <a:gd name="T47" fmla="*/ 85 h 85"/>
                <a:gd name="T48" fmla="*/ 13 w 82"/>
                <a:gd name="T49" fmla="*/ 85 h 85"/>
                <a:gd name="T50" fmla="*/ 13 w 82"/>
                <a:gd name="T51" fmla="*/ 83 h 85"/>
                <a:gd name="T52" fmla="*/ 15 w 82"/>
                <a:gd name="T53" fmla="*/ 65 h 85"/>
                <a:gd name="T54" fmla="*/ 12 w 82"/>
                <a:gd name="T55" fmla="*/ 64 h 85"/>
                <a:gd name="T56" fmla="*/ 9 w 82"/>
                <a:gd name="T57" fmla="*/ 60 h 85"/>
                <a:gd name="T58" fmla="*/ 2 w 82"/>
                <a:gd name="T59" fmla="*/ 58 h 85"/>
                <a:gd name="T60" fmla="*/ 0 w 82"/>
                <a:gd name="T61" fmla="*/ 57 h 85"/>
                <a:gd name="T62" fmla="*/ 5 w 82"/>
                <a:gd name="T63" fmla="*/ 48 h 85"/>
                <a:gd name="T64" fmla="*/ 2 w 82"/>
                <a:gd name="T65" fmla="*/ 42 h 85"/>
                <a:gd name="T66" fmla="*/ 6 w 82"/>
                <a:gd name="T67" fmla="*/ 42 h 85"/>
                <a:gd name="T68" fmla="*/ 8 w 82"/>
                <a:gd name="T69" fmla="*/ 36 h 85"/>
                <a:gd name="T70" fmla="*/ 5 w 82"/>
                <a:gd name="T71" fmla="*/ 34 h 85"/>
                <a:gd name="T72" fmla="*/ 5 w 82"/>
                <a:gd name="T73" fmla="*/ 30 h 85"/>
                <a:gd name="T74" fmla="*/ 8 w 82"/>
                <a:gd name="T75" fmla="*/ 30 h 85"/>
                <a:gd name="T76" fmla="*/ 9 w 82"/>
                <a:gd name="T77" fmla="*/ 31 h 85"/>
                <a:gd name="T78" fmla="*/ 12 w 82"/>
                <a:gd name="T79" fmla="*/ 31 h 85"/>
                <a:gd name="T80" fmla="*/ 11 w 82"/>
                <a:gd name="T81" fmla="*/ 27 h 85"/>
                <a:gd name="T82" fmla="*/ 9 w 82"/>
                <a:gd name="T83" fmla="*/ 27 h 85"/>
                <a:gd name="T84" fmla="*/ 11 w 82"/>
                <a:gd name="T85" fmla="*/ 24 h 85"/>
                <a:gd name="T86" fmla="*/ 11 w 82"/>
                <a:gd name="T87" fmla="*/ 19 h 85"/>
                <a:gd name="T88" fmla="*/ 6 w 82"/>
                <a:gd name="T89" fmla="*/ 18 h 85"/>
                <a:gd name="T90" fmla="*/ 6 w 82"/>
                <a:gd name="T91" fmla="*/ 11 h 85"/>
                <a:gd name="T92" fmla="*/ 8 w 82"/>
                <a:gd name="T93" fmla="*/ 8 h 85"/>
                <a:gd name="T94" fmla="*/ 15 w 82"/>
                <a:gd name="T95" fmla="*/ 3 h 85"/>
                <a:gd name="T96" fmla="*/ 21 w 82"/>
                <a:gd name="T97" fmla="*/ 6 h 85"/>
                <a:gd name="T98" fmla="*/ 25 w 82"/>
                <a:gd name="T99" fmla="*/ 5 h 85"/>
                <a:gd name="T100" fmla="*/ 25 w 82"/>
                <a:gd name="T101" fmla="*/ 2 h 85"/>
                <a:gd name="T102" fmla="*/ 31 w 82"/>
                <a:gd name="T10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85">
                  <a:moveTo>
                    <a:pt x="31" y="0"/>
                  </a:moveTo>
                  <a:lnTo>
                    <a:pt x="33" y="6"/>
                  </a:lnTo>
                  <a:lnTo>
                    <a:pt x="37" y="3"/>
                  </a:lnTo>
                  <a:lnTo>
                    <a:pt x="45" y="5"/>
                  </a:lnTo>
                  <a:lnTo>
                    <a:pt x="46" y="5"/>
                  </a:lnTo>
                  <a:lnTo>
                    <a:pt x="52" y="14"/>
                  </a:lnTo>
                  <a:lnTo>
                    <a:pt x="56" y="14"/>
                  </a:lnTo>
                  <a:lnTo>
                    <a:pt x="65" y="9"/>
                  </a:lnTo>
                  <a:lnTo>
                    <a:pt x="71" y="11"/>
                  </a:lnTo>
                  <a:lnTo>
                    <a:pt x="73" y="11"/>
                  </a:lnTo>
                  <a:lnTo>
                    <a:pt x="76" y="17"/>
                  </a:lnTo>
                  <a:lnTo>
                    <a:pt x="79" y="17"/>
                  </a:lnTo>
                  <a:lnTo>
                    <a:pt x="79" y="21"/>
                  </a:lnTo>
                  <a:lnTo>
                    <a:pt x="82" y="33"/>
                  </a:lnTo>
                  <a:lnTo>
                    <a:pt x="82" y="34"/>
                  </a:lnTo>
                  <a:lnTo>
                    <a:pt x="79" y="37"/>
                  </a:lnTo>
                  <a:lnTo>
                    <a:pt x="73" y="55"/>
                  </a:lnTo>
                  <a:lnTo>
                    <a:pt x="74" y="65"/>
                  </a:lnTo>
                  <a:lnTo>
                    <a:pt x="79" y="67"/>
                  </a:lnTo>
                  <a:lnTo>
                    <a:pt x="79" y="74"/>
                  </a:lnTo>
                  <a:lnTo>
                    <a:pt x="73" y="76"/>
                  </a:lnTo>
                  <a:lnTo>
                    <a:pt x="51" y="74"/>
                  </a:lnTo>
                  <a:lnTo>
                    <a:pt x="33" y="79"/>
                  </a:lnTo>
                  <a:lnTo>
                    <a:pt x="19" y="85"/>
                  </a:lnTo>
                  <a:lnTo>
                    <a:pt x="13" y="85"/>
                  </a:lnTo>
                  <a:lnTo>
                    <a:pt x="13" y="83"/>
                  </a:lnTo>
                  <a:lnTo>
                    <a:pt x="15" y="65"/>
                  </a:lnTo>
                  <a:lnTo>
                    <a:pt x="12" y="64"/>
                  </a:lnTo>
                  <a:lnTo>
                    <a:pt x="9" y="60"/>
                  </a:lnTo>
                  <a:lnTo>
                    <a:pt x="2" y="58"/>
                  </a:lnTo>
                  <a:lnTo>
                    <a:pt x="0" y="57"/>
                  </a:lnTo>
                  <a:lnTo>
                    <a:pt x="5" y="48"/>
                  </a:lnTo>
                  <a:lnTo>
                    <a:pt x="2" y="42"/>
                  </a:lnTo>
                  <a:lnTo>
                    <a:pt x="6" y="42"/>
                  </a:lnTo>
                  <a:lnTo>
                    <a:pt x="8" y="36"/>
                  </a:lnTo>
                  <a:lnTo>
                    <a:pt x="5" y="34"/>
                  </a:lnTo>
                  <a:lnTo>
                    <a:pt x="5" y="30"/>
                  </a:lnTo>
                  <a:lnTo>
                    <a:pt x="8" y="30"/>
                  </a:lnTo>
                  <a:lnTo>
                    <a:pt x="9" y="31"/>
                  </a:lnTo>
                  <a:lnTo>
                    <a:pt x="12" y="31"/>
                  </a:lnTo>
                  <a:lnTo>
                    <a:pt x="11" y="27"/>
                  </a:lnTo>
                  <a:lnTo>
                    <a:pt x="9" y="27"/>
                  </a:lnTo>
                  <a:lnTo>
                    <a:pt x="11" y="24"/>
                  </a:lnTo>
                  <a:lnTo>
                    <a:pt x="11" y="19"/>
                  </a:lnTo>
                  <a:lnTo>
                    <a:pt x="6" y="18"/>
                  </a:lnTo>
                  <a:lnTo>
                    <a:pt x="6" y="11"/>
                  </a:lnTo>
                  <a:lnTo>
                    <a:pt x="8" y="8"/>
                  </a:lnTo>
                  <a:lnTo>
                    <a:pt x="15" y="3"/>
                  </a:lnTo>
                  <a:lnTo>
                    <a:pt x="21" y="6"/>
                  </a:lnTo>
                  <a:lnTo>
                    <a:pt x="25" y="5"/>
                  </a:lnTo>
                  <a:lnTo>
                    <a:pt x="25" y="2"/>
                  </a:lnTo>
                  <a:lnTo>
                    <a:pt x="3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3" name="Congo">
              <a:extLst>
                <a:ext uri="{FF2B5EF4-FFF2-40B4-BE49-F238E27FC236}">
                  <a16:creationId xmlns:a16="http://schemas.microsoft.com/office/drawing/2014/main" id="{96C3A71F-B14F-24D3-FE68-F3B2707CE3A4}"/>
                </a:ext>
              </a:extLst>
            </p:cNvPr>
            <p:cNvSpPr>
              <a:spLocks/>
            </p:cNvSpPr>
            <p:nvPr/>
          </p:nvSpPr>
          <p:spPr bwMode="auto">
            <a:xfrm>
              <a:off x="6087868" y="4500668"/>
              <a:ext cx="180706" cy="209619"/>
            </a:xfrm>
            <a:custGeom>
              <a:avLst/>
              <a:gdLst>
                <a:gd name="T0" fmla="*/ 83 w 100"/>
                <a:gd name="T1" fmla="*/ 0 h 116"/>
                <a:gd name="T2" fmla="*/ 90 w 100"/>
                <a:gd name="T3" fmla="*/ 3 h 116"/>
                <a:gd name="T4" fmla="*/ 99 w 100"/>
                <a:gd name="T5" fmla="*/ 0 h 116"/>
                <a:gd name="T6" fmla="*/ 100 w 100"/>
                <a:gd name="T7" fmla="*/ 0 h 116"/>
                <a:gd name="T8" fmla="*/ 100 w 100"/>
                <a:gd name="T9" fmla="*/ 2 h 116"/>
                <a:gd name="T10" fmla="*/ 99 w 100"/>
                <a:gd name="T11" fmla="*/ 9 h 116"/>
                <a:gd name="T12" fmla="*/ 91 w 100"/>
                <a:gd name="T13" fmla="*/ 24 h 116"/>
                <a:gd name="T14" fmla="*/ 87 w 100"/>
                <a:gd name="T15" fmla="*/ 58 h 116"/>
                <a:gd name="T16" fmla="*/ 75 w 100"/>
                <a:gd name="T17" fmla="*/ 68 h 116"/>
                <a:gd name="T18" fmla="*/ 71 w 100"/>
                <a:gd name="T19" fmla="*/ 76 h 116"/>
                <a:gd name="T20" fmla="*/ 68 w 100"/>
                <a:gd name="T21" fmla="*/ 91 h 116"/>
                <a:gd name="T22" fmla="*/ 63 w 100"/>
                <a:gd name="T23" fmla="*/ 99 h 116"/>
                <a:gd name="T24" fmla="*/ 46 w 100"/>
                <a:gd name="T25" fmla="*/ 113 h 116"/>
                <a:gd name="T26" fmla="*/ 43 w 100"/>
                <a:gd name="T27" fmla="*/ 111 h 116"/>
                <a:gd name="T28" fmla="*/ 41 w 100"/>
                <a:gd name="T29" fmla="*/ 105 h 116"/>
                <a:gd name="T30" fmla="*/ 37 w 100"/>
                <a:gd name="T31" fmla="*/ 108 h 116"/>
                <a:gd name="T32" fmla="*/ 34 w 100"/>
                <a:gd name="T33" fmla="*/ 111 h 116"/>
                <a:gd name="T34" fmla="*/ 32 w 100"/>
                <a:gd name="T35" fmla="*/ 111 h 116"/>
                <a:gd name="T36" fmla="*/ 25 w 100"/>
                <a:gd name="T37" fmla="*/ 110 h 116"/>
                <a:gd name="T38" fmla="*/ 22 w 100"/>
                <a:gd name="T39" fmla="*/ 107 h 116"/>
                <a:gd name="T40" fmla="*/ 13 w 100"/>
                <a:gd name="T41" fmla="*/ 114 h 116"/>
                <a:gd name="T42" fmla="*/ 13 w 100"/>
                <a:gd name="T43" fmla="*/ 116 h 116"/>
                <a:gd name="T44" fmla="*/ 11 w 100"/>
                <a:gd name="T45" fmla="*/ 114 h 116"/>
                <a:gd name="T46" fmla="*/ 7 w 100"/>
                <a:gd name="T47" fmla="*/ 108 h 116"/>
                <a:gd name="T48" fmla="*/ 0 w 100"/>
                <a:gd name="T49" fmla="*/ 101 h 116"/>
                <a:gd name="T50" fmla="*/ 0 w 100"/>
                <a:gd name="T51" fmla="*/ 99 h 116"/>
                <a:gd name="T52" fmla="*/ 3 w 100"/>
                <a:gd name="T53" fmla="*/ 95 h 116"/>
                <a:gd name="T54" fmla="*/ 7 w 100"/>
                <a:gd name="T55" fmla="*/ 94 h 116"/>
                <a:gd name="T56" fmla="*/ 7 w 100"/>
                <a:gd name="T57" fmla="*/ 82 h 116"/>
                <a:gd name="T58" fmla="*/ 20 w 100"/>
                <a:gd name="T59" fmla="*/ 71 h 116"/>
                <a:gd name="T60" fmla="*/ 35 w 100"/>
                <a:gd name="T61" fmla="*/ 80 h 116"/>
                <a:gd name="T62" fmla="*/ 38 w 100"/>
                <a:gd name="T63" fmla="*/ 79 h 116"/>
                <a:gd name="T64" fmla="*/ 40 w 100"/>
                <a:gd name="T65" fmla="*/ 59 h 116"/>
                <a:gd name="T66" fmla="*/ 38 w 100"/>
                <a:gd name="T67" fmla="*/ 46 h 116"/>
                <a:gd name="T68" fmla="*/ 41 w 100"/>
                <a:gd name="T69" fmla="*/ 37 h 116"/>
                <a:gd name="T70" fmla="*/ 41 w 100"/>
                <a:gd name="T71" fmla="*/ 33 h 116"/>
                <a:gd name="T72" fmla="*/ 40 w 100"/>
                <a:gd name="T73" fmla="*/ 30 h 116"/>
                <a:gd name="T74" fmla="*/ 34 w 100"/>
                <a:gd name="T75" fmla="*/ 28 h 116"/>
                <a:gd name="T76" fmla="*/ 29 w 100"/>
                <a:gd name="T77" fmla="*/ 34 h 116"/>
                <a:gd name="T78" fmla="*/ 26 w 100"/>
                <a:gd name="T79" fmla="*/ 33 h 116"/>
                <a:gd name="T80" fmla="*/ 26 w 100"/>
                <a:gd name="T81" fmla="*/ 21 h 116"/>
                <a:gd name="T82" fmla="*/ 47 w 100"/>
                <a:gd name="T83" fmla="*/ 21 h 116"/>
                <a:gd name="T84" fmla="*/ 59 w 100"/>
                <a:gd name="T85" fmla="*/ 22 h 116"/>
                <a:gd name="T86" fmla="*/ 63 w 100"/>
                <a:gd name="T87" fmla="*/ 27 h 116"/>
                <a:gd name="T88" fmla="*/ 65 w 100"/>
                <a:gd name="T89" fmla="*/ 12 h 116"/>
                <a:gd name="T90" fmla="*/ 65 w 100"/>
                <a:gd name="T91" fmla="*/ 10 h 116"/>
                <a:gd name="T92" fmla="*/ 78 w 100"/>
                <a:gd name="T93" fmla="*/ 2 h 116"/>
                <a:gd name="T94" fmla="*/ 83 w 100"/>
                <a:gd name="T9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116">
                  <a:moveTo>
                    <a:pt x="83" y="0"/>
                  </a:moveTo>
                  <a:lnTo>
                    <a:pt x="90" y="3"/>
                  </a:lnTo>
                  <a:lnTo>
                    <a:pt x="99" y="0"/>
                  </a:lnTo>
                  <a:lnTo>
                    <a:pt x="100" y="0"/>
                  </a:lnTo>
                  <a:lnTo>
                    <a:pt x="100" y="2"/>
                  </a:lnTo>
                  <a:lnTo>
                    <a:pt x="99" y="9"/>
                  </a:lnTo>
                  <a:lnTo>
                    <a:pt x="91" y="24"/>
                  </a:lnTo>
                  <a:lnTo>
                    <a:pt x="87" y="58"/>
                  </a:lnTo>
                  <a:lnTo>
                    <a:pt x="75" y="68"/>
                  </a:lnTo>
                  <a:lnTo>
                    <a:pt x="71" y="76"/>
                  </a:lnTo>
                  <a:lnTo>
                    <a:pt x="68" y="91"/>
                  </a:lnTo>
                  <a:lnTo>
                    <a:pt x="63" y="99"/>
                  </a:lnTo>
                  <a:lnTo>
                    <a:pt x="46" y="113"/>
                  </a:lnTo>
                  <a:lnTo>
                    <a:pt x="43" y="111"/>
                  </a:lnTo>
                  <a:lnTo>
                    <a:pt x="41" y="105"/>
                  </a:lnTo>
                  <a:lnTo>
                    <a:pt x="37" y="108"/>
                  </a:lnTo>
                  <a:lnTo>
                    <a:pt x="34" y="111"/>
                  </a:lnTo>
                  <a:lnTo>
                    <a:pt x="32" y="111"/>
                  </a:lnTo>
                  <a:lnTo>
                    <a:pt x="25" y="110"/>
                  </a:lnTo>
                  <a:lnTo>
                    <a:pt x="22" y="107"/>
                  </a:lnTo>
                  <a:lnTo>
                    <a:pt x="13" y="114"/>
                  </a:lnTo>
                  <a:lnTo>
                    <a:pt x="13" y="116"/>
                  </a:lnTo>
                  <a:lnTo>
                    <a:pt x="11" y="114"/>
                  </a:lnTo>
                  <a:lnTo>
                    <a:pt x="7" y="108"/>
                  </a:lnTo>
                  <a:lnTo>
                    <a:pt x="0" y="101"/>
                  </a:lnTo>
                  <a:lnTo>
                    <a:pt x="0" y="99"/>
                  </a:lnTo>
                  <a:lnTo>
                    <a:pt x="3" y="95"/>
                  </a:lnTo>
                  <a:lnTo>
                    <a:pt x="7" y="94"/>
                  </a:lnTo>
                  <a:lnTo>
                    <a:pt x="7" y="82"/>
                  </a:lnTo>
                  <a:lnTo>
                    <a:pt x="20" y="71"/>
                  </a:lnTo>
                  <a:lnTo>
                    <a:pt x="35" y="80"/>
                  </a:lnTo>
                  <a:lnTo>
                    <a:pt x="38" y="79"/>
                  </a:lnTo>
                  <a:lnTo>
                    <a:pt x="40" y="59"/>
                  </a:lnTo>
                  <a:lnTo>
                    <a:pt x="38" y="46"/>
                  </a:lnTo>
                  <a:lnTo>
                    <a:pt x="41" y="37"/>
                  </a:lnTo>
                  <a:lnTo>
                    <a:pt x="41" y="33"/>
                  </a:lnTo>
                  <a:lnTo>
                    <a:pt x="40" y="30"/>
                  </a:lnTo>
                  <a:lnTo>
                    <a:pt x="34" y="28"/>
                  </a:lnTo>
                  <a:lnTo>
                    <a:pt x="29" y="34"/>
                  </a:lnTo>
                  <a:lnTo>
                    <a:pt x="26" y="33"/>
                  </a:lnTo>
                  <a:lnTo>
                    <a:pt x="26" y="21"/>
                  </a:lnTo>
                  <a:lnTo>
                    <a:pt x="47" y="21"/>
                  </a:lnTo>
                  <a:lnTo>
                    <a:pt x="59" y="22"/>
                  </a:lnTo>
                  <a:lnTo>
                    <a:pt x="63" y="27"/>
                  </a:lnTo>
                  <a:lnTo>
                    <a:pt x="65" y="12"/>
                  </a:lnTo>
                  <a:lnTo>
                    <a:pt x="65" y="10"/>
                  </a:lnTo>
                  <a:lnTo>
                    <a:pt x="78" y="2"/>
                  </a:lnTo>
                  <a:lnTo>
                    <a:pt x="8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4" name="Chad">
              <a:extLst>
                <a:ext uri="{FF2B5EF4-FFF2-40B4-BE49-F238E27FC236}">
                  <a16:creationId xmlns:a16="http://schemas.microsoft.com/office/drawing/2014/main" id="{1B497A83-4164-4284-6CAA-1D3E6BD81494}"/>
                </a:ext>
              </a:extLst>
            </p:cNvPr>
            <p:cNvSpPr>
              <a:spLocks/>
            </p:cNvSpPr>
            <p:nvPr/>
          </p:nvSpPr>
          <p:spPr bwMode="auto">
            <a:xfrm>
              <a:off x="6140272" y="4023604"/>
              <a:ext cx="254796" cy="392133"/>
            </a:xfrm>
            <a:custGeom>
              <a:avLst/>
              <a:gdLst>
                <a:gd name="T0" fmla="*/ 36 w 141"/>
                <a:gd name="T1" fmla="*/ 0 h 217"/>
                <a:gd name="T2" fmla="*/ 37 w 141"/>
                <a:gd name="T3" fmla="*/ 0 h 217"/>
                <a:gd name="T4" fmla="*/ 141 w 141"/>
                <a:gd name="T5" fmla="*/ 54 h 217"/>
                <a:gd name="T6" fmla="*/ 141 w 141"/>
                <a:gd name="T7" fmla="*/ 105 h 217"/>
                <a:gd name="T8" fmla="*/ 128 w 141"/>
                <a:gd name="T9" fmla="*/ 107 h 217"/>
                <a:gd name="T10" fmla="*/ 125 w 141"/>
                <a:gd name="T11" fmla="*/ 114 h 217"/>
                <a:gd name="T12" fmla="*/ 119 w 141"/>
                <a:gd name="T13" fmla="*/ 123 h 217"/>
                <a:gd name="T14" fmla="*/ 119 w 141"/>
                <a:gd name="T15" fmla="*/ 128 h 217"/>
                <a:gd name="T16" fmla="*/ 117 w 141"/>
                <a:gd name="T17" fmla="*/ 131 h 217"/>
                <a:gd name="T18" fmla="*/ 113 w 141"/>
                <a:gd name="T19" fmla="*/ 143 h 217"/>
                <a:gd name="T20" fmla="*/ 113 w 141"/>
                <a:gd name="T21" fmla="*/ 146 h 217"/>
                <a:gd name="T22" fmla="*/ 119 w 141"/>
                <a:gd name="T23" fmla="*/ 146 h 217"/>
                <a:gd name="T24" fmla="*/ 120 w 141"/>
                <a:gd name="T25" fmla="*/ 153 h 217"/>
                <a:gd name="T26" fmla="*/ 126 w 141"/>
                <a:gd name="T27" fmla="*/ 165 h 217"/>
                <a:gd name="T28" fmla="*/ 126 w 141"/>
                <a:gd name="T29" fmla="*/ 166 h 217"/>
                <a:gd name="T30" fmla="*/ 123 w 141"/>
                <a:gd name="T31" fmla="*/ 169 h 217"/>
                <a:gd name="T32" fmla="*/ 114 w 141"/>
                <a:gd name="T33" fmla="*/ 171 h 217"/>
                <a:gd name="T34" fmla="*/ 111 w 141"/>
                <a:gd name="T35" fmla="*/ 180 h 217"/>
                <a:gd name="T36" fmla="*/ 95 w 141"/>
                <a:gd name="T37" fmla="*/ 194 h 217"/>
                <a:gd name="T38" fmla="*/ 76 w 141"/>
                <a:gd name="T39" fmla="*/ 197 h 217"/>
                <a:gd name="T40" fmla="*/ 77 w 141"/>
                <a:gd name="T41" fmla="*/ 200 h 217"/>
                <a:gd name="T42" fmla="*/ 77 w 141"/>
                <a:gd name="T43" fmla="*/ 202 h 217"/>
                <a:gd name="T44" fmla="*/ 71 w 141"/>
                <a:gd name="T45" fmla="*/ 208 h 217"/>
                <a:gd name="T46" fmla="*/ 70 w 141"/>
                <a:gd name="T47" fmla="*/ 208 h 217"/>
                <a:gd name="T48" fmla="*/ 58 w 141"/>
                <a:gd name="T49" fmla="*/ 209 h 217"/>
                <a:gd name="T50" fmla="*/ 48 w 141"/>
                <a:gd name="T51" fmla="*/ 215 h 217"/>
                <a:gd name="T52" fmla="*/ 46 w 141"/>
                <a:gd name="T53" fmla="*/ 215 h 217"/>
                <a:gd name="T54" fmla="*/ 43 w 141"/>
                <a:gd name="T55" fmla="*/ 211 h 217"/>
                <a:gd name="T56" fmla="*/ 36 w 141"/>
                <a:gd name="T57" fmla="*/ 217 h 217"/>
                <a:gd name="T58" fmla="*/ 27 w 141"/>
                <a:gd name="T59" fmla="*/ 217 h 217"/>
                <a:gd name="T60" fmla="*/ 22 w 141"/>
                <a:gd name="T61" fmla="*/ 200 h 217"/>
                <a:gd name="T62" fmla="*/ 14 w 141"/>
                <a:gd name="T63" fmla="*/ 194 h 217"/>
                <a:gd name="T64" fmla="*/ 9 w 141"/>
                <a:gd name="T65" fmla="*/ 189 h 217"/>
                <a:gd name="T66" fmla="*/ 9 w 141"/>
                <a:gd name="T67" fmla="*/ 187 h 217"/>
                <a:gd name="T68" fmla="*/ 12 w 141"/>
                <a:gd name="T69" fmla="*/ 183 h 217"/>
                <a:gd name="T70" fmla="*/ 25 w 141"/>
                <a:gd name="T71" fmla="*/ 181 h 217"/>
                <a:gd name="T72" fmla="*/ 19 w 141"/>
                <a:gd name="T73" fmla="*/ 169 h 217"/>
                <a:gd name="T74" fmla="*/ 21 w 141"/>
                <a:gd name="T75" fmla="*/ 156 h 217"/>
                <a:gd name="T76" fmla="*/ 17 w 141"/>
                <a:gd name="T77" fmla="*/ 144 h 217"/>
                <a:gd name="T78" fmla="*/ 22 w 141"/>
                <a:gd name="T79" fmla="*/ 143 h 217"/>
                <a:gd name="T80" fmla="*/ 22 w 141"/>
                <a:gd name="T81" fmla="*/ 137 h 217"/>
                <a:gd name="T82" fmla="*/ 11 w 141"/>
                <a:gd name="T83" fmla="*/ 135 h 217"/>
                <a:gd name="T84" fmla="*/ 8 w 141"/>
                <a:gd name="T85" fmla="*/ 128 h 217"/>
                <a:gd name="T86" fmla="*/ 2 w 141"/>
                <a:gd name="T87" fmla="*/ 125 h 217"/>
                <a:gd name="T88" fmla="*/ 0 w 141"/>
                <a:gd name="T89" fmla="*/ 125 h 217"/>
                <a:gd name="T90" fmla="*/ 0 w 141"/>
                <a:gd name="T91" fmla="*/ 123 h 217"/>
                <a:gd name="T92" fmla="*/ 5 w 141"/>
                <a:gd name="T93" fmla="*/ 114 h 217"/>
                <a:gd name="T94" fmla="*/ 27 w 141"/>
                <a:gd name="T95" fmla="*/ 88 h 217"/>
                <a:gd name="T96" fmla="*/ 28 w 141"/>
                <a:gd name="T97" fmla="*/ 67 h 217"/>
                <a:gd name="T98" fmla="*/ 31 w 141"/>
                <a:gd name="T99" fmla="*/ 48 h 217"/>
                <a:gd name="T100" fmla="*/ 34 w 141"/>
                <a:gd name="T101" fmla="*/ 42 h 217"/>
                <a:gd name="T102" fmla="*/ 27 w 141"/>
                <a:gd name="T103" fmla="*/ 36 h 217"/>
                <a:gd name="T104" fmla="*/ 22 w 141"/>
                <a:gd name="T105" fmla="*/ 28 h 217"/>
                <a:gd name="T106" fmla="*/ 22 w 141"/>
                <a:gd name="T107" fmla="*/ 5 h 217"/>
                <a:gd name="T108" fmla="*/ 36 w 141"/>
                <a:gd name="T10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 h="217">
                  <a:moveTo>
                    <a:pt x="36" y="0"/>
                  </a:moveTo>
                  <a:lnTo>
                    <a:pt x="37" y="0"/>
                  </a:lnTo>
                  <a:lnTo>
                    <a:pt x="141" y="54"/>
                  </a:lnTo>
                  <a:lnTo>
                    <a:pt x="141" y="105"/>
                  </a:lnTo>
                  <a:lnTo>
                    <a:pt x="128" y="107"/>
                  </a:lnTo>
                  <a:lnTo>
                    <a:pt x="125" y="114"/>
                  </a:lnTo>
                  <a:lnTo>
                    <a:pt x="119" y="123"/>
                  </a:lnTo>
                  <a:lnTo>
                    <a:pt x="119" y="128"/>
                  </a:lnTo>
                  <a:lnTo>
                    <a:pt x="117" y="131"/>
                  </a:lnTo>
                  <a:lnTo>
                    <a:pt x="113" y="143"/>
                  </a:lnTo>
                  <a:lnTo>
                    <a:pt x="113" y="146"/>
                  </a:lnTo>
                  <a:lnTo>
                    <a:pt x="119" y="146"/>
                  </a:lnTo>
                  <a:lnTo>
                    <a:pt x="120" y="153"/>
                  </a:lnTo>
                  <a:lnTo>
                    <a:pt x="126" y="165"/>
                  </a:lnTo>
                  <a:lnTo>
                    <a:pt x="126" y="166"/>
                  </a:lnTo>
                  <a:lnTo>
                    <a:pt x="123" y="169"/>
                  </a:lnTo>
                  <a:lnTo>
                    <a:pt x="114" y="171"/>
                  </a:lnTo>
                  <a:lnTo>
                    <a:pt x="111" y="180"/>
                  </a:lnTo>
                  <a:lnTo>
                    <a:pt x="95" y="194"/>
                  </a:lnTo>
                  <a:lnTo>
                    <a:pt x="76" y="197"/>
                  </a:lnTo>
                  <a:lnTo>
                    <a:pt x="77" y="200"/>
                  </a:lnTo>
                  <a:lnTo>
                    <a:pt x="77" y="202"/>
                  </a:lnTo>
                  <a:lnTo>
                    <a:pt x="71" y="208"/>
                  </a:lnTo>
                  <a:lnTo>
                    <a:pt x="70" y="208"/>
                  </a:lnTo>
                  <a:lnTo>
                    <a:pt x="58" y="209"/>
                  </a:lnTo>
                  <a:lnTo>
                    <a:pt x="48" y="215"/>
                  </a:lnTo>
                  <a:lnTo>
                    <a:pt x="46" y="215"/>
                  </a:lnTo>
                  <a:lnTo>
                    <a:pt x="43" y="211"/>
                  </a:lnTo>
                  <a:lnTo>
                    <a:pt x="36" y="217"/>
                  </a:lnTo>
                  <a:lnTo>
                    <a:pt x="27" y="217"/>
                  </a:lnTo>
                  <a:lnTo>
                    <a:pt x="22" y="200"/>
                  </a:lnTo>
                  <a:lnTo>
                    <a:pt x="14" y="194"/>
                  </a:lnTo>
                  <a:lnTo>
                    <a:pt x="9" y="189"/>
                  </a:lnTo>
                  <a:lnTo>
                    <a:pt x="9" y="187"/>
                  </a:lnTo>
                  <a:lnTo>
                    <a:pt x="12" y="183"/>
                  </a:lnTo>
                  <a:lnTo>
                    <a:pt x="25" y="181"/>
                  </a:lnTo>
                  <a:lnTo>
                    <a:pt x="19" y="169"/>
                  </a:lnTo>
                  <a:lnTo>
                    <a:pt x="21" y="156"/>
                  </a:lnTo>
                  <a:lnTo>
                    <a:pt x="17" y="144"/>
                  </a:lnTo>
                  <a:lnTo>
                    <a:pt x="22" y="143"/>
                  </a:lnTo>
                  <a:lnTo>
                    <a:pt x="22" y="137"/>
                  </a:lnTo>
                  <a:lnTo>
                    <a:pt x="11" y="135"/>
                  </a:lnTo>
                  <a:lnTo>
                    <a:pt x="8" y="128"/>
                  </a:lnTo>
                  <a:lnTo>
                    <a:pt x="2" y="125"/>
                  </a:lnTo>
                  <a:lnTo>
                    <a:pt x="0" y="125"/>
                  </a:lnTo>
                  <a:lnTo>
                    <a:pt x="0" y="123"/>
                  </a:lnTo>
                  <a:lnTo>
                    <a:pt x="5" y="114"/>
                  </a:lnTo>
                  <a:lnTo>
                    <a:pt x="27" y="88"/>
                  </a:lnTo>
                  <a:lnTo>
                    <a:pt x="28" y="67"/>
                  </a:lnTo>
                  <a:lnTo>
                    <a:pt x="31" y="48"/>
                  </a:lnTo>
                  <a:lnTo>
                    <a:pt x="34" y="42"/>
                  </a:lnTo>
                  <a:lnTo>
                    <a:pt x="27" y="36"/>
                  </a:lnTo>
                  <a:lnTo>
                    <a:pt x="22" y="28"/>
                  </a:lnTo>
                  <a:lnTo>
                    <a:pt x="22" y="5"/>
                  </a:lnTo>
                  <a:lnTo>
                    <a:pt x="3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5" name="Central African Republic">
              <a:extLst>
                <a:ext uri="{FF2B5EF4-FFF2-40B4-BE49-F238E27FC236}">
                  <a16:creationId xmlns:a16="http://schemas.microsoft.com/office/drawing/2014/main" id="{6C4E1FBB-5528-8CFB-A84A-5AAAEEE754D2}"/>
                </a:ext>
              </a:extLst>
            </p:cNvPr>
            <p:cNvSpPr>
              <a:spLocks/>
            </p:cNvSpPr>
            <p:nvPr/>
          </p:nvSpPr>
          <p:spPr bwMode="auto">
            <a:xfrm>
              <a:off x="6167379" y="4327191"/>
              <a:ext cx="310814" cy="195162"/>
            </a:xfrm>
            <a:custGeom>
              <a:avLst/>
              <a:gdLst>
                <a:gd name="T0" fmla="*/ 105 w 172"/>
                <a:gd name="T1" fmla="*/ 0 h 108"/>
                <a:gd name="T2" fmla="*/ 108 w 172"/>
                <a:gd name="T3" fmla="*/ 0 h 108"/>
                <a:gd name="T4" fmla="*/ 108 w 172"/>
                <a:gd name="T5" fmla="*/ 1 h 108"/>
                <a:gd name="T6" fmla="*/ 120 w 172"/>
                <a:gd name="T7" fmla="*/ 13 h 108"/>
                <a:gd name="T8" fmla="*/ 120 w 172"/>
                <a:gd name="T9" fmla="*/ 28 h 108"/>
                <a:gd name="T10" fmla="*/ 128 w 172"/>
                <a:gd name="T11" fmla="*/ 31 h 108"/>
                <a:gd name="T12" fmla="*/ 128 w 172"/>
                <a:gd name="T13" fmla="*/ 32 h 108"/>
                <a:gd name="T14" fmla="*/ 129 w 172"/>
                <a:gd name="T15" fmla="*/ 35 h 108"/>
                <a:gd name="T16" fmla="*/ 141 w 172"/>
                <a:gd name="T17" fmla="*/ 38 h 108"/>
                <a:gd name="T18" fmla="*/ 141 w 172"/>
                <a:gd name="T19" fmla="*/ 40 h 108"/>
                <a:gd name="T20" fmla="*/ 142 w 172"/>
                <a:gd name="T21" fmla="*/ 46 h 108"/>
                <a:gd name="T22" fmla="*/ 156 w 172"/>
                <a:gd name="T23" fmla="*/ 55 h 108"/>
                <a:gd name="T24" fmla="*/ 160 w 172"/>
                <a:gd name="T25" fmla="*/ 65 h 108"/>
                <a:gd name="T26" fmla="*/ 169 w 172"/>
                <a:gd name="T27" fmla="*/ 71 h 108"/>
                <a:gd name="T28" fmla="*/ 172 w 172"/>
                <a:gd name="T29" fmla="*/ 77 h 108"/>
                <a:gd name="T30" fmla="*/ 172 w 172"/>
                <a:gd name="T31" fmla="*/ 78 h 108"/>
                <a:gd name="T32" fmla="*/ 166 w 172"/>
                <a:gd name="T33" fmla="*/ 78 h 108"/>
                <a:gd name="T34" fmla="*/ 163 w 172"/>
                <a:gd name="T35" fmla="*/ 80 h 108"/>
                <a:gd name="T36" fmla="*/ 162 w 172"/>
                <a:gd name="T37" fmla="*/ 80 h 108"/>
                <a:gd name="T38" fmla="*/ 160 w 172"/>
                <a:gd name="T39" fmla="*/ 78 h 108"/>
                <a:gd name="T40" fmla="*/ 159 w 172"/>
                <a:gd name="T41" fmla="*/ 80 h 108"/>
                <a:gd name="T42" fmla="*/ 156 w 172"/>
                <a:gd name="T43" fmla="*/ 77 h 108"/>
                <a:gd name="T44" fmla="*/ 142 w 172"/>
                <a:gd name="T45" fmla="*/ 78 h 108"/>
                <a:gd name="T46" fmla="*/ 141 w 172"/>
                <a:gd name="T47" fmla="*/ 80 h 108"/>
                <a:gd name="T48" fmla="*/ 136 w 172"/>
                <a:gd name="T49" fmla="*/ 81 h 108"/>
                <a:gd name="T50" fmla="*/ 135 w 172"/>
                <a:gd name="T51" fmla="*/ 81 h 108"/>
                <a:gd name="T52" fmla="*/ 133 w 172"/>
                <a:gd name="T53" fmla="*/ 80 h 108"/>
                <a:gd name="T54" fmla="*/ 117 w 172"/>
                <a:gd name="T55" fmla="*/ 84 h 108"/>
                <a:gd name="T56" fmla="*/ 111 w 172"/>
                <a:gd name="T57" fmla="*/ 83 h 108"/>
                <a:gd name="T58" fmla="*/ 105 w 172"/>
                <a:gd name="T59" fmla="*/ 89 h 108"/>
                <a:gd name="T60" fmla="*/ 93 w 172"/>
                <a:gd name="T61" fmla="*/ 89 h 108"/>
                <a:gd name="T62" fmla="*/ 85 w 172"/>
                <a:gd name="T63" fmla="*/ 86 h 108"/>
                <a:gd name="T64" fmla="*/ 82 w 172"/>
                <a:gd name="T65" fmla="*/ 87 h 108"/>
                <a:gd name="T66" fmla="*/ 80 w 172"/>
                <a:gd name="T67" fmla="*/ 86 h 108"/>
                <a:gd name="T68" fmla="*/ 74 w 172"/>
                <a:gd name="T69" fmla="*/ 78 h 108"/>
                <a:gd name="T70" fmla="*/ 67 w 172"/>
                <a:gd name="T71" fmla="*/ 78 h 108"/>
                <a:gd name="T72" fmla="*/ 59 w 172"/>
                <a:gd name="T73" fmla="*/ 86 h 108"/>
                <a:gd name="T74" fmla="*/ 59 w 172"/>
                <a:gd name="T75" fmla="*/ 96 h 108"/>
                <a:gd name="T76" fmla="*/ 58 w 172"/>
                <a:gd name="T77" fmla="*/ 96 h 108"/>
                <a:gd name="T78" fmla="*/ 56 w 172"/>
                <a:gd name="T79" fmla="*/ 98 h 108"/>
                <a:gd name="T80" fmla="*/ 46 w 172"/>
                <a:gd name="T81" fmla="*/ 101 h 108"/>
                <a:gd name="T82" fmla="*/ 37 w 172"/>
                <a:gd name="T83" fmla="*/ 98 h 108"/>
                <a:gd name="T84" fmla="*/ 34 w 172"/>
                <a:gd name="T85" fmla="*/ 99 h 108"/>
                <a:gd name="T86" fmla="*/ 22 w 172"/>
                <a:gd name="T87" fmla="*/ 108 h 108"/>
                <a:gd name="T88" fmla="*/ 21 w 172"/>
                <a:gd name="T89" fmla="*/ 108 h 108"/>
                <a:gd name="T90" fmla="*/ 12 w 172"/>
                <a:gd name="T91" fmla="*/ 101 h 108"/>
                <a:gd name="T92" fmla="*/ 2 w 172"/>
                <a:gd name="T93" fmla="*/ 83 h 108"/>
                <a:gd name="T94" fmla="*/ 0 w 172"/>
                <a:gd name="T95" fmla="*/ 68 h 108"/>
                <a:gd name="T96" fmla="*/ 12 w 172"/>
                <a:gd name="T97" fmla="*/ 47 h 108"/>
                <a:gd name="T98" fmla="*/ 21 w 172"/>
                <a:gd name="T99" fmla="*/ 47 h 108"/>
                <a:gd name="T100" fmla="*/ 28 w 172"/>
                <a:gd name="T101" fmla="*/ 41 h 108"/>
                <a:gd name="T102" fmla="*/ 33 w 172"/>
                <a:gd name="T103" fmla="*/ 46 h 108"/>
                <a:gd name="T104" fmla="*/ 43 w 172"/>
                <a:gd name="T105" fmla="*/ 40 h 108"/>
                <a:gd name="T106" fmla="*/ 55 w 172"/>
                <a:gd name="T107" fmla="*/ 38 h 108"/>
                <a:gd name="T108" fmla="*/ 61 w 172"/>
                <a:gd name="T109" fmla="*/ 32 h 108"/>
                <a:gd name="T110" fmla="*/ 59 w 172"/>
                <a:gd name="T111" fmla="*/ 28 h 108"/>
                <a:gd name="T112" fmla="*/ 61 w 172"/>
                <a:gd name="T113" fmla="*/ 28 h 108"/>
                <a:gd name="T114" fmla="*/ 79 w 172"/>
                <a:gd name="T115" fmla="*/ 25 h 108"/>
                <a:gd name="T116" fmla="*/ 95 w 172"/>
                <a:gd name="T117" fmla="*/ 10 h 108"/>
                <a:gd name="T118" fmla="*/ 98 w 172"/>
                <a:gd name="T119" fmla="*/ 3 h 108"/>
                <a:gd name="T120" fmla="*/ 98 w 172"/>
                <a:gd name="T121" fmla="*/ 1 h 108"/>
                <a:gd name="T122" fmla="*/ 101 w 172"/>
                <a:gd name="T123" fmla="*/ 1 h 108"/>
                <a:gd name="T124" fmla="*/ 105 w 172"/>
                <a:gd name="T12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08">
                  <a:moveTo>
                    <a:pt x="105" y="0"/>
                  </a:moveTo>
                  <a:lnTo>
                    <a:pt x="108" y="0"/>
                  </a:lnTo>
                  <a:lnTo>
                    <a:pt x="108" y="1"/>
                  </a:lnTo>
                  <a:lnTo>
                    <a:pt x="120" y="13"/>
                  </a:lnTo>
                  <a:lnTo>
                    <a:pt x="120" y="28"/>
                  </a:lnTo>
                  <a:lnTo>
                    <a:pt x="128" y="31"/>
                  </a:lnTo>
                  <a:lnTo>
                    <a:pt x="128" y="32"/>
                  </a:lnTo>
                  <a:lnTo>
                    <a:pt x="129" y="35"/>
                  </a:lnTo>
                  <a:lnTo>
                    <a:pt x="141" y="38"/>
                  </a:lnTo>
                  <a:lnTo>
                    <a:pt x="141" y="40"/>
                  </a:lnTo>
                  <a:lnTo>
                    <a:pt x="142" y="46"/>
                  </a:lnTo>
                  <a:lnTo>
                    <a:pt x="156" y="55"/>
                  </a:lnTo>
                  <a:lnTo>
                    <a:pt x="160" y="65"/>
                  </a:lnTo>
                  <a:lnTo>
                    <a:pt x="169" y="71"/>
                  </a:lnTo>
                  <a:lnTo>
                    <a:pt x="172" y="77"/>
                  </a:lnTo>
                  <a:lnTo>
                    <a:pt x="172" y="78"/>
                  </a:lnTo>
                  <a:lnTo>
                    <a:pt x="166" y="78"/>
                  </a:lnTo>
                  <a:lnTo>
                    <a:pt x="163" y="80"/>
                  </a:lnTo>
                  <a:lnTo>
                    <a:pt x="162" y="80"/>
                  </a:lnTo>
                  <a:lnTo>
                    <a:pt x="160" y="78"/>
                  </a:lnTo>
                  <a:lnTo>
                    <a:pt x="159" y="80"/>
                  </a:lnTo>
                  <a:lnTo>
                    <a:pt x="156" y="77"/>
                  </a:lnTo>
                  <a:lnTo>
                    <a:pt x="142" y="78"/>
                  </a:lnTo>
                  <a:lnTo>
                    <a:pt x="141" y="80"/>
                  </a:lnTo>
                  <a:lnTo>
                    <a:pt x="136" y="81"/>
                  </a:lnTo>
                  <a:lnTo>
                    <a:pt x="135" y="81"/>
                  </a:lnTo>
                  <a:lnTo>
                    <a:pt x="133" y="80"/>
                  </a:lnTo>
                  <a:lnTo>
                    <a:pt x="117" y="84"/>
                  </a:lnTo>
                  <a:lnTo>
                    <a:pt x="111" y="83"/>
                  </a:lnTo>
                  <a:lnTo>
                    <a:pt x="105" y="89"/>
                  </a:lnTo>
                  <a:lnTo>
                    <a:pt x="93" y="89"/>
                  </a:lnTo>
                  <a:lnTo>
                    <a:pt x="85" y="86"/>
                  </a:lnTo>
                  <a:lnTo>
                    <a:pt x="82" y="87"/>
                  </a:lnTo>
                  <a:lnTo>
                    <a:pt x="80" y="86"/>
                  </a:lnTo>
                  <a:lnTo>
                    <a:pt x="74" y="78"/>
                  </a:lnTo>
                  <a:lnTo>
                    <a:pt x="67" y="78"/>
                  </a:lnTo>
                  <a:lnTo>
                    <a:pt x="59" y="86"/>
                  </a:lnTo>
                  <a:lnTo>
                    <a:pt x="59" y="96"/>
                  </a:lnTo>
                  <a:lnTo>
                    <a:pt x="58" y="96"/>
                  </a:lnTo>
                  <a:lnTo>
                    <a:pt x="56" y="98"/>
                  </a:lnTo>
                  <a:lnTo>
                    <a:pt x="46" y="101"/>
                  </a:lnTo>
                  <a:lnTo>
                    <a:pt x="37" y="98"/>
                  </a:lnTo>
                  <a:lnTo>
                    <a:pt x="34" y="99"/>
                  </a:lnTo>
                  <a:lnTo>
                    <a:pt x="22" y="108"/>
                  </a:lnTo>
                  <a:lnTo>
                    <a:pt x="21" y="108"/>
                  </a:lnTo>
                  <a:lnTo>
                    <a:pt x="12" y="101"/>
                  </a:lnTo>
                  <a:lnTo>
                    <a:pt x="2" y="83"/>
                  </a:lnTo>
                  <a:lnTo>
                    <a:pt x="0" y="68"/>
                  </a:lnTo>
                  <a:lnTo>
                    <a:pt x="12" y="47"/>
                  </a:lnTo>
                  <a:lnTo>
                    <a:pt x="21" y="47"/>
                  </a:lnTo>
                  <a:lnTo>
                    <a:pt x="28" y="41"/>
                  </a:lnTo>
                  <a:lnTo>
                    <a:pt x="33" y="46"/>
                  </a:lnTo>
                  <a:lnTo>
                    <a:pt x="43" y="40"/>
                  </a:lnTo>
                  <a:lnTo>
                    <a:pt x="55" y="38"/>
                  </a:lnTo>
                  <a:lnTo>
                    <a:pt x="61" y="32"/>
                  </a:lnTo>
                  <a:lnTo>
                    <a:pt x="59" y="28"/>
                  </a:lnTo>
                  <a:lnTo>
                    <a:pt x="61" y="28"/>
                  </a:lnTo>
                  <a:lnTo>
                    <a:pt x="79" y="25"/>
                  </a:lnTo>
                  <a:lnTo>
                    <a:pt x="95" y="10"/>
                  </a:lnTo>
                  <a:lnTo>
                    <a:pt x="98" y="3"/>
                  </a:lnTo>
                  <a:lnTo>
                    <a:pt x="98" y="1"/>
                  </a:lnTo>
                  <a:lnTo>
                    <a:pt x="101" y="1"/>
                  </a:lnTo>
                  <a:lnTo>
                    <a:pt x="10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6" name="Cameroon">
              <a:extLst>
                <a:ext uri="{FF2B5EF4-FFF2-40B4-BE49-F238E27FC236}">
                  <a16:creationId xmlns:a16="http://schemas.microsoft.com/office/drawing/2014/main" id="{4513D947-F07E-763E-F784-7D74361C5383}"/>
                </a:ext>
              </a:extLst>
            </p:cNvPr>
            <p:cNvSpPr>
              <a:spLocks/>
            </p:cNvSpPr>
            <p:nvPr/>
          </p:nvSpPr>
          <p:spPr bwMode="auto">
            <a:xfrm>
              <a:off x="6024620" y="4283821"/>
              <a:ext cx="182514" cy="267445"/>
            </a:xfrm>
            <a:custGeom>
              <a:avLst/>
              <a:gdLst>
                <a:gd name="T0" fmla="*/ 81 w 101"/>
                <a:gd name="T1" fmla="*/ 0 h 148"/>
                <a:gd name="T2" fmla="*/ 82 w 101"/>
                <a:gd name="T3" fmla="*/ 0 h 148"/>
                <a:gd name="T4" fmla="*/ 86 w 101"/>
                <a:gd name="T5" fmla="*/ 12 h 148"/>
                <a:gd name="T6" fmla="*/ 85 w 101"/>
                <a:gd name="T7" fmla="*/ 25 h 148"/>
                <a:gd name="T8" fmla="*/ 91 w 101"/>
                <a:gd name="T9" fmla="*/ 39 h 148"/>
                <a:gd name="T10" fmla="*/ 76 w 101"/>
                <a:gd name="T11" fmla="*/ 40 h 148"/>
                <a:gd name="T12" fmla="*/ 75 w 101"/>
                <a:gd name="T13" fmla="*/ 43 h 148"/>
                <a:gd name="T14" fmla="*/ 78 w 101"/>
                <a:gd name="T15" fmla="*/ 50 h 148"/>
                <a:gd name="T16" fmla="*/ 86 w 101"/>
                <a:gd name="T17" fmla="*/ 55 h 148"/>
                <a:gd name="T18" fmla="*/ 88 w 101"/>
                <a:gd name="T19" fmla="*/ 55 h 148"/>
                <a:gd name="T20" fmla="*/ 92 w 101"/>
                <a:gd name="T21" fmla="*/ 71 h 148"/>
                <a:gd name="T22" fmla="*/ 92 w 101"/>
                <a:gd name="T23" fmla="*/ 73 h 148"/>
                <a:gd name="T24" fmla="*/ 81 w 101"/>
                <a:gd name="T25" fmla="*/ 92 h 148"/>
                <a:gd name="T26" fmla="*/ 82 w 101"/>
                <a:gd name="T27" fmla="*/ 105 h 148"/>
                <a:gd name="T28" fmla="*/ 92 w 101"/>
                <a:gd name="T29" fmla="*/ 125 h 148"/>
                <a:gd name="T30" fmla="*/ 101 w 101"/>
                <a:gd name="T31" fmla="*/ 130 h 148"/>
                <a:gd name="T32" fmla="*/ 101 w 101"/>
                <a:gd name="T33" fmla="*/ 132 h 148"/>
                <a:gd name="T34" fmla="*/ 100 w 101"/>
                <a:gd name="T35" fmla="*/ 148 h 148"/>
                <a:gd name="T36" fmla="*/ 98 w 101"/>
                <a:gd name="T37" fmla="*/ 148 h 148"/>
                <a:gd name="T38" fmla="*/ 94 w 101"/>
                <a:gd name="T39" fmla="*/ 144 h 148"/>
                <a:gd name="T40" fmla="*/ 81 w 101"/>
                <a:gd name="T41" fmla="*/ 142 h 148"/>
                <a:gd name="T42" fmla="*/ 64 w 101"/>
                <a:gd name="T43" fmla="*/ 142 h 148"/>
                <a:gd name="T44" fmla="*/ 38 w 101"/>
                <a:gd name="T45" fmla="*/ 141 h 148"/>
                <a:gd name="T46" fmla="*/ 29 w 101"/>
                <a:gd name="T47" fmla="*/ 141 h 148"/>
                <a:gd name="T48" fmla="*/ 26 w 101"/>
                <a:gd name="T49" fmla="*/ 142 h 148"/>
                <a:gd name="T50" fmla="*/ 17 w 101"/>
                <a:gd name="T51" fmla="*/ 142 h 148"/>
                <a:gd name="T52" fmla="*/ 15 w 101"/>
                <a:gd name="T53" fmla="*/ 141 h 148"/>
                <a:gd name="T54" fmla="*/ 20 w 101"/>
                <a:gd name="T55" fmla="*/ 126 h 148"/>
                <a:gd name="T56" fmla="*/ 15 w 101"/>
                <a:gd name="T57" fmla="*/ 122 h 148"/>
                <a:gd name="T58" fmla="*/ 14 w 101"/>
                <a:gd name="T59" fmla="*/ 122 h 148"/>
                <a:gd name="T60" fmla="*/ 14 w 101"/>
                <a:gd name="T61" fmla="*/ 120 h 148"/>
                <a:gd name="T62" fmla="*/ 15 w 101"/>
                <a:gd name="T63" fmla="*/ 117 h 148"/>
                <a:gd name="T64" fmla="*/ 8 w 101"/>
                <a:gd name="T65" fmla="*/ 117 h 148"/>
                <a:gd name="T66" fmla="*/ 8 w 101"/>
                <a:gd name="T67" fmla="*/ 116 h 148"/>
                <a:gd name="T68" fmla="*/ 5 w 101"/>
                <a:gd name="T69" fmla="*/ 111 h 148"/>
                <a:gd name="T70" fmla="*/ 2 w 101"/>
                <a:gd name="T71" fmla="*/ 111 h 148"/>
                <a:gd name="T72" fmla="*/ 2 w 101"/>
                <a:gd name="T73" fmla="*/ 110 h 148"/>
                <a:gd name="T74" fmla="*/ 0 w 101"/>
                <a:gd name="T75" fmla="*/ 108 h 148"/>
                <a:gd name="T76" fmla="*/ 5 w 101"/>
                <a:gd name="T77" fmla="*/ 92 h 148"/>
                <a:gd name="T78" fmla="*/ 14 w 101"/>
                <a:gd name="T79" fmla="*/ 79 h 148"/>
                <a:gd name="T80" fmla="*/ 29 w 101"/>
                <a:gd name="T81" fmla="*/ 79 h 148"/>
                <a:gd name="T82" fmla="*/ 35 w 101"/>
                <a:gd name="T83" fmla="*/ 85 h 148"/>
                <a:gd name="T84" fmla="*/ 41 w 101"/>
                <a:gd name="T85" fmla="*/ 83 h 148"/>
                <a:gd name="T86" fmla="*/ 51 w 101"/>
                <a:gd name="T87" fmla="*/ 58 h 148"/>
                <a:gd name="T88" fmla="*/ 57 w 101"/>
                <a:gd name="T89" fmla="*/ 52 h 148"/>
                <a:gd name="T90" fmla="*/ 66 w 101"/>
                <a:gd name="T91" fmla="*/ 25 h 148"/>
                <a:gd name="T92" fmla="*/ 78 w 101"/>
                <a:gd name="T93" fmla="*/ 15 h 148"/>
                <a:gd name="T94" fmla="*/ 78 w 101"/>
                <a:gd name="T95" fmla="*/ 9 h 148"/>
                <a:gd name="T96" fmla="*/ 75 w 101"/>
                <a:gd name="T97" fmla="*/ 6 h 148"/>
                <a:gd name="T98" fmla="*/ 75 w 101"/>
                <a:gd name="T99" fmla="*/ 4 h 148"/>
                <a:gd name="T100" fmla="*/ 81 w 101"/>
                <a:gd name="T10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1" h="148">
                  <a:moveTo>
                    <a:pt x="81" y="0"/>
                  </a:moveTo>
                  <a:lnTo>
                    <a:pt x="82" y="0"/>
                  </a:lnTo>
                  <a:lnTo>
                    <a:pt x="86" y="12"/>
                  </a:lnTo>
                  <a:lnTo>
                    <a:pt x="85" y="25"/>
                  </a:lnTo>
                  <a:lnTo>
                    <a:pt x="91" y="39"/>
                  </a:lnTo>
                  <a:lnTo>
                    <a:pt x="76" y="40"/>
                  </a:lnTo>
                  <a:lnTo>
                    <a:pt x="75" y="43"/>
                  </a:lnTo>
                  <a:lnTo>
                    <a:pt x="78" y="50"/>
                  </a:lnTo>
                  <a:lnTo>
                    <a:pt x="86" y="55"/>
                  </a:lnTo>
                  <a:lnTo>
                    <a:pt x="88" y="55"/>
                  </a:lnTo>
                  <a:lnTo>
                    <a:pt x="92" y="71"/>
                  </a:lnTo>
                  <a:lnTo>
                    <a:pt x="92" y="73"/>
                  </a:lnTo>
                  <a:lnTo>
                    <a:pt x="81" y="92"/>
                  </a:lnTo>
                  <a:lnTo>
                    <a:pt x="82" y="105"/>
                  </a:lnTo>
                  <a:lnTo>
                    <a:pt x="92" y="125"/>
                  </a:lnTo>
                  <a:lnTo>
                    <a:pt x="101" y="130"/>
                  </a:lnTo>
                  <a:lnTo>
                    <a:pt x="101" y="132"/>
                  </a:lnTo>
                  <a:lnTo>
                    <a:pt x="100" y="148"/>
                  </a:lnTo>
                  <a:lnTo>
                    <a:pt x="98" y="148"/>
                  </a:lnTo>
                  <a:lnTo>
                    <a:pt x="94" y="144"/>
                  </a:lnTo>
                  <a:lnTo>
                    <a:pt x="81" y="142"/>
                  </a:lnTo>
                  <a:lnTo>
                    <a:pt x="64" y="142"/>
                  </a:lnTo>
                  <a:lnTo>
                    <a:pt x="38" y="141"/>
                  </a:lnTo>
                  <a:lnTo>
                    <a:pt x="29" y="141"/>
                  </a:lnTo>
                  <a:lnTo>
                    <a:pt x="26" y="142"/>
                  </a:lnTo>
                  <a:lnTo>
                    <a:pt x="17" y="142"/>
                  </a:lnTo>
                  <a:lnTo>
                    <a:pt x="15" y="141"/>
                  </a:lnTo>
                  <a:lnTo>
                    <a:pt x="20" y="126"/>
                  </a:lnTo>
                  <a:lnTo>
                    <a:pt x="15" y="122"/>
                  </a:lnTo>
                  <a:lnTo>
                    <a:pt x="14" y="122"/>
                  </a:lnTo>
                  <a:lnTo>
                    <a:pt x="14" y="120"/>
                  </a:lnTo>
                  <a:lnTo>
                    <a:pt x="15" y="117"/>
                  </a:lnTo>
                  <a:lnTo>
                    <a:pt x="8" y="117"/>
                  </a:lnTo>
                  <a:lnTo>
                    <a:pt x="8" y="116"/>
                  </a:lnTo>
                  <a:lnTo>
                    <a:pt x="5" y="111"/>
                  </a:lnTo>
                  <a:lnTo>
                    <a:pt x="2" y="111"/>
                  </a:lnTo>
                  <a:lnTo>
                    <a:pt x="2" y="110"/>
                  </a:lnTo>
                  <a:lnTo>
                    <a:pt x="0" y="108"/>
                  </a:lnTo>
                  <a:lnTo>
                    <a:pt x="5" y="92"/>
                  </a:lnTo>
                  <a:lnTo>
                    <a:pt x="14" y="79"/>
                  </a:lnTo>
                  <a:lnTo>
                    <a:pt x="29" y="79"/>
                  </a:lnTo>
                  <a:lnTo>
                    <a:pt x="35" y="85"/>
                  </a:lnTo>
                  <a:lnTo>
                    <a:pt x="41" y="83"/>
                  </a:lnTo>
                  <a:lnTo>
                    <a:pt x="51" y="58"/>
                  </a:lnTo>
                  <a:lnTo>
                    <a:pt x="57" y="52"/>
                  </a:lnTo>
                  <a:lnTo>
                    <a:pt x="66" y="25"/>
                  </a:lnTo>
                  <a:lnTo>
                    <a:pt x="78" y="15"/>
                  </a:lnTo>
                  <a:lnTo>
                    <a:pt x="78" y="9"/>
                  </a:lnTo>
                  <a:lnTo>
                    <a:pt x="75" y="6"/>
                  </a:lnTo>
                  <a:lnTo>
                    <a:pt x="75" y="4"/>
                  </a:lnTo>
                  <a:lnTo>
                    <a:pt x="8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7" name="Cabinda (Province)">
              <a:extLst>
                <a:ext uri="{FF2B5EF4-FFF2-40B4-BE49-F238E27FC236}">
                  <a16:creationId xmlns:a16="http://schemas.microsoft.com/office/drawing/2014/main" id="{EE6FB817-67C3-3726-56DD-FDE66A6C7C6F}"/>
                </a:ext>
              </a:extLst>
            </p:cNvPr>
            <p:cNvSpPr>
              <a:spLocks/>
            </p:cNvSpPr>
            <p:nvPr/>
          </p:nvSpPr>
          <p:spPr bwMode="auto">
            <a:xfrm>
              <a:off x="6107746" y="4690410"/>
              <a:ext cx="27107" cy="37948"/>
            </a:xfrm>
            <a:custGeom>
              <a:avLst/>
              <a:gdLst>
                <a:gd name="T0" fmla="*/ 9 w 15"/>
                <a:gd name="T1" fmla="*/ 0 h 21"/>
                <a:gd name="T2" fmla="*/ 11 w 15"/>
                <a:gd name="T3" fmla="*/ 0 h 21"/>
                <a:gd name="T4" fmla="*/ 15 w 15"/>
                <a:gd name="T5" fmla="*/ 3 h 21"/>
                <a:gd name="T6" fmla="*/ 15 w 15"/>
                <a:gd name="T7" fmla="*/ 5 h 21"/>
                <a:gd name="T8" fmla="*/ 9 w 15"/>
                <a:gd name="T9" fmla="*/ 9 h 21"/>
                <a:gd name="T10" fmla="*/ 8 w 15"/>
                <a:gd name="T11" fmla="*/ 20 h 21"/>
                <a:gd name="T12" fmla="*/ 6 w 15"/>
                <a:gd name="T13" fmla="*/ 21 h 21"/>
                <a:gd name="T14" fmla="*/ 5 w 15"/>
                <a:gd name="T15" fmla="*/ 21 h 21"/>
                <a:gd name="T16" fmla="*/ 5 w 15"/>
                <a:gd name="T17" fmla="*/ 20 h 21"/>
                <a:gd name="T18" fmla="*/ 0 w 15"/>
                <a:gd name="T19" fmla="*/ 9 h 21"/>
                <a:gd name="T20" fmla="*/ 9 w 15"/>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1">
                  <a:moveTo>
                    <a:pt x="9" y="0"/>
                  </a:moveTo>
                  <a:lnTo>
                    <a:pt x="11" y="0"/>
                  </a:lnTo>
                  <a:lnTo>
                    <a:pt x="15" y="3"/>
                  </a:lnTo>
                  <a:lnTo>
                    <a:pt x="15" y="5"/>
                  </a:lnTo>
                  <a:lnTo>
                    <a:pt x="9" y="9"/>
                  </a:lnTo>
                  <a:lnTo>
                    <a:pt x="8" y="20"/>
                  </a:lnTo>
                  <a:lnTo>
                    <a:pt x="6" y="21"/>
                  </a:lnTo>
                  <a:lnTo>
                    <a:pt x="5" y="21"/>
                  </a:lnTo>
                  <a:lnTo>
                    <a:pt x="5" y="20"/>
                  </a:lnTo>
                  <a:lnTo>
                    <a:pt x="0" y="9"/>
                  </a:lnTo>
                  <a:lnTo>
                    <a:pt x="9"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8" name="Botswana">
              <a:extLst>
                <a:ext uri="{FF2B5EF4-FFF2-40B4-BE49-F238E27FC236}">
                  <a16:creationId xmlns:a16="http://schemas.microsoft.com/office/drawing/2014/main" id="{6C180FCE-9951-114D-42C5-F6534518B342}"/>
                </a:ext>
              </a:extLst>
            </p:cNvPr>
            <p:cNvSpPr>
              <a:spLocks/>
            </p:cNvSpPr>
            <p:nvPr/>
          </p:nvSpPr>
          <p:spPr bwMode="auto">
            <a:xfrm>
              <a:off x="6295680" y="5010260"/>
              <a:ext cx="225883" cy="233112"/>
            </a:xfrm>
            <a:custGeom>
              <a:avLst/>
              <a:gdLst>
                <a:gd name="T0" fmla="*/ 64 w 125"/>
                <a:gd name="T1" fmla="*/ 0 h 129"/>
                <a:gd name="T2" fmla="*/ 70 w 125"/>
                <a:gd name="T3" fmla="*/ 0 h 129"/>
                <a:gd name="T4" fmla="*/ 70 w 125"/>
                <a:gd name="T5" fmla="*/ 1 h 129"/>
                <a:gd name="T6" fmla="*/ 82 w 125"/>
                <a:gd name="T7" fmla="*/ 22 h 129"/>
                <a:gd name="T8" fmla="*/ 104 w 125"/>
                <a:gd name="T9" fmla="*/ 40 h 129"/>
                <a:gd name="T10" fmla="*/ 105 w 125"/>
                <a:gd name="T11" fmla="*/ 52 h 129"/>
                <a:gd name="T12" fmla="*/ 123 w 125"/>
                <a:gd name="T13" fmla="*/ 61 h 129"/>
                <a:gd name="T14" fmla="*/ 125 w 125"/>
                <a:gd name="T15" fmla="*/ 61 h 129"/>
                <a:gd name="T16" fmla="*/ 123 w 125"/>
                <a:gd name="T17" fmla="*/ 62 h 129"/>
                <a:gd name="T18" fmla="*/ 100 w 125"/>
                <a:gd name="T19" fmla="*/ 77 h 129"/>
                <a:gd name="T20" fmla="*/ 79 w 125"/>
                <a:gd name="T21" fmla="*/ 99 h 129"/>
                <a:gd name="T22" fmla="*/ 74 w 125"/>
                <a:gd name="T23" fmla="*/ 110 h 129"/>
                <a:gd name="T24" fmla="*/ 74 w 125"/>
                <a:gd name="T25" fmla="*/ 111 h 129"/>
                <a:gd name="T26" fmla="*/ 64 w 125"/>
                <a:gd name="T27" fmla="*/ 112 h 129"/>
                <a:gd name="T28" fmla="*/ 51 w 125"/>
                <a:gd name="T29" fmla="*/ 108 h 129"/>
                <a:gd name="T30" fmla="*/ 45 w 125"/>
                <a:gd name="T31" fmla="*/ 108 h 129"/>
                <a:gd name="T32" fmla="*/ 31 w 125"/>
                <a:gd name="T33" fmla="*/ 126 h 129"/>
                <a:gd name="T34" fmla="*/ 21 w 125"/>
                <a:gd name="T35" fmla="*/ 129 h 129"/>
                <a:gd name="T36" fmla="*/ 11 w 125"/>
                <a:gd name="T37" fmla="*/ 127 h 129"/>
                <a:gd name="T38" fmla="*/ 11 w 125"/>
                <a:gd name="T39" fmla="*/ 111 h 129"/>
                <a:gd name="T40" fmla="*/ 0 w 125"/>
                <a:gd name="T41" fmla="*/ 98 h 129"/>
                <a:gd name="T42" fmla="*/ 0 w 125"/>
                <a:gd name="T43" fmla="*/ 58 h 129"/>
                <a:gd name="T44" fmla="*/ 12 w 125"/>
                <a:gd name="T45" fmla="*/ 58 h 129"/>
                <a:gd name="T46" fmla="*/ 12 w 125"/>
                <a:gd name="T47" fmla="*/ 10 h 129"/>
                <a:gd name="T48" fmla="*/ 14 w 125"/>
                <a:gd name="T49" fmla="*/ 10 h 129"/>
                <a:gd name="T50" fmla="*/ 39 w 125"/>
                <a:gd name="T51" fmla="*/ 4 h 129"/>
                <a:gd name="T52" fmla="*/ 45 w 125"/>
                <a:gd name="T53" fmla="*/ 6 h 129"/>
                <a:gd name="T54" fmla="*/ 46 w 125"/>
                <a:gd name="T55" fmla="*/ 6 h 129"/>
                <a:gd name="T56" fmla="*/ 48 w 125"/>
                <a:gd name="T57" fmla="*/ 12 h 129"/>
                <a:gd name="T58" fmla="*/ 55 w 125"/>
                <a:gd name="T59" fmla="*/ 4 h 129"/>
                <a:gd name="T60" fmla="*/ 64 w 125"/>
                <a:gd name="T6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 h="129">
                  <a:moveTo>
                    <a:pt x="64" y="0"/>
                  </a:moveTo>
                  <a:lnTo>
                    <a:pt x="70" y="0"/>
                  </a:lnTo>
                  <a:lnTo>
                    <a:pt x="70" y="1"/>
                  </a:lnTo>
                  <a:lnTo>
                    <a:pt x="82" y="22"/>
                  </a:lnTo>
                  <a:lnTo>
                    <a:pt x="104" y="40"/>
                  </a:lnTo>
                  <a:lnTo>
                    <a:pt x="105" y="52"/>
                  </a:lnTo>
                  <a:lnTo>
                    <a:pt x="123" y="61"/>
                  </a:lnTo>
                  <a:lnTo>
                    <a:pt x="125" y="61"/>
                  </a:lnTo>
                  <a:lnTo>
                    <a:pt x="123" y="62"/>
                  </a:lnTo>
                  <a:lnTo>
                    <a:pt x="100" y="77"/>
                  </a:lnTo>
                  <a:lnTo>
                    <a:pt x="79" y="99"/>
                  </a:lnTo>
                  <a:lnTo>
                    <a:pt x="74" y="110"/>
                  </a:lnTo>
                  <a:lnTo>
                    <a:pt x="74" y="111"/>
                  </a:lnTo>
                  <a:lnTo>
                    <a:pt x="64" y="112"/>
                  </a:lnTo>
                  <a:lnTo>
                    <a:pt x="51" y="108"/>
                  </a:lnTo>
                  <a:lnTo>
                    <a:pt x="45" y="108"/>
                  </a:lnTo>
                  <a:lnTo>
                    <a:pt x="31" y="126"/>
                  </a:lnTo>
                  <a:lnTo>
                    <a:pt x="21" y="129"/>
                  </a:lnTo>
                  <a:lnTo>
                    <a:pt x="11" y="127"/>
                  </a:lnTo>
                  <a:lnTo>
                    <a:pt x="11" y="111"/>
                  </a:lnTo>
                  <a:lnTo>
                    <a:pt x="0" y="98"/>
                  </a:lnTo>
                  <a:lnTo>
                    <a:pt x="0" y="58"/>
                  </a:lnTo>
                  <a:lnTo>
                    <a:pt x="12" y="58"/>
                  </a:lnTo>
                  <a:lnTo>
                    <a:pt x="12" y="10"/>
                  </a:lnTo>
                  <a:lnTo>
                    <a:pt x="14" y="10"/>
                  </a:lnTo>
                  <a:lnTo>
                    <a:pt x="39" y="4"/>
                  </a:lnTo>
                  <a:lnTo>
                    <a:pt x="45" y="6"/>
                  </a:lnTo>
                  <a:lnTo>
                    <a:pt x="46" y="6"/>
                  </a:lnTo>
                  <a:lnTo>
                    <a:pt x="48" y="12"/>
                  </a:lnTo>
                  <a:lnTo>
                    <a:pt x="55" y="4"/>
                  </a:lnTo>
                  <a:lnTo>
                    <a:pt x="64"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79" name="Burundi">
              <a:extLst>
                <a:ext uri="{FF2B5EF4-FFF2-40B4-BE49-F238E27FC236}">
                  <a16:creationId xmlns:a16="http://schemas.microsoft.com/office/drawing/2014/main" id="{5139BD9B-9F81-0B3D-1ABB-0166425DEFD9}"/>
                </a:ext>
              </a:extLst>
            </p:cNvPr>
            <p:cNvSpPr>
              <a:spLocks/>
            </p:cNvSpPr>
            <p:nvPr/>
          </p:nvSpPr>
          <p:spPr bwMode="auto">
            <a:xfrm>
              <a:off x="6516141" y="4643426"/>
              <a:ext cx="39755" cy="50598"/>
            </a:xfrm>
            <a:custGeom>
              <a:avLst/>
              <a:gdLst>
                <a:gd name="T0" fmla="*/ 10 w 22"/>
                <a:gd name="T1" fmla="*/ 0 h 28"/>
                <a:gd name="T2" fmla="*/ 20 w 22"/>
                <a:gd name="T3" fmla="*/ 0 h 28"/>
                <a:gd name="T4" fmla="*/ 20 w 22"/>
                <a:gd name="T5" fmla="*/ 1 h 28"/>
                <a:gd name="T6" fmla="*/ 19 w 22"/>
                <a:gd name="T7" fmla="*/ 4 h 28"/>
                <a:gd name="T8" fmla="*/ 22 w 22"/>
                <a:gd name="T9" fmla="*/ 12 h 28"/>
                <a:gd name="T10" fmla="*/ 15 w 22"/>
                <a:gd name="T11" fmla="*/ 25 h 28"/>
                <a:gd name="T12" fmla="*/ 13 w 22"/>
                <a:gd name="T13" fmla="*/ 25 h 28"/>
                <a:gd name="T14" fmla="*/ 7 w 22"/>
                <a:gd name="T15" fmla="*/ 28 h 28"/>
                <a:gd name="T16" fmla="*/ 6 w 22"/>
                <a:gd name="T17" fmla="*/ 28 h 28"/>
                <a:gd name="T18" fmla="*/ 6 w 22"/>
                <a:gd name="T19" fmla="*/ 26 h 28"/>
                <a:gd name="T20" fmla="*/ 1 w 22"/>
                <a:gd name="T21" fmla="*/ 13 h 28"/>
                <a:gd name="T22" fmla="*/ 0 w 22"/>
                <a:gd name="T23" fmla="*/ 6 h 28"/>
                <a:gd name="T24" fmla="*/ 1 w 22"/>
                <a:gd name="T25" fmla="*/ 1 h 28"/>
                <a:gd name="T26" fmla="*/ 6 w 22"/>
                <a:gd name="T27" fmla="*/ 4 h 28"/>
                <a:gd name="T28" fmla="*/ 9 w 22"/>
                <a:gd name="T29" fmla="*/ 4 h 28"/>
                <a:gd name="T30" fmla="*/ 10 w 22"/>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8">
                  <a:moveTo>
                    <a:pt x="10" y="0"/>
                  </a:moveTo>
                  <a:lnTo>
                    <a:pt x="20" y="0"/>
                  </a:lnTo>
                  <a:lnTo>
                    <a:pt x="20" y="1"/>
                  </a:lnTo>
                  <a:lnTo>
                    <a:pt x="19" y="4"/>
                  </a:lnTo>
                  <a:lnTo>
                    <a:pt x="22" y="12"/>
                  </a:lnTo>
                  <a:lnTo>
                    <a:pt x="15" y="25"/>
                  </a:lnTo>
                  <a:lnTo>
                    <a:pt x="13" y="25"/>
                  </a:lnTo>
                  <a:lnTo>
                    <a:pt x="7" y="28"/>
                  </a:lnTo>
                  <a:lnTo>
                    <a:pt x="6" y="28"/>
                  </a:lnTo>
                  <a:lnTo>
                    <a:pt x="6" y="26"/>
                  </a:lnTo>
                  <a:lnTo>
                    <a:pt x="1" y="13"/>
                  </a:lnTo>
                  <a:lnTo>
                    <a:pt x="0" y="6"/>
                  </a:lnTo>
                  <a:lnTo>
                    <a:pt x="1" y="1"/>
                  </a:lnTo>
                  <a:lnTo>
                    <a:pt x="6" y="4"/>
                  </a:lnTo>
                  <a:lnTo>
                    <a:pt x="9" y="4"/>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80" name="Burkina Faso">
              <a:extLst>
                <a:ext uri="{FF2B5EF4-FFF2-40B4-BE49-F238E27FC236}">
                  <a16:creationId xmlns:a16="http://schemas.microsoft.com/office/drawing/2014/main" id="{DEB0F2F7-C9CE-50B6-8716-A52C434B1216}"/>
                </a:ext>
              </a:extLst>
            </p:cNvPr>
            <p:cNvSpPr>
              <a:spLocks/>
            </p:cNvSpPr>
            <p:nvPr/>
          </p:nvSpPr>
          <p:spPr bwMode="auto">
            <a:xfrm>
              <a:off x="5704771" y="4233223"/>
              <a:ext cx="178900" cy="133723"/>
            </a:xfrm>
            <a:custGeom>
              <a:avLst/>
              <a:gdLst>
                <a:gd name="T0" fmla="*/ 66 w 99"/>
                <a:gd name="T1" fmla="*/ 0 h 74"/>
                <a:gd name="T2" fmla="*/ 71 w 99"/>
                <a:gd name="T3" fmla="*/ 0 h 74"/>
                <a:gd name="T4" fmla="*/ 69 w 99"/>
                <a:gd name="T5" fmla="*/ 6 h 74"/>
                <a:gd name="T6" fmla="*/ 74 w 99"/>
                <a:gd name="T7" fmla="*/ 13 h 74"/>
                <a:gd name="T8" fmla="*/ 86 w 99"/>
                <a:gd name="T9" fmla="*/ 30 h 74"/>
                <a:gd name="T10" fmla="*/ 96 w 99"/>
                <a:gd name="T11" fmla="*/ 30 h 74"/>
                <a:gd name="T12" fmla="*/ 97 w 99"/>
                <a:gd name="T13" fmla="*/ 34 h 74"/>
                <a:gd name="T14" fmla="*/ 96 w 99"/>
                <a:gd name="T15" fmla="*/ 37 h 74"/>
                <a:gd name="T16" fmla="*/ 99 w 99"/>
                <a:gd name="T17" fmla="*/ 40 h 74"/>
                <a:gd name="T18" fmla="*/ 99 w 99"/>
                <a:gd name="T19" fmla="*/ 41 h 74"/>
                <a:gd name="T20" fmla="*/ 94 w 99"/>
                <a:gd name="T21" fmla="*/ 47 h 74"/>
                <a:gd name="T22" fmla="*/ 87 w 99"/>
                <a:gd name="T23" fmla="*/ 47 h 74"/>
                <a:gd name="T24" fmla="*/ 80 w 99"/>
                <a:gd name="T25" fmla="*/ 53 h 74"/>
                <a:gd name="T26" fmla="*/ 74 w 99"/>
                <a:gd name="T27" fmla="*/ 55 h 74"/>
                <a:gd name="T28" fmla="*/ 65 w 99"/>
                <a:gd name="T29" fmla="*/ 52 h 74"/>
                <a:gd name="T30" fmla="*/ 57 w 99"/>
                <a:gd name="T31" fmla="*/ 55 h 74"/>
                <a:gd name="T32" fmla="*/ 31 w 99"/>
                <a:gd name="T33" fmla="*/ 53 h 74"/>
                <a:gd name="T34" fmla="*/ 31 w 99"/>
                <a:gd name="T35" fmla="*/ 58 h 74"/>
                <a:gd name="T36" fmla="*/ 34 w 99"/>
                <a:gd name="T37" fmla="*/ 73 h 74"/>
                <a:gd name="T38" fmla="*/ 34 w 99"/>
                <a:gd name="T39" fmla="*/ 74 h 74"/>
                <a:gd name="T40" fmla="*/ 29 w 99"/>
                <a:gd name="T41" fmla="*/ 74 h 74"/>
                <a:gd name="T42" fmla="*/ 26 w 99"/>
                <a:gd name="T43" fmla="*/ 68 h 74"/>
                <a:gd name="T44" fmla="*/ 20 w 99"/>
                <a:gd name="T45" fmla="*/ 67 h 74"/>
                <a:gd name="T46" fmla="*/ 11 w 99"/>
                <a:gd name="T47" fmla="*/ 71 h 74"/>
                <a:gd name="T48" fmla="*/ 6 w 99"/>
                <a:gd name="T49" fmla="*/ 71 h 74"/>
                <a:gd name="T50" fmla="*/ 0 w 99"/>
                <a:gd name="T51" fmla="*/ 62 h 74"/>
                <a:gd name="T52" fmla="*/ 3 w 99"/>
                <a:gd name="T53" fmla="*/ 46 h 74"/>
                <a:gd name="T54" fmla="*/ 11 w 99"/>
                <a:gd name="T55" fmla="*/ 35 h 74"/>
                <a:gd name="T56" fmla="*/ 17 w 99"/>
                <a:gd name="T57" fmla="*/ 24 h 74"/>
                <a:gd name="T58" fmla="*/ 35 w 99"/>
                <a:gd name="T59" fmla="*/ 18 h 74"/>
                <a:gd name="T60" fmla="*/ 56 w 99"/>
                <a:gd name="T61" fmla="*/ 1 h 74"/>
                <a:gd name="T62" fmla="*/ 62 w 99"/>
                <a:gd name="T63" fmla="*/ 1 h 74"/>
                <a:gd name="T64" fmla="*/ 66 w 99"/>
                <a:gd name="T6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74">
                  <a:moveTo>
                    <a:pt x="66" y="0"/>
                  </a:moveTo>
                  <a:lnTo>
                    <a:pt x="71" y="0"/>
                  </a:lnTo>
                  <a:lnTo>
                    <a:pt x="69" y="6"/>
                  </a:lnTo>
                  <a:lnTo>
                    <a:pt x="74" y="13"/>
                  </a:lnTo>
                  <a:lnTo>
                    <a:pt x="86" y="30"/>
                  </a:lnTo>
                  <a:lnTo>
                    <a:pt x="96" y="30"/>
                  </a:lnTo>
                  <a:lnTo>
                    <a:pt x="97" y="34"/>
                  </a:lnTo>
                  <a:lnTo>
                    <a:pt x="96" y="37"/>
                  </a:lnTo>
                  <a:lnTo>
                    <a:pt x="99" y="40"/>
                  </a:lnTo>
                  <a:lnTo>
                    <a:pt x="99" y="41"/>
                  </a:lnTo>
                  <a:lnTo>
                    <a:pt x="94" y="47"/>
                  </a:lnTo>
                  <a:lnTo>
                    <a:pt x="87" y="47"/>
                  </a:lnTo>
                  <a:lnTo>
                    <a:pt x="80" y="53"/>
                  </a:lnTo>
                  <a:lnTo>
                    <a:pt x="74" y="55"/>
                  </a:lnTo>
                  <a:lnTo>
                    <a:pt x="65" y="52"/>
                  </a:lnTo>
                  <a:lnTo>
                    <a:pt x="57" y="55"/>
                  </a:lnTo>
                  <a:lnTo>
                    <a:pt x="31" y="53"/>
                  </a:lnTo>
                  <a:lnTo>
                    <a:pt x="31" y="58"/>
                  </a:lnTo>
                  <a:lnTo>
                    <a:pt x="34" y="73"/>
                  </a:lnTo>
                  <a:lnTo>
                    <a:pt x="34" y="74"/>
                  </a:lnTo>
                  <a:lnTo>
                    <a:pt x="29" y="74"/>
                  </a:lnTo>
                  <a:lnTo>
                    <a:pt x="26" y="68"/>
                  </a:lnTo>
                  <a:lnTo>
                    <a:pt x="20" y="67"/>
                  </a:lnTo>
                  <a:lnTo>
                    <a:pt x="11" y="71"/>
                  </a:lnTo>
                  <a:lnTo>
                    <a:pt x="6" y="71"/>
                  </a:lnTo>
                  <a:lnTo>
                    <a:pt x="0" y="62"/>
                  </a:lnTo>
                  <a:lnTo>
                    <a:pt x="3" y="46"/>
                  </a:lnTo>
                  <a:lnTo>
                    <a:pt x="11" y="35"/>
                  </a:lnTo>
                  <a:lnTo>
                    <a:pt x="17" y="24"/>
                  </a:lnTo>
                  <a:lnTo>
                    <a:pt x="35" y="18"/>
                  </a:lnTo>
                  <a:lnTo>
                    <a:pt x="56" y="1"/>
                  </a:lnTo>
                  <a:lnTo>
                    <a:pt x="62" y="1"/>
                  </a:lnTo>
                  <a:lnTo>
                    <a:pt x="6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81" name="Benin">
              <a:extLst>
                <a:ext uri="{FF2B5EF4-FFF2-40B4-BE49-F238E27FC236}">
                  <a16:creationId xmlns:a16="http://schemas.microsoft.com/office/drawing/2014/main" id="{35F39237-2774-DF03-B19A-3AE3856054F7}"/>
                </a:ext>
              </a:extLst>
            </p:cNvPr>
            <p:cNvSpPr>
              <a:spLocks/>
            </p:cNvSpPr>
            <p:nvPr/>
          </p:nvSpPr>
          <p:spPr bwMode="auto">
            <a:xfrm>
              <a:off x="5845723" y="4294663"/>
              <a:ext cx="70476" cy="149986"/>
            </a:xfrm>
            <a:custGeom>
              <a:avLst/>
              <a:gdLst>
                <a:gd name="T0" fmla="*/ 27 w 39"/>
                <a:gd name="T1" fmla="*/ 0 h 83"/>
                <a:gd name="T2" fmla="*/ 37 w 39"/>
                <a:gd name="T3" fmla="*/ 9 h 83"/>
                <a:gd name="T4" fmla="*/ 37 w 39"/>
                <a:gd name="T5" fmla="*/ 10 h 83"/>
                <a:gd name="T6" fmla="*/ 36 w 39"/>
                <a:gd name="T7" fmla="*/ 13 h 83"/>
                <a:gd name="T8" fmla="*/ 39 w 39"/>
                <a:gd name="T9" fmla="*/ 18 h 83"/>
                <a:gd name="T10" fmla="*/ 39 w 39"/>
                <a:gd name="T11" fmla="*/ 27 h 83"/>
                <a:gd name="T12" fmla="*/ 37 w 39"/>
                <a:gd name="T13" fmla="*/ 28 h 83"/>
                <a:gd name="T14" fmla="*/ 37 w 39"/>
                <a:gd name="T15" fmla="*/ 34 h 83"/>
                <a:gd name="T16" fmla="*/ 31 w 39"/>
                <a:gd name="T17" fmla="*/ 39 h 83"/>
                <a:gd name="T18" fmla="*/ 27 w 39"/>
                <a:gd name="T19" fmla="*/ 52 h 83"/>
                <a:gd name="T20" fmla="*/ 27 w 39"/>
                <a:gd name="T21" fmla="*/ 82 h 83"/>
                <a:gd name="T22" fmla="*/ 24 w 39"/>
                <a:gd name="T23" fmla="*/ 82 h 83"/>
                <a:gd name="T24" fmla="*/ 21 w 39"/>
                <a:gd name="T25" fmla="*/ 83 h 83"/>
                <a:gd name="T26" fmla="*/ 15 w 39"/>
                <a:gd name="T27" fmla="*/ 83 h 83"/>
                <a:gd name="T28" fmla="*/ 12 w 39"/>
                <a:gd name="T29" fmla="*/ 77 h 83"/>
                <a:gd name="T30" fmla="*/ 12 w 39"/>
                <a:gd name="T31" fmla="*/ 49 h 83"/>
                <a:gd name="T32" fmla="*/ 8 w 39"/>
                <a:gd name="T33" fmla="*/ 34 h 83"/>
                <a:gd name="T34" fmla="*/ 0 w 39"/>
                <a:gd name="T35" fmla="*/ 28 h 83"/>
                <a:gd name="T36" fmla="*/ 0 w 39"/>
                <a:gd name="T37" fmla="*/ 19 h 83"/>
                <a:gd name="T38" fmla="*/ 8 w 39"/>
                <a:gd name="T39" fmla="*/ 12 h 83"/>
                <a:gd name="T40" fmla="*/ 16 w 39"/>
                <a:gd name="T41" fmla="*/ 12 h 83"/>
                <a:gd name="T42" fmla="*/ 21 w 39"/>
                <a:gd name="T43" fmla="*/ 6 h 83"/>
                <a:gd name="T44" fmla="*/ 19 w 39"/>
                <a:gd name="T45" fmla="*/ 3 h 83"/>
                <a:gd name="T46" fmla="*/ 19 w 39"/>
                <a:gd name="T47" fmla="*/ 1 h 83"/>
                <a:gd name="T48" fmla="*/ 21 w 39"/>
                <a:gd name="T49" fmla="*/ 1 h 83"/>
                <a:gd name="T50" fmla="*/ 27 w 39"/>
                <a:gd name="T5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83">
                  <a:moveTo>
                    <a:pt x="27" y="0"/>
                  </a:moveTo>
                  <a:lnTo>
                    <a:pt x="37" y="9"/>
                  </a:lnTo>
                  <a:lnTo>
                    <a:pt x="37" y="10"/>
                  </a:lnTo>
                  <a:lnTo>
                    <a:pt x="36" y="13"/>
                  </a:lnTo>
                  <a:lnTo>
                    <a:pt x="39" y="18"/>
                  </a:lnTo>
                  <a:lnTo>
                    <a:pt x="39" y="27"/>
                  </a:lnTo>
                  <a:lnTo>
                    <a:pt x="37" y="28"/>
                  </a:lnTo>
                  <a:lnTo>
                    <a:pt x="37" y="34"/>
                  </a:lnTo>
                  <a:lnTo>
                    <a:pt x="31" y="39"/>
                  </a:lnTo>
                  <a:lnTo>
                    <a:pt x="27" y="52"/>
                  </a:lnTo>
                  <a:lnTo>
                    <a:pt x="27" y="82"/>
                  </a:lnTo>
                  <a:lnTo>
                    <a:pt x="24" y="82"/>
                  </a:lnTo>
                  <a:lnTo>
                    <a:pt x="21" y="83"/>
                  </a:lnTo>
                  <a:lnTo>
                    <a:pt x="15" y="83"/>
                  </a:lnTo>
                  <a:lnTo>
                    <a:pt x="12" y="77"/>
                  </a:lnTo>
                  <a:lnTo>
                    <a:pt x="12" y="49"/>
                  </a:lnTo>
                  <a:lnTo>
                    <a:pt x="8" y="34"/>
                  </a:lnTo>
                  <a:lnTo>
                    <a:pt x="0" y="28"/>
                  </a:lnTo>
                  <a:lnTo>
                    <a:pt x="0" y="19"/>
                  </a:lnTo>
                  <a:lnTo>
                    <a:pt x="8" y="12"/>
                  </a:lnTo>
                  <a:lnTo>
                    <a:pt x="16" y="12"/>
                  </a:lnTo>
                  <a:lnTo>
                    <a:pt x="21" y="6"/>
                  </a:lnTo>
                  <a:lnTo>
                    <a:pt x="19" y="3"/>
                  </a:lnTo>
                  <a:lnTo>
                    <a:pt x="19" y="1"/>
                  </a:lnTo>
                  <a:lnTo>
                    <a:pt x="21" y="1"/>
                  </a:lnTo>
                  <a:lnTo>
                    <a:pt x="2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82" name="Angola">
              <a:extLst>
                <a:ext uri="{FF2B5EF4-FFF2-40B4-BE49-F238E27FC236}">
                  <a16:creationId xmlns:a16="http://schemas.microsoft.com/office/drawing/2014/main" id="{5A007457-88B6-0482-18F9-3E61254FF3B5}"/>
                </a:ext>
              </a:extLst>
            </p:cNvPr>
            <p:cNvSpPr>
              <a:spLocks/>
            </p:cNvSpPr>
            <p:nvPr/>
          </p:nvSpPr>
          <p:spPr bwMode="auto">
            <a:xfrm>
              <a:off x="6100517" y="4722936"/>
              <a:ext cx="298166" cy="298166"/>
            </a:xfrm>
            <a:custGeom>
              <a:avLst/>
              <a:gdLst>
                <a:gd name="T0" fmla="*/ 61 w 165"/>
                <a:gd name="T1" fmla="*/ 0 h 165"/>
                <a:gd name="T2" fmla="*/ 67 w 165"/>
                <a:gd name="T3" fmla="*/ 5 h 165"/>
                <a:gd name="T4" fmla="*/ 71 w 165"/>
                <a:gd name="T5" fmla="*/ 21 h 165"/>
                <a:gd name="T6" fmla="*/ 80 w 165"/>
                <a:gd name="T7" fmla="*/ 31 h 165"/>
                <a:gd name="T8" fmla="*/ 99 w 165"/>
                <a:gd name="T9" fmla="*/ 28 h 165"/>
                <a:gd name="T10" fmla="*/ 104 w 165"/>
                <a:gd name="T11" fmla="*/ 16 h 165"/>
                <a:gd name="T12" fmla="*/ 110 w 165"/>
                <a:gd name="T13" fmla="*/ 16 h 165"/>
                <a:gd name="T14" fmla="*/ 114 w 165"/>
                <a:gd name="T15" fmla="*/ 15 h 165"/>
                <a:gd name="T16" fmla="*/ 122 w 165"/>
                <a:gd name="T17" fmla="*/ 15 h 165"/>
                <a:gd name="T18" fmla="*/ 120 w 165"/>
                <a:gd name="T19" fmla="*/ 19 h 165"/>
                <a:gd name="T20" fmla="*/ 132 w 165"/>
                <a:gd name="T21" fmla="*/ 19 h 165"/>
                <a:gd name="T22" fmla="*/ 133 w 165"/>
                <a:gd name="T23" fmla="*/ 24 h 165"/>
                <a:gd name="T24" fmla="*/ 133 w 165"/>
                <a:gd name="T25" fmla="*/ 49 h 165"/>
                <a:gd name="T26" fmla="*/ 139 w 165"/>
                <a:gd name="T27" fmla="*/ 64 h 165"/>
                <a:gd name="T28" fmla="*/ 136 w 165"/>
                <a:gd name="T29" fmla="*/ 70 h 165"/>
                <a:gd name="T30" fmla="*/ 139 w 165"/>
                <a:gd name="T31" fmla="*/ 73 h 165"/>
                <a:gd name="T32" fmla="*/ 142 w 165"/>
                <a:gd name="T33" fmla="*/ 68 h 165"/>
                <a:gd name="T34" fmla="*/ 151 w 165"/>
                <a:gd name="T35" fmla="*/ 68 h 165"/>
                <a:gd name="T36" fmla="*/ 154 w 165"/>
                <a:gd name="T37" fmla="*/ 67 h 165"/>
                <a:gd name="T38" fmla="*/ 163 w 165"/>
                <a:gd name="T39" fmla="*/ 67 h 165"/>
                <a:gd name="T40" fmla="*/ 162 w 165"/>
                <a:gd name="T41" fmla="*/ 94 h 165"/>
                <a:gd name="T42" fmla="*/ 165 w 165"/>
                <a:gd name="T43" fmla="*/ 95 h 165"/>
                <a:gd name="T44" fmla="*/ 165 w 165"/>
                <a:gd name="T45" fmla="*/ 97 h 165"/>
                <a:gd name="T46" fmla="*/ 136 w 165"/>
                <a:gd name="T47" fmla="*/ 97 h 165"/>
                <a:gd name="T48" fmla="*/ 136 w 165"/>
                <a:gd name="T49" fmla="*/ 144 h 165"/>
                <a:gd name="T50" fmla="*/ 153 w 165"/>
                <a:gd name="T51" fmla="*/ 157 h 165"/>
                <a:gd name="T52" fmla="*/ 153 w 165"/>
                <a:gd name="T53" fmla="*/ 159 h 165"/>
                <a:gd name="T54" fmla="*/ 129 w 165"/>
                <a:gd name="T55" fmla="*/ 165 h 165"/>
                <a:gd name="T56" fmla="*/ 111 w 165"/>
                <a:gd name="T57" fmla="*/ 160 h 165"/>
                <a:gd name="T58" fmla="*/ 98 w 165"/>
                <a:gd name="T59" fmla="*/ 160 h 165"/>
                <a:gd name="T60" fmla="*/ 86 w 165"/>
                <a:gd name="T61" fmla="*/ 154 h 165"/>
                <a:gd name="T62" fmla="*/ 30 w 165"/>
                <a:gd name="T63" fmla="*/ 154 h 165"/>
                <a:gd name="T64" fmla="*/ 19 w 165"/>
                <a:gd name="T65" fmla="*/ 148 h 165"/>
                <a:gd name="T66" fmla="*/ 15 w 165"/>
                <a:gd name="T67" fmla="*/ 148 h 165"/>
                <a:gd name="T68" fmla="*/ 7 w 165"/>
                <a:gd name="T69" fmla="*/ 153 h 165"/>
                <a:gd name="T70" fmla="*/ 7 w 165"/>
                <a:gd name="T71" fmla="*/ 151 h 165"/>
                <a:gd name="T72" fmla="*/ 6 w 165"/>
                <a:gd name="T73" fmla="*/ 151 h 165"/>
                <a:gd name="T74" fmla="*/ 0 w 165"/>
                <a:gd name="T75" fmla="*/ 154 h 165"/>
                <a:gd name="T76" fmla="*/ 0 w 165"/>
                <a:gd name="T77" fmla="*/ 135 h 165"/>
                <a:gd name="T78" fmla="*/ 9 w 165"/>
                <a:gd name="T79" fmla="*/ 107 h 165"/>
                <a:gd name="T80" fmla="*/ 16 w 165"/>
                <a:gd name="T81" fmla="*/ 94 h 165"/>
                <a:gd name="T82" fmla="*/ 25 w 165"/>
                <a:gd name="T83" fmla="*/ 85 h 165"/>
                <a:gd name="T84" fmla="*/ 27 w 165"/>
                <a:gd name="T85" fmla="*/ 70 h 165"/>
                <a:gd name="T86" fmla="*/ 27 w 165"/>
                <a:gd name="T87" fmla="*/ 64 h 165"/>
                <a:gd name="T88" fmla="*/ 22 w 165"/>
                <a:gd name="T89" fmla="*/ 58 h 165"/>
                <a:gd name="T90" fmla="*/ 19 w 165"/>
                <a:gd name="T91" fmla="*/ 46 h 165"/>
                <a:gd name="T92" fmla="*/ 19 w 165"/>
                <a:gd name="T93" fmla="*/ 45 h 165"/>
                <a:gd name="T94" fmla="*/ 22 w 165"/>
                <a:gd name="T95" fmla="*/ 40 h 165"/>
                <a:gd name="T96" fmla="*/ 19 w 165"/>
                <a:gd name="T97" fmla="*/ 34 h 165"/>
                <a:gd name="T98" fmla="*/ 9 w 165"/>
                <a:gd name="T99" fmla="*/ 8 h 165"/>
                <a:gd name="T100" fmla="*/ 9 w 165"/>
                <a:gd name="T101" fmla="*/ 6 h 165"/>
                <a:gd name="T102" fmla="*/ 22 w 165"/>
                <a:gd name="T103" fmla="*/ 2 h 165"/>
                <a:gd name="T104" fmla="*/ 61 w 165"/>
                <a:gd name="T10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 h="165">
                  <a:moveTo>
                    <a:pt x="61" y="0"/>
                  </a:moveTo>
                  <a:lnTo>
                    <a:pt x="67" y="5"/>
                  </a:lnTo>
                  <a:lnTo>
                    <a:pt x="71" y="21"/>
                  </a:lnTo>
                  <a:lnTo>
                    <a:pt x="80" y="31"/>
                  </a:lnTo>
                  <a:lnTo>
                    <a:pt x="99" y="28"/>
                  </a:lnTo>
                  <a:lnTo>
                    <a:pt x="104" y="16"/>
                  </a:lnTo>
                  <a:lnTo>
                    <a:pt x="110" y="16"/>
                  </a:lnTo>
                  <a:lnTo>
                    <a:pt x="114" y="15"/>
                  </a:lnTo>
                  <a:lnTo>
                    <a:pt x="122" y="15"/>
                  </a:lnTo>
                  <a:lnTo>
                    <a:pt x="120" y="19"/>
                  </a:lnTo>
                  <a:lnTo>
                    <a:pt x="132" y="19"/>
                  </a:lnTo>
                  <a:lnTo>
                    <a:pt x="133" y="24"/>
                  </a:lnTo>
                  <a:lnTo>
                    <a:pt x="133" y="49"/>
                  </a:lnTo>
                  <a:lnTo>
                    <a:pt x="139" y="64"/>
                  </a:lnTo>
                  <a:lnTo>
                    <a:pt x="136" y="70"/>
                  </a:lnTo>
                  <a:lnTo>
                    <a:pt x="139" y="73"/>
                  </a:lnTo>
                  <a:lnTo>
                    <a:pt x="142" y="68"/>
                  </a:lnTo>
                  <a:lnTo>
                    <a:pt x="151" y="68"/>
                  </a:lnTo>
                  <a:lnTo>
                    <a:pt x="154" y="67"/>
                  </a:lnTo>
                  <a:lnTo>
                    <a:pt x="163" y="67"/>
                  </a:lnTo>
                  <a:lnTo>
                    <a:pt x="162" y="94"/>
                  </a:lnTo>
                  <a:lnTo>
                    <a:pt x="165" y="95"/>
                  </a:lnTo>
                  <a:lnTo>
                    <a:pt x="165" y="97"/>
                  </a:lnTo>
                  <a:lnTo>
                    <a:pt x="136" y="97"/>
                  </a:lnTo>
                  <a:lnTo>
                    <a:pt x="136" y="144"/>
                  </a:lnTo>
                  <a:lnTo>
                    <a:pt x="153" y="157"/>
                  </a:lnTo>
                  <a:lnTo>
                    <a:pt x="153" y="159"/>
                  </a:lnTo>
                  <a:lnTo>
                    <a:pt x="129" y="165"/>
                  </a:lnTo>
                  <a:lnTo>
                    <a:pt x="111" y="160"/>
                  </a:lnTo>
                  <a:lnTo>
                    <a:pt x="98" y="160"/>
                  </a:lnTo>
                  <a:lnTo>
                    <a:pt x="86" y="154"/>
                  </a:lnTo>
                  <a:lnTo>
                    <a:pt x="30" y="154"/>
                  </a:lnTo>
                  <a:lnTo>
                    <a:pt x="19" y="148"/>
                  </a:lnTo>
                  <a:lnTo>
                    <a:pt x="15" y="148"/>
                  </a:lnTo>
                  <a:lnTo>
                    <a:pt x="7" y="153"/>
                  </a:lnTo>
                  <a:lnTo>
                    <a:pt x="7" y="151"/>
                  </a:lnTo>
                  <a:lnTo>
                    <a:pt x="6" y="151"/>
                  </a:lnTo>
                  <a:lnTo>
                    <a:pt x="0" y="154"/>
                  </a:lnTo>
                  <a:lnTo>
                    <a:pt x="0" y="135"/>
                  </a:lnTo>
                  <a:lnTo>
                    <a:pt x="9" y="107"/>
                  </a:lnTo>
                  <a:lnTo>
                    <a:pt x="16" y="94"/>
                  </a:lnTo>
                  <a:lnTo>
                    <a:pt x="25" y="85"/>
                  </a:lnTo>
                  <a:lnTo>
                    <a:pt x="27" y="70"/>
                  </a:lnTo>
                  <a:lnTo>
                    <a:pt x="27" y="64"/>
                  </a:lnTo>
                  <a:lnTo>
                    <a:pt x="22" y="58"/>
                  </a:lnTo>
                  <a:lnTo>
                    <a:pt x="19" y="46"/>
                  </a:lnTo>
                  <a:lnTo>
                    <a:pt x="19" y="45"/>
                  </a:lnTo>
                  <a:lnTo>
                    <a:pt x="22" y="40"/>
                  </a:lnTo>
                  <a:lnTo>
                    <a:pt x="19" y="34"/>
                  </a:lnTo>
                  <a:lnTo>
                    <a:pt x="9" y="8"/>
                  </a:lnTo>
                  <a:lnTo>
                    <a:pt x="9" y="6"/>
                  </a:lnTo>
                  <a:lnTo>
                    <a:pt x="22" y="2"/>
                  </a:lnTo>
                  <a:lnTo>
                    <a:pt x="6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83" name="Algeria">
              <a:extLst>
                <a:ext uri="{FF2B5EF4-FFF2-40B4-BE49-F238E27FC236}">
                  <a16:creationId xmlns:a16="http://schemas.microsoft.com/office/drawing/2014/main" id="{23B0C4FA-022D-FA90-A206-C39ABCF084B9}"/>
                </a:ext>
              </a:extLst>
            </p:cNvPr>
            <p:cNvSpPr>
              <a:spLocks/>
            </p:cNvSpPr>
            <p:nvPr/>
          </p:nvSpPr>
          <p:spPr bwMode="auto">
            <a:xfrm>
              <a:off x="5623454" y="3653663"/>
              <a:ext cx="482486" cy="486100"/>
            </a:xfrm>
            <a:custGeom>
              <a:avLst/>
              <a:gdLst>
                <a:gd name="T0" fmla="*/ 203 w 267"/>
                <a:gd name="T1" fmla="*/ 3 h 269"/>
                <a:gd name="T2" fmla="*/ 217 w 267"/>
                <a:gd name="T3" fmla="*/ 3 h 269"/>
                <a:gd name="T4" fmla="*/ 224 w 267"/>
                <a:gd name="T5" fmla="*/ 1 h 269"/>
                <a:gd name="T6" fmla="*/ 227 w 267"/>
                <a:gd name="T7" fmla="*/ 3 h 269"/>
                <a:gd name="T8" fmla="*/ 224 w 267"/>
                <a:gd name="T9" fmla="*/ 10 h 269"/>
                <a:gd name="T10" fmla="*/ 224 w 267"/>
                <a:gd name="T11" fmla="*/ 31 h 269"/>
                <a:gd name="T12" fmla="*/ 211 w 267"/>
                <a:gd name="T13" fmla="*/ 50 h 269"/>
                <a:gd name="T14" fmla="*/ 218 w 267"/>
                <a:gd name="T15" fmla="*/ 63 h 269"/>
                <a:gd name="T16" fmla="*/ 231 w 267"/>
                <a:gd name="T17" fmla="*/ 78 h 269"/>
                <a:gd name="T18" fmla="*/ 236 w 267"/>
                <a:gd name="T19" fmla="*/ 106 h 269"/>
                <a:gd name="T20" fmla="*/ 239 w 267"/>
                <a:gd name="T21" fmla="*/ 121 h 269"/>
                <a:gd name="T22" fmla="*/ 239 w 267"/>
                <a:gd name="T23" fmla="*/ 163 h 269"/>
                <a:gd name="T24" fmla="*/ 242 w 267"/>
                <a:gd name="T25" fmla="*/ 179 h 269"/>
                <a:gd name="T26" fmla="*/ 246 w 267"/>
                <a:gd name="T27" fmla="*/ 189 h 269"/>
                <a:gd name="T28" fmla="*/ 267 w 267"/>
                <a:gd name="T29" fmla="*/ 206 h 269"/>
                <a:gd name="T30" fmla="*/ 187 w 267"/>
                <a:gd name="T31" fmla="*/ 262 h 269"/>
                <a:gd name="T32" fmla="*/ 157 w 267"/>
                <a:gd name="T33" fmla="*/ 269 h 269"/>
                <a:gd name="T34" fmla="*/ 153 w 267"/>
                <a:gd name="T35" fmla="*/ 268 h 269"/>
                <a:gd name="T36" fmla="*/ 154 w 267"/>
                <a:gd name="T37" fmla="*/ 256 h 269"/>
                <a:gd name="T38" fmla="*/ 134 w 267"/>
                <a:gd name="T39" fmla="*/ 246 h 269"/>
                <a:gd name="T40" fmla="*/ 126 w 267"/>
                <a:gd name="T41" fmla="*/ 238 h 269"/>
                <a:gd name="T42" fmla="*/ 2 w 267"/>
                <a:gd name="T43" fmla="*/ 152 h 269"/>
                <a:gd name="T44" fmla="*/ 0 w 267"/>
                <a:gd name="T45" fmla="*/ 129 h 269"/>
                <a:gd name="T46" fmla="*/ 21 w 267"/>
                <a:gd name="T47" fmla="*/ 115 h 269"/>
                <a:gd name="T48" fmla="*/ 28 w 267"/>
                <a:gd name="T49" fmla="*/ 112 h 269"/>
                <a:gd name="T50" fmla="*/ 51 w 267"/>
                <a:gd name="T51" fmla="*/ 102 h 269"/>
                <a:gd name="T52" fmla="*/ 62 w 267"/>
                <a:gd name="T53" fmla="*/ 93 h 269"/>
                <a:gd name="T54" fmla="*/ 64 w 267"/>
                <a:gd name="T55" fmla="*/ 84 h 269"/>
                <a:gd name="T56" fmla="*/ 74 w 267"/>
                <a:gd name="T57" fmla="*/ 78 h 269"/>
                <a:gd name="T58" fmla="*/ 96 w 267"/>
                <a:gd name="T59" fmla="*/ 77 h 269"/>
                <a:gd name="T60" fmla="*/ 98 w 267"/>
                <a:gd name="T61" fmla="*/ 72 h 269"/>
                <a:gd name="T62" fmla="*/ 91 w 267"/>
                <a:gd name="T63" fmla="*/ 37 h 269"/>
                <a:gd name="T64" fmla="*/ 88 w 267"/>
                <a:gd name="T65" fmla="*/ 32 h 269"/>
                <a:gd name="T66" fmla="*/ 102 w 267"/>
                <a:gd name="T67" fmla="*/ 22 h 269"/>
                <a:gd name="T68" fmla="*/ 117 w 267"/>
                <a:gd name="T69" fmla="*/ 16 h 269"/>
                <a:gd name="T70" fmla="*/ 165 w 267"/>
                <a:gd name="T71" fmla="*/ 3 h 269"/>
                <a:gd name="T72" fmla="*/ 182 w 267"/>
                <a:gd name="T73" fmla="*/ 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7" h="269">
                  <a:moveTo>
                    <a:pt x="196" y="0"/>
                  </a:moveTo>
                  <a:lnTo>
                    <a:pt x="203" y="3"/>
                  </a:lnTo>
                  <a:lnTo>
                    <a:pt x="208" y="0"/>
                  </a:lnTo>
                  <a:lnTo>
                    <a:pt x="217" y="3"/>
                  </a:lnTo>
                  <a:lnTo>
                    <a:pt x="220" y="3"/>
                  </a:lnTo>
                  <a:lnTo>
                    <a:pt x="224" y="1"/>
                  </a:lnTo>
                  <a:lnTo>
                    <a:pt x="227" y="1"/>
                  </a:lnTo>
                  <a:lnTo>
                    <a:pt x="227" y="3"/>
                  </a:lnTo>
                  <a:lnTo>
                    <a:pt x="222" y="9"/>
                  </a:lnTo>
                  <a:lnTo>
                    <a:pt x="224" y="10"/>
                  </a:lnTo>
                  <a:lnTo>
                    <a:pt x="222" y="20"/>
                  </a:lnTo>
                  <a:lnTo>
                    <a:pt x="224" y="31"/>
                  </a:lnTo>
                  <a:lnTo>
                    <a:pt x="221" y="41"/>
                  </a:lnTo>
                  <a:lnTo>
                    <a:pt x="211" y="50"/>
                  </a:lnTo>
                  <a:lnTo>
                    <a:pt x="212" y="60"/>
                  </a:lnTo>
                  <a:lnTo>
                    <a:pt x="218" y="63"/>
                  </a:lnTo>
                  <a:lnTo>
                    <a:pt x="221" y="72"/>
                  </a:lnTo>
                  <a:lnTo>
                    <a:pt x="231" y="78"/>
                  </a:lnTo>
                  <a:lnTo>
                    <a:pt x="231" y="80"/>
                  </a:lnTo>
                  <a:lnTo>
                    <a:pt x="236" y="106"/>
                  </a:lnTo>
                  <a:lnTo>
                    <a:pt x="233" y="112"/>
                  </a:lnTo>
                  <a:lnTo>
                    <a:pt x="239" y="121"/>
                  </a:lnTo>
                  <a:lnTo>
                    <a:pt x="240" y="143"/>
                  </a:lnTo>
                  <a:lnTo>
                    <a:pt x="239" y="163"/>
                  </a:lnTo>
                  <a:lnTo>
                    <a:pt x="234" y="167"/>
                  </a:lnTo>
                  <a:lnTo>
                    <a:pt x="242" y="179"/>
                  </a:lnTo>
                  <a:lnTo>
                    <a:pt x="243" y="186"/>
                  </a:lnTo>
                  <a:lnTo>
                    <a:pt x="246" y="189"/>
                  </a:lnTo>
                  <a:lnTo>
                    <a:pt x="261" y="194"/>
                  </a:lnTo>
                  <a:lnTo>
                    <a:pt x="267" y="206"/>
                  </a:lnTo>
                  <a:lnTo>
                    <a:pt x="217" y="240"/>
                  </a:lnTo>
                  <a:lnTo>
                    <a:pt x="187" y="262"/>
                  </a:lnTo>
                  <a:lnTo>
                    <a:pt x="168" y="267"/>
                  </a:lnTo>
                  <a:lnTo>
                    <a:pt x="157" y="269"/>
                  </a:lnTo>
                  <a:lnTo>
                    <a:pt x="156" y="269"/>
                  </a:lnTo>
                  <a:lnTo>
                    <a:pt x="153" y="268"/>
                  </a:lnTo>
                  <a:lnTo>
                    <a:pt x="153" y="267"/>
                  </a:lnTo>
                  <a:lnTo>
                    <a:pt x="154" y="256"/>
                  </a:lnTo>
                  <a:lnTo>
                    <a:pt x="137" y="250"/>
                  </a:lnTo>
                  <a:lnTo>
                    <a:pt x="134" y="246"/>
                  </a:lnTo>
                  <a:lnTo>
                    <a:pt x="128" y="243"/>
                  </a:lnTo>
                  <a:lnTo>
                    <a:pt x="126" y="238"/>
                  </a:lnTo>
                  <a:lnTo>
                    <a:pt x="49" y="185"/>
                  </a:lnTo>
                  <a:lnTo>
                    <a:pt x="2" y="152"/>
                  </a:lnTo>
                  <a:lnTo>
                    <a:pt x="0" y="152"/>
                  </a:lnTo>
                  <a:lnTo>
                    <a:pt x="0" y="129"/>
                  </a:lnTo>
                  <a:lnTo>
                    <a:pt x="6" y="123"/>
                  </a:lnTo>
                  <a:lnTo>
                    <a:pt x="21" y="115"/>
                  </a:lnTo>
                  <a:lnTo>
                    <a:pt x="27" y="115"/>
                  </a:lnTo>
                  <a:lnTo>
                    <a:pt x="28" y="112"/>
                  </a:lnTo>
                  <a:lnTo>
                    <a:pt x="40" y="111"/>
                  </a:lnTo>
                  <a:lnTo>
                    <a:pt x="51" y="102"/>
                  </a:lnTo>
                  <a:lnTo>
                    <a:pt x="64" y="96"/>
                  </a:lnTo>
                  <a:lnTo>
                    <a:pt x="62" y="93"/>
                  </a:lnTo>
                  <a:lnTo>
                    <a:pt x="62" y="86"/>
                  </a:lnTo>
                  <a:lnTo>
                    <a:pt x="64" y="84"/>
                  </a:lnTo>
                  <a:lnTo>
                    <a:pt x="74" y="83"/>
                  </a:lnTo>
                  <a:lnTo>
                    <a:pt x="74" y="78"/>
                  </a:lnTo>
                  <a:lnTo>
                    <a:pt x="76" y="78"/>
                  </a:lnTo>
                  <a:lnTo>
                    <a:pt x="96" y="77"/>
                  </a:lnTo>
                  <a:lnTo>
                    <a:pt x="96" y="74"/>
                  </a:lnTo>
                  <a:lnTo>
                    <a:pt x="98" y="72"/>
                  </a:lnTo>
                  <a:lnTo>
                    <a:pt x="92" y="65"/>
                  </a:lnTo>
                  <a:lnTo>
                    <a:pt x="91" y="37"/>
                  </a:lnTo>
                  <a:lnTo>
                    <a:pt x="83" y="32"/>
                  </a:lnTo>
                  <a:lnTo>
                    <a:pt x="88" y="32"/>
                  </a:lnTo>
                  <a:lnTo>
                    <a:pt x="96" y="28"/>
                  </a:lnTo>
                  <a:lnTo>
                    <a:pt x="102" y="22"/>
                  </a:lnTo>
                  <a:lnTo>
                    <a:pt x="114" y="19"/>
                  </a:lnTo>
                  <a:lnTo>
                    <a:pt x="117" y="16"/>
                  </a:lnTo>
                  <a:lnTo>
                    <a:pt x="131" y="9"/>
                  </a:lnTo>
                  <a:lnTo>
                    <a:pt x="165" y="3"/>
                  </a:lnTo>
                  <a:lnTo>
                    <a:pt x="178" y="3"/>
                  </a:lnTo>
                  <a:lnTo>
                    <a:pt x="182" y="6"/>
                  </a:lnTo>
                  <a:lnTo>
                    <a:pt x="19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3203999"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2052"/>
            <a:ext cx="3203999"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Tree>
    <p:extLst>
      <p:ext uri="{BB962C8B-B14F-4D97-AF65-F5344CB8AC3E}">
        <p14:creationId xmlns:p14="http://schemas.microsoft.com/office/powerpoint/2010/main" val="12656300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ngle image - 1 line only - Mint">
    <p:bg>
      <p:bgPr>
        <a:solidFill>
          <a:schemeClr val="bg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5A9F699-FBE8-5E26-87B2-A3B72BB23DD8}"/>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to insert dark background image</a:t>
            </a:r>
          </a:p>
        </p:txBody>
      </p:sp>
      <p:sp>
        <p:nvSpPr>
          <p:cNvPr id="3" name="Text Placeholder 9">
            <a:extLst>
              <a:ext uri="{FF2B5EF4-FFF2-40B4-BE49-F238E27FC236}">
                <a16:creationId xmlns:a16="http://schemas.microsoft.com/office/drawing/2014/main" id="{20B78D3B-131A-2427-58A3-AF9DA96AE48F}"/>
              </a:ext>
            </a:extLst>
          </p:cNvPr>
          <p:cNvSpPr>
            <a:spLocks noGrp="1"/>
          </p:cNvSpPr>
          <p:nvPr>
            <p:ph type="body" sz="quarter" idx="16" hasCustomPrompt="1"/>
          </p:nvPr>
        </p:nvSpPr>
        <p:spPr>
          <a:xfrm>
            <a:off x="1343025" y="2862000"/>
            <a:ext cx="9505950" cy="719138"/>
          </a:xfrm>
          <a:prstGeom prst="rect">
            <a:avLst/>
          </a:prstGeom>
        </p:spPr>
        <p:txBody>
          <a:bodyPr lIns="0" tIns="36000" rIns="0" bIns="0" anchor="t" anchorCtr="0">
            <a:noAutofit/>
          </a:bodyPr>
          <a:lstStyle>
            <a:lvl1pPr marL="0" indent="0" algn="ctr">
              <a:lnSpc>
                <a:spcPct val="85000"/>
              </a:lnSpc>
              <a:spcBef>
                <a:spcPts val="0"/>
              </a:spcBef>
              <a:buNone/>
              <a:defRPr sz="5400" spc="-100" baseline="0">
                <a:solidFill>
                  <a:schemeClr val="accent1"/>
                </a:solidFill>
                <a:latin typeface="+mj-lt"/>
              </a:defRPr>
            </a:lvl1pPr>
          </a:lstStyle>
          <a:p>
            <a:pPr lvl="0"/>
            <a:r>
              <a:rPr lang="en-US"/>
              <a:t>One line title here</a:t>
            </a:r>
          </a:p>
        </p:txBody>
      </p:sp>
      <p:sp>
        <p:nvSpPr>
          <p:cNvPr id="4" name="Text Placeholder 9">
            <a:extLst>
              <a:ext uri="{FF2B5EF4-FFF2-40B4-BE49-F238E27FC236}">
                <a16:creationId xmlns:a16="http://schemas.microsoft.com/office/drawing/2014/main" id="{4F32A194-6D68-B6E7-0C53-C96D4747CD76}"/>
              </a:ext>
            </a:extLst>
          </p:cNvPr>
          <p:cNvSpPr>
            <a:spLocks noGrp="1"/>
          </p:cNvSpPr>
          <p:nvPr>
            <p:ph type="body" sz="quarter" idx="17" hasCustomPrompt="1"/>
          </p:nvPr>
        </p:nvSpPr>
        <p:spPr>
          <a:xfrm>
            <a:off x="1343025" y="3665494"/>
            <a:ext cx="950594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
        <p:nvSpPr>
          <p:cNvPr id="5" name="Text Placeholder 9">
            <a:extLst>
              <a:ext uri="{FF2B5EF4-FFF2-40B4-BE49-F238E27FC236}">
                <a16:creationId xmlns:a16="http://schemas.microsoft.com/office/drawing/2014/main" id="{B7467C30-F176-F2DD-DEC2-2B9902044937}"/>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bg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23543450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ingle image - 1 line only - Citrus">
    <p:bg>
      <p:bgPr>
        <a:solidFill>
          <a:schemeClr val="bg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5A9F699-FBE8-5E26-87B2-A3B72BB23DD8}"/>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to insert dark background image</a:t>
            </a:r>
          </a:p>
        </p:txBody>
      </p:sp>
      <p:sp>
        <p:nvSpPr>
          <p:cNvPr id="3" name="Text Placeholder 9">
            <a:extLst>
              <a:ext uri="{FF2B5EF4-FFF2-40B4-BE49-F238E27FC236}">
                <a16:creationId xmlns:a16="http://schemas.microsoft.com/office/drawing/2014/main" id="{20B78D3B-131A-2427-58A3-AF9DA96AE48F}"/>
              </a:ext>
            </a:extLst>
          </p:cNvPr>
          <p:cNvSpPr>
            <a:spLocks noGrp="1"/>
          </p:cNvSpPr>
          <p:nvPr>
            <p:ph type="body" sz="quarter" idx="16" hasCustomPrompt="1"/>
          </p:nvPr>
        </p:nvSpPr>
        <p:spPr>
          <a:xfrm>
            <a:off x="1343025" y="2862000"/>
            <a:ext cx="9505950" cy="719138"/>
          </a:xfrm>
          <a:prstGeom prst="rect">
            <a:avLst/>
          </a:prstGeom>
        </p:spPr>
        <p:txBody>
          <a:bodyPr lIns="0" tIns="36000" rIns="0" bIns="0" anchor="t" anchorCtr="0">
            <a:noAutofit/>
          </a:bodyPr>
          <a:lstStyle>
            <a:lvl1pPr marL="0" indent="0" algn="ctr">
              <a:lnSpc>
                <a:spcPct val="85000"/>
              </a:lnSpc>
              <a:spcBef>
                <a:spcPts val="0"/>
              </a:spcBef>
              <a:buNone/>
              <a:defRPr sz="5400" spc="-100" baseline="0">
                <a:solidFill>
                  <a:schemeClr val="accent3"/>
                </a:solidFill>
                <a:latin typeface="+mj-lt"/>
              </a:defRPr>
            </a:lvl1pPr>
          </a:lstStyle>
          <a:p>
            <a:pPr lvl="0"/>
            <a:r>
              <a:rPr lang="en-US"/>
              <a:t>One line title here</a:t>
            </a:r>
          </a:p>
        </p:txBody>
      </p:sp>
      <p:sp>
        <p:nvSpPr>
          <p:cNvPr id="4" name="Text Placeholder 9">
            <a:extLst>
              <a:ext uri="{FF2B5EF4-FFF2-40B4-BE49-F238E27FC236}">
                <a16:creationId xmlns:a16="http://schemas.microsoft.com/office/drawing/2014/main" id="{4F32A194-6D68-B6E7-0C53-C96D4747CD76}"/>
              </a:ext>
            </a:extLst>
          </p:cNvPr>
          <p:cNvSpPr>
            <a:spLocks noGrp="1"/>
          </p:cNvSpPr>
          <p:nvPr>
            <p:ph type="body" sz="quarter" idx="17" hasCustomPrompt="1"/>
          </p:nvPr>
        </p:nvSpPr>
        <p:spPr>
          <a:xfrm>
            <a:off x="1343025" y="3665494"/>
            <a:ext cx="950594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
        <p:nvSpPr>
          <p:cNvPr id="5" name="Text Placeholder 9">
            <a:extLst>
              <a:ext uri="{FF2B5EF4-FFF2-40B4-BE49-F238E27FC236}">
                <a16:creationId xmlns:a16="http://schemas.microsoft.com/office/drawing/2014/main" id="{B7467C30-F176-F2DD-DEC2-2B9902044937}"/>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bg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11220215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ingle image - 2 or 3 lines - Mint">
    <p:bg>
      <p:bgPr>
        <a:solidFill>
          <a:schemeClr val="bg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5A9F699-FBE8-5E26-87B2-A3B72BB23DD8}"/>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to insert dark background image</a:t>
            </a:r>
          </a:p>
        </p:txBody>
      </p:sp>
      <p:sp>
        <p:nvSpPr>
          <p:cNvPr id="3" name="Text Placeholder 9">
            <a:extLst>
              <a:ext uri="{FF2B5EF4-FFF2-40B4-BE49-F238E27FC236}">
                <a16:creationId xmlns:a16="http://schemas.microsoft.com/office/drawing/2014/main" id="{AC9E0084-1BBE-803B-F4D4-530F7FD5787B}"/>
              </a:ext>
            </a:extLst>
          </p:cNvPr>
          <p:cNvSpPr>
            <a:spLocks noGrp="1"/>
          </p:cNvSpPr>
          <p:nvPr>
            <p:ph type="body" sz="quarter" idx="16" hasCustomPrompt="1"/>
          </p:nvPr>
        </p:nvSpPr>
        <p:spPr>
          <a:xfrm>
            <a:off x="1343025" y="2130266"/>
            <a:ext cx="9505950" cy="2169113"/>
          </a:xfrm>
          <a:prstGeom prst="rect">
            <a:avLst/>
          </a:prstGeom>
        </p:spPr>
        <p:txBody>
          <a:bodyPr lIns="0" tIns="36000" rIns="0" bIns="0" anchor="b" anchorCtr="0">
            <a:noAutofit/>
          </a:bodyPr>
          <a:lstStyle>
            <a:lvl1pPr marL="0" indent="0" algn="ctr">
              <a:lnSpc>
                <a:spcPct val="85000"/>
              </a:lnSpc>
              <a:spcBef>
                <a:spcPts val="0"/>
              </a:spcBef>
              <a:buNone/>
              <a:defRPr sz="5400" spc="-100" baseline="0">
                <a:solidFill>
                  <a:schemeClr val="accent1"/>
                </a:solidFill>
                <a:latin typeface="+mj-lt"/>
              </a:defRPr>
            </a:lvl1pPr>
          </a:lstStyle>
          <a:p>
            <a:pPr lvl="0"/>
            <a:r>
              <a:rPr lang="en-US"/>
              <a:t>Two or three</a:t>
            </a:r>
            <a:br>
              <a:rPr lang="en-US"/>
            </a:br>
            <a:r>
              <a:rPr lang="en-US"/>
              <a:t>line title here</a:t>
            </a:r>
            <a:br>
              <a:rPr lang="en-US"/>
            </a:br>
            <a:r>
              <a:rPr lang="en-US"/>
              <a:t>lorem ipsum dolor</a:t>
            </a:r>
          </a:p>
        </p:txBody>
      </p:sp>
      <p:sp>
        <p:nvSpPr>
          <p:cNvPr id="4" name="Text Placeholder 9">
            <a:extLst>
              <a:ext uri="{FF2B5EF4-FFF2-40B4-BE49-F238E27FC236}">
                <a16:creationId xmlns:a16="http://schemas.microsoft.com/office/drawing/2014/main" id="{724E2F64-1CF9-ED20-65FE-D01EF624EAB8}"/>
              </a:ext>
            </a:extLst>
          </p:cNvPr>
          <p:cNvSpPr>
            <a:spLocks noGrp="1"/>
          </p:cNvSpPr>
          <p:nvPr>
            <p:ph type="body" sz="quarter" idx="17" hasCustomPrompt="1"/>
          </p:nvPr>
        </p:nvSpPr>
        <p:spPr>
          <a:xfrm>
            <a:off x="1343025" y="4383735"/>
            <a:ext cx="950594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
        <p:nvSpPr>
          <p:cNvPr id="5" name="Text Placeholder 9">
            <a:extLst>
              <a:ext uri="{FF2B5EF4-FFF2-40B4-BE49-F238E27FC236}">
                <a16:creationId xmlns:a16="http://schemas.microsoft.com/office/drawing/2014/main" id="{114D21C6-BDDC-DA63-C8CD-AE44CF6E3FD0}"/>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bg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5369025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ingle image - 2 or 3 lines - Citrus">
    <p:bg>
      <p:bgPr>
        <a:solidFill>
          <a:schemeClr val="bg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5A9F699-FBE8-5E26-87B2-A3B72BB23DD8}"/>
              </a:ext>
            </a:extLst>
          </p:cNvPr>
          <p:cNvSpPr>
            <a:spLocks noGrp="1"/>
          </p:cNvSpPr>
          <p:nvPr>
            <p:ph type="pic" sz="quarter" idx="26" hasCustomPrompt="1"/>
          </p:nvPr>
        </p:nvSpPr>
        <p:spPr>
          <a:xfrm>
            <a:off x="0" y="0"/>
            <a:ext cx="12192000" cy="6858000"/>
          </a:xfrm>
          <a:custGeom>
            <a:avLst/>
            <a:gdLst>
              <a:gd name="connsiteX0" fmla="*/ 6507632 w 12192000"/>
              <a:gd name="connsiteY0" fmla="*/ 621943 h 6858000"/>
              <a:gd name="connsiteX1" fmla="*/ 6507632 w 12192000"/>
              <a:gd name="connsiteY1" fmla="*/ 632251 h 6858000"/>
              <a:gd name="connsiteX2" fmla="*/ 6507519 w 12192000"/>
              <a:gd name="connsiteY2" fmla="*/ 632363 h 6858000"/>
              <a:gd name="connsiteX3" fmla="*/ 6479732 w 12192000"/>
              <a:gd name="connsiteY3" fmla="*/ 657686 h 6858000"/>
              <a:gd name="connsiteX4" fmla="*/ 6459451 w 12192000"/>
              <a:gd name="connsiteY4" fmla="*/ 640767 h 6858000"/>
              <a:gd name="connsiteX5" fmla="*/ 6479732 w 12192000"/>
              <a:gd name="connsiteY5" fmla="*/ 625080 h 6858000"/>
              <a:gd name="connsiteX6" fmla="*/ 6495082 w 12192000"/>
              <a:gd name="connsiteY6" fmla="*/ 625080 h 6858000"/>
              <a:gd name="connsiteX7" fmla="*/ 6507632 w 12192000"/>
              <a:gd name="connsiteY7" fmla="*/ 621943 h 6858000"/>
              <a:gd name="connsiteX8" fmla="*/ 6016868 w 12192000"/>
              <a:gd name="connsiteY8" fmla="*/ 621943 h 6858000"/>
              <a:gd name="connsiteX9" fmla="*/ 6016868 w 12192000"/>
              <a:gd name="connsiteY9" fmla="*/ 632251 h 6858000"/>
              <a:gd name="connsiteX10" fmla="*/ 6016756 w 12192000"/>
              <a:gd name="connsiteY10" fmla="*/ 632363 h 6858000"/>
              <a:gd name="connsiteX11" fmla="*/ 5988968 w 12192000"/>
              <a:gd name="connsiteY11" fmla="*/ 657686 h 6858000"/>
              <a:gd name="connsiteX12" fmla="*/ 5968687 w 12192000"/>
              <a:gd name="connsiteY12" fmla="*/ 640767 h 6858000"/>
              <a:gd name="connsiteX13" fmla="*/ 5988968 w 12192000"/>
              <a:gd name="connsiteY13" fmla="*/ 625080 h 6858000"/>
              <a:gd name="connsiteX14" fmla="*/ 6004318 w 12192000"/>
              <a:gd name="connsiteY14" fmla="*/ 625080 h 6858000"/>
              <a:gd name="connsiteX15" fmla="*/ 6016868 w 12192000"/>
              <a:gd name="connsiteY15" fmla="*/ 621943 h 6858000"/>
              <a:gd name="connsiteX16" fmla="*/ 6742566 w 12192000"/>
              <a:gd name="connsiteY16" fmla="*/ 570401 h 6858000"/>
              <a:gd name="connsiteX17" fmla="*/ 6774163 w 12192000"/>
              <a:gd name="connsiteY17" fmla="*/ 596620 h 6858000"/>
              <a:gd name="connsiteX18" fmla="*/ 6710072 w 12192000"/>
              <a:gd name="connsiteY18" fmla="*/ 596620 h 6858000"/>
              <a:gd name="connsiteX19" fmla="*/ 6742566 w 12192000"/>
              <a:gd name="connsiteY19" fmla="*/ 570401 h 6858000"/>
              <a:gd name="connsiteX20" fmla="*/ 6265723 w 12192000"/>
              <a:gd name="connsiteY20" fmla="*/ 540373 h 6858000"/>
              <a:gd name="connsiteX21" fmla="*/ 6314463 w 12192000"/>
              <a:gd name="connsiteY21" fmla="*/ 683569 h 6858000"/>
              <a:gd name="connsiteX22" fmla="*/ 6364772 w 12192000"/>
              <a:gd name="connsiteY22" fmla="*/ 683569 h 6858000"/>
              <a:gd name="connsiteX23" fmla="*/ 6415754 w 12192000"/>
              <a:gd name="connsiteY23" fmla="*/ 540373 h 6858000"/>
              <a:gd name="connsiteX24" fmla="*/ 6372952 w 12192000"/>
              <a:gd name="connsiteY24" fmla="*/ 540373 h 6858000"/>
              <a:gd name="connsiteX25" fmla="*/ 6340458 w 12192000"/>
              <a:gd name="connsiteY25" fmla="*/ 639759 h 6858000"/>
              <a:gd name="connsiteX26" fmla="*/ 6340346 w 12192000"/>
              <a:gd name="connsiteY26" fmla="*/ 639759 h 6858000"/>
              <a:gd name="connsiteX27" fmla="*/ 6309757 w 12192000"/>
              <a:gd name="connsiteY27" fmla="*/ 540373 h 6858000"/>
              <a:gd name="connsiteX28" fmla="*/ 6188411 w 12192000"/>
              <a:gd name="connsiteY28" fmla="*/ 540373 h 6858000"/>
              <a:gd name="connsiteX29" fmla="*/ 6188411 w 12192000"/>
              <a:gd name="connsiteY29" fmla="*/ 574771 h 6858000"/>
              <a:gd name="connsiteX30" fmla="*/ 6208467 w 12192000"/>
              <a:gd name="connsiteY30" fmla="*/ 574771 h 6858000"/>
              <a:gd name="connsiteX31" fmla="*/ 6208467 w 12192000"/>
              <a:gd name="connsiteY31" fmla="*/ 683569 h 6858000"/>
              <a:gd name="connsiteX32" fmla="*/ 6249028 w 12192000"/>
              <a:gd name="connsiteY32" fmla="*/ 683569 h 6858000"/>
              <a:gd name="connsiteX33" fmla="*/ 6249028 w 12192000"/>
              <a:gd name="connsiteY33" fmla="*/ 540373 h 6858000"/>
              <a:gd name="connsiteX34" fmla="*/ 6158158 w 12192000"/>
              <a:gd name="connsiteY34" fmla="*/ 538580 h 6858000"/>
              <a:gd name="connsiteX35" fmla="*/ 6120958 w 12192000"/>
              <a:gd name="connsiteY35" fmla="*/ 563230 h 6858000"/>
              <a:gd name="connsiteX36" fmla="*/ 6120958 w 12192000"/>
              <a:gd name="connsiteY36" fmla="*/ 540373 h 6858000"/>
              <a:gd name="connsiteX37" fmla="*/ 6081518 w 12192000"/>
              <a:gd name="connsiteY37" fmla="*/ 540373 h 6858000"/>
              <a:gd name="connsiteX38" fmla="*/ 6081518 w 12192000"/>
              <a:gd name="connsiteY38" fmla="*/ 683569 h 6858000"/>
              <a:gd name="connsiteX39" fmla="*/ 6122191 w 12192000"/>
              <a:gd name="connsiteY39" fmla="*/ 683569 h 6858000"/>
              <a:gd name="connsiteX40" fmla="*/ 6122191 w 12192000"/>
              <a:gd name="connsiteY40" fmla="*/ 615108 h 6858000"/>
              <a:gd name="connsiteX41" fmla="*/ 6152219 w 12192000"/>
              <a:gd name="connsiteY41" fmla="*/ 580374 h 6858000"/>
              <a:gd name="connsiteX42" fmla="*/ 6169363 w 12192000"/>
              <a:gd name="connsiteY42" fmla="*/ 580374 h 6858000"/>
              <a:gd name="connsiteX43" fmla="*/ 6169363 w 12192000"/>
              <a:gd name="connsiteY43" fmla="*/ 539813 h 6858000"/>
              <a:gd name="connsiteX44" fmla="*/ 6158158 w 12192000"/>
              <a:gd name="connsiteY44" fmla="*/ 538580 h 6858000"/>
              <a:gd name="connsiteX45" fmla="*/ 6742678 w 12192000"/>
              <a:gd name="connsiteY45" fmla="*/ 536787 h 6858000"/>
              <a:gd name="connsiteX46" fmla="*/ 6668279 w 12192000"/>
              <a:gd name="connsiteY46" fmla="*/ 612083 h 6858000"/>
              <a:gd name="connsiteX47" fmla="*/ 6743350 w 12192000"/>
              <a:gd name="connsiteY47" fmla="*/ 687378 h 6858000"/>
              <a:gd name="connsiteX48" fmla="*/ 6814948 w 12192000"/>
              <a:gd name="connsiteY48" fmla="*/ 642335 h 6858000"/>
              <a:gd name="connsiteX49" fmla="*/ 6772707 w 12192000"/>
              <a:gd name="connsiteY49" fmla="*/ 637966 h 6858000"/>
              <a:gd name="connsiteX50" fmla="*/ 6743910 w 12192000"/>
              <a:gd name="connsiteY50" fmla="*/ 652644 h 6858000"/>
              <a:gd name="connsiteX51" fmla="*/ 6711081 w 12192000"/>
              <a:gd name="connsiteY51" fmla="*/ 623848 h 6858000"/>
              <a:gd name="connsiteX52" fmla="*/ 6817637 w 12192000"/>
              <a:gd name="connsiteY52" fmla="*/ 623848 h 6858000"/>
              <a:gd name="connsiteX53" fmla="*/ 6817749 w 12192000"/>
              <a:gd name="connsiteY53" fmla="*/ 623960 h 6858000"/>
              <a:gd name="connsiteX54" fmla="*/ 6817749 w 12192000"/>
              <a:gd name="connsiteY54" fmla="*/ 622391 h 6858000"/>
              <a:gd name="connsiteX55" fmla="*/ 6742678 w 12192000"/>
              <a:gd name="connsiteY55" fmla="*/ 536787 h 6858000"/>
              <a:gd name="connsiteX56" fmla="*/ 6486119 w 12192000"/>
              <a:gd name="connsiteY56" fmla="*/ 536675 h 6858000"/>
              <a:gd name="connsiteX57" fmla="*/ 6424829 w 12192000"/>
              <a:gd name="connsiteY57" fmla="*/ 554154 h 6858000"/>
              <a:gd name="connsiteX58" fmla="*/ 6440740 w 12192000"/>
              <a:gd name="connsiteY58" fmla="*/ 584743 h 6858000"/>
              <a:gd name="connsiteX59" fmla="*/ 6483878 w 12192000"/>
              <a:gd name="connsiteY59" fmla="*/ 571298 h 6858000"/>
              <a:gd name="connsiteX60" fmla="*/ 6507632 w 12192000"/>
              <a:gd name="connsiteY60" fmla="*/ 588217 h 6858000"/>
              <a:gd name="connsiteX61" fmla="*/ 6507632 w 12192000"/>
              <a:gd name="connsiteY61" fmla="*/ 588329 h 6858000"/>
              <a:gd name="connsiteX62" fmla="*/ 6507632 w 12192000"/>
              <a:gd name="connsiteY62" fmla="*/ 589897 h 6858000"/>
              <a:gd name="connsiteX63" fmla="*/ 6497659 w 12192000"/>
              <a:gd name="connsiteY63" fmla="*/ 598301 h 6858000"/>
              <a:gd name="connsiteX64" fmla="*/ 6469536 w 12192000"/>
              <a:gd name="connsiteY64" fmla="*/ 598301 h 6858000"/>
              <a:gd name="connsiteX65" fmla="*/ 6417658 w 12192000"/>
              <a:gd name="connsiteY65" fmla="*/ 642335 h 6858000"/>
              <a:gd name="connsiteX66" fmla="*/ 6467631 w 12192000"/>
              <a:gd name="connsiteY66" fmla="*/ 687378 h 6858000"/>
              <a:gd name="connsiteX67" fmla="*/ 6507632 w 12192000"/>
              <a:gd name="connsiteY67" fmla="*/ 670235 h 6858000"/>
              <a:gd name="connsiteX68" fmla="*/ 6507632 w 12192000"/>
              <a:gd name="connsiteY68" fmla="*/ 683681 h 6858000"/>
              <a:gd name="connsiteX69" fmla="*/ 6548304 w 12192000"/>
              <a:gd name="connsiteY69" fmla="*/ 683681 h 6858000"/>
              <a:gd name="connsiteX70" fmla="*/ 6548304 w 12192000"/>
              <a:gd name="connsiteY70" fmla="*/ 589561 h 6858000"/>
              <a:gd name="connsiteX71" fmla="*/ 6486119 w 12192000"/>
              <a:gd name="connsiteY71" fmla="*/ 536675 h 6858000"/>
              <a:gd name="connsiteX72" fmla="*/ 5995355 w 12192000"/>
              <a:gd name="connsiteY72" fmla="*/ 536675 h 6858000"/>
              <a:gd name="connsiteX73" fmla="*/ 5934065 w 12192000"/>
              <a:gd name="connsiteY73" fmla="*/ 554154 h 6858000"/>
              <a:gd name="connsiteX74" fmla="*/ 5949976 w 12192000"/>
              <a:gd name="connsiteY74" fmla="*/ 584743 h 6858000"/>
              <a:gd name="connsiteX75" fmla="*/ 5993114 w 12192000"/>
              <a:gd name="connsiteY75" fmla="*/ 571298 h 6858000"/>
              <a:gd name="connsiteX76" fmla="*/ 6016868 w 12192000"/>
              <a:gd name="connsiteY76" fmla="*/ 588217 h 6858000"/>
              <a:gd name="connsiteX77" fmla="*/ 6016868 w 12192000"/>
              <a:gd name="connsiteY77" fmla="*/ 588329 h 6858000"/>
              <a:gd name="connsiteX78" fmla="*/ 6016868 w 12192000"/>
              <a:gd name="connsiteY78" fmla="*/ 589897 h 6858000"/>
              <a:gd name="connsiteX79" fmla="*/ 6006895 w 12192000"/>
              <a:gd name="connsiteY79" fmla="*/ 598301 h 6858000"/>
              <a:gd name="connsiteX80" fmla="*/ 5978772 w 12192000"/>
              <a:gd name="connsiteY80" fmla="*/ 598301 h 6858000"/>
              <a:gd name="connsiteX81" fmla="*/ 5926894 w 12192000"/>
              <a:gd name="connsiteY81" fmla="*/ 642335 h 6858000"/>
              <a:gd name="connsiteX82" fmla="*/ 5976867 w 12192000"/>
              <a:gd name="connsiteY82" fmla="*/ 687378 h 6858000"/>
              <a:gd name="connsiteX83" fmla="*/ 6016868 w 12192000"/>
              <a:gd name="connsiteY83" fmla="*/ 670235 h 6858000"/>
              <a:gd name="connsiteX84" fmla="*/ 6016868 w 12192000"/>
              <a:gd name="connsiteY84" fmla="*/ 683681 h 6858000"/>
              <a:gd name="connsiteX85" fmla="*/ 6057541 w 12192000"/>
              <a:gd name="connsiteY85" fmla="*/ 683681 h 6858000"/>
              <a:gd name="connsiteX86" fmla="*/ 6057541 w 12192000"/>
              <a:gd name="connsiteY86" fmla="*/ 589561 h 6858000"/>
              <a:gd name="connsiteX87" fmla="*/ 5995355 w 12192000"/>
              <a:gd name="connsiteY87" fmla="*/ 536675 h 6858000"/>
              <a:gd name="connsiteX88" fmla="*/ 5351786 w 12192000"/>
              <a:gd name="connsiteY88" fmla="*/ 491744 h 6858000"/>
              <a:gd name="connsiteX89" fmla="*/ 5324447 w 12192000"/>
              <a:gd name="connsiteY89" fmla="*/ 493425 h 6858000"/>
              <a:gd name="connsiteX90" fmla="*/ 5324447 w 12192000"/>
              <a:gd name="connsiteY90" fmla="*/ 655109 h 6858000"/>
              <a:gd name="connsiteX91" fmla="*/ 5351786 w 12192000"/>
              <a:gd name="connsiteY91" fmla="*/ 656789 h 6858000"/>
              <a:gd name="connsiteX92" fmla="*/ 5389769 w 12192000"/>
              <a:gd name="connsiteY92" fmla="*/ 653652 h 6858000"/>
              <a:gd name="connsiteX93" fmla="*/ 5389769 w 12192000"/>
              <a:gd name="connsiteY93" fmla="*/ 653611 h 6858000"/>
              <a:gd name="connsiteX94" fmla="*/ 5389842 w 12192000"/>
              <a:gd name="connsiteY94" fmla="*/ 653585 h 6858000"/>
              <a:gd name="connsiteX95" fmla="*/ 5405904 w 12192000"/>
              <a:gd name="connsiteY95" fmla="*/ 687827 h 6858000"/>
              <a:gd name="connsiteX96" fmla="*/ 5421030 w 12192000"/>
              <a:gd name="connsiteY96" fmla="*/ 710796 h 6858000"/>
              <a:gd name="connsiteX97" fmla="*/ 5560864 w 12192000"/>
              <a:gd name="connsiteY97" fmla="*/ 630010 h 6858000"/>
              <a:gd name="connsiteX98" fmla="*/ 5526802 w 12192000"/>
              <a:gd name="connsiteY98" fmla="*/ 574323 h 6858000"/>
              <a:gd name="connsiteX99" fmla="*/ 5466003 w 12192000"/>
              <a:gd name="connsiteY99" fmla="*/ 625920 h 6858000"/>
              <a:gd name="connsiteX100" fmla="*/ 5389842 w 12192000"/>
              <a:gd name="connsiteY100" fmla="*/ 653585 h 6858000"/>
              <a:gd name="connsiteX101" fmla="*/ 5389769 w 12192000"/>
              <a:gd name="connsiteY101" fmla="*/ 653428 h 6858000"/>
              <a:gd name="connsiteX102" fmla="*/ 5383271 w 12192000"/>
              <a:gd name="connsiteY102" fmla="*/ 515274 h 6858000"/>
              <a:gd name="connsiteX103" fmla="*/ 5389769 w 12192000"/>
              <a:gd name="connsiteY103" fmla="*/ 494881 h 6858000"/>
              <a:gd name="connsiteX104" fmla="*/ 5351786 w 12192000"/>
              <a:gd name="connsiteY104" fmla="*/ 491744 h 6858000"/>
              <a:gd name="connsiteX105" fmla="*/ 6586064 w 12192000"/>
              <a:gd name="connsiteY105" fmla="*/ 485918 h 6858000"/>
              <a:gd name="connsiteX106" fmla="*/ 6586064 w 12192000"/>
              <a:gd name="connsiteY106" fmla="*/ 540485 h 6858000"/>
              <a:gd name="connsiteX107" fmla="*/ 6563543 w 12192000"/>
              <a:gd name="connsiteY107" fmla="*/ 540485 h 6858000"/>
              <a:gd name="connsiteX108" fmla="*/ 6563543 w 12192000"/>
              <a:gd name="connsiteY108" fmla="*/ 574883 h 6858000"/>
              <a:gd name="connsiteX109" fmla="*/ 6586064 w 12192000"/>
              <a:gd name="connsiteY109" fmla="*/ 574883 h 6858000"/>
              <a:gd name="connsiteX110" fmla="*/ 6586064 w 12192000"/>
              <a:gd name="connsiteY110" fmla="*/ 653316 h 6858000"/>
              <a:gd name="connsiteX111" fmla="*/ 6627298 w 12192000"/>
              <a:gd name="connsiteY111" fmla="*/ 685474 h 6858000"/>
              <a:gd name="connsiteX112" fmla="*/ 6658895 w 12192000"/>
              <a:gd name="connsiteY112" fmla="*/ 683569 h 6858000"/>
              <a:gd name="connsiteX113" fmla="*/ 6658895 w 12192000"/>
              <a:gd name="connsiteY113" fmla="*/ 648834 h 6858000"/>
              <a:gd name="connsiteX114" fmla="*/ 6640183 w 12192000"/>
              <a:gd name="connsiteY114" fmla="*/ 649731 h 6858000"/>
              <a:gd name="connsiteX115" fmla="*/ 6626737 w 12192000"/>
              <a:gd name="connsiteY115" fmla="*/ 639423 h 6858000"/>
              <a:gd name="connsiteX116" fmla="*/ 6626737 w 12192000"/>
              <a:gd name="connsiteY116" fmla="*/ 574659 h 6858000"/>
              <a:gd name="connsiteX117" fmla="*/ 6657662 w 12192000"/>
              <a:gd name="connsiteY117" fmla="*/ 574659 h 6858000"/>
              <a:gd name="connsiteX118" fmla="*/ 6657662 w 12192000"/>
              <a:gd name="connsiteY118" fmla="*/ 540261 h 6858000"/>
              <a:gd name="connsiteX119" fmla="*/ 6626737 w 12192000"/>
              <a:gd name="connsiteY119" fmla="*/ 540261 h 6858000"/>
              <a:gd name="connsiteX120" fmla="*/ 6626737 w 12192000"/>
              <a:gd name="connsiteY120" fmla="*/ 485918 h 6858000"/>
              <a:gd name="connsiteX121" fmla="*/ 6801447 w 12192000"/>
              <a:gd name="connsiteY121" fmla="*/ 464965 h 6858000"/>
              <a:gd name="connsiteX122" fmla="*/ 6801447 w 12192000"/>
              <a:gd name="connsiteY122" fmla="*/ 475049 h 6858000"/>
              <a:gd name="connsiteX123" fmla="*/ 6812428 w 12192000"/>
              <a:gd name="connsiteY123" fmla="*/ 475049 h 6858000"/>
              <a:gd name="connsiteX124" fmla="*/ 6812428 w 12192000"/>
              <a:gd name="connsiteY124" fmla="*/ 503845 h 6858000"/>
              <a:gd name="connsiteX125" fmla="*/ 6823856 w 12192000"/>
              <a:gd name="connsiteY125" fmla="*/ 503845 h 6858000"/>
              <a:gd name="connsiteX126" fmla="*/ 6823856 w 12192000"/>
              <a:gd name="connsiteY126" fmla="*/ 475049 h 6858000"/>
              <a:gd name="connsiteX127" fmla="*/ 6834725 w 12192000"/>
              <a:gd name="connsiteY127" fmla="*/ 475049 h 6858000"/>
              <a:gd name="connsiteX128" fmla="*/ 6834725 w 12192000"/>
              <a:gd name="connsiteY128" fmla="*/ 464965 h 6858000"/>
              <a:gd name="connsiteX129" fmla="*/ 6841111 w 12192000"/>
              <a:gd name="connsiteY129" fmla="*/ 464853 h 6858000"/>
              <a:gd name="connsiteX130" fmla="*/ 6841111 w 12192000"/>
              <a:gd name="connsiteY130" fmla="*/ 503733 h 6858000"/>
              <a:gd name="connsiteX131" fmla="*/ 6852092 w 12192000"/>
              <a:gd name="connsiteY131" fmla="*/ 503733 h 6858000"/>
              <a:gd name="connsiteX132" fmla="*/ 6852092 w 12192000"/>
              <a:gd name="connsiteY132" fmla="*/ 481548 h 6858000"/>
              <a:gd name="connsiteX133" fmla="*/ 6857134 w 12192000"/>
              <a:gd name="connsiteY133" fmla="*/ 495442 h 6858000"/>
              <a:gd name="connsiteX134" fmla="*/ 6865761 w 12192000"/>
              <a:gd name="connsiteY134" fmla="*/ 495442 h 6858000"/>
              <a:gd name="connsiteX135" fmla="*/ 6870803 w 12192000"/>
              <a:gd name="connsiteY135" fmla="*/ 481548 h 6858000"/>
              <a:gd name="connsiteX136" fmla="*/ 6870803 w 12192000"/>
              <a:gd name="connsiteY136" fmla="*/ 503733 h 6858000"/>
              <a:gd name="connsiteX137" fmla="*/ 6882008 w 12192000"/>
              <a:gd name="connsiteY137" fmla="*/ 503733 h 6858000"/>
              <a:gd name="connsiteX138" fmla="*/ 6882008 w 12192000"/>
              <a:gd name="connsiteY138" fmla="*/ 464853 h 6858000"/>
              <a:gd name="connsiteX139" fmla="*/ 6867890 w 12192000"/>
              <a:gd name="connsiteY139" fmla="*/ 464853 h 6858000"/>
              <a:gd name="connsiteX140" fmla="*/ 6861840 w 12192000"/>
              <a:gd name="connsiteY140" fmla="*/ 481100 h 6858000"/>
              <a:gd name="connsiteX141" fmla="*/ 6856125 w 12192000"/>
              <a:gd name="connsiteY141" fmla="*/ 464853 h 6858000"/>
              <a:gd name="connsiteX142" fmla="*/ 6226955 w 12192000"/>
              <a:gd name="connsiteY142" fmla="*/ 464741 h 6858000"/>
              <a:gd name="connsiteX143" fmla="*/ 6200960 w 12192000"/>
              <a:gd name="connsiteY143" fmla="*/ 490960 h 6858000"/>
              <a:gd name="connsiteX144" fmla="*/ 6226955 w 12192000"/>
              <a:gd name="connsiteY144" fmla="*/ 516955 h 6858000"/>
              <a:gd name="connsiteX145" fmla="*/ 6253174 w 12192000"/>
              <a:gd name="connsiteY145" fmla="*/ 490960 h 6858000"/>
              <a:gd name="connsiteX146" fmla="*/ 6226955 w 12192000"/>
              <a:gd name="connsiteY146" fmla="*/ 464741 h 6858000"/>
              <a:gd name="connsiteX147" fmla="*/ 5864596 w 12192000"/>
              <a:gd name="connsiteY147" fmla="*/ 464741 h 6858000"/>
              <a:gd name="connsiteX148" fmla="*/ 5864596 w 12192000"/>
              <a:gd name="connsiteY148" fmla="*/ 683569 h 6858000"/>
              <a:gd name="connsiteX149" fmla="*/ 5904933 w 12192000"/>
              <a:gd name="connsiteY149" fmla="*/ 683569 h 6858000"/>
              <a:gd name="connsiteX150" fmla="*/ 5904933 w 12192000"/>
              <a:gd name="connsiteY150" fmla="*/ 464741 h 6858000"/>
              <a:gd name="connsiteX151" fmla="*/ 5739608 w 12192000"/>
              <a:gd name="connsiteY151" fmla="*/ 460931 h 6858000"/>
              <a:gd name="connsiteX152" fmla="*/ 5625544 w 12192000"/>
              <a:gd name="connsiteY152" fmla="*/ 574099 h 6858000"/>
              <a:gd name="connsiteX153" fmla="*/ 5739608 w 12192000"/>
              <a:gd name="connsiteY153" fmla="*/ 687266 h 6858000"/>
              <a:gd name="connsiteX154" fmla="*/ 5846836 w 12192000"/>
              <a:gd name="connsiteY154" fmla="*/ 605696 h 6858000"/>
              <a:gd name="connsiteX155" fmla="*/ 5798992 w 12192000"/>
              <a:gd name="connsiteY155" fmla="*/ 605696 h 6858000"/>
              <a:gd name="connsiteX156" fmla="*/ 5739608 w 12192000"/>
              <a:gd name="connsiteY156" fmla="*/ 647265 h 6858000"/>
              <a:gd name="connsiteX157" fmla="*/ 5670811 w 12192000"/>
              <a:gd name="connsiteY157" fmla="*/ 574099 h 6858000"/>
              <a:gd name="connsiteX158" fmla="*/ 5739608 w 12192000"/>
              <a:gd name="connsiteY158" fmla="*/ 500932 h 6858000"/>
              <a:gd name="connsiteX159" fmla="*/ 5798992 w 12192000"/>
              <a:gd name="connsiteY159" fmla="*/ 542501 h 6858000"/>
              <a:gd name="connsiteX160" fmla="*/ 5846836 w 12192000"/>
              <a:gd name="connsiteY160" fmla="*/ 542501 h 6858000"/>
              <a:gd name="connsiteX161" fmla="*/ 5739608 w 12192000"/>
              <a:gd name="connsiteY161" fmla="*/ 460931 h 6858000"/>
              <a:gd name="connsiteX162" fmla="*/ 5421031 w 12192000"/>
              <a:gd name="connsiteY162" fmla="*/ 437514 h 6858000"/>
              <a:gd name="connsiteX163" fmla="*/ 5389770 w 12192000"/>
              <a:gd name="connsiteY163" fmla="*/ 494882 h 6858000"/>
              <a:gd name="connsiteX164" fmla="*/ 5526915 w 12192000"/>
              <a:gd name="connsiteY164" fmla="*/ 574211 h 6858000"/>
              <a:gd name="connsiteX165" fmla="*/ 5560977 w 12192000"/>
              <a:gd name="connsiteY165" fmla="*/ 518524 h 6858000"/>
              <a:gd name="connsiteX166" fmla="*/ 5421031 w 12192000"/>
              <a:gd name="connsiteY166" fmla="*/ 437514 h 6858000"/>
              <a:gd name="connsiteX167" fmla="*/ 0 w 12192000"/>
              <a:gd name="connsiteY167" fmla="*/ 0 h 6858000"/>
              <a:gd name="connsiteX168" fmla="*/ 12192000 w 12192000"/>
              <a:gd name="connsiteY168" fmla="*/ 0 h 6858000"/>
              <a:gd name="connsiteX169" fmla="*/ 12192000 w 12192000"/>
              <a:gd name="connsiteY169" fmla="*/ 6858000 h 6858000"/>
              <a:gd name="connsiteX170" fmla="*/ 0 w 12192000"/>
              <a:gd name="connsiteY17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2192000" h="6858000">
                <a:moveTo>
                  <a:pt x="6507632" y="621943"/>
                </a:moveTo>
                <a:lnTo>
                  <a:pt x="6507632" y="632251"/>
                </a:lnTo>
                <a:lnTo>
                  <a:pt x="6507519" y="632363"/>
                </a:lnTo>
                <a:cubicBezTo>
                  <a:pt x="6507519" y="650179"/>
                  <a:pt x="6494410" y="657686"/>
                  <a:pt x="6479732" y="657686"/>
                </a:cubicBezTo>
                <a:cubicBezTo>
                  <a:pt x="6467295" y="657686"/>
                  <a:pt x="6459451" y="650851"/>
                  <a:pt x="6459451" y="640767"/>
                </a:cubicBezTo>
                <a:cubicBezTo>
                  <a:pt x="6459451" y="630682"/>
                  <a:pt x="6466959" y="625080"/>
                  <a:pt x="6479732" y="625080"/>
                </a:cubicBezTo>
                <a:lnTo>
                  <a:pt x="6495082" y="625080"/>
                </a:lnTo>
                <a:cubicBezTo>
                  <a:pt x="6500797" y="625080"/>
                  <a:pt x="6505166" y="624408"/>
                  <a:pt x="6507632" y="621943"/>
                </a:cubicBezTo>
                <a:close/>
                <a:moveTo>
                  <a:pt x="6016868" y="621943"/>
                </a:moveTo>
                <a:lnTo>
                  <a:pt x="6016868" y="632251"/>
                </a:lnTo>
                <a:lnTo>
                  <a:pt x="6016756" y="632363"/>
                </a:lnTo>
                <a:cubicBezTo>
                  <a:pt x="6016756" y="650179"/>
                  <a:pt x="6003647" y="657686"/>
                  <a:pt x="5988968" y="657686"/>
                </a:cubicBezTo>
                <a:cubicBezTo>
                  <a:pt x="5976531" y="657686"/>
                  <a:pt x="5968687" y="650851"/>
                  <a:pt x="5968687" y="640767"/>
                </a:cubicBezTo>
                <a:cubicBezTo>
                  <a:pt x="5968687" y="630682"/>
                  <a:pt x="5976195" y="625080"/>
                  <a:pt x="5988968" y="625080"/>
                </a:cubicBezTo>
                <a:lnTo>
                  <a:pt x="6004318" y="625080"/>
                </a:lnTo>
                <a:cubicBezTo>
                  <a:pt x="6010033" y="625080"/>
                  <a:pt x="6014403" y="624408"/>
                  <a:pt x="6016868" y="621943"/>
                </a:cubicBezTo>
                <a:close/>
                <a:moveTo>
                  <a:pt x="6742566" y="570401"/>
                </a:moveTo>
                <a:cubicBezTo>
                  <a:pt x="6759821" y="570401"/>
                  <a:pt x="6771922" y="582278"/>
                  <a:pt x="6774163" y="596620"/>
                </a:cubicBezTo>
                <a:lnTo>
                  <a:pt x="6710072" y="596620"/>
                </a:lnTo>
                <a:cubicBezTo>
                  <a:pt x="6713210" y="581382"/>
                  <a:pt x="6725311" y="570401"/>
                  <a:pt x="6742566" y="570401"/>
                </a:cubicBezTo>
                <a:close/>
                <a:moveTo>
                  <a:pt x="6265723" y="540373"/>
                </a:moveTo>
                <a:lnTo>
                  <a:pt x="6314463" y="683569"/>
                </a:lnTo>
                <a:lnTo>
                  <a:pt x="6364772" y="683569"/>
                </a:lnTo>
                <a:lnTo>
                  <a:pt x="6415754" y="540373"/>
                </a:lnTo>
                <a:lnTo>
                  <a:pt x="6372952" y="540373"/>
                </a:lnTo>
                <a:lnTo>
                  <a:pt x="6340458" y="639759"/>
                </a:lnTo>
                <a:lnTo>
                  <a:pt x="6340346" y="639759"/>
                </a:lnTo>
                <a:lnTo>
                  <a:pt x="6309757" y="540373"/>
                </a:lnTo>
                <a:close/>
                <a:moveTo>
                  <a:pt x="6188411" y="540373"/>
                </a:moveTo>
                <a:lnTo>
                  <a:pt x="6188411" y="574771"/>
                </a:lnTo>
                <a:lnTo>
                  <a:pt x="6208467" y="574771"/>
                </a:lnTo>
                <a:lnTo>
                  <a:pt x="6208467" y="683569"/>
                </a:lnTo>
                <a:lnTo>
                  <a:pt x="6249028" y="683569"/>
                </a:lnTo>
                <a:lnTo>
                  <a:pt x="6249028" y="540373"/>
                </a:lnTo>
                <a:close/>
                <a:moveTo>
                  <a:pt x="6158158" y="538580"/>
                </a:moveTo>
                <a:cubicBezTo>
                  <a:pt x="6140343" y="538580"/>
                  <a:pt x="6126561" y="547880"/>
                  <a:pt x="6120958" y="563230"/>
                </a:cubicBezTo>
                <a:lnTo>
                  <a:pt x="6120958" y="540373"/>
                </a:lnTo>
                <a:lnTo>
                  <a:pt x="6081518" y="540373"/>
                </a:lnTo>
                <a:lnTo>
                  <a:pt x="6081518" y="683569"/>
                </a:lnTo>
                <a:lnTo>
                  <a:pt x="6122191" y="683569"/>
                </a:lnTo>
                <a:lnTo>
                  <a:pt x="6122191" y="615108"/>
                </a:lnTo>
                <a:cubicBezTo>
                  <a:pt x="6122191" y="590010"/>
                  <a:pt x="6131603" y="580374"/>
                  <a:pt x="6152219" y="580374"/>
                </a:cubicBezTo>
                <a:lnTo>
                  <a:pt x="6169363" y="580374"/>
                </a:lnTo>
                <a:lnTo>
                  <a:pt x="6169363" y="539813"/>
                </a:lnTo>
                <a:cubicBezTo>
                  <a:pt x="6165665" y="538916"/>
                  <a:pt x="6161856" y="538580"/>
                  <a:pt x="6158158" y="538580"/>
                </a:cubicBezTo>
                <a:close/>
                <a:moveTo>
                  <a:pt x="6742678" y="536787"/>
                </a:moveTo>
                <a:cubicBezTo>
                  <a:pt x="6699876" y="536787"/>
                  <a:pt x="6668279" y="568384"/>
                  <a:pt x="6668279" y="612083"/>
                </a:cubicBezTo>
                <a:cubicBezTo>
                  <a:pt x="6668279" y="655781"/>
                  <a:pt x="6700548" y="687378"/>
                  <a:pt x="6743350" y="687378"/>
                </a:cubicBezTo>
                <a:cubicBezTo>
                  <a:pt x="6775284" y="687378"/>
                  <a:pt x="6802175" y="672924"/>
                  <a:pt x="6814948" y="642335"/>
                </a:cubicBezTo>
                <a:lnTo>
                  <a:pt x="6772707" y="637966"/>
                </a:lnTo>
                <a:cubicBezTo>
                  <a:pt x="6766992" y="647602"/>
                  <a:pt x="6755787" y="652644"/>
                  <a:pt x="6743910" y="652644"/>
                </a:cubicBezTo>
                <a:cubicBezTo>
                  <a:pt x="6725759" y="652644"/>
                  <a:pt x="6713322" y="639758"/>
                  <a:pt x="6711081" y="623848"/>
                </a:cubicBezTo>
                <a:lnTo>
                  <a:pt x="6817637" y="623848"/>
                </a:lnTo>
                <a:lnTo>
                  <a:pt x="6817749" y="623960"/>
                </a:lnTo>
                <a:lnTo>
                  <a:pt x="6817749" y="622391"/>
                </a:lnTo>
                <a:cubicBezTo>
                  <a:pt x="6817749" y="562446"/>
                  <a:pt x="6782118" y="536787"/>
                  <a:pt x="6742678" y="536787"/>
                </a:cubicBezTo>
                <a:close/>
                <a:moveTo>
                  <a:pt x="6486119" y="536675"/>
                </a:moveTo>
                <a:cubicBezTo>
                  <a:pt x="6451384" y="536675"/>
                  <a:pt x="6424829" y="554154"/>
                  <a:pt x="6424829" y="554154"/>
                </a:cubicBezTo>
                <a:lnTo>
                  <a:pt x="6440740" y="584743"/>
                </a:lnTo>
                <a:cubicBezTo>
                  <a:pt x="6451384" y="578469"/>
                  <a:pt x="6469536" y="571298"/>
                  <a:pt x="6483878" y="571298"/>
                </a:cubicBezTo>
                <a:cubicBezTo>
                  <a:pt x="6499452" y="571298"/>
                  <a:pt x="6507632" y="577908"/>
                  <a:pt x="6507632" y="588217"/>
                </a:cubicBezTo>
                <a:lnTo>
                  <a:pt x="6507632" y="588329"/>
                </a:lnTo>
                <a:lnTo>
                  <a:pt x="6507632" y="589897"/>
                </a:lnTo>
                <a:cubicBezTo>
                  <a:pt x="6507632" y="595164"/>
                  <a:pt x="6504494" y="598301"/>
                  <a:pt x="6497659" y="598301"/>
                </a:cubicBezTo>
                <a:lnTo>
                  <a:pt x="6469536" y="598301"/>
                </a:lnTo>
                <a:cubicBezTo>
                  <a:pt x="6437714" y="598301"/>
                  <a:pt x="6417658" y="615108"/>
                  <a:pt x="6417658" y="642335"/>
                </a:cubicBezTo>
                <a:cubicBezTo>
                  <a:pt x="6417658" y="665753"/>
                  <a:pt x="6437266" y="687378"/>
                  <a:pt x="6467631" y="687378"/>
                </a:cubicBezTo>
                <a:cubicBezTo>
                  <a:pt x="6483878" y="687378"/>
                  <a:pt x="6500124" y="681440"/>
                  <a:pt x="6507632" y="670235"/>
                </a:cubicBezTo>
                <a:lnTo>
                  <a:pt x="6507632" y="683681"/>
                </a:lnTo>
                <a:lnTo>
                  <a:pt x="6548304" y="683681"/>
                </a:lnTo>
                <a:lnTo>
                  <a:pt x="6548304" y="589561"/>
                </a:lnTo>
                <a:cubicBezTo>
                  <a:pt x="6548304" y="551689"/>
                  <a:pt x="6518612" y="536675"/>
                  <a:pt x="6486119" y="536675"/>
                </a:cubicBezTo>
                <a:close/>
                <a:moveTo>
                  <a:pt x="5995355" y="536675"/>
                </a:moveTo>
                <a:cubicBezTo>
                  <a:pt x="5960620" y="536675"/>
                  <a:pt x="5934065" y="554154"/>
                  <a:pt x="5934065" y="554154"/>
                </a:cubicBezTo>
                <a:lnTo>
                  <a:pt x="5949976" y="584743"/>
                </a:lnTo>
                <a:cubicBezTo>
                  <a:pt x="5960620" y="578469"/>
                  <a:pt x="5978772" y="571298"/>
                  <a:pt x="5993114" y="571298"/>
                </a:cubicBezTo>
                <a:cubicBezTo>
                  <a:pt x="6008688" y="571298"/>
                  <a:pt x="6016868" y="577908"/>
                  <a:pt x="6016868" y="588217"/>
                </a:cubicBezTo>
                <a:lnTo>
                  <a:pt x="6016868" y="588329"/>
                </a:lnTo>
                <a:lnTo>
                  <a:pt x="6016868" y="589897"/>
                </a:lnTo>
                <a:cubicBezTo>
                  <a:pt x="6016868" y="595164"/>
                  <a:pt x="6013730" y="598301"/>
                  <a:pt x="6006895" y="598301"/>
                </a:cubicBezTo>
                <a:lnTo>
                  <a:pt x="5978772" y="598301"/>
                </a:lnTo>
                <a:cubicBezTo>
                  <a:pt x="5946950" y="598301"/>
                  <a:pt x="5926894" y="615108"/>
                  <a:pt x="5926894" y="642335"/>
                </a:cubicBezTo>
                <a:cubicBezTo>
                  <a:pt x="5926894" y="665753"/>
                  <a:pt x="5946502" y="687378"/>
                  <a:pt x="5976867" y="687378"/>
                </a:cubicBezTo>
                <a:cubicBezTo>
                  <a:pt x="5993114" y="687378"/>
                  <a:pt x="6009360" y="681440"/>
                  <a:pt x="6016868" y="670235"/>
                </a:cubicBezTo>
                <a:lnTo>
                  <a:pt x="6016868" y="683681"/>
                </a:lnTo>
                <a:lnTo>
                  <a:pt x="6057541" y="683681"/>
                </a:lnTo>
                <a:lnTo>
                  <a:pt x="6057541" y="589561"/>
                </a:lnTo>
                <a:cubicBezTo>
                  <a:pt x="6057541" y="551689"/>
                  <a:pt x="6027848" y="536675"/>
                  <a:pt x="5995355" y="536675"/>
                </a:cubicBezTo>
                <a:close/>
                <a:moveTo>
                  <a:pt x="5351786" y="491744"/>
                </a:moveTo>
                <a:cubicBezTo>
                  <a:pt x="5342598" y="491744"/>
                  <a:pt x="5333410" y="492304"/>
                  <a:pt x="5324447" y="493425"/>
                </a:cubicBezTo>
                <a:cubicBezTo>
                  <a:pt x="5309432" y="545415"/>
                  <a:pt x="5308761" y="601438"/>
                  <a:pt x="5324447" y="655109"/>
                </a:cubicBezTo>
                <a:cubicBezTo>
                  <a:pt x="5333410" y="656229"/>
                  <a:pt x="5342486" y="656789"/>
                  <a:pt x="5351786" y="656789"/>
                </a:cubicBezTo>
                <a:cubicBezTo>
                  <a:pt x="5364671" y="656789"/>
                  <a:pt x="5377444" y="655669"/>
                  <a:pt x="5389769" y="653652"/>
                </a:cubicBezTo>
                <a:lnTo>
                  <a:pt x="5389769" y="653611"/>
                </a:lnTo>
                <a:lnTo>
                  <a:pt x="5389842" y="653585"/>
                </a:lnTo>
                <a:lnTo>
                  <a:pt x="5405904" y="687827"/>
                </a:lnTo>
                <a:cubicBezTo>
                  <a:pt x="5410498" y="695782"/>
                  <a:pt x="5415541" y="703401"/>
                  <a:pt x="5421030" y="710796"/>
                </a:cubicBezTo>
                <a:cubicBezTo>
                  <a:pt x="5475261" y="697463"/>
                  <a:pt x="5523441" y="669003"/>
                  <a:pt x="5560864" y="630010"/>
                </a:cubicBezTo>
                <a:cubicBezTo>
                  <a:pt x="5552237" y="609730"/>
                  <a:pt x="5540696" y="591018"/>
                  <a:pt x="5526802" y="574323"/>
                </a:cubicBezTo>
                <a:cubicBezTo>
                  <a:pt x="5509771" y="594884"/>
                  <a:pt x="5489182" y="612391"/>
                  <a:pt x="5466003" y="625920"/>
                </a:cubicBezTo>
                <a:lnTo>
                  <a:pt x="5389842" y="653585"/>
                </a:lnTo>
                <a:lnTo>
                  <a:pt x="5389769" y="653428"/>
                </a:lnTo>
                <a:cubicBezTo>
                  <a:pt x="5373299" y="609393"/>
                  <a:pt x="5370834" y="561549"/>
                  <a:pt x="5383271" y="515274"/>
                </a:cubicBezTo>
                <a:cubicBezTo>
                  <a:pt x="5385176" y="508327"/>
                  <a:pt x="5387304" y="501492"/>
                  <a:pt x="5389769" y="494881"/>
                </a:cubicBezTo>
                <a:cubicBezTo>
                  <a:pt x="5377444" y="492752"/>
                  <a:pt x="5364783" y="491744"/>
                  <a:pt x="5351786" y="491744"/>
                </a:cubicBezTo>
                <a:close/>
                <a:moveTo>
                  <a:pt x="6586064" y="485918"/>
                </a:moveTo>
                <a:lnTo>
                  <a:pt x="6586064" y="540485"/>
                </a:lnTo>
                <a:lnTo>
                  <a:pt x="6563543" y="540485"/>
                </a:lnTo>
                <a:lnTo>
                  <a:pt x="6563543" y="574883"/>
                </a:lnTo>
                <a:lnTo>
                  <a:pt x="6586064" y="574883"/>
                </a:lnTo>
                <a:lnTo>
                  <a:pt x="6586064" y="653316"/>
                </a:lnTo>
                <a:cubicBezTo>
                  <a:pt x="6586064" y="682000"/>
                  <a:pt x="6607017" y="685474"/>
                  <a:pt x="6627298" y="685474"/>
                </a:cubicBezTo>
                <a:cubicBezTo>
                  <a:pt x="6639175" y="685474"/>
                  <a:pt x="6658895" y="683569"/>
                  <a:pt x="6658895" y="683569"/>
                </a:cubicBezTo>
                <a:lnTo>
                  <a:pt x="6658895" y="648834"/>
                </a:lnTo>
                <a:cubicBezTo>
                  <a:pt x="6658895" y="648834"/>
                  <a:pt x="6650491" y="649731"/>
                  <a:pt x="6640183" y="649731"/>
                </a:cubicBezTo>
                <a:cubicBezTo>
                  <a:pt x="6633908" y="649731"/>
                  <a:pt x="6626737" y="648498"/>
                  <a:pt x="6626737" y="639423"/>
                </a:cubicBezTo>
                <a:lnTo>
                  <a:pt x="6626737" y="574659"/>
                </a:lnTo>
                <a:lnTo>
                  <a:pt x="6657662" y="574659"/>
                </a:lnTo>
                <a:lnTo>
                  <a:pt x="6657662" y="540261"/>
                </a:lnTo>
                <a:lnTo>
                  <a:pt x="6626737" y="540261"/>
                </a:lnTo>
                <a:lnTo>
                  <a:pt x="6626737" y="485918"/>
                </a:lnTo>
                <a:close/>
                <a:moveTo>
                  <a:pt x="6801447" y="464965"/>
                </a:moveTo>
                <a:lnTo>
                  <a:pt x="6801447" y="475049"/>
                </a:lnTo>
                <a:lnTo>
                  <a:pt x="6812428" y="475049"/>
                </a:lnTo>
                <a:lnTo>
                  <a:pt x="6812428" y="503845"/>
                </a:lnTo>
                <a:lnTo>
                  <a:pt x="6823856" y="503845"/>
                </a:lnTo>
                <a:lnTo>
                  <a:pt x="6823856" y="475049"/>
                </a:lnTo>
                <a:lnTo>
                  <a:pt x="6834725" y="475049"/>
                </a:lnTo>
                <a:lnTo>
                  <a:pt x="6834725" y="464965"/>
                </a:lnTo>
                <a:close/>
                <a:moveTo>
                  <a:pt x="6841111" y="464853"/>
                </a:moveTo>
                <a:lnTo>
                  <a:pt x="6841111" y="503733"/>
                </a:lnTo>
                <a:lnTo>
                  <a:pt x="6852092" y="503733"/>
                </a:lnTo>
                <a:lnTo>
                  <a:pt x="6852092" y="481548"/>
                </a:lnTo>
                <a:lnTo>
                  <a:pt x="6857134" y="495442"/>
                </a:lnTo>
                <a:lnTo>
                  <a:pt x="6865761" y="495442"/>
                </a:lnTo>
                <a:lnTo>
                  <a:pt x="6870803" y="481548"/>
                </a:lnTo>
                <a:lnTo>
                  <a:pt x="6870803" y="503733"/>
                </a:lnTo>
                <a:lnTo>
                  <a:pt x="6882008" y="503733"/>
                </a:lnTo>
                <a:lnTo>
                  <a:pt x="6882008" y="464853"/>
                </a:lnTo>
                <a:lnTo>
                  <a:pt x="6867890" y="464853"/>
                </a:lnTo>
                <a:lnTo>
                  <a:pt x="6861840" y="481100"/>
                </a:lnTo>
                <a:lnTo>
                  <a:pt x="6856125" y="464853"/>
                </a:lnTo>
                <a:close/>
                <a:moveTo>
                  <a:pt x="6226955" y="464741"/>
                </a:moveTo>
                <a:cubicBezTo>
                  <a:pt x="6212501" y="464741"/>
                  <a:pt x="6200960" y="476170"/>
                  <a:pt x="6200960" y="490960"/>
                </a:cubicBezTo>
                <a:cubicBezTo>
                  <a:pt x="6200960" y="505750"/>
                  <a:pt x="6212277" y="516955"/>
                  <a:pt x="6226955" y="516955"/>
                </a:cubicBezTo>
                <a:cubicBezTo>
                  <a:pt x="6241633" y="516955"/>
                  <a:pt x="6253174" y="505302"/>
                  <a:pt x="6253174" y="490960"/>
                </a:cubicBezTo>
                <a:cubicBezTo>
                  <a:pt x="6253174" y="476618"/>
                  <a:pt x="6241633" y="464741"/>
                  <a:pt x="6226955" y="464741"/>
                </a:cubicBezTo>
                <a:close/>
                <a:moveTo>
                  <a:pt x="5864596" y="464741"/>
                </a:moveTo>
                <a:lnTo>
                  <a:pt x="5864596" y="683569"/>
                </a:lnTo>
                <a:lnTo>
                  <a:pt x="5904933" y="683569"/>
                </a:lnTo>
                <a:lnTo>
                  <a:pt x="5904933" y="464741"/>
                </a:lnTo>
                <a:close/>
                <a:moveTo>
                  <a:pt x="5739608" y="460931"/>
                </a:moveTo>
                <a:cubicBezTo>
                  <a:pt x="5675293" y="460931"/>
                  <a:pt x="5625544" y="508103"/>
                  <a:pt x="5625544" y="574099"/>
                </a:cubicBezTo>
                <a:cubicBezTo>
                  <a:pt x="5625544" y="640094"/>
                  <a:pt x="5675181" y="687266"/>
                  <a:pt x="5739608" y="687266"/>
                </a:cubicBezTo>
                <a:cubicBezTo>
                  <a:pt x="5789020" y="687266"/>
                  <a:pt x="5834063" y="657238"/>
                  <a:pt x="5846836" y="605696"/>
                </a:cubicBezTo>
                <a:lnTo>
                  <a:pt x="5798992" y="605696"/>
                </a:lnTo>
                <a:cubicBezTo>
                  <a:pt x="5790925" y="631579"/>
                  <a:pt x="5768629" y="647265"/>
                  <a:pt x="5739608" y="647265"/>
                </a:cubicBezTo>
                <a:cubicBezTo>
                  <a:pt x="5698374" y="647265"/>
                  <a:pt x="5670811" y="616004"/>
                  <a:pt x="5670811" y="574099"/>
                </a:cubicBezTo>
                <a:cubicBezTo>
                  <a:pt x="5670811" y="532193"/>
                  <a:pt x="5698374" y="500932"/>
                  <a:pt x="5739608" y="500932"/>
                </a:cubicBezTo>
                <a:cubicBezTo>
                  <a:pt x="5768629" y="500932"/>
                  <a:pt x="5790813" y="516506"/>
                  <a:pt x="5798992" y="542501"/>
                </a:cubicBezTo>
                <a:lnTo>
                  <a:pt x="5846836" y="542501"/>
                </a:lnTo>
                <a:cubicBezTo>
                  <a:pt x="5834063" y="490960"/>
                  <a:pt x="5789020" y="460931"/>
                  <a:pt x="5739608" y="460931"/>
                </a:cubicBezTo>
                <a:close/>
                <a:moveTo>
                  <a:pt x="5421031" y="437514"/>
                </a:moveTo>
                <a:cubicBezTo>
                  <a:pt x="5408034" y="454881"/>
                  <a:pt x="5397501" y="474153"/>
                  <a:pt x="5389770" y="494882"/>
                </a:cubicBezTo>
                <a:cubicBezTo>
                  <a:pt x="5444673" y="504182"/>
                  <a:pt x="5492853" y="533090"/>
                  <a:pt x="5526915" y="574211"/>
                </a:cubicBezTo>
                <a:cubicBezTo>
                  <a:pt x="5540809" y="557516"/>
                  <a:pt x="5552350" y="538693"/>
                  <a:pt x="5560977" y="518524"/>
                </a:cubicBezTo>
                <a:cubicBezTo>
                  <a:pt x="5523554" y="479308"/>
                  <a:pt x="5475263" y="450848"/>
                  <a:pt x="5421031" y="437514"/>
                </a:cubicBezTo>
                <a:close/>
                <a:moveTo>
                  <a:pt x="0" y="0"/>
                </a:moveTo>
                <a:lnTo>
                  <a:pt x="12192000" y="0"/>
                </a:lnTo>
                <a:lnTo>
                  <a:pt x="12192000"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to insert dark background image</a:t>
            </a:r>
          </a:p>
        </p:txBody>
      </p:sp>
      <p:sp>
        <p:nvSpPr>
          <p:cNvPr id="3" name="Text Placeholder 9">
            <a:extLst>
              <a:ext uri="{FF2B5EF4-FFF2-40B4-BE49-F238E27FC236}">
                <a16:creationId xmlns:a16="http://schemas.microsoft.com/office/drawing/2014/main" id="{AC9E0084-1BBE-803B-F4D4-530F7FD5787B}"/>
              </a:ext>
            </a:extLst>
          </p:cNvPr>
          <p:cNvSpPr>
            <a:spLocks noGrp="1"/>
          </p:cNvSpPr>
          <p:nvPr>
            <p:ph type="body" sz="quarter" idx="16" hasCustomPrompt="1"/>
          </p:nvPr>
        </p:nvSpPr>
        <p:spPr>
          <a:xfrm>
            <a:off x="1343025" y="2130266"/>
            <a:ext cx="9505950" cy="2169113"/>
          </a:xfrm>
          <a:prstGeom prst="rect">
            <a:avLst/>
          </a:prstGeom>
        </p:spPr>
        <p:txBody>
          <a:bodyPr lIns="0" tIns="36000" rIns="0" bIns="0" anchor="b" anchorCtr="0">
            <a:noAutofit/>
          </a:bodyPr>
          <a:lstStyle>
            <a:lvl1pPr marL="0" indent="0" algn="ctr">
              <a:lnSpc>
                <a:spcPct val="85000"/>
              </a:lnSpc>
              <a:spcBef>
                <a:spcPts val="0"/>
              </a:spcBef>
              <a:buNone/>
              <a:defRPr sz="5400" spc="-100" baseline="0">
                <a:solidFill>
                  <a:schemeClr val="accent3"/>
                </a:solidFill>
                <a:latin typeface="+mj-lt"/>
              </a:defRPr>
            </a:lvl1pPr>
          </a:lstStyle>
          <a:p>
            <a:pPr lvl="0"/>
            <a:r>
              <a:rPr lang="en-US"/>
              <a:t>Two or three</a:t>
            </a:r>
            <a:br>
              <a:rPr lang="en-US"/>
            </a:br>
            <a:r>
              <a:rPr lang="en-US"/>
              <a:t>line title here</a:t>
            </a:r>
            <a:br>
              <a:rPr lang="en-US"/>
            </a:br>
            <a:r>
              <a:rPr lang="en-US"/>
              <a:t>lorem ipsum dolor</a:t>
            </a:r>
          </a:p>
        </p:txBody>
      </p:sp>
      <p:sp>
        <p:nvSpPr>
          <p:cNvPr id="4" name="Text Placeholder 9">
            <a:extLst>
              <a:ext uri="{FF2B5EF4-FFF2-40B4-BE49-F238E27FC236}">
                <a16:creationId xmlns:a16="http://schemas.microsoft.com/office/drawing/2014/main" id="{724E2F64-1CF9-ED20-65FE-D01EF624EAB8}"/>
              </a:ext>
            </a:extLst>
          </p:cNvPr>
          <p:cNvSpPr>
            <a:spLocks noGrp="1"/>
          </p:cNvSpPr>
          <p:nvPr>
            <p:ph type="body" sz="quarter" idx="17" hasCustomPrompt="1"/>
          </p:nvPr>
        </p:nvSpPr>
        <p:spPr>
          <a:xfrm>
            <a:off x="1343025" y="4383735"/>
            <a:ext cx="950594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
        <p:nvSpPr>
          <p:cNvPr id="5" name="Text Placeholder 9">
            <a:extLst>
              <a:ext uri="{FF2B5EF4-FFF2-40B4-BE49-F238E27FC236}">
                <a16:creationId xmlns:a16="http://schemas.microsoft.com/office/drawing/2014/main" id="{114D21C6-BDDC-DA63-C8CD-AE44CF6E3FD0}"/>
              </a:ext>
            </a:extLst>
          </p:cNvPr>
          <p:cNvSpPr>
            <a:spLocks noGrp="1"/>
          </p:cNvSpPr>
          <p:nvPr>
            <p:ph type="body" sz="quarter" idx="15" hasCustomPrompt="1"/>
          </p:nvPr>
        </p:nvSpPr>
        <p:spPr>
          <a:xfrm>
            <a:off x="2424113" y="6312625"/>
            <a:ext cx="7343775" cy="221599"/>
          </a:xfrm>
          <a:prstGeom prst="rect">
            <a:avLst/>
          </a:prstGeom>
        </p:spPr>
        <p:txBody>
          <a:bodyPr lIns="0" tIns="0" rIns="0" bIns="0">
            <a:noAutofit/>
          </a:bodyPr>
          <a:lstStyle>
            <a:lvl1pPr marL="0" indent="0" algn="ctr">
              <a:lnSpc>
                <a:spcPct val="90000"/>
              </a:lnSpc>
              <a:buNone/>
              <a:defRPr sz="1600" baseline="0">
                <a:solidFill>
                  <a:schemeClr val="bg1"/>
                </a:solidFill>
                <a:latin typeface="+mn-lt"/>
                <a:cs typeface="Arial" panose="020B0604020202020204" pitchFamily="34" charset="0"/>
              </a:defRPr>
            </a:lvl1pPr>
          </a:lstStyle>
          <a:p>
            <a:pPr lvl="0"/>
            <a:r>
              <a:rPr lang="en-US"/>
              <a:t>Forename Surname  |  Month 00, 0000</a:t>
            </a:r>
            <a:endParaRPr lang="en-GB"/>
          </a:p>
        </p:txBody>
      </p:sp>
    </p:spTree>
    <p:extLst>
      <p:ext uri="{BB962C8B-B14F-4D97-AF65-F5344CB8AC3E}">
        <p14:creationId xmlns:p14="http://schemas.microsoft.com/office/powerpoint/2010/main" val="3987740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ight Image - Agend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A02ADD0-9DEE-498A-A9F7-5ACF309A222A}"/>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 Placeholder 38">
            <a:extLst>
              <a:ext uri="{FF2B5EF4-FFF2-40B4-BE49-F238E27FC236}">
                <a16:creationId xmlns:a16="http://schemas.microsoft.com/office/drawing/2014/main" id="{F7A19D80-B581-99D7-F155-640B8E61F577}"/>
              </a:ext>
            </a:extLst>
          </p:cNvPr>
          <p:cNvSpPr>
            <a:spLocks noGrp="1"/>
          </p:cNvSpPr>
          <p:nvPr>
            <p:ph type="body" sz="quarter" idx="22" hasCustomPrompt="1"/>
          </p:nvPr>
        </p:nvSpPr>
        <p:spPr>
          <a:xfrm>
            <a:off x="0" y="6129338"/>
            <a:ext cx="2279650" cy="728662"/>
          </a:xfrm>
          <a:prstGeom prst="roundRect">
            <a:avLst>
              <a:gd name="adj" fmla="val 0"/>
            </a:avLst>
          </a:prstGeom>
          <a:solidFill>
            <a:schemeClr val="tx1"/>
          </a:solidFill>
        </p:spPr>
        <p:txBody>
          <a:bodyPr/>
          <a:lstStyle>
            <a:lvl1pPr marL="0" indent="0">
              <a:buNone/>
              <a:defRPr/>
            </a:lvl1pPr>
          </a:lstStyle>
          <a:p>
            <a:pPr lvl="0"/>
            <a:r>
              <a:rPr lang="en-US"/>
              <a:t> </a:t>
            </a:r>
            <a:endParaRPr lang="en-GB"/>
          </a:p>
        </p:txBody>
      </p:sp>
      <p:sp>
        <p:nvSpPr>
          <p:cNvPr id="6" name="Picture Placeholder 5">
            <a:extLst>
              <a:ext uri="{FF2B5EF4-FFF2-40B4-BE49-F238E27FC236}">
                <a16:creationId xmlns:a16="http://schemas.microsoft.com/office/drawing/2014/main" id="{CCB2AEB7-8E57-4C7C-2757-07E542DEE60C}"/>
              </a:ext>
            </a:extLst>
          </p:cNvPr>
          <p:cNvSpPr>
            <a:spLocks noGrp="1"/>
          </p:cNvSpPr>
          <p:nvPr>
            <p:ph type="pic" sz="quarter" idx="20" hasCustomPrompt="1"/>
          </p:nvPr>
        </p:nvSpPr>
        <p:spPr>
          <a:xfrm>
            <a:off x="0" y="0"/>
            <a:ext cx="4151312" cy="6858000"/>
          </a:xfrm>
          <a:custGeom>
            <a:avLst/>
            <a:gdLst>
              <a:gd name="connsiteX0" fmla="*/ 1592699 w 4151312"/>
              <a:gd name="connsiteY0" fmla="*/ 6492423 h 6858000"/>
              <a:gd name="connsiteX1" fmla="*/ 1592699 w 4151312"/>
              <a:gd name="connsiteY1" fmla="*/ 6501164 h 6858000"/>
              <a:gd name="connsiteX2" fmla="*/ 1592546 w 4151312"/>
              <a:gd name="connsiteY2" fmla="*/ 6504388 h 6858000"/>
              <a:gd name="connsiteX3" fmla="*/ 1568857 w 4151312"/>
              <a:gd name="connsiteY3" fmla="*/ 6522619 h 6858000"/>
              <a:gd name="connsiteX4" fmla="*/ 1551438 w 4151312"/>
              <a:gd name="connsiteY4" fmla="*/ 6508315 h 6858000"/>
              <a:gd name="connsiteX5" fmla="*/ 1568857 w 4151312"/>
              <a:gd name="connsiteY5" fmla="*/ 6495071 h 6858000"/>
              <a:gd name="connsiteX6" fmla="*/ 1581983 w 4151312"/>
              <a:gd name="connsiteY6" fmla="*/ 6495071 h 6858000"/>
              <a:gd name="connsiteX7" fmla="*/ 1592699 w 4151312"/>
              <a:gd name="connsiteY7" fmla="*/ 6492423 h 6858000"/>
              <a:gd name="connsiteX8" fmla="*/ 1172060 w 4151312"/>
              <a:gd name="connsiteY8" fmla="*/ 6492423 h 6858000"/>
              <a:gd name="connsiteX9" fmla="*/ 1172060 w 4151312"/>
              <a:gd name="connsiteY9" fmla="*/ 6501164 h 6858000"/>
              <a:gd name="connsiteX10" fmla="*/ 1171906 w 4151312"/>
              <a:gd name="connsiteY10" fmla="*/ 6504389 h 6858000"/>
              <a:gd name="connsiteX11" fmla="*/ 1148216 w 4151312"/>
              <a:gd name="connsiteY11" fmla="*/ 6522619 h 6858000"/>
              <a:gd name="connsiteX12" fmla="*/ 1130802 w 4151312"/>
              <a:gd name="connsiteY12" fmla="*/ 6508315 h 6858000"/>
              <a:gd name="connsiteX13" fmla="*/ 1148216 w 4151312"/>
              <a:gd name="connsiteY13" fmla="*/ 6495071 h 6858000"/>
              <a:gd name="connsiteX14" fmla="*/ 1161343 w 4151312"/>
              <a:gd name="connsiteY14" fmla="*/ 6495071 h 6858000"/>
              <a:gd name="connsiteX15" fmla="*/ 1172060 w 4151312"/>
              <a:gd name="connsiteY15" fmla="*/ 6492423 h 6858000"/>
              <a:gd name="connsiteX16" fmla="*/ 1796056 w 4151312"/>
              <a:gd name="connsiteY16" fmla="*/ 6448718 h 6858000"/>
              <a:gd name="connsiteX17" fmla="*/ 1823115 w 4151312"/>
              <a:gd name="connsiteY17" fmla="*/ 6470969 h 6858000"/>
              <a:gd name="connsiteX18" fmla="*/ 1768190 w 4151312"/>
              <a:gd name="connsiteY18" fmla="*/ 6470969 h 6858000"/>
              <a:gd name="connsiteX19" fmla="*/ 1796056 w 4151312"/>
              <a:gd name="connsiteY19" fmla="*/ 6448718 h 6858000"/>
              <a:gd name="connsiteX20" fmla="*/ 1385331 w 4151312"/>
              <a:gd name="connsiteY20" fmla="*/ 6423290 h 6858000"/>
              <a:gd name="connsiteX21" fmla="*/ 1427128 w 4151312"/>
              <a:gd name="connsiteY21" fmla="*/ 6544605 h 6858000"/>
              <a:gd name="connsiteX22" fmla="*/ 1470261 w 4151312"/>
              <a:gd name="connsiteY22" fmla="*/ 6544605 h 6858000"/>
              <a:gd name="connsiteX23" fmla="*/ 1513932 w 4151312"/>
              <a:gd name="connsiteY23" fmla="*/ 6423290 h 6858000"/>
              <a:gd name="connsiteX24" fmla="*/ 1477223 w 4151312"/>
              <a:gd name="connsiteY24" fmla="*/ 6423290 h 6858000"/>
              <a:gd name="connsiteX25" fmla="*/ 1449367 w 4151312"/>
              <a:gd name="connsiteY25" fmla="*/ 6507521 h 6858000"/>
              <a:gd name="connsiteX26" fmla="*/ 1423104 w 4151312"/>
              <a:gd name="connsiteY26" fmla="*/ 6423290 h 6858000"/>
              <a:gd name="connsiteX27" fmla="*/ 1319153 w 4151312"/>
              <a:gd name="connsiteY27" fmla="*/ 6423290 h 6858000"/>
              <a:gd name="connsiteX28" fmla="*/ 1319153 w 4151312"/>
              <a:gd name="connsiteY28" fmla="*/ 6452426 h 6858000"/>
              <a:gd name="connsiteX29" fmla="*/ 1336299 w 4151312"/>
              <a:gd name="connsiteY29" fmla="*/ 6452426 h 6858000"/>
              <a:gd name="connsiteX30" fmla="*/ 1336299 w 4151312"/>
              <a:gd name="connsiteY30" fmla="*/ 6544604 h 6858000"/>
              <a:gd name="connsiteX31" fmla="*/ 1371127 w 4151312"/>
              <a:gd name="connsiteY31" fmla="*/ 6544604 h 6858000"/>
              <a:gd name="connsiteX32" fmla="*/ 1371127 w 4151312"/>
              <a:gd name="connsiteY32" fmla="*/ 6423290 h 6858000"/>
              <a:gd name="connsiteX33" fmla="*/ 1293161 w 4151312"/>
              <a:gd name="connsiteY33" fmla="*/ 6421700 h 6858000"/>
              <a:gd name="connsiteX34" fmla="*/ 1261280 w 4151312"/>
              <a:gd name="connsiteY34" fmla="*/ 6442626 h 6858000"/>
              <a:gd name="connsiteX35" fmla="*/ 1261280 w 4151312"/>
              <a:gd name="connsiteY35" fmla="*/ 6423290 h 6858000"/>
              <a:gd name="connsiteX36" fmla="*/ 1227522 w 4151312"/>
              <a:gd name="connsiteY36" fmla="*/ 6423290 h 6858000"/>
              <a:gd name="connsiteX37" fmla="*/ 1227522 w 4151312"/>
              <a:gd name="connsiteY37" fmla="*/ 6544604 h 6858000"/>
              <a:gd name="connsiteX38" fmla="*/ 1262352 w 4151312"/>
              <a:gd name="connsiteY38" fmla="*/ 6544604 h 6858000"/>
              <a:gd name="connsiteX39" fmla="*/ 1262352 w 4151312"/>
              <a:gd name="connsiteY39" fmla="*/ 6486596 h 6858000"/>
              <a:gd name="connsiteX40" fmla="*/ 1288073 w 4151312"/>
              <a:gd name="connsiteY40" fmla="*/ 6457194 h 6858000"/>
              <a:gd name="connsiteX41" fmla="*/ 1302808 w 4151312"/>
              <a:gd name="connsiteY41" fmla="*/ 6457194 h 6858000"/>
              <a:gd name="connsiteX42" fmla="*/ 1302808 w 4151312"/>
              <a:gd name="connsiteY42" fmla="*/ 6422760 h 6858000"/>
              <a:gd name="connsiteX43" fmla="*/ 1293161 w 4151312"/>
              <a:gd name="connsiteY43" fmla="*/ 6421700 h 6858000"/>
              <a:gd name="connsiteX44" fmla="*/ 1796056 w 4151312"/>
              <a:gd name="connsiteY44" fmla="*/ 6420112 h 6858000"/>
              <a:gd name="connsiteX45" fmla="*/ 1791956 w 4151312"/>
              <a:gd name="connsiteY45" fmla="*/ 6420138 h 6858000"/>
              <a:gd name="connsiteX46" fmla="*/ 1732297 w 4151312"/>
              <a:gd name="connsiteY46" fmla="*/ 6483948 h 6858000"/>
              <a:gd name="connsiteX47" fmla="*/ 1770879 w 4151312"/>
              <a:gd name="connsiteY47" fmla="*/ 6541990 h 6858000"/>
              <a:gd name="connsiteX48" fmla="*/ 1857943 w 4151312"/>
              <a:gd name="connsiteY48" fmla="*/ 6509641 h 6858000"/>
              <a:gd name="connsiteX49" fmla="*/ 1821781 w 4151312"/>
              <a:gd name="connsiteY49" fmla="*/ 6505933 h 6858000"/>
              <a:gd name="connsiteX50" fmla="*/ 1802269 w 4151312"/>
              <a:gd name="connsiteY50" fmla="*/ 6518046 h 6858000"/>
              <a:gd name="connsiteX51" fmla="*/ 1768997 w 4151312"/>
              <a:gd name="connsiteY51" fmla="*/ 6494013 h 6858000"/>
              <a:gd name="connsiteX52" fmla="*/ 1860353 w 4151312"/>
              <a:gd name="connsiteY52" fmla="*/ 6494013 h 6858000"/>
              <a:gd name="connsiteX53" fmla="*/ 1860353 w 4151312"/>
              <a:gd name="connsiteY53" fmla="*/ 6492689 h 6858000"/>
              <a:gd name="connsiteX54" fmla="*/ 1796056 w 4151312"/>
              <a:gd name="connsiteY54" fmla="*/ 6420112 h 6858000"/>
              <a:gd name="connsiteX55" fmla="*/ 1574215 w 4151312"/>
              <a:gd name="connsiteY55" fmla="*/ 6420111 h 6858000"/>
              <a:gd name="connsiteX56" fmla="*/ 1521700 w 4151312"/>
              <a:gd name="connsiteY56" fmla="*/ 6434944 h 6858000"/>
              <a:gd name="connsiteX57" fmla="*/ 1535364 w 4151312"/>
              <a:gd name="connsiteY57" fmla="*/ 6460902 h 6858000"/>
              <a:gd name="connsiteX58" fmla="*/ 1572342 w 4151312"/>
              <a:gd name="connsiteY58" fmla="*/ 6449512 h 6858000"/>
              <a:gd name="connsiteX59" fmla="*/ 1592699 w 4151312"/>
              <a:gd name="connsiteY59" fmla="*/ 6463816 h 6858000"/>
              <a:gd name="connsiteX60" fmla="*/ 1592699 w 4151312"/>
              <a:gd name="connsiteY60" fmla="*/ 6465140 h 6858000"/>
              <a:gd name="connsiteX61" fmla="*/ 1584124 w 4151312"/>
              <a:gd name="connsiteY61" fmla="*/ 6472292 h 6858000"/>
              <a:gd name="connsiteX62" fmla="*/ 1560013 w 4151312"/>
              <a:gd name="connsiteY62" fmla="*/ 6472292 h 6858000"/>
              <a:gd name="connsiteX63" fmla="*/ 1515545 w 4151312"/>
              <a:gd name="connsiteY63" fmla="*/ 6509640 h 6858000"/>
              <a:gd name="connsiteX64" fmla="*/ 1515603 w 4151312"/>
              <a:gd name="connsiteY64" fmla="*/ 6510750 h 6858000"/>
              <a:gd name="connsiteX65" fmla="*/ 1558409 w 4151312"/>
              <a:gd name="connsiteY65" fmla="*/ 6547782 h 6858000"/>
              <a:gd name="connsiteX66" fmla="*/ 1592699 w 4151312"/>
              <a:gd name="connsiteY66" fmla="*/ 6533214 h 6858000"/>
              <a:gd name="connsiteX67" fmla="*/ 1592699 w 4151312"/>
              <a:gd name="connsiteY67" fmla="*/ 6544604 h 6858000"/>
              <a:gd name="connsiteX68" fmla="*/ 1627527 w 4151312"/>
              <a:gd name="connsiteY68" fmla="*/ 6544604 h 6858000"/>
              <a:gd name="connsiteX69" fmla="*/ 1627527 w 4151312"/>
              <a:gd name="connsiteY69" fmla="*/ 6464875 h 6858000"/>
              <a:gd name="connsiteX70" fmla="*/ 1574215 w 4151312"/>
              <a:gd name="connsiteY70" fmla="*/ 6420111 h 6858000"/>
              <a:gd name="connsiteX71" fmla="*/ 1153574 w 4151312"/>
              <a:gd name="connsiteY71" fmla="*/ 6420111 h 6858000"/>
              <a:gd name="connsiteX72" fmla="*/ 1101062 w 4151312"/>
              <a:gd name="connsiteY72" fmla="*/ 6434944 h 6858000"/>
              <a:gd name="connsiteX73" fmla="*/ 1114726 w 4151312"/>
              <a:gd name="connsiteY73" fmla="*/ 6460902 h 6858000"/>
              <a:gd name="connsiteX74" fmla="*/ 1151699 w 4151312"/>
              <a:gd name="connsiteY74" fmla="*/ 6449512 h 6858000"/>
              <a:gd name="connsiteX75" fmla="*/ 1172060 w 4151312"/>
              <a:gd name="connsiteY75" fmla="*/ 6463816 h 6858000"/>
              <a:gd name="connsiteX76" fmla="*/ 1172060 w 4151312"/>
              <a:gd name="connsiteY76" fmla="*/ 6465140 h 6858000"/>
              <a:gd name="connsiteX77" fmla="*/ 1163487 w 4151312"/>
              <a:gd name="connsiteY77" fmla="*/ 6472292 h 6858000"/>
              <a:gd name="connsiteX78" fmla="*/ 1139375 w 4151312"/>
              <a:gd name="connsiteY78" fmla="*/ 6472292 h 6858000"/>
              <a:gd name="connsiteX79" fmla="*/ 1094901 w 4151312"/>
              <a:gd name="connsiteY79" fmla="*/ 6509640 h 6858000"/>
              <a:gd name="connsiteX80" fmla="*/ 1094960 w 4151312"/>
              <a:gd name="connsiteY80" fmla="*/ 6510749 h 6858000"/>
              <a:gd name="connsiteX81" fmla="*/ 1137766 w 4151312"/>
              <a:gd name="connsiteY81" fmla="*/ 6547782 h 6858000"/>
              <a:gd name="connsiteX82" fmla="*/ 1172060 w 4151312"/>
              <a:gd name="connsiteY82" fmla="*/ 6533214 h 6858000"/>
              <a:gd name="connsiteX83" fmla="*/ 1172060 w 4151312"/>
              <a:gd name="connsiteY83" fmla="*/ 6544604 h 6858000"/>
              <a:gd name="connsiteX84" fmla="*/ 1206890 w 4151312"/>
              <a:gd name="connsiteY84" fmla="*/ 6544604 h 6858000"/>
              <a:gd name="connsiteX85" fmla="*/ 1206890 w 4151312"/>
              <a:gd name="connsiteY85" fmla="*/ 6464875 h 6858000"/>
              <a:gd name="connsiteX86" fmla="*/ 1153574 w 4151312"/>
              <a:gd name="connsiteY86" fmla="*/ 6420111 h 6858000"/>
              <a:gd name="connsiteX87" fmla="*/ 568575 w 4151312"/>
              <a:gd name="connsiteY87" fmla="*/ 6383429 h 6858000"/>
              <a:gd name="connsiteX88" fmla="*/ 568549 w 4151312"/>
              <a:gd name="connsiteY88" fmla="*/ 6520396 h 6858000"/>
              <a:gd name="connsiteX89" fmla="*/ 624511 w 4151312"/>
              <a:gd name="connsiteY89" fmla="*/ 6519097 h 6858000"/>
              <a:gd name="connsiteX90" fmla="*/ 618898 w 4151312"/>
              <a:gd name="connsiteY90" fmla="*/ 6402004 h 6858000"/>
              <a:gd name="connsiteX91" fmla="*/ 624479 w 4151312"/>
              <a:gd name="connsiteY91" fmla="*/ 6384725 h 6858000"/>
              <a:gd name="connsiteX92" fmla="*/ 568575 w 4151312"/>
              <a:gd name="connsiteY92" fmla="*/ 6383429 h 6858000"/>
              <a:gd name="connsiteX93" fmla="*/ 1659953 w 4151312"/>
              <a:gd name="connsiteY93" fmla="*/ 6377201 h 6858000"/>
              <a:gd name="connsiteX94" fmla="*/ 1659953 w 4151312"/>
              <a:gd name="connsiteY94" fmla="*/ 6423290 h 6858000"/>
              <a:gd name="connsiteX95" fmla="*/ 1640662 w 4151312"/>
              <a:gd name="connsiteY95" fmla="*/ 6423290 h 6858000"/>
              <a:gd name="connsiteX96" fmla="*/ 1640662 w 4151312"/>
              <a:gd name="connsiteY96" fmla="*/ 6452426 h 6858000"/>
              <a:gd name="connsiteX97" fmla="*/ 1659953 w 4151312"/>
              <a:gd name="connsiteY97" fmla="*/ 6452426 h 6858000"/>
              <a:gd name="connsiteX98" fmla="*/ 1659953 w 4151312"/>
              <a:gd name="connsiteY98" fmla="*/ 6518911 h 6858000"/>
              <a:gd name="connsiteX99" fmla="*/ 1695318 w 4151312"/>
              <a:gd name="connsiteY99" fmla="*/ 6546194 h 6858000"/>
              <a:gd name="connsiteX100" fmla="*/ 1722377 w 4151312"/>
              <a:gd name="connsiteY100" fmla="*/ 6544604 h 6858000"/>
              <a:gd name="connsiteX101" fmla="*/ 1722377 w 4151312"/>
              <a:gd name="connsiteY101" fmla="*/ 6515203 h 6858000"/>
              <a:gd name="connsiteX102" fmla="*/ 1706303 w 4151312"/>
              <a:gd name="connsiteY102" fmla="*/ 6515998 h 6858000"/>
              <a:gd name="connsiteX103" fmla="*/ 1694780 w 4151312"/>
              <a:gd name="connsiteY103" fmla="*/ 6507256 h 6858000"/>
              <a:gd name="connsiteX104" fmla="*/ 1694780 w 4151312"/>
              <a:gd name="connsiteY104" fmla="*/ 6452426 h 6858000"/>
              <a:gd name="connsiteX105" fmla="*/ 1721302 w 4151312"/>
              <a:gd name="connsiteY105" fmla="*/ 6452426 h 6858000"/>
              <a:gd name="connsiteX106" fmla="*/ 1721302 w 4151312"/>
              <a:gd name="connsiteY106" fmla="*/ 6423290 h 6858000"/>
              <a:gd name="connsiteX107" fmla="*/ 1694780 w 4151312"/>
              <a:gd name="connsiteY107" fmla="*/ 6423290 h 6858000"/>
              <a:gd name="connsiteX108" fmla="*/ 1694780 w 4151312"/>
              <a:gd name="connsiteY108" fmla="*/ 6377201 h 6858000"/>
              <a:gd name="connsiteX109" fmla="*/ 1884617 w 4151312"/>
              <a:gd name="connsiteY109" fmla="*/ 6359355 h 6858000"/>
              <a:gd name="connsiteX110" fmla="*/ 1884617 w 4151312"/>
              <a:gd name="connsiteY110" fmla="*/ 6392335 h 6858000"/>
              <a:gd name="connsiteX111" fmla="*/ 1893998 w 4151312"/>
              <a:gd name="connsiteY111" fmla="*/ 6392335 h 6858000"/>
              <a:gd name="connsiteX112" fmla="*/ 1893998 w 4151312"/>
              <a:gd name="connsiteY112" fmla="*/ 6373492 h 6858000"/>
              <a:gd name="connsiteX113" fmla="*/ 1898291 w 4151312"/>
              <a:gd name="connsiteY113" fmla="*/ 6385270 h 6858000"/>
              <a:gd name="connsiteX114" fmla="*/ 1905819 w 4151312"/>
              <a:gd name="connsiteY114" fmla="*/ 6385270 h 6858000"/>
              <a:gd name="connsiteX115" fmla="*/ 1910111 w 4151312"/>
              <a:gd name="connsiteY115" fmla="*/ 6373492 h 6858000"/>
              <a:gd name="connsiteX116" fmla="*/ 1910111 w 4151312"/>
              <a:gd name="connsiteY116" fmla="*/ 6392335 h 6858000"/>
              <a:gd name="connsiteX117" fmla="*/ 1919685 w 4151312"/>
              <a:gd name="connsiteY117" fmla="*/ 6392335 h 6858000"/>
              <a:gd name="connsiteX118" fmla="*/ 1919685 w 4151312"/>
              <a:gd name="connsiteY118" fmla="*/ 6359355 h 6858000"/>
              <a:gd name="connsiteX119" fmla="*/ 1907566 w 4151312"/>
              <a:gd name="connsiteY119" fmla="*/ 6359355 h 6858000"/>
              <a:gd name="connsiteX120" fmla="*/ 1902362 w 4151312"/>
              <a:gd name="connsiteY120" fmla="*/ 6373114 h 6858000"/>
              <a:gd name="connsiteX121" fmla="*/ 1897494 w 4151312"/>
              <a:gd name="connsiteY121" fmla="*/ 6359355 h 6858000"/>
              <a:gd name="connsiteX122" fmla="*/ 1850683 w 4151312"/>
              <a:gd name="connsiteY122" fmla="*/ 6359355 h 6858000"/>
              <a:gd name="connsiteX123" fmla="*/ 1850683 w 4151312"/>
              <a:gd name="connsiteY123" fmla="*/ 6367929 h 6858000"/>
              <a:gd name="connsiteX124" fmla="*/ 1860074 w 4151312"/>
              <a:gd name="connsiteY124" fmla="*/ 6367929 h 6858000"/>
              <a:gd name="connsiteX125" fmla="*/ 1860074 w 4151312"/>
              <a:gd name="connsiteY125" fmla="*/ 6392335 h 6858000"/>
              <a:gd name="connsiteX126" fmla="*/ 1869839 w 4151312"/>
              <a:gd name="connsiteY126" fmla="*/ 6392335 h 6858000"/>
              <a:gd name="connsiteX127" fmla="*/ 1869839 w 4151312"/>
              <a:gd name="connsiteY127" fmla="*/ 6367929 h 6858000"/>
              <a:gd name="connsiteX128" fmla="*/ 1879230 w 4151312"/>
              <a:gd name="connsiteY128" fmla="*/ 6367929 h 6858000"/>
              <a:gd name="connsiteX129" fmla="*/ 1879230 w 4151312"/>
              <a:gd name="connsiteY129" fmla="*/ 6359355 h 6858000"/>
              <a:gd name="connsiteX130" fmla="*/ 1352105 w 4151312"/>
              <a:gd name="connsiteY130" fmla="*/ 6359189 h 6858000"/>
              <a:gd name="connsiteX131" fmla="*/ 1329868 w 4151312"/>
              <a:gd name="connsiteY131" fmla="*/ 6381439 h 6858000"/>
              <a:gd name="connsiteX132" fmla="*/ 1352108 w 4151312"/>
              <a:gd name="connsiteY132" fmla="*/ 6403427 h 6858000"/>
              <a:gd name="connsiteX133" fmla="*/ 1374610 w 4151312"/>
              <a:gd name="connsiteY133" fmla="*/ 6381439 h 6858000"/>
              <a:gd name="connsiteX134" fmla="*/ 1374610 w 4151312"/>
              <a:gd name="connsiteY134" fmla="*/ 6381364 h 6858000"/>
              <a:gd name="connsiteX135" fmla="*/ 1352105 w 4151312"/>
              <a:gd name="connsiteY135" fmla="*/ 6359189 h 6858000"/>
              <a:gd name="connsiteX136" fmla="*/ 1041583 w 4151312"/>
              <a:gd name="connsiteY136" fmla="*/ 6359189 h 6858000"/>
              <a:gd name="connsiteX137" fmla="*/ 1041583 w 4151312"/>
              <a:gd name="connsiteY137" fmla="*/ 6544604 h 6858000"/>
              <a:gd name="connsiteX138" fmla="*/ 1076143 w 4151312"/>
              <a:gd name="connsiteY138" fmla="*/ 6544604 h 6858000"/>
              <a:gd name="connsiteX139" fmla="*/ 1076143 w 4151312"/>
              <a:gd name="connsiteY139" fmla="*/ 6359189 h 6858000"/>
              <a:gd name="connsiteX140" fmla="*/ 925239 w 4151312"/>
              <a:gd name="connsiteY140" fmla="*/ 6355990 h 6858000"/>
              <a:gd name="connsiteX141" fmla="*/ 832602 w 4151312"/>
              <a:gd name="connsiteY141" fmla="*/ 6451897 h 6858000"/>
              <a:gd name="connsiteX142" fmla="*/ 832623 w 4151312"/>
              <a:gd name="connsiteY142" fmla="*/ 6456990 h 6858000"/>
              <a:gd name="connsiteX143" fmla="*/ 930389 w 4151312"/>
              <a:gd name="connsiteY143" fmla="*/ 6547783 h 6858000"/>
              <a:gd name="connsiteX144" fmla="*/ 1022285 w 4151312"/>
              <a:gd name="connsiteY144" fmla="*/ 6478650 h 6858000"/>
              <a:gd name="connsiteX145" fmla="*/ 981294 w 4151312"/>
              <a:gd name="connsiteY145" fmla="*/ 6478650 h 6858000"/>
              <a:gd name="connsiteX146" fmla="*/ 930389 w 4151312"/>
              <a:gd name="connsiteY146" fmla="*/ 6513878 h 6858000"/>
              <a:gd name="connsiteX147" fmla="*/ 871450 w 4151312"/>
              <a:gd name="connsiteY147" fmla="*/ 6451897 h 6858000"/>
              <a:gd name="connsiteX148" fmla="*/ 930389 w 4151312"/>
              <a:gd name="connsiteY148" fmla="*/ 6389916 h 6858000"/>
              <a:gd name="connsiteX149" fmla="*/ 981294 w 4151312"/>
              <a:gd name="connsiteY149" fmla="*/ 6425144 h 6858000"/>
              <a:gd name="connsiteX150" fmla="*/ 1022285 w 4151312"/>
              <a:gd name="connsiteY150" fmla="*/ 6425144 h 6858000"/>
              <a:gd name="connsiteX151" fmla="*/ 930389 w 4151312"/>
              <a:gd name="connsiteY151" fmla="*/ 6356011 h 6858000"/>
              <a:gd name="connsiteX152" fmla="*/ 925239 w 4151312"/>
              <a:gd name="connsiteY152" fmla="*/ 6355990 h 6858000"/>
              <a:gd name="connsiteX153" fmla="*/ 651232 w 4151312"/>
              <a:gd name="connsiteY153" fmla="*/ 6336161 h 6858000"/>
              <a:gd name="connsiteX154" fmla="*/ 624479 w 4151312"/>
              <a:gd name="connsiteY154" fmla="*/ 6384726 h 6858000"/>
              <a:gd name="connsiteX155" fmla="*/ 742033 w 4151312"/>
              <a:gd name="connsiteY155" fmla="*/ 6451914 h 6858000"/>
              <a:gd name="connsiteX156" fmla="*/ 624512 w 4151312"/>
              <a:gd name="connsiteY156" fmla="*/ 6519097 h 6858000"/>
              <a:gd name="connsiteX157" fmla="*/ 651373 w 4151312"/>
              <a:gd name="connsiteY157" fmla="*/ 6567631 h 6858000"/>
              <a:gd name="connsiteX158" fmla="*/ 771228 w 4151312"/>
              <a:gd name="connsiteY158" fmla="*/ 6499136 h 6858000"/>
              <a:gd name="connsiteX159" fmla="*/ 742033 w 4151312"/>
              <a:gd name="connsiteY159" fmla="*/ 6451914 h 6858000"/>
              <a:gd name="connsiteX160" fmla="*/ 771227 w 4151312"/>
              <a:gd name="connsiteY160" fmla="*/ 6404692 h 6858000"/>
              <a:gd name="connsiteX161" fmla="*/ 651232 w 4151312"/>
              <a:gd name="connsiteY161" fmla="*/ 6336161 h 6858000"/>
              <a:gd name="connsiteX162" fmla="*/ 0 w 4151312"/>
              <a:gd name="connsiteY162" fmla="*/ 0 h 6858000"/>
              <a:gd name="connsiteX163" fmla="*/ 4151312 w 4151312"/>
              <a:gd name="connsiteY163" fmla="*/ 0 h 6858000"/>
              <a:gd name="connsiteX164" fmla="*/ 4151312 w 4151312"/>
              <a:gd name="connsiteY164" fmla="*/ 6858000 h 6858000"/>
              <a:gd name="connsiteX165" fmla="*/ 0 w 4151312"/>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4151312"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4151312" y="0"/>
                </a:lnTo>
                <a:lnTo>
                  <a:pt x="4151312" y="6858000"/>
                </a:lnTo>
                <a:lnTo>
                  <a:pt x="0" y="6858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2" name="Text Placeholder 9">
            <a:extLst>
              <a:ext uri="{FF2B5EF4-FFF2-40B4-BE49-F238E27FC236}">
                <a16:creationId xmlns:a16="http://schemas.microsoft.com/office/drawing/2014/main" id="{9FBC248E-2F66-88F4-B349-DEF22E5C9D62}"/>
              </a:ext>
            </a:extLst>
          </p:cNvPr>
          <p:cNvSpPr>
            <a:spLocks noGrp="1"/>
          </p:cNvSpPr>
          <p:nvPr>
            <p:ph type="body" sz="quarter" idx="13" hasCustomPrompt="1"/>
          </p:nvPr>
        </p:nvSpPr>
        <p:spPr>
          <a:xfrm>
            <a:off x="5232400" y="908939"/>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1 avenir pro 16pt</a:t>
            </a:r>
            <a:endParaRPr lang="en-GB"/>
          </a:p>
        </p:txBody>
      </p:sp>
      <p:sp>
        <p:nvSpPr>
          <p:cNvPr id="10" name="Text Placeholder 12">
            <a:extLst>
              <a:ext uri="{FF2B5EF4-FFF2-40B4-BE49-F238E27FC236}">
                <a16:creationId xmlns:a16="http://schemas.microsoft.com/office/drawing/2014/main" id="{08CE513E-095F-4D2D-D31A-3AB7C574662C}"/>
              </a:ext>
            </a:extLst>
          </p:cNvPr>
          <p:cNvSpPr>
            <a:spLocks noGrp="1"/>
          </p:cNvSpPr>
          <p:nvPr>
            <p:ph type="body" sz="quarter" idx="15" hasCustomPrompt="1"/>
          </p:nvPr>
        </p:nvSpPr>
        <p:spPr>
          <a:xfrm>
            <a:off x="5232400" y="1181195"/>
            <a:ext cx="2663825" cy="360362"/>
          </a:xfrm>
        </p:spPr>
        <p:txBody>
          <a:bodyPr/>
          <a:lstStyle>
            <a:lvl1pPr marL="0" indent="0">
              <a:buNone/>
              <a:defRPr/>
            </a:lvl1pPr>
          </a:lstStyle>
          <a:p>
            <a:pPr lvl="0"/>
            <a:r>
              <a:rPr lang="en-US"/>
              <a:t>Speaker name 15pt</a:t>
            </a:r>
            <a:endParaRPr lang="en-GB"/>
          </a:p>
        </p:txBody>
      </p:sp>
      <p:sp>
        <p:nvSpPr>
          <p:cNvPr id="11" name="Rectangle 10">
            <a:extLst>
              <a:ext uri="{FF2B5EF4-FFF2-40B4-BE49-F238E27FC236}">
                <a16:creationId xmlns:a16="http://schemas.microsoft.com/office/drawing/2014/main" id="{2FF23611-CC11-70BF-C22A-51A54C40E7AA}"/>
              </a:ext>
            </a:extLst>
          </p:cNvPr>
          <p:cNvSpPr/>
          <p:nvPr userDrawn="1"/>
        </p:nvSpPr>
        <p:spPr>
          <a:xfrm>
            <a:off x="10848975" y="6308725"/>
            <a:ext cx="1343025" cy="549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9">
            <a:extLst>
              <a:ext uri="{FF2B5EF4-FFF2-40B4-BE49-F238E27FC236}">
                <a16:creationId xmlns:a16="http://schemas.microsoft.com/office/drawing/2014/main" id="{66E3056E-0192-D10D-5108-0CD8259A2C37}"/>
              </a:ext>
            </a:extLst>
          </p:cNvPr>
          <p:cNvSpPr>
            <a:spLocks noGrp="1"/>
          </p:cNvSpPr>
          <p:nvPr>
            <p:ph type="body" sz="quarter" idx="23" hasCustomPrompt="1"/>
          </p:nvPr>
        </p:nvSpPr>
        <p:spPr>
          <a:xfrm>
            <a:off x="5232400" y="1813813"/>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2  avenir pro 16pt</a:t>
            </a:r>
            <a:endParaRPr lang="en-GB"/>
          </a:p>
        </p:txBody>
      </p:sp>
      <p:sp>
        <p:nvSpPr>
          <p:cNvPr id="13" name="Text Placeholder 12">
            <a:extLst>
              <a:ext uri="{FF2B5EF4-FFF2-40B4-BE49-F238E27FC236}">
                <a16:creationId xmlns:a16="http://schemas.microsoft.com/office/drawing/2014/main" id="{04D4BE30-51E2-6478-E42F-B31BF662CE95}"/>
              </a:ext>
            </a:extLst>
          </p:cNvPr>
          <p:cNvSpPr>
            <a:spLocks noGrp="1"/>
          </p:cNvSpPr>
          <p:nvPr>
            <p:ph type="body" sz="quarter" idx="24" hasCustomPrompt="1"/>
          </p:nvPr>
        </p:nvSpPr>
        <p:spPr>
          <a:xfrm>
            <a:off x="5232400" y="2086069"/>
            <a:ext cx="2663825" cy="360362"/>
          </a:xfrm>
        </p:spPr>
        <p:txBody>
          <a:bodyPr/>
          <a:lstStyle>
            <a:lvl1pPr marL="0" indent="0">
              <a:buNone/>
              <a:defRPr/>
            </a:lvl1pPr>
          </a:lstStyle>
          <a:p>
            <a:pPr lvl="0"/>
            <a:r>
              <a:rPr lang="en-US"/>
              <a:t>Speaker name 15pt</a:t>
            </a:r>
            <a:endParaRPr lang="en-GB"/>
          </a:p>
        </p:txBody>
      </p:sp>
      <p:sp>
        <p:nvSpPr>
          <p:cNvPr id="14" name="Text Placeholder 9">
            <a:extLst>
              <a:ext uri="{FF2B5EF4-FFF2-40B4-BE49-F238E27FC236}">
                <a16:creationId xmlns:a16="http://schemas.microsoft.com/office/drawing/2014/main" id="{332F8AE1-3942-0028-AFCC-8F55C2EF8663}"/>
              </a:ext>
            </a:extLst>
          </p:cNvPr>
          <p:cNvSpPr>
            <a:spLocks noGrp="1"/>
          </p:cNvSpPr>
          <p:nvPr>
            <p:ph type="body" sz="quarter" idx="25" hasCustomPrompt="1"/>
          </p:nvPr>
        </p:nvSpPr>
        <p:spPr>
          <a:xfrm>
            <a:off x="5232400" y="2708369"/>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3 avenir pro 16pt</a:t>
            </a:r>
            <a:endParaRPr lang="en-GB"/>
          </a:p>
        </p:txBody>
      </p:sp>
      <p:sp>
        <p:nvSpPr>
          <p:cNvPr id="15" name="Text Placeholder 12">
            <a:extLst>
              <a:ext uri="{FF2B5EF4-FFF2-40B4-BE49-F238E27FC236}">
                <a16:creationId xmlns:a16="http://schemas.microsoft.com/office/drawing/2014/main" id="{FD05F85E-1B55-9968-4E23-B056796E11BB}"/>
              </a:ext>
            </a:extLst>
          </p:cNvPr>
          <p:cNvSpPr>
            <a:spLocks noGrp="1"/>
          </p:cNvSpPr>
          <p:nvPr>
            <p:ph type="body" sz="quarter" idx="26" hasCustomPrompt="1"/>
          </p:nvPr>
        </p:nvSpPr>
        <p:spPr>
          <a:xfrm>
            <a:off x="5232400" y="2980625"/>
            <a:ext cx="2663825" cy="360362"/>
          </a:xfrm>
        </p:spPr>
        <p:txBody>
          <a:bodyPr/>
          <a:lstStyle>
            <a:lvl1pPr marL="0" indent="0">
              <a:buNone/>
              <a:defRPr/>
            </a:lvl1pPr>
          </a:lstStyle>
          <a:p>
            <a:pPr lvl="0"/>
            <a:r>
              <a:rPr lang="en-US"/>
              <a:t>Speaker name 15pt</a:t>
            </a:r>
            <a:endParaRPr lang="en-GB"/>
          </a:p>
        </p:txBody>
      </p:sp>
      <p:sp>
        <p:nvSpPr>
          <p:cNvPr id="16" name="Text Placeholder 9">
            <a:extLst>
              <a:ext uri="{FF2B5EF4-FFF2-40B4-BE49-F238E27FC236}">
                <a16:creationId xmlns:a16="http://schemas.microsoft.com/office/drawing/2014/main" id="{C98ED165-964A-E5D9-BE09-D60E81345036}"/>
              </a:ext>
            </a:extLst>
          </p:cNvPr>
          <p:cNvSpPr>
            <a:spLocks noGrp="1"/>
          </p:cNvSpPr>
          <p:nvPr>
            <p:ph type="body" sz="quarter" idx="27" hasCustomPrompt="1"/>
          </p:nvPr>
        </p:nvSpPr>
        <p:spPr>
          <a:xfrm>
            <a:off x="5232400" y="3609276"/>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4 avenir pro 16pt</a:t>
            </a:r>
            <a:endParaRPr lang="en-GB"/>
          </a:p>
        </p:txBody>
      </p:sp>
      <p:sp>
        <p:nvSpPr>
          <p:cNvPr id="17" name="Text Placeholder 12">
            <a:extLst>
              <a:ext uri="{FF2B5EF4-FFF2-40B4-BE49-F238E27FC236}">
                <a16:creationId xmlns:a16="http://schemas.microsoft.com/office/drawing/2014/main" id="{AD252B9F-F03C-D89E-3896-3ED958EE6C63}"/>
              </a:ext>
            </a:extLst>
          </p:cNvPr>
          <p:cNvSpPr>
            <a:spLocks noGrp="1"/>
          </p:cNvSpPr>
          <p:nvPr>
            <p:ph type="body" sz="quarter" idx="28" hasCustomPrompt="1"/>
          </p:nvPr>
        </p:nvSpPr>
        <p:spPr>
          <a:xfrm>
            <a:off x="5232400" y="3881532"/>
            <a:ext cx="2663825" cy="360362"/>
          </a:xfrm>
        </p:spPr>
        <p:txBody>
          <a:bodyPr/>
          <a:lstStyle>
            <a:lvl1pPr marL="0" indent="0">
              <a:buNone/>
              <a:defRPr/>
            </a:lvl1pPr>
          </a:lstStyle>
          <a:p>
            <a:pPr lvl="0"/>
            <a:r>
              <a:rPr lang="en-US"/>
              <a:t>Speaker name 15pt</a:t>
            </a:r>
            <a:endParaRPr lang="en-GB"/>
          </a:p>
        </p:txBody>
      </p:sp>
      <p:sp>
        <p:nvSpPr>
          <p:cNvPr id="19" name="Text Placeholder 9">
            <a:extLst>
              <a:ext uri="{FF2B5EF4-FFF2-40B4-BE49-F238E27FC236}">
                <a16:creationId xmlns:a16="http://schemas.microsoft.com/office/drawing/2014/main" id="{C48CF707-7C0E-F83D-163E-ECDE1F310E62}"/>
              </a:ext>
            </a:extLst>
          </p:cNvPr>
          <p:cNvSpPr>
            <a:spLocks noGrp="1"/>
          </p:cNvSpPr>
          <p:nvPr>
            <p:ph type="body" sz="quarter" idx="29" hasCustomPrompt="1"/>
          </p:nvPr>
        </p:nvSpPr>
        <p:spPr>
          <a:xfrm>
            <a:off x="5232400" y="4511770"/>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5 avenir pro 16pt</a:t>
            </a:r>
            <a:endParaRPr lang="en-GB"/>
          </a:p>
        </p:txBody>
      </p:sp>
      <p:sp>
        <p:nvSpPr>
          <p:cNvPr id="20" name="Text Placeholder 12">
            <a:extLst>
              <a:ext uri="{FF2B5EF4-FFF2-40B4-BE49-F238E27FC236}">
                <a16:creationId xmlns:a16="http://schemas.microsoft.com/office/drawing/2014/main" id="{09BF045D-2262-FB7E-6FD8-4AD04B48CED4}"/>
              </a:ext>
            </a:extLst>
          </p:cNvPr>
          <p:cNvSpPr>
            <a:spLocks noGrp="1"/>
          </p:cNvSpPr>
          <p:nvPr>
            <p:ph type="body" sz="quarter" idx="30" hasCustomPrompt="1"/>
          </p:nvPr>
        </p:nvSpPr>
        <p:spPr>
          <a:xfrm>
            <a:off x="5232400" y="4784026"/>
            <a:ext cx="2663825" cy="360362"/>
          </a:xfrm>
        </p:spPr>
        <p:txBody>
          <a:bodyPr/>
          <a:lstStyle>
            <a:lvl1pPr marL="0" indent="0">
              <a:buNone/>
              <a:defRPr/>
            </a:lvl1pPr>
          </a:lstStyle>
          <a:p>
            <a:pPr lvl="0"/>
            <a:r>
              <a:rPr lang="en-US"/>
              <a:t>Speaker name 15pt</a:t>
            </a:r>
            <a:endParaRPr lang="en-GB"/>
          </a:p>
        </p:txBody>
      </p:sp>
      <p:sp>
        <p:nvSpPr>
          <p:cNvPr id="21" name="Text Placeholder 9">
            <a:extLst>
              <a:ext uri="{FF2B5EF4-FFF2-40B4-BE49-F238E27FC236}">
                <a16:creationId xmlns:a16="http://schemas.microsoft.com/office/drawing/2014/main" id="{2D9B930D-1473-4059-32D6-E12B55C8FA32}"/>
              </a:ext>
            </a:extLst>
          </p:cNvPr>
          <p:cNvSpPr>
            <a:spLocks noGrp="1"/>
          </p:cNvSpPr>
          <p:nvPr>
            <p:ph type="body" sz="quarter" idx="31" hasCustomPrompt="1"/>
          </p:nvPr>
        </p:nvSpPr>
        <p:spPr>
          <a:xfrm>
            <a:off x="5232400" y="5409501"/>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6 avenir pro 16pt</a:t>
            </a:r>
            <a:endParaRPr lang="en-GB"/>
          </a:p>
        </p:txBody>
      </p:sp>
      <p:sp>
        <p:nvSpPr>
          <p:cNvPr id="22" name="Text Placeholder 12">
            <a:extLst>
              <a:ext uri="{FF2B5EF4-FFF2-40B4-BE49-F238E27FC236}">
                <a16:creationId xmlns:a16="http://schemas.microsoft.com/office/drawing/2014/main" id="{4C799A89-E821-6A8F-48C5-F0EE4FDFA239}"/>
              </a:ext>
            </a:extLst>
          </p:cNvPr>
          <p:cNvSpPr>
            <a:spLocks noGrp="1"/>
          </p:cNvSpPr>
          <p:nvPr>
            <p:ph type="body" sz="quarter" idx="32" hasCustomPrompt="1"/>
          </p:nvPr>
        </p:nvSpPr>
        <p:spPr>
          <a:xfrm>
            <a:off x="5232400" y="5681757"/>
            <a:ext cx="2663825" cy="360362"/>
          </a:xfrm>
        </p:spPr>
        <p:txBody>
          <a:bodyPr/>
          <a:lstStyle>
            <a:lvl1pPr marL="0" indent="0">
              <a:buNone/>
              <a:defRPr/>
            </a:lvl1pPr>
          </a:lstStyle>
          <a:p>
            <a:pPr lvl="0"/>
            <a:r>
              <a:rPr lang="en-US"/>
              <a:t>Speaker name 15pt</a:t>
            </a:r>
            <a:endParaRPr lang="en-GB"/>
          </a:p>
        </p:txBody>
      </p:sp>
      <p:sp>
        <p:nvSpPr>
          <p:cNvPr id="23" name="Text Placeholder 9">
            <a:extLst>
              <a:ext uri="{FF2B5EF4-FFF2-40B4-BE49-F238E27FC236}">
                <a16:creationId xmlns:a16="http://schemas.microsoft.com/office/drawing/2014/main" id="{FE3181D5-064C-4E3D-C1ED-EB46C7AB7560}"/>
              </a:ext>
            </a:extLst>
          </p:cNvPr>
          <p:cNvSpPr>
            <a:spLocks noGrp="1"/>
          </p:cNvSpPr>
          <p:nvPr>
            <p:ph type="body" sz="quarter" idx="33" hasCustomPrompt="1"/>
          </p:nvPr>
        </p:nvSpPr>
        <p:spPr>
          <a:xfrm>
            <a:off x="8975725" y="908939"/>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7 avenir pro 16pt</a:t>
            </a:r>
            <a:endParaRPr lang="en-GB"/>
          </a:p>
        </p:txBody>
      </p:sp>
      <p:sp>
        <p:nvSpPr>
          <p:cNvPr id="24" name="Text Placeholder 12">
            <a:extLst>
              <a:ext uri="{FF2B5EF4-FFF2-40B4-BE49-F238E27FC236}">
                <a16:creationId xmlns:a16="http://schemas.microsoft.com/office/drawing/2014/main" id="{887707A4-5FBC-3599-C170-461C8B8DCEA1}"/>
              </a:ext>
            </a:extLst>
          </p:cNvPr>
          <p:cNvSpPr>
            <a:spLocks noGrp="1"/>
          </p:cNvSpPr>
          <p:nvPr>
            <p:ph type="body" sz="quarter" idx="34" hasCustomPrompt="1"/>
          </p:nvPr>
        </p:nvSpPr>
        <p:spPr>
          <a:xfrm>
            <a:off x="8975725" y="1181195"/>
            <a:ext cx="2663825" cy="360362"/>
          </a:xfrm>
        </p:spPr>
        <p:txBody>
          <a:bodyPr/>
          <a:lstStyle>
            <a:lvl1pPr marL="0" indent="0">
              <a:buNone/>
              <a:defRPr/>
            </a:lvl1pPr>
          </a:lstStyle>
          <a:p>
            <a:pPr lvl="0"/>
            <a:r>
              <a:rPr lang="en-US"/>
              <a:t>Speaker name 15pt</a:t>
            </a:r>
            <a:endParaRPr lang="en-GB"/>
          </a:p>
        </p:txBody>
      </p:sp>
      <p:sp>
        <p:nvSpPr>
          <p:cNvPr id="25" name="Text Placeholder 9">
            <a:extLst>
              <a:ext uri="{FF2B5EF4-FFF2-40B4-BE49-F238E27FC236}">
                <a16:creationId xmlns:a16="http://schemas.microsoft.com/office/drawing/2014/main" id="{E678F9FE-AD12-0AAD-95ED-6D568DD4D99E}"/>
              </a:ext>
            </a:extLst>
          </p:cNvPr>
          <p:cNvSpPr>
            <a:spLocks noGrp="1"/>
          </p:cNvSpPr>
          <p:nvPr>
            <p:ph type="body" sz="quarter" idx="35" hasCustomPrompt="1"/>
          </p:nvPr>
        </p:nvSpPr>
        <p:spPr>
          <a:xfrm>
            <a:off x="8975725" y="1813813"/>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8  avenir pro 16pt</a:t>
            </a:r>
            <a:endParaRPr lang="en-GB"/>
          </a:p>
        </p:txBody>
      </p:sp>
      <p:sp>
        <p:nvSpPr>
          <p:cNvPr id="26" name="Text Placeholder 12">
            <a:extLst>
              <a:ext uri="{FF2B5EF4-FFF2-40B4-BE49-F238E27FC236}">
                <a16:creationId xmlns:a16="http://schemas.microsoft.com/office/drawing/2014/main" id="{CEB95295-D044-9E82-AB0C-3A300CA874BC}"/>
              </a:ext>
            </a:extLst>
          </p:cNvPr>
          <p:cNvSpPr>
            <a:spLocks noGrp="1"/>
          </p:cNvSpPr>
          <p:nvPr>
            <p:ph type="body" sz="quarter" idx="36" hasCustomPrompt="1"/>
          </p:nvPr>
        </p:nvSpPr>
        <p:spPr>
          <a:xfrm>
            <a:off x="8975725" y="2086069"/>
            <a:ext cx="2663825" cy="360362"/>
          </a:xfrm>
        </p:spPr>
        <p:txBody>
          <a:bodyPr/>
          <a:lstStyle>
            <a:lvl1pPr marL="0" indent="0">
              <a:buNone/>
              <a:defRPr/>
            </a:lvl1pPr>
          </a:lstStyle>
          <a:p>
            <a:pPr lvl="0"/>
            <a:r>
              <a:rPr lang="en-US"/>
              <a:t>Speaker name 15pt</a:t>
            </a:r>
            <a:endParaRPr lang="en-GB"/>
          </a:p>
        </p:txBody>
      </p:sp>
      <p:sp>
        <p:nvSpPr>
          <p:cNvPr id="27" name="Text Placeholder 9">
            <a:extLst>
              <a:ext uri="{FF2B5EF4-FFF2-40B4-BE49-F238E27FC236}">
                <a16:creationId xmlns:a16="http://schemas.microsoft.com/office/drawing/2014/main" id="{698AB5D8-1878-07A9-98F8-8537AC7953DB}"/>
              </a:ext>
            </a:extLst>
          </p:cNvPr>
          <p:cNvSpPr>
            <a:spLocks noGrp="1"/>
          </p:cNvSpPr>
          <p:nvPr>
            <p:ph type="body" sz="quarter" idx="37" hasCustomPrompt="1"/>
          </p:nvPr>
        </p:nvSpPr>
        <p:spPr>
          <a:xfrm>
            <a:off x="8975725" y="2708369"/>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9 avenir pro 16pt</a:t>
            </a:r>
            <a:endParaRPr lang="en-GB"/>
          </a:p>
        </p:txBody>
      </p:sp>
      <p:sp>
        <p:nvSpPr>
          <p:cNvPr id="28" name="Text Placeholder 12">
            <a:extLst>
              <a:ext uri="{FF2B5EF4-FFF2-40B4-BE49-F238E27FC236}">
                <a16:creationId xmlns:a16="http://schemas.microsoft.com/office/drawing/2014/main" id="{95F9545A-C956-A8AD-7A23-338AED072AAA}"/>
              </a:ext>
            </a:extLst>
          </p:cNvPr>
          <p:cNvSpPr>
            <a:spLocks noGrp="1"/>
          </p:cNvSpPr>
          <p:nvPr>
            <p:ph type="body" sz="quarter" idx="38" hasCustomPrompt="1"/>
          </p:nvPr>
        </p:nvSpPr>
        <p:spPr>
          <a:xfrm>
            <a:off x="8975725" y="2980625"/>
            <a:ext cx="2663825" cy="360362"/>
          </a:xfrm>
        </p:spPr>
        <p:txBody>
          <a:bodyPr/>
          <a:lstStyle>
            <a:lvl1pPr marL="0" indent="0">
              <a:buNone/>
              <a:defRPr/>
            </a:lvl1pPr>
          </a:lstStyle>
          <a:p>
            <a:pPr lvl="0"/>
            <a:r>
              <a:rPr lang="en-US"/>
              <a:t>Speaker name 15pt</a:t>
            </a:r>
            <a:endParaRPr lang="en-GB"/>
          </a:p>
        </p:txBody>
      </p:sp>
      <p:sp>
        <p:nvSpPr>
          <p:cNvPr id="29" name="Text Placeholder 9">
            <a:extLst>
              <a:ext uri="{FF2B5EF4-FFF2-40B4-BE49-F238E27FC236}">
                <a16:creationId xmlns:a16="http://schemas.microsoft.com/office/drawing/2014/main" id="{AEBB88C8-6C9C-184D-0EEC-1914E14B8790}"/>
              </a:ext>
            </a:extLst>
          </p:cNvPr>
          <p:cNvSpPr>
            <a:spLocks noGrp="1"/>
          </p:cNvSpPr>
          <p:nvPr>
            <p:ph type="body" sz="quarter" idx="39" hasCustomPrompt="1"/>
          </p:nvPr>
        </p:nvSpPr>
        <p:spPr>
          <a:xfrm>
            <a:off x="8975725" y="3609276"/>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10 avenir pro 16pt</a:t>
            </a:r>
            <a:endParaRPr lang="en-GB"/>
          </a:p>
        </p:txBody>
      </p:sp>
      <p:sp>
        <p:nvSpPr>
          <p:cNvPr id="30" name="Text Placeholder 12">
            <a:extLst>
              <a:ext uri="{FF2B5EF4-FFF2-40B4-BE49-F238E27FC236}">
                <a16:creationId xmlns:a16="http://schemas.microsoft.com/office/drawing/2014/main" id="{35537EF2-6699-95B2-45EC-E4D83E1D3AA8}"/>
              </a:ext>
            </a:extLst>
          </p:cNvPr>
          <p:cNvSpPr>
            <a:spLocks noGrp="1"/>
          </p:cNvSpPr>
          <p:nvPr>
            <p:ph type="body" sz="quarter" idx="40" hasCustomPrompt="1"/>
          </p:nvPr>
        </p:nvSpPr>
        <p:spPr>
          <a:xfrm>
            <a:off x="8975725" y="3881532"/>
            <a:ext cx="2663825" cy="360362"/>
          </a:xfrm>
        </p:spPr>
        <p:txBody>
          <a:bodyPr/>
          <a:lstStyle>
            <a:lvl1pPr marL="0" indent="0">
              <a:buNone/>
              <a:defRPr/>
            </a:lvl1pPr>
          </a:lstStyle>
          <a:p>
            <a:pPr lvl="0"/>
            <a:r>
              <a:rPr lang="en-US"/>
              <a:t>Speaker name 15pt</a:t>
            </a:r>
            <a:endParaRPr lang="en-GB"/>
          </a:p>
        </p:txBody>
      </p:sp>
      <p:sp>
        <p:nvSpPr>
          <p:cNvPr id="31" name="Text Placeholder 9">
            <a:extLst>
              <a:ext uri="{FF2B5EF4-FFF2-40B4-BE49-F238E27FC236}">
                <a16:creationId xmlns:a16="http://schemas.microsoft.com/office/drawing/2014/main" id="{50C6B4FF-3190-F297-E4E8-94EF25BF6C39}"/>
              </a:ext>
            </a:extLst>
          </p:cNvPr>
          <p:cNvSpPr>
            <a:spLocks noGrp="1"/>
          </p:cNvSpPr>
          <p:nvPr>
            <p:ph type="body" sz="quarter" idx="41" hasCustomPrompt="1"/>
          </p:nvPr>
        </p:nvSpPr>
        <p:spPr>
          <a:xfrm>
            <a:off x="8975725" y="4511770"/>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11 avenir pro 16pt</a:t>
            </a:r>
            <a:endParaRPr lang="en-GB"/>
          </a:p>
        </p:txBody>
      </p:sp>
      <p:sp>
        <p:nvSpPr>
          <p:cNvPr id="32" name="Text Placeholder 12">
            <a:extLst>
              <a:ext uri="{FF2B5EF4-FFF2-40B4-BE49-F238E27FC236}">
                <a16:creationId xmlns:a16="http://schemas.microsoft.com/office/drawing/2014/main" id="{5FE8E864-9C94-F9D6-0B26-51A37EA9AC41}"/>
              </a:ext>
            </a:extLst>
          </p:cNvPr>
          <p:cNvSpPr>
            <a:spLocks noGrp="1"/>
          </p:cNvSpPr>
          <p:nvPr>
            <p:ph type="body" sz="quarter" idx="42" hasCustomPrompt="1"/>
          </p:nvPr>
        </p:nvSpPr>
        <p:spPr>
          <a:xfrm>
            <a:off x="8975725" y="4784026"/>
            <a:ext cx="2663825" cy="360362"/>
          </a:xfrm>
        </p:spPr>
        <p:txBody>
          <a:bodyPr/>
          <a:lstStyle>
            <a:lvl1pPr marL="0" indent="0">
              <a:buNone/>
              <a:defRPr/>
            </a:lvl1pPr>
          </a:lstStyle>
          <a:p>
            <a:pPr lvl="0"/>
            <a:r>
              <a:rPr lang="en-US"/>
              <a:t>Speaker name 15pt</a:t>
            </a:r>
            <a:endParaRPr lang="en-GB"/>
          </a:p>
        </p:txBody>
      </p:sp>
      <p:sp>
        <p:nvSpPr>
          <p:cNvPr id="33" name="Text Placeholder 9">
            <a:extLst>
              <a:ext uri="{FF2B5EF4-FFF2-40B4-BE49-F238E27FC236}">
                <a16:creationId xmlns:a16="http://schemas.microsoft.com/office/drawing/2014/main" id="{C254DCA2-45BA-29E1-27BE-C4D3E13FA96D}"/>
              </a:ext>
            </a:extLst>
          </p:cNvPr>
          <p:cNvSpPr>
            <a:spLocks noGrp="1"/>
          </p:cNvSpPr>
          <p:nvPr>
            <p:ph type="body" sz="quarter" idx="43" hasCustomPrompt="1"/>
          </p:nvPr>
        </p:nvSpPr>
        <p:spPr>
          <a:xfrm>
            <a:off x="8975725" y="5409501"/>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12 avenir pro 16pt</a:t>
            </a:r>
            <a:endParaRPr lang="en-GB"/>
          </a:p>
        </p:txBody>
      </p:sp>
      <p:sp>
        <p:nvSpPr>
          <p:cNvPr id="34" name="Text Placeholder 12">
            <a:extLst>
              <a:ext uri="{FF2B5EF4-FFF2-40B4-BE49-F238E27FC236}">
                <a16:creationId xmlns:a16="http://schemas.microsoft.com/office/drawing/2014/main" id="{AD1A3EA6-8F35-336E-CCFA-19D6D38ED813}"/>
              </a:ext>
            </a:extLst>
          </p:cNvPr>
          <p:cNvSpPr>
            <a:spLocks noGrp="1"/>
          </p:cNvSpPr>
          <p:nvPr>
            <p:ph type="body" sz="quarter" idx="44" hasCustomPrompt="1"/>
          </p:nvPr>
        </p:nvSpPr>
        <p:spPr>
          <a:xfrm>
            <a:off x="8975725" y="5681757"/>
            <a:ext cx="2663825" cy="360362"/>
          </a:xfrm>
        </p:spPr>
        <p:txBody>
          <a:bodyPr/>
          <a:lstStyle>
            <a:lvl1pPr marL="0" indent="0">
              <a:buNone/>
              <a:defRPr/>
            </a:lvl1pPr>
          </a:lstStyle>
          <a:p>
            <a:pPr lvl="0"/>
            <a:r>
              <a:rPr lang="en-US"/>
              <a:t>Speaker name 15pt</a:t>
            </a:r>
            <a:endParaRPr lang="en-GB"/>
          </a:p>
        </p:txBody>
      </p:sp>
      <p:sp>
        <p:nvSpPr>
          <p:cNvPr id="3" name="Text Placeholder 12">
            <a:extLst>
              <a:ext uri="{FF2B5EF4-FFF2-40B4-BE49-F238E27FC236}">
                <a16:creationId xmlns:a16="http://schemas.microsoft.com/office/drawing/2014/main" id="{6ABCF479-60C4-0DF6-96ED-879A861B2AFA}"/>
              </a:ext>
            </a:extLst>
          </p:cNvPr>
          <p:cNvSpPr>
            <a:spLocks noGrp="1"/>
          </p:cNvSpPr>
          <p:nvPr>
            <p:ph type="body" sz="quarter" idx="21" hasCustomPrompt="1"/>
          </p:nvPr>
        </p:nvSpPr>
        <p:spPr>
          <a:xfrm>
            <a:off x="550864" y="908939"/>
            <a:ext cx="2808286" cy="539751"/>
          </a:xfrm>
        </p:spPr>
        <p:txBody>
          <a:bodyPr tIns="0" anchor="t" anchorCtr="0"/>
          <a:lstStyle>
            <a:lvl1pPr marL="0" indent="0" algn="l">
              <a:lnSpc>
                <a:spcPct val="85000"/>
              </a:lnSpc>
              <a:buNone/>
              <a:defRPr sz="3600" spc="0" baseline="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Agenda</a:t>
            </a:r>
          </a:p>
        </p:txBody>
      </p:sp>
    </p:spTree>
    <p:extLst>
      <p:ext uri="{BB962C8B-B14F-4D97-AF65-F5344CB8AC3E}">
        <p14:creationId xmlns:p14="http://schemas.microsoft.com/office/powerpoint/2010/main" val="26173548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attern - 1 line only - Mi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56F40D-311F-9DAF-7722-E26A0EECAF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 y="1012"/>
            <a:ext cx="12188400" cy="6855975"/>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217332" y="6313233"/>
            <a:ext cx="2532586" cy="177075"/>
          </a:xfrm>
          <a:prstGeom prst="rect">
            <a:avLst/>
          </a:prstGeom>
        </p:spPr>
        <p:txBody>
          <a:bodyPr lIns="0" tIns="0" rIns="0" bIns="0">
            <a:noAutofit/>
          </a:bodyPr>
          <a:lstStyle>
            <a:lvl1pPr marL="0" indent="0" algn="r">
              <a:lnSpc>
                <a:spcPct val="90000"/>
              </a:lnSpc>
              <a:buNone/>
              <a:defRPr sz="1600">
                <a:solidFill>
                  <a:schemeClr val="bg1"/>
                </a:solidFill>
                <a:latin typeface="+mn-lt"/>
              </a:defRPr>
            </a:lvl1pPr>
          </a:lstStyle>
          <a:p>
            <a:pPr lvl="0"/>
            <a:r>
              <a:rPr lang="en-US"/>
              <a:t>Forename Surname</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6433610" y="6312625"/>
            <a:ext cx="2542116" cy="177075"/>
          </a:xfrm>
          <a:prstGeom prst="rect">
            <a:avLst/>
          </a:prstGeom>
        </p:spPr>
        <p:txBody>
          <a:bodyPr lIns="0" tIns="0" rIns="0" bIns="0">
            <a:noAutofit/>
          </a:bodyPr>
          <a:lstStyle>
            <a:lvl1pPr marL="0" indent="0">
              <a:lnSpc>
                <a:spcPct val="90000"/>
              </a:lnSpc>
              <a:buNone/>
              <a:defRPr sz="1600" baseline="0">
                <a:solidFill>
                  <a:schemeClr val="bg1"/>
                </a:solidFill>
                <a:latin typeface="+mn-lt"/>
              </a:defRPr>
            </a:lvl1pPr>
          </a:lstStyle>
          <a:p>
            <a:pPr lvl="0"/>
            <a:r>
              <a:rPr lang="en-US"/>
              <a:t>00th Month 0000</a:t>
            </a:r>
            <a:endParaRPr lang="en-GB"/>
          </a:p>
        </p:txBody>
      </p:sp>
      <p:sp>
        <p:nvSpPr>
          <p:cNvPr id="3" name="Text Placeholder 2">
            <a:extLst>
              <a:ext uri="{FF2B5EF4-FFF2-40B4-BE49-F238E27FC236}">
                <a16:creationId xmlns:a16="http://schemas.microsoft.com/office/drawing/2014/main" id="{00B46115-27C9-1632-4193-41871681CCD0}"/>
              </a:ext>
            </a:extLst>
          </p:cNvPr>
          <p:cNvSpPr>
            <a:spLocks noGrp="1"/>
          </p:cNvSpPr>
          <p:nvPr>
            <p:ph type="body" sz="quarter" idx="20" hasCustomPrompt="1"/>
          </p:nvPr>
        </p:nvSpPr>
        <p:spPr>
          <a:xfrm>
            <a:off x="6092400" y="6291099"/>
            <a:ext cx="7200" cy="216000"/>
          </a:xfrm>
          <a:solidFill>
            <a:schemeClr val="bg1"/>
          </a:solidFill>
        </p:spPr>
        <p:txBody>
          <a:bodyPr/>
          <a:lstStyle>
            <a:lvl1pPr marL="0" indent="0">
              <a:buNone/>
              <a:defRPr>
                <a:solidFill>
                  <a:schemeClr val="bg1"/>
                </a:solidFill>
              </a:defRPr>
            </a:lvl1pPr>
          </a:lstStyle>
          <a:p>
            <a:pPr lvl="0"/>
            <a:r>
              <a:rPr lang="en-US"/>
              <a:t> </a:t>
            </a:r>
            <a:endParaRPr lang="en-GB"/>
          </a:p>
        </p:txBody>
      </p:sp>
      <p:sp>
        <p:nvSpPr>
          <p:cNvPr id="2" name="Text Placeholder 9">
            <a:extLst>
              <a:ext uri="{FF2B5EF4-FFF2-40B4-BE49-F238E27FC236}">
                <a16:creationId xmlns:a16="http://schemas.microsoft.com/office/drawing/2014/main" id="{9B1E7E56-BB61-F595-D102-91046074E5B6}"/>
              </a:ext>
            </a:extLst>
          </p:cNvPr>
          <p:cNvSpPr>
            <a:spLocks noGrp="1"/>
          </p:cNvSpPr>
          <p:nvPr>
            <p:ph type="body" sz="quarter" idx="16" hasCustomPrompt="1"/>
          </p:nvPr>
        </p:nvSpPr>
        <p:spPr>
          <a:xfrm>
            <a:off x="1343025" y="2708275"/>
            <a:ext cx="9505949" cy="890589"/>
          </a:xfrm>
          <a:prstGeom prst="rect">
            <a:avLst/>
          </a:prstGeom>
        </p:spPr>
        <p:txBody>
          <a:bodyPr lIns="0" tIns="36000" rIns="0" bIns="0" anchor="b" anchorCtr="0">
            <a:noAutofit/>
          </a:bodyPr>
          <a:lstStyle>
            <a:lvl1pPr marL="0" indent="0" algn="ctr">
              <a:lnSpc>
                <a:spcPct val="85000"/>
              </a:lnSpc>
              <a:buNone/>
              <a:defRPr sz="5400" spc="-100" baseline="0">
                <a:solidFill>
                  <a:schemeClr val="accent1"/>
                </a:solidFill>
                <a:latin typeface="+mj-lt"/>
              </a:defRPr>
            </a:lvl1pPr>
          </a:lstStyle>
          <a:p>
            <a:pPr lvl="0"/>
            <a:r>
              <a:rPr lang="en-GB"/>
              <a:t>D</a:t>
            </a:r>
            <a:r>
              <a:rPr lang="en-US"/>
              <a:t>ark pattern one line title</a:t>
            </a:r>
          </a:p>
        </p:txBody>
      </p:sp>
      <p:sp>
        <p:nvSpPr>
          <p:cNvPr id="4" name="Text Placeholder 9">
            <a:extLst>
              <a:ext uri="{FF2B5EF4-FFF2-40B4-BE49-F238E27FC236}">
                <a16:creationId xmlns:a16="http://schemas.microsoft.com/office/drawing/2014/main" id="{8132D823-FAB6-8942-115E-ECA384A8E0C0}"/>
              </a:ext>
            </a:extLst>
          </p:cNvPr>
          <p:cNvSpPr>
            <a:spLocks noGrp="1"/>
          </p:cNvSpPr>
          <p:nvPr>
            <p:ph type="body" sz="quarter" idx="17" hasCustomPrompt="1"/>
          </p:nvPr>
        </p:nvSpPr>
        <p:spPr>
          <a:xfrm>
            <a:off x="1343079" y="3683220"/>
            <a:ext cx="950233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36025582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attern - 2 or 3 lines - Mi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C2CE3A-10E3-A0F1-A206-74B0BF2E2B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 y="1012"/>
            <a:ext cx="12188400" cy="6855975"/>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217332" y="6313233"/>
            <a:ext cx="2532586" cy="177075"/>
          </a:xfrm>
          <a:prstGeom prst="rect">
            <a:avLst/>
          </a:prstGeom>
        </p:spPr>
        <p:txBody>
          <a:bodyPr lIns="0" tIns="0" rIns="0" bIns="0">
            <a:noAutofit/>
          </a:bodyPr>
          <a:lstStyle>
            <a:lvl1pPr marL="0" indent="0" algn="r">
              <a:lnSpc>
                <a:spcPct val="90000"/>
              </a:lnSpc>
              <a:buNone/>
              <a:defRPr sz="1600">
                <a:solidFill>
                  <a:schemeClr val="bg1"/>
                </a:solidFill>
                <a:latin typeface="+mn-lt"/>
              </a:defRPr>
            </a:lvl1pPr>
          </a:lstStyle>
          <a:p>
            <a:pPr lvl="0"/>
            <a:r>
              <a:rPr lang="en-US"/>
              <a:t>Forename Surname</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6433610" y="6312625"/>
            <a:ext cx="2542116" cy="177075"/>
          </a:xfrm>
          <a:prstGeom prst="rect">
            <a:avLst/>
          </a:prstGeom>
        </p:spPr>
        <p:txBody>
          <a:bodyPr lIns="0" tIns="0" rIns="0" bIns="0">
            <a:noAutofit/>
          </a:bodyPr>
          <a:lstStyle>
            <a:lvl1pPr marL="0" indent="0">
              <a:lnSpc>
                <a:spcPct val="90000"/>
              </a:lnSpc>
              <a:buNone/>
              <a:defRPr sz="1600" baseline="0">
                <a:solidFill>
                  <a:schemeClr val="bg1"/>
                </a:solidFill>
                <a:latin typeface="+mn-lt"/>
              </a:defRPr>
            </a:lvl1pPr>
          </a:lstStyle>
          <a:p>
            <a:pPr lvl="0"/>
            <a:r>
              <a:rPr lang="en-US"/>
              <a:t>00th Month 0000</a:t>
            </a:r>
            <a:endParaRPr lang="en-GB"/>
          </a:p>
        </p:txBody>
      </p:sp>
      <p:sp>
        <p:nvSpPr>
          <p:cNvPr id="2" name="Text Placeholder 2">
            <a:extLst>
              <a:ext uri="{FF2B5EF4-FFF2-40B4-BE49-F238E27FC236}">
                <a16:creationId xmlns:a16="http://schemas.microsoft.com/office/drawing/2014/main" id="{7069AED8-B383-E3ED-1315-7BCB2C145A6A}"/>
              </a:ext>
            </a:extLst>
          </p:cNvPr>
          <p:cNvSpPr>
            <a:spLocks noGrp="1"/>
          </p:cNvSpPr>
          <p:nvPr>
            <p:ph type="body" sz="quarter" idx="20" hasCustomPrompt="1"/>
          </p:nvPr>
        </p:nvSpPr>
        <p:spPr>
          <a:xfrm>
            <a:off x="6092400" y="6291099"/>
            <a:ext cx="7200" cy="216000"/>
          </a:xfrm>
          <a:solidFill>
            <a:schemeClr val="bg1"/>
          </a:solidFill>
        </p:spPr>
        <p:txBody>
          <a:bodyPr/>
          <a:lstStyle>
            <a:lvl1pPr marL="0" indent="0">
              <a:buNone/>
              <a:defRPr>
                <a:solidFill>
                  <a:schemeClr val="bg1"/>
                </a:solidFill>
              </a:defRPr>
            </a:lvl1pPr>
          </a:lstStyle>
          <a:p>
            <a:pPr lvl="0"/>
            <a:r>
              <a:rPr lang="en-US"/>
              <a:t> </a:t>
            </a:r>
            <a:endParaRPr lang="en-GB"/>
          </a:p>
        </p:txBody>
      </p:sp>
      <p:sp>
        <p:nvSpPr>
          <p:cNvPr id="3" name="Text Placeholder 9">
            <a:extLst>
              <a:ext uri="{FF2B5EF4-FFF2-40B4-BE49-F238E27FC236}">
                <a16:creationId xmlns:a16="http://schemas.microsoft.com/office/drawing/2014/main" id="{5E004001-F9FA-DB49-B103-7D69482E2157}"/>
              </a:ext>
            </a:extLst>
          </p:cNvPr>
          <p:cNvSpPr>
            <a:spLocks noGrp="1"/>
          </p:cNvSpPr>
          <p:nvPr>
            <p:ph type="body" sz="quarter" idx="16" hasCustomPrompt="1"/>
          </p:nvPr>
        </p:nvSpPr>
        <p:spPr>
          <a:xfrm>
            <a:off x="1343026" y="2708275"/>
            <a:ext cx="9498748" cy="1588441"/>
          </a:xfrm>
          <a:prstGeom prst="rect">
            <a:avLst/>
          </a:prstGeom>
        </p:spPr>
        <p:txBody>
          <a:bodyPr lIns="0" tIns="36000" rIns="0" bIns="0" anchor="b" anchorCtr="0">
            <a:noAutofit/>
          </a:bodyPr>
          <a:lstStyle>
            <a:lvl1pPr marL="0" indent="0" algn="ctr">
              <a:lnSpc>
                <a:spcPct val="85000"/>
              </a:lnSpc>
              <a:buNone/>
              <a:defRPr sz="5400" spc="-100" baseline="0">
                <a:solidFill>
                  <a:schemeClr val="accent1"/>
                </a:solidFill>
                <a:latin typeface="+mj-lt"/>
              </a:defRPr>
            </a:lvl1pPr>
          </a:lstStyle>
          <a:p>
            <a:pPr lvl="0"/>
            <a:r>
              <a:rPr lang="en-US"/>
              <a:t>Dark pattern cover two or three line title</a:t>
            </a:r>
          </a:p>
        </p:txBody>
      </p:sp>
      <p:sp>
        <p:nvSpPr>
          <p:cNvPr id="4" name="Text Placeholder 9">
            <a:extLst>
              <a:ext uri="{FF2B5EF4-FFF2-40B4-BE49-F238E27FC236}">
                <a16:creationId xmlns:a16="http://schemas.microsoft.com/office/drawing/2014/main" id="{652E3981-AF30-649F-42FB-9DDE6BCA1A26}"/>
              </a:ext>
            </a:extLst>
          </p:cNvPr>
          <p:cNvSpPr>
            <a:spLocks noGrp="1"/>
          </p:cNvSpPr>
          <p:nvPr>
            <p:ph type="body" sz="quarter" idx="17" hasCustomPrompt="1"/>
          </p:nvPr>
        </p:nvSpPr>
        <p:spPr>
          <a:xfrm>
            <a:off x="1343079" y="4383735"/>
            <a:ext cx="9495141"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21250229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attern - 1 line only - Citru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56F40D-311F-9DAF-7722-E26A0EECAF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 y="1012"/>
            <a:ext cx="12188400" cy="6855975"/>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217332" y="6313233"/>
            <a:ext cx="2532586" cy="177075"/>
          </a:xfrm>
          <a:prstGeom prst="rect">
            <a:avLst/>
          </a:prstGeom>
        </p:spPr>
        <p:txBody>
          <a:bodyPr lIns="0" tIns="0" rIns="0" bIns="0">
            <a:noAutofit/>
          </a:bodyPr>
          <a:lstStyle>
            <a:lvl1pPr marL="0" indent="0" algn="r">
              <a:lnSpc>
                <a:spcPct val="90000"/>
              </a:lnSpc>
              <a:buNone/>
              <a:defRPr sz="1600">
                <a:solidFill>
                  <a:schemeClr val="bg1"/>
                </a:solidFill>
                <a:latin typeface="+mn-lt"/>
              </a:defRPr>
            </a:lvl1pPr>
          </a:lstStyle>
          <a:p>
            <a:pPr lvl="0"/>
            <a:r>
              <a:rPr lang="en-US"/>
              <a:t>Forename Surname</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6433610" y="6312625"/>
            <a:ext cx="2542116" cy="177075"/>
          </a:xfrm>
          <a:prstGeom prst="rect">
            <a:avLst/>
          </a:prstGeom>
        </p:spPr>
        <p:txBody>
          <a:bodyPr lIns="0" tIns="0" rIns="0" bIns="0">
            <a:noAutofit/>
          </a:bodyPr>
          <a:lstStyle>
            <a:lvl1pPr marL="0" indent="0">
              <a:lnSpc>
                <a:spcPct val="90000"/>
              </a:lnSpc>
              <a:buNone/>
              <a:defRPr sz="1600" baseline="0">
                <a:solidFill>
                  <a:schemeClr val="bg1"/>
                </a:solidFill>
                <a:latin typeface="+mn-lt"/>
              </a:defRPr>
            </a:lvl1pPr>
          </a:lstStyle>
          <a:p>
            <a:pPr lvl="0"/>
            <a:r>
              <a:rPr lang="en-US"/>
              <a:t>00th Month 0000</a:t>
            </a:r>
            <a:endParaRPr lang="en-GB"/>
          </a:p>
        </p:txBody>
      </p:sp>
      <p:sp>
        <p:nvSpPr>
          <p:cNvPr id="3" name="Text Placeholder 2">
            <a:extLst>
              <a:ext uri="{FF2B5EF4-FFF2-40B4-BE49-F238E27FC236}">
                <a16:creationId xmlns:a16="http://schemas.microsoft.com/office/drawing/2014/main" id="{00B46115-27C9-1632-4193-41871681CCD0}"/>
              </a:ext>
            </a:extLst>
          </p:cNvPr>
          <p:cNvSpPr>
            <a:spLocks noGrp="1"/>
          </p:cNvSpPr>
          <p:nvPr>
            <p:ph type="body" sz="quarter" idx="20" hasCustomPrompt="1"/>
          </p:nvPr>
        </p:nvSpPr>
        <p:spPr>
          <a:xfrm>
            <a:off x="6092400" y="6291099"/>
            <a:ext cx="7200" cy="216000"/>
          </a:xfrm>
          <a:solidFill>
            <a:schemeClr val="bg1"/>
          </a:solidFill>
        </p:spPr>
        <p:txBody>
          <a:bodyPr/>
          <a:lstStyle>
            <a:lvl1pPr marL="0" indent="0">
              <a:buNone/>
              <a:defRPr>
                <a:solidFill>
                  <a:schemeClr val="bg1"/>
                </a:solidFill>
              </a:defRPr>
            </a:lvl1pPr>
          </a:lstStyle>
          <a:p>
            <a:pPr lvl="0"/>
            <a:r>
              <a:rPr lang="en-US"/>
              <a:t> </a:t>
            </a:r>
            <a:endParaRPr lang="en-GB"/>
          </a:p>
        </p:txBody>
      </p:sp>
      <p:sp>
        <p:nvSpPr>
          <p:cNvPr id="2" name="Text Placeholder 9">
            <a:extLst>
              <a:ext uri="{FF2B5EF4-FFF2-40B4-BE49-F238E27FC236}">
                <a16:creationId xmlns:a16="http://schemas.microsoft.com/office/drawing/2014/main" id="{9B1E7E56-BB61-F595-D102-91046074E5B6}"/>
              </a:ext>
            </a:extLst>
          </p:cNvPr>
          <p:cNvSpPr>
            <a:spLocks noGrp="1"/>
          </p:cNvSpPr>
          <p:nvPr>
            <p:ph type="body" sz="quarter" idx="16" hasCustomPrompt="1"/>
          </p:nvPr>
        </p:nvSpPr>
        <p:spPr>
          <a:xfrm>
            <a:off x="1343025" y="2708275"/>
            <a:ext cx="9505949" cy="890589"/>
          </a:xfrm>
          <a:prstGeom prst="rect">
            <a:avLst/>
          </a:prstGeom>
        </p:spPr>
        <p:txBody>
          <a:bodyPr lIns="0" tIns="36000" rIns="0" bIns="0" anchor="b" anchorCtr="0">
            <a:noAutofit/>
          </a:bodyPr>
          <a:lstStyle>
            <a:lvl1pPr marL="0" indent="0" algn="ctr">
              <a:lnSpc>
                <a:spcPct val="85000"/>
              </a:lnSpc>
              <a:buNone/>
              <a:defRPr sz="5400" spc="-100" baseline="0">
                <a:solidFill>
                  <a:schemeClr val="accent3"/>
                </a:solidFill>
                <a:latin typeface="+mj-lt"/>
              </a:defRPr>
            </a:lvl1pPr>
          </a:lstStyle>
          <a:p>
            <a:pPr lvl="0"/>
            <a:r>
              <a:rPr lang="en-GB"/>
              <a:t>D</a:t>
            </a:r>
            <a:r>
              <a:rPr lang="en-US"/>
              <a:t>ark pattern one line title</a:t>
            </a:r>
          </a:p>
        </p:txBody>
      </p:sp>
      <p:sp>
        <p:nvSpPr>
          <p:cNvPr id="4" name="Text Placeholder 9">
            <a:extLst>
              <a:ext uri="{FF2B5EF4-FFF2-40B4-BE49-F238E27FC236}">
                <a16:creationId xmlns:a16="http://schemas.microsoft.com/office/drawing/2014/main" id="{8132D823-FAB6-8942-115E-ECA384A8E0C0}"/>
              </a:ext>
            </a:extLst>
          </p:cNvPr>
          <p:cNvSpPr>
            <a:spLocks noGrp="1"/>
          </p:cNvSpPr>
          <p:nvPr>
            <p:ph type="body" sz="quarter" idx="17" hasCustomPrompt="1"/>
          </p:nvPr>
        </p:nvSpPr>
        <p:spPr>
          <a:xfrm>
            <a:off x="1343079" y="3683220"/>
            <a:ext cx="9502339"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29838564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attern - 2 or 3 lines - Citru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C2CE3A-10E3-A0F1-A206-74B0BF2E2B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 y="1012"/>
            <a:ext cx="12188400" cy="6855975"/>
          </a:xfrm>
          <a:prstGeom prst="rect">
            <a:avLst/>
          </a:prstGeom>
        </p:spPr>
      </p:pic>
      <p:pic>
        <p:nvPicPr>
          <p:cNvPr id="14" name="Graphic 13">
            <a:extLst>
              <a:ext uri="{FF2B5EF4-FFF2-40B4-BE49-F238E27FC236}">
                <a16:creationId xmlns:a16="http://schemas.microsoft.com/office/drawing/2014/main" id="{1096E191-2144-60BE-91CE-85588EF18E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00468" y="437514"/>
            <a:ext cx="1591064" cy="268913"/>
          </a:xfrm>
          <a:prstGeom prst="rect">
            <a:avLst/>
          </a:prstGeom>
        </p:spPr>
      </p:pic>
      <p:sp>
        <p:nvSpPr>
          <p:cNvPr id="17" name="Text Placeholder 9">
            <a:extLst>
              <a:ext uri="{FF2B5EF4-FFF2-40B4-BE49-F238E27FC236}">
                <a16:creationId xmlns:a16="http://schemas.microsoft.com/office/drawing/2014/main" id="{49C182B8-C7DD-EE7B-F51B-FA5E11F3C83E}"/>
              </a:ext>
            </a:extLst>
          </p:cNvPr>
          <p:cNvSpPr>
            <a:spLocks noGrp="1"/>
          </p:cNvSpPr>
          <p:nvPr>
            <p:ph type="body" sz="quarter" idx="13" hasCustomPrompt="1"/>
          </p:nvPr>
        </p:nvSpPr>
        <p:spPr>
          <a:xfrm>
            <a:off x="3217332" y="6313233"/>
            <a:ext cx="2532586" cy="177075"/>
          </a:xfrm>
          <a:prstGeom prst="rect">
            <a:avLst/>
          </a:prstGeom>
        </p:spPr>
        <p:txBody>
          <a:bodyPr lIns="0" tIns="0" rIns="0" bIns="0">
            <a:noAutofit/>
          </a:bodyPr>
          <a:lstStyle>
            <a:lvl1pPr marL="0" indent="0" algn="r">
              <a:lnSpc>
                <a:spcPct val="90000"/>
              </a:lnSpc>
              <a:buNone/>
              <a:defRPr sz="1600">
                <a:solidFill>
                  <a:schemeClr val="bg1"/>
                </a:solidFill>
                <a:latin typeface="+mn-lt"/>
              </a:defRPr>
            </a:lvl1pPr>
          </a:lstStyle>
          <a:p>
            <a:pPr lvl="0"/>
            <a:r>
              <a:rPr lang="en-US"/>
              <a:t>Forename Surname</a:t>
            </a:r>
            <a:endParaRPr lang="en-GB"/>
          </a:p>
        </p:txBody>
      </p:sp>
      <p:sp>
        <p:nvSpPr>
          <p:cNvPr id="19" name="Text Placeholder 9">
            <a:extLst>
              <a:ext uri="{FF2B5EF4-FFF2-40B4-BE49-F238E27FC236}">
                <a16:creationId xmlns:a16="http://schemas.microsoft.com/office/drawing/2014/main" id="{6C38E137-2FCE-14E8-AECF-571F9A547EBB}"/>
              </a:ext>
            </a:extLst>
          </p:cNvPr>
          <p:cNvSpPr>
            <a:spLocks noGrp="1"/>
          </p:cNvSpPr>
          <p:nvPr>
            <p:ph type="body" sz="quarter" idx="15" hasCustomPrompt="1"/>
          </p:nvPr>
        </p:nvSpPr>
        <p:spPr>
          <a:xfrm>
            <a:off x="6433610" y="6312625"/>
            <a:ext cx="2542116" cy="177075"/>
          </a:xfrm>
          <a:prstGeom prst="rect">
            <a:avLst/>
          </a:prstGeom>
        </p:spPr>
        <p:txBody>
          <a:bodyPr lIns="0" tIns="0" rIns="0" bIns="0">
            <a:noAutofit/>
          </a:bodyPr>
          <a:lstStyle>
            <a:lvl1pPr marL="0" indent="0">
              <a:lnSpc>
                <a:spcPct val="90000"/>
              </a:lnSpc>
              <a:buNone/>
              <a:defRPr sz="1600" baseline="0">
                <a:solidFill>
                  <a:schemeClr val="bg1"/>
                </a:solidFill>
                <a:latin typeface="+mn-lt"/>
              </a:defRPr>
            </a:lvl1pPr>
          </a:lstStyle>
          <a:p>
            <a:pPr lvl="0"/>
            <a:r>
              <a:rPr lang="en-US"/>
              <a:t>00th Month 0000</a:t>
            </a:r>
            <a:endParaRPr lang="en-GB"/>
          </a:p>
        </p:txBody>
      </p:sp>
      <p:sp>
        <p:nvSpPr>
          <p:cNvPr id="2" name="Text Placeholder 2">
            <a:extLst>
              <a:ext uri="{FF2B5EF4-FFF2-40B4-BE49-F238E27FC236}">
                <a16:creationId xmlns:a16="http://schemas.microsoft.com/office/drawing/2014/main" id="{7069AED8-B383-E3ED-1315-7BCB2C145A6A}"/>
              </a:ext>
            </a:extLst>
          </p:cNvPr>
          <p:cNvSpPr>
            <a:spLocks noGrp="1"/>
          </p:cNvSpPr>
          <p:nvPr>
            <p:ph type="body" sz="quarter" idx="20" hasCustomPrompt="1"/>
          </p:nvPr>
        </p:nvSpPr>
        <p:spPr>
          <a:xfrm>
            <a:off x="6092400" y="6291099"/>
            <a:ext cx="7200" cy="216000"/>
          </a:xfrm>
          <a:solidFill>
            <a:schemeClr val="bg1"/>
          </a:solidFill>
        </p:spPr>
        <p:txBody>
          <a:bodyPr/>
          <a:lstStyle>
            <a:lvl1pPr marL="0" indent="0">
              <a:buNone/>
              <a:defRPr>
                <a:solidFill>
                  <a:schemeClr val="bg1"/>
                </a:solidFill>
              </a:defRPr>
            </a:lvl1pPr>
          </a:lstStyle>
          <a:p>
            <a:pPr lvl="0"/>
            <a:r>
              <a:rPr lang="en-US"/>
              <a:t> </a:t>
            </a:r>
            <a:endParaRPr lang="en-GB"/>
          </a:p>
        </p:txBody>
      </p:sp>
      <p:sp>
        <p:nvSpPr>
          <p:cNvPr id="3" name="Text Placeholder 9">
            <a:extLst>
              <a:ext uri="{FF2B5EF4-FFF2-40B4-BE49-F238E27FC236}">
                <a16:creationId xmlns:a16="http://schemas.microsoft.com/office/drawing/2014/main" id="{5E004001-F9FA-DB49-B103-7D69482E2157}"/>
              </a:ext>
            </a:extLst>
          </p:cNvPr>
          <p:cNvSpPr>
            <a:spLocks noGrp="1"/>
          </p:cNvSpPr>
          <p:nvPr>
            <p:ph type="body" sz="quarter" idx="16" hasCustomPrompt="1"/>
          </p:nvPr>
        </p:nvSpPr>
        <p:spPr>
          <a:xfrm>
            <a:off x="1343026" y="2708275"/>
            <a:ext cx="9498748" cy="1588441"/>
          </a:xfrm>
          <a:prstGeom prst="rect">
            <a:avLst/>
          </a:prstGeom>
        </p:spPr>
        <p:txBody>
          <a:bodyPr lIns="0" tIns="36000" rIns="0" bIns="0" anchor="b" anchorCtr="0">
            <a:noAutofit/>
          </a:bodyPr>
          <a:lstStyle>
            <a:lvl1pPr marL="0" indent="0" algn="ctr">
              <a:lnSpc>
                <a:spcPct val="85000"/>
              </a:lnSpc>
              <a:buNone/>
              <a:defRPr sz="5400" spc="-100" baseline="0">
                <a:solidFill>
                  <a:schemeClr val="accent3"/>
                </a:solidFill>
                <a:latin typeface="+mj-lt"/>
              </a:defRPr>
            </a:lvl1pPr>
          </a:lstStyle>
          <a:p>
            <a:pPr lvl="0"/>
            <a:r>
              <a:rPr lang="en-US"/>
              <a:t>Dark pattern cover two or three line title</a:t>
            </a:r>
          </a:p>
        </p:txBody>
      </p:sp>
      <p:sp>
        <p:nvSpPr>
          <p:cNvPr id="4" name="Text Placeholder 9">
            <a:extLst>
              <a:ext uri="{FF2B5EF4-FFF2-40B4-BE49-F238E27FC236}">
                <a16:creationId xmlns:a16="http://schemas.microsoft.com/office/drawing/2014/main" id="{652E3981-AF30-649F-42FB-9DDE6BCA1A26}"/>
              </a:ext>
            </a:extLst>
          </p:cNvPr>
          <p:cNvSpPr>
            <a:spLocks noGrp="1"/>
          </p:cNvSpPr>
          <p:nvPr>
            <p:ph type="body" sz="quarter" idx="17" hasCustomPrompt="1"/>
          </p:nvPr>
        </p:nvSpPr>
        <p:spPr>
          <a:xfrm>
            <a:off x="1343079" y="4383735"/>
            <a:ext cx="9495141" cy="281703"/>
          </a:xfrm>
          <a:prstGeom prst="rect">
            <a:avLst/>
          </a:prstGeom>
        </p:spPr>
        <p:txBody>
          <a:bodyPr lIns="0" tIns="36000" rIns="0" bIns="0" anchor="t" anchorCtr="0">
            <a:noAutofit/>
          </a:bodyPr>
          <a:lstStyle>
            <a:lvl1pPr marL="0" indent="0" algn="ctr">
              <a:lnSpc>
                <a:spcPct val="8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31846139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0:50 - 1 line only - Mint">
    <p:spTree>
      <p:nvGrpSpPr>
        <p:cNvPr id="1" name=""/>
        <p:cNvGrpSpPr/>
        <p:nvPr/>
      </p:nvGrpSpPr>
      <p:grpSpPr>
        <a:xfrm>
          <a:off x="0" y="0"/>
          <a:ext cx="0" cy="0"/>
          <a:chOff x="0" y="0"/>
          <a:chExt cx="0" cy="0"/>
        </a:xfrm>
      </p:grpSpPr>
      <p:sp>
        <p:nvSpPr>
          <p:cNvPr id="24" name="Picture Placeholder 177">
            <a:extLst>
              <a:ext uri="{FF2B5EF4-FFF2-40B4-BE49-F238E27FC236}">
                <a16:creationId xmlns:a16="http://schemas.microsoft.com/office/drawing/2014/main" id="{EBF07732-6455-6288-ADD7-82EA3A3699BF}"/>
              </a:ext>
            </a:extLst>
          </p:cNvPr>
          <p:cNvSpPr>
            <a:spLocks noGrp="1"/>
          </p:cNvSpPr>
          <p:nvPr>
            <p:ph type="pic" sz="quarter" idx="21" hasCustomPrompt="1"/>
          </p:nvPr>
        </p:nvSpPr>
        <p:spPr>
          <a:xfrm>
            <a:off x="4062088" y="0"/>
            <a:ext cx="8129913" cy="6858000"/>
          </a:xfrm>
          <a:custGeom>
            <a:avLst/>
            <a:gdLst>
              <a:gd name="connsiteX0" fmla="*/ 4064325 w 8129913"/>
              <a:gd name="connsiteY0" fmla="*/ 0 h 6858000"/>
              <a:gd name="connsiteX1" fmla="*/ 8129913 w 8129913"/>
              <a:gd name="connsiteY1" fmla="*/ 0 h 6858000"/>
              <a:gd name="connsiteX2" fmla="*/ 8129913 w 8129913"/>
              <a:gd name="connsiteY2" fmla="*/ 6858000 h 6858000"/>
              <a:gd name="connsiteX3" fmla="*/ 0 w 81299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9913" h="6858000">
                <a:moveTo>
                  <a:pt x="4064325" y="0"/>
                </a:moveTo>
                <a:lnTo>
                  <a:pt x="8129913" y="0"/>
                </a:lnTo>
                <a:lnTo>
                  <a:pt x="8129913" y="6858000"/>
                </a:lnTo>
                <a:lnTo>
                  <a:pt x="0" y="6858000"/>
                </a:lnTo>
                <a:close/>
              </a:path>
            </a:pathLst>
          </a:custGeom>
          <a:solidFill>
            <a:schemeClr val="bg1">
              <a:lumMod val="95000"/>
            </a:schemeClr>
          </a:solidFill>
          <a:ln>
            <a:noFill/>
          </a:ln>
        </p:spPr>
        <p:txBody>
          <a:bodyPr wrap="square" lIns="540000" tIns="0" bIns="108000" anchor="b" anchorCtr="0">
            <a:noAutofit/>
          </a:bodyPr>
          <a:lstStyle>
            <a:lvl1pPr marL="0" indent="0" algn="ctr">
              <a:buNone/>
              <a:defRPr sz="1000">
                <a:solidFill>
                  <a:schemeClr val="accent2"/>
                </a:solidFill>
                <a:latin typeface="+mn-lt"/>
              </a:defRPr>
            </a:lvl1pPr>
          </a:lstStyle>
          <a:p>
            <a:pPr lvl="0"/>
            <a:r>
              <a:rPr lang="en-US"/>
              <a:t>Drag picture file here to insert image</a:t>
            </a:r>
          </a:p>
        </p:txBody>
      </p:sp>
      <p:sp>
        <p:nvSpPr>
          <p:cNvPr id="25" name="Text Placeholder 9">
            <a:extLst>
              <a:ext uri="{FF2B5EF4-FFF2-40B4-BE49-F238E27FC236}">
                <a16:creationId xmlns:a16="http://schemas.microsoft.com/office/drawing/2014/main" id="{4198B190-8256-B7A4-2DD6-F8CE6D676F33}"/>
              </a:ext>
            </a:extLst>
          </p:cNvPr>
          <p:cNvSpPr>
            <a:spLocks noGrp="1"/>
          </p:cNvSpPr>
          <p:nvPr>
            <p:ph type="body" sz="quarter" idx="16" hasCustomPrompt="1"/>
          </p:nvPr>
        </p:nvSpPr>
        <p:spPr>
          <a:xfrm>
            <a:off x="550864" y="2825312"/>
            <a:ext cx="4944964" cy="719138"/>
          </a:xfrm>
          <a:prstGeom prst="rect">
            <a:avLst/>
          </a:prstGeom>
        </p:spPr>
        <p:txBody>
          <a:bodyPr lIns="0" tIns="36000" rIns="0" bIns="0" anchor="b" anchorCtr="0">
            <a:noAutofit/>
          </a:bodyPr>
          <a:lstStyle>
            <a:lvl1pPr marL="0" indent="0" algn="l">
              <a:lnSpc>
                <a:spcPct val="85000"/>
              </a:lnSpc>
              <a:spcBef>
                <a:spcPts val="0"/>
              </a:spcBef>
              <a:buNone/>
              <a:defRPr sz="3600">
                <a:solidFill>
                  <a:schemeClr val="accent1"/>
                </a:solidFill>
                <a:latin typeface="+mj-lt"/>
              </a:defRPr>
            </a:lvl1pPr>
          </a:lstStyle>
          <a:p>
            <a:pPr lvl="0"/>
            <a:r>
              <a:rPr lang="en-US"/>
              <a:t>Simple cover one line</a:t>
            </a:r>
          </a:p>
        </p:txBody>
      </p:sp>
      <p:sp>
        <p:nvSpPr>
          <p:cNvPr id="26" name="Text Placeholder 9">
            <a:extLst>
              <a:ext uri="{FF2B5EF4-FFF2-40B4-BE49-F238E27FC236}">
                <a16:creationId xmlns:a16="http://schemas.microsoft.com/office/drawing/2014/main" id="{D21ECA6D-9164-BCFE-CCD2-81392195A886}"/>
              </a:ext>
            </a:extLst>
          </p:cNvPr>
          <p:cNvSpPr>
            <a:spLocks noGrp="1"/>
          </p:cNvSpPr>
          <p:nvPr>
            <p:ph type="body" sz="quarter" idx="17" hasCustomPrompt="1"/>
          </p:nvPr>
        </p:nvSpPr>
        <p:spPr>
          <a:xfrm>
            <a:off x="550864" y="3628806"/>
            <a:ext cx="4944964" cy="281703"/>
          </a:xfrm>
          <a:prstGeom prst="rect">
            <a:avLst/>
          </a:prstGeom>
        </p:spPr>
        <p:txBody>
          <a:bodyPr lIns="0" tIns="0" rIns="0" bIns="0" anchor="t" anchorCtr="0">
            <a:noAutofit/>
          </a:bodyPr>
          <a:lstStyle>
            <a:lvl1pPr marL="0" indent="0" algn="l">
              <a:lnSpc>
                <a:spcPct val="9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30794397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0:50 - 2 or 3 lines - Mint">
    <p:spTree>
      <p:nvGrpSpPr>
        <p:cNvPr id="1" name=""/>
        <p:cNvGrpSpPr/>
        <p:nvPr/>
      </p:nvGrpSpPr>
      <p:grpSpPr>
        <a:xfrm>
          <a:off x="0" y="0"/>
          <a:ext cx="0" cy="0"/>
          <a:chOff x="0" y="0"/>
          <a:chExt cx="0" cy="0"/>
        </a:xfrm>
      </p:grpSpPr>
      <p:sp>
        <p:nvSpPr>
          <p:cNvPr id="24" name="Picture Placeholder 177">
            <a:extLst>
              <a:ext uri="{FF2B5EF4-FFF2-40B4-BE49-F238E27FC236}">
                <a16:creationId xmlns:a16="http://schemas.microsoft.com/office/drawing/2014/main" id="{EBF07732-6455-6288-ADD7-82EA3A3699BF}"/>
              </a:ext>
            </a:extLst>
          </p:cNvPr>
          <p:cNvSpPr>
            <a:spLocks noGrp="1"/>
          </p:cNvSpPr>
          <p:nvPr>
            <p:ph type="pic" sz="quarter" idx="21" hasCustomPrompt="1"/>
          </p:nvPr>
        </p:nvSpPr>
        <p:spPr>
          <a:xfrm>
            <a:off x="4062088" y="0"/>
            <a:ext cx="8129913" cy="6858000"/>
          </a:xfrm>
          <a:custGeom>
            <a:avLst/>
            <a:gdLst>
              <a:gd name="connsiteX0" fmla="*/ 4064325 w 8129913"/>
              <a:gd name="connsiteY0" fmla="*/ 0 h 6858000"/>
              <a:gd name="connsiteX1" fmla="*/ 8129913 w 8129913"/>
              <a:gd name="connsiteY1" fmla="*/ 0 h 6858000"/>
              <a:gd name="connsiteX2" fmla="*/ 8129913 w 8129913"/>
              <a:gd name="connsiteY2" fmla="*/ 6858000 h 6858000"/>
              <a:gd name="connsiteX3" fmla="*/ 0 w 81299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9913" h="6858000">
                <a:moveTo>
                  <a:pt x="4064325" y="0"/>
                </a:moveTo>
                <a:lnTo>
                  <a:pt x="8129913" y="0"/>
                </a:lnTo>
                <a:lnTo>
                  <a:pt x="8129913" y="6858000"/>
                </a:lnTo>
                <a:lnTo>
                  <a:pt x="0" y="6858000"/>
                </a:lnTo>
                <a:close/>
              </a:path>
            </a:pathLst>
          </a:custGeom>
          <a:solidFill>
            <a:schemeClr val="bg1">
              <a:lumMod val="95000"/>
            </a:schemeClr>
          </a:solidFill>
          <a:ln>
            <a:noFill/>
          </a:ln>
        </p:spPr>
        <p:txBody>
          <a:bodyPr wrap="square" lIns="540000" tIns="0" bIns="108000" anchor="b" anchorCtr="0">
            <a:noAutofit/>
          </a:bodyPr>
          <a:lstStyle>
            <a:lvl1pPr marL="0" indent="0" algn="ctr">
              <a:buNone/>
              <a:defRPr sz="1000">
                <a:solidFill>
                  <a:schemeClr val="accent2"/>
                </a:solidFill>
                <a:latin typeface="+mn-lt"/>
              </a:defRPr>
            </a:lvl1pPr>
          </a:lstStyle>
          <a:p>
            <a:pPr lvl="0"/>
            <a:r>
              <a:rPr lang="en-US"/>
              <a:t>Drag picture file here to insert image</a:t>
            </a:r>
          </a:p>
        </p:txBody>
      </p:sp>
      <p:sp>
        <p:nvSpPr>
          <p:cNvPr id="25" name="Text Placeholder 9">
            <a:extLst>
              <a:ext uri="{FF2B5EF4-FFF2-40B4-BE49-F238E27FC236}">
                <a16:creationId xmlns:a16="http://schemas.microsoft.com/office/drawing/2014/main" id="{4198B190-8256-B7A4-2DD6-F8CE6D676F33}"/>
              </a:ext>
            </a:extLst>
          </p:cNvPr>
          <p:cNvSpPr>
            <a:spLocks noGrp="1"/>
          </p:cNvSpPr>
          <p:nvPr>
            <p:ph type="body" sz="quarter" idx="16" hasCustomPrompt="1"/>
          </p:nvPr>
        </p:nvSpPr>
        <p:spPr>
          <a:xfrm>
            <a:off x="550864" y="3292324"/>
            <a:ext cx="3744911" cy="719138"/>
          </a:xfrm>
          <a:prstGeom prst="rect">
            <a:avLst/>
          </a:prstGeom>
        </p:spPr>
        <p:txBody>
          <a:bodyPr lIns="0" tIns="36000" rIns="0" bIns="0" anchor="b" anchorCtr="0">
            <a:noAutofit/>
          </a:bodyPr>
          <a:lstStyle>
            <a:lvl1pPr marL="0" indent="0" algn="l">
              <a:lnSpc>
                <a:spcPct val="85000"/>
              </a:lnSpc>
              <a:spcBef>
                <a:spcPts val="0"/>
              </a:spcBef>
              <a:buNone/>
              <a:defRPr sz="3600">
                <a:solidFill>
                  <a:schemeClr val="accent1"/>
                </a:solidFill>
                <a:latin typeface="+mj-lt"/>
              </a:defRPr>
            </a:lvl1pPr>
          </a:lstStyle>
          <a:p>
            <a:pPr lvl="0"/>
            <a:r>
              <a:rPr lang="en-US"/>
              <a:t>Simple cover two or three line title</a:t>
            </a:r>
            <a:br>
              <a:rPr lang="en-US"/>
            </a:br>
            <a:r>
              <a:rPr lang="en-US"/>
              <a:t>lorem ipsum 36pt</a:t>
            </a:r>
          </a:p>
        </p:txBody>
      </p:sp>
      <p:sp>
        <p:nvSpPr>
          <p:cNvPr id="26" name="Text Placeholder 9">
            <a:extLst>
              <a:ext uri="{FF2B5EF4-FFF2-40B4-BE49-F238E27FC236}">
                <a16:creationId xmlns:a16="http://schemas.microsoft.com/office/drawing/2014/main" id="{D21ECA6D-9164-BCFE-CCD2-81392195A886}"/>
              </a:ext>
            </a:extLst>
          </p:cNvPr>
          <p:cNvSpPr>
            <a:spLocks noGrp="1"/>
          </p:cNvSpPr>
          <p:nvPr>
            <p:ph type="body" sz="quarter" idx="17" hasCustomPrompt="1"/>
          </p:nvPr>
        </p:nvSpPr>
        <p:spPr>
          <a:xfrm>
            <a:off x="550864" y="4095818"/>
            <a:ext cx="3744911" cy="281703"/>
          </a:xfrm>
          <a:prstGeom prst="rect">
            <a:avLst/>
          </a:prstGeom>
        </p:spPr>
        <p:txBody>
          <a:bodyPr lIns="0" tIns="0" rIns="0" bIns="0" anchor="t" anchorCtr="0">
            <a:noAutofit/>
          </a:bodyPr>
          <a:lstStyle>
            <a:lvl1pPr marL="0" indent="0" algn="l">
              <a:lnSpc>
                <a:spcPct val="9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41298488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0:50 - 1 lne only - Citrus">
    <p:spTree>
      <p:nvGrpSpPr>
        <p:cNvPr id="1" name=""/>
        <p:cNvGrpSpPr/>
        <p:nvPr/>
      </p:nvGrpSpPr>
      <p:grpSpPr>
        <a:xfrm>
          <a:off x="0" y="0"/>
          <a:ext cx="0" cy="0"/>
          <a:chOff x="0" y="0"/>
          <a:chExt cx="0" cy="0"/>
        </a:xfrm>
      </p:grpSpPr>
      <p:sp>
        <p:nvSpPr>
          <p:cNvPr id="24" name="Picture Placeholder 177">
            <a:extLst>
              <a:ext uri="{FF2B5EF4-FFF2-40B4-BE49-F238E27FC236}">
                <a16:creationId xmlns:a16="http://schemas.microsoft.com/office/drawing/2014/main" id="{EBF07732-6455-6288-ADD7-82EA3A3699BF}"/>
              </a:ext>
            </a:extLst>
          </p:cNvPr>
          <p:cNvSpPr>
            <a:spLocks noGrp="1"/>
          </p:cNvSpPr>
          <p:nvPr>
            <p:ph type="pic" sz="quarter" idx="21" hasCustomPrompt="1"/>
          </p:nvPr>
        </p:nvSpPr>
        <p:spPr>
          <a:xfrm>
            <a:off x="4062088" y="0"/>
            <a:ext cx="8129913" cy="6858000"/>
          </a:xfrm>
          <a:custGeom>
            <a:avLst/>
            <a:gdLst>
              <a:gd name="connsiteX0" fmla="*/ 4064325 w 8129913"/>
              <a:gd name="connsiteY0" fmla="*/ 0 h 6858000"/>
              <a:gd name="connsiteX1" fmla="*/ 8129913 w 8129913"/>
              <a:gd name="connsiteY1" fmla="*/ 0 h 6858000"/>
              <a:gd name="connsiteX2" fmla="*/ 8129913 w 8129913"/>
              <a:gd name="connsiteY2" fmla="*/ 6858000 h 6858000"/>
              <a:gd name="connsiteX3" fmla="*/ 0 w 81299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9913" h="6858000">
                <a:moveTo>
                  <a:pt x="4064325" y="0"/>
                </a:moveTo>
                <a:lnTo>
                  <a:pt x="8129913" y="0"/>
                </a:lnTo>
                <a:lnTo>
                  <a:pt x="8129913" y="6858000"/>
                </a:lnTo>
                <a:lnTo>
                  <a:pt x="0" y="6858000"/>
                </a:lnTo>
                <a:close/>
              </a:path>
            </a:pathLst>
          </a:custGeom>
          <a:solidFill>
            <a:schemeClr val="bg1">
              <a:lumMod val="95000"/>
            </a:schemeClr>
          </a:solidFill>
          <a:ln>
            <a:noFill/>
          </a:ln>
        </p:spPr>
        <p:txBody>
          <a:bodyPr wrap="square" lIns="540000" tIns="0" bIns="108000" anchor="b" anchorCtr="0">
            <a:noAutofit/>
          </a:bodyPr>
          <a:lstStyle>
            <a:lvl1pPr marL="0" indent="0" algn="ctr">
              <a:buNone/>
              <a:defRPr sz="1000">
                <a:solidFill>
                  <a:schemeClr val="accent2"/>
                </a:solidFill>
                <a:latin typeface="+mn-lt"/>
              </a:defRPr>
            </a:lvl1pPr>
          </a:lstStyle>
          <a:p>
            <a:pPr lvl="0"/>
            <a:r>
              <a:rPr lang="en-US"/>
              <a:t>Drag picture file here to insert image</a:t>
            </a:r>
          </a:p>
        </p:txBody>
      </p:sp>
      <p:sp>
        <p:nvSpPr>
          <p:cNvPr id="25" name="Text Placeholder 9">
            <a:extLst>
              <a:ext uri="{FF2B5EF4-FFF2-40B4-BE49-F238E27FC236}">
                <a16:creationId xmlns:a16="http://schemas.microsoft.com/office/drawing/2014/main" id="{4198B190-8256-B7A4-2DD6-F8CE6D676F33}"/>
              </a:ext>
            </a:extLst>
          </p:cNvPr>
          <p:cNvSpPr>
            <a:spLocks noGrp="1"/>
          </p:cNvSpPr>
          <p:nvPr>
            <p:ph type="body" sz="quarter" idx="16" hasCustomPrompt="1"/>
          </p:nvPr>
        </p:nvSpPr>
        <p:spPr>
          <a:xfrm>
            <a:off x="550864" y="2825312"/>
            <a:ext cx="4944964" cy="719138"/>
          </a:xfrm>
          <a:prstGeom prst="rect">
            <a:avLst/>
          </a:prstGeom>
        </p:spPr>
        <p:txBody>
          <a:bodyPr lIns="0" tIns="36000" rIns="0" bIns="0" anchor="b" anchorCtr="0">
            <a:noAutofit/>
          </a:bodyPr>
          <a:lstStyle>
            <a:lvl1pPr marL="0" indent="0" algn="l">
              <a:lnSpc>
                <a:spcPct val="85000"/>
              </a:lnSpc>
              <a:spcBef>
                <a:spcPts val="0"/>
              </a:spcBef>
              <a:buNone/>
              <a:defRPr sz="3600">
                <a:solidFill>
                  <a:schemeClr val="accent3"/>
                </a:solidFill>
                <a:latin typeface="+mj-lt"/>
              </a:defRPr>
            </a:lvl1pPr>
          </a:lstStyle>
          <a:p>
            <a:pPr lvl="0"/>
            <a:r>
              <a:rPr lang="en-US"/>
              <a:t>Simple cover one line</a:t>
            </a:r>
          </a:p>
        </p:txBody>
      </p:sp>
      <p:sp>
        <p:nvSpPr>
          <p:cNvPr id="26" name="Text Placeholder 9">
            <a:extLst>
              <a:ext uri="{FF2B5EF4-FFF2-40B4-BE49-F238E27FC236}">
                <a16:creationId xmlns:a16="http://schemas.microsoft.com/office/drawing/2014/main" id="{D21ECA6D-9164-BCFE-CCD2-81392195A886}"/>
              </a:ext>
            </a:extLst>
          </p:cNvPr>
          <p:cNvSpPr>
            <a:spLocks noGrp="1"/>
          </p:cNvSpPr>
          <p:nvPr>
            <p:ph type="body" sz="quarter" idx="17" hasCustomPrompt="1"/>
          </p:nvPr>
        </p:nvSpPr>
        <p:spPr>
          <a:xfrm>
            <a:off x="550864" y="3628806"/>
            <a:ext cx="4944964" cy="281703"/>
          </a:xfrm>
          <a:prstGeom prst="rect">
            <a:avLst/>
          </a:prstGeom>
        </p:spPr>
        <p:txBody>
          <a:bodyPr lIns="0" tIns="0" rIns="0" bIns="0" anchor="t" anchorCtr="0">
            <a:noAutofit/>
          </a:bodyPr>
          <a:lstStyle>
            <a:lvl1pPr marL="0" indent="0" algn="l">
              <a:lnSpc>
                <a:spcPct val="9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213843034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0:50 - 2 or 3 lines - Citrus">
    <p:spTree>
      <p:nvGrpSpPr>
        <p:cNvPr id="1" name=""/>
        <p:cNvGrpSpPr/>
        <p:nvPr/>
      </p:nvGrpSpPr>
      <p:grpSpPr>
        <a:xfrm>
          <a:off x="0" y="0"/>
          <a:ext cx="0" cy="0"/>
          <a:chOff x="0" y="0"/>
          <a:chExt cx="0" cy="0"/>
        </a:xfrm>
      </p:grpSpPr>
      <p:sp>
        <p:nvSpPr>
          <p:cNvPr id="24" name="Picture Placeholder 177">
            <a:extLst>
              <a:ext uri="{FF2B5EF4-FFF2-40B4-BE49-F238E27FC236}">
                <a16:creationId xmlns:a16="http://schemas.microsoft.com/office/drawing/2014/main" id="{EBF07732-6455-6288-ADD7-82EA3A3699BF}"/>
              </a:ext>
            </a:extLst>
          </p:cNvPr>
          <p:cNvSpPr>
            <a:spLocks noGrp="1"/>
          </p:cNvSpPr>
          <p:nvPr>
            <p:ph type="pic" sz="quarter" idx="21" hasCustomPrompt="1"/>
          </p:nvPr>
        </p:nvSpPr>
        <p:spPr>
          <a:xfrm>
            <a:off x="4062088" y="0"/>
            <a:ext cx="8129913" cy="6858000"/>
          </a:xfrm>
          <a:custGeom>
            <a:avLst/>
            <a:gdLst>
              <a:gd name="connsiteX0" fmla="*/ 4064325 w 8129913"/>
              <a:gd name="connsiteY0" fmla="*/ 0 h 6858000"/>
              <a:gd name="connsiteX1" fmla="*/ 8129913 w 8129913"/>
              <a:gd name="connsiteY1" fmla="*/ 0 h 6858000"/>
              <a:gd name="connsiteX2" fmla="*/ 8129913 w 8129913"/>
              <a:gd name="connsiteY2" fmla="*/ 6858000 h 6858000"/>
              <a:gd name="connsiteX3" fmla="*/ 0 w 81299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9913" h="6858000">
                <a:moveTo>
                  <a:pt x="4064325" y="0"/>
                </a:moveTo>
                <a:lnTo>
                  <a:pt x="8129913" y="0"/>
                </a:lnTo>
                <a:lnTo>
                  <a:pt x="8129913" y="6858000"/>
                </a:lnTo>
                <a:lnTo>
                  <a:pt x="0" y="6858000"/>
                </a:lnTo>
                <a:close/>
              </a:path>
            </a:pathLst>
          </a:custGeom>
          <a:solidFill>
            <a:schemeClr val="bg1">
              <a:lumMod val="95000"/>
            </a:schemeClr>
          </a:solidFill>
          <a:ln>
            <a:noFill/>
          </a:ln>
        </p:spPr>
        <p:txBody>
          <a:bodyPr wrap="square" lIns="540000" tIns="0" bIns="108000" anchor="b" anchorCtr="0">
            <a:noAutofit/>
          </a:bodyPr>
          <a:lstStyle>
            <a:lvl1pPr marL="0" indent="0" algn="ctr">
              <a:buNone/>
              <a:defRPr sz="1000">
                <a:solidFill>
                  <a:schemeClr val="accent2"/>
                </a:solidFill>
                <a:latin typeface="+mn-lt"/>
              </a:defRPr>
            </a:lvl1pPr>
          </a:lstStyle>
          <a:p>
            <a:pPr lvl="0"/>
            <a:r>
              <a:rPr lang="en-US"/>
              <a:t>Drag picture file here to insert image</a:t>
            </a:r>
          </a:p>
        </p:txBody>
      </p:sp>
      <p:sp>
        <p:nvSpPr>
          <p:cNvPr id="25" name="Text Placeholder 9">
            <a:extLst>
              <a:ext uri="{FF2B5EF4-FFF2-40B4-BE49-F238E27FC236}">
                <a16:creationId xmlns:a16="http://schemas.microsoft.com/office/drawing/2014/main" id="{4198B190-8256-B7A4-2DD6-F8CE6D676F33}"/>
              </a:ext>
            </a:extLst>
          </p:cNvPr>
          <p:cNvSpPr>
            <a:spLocks noGrp="1"/>
          </p:cNvSpPr>
          <p:nvPr>
            <p:ph type="body" sz="quarter" idx="16" hasCustomPrompt="1"/>
          </p:nvPr>
        </p:nvSpPr>
        <p:spPr>
          <a:xfrm>
            <a:off x="550864" y="3292324"/>
            <a:ext cx="3744911" cy="719138"/>
          </a:xfrm>
          <a:prstGeom prst="rect">
            <a:avLst/>
          </a:prstGeom>
        </p:spPr>
        <p:txBody>
          <a:bodyPr lIns="0" tIns="36000" rIns="0" bIns="0" anchor="b" anchorCtr="0">
            <a:noAutofit/>
          </a:bodyPr>
          <a:lstStyle>
            <a:lvl1pPr marL="0" indent="0" algn="l">
              <a:lnSpc>
                <a:spcPct val="85000"/>
              </a:lnSpc>
              <a:spcBef>
                <a:spcPts val="0"/>
              </a:spcBef>
              <a:buNone/>
              <a:defRPr sz="3600">
                <a:solidFill>
                  <a:schemeClr val="accent3"/>
                </a:solidFill>
                <a:latin typeface="+mj-lt"/>
              </a:defRPr>
            </a:lvl1pPr>
          </a:lstStyle>
          <a:p>
            <a:pPr lvl="0"/>
            <a:r>
              <a:rPr lang="en-US"/>
              <a:t>Simple cover two or three line title</a:t>
            </a:r>
            <a:br>
              <a:rPr lang="en-US"/>
            </a:br>
            <a:r>
              <a:rPr lang="en-US"/>
              <a:t>lorem ipsum 36pt</a:t>
            </a:r>
          </a:p>
        </p:txBody>
      </p:sp>
      <p:sp>
        <p:nvSpPr>
          <p:cNvPr id="26" name="Text Placeholder 9">
            <a:extLst>
              <a:ext uri="{FF2B5EF4-FFF2-40B4-BE49-F238E27FC236}">
                <a16:creationId xmlns:a16="http://schemas.microsoft.com/office/drawing/2014/main" id="{D21ECA6D-9164-BCFE-CCD2-81392195A886}"/>
              </a:ext>
            </a:extLst>
          </p:cNvPr>
          <p:cNvSpPr>
            <a:spLocks noGrp="1"/>
          </p:cNvSpPr>
          <p:nvPr>
            <p:ph type="body" sz="quarter" idx="17" hasCustomPrompt="1"/>
          </p:nvPr>
        </p:nvSpPr>
        <p:spPr>
          <a:xfrm>
            <a:off x="550864" y="4095818"/>
            <a:ext cx="3744911" cy="281703"/>
          </a:xfrm>
          <a:prstGeom prst="rect">
            <a:avLst/>
          </a:prstGeom>
        </p:spPr>
        <p:txBody>
          <a:bodyPr lIns="0" tIns="0" rIns="0" bIns="0" anchor="b" anchorCtr="0">
            <a:noAutofit/>
          </a:bodyPr>
          <a:lstStyle>
            <a:lvl1pPr marL="0" indent="0" algn="l">
              <a:lnSpc>
                <a:spcPct val="95000"/>
              </a:lnSpc>
              <a:buNone/>
              <a:defRPr sz="2400">
                <a:solidFill>
                  <a:schemeClr val="bg1"/>
                </a:solidFill>
                <a:latin typeface="+mn-lt"/>
              </a:defRPr>
            </a:lvl1pPr>
          </a:lstStyle>
          <a:p>
            <a:pPr lvl="0"/>
            <a:r>
              <a:rPr lang="en-US"/>
              <a:t>Presentation subtitle here</a:t>
            </a:r>
          </a:p>
        </p:txBody>
      </p:sp>
    </p:spTree>
    <p:extLst>
      <p:ext uri="{BB962C8B-B14F-4D97-AF65-F5344CB8AC3E}">
        <p14:creationId xmlns:p14="http://schemas.microsoft.com/office/powerpoint/2010/main" val="16290269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attern - Agenda">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4E2632-8F02-C7D9-5AF7-6BEC26E5C184}"/>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descr="A picture containing dark, lit, white, light&#10;&#10;Description automatically generated">
            <a:extLst>
              <a:ext uri="{FF2B5EF4-FFF2-40B4-BE49-F238E27FC236}">
                <a16:creationId xmlns:a16="http://schemas.microsoft.com/office/drawing/2014/main" id="{0F9FE3F0-D6BD-926A-6E2D-B032C03D6E7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
            <a:ext cx="4151312" cy="6858000"/>
          </a:xfrm>
          <a:prstGeom prst="rect">
            <a:avLst/>
          </a:prstGeom>
        </p:spPr>
      </p:pic>
      <p:sp>
        <p:nvSpPr>
          <p:cNvPr id="4" name="Text Placeholder 12">
            <a:extLst>
              <a:ext uri="{FF2B5EF4-FFF2-40B4-BE49-F238E27FC236}">
                <a16:creationId xmlns:a16="http://schemas.microsoft.com/office/drawing/2014/main" id="{582C109F-2D11-753A-150B-0B8497334DCF}"/>
              </a:ext>
            </a:extLst>
          </p:cNvPr>
          <p:cNvSpPr>
            <a:spLocks noGrp="1"/>
          </p:cNvSpPr>
          <p:nvPr>
            <p:ph type="body" sz="quarter" idx="21" hasCustomPrompt="1"/>
          </p:nvPr>
        </p:nvSpPr>
        <p:spPr>
          <a:xfrm>
            <a:off x="550864" y="908939"/>
            <a:ext cx="2808286" cy="539751"/>
          </a:xfrm>
        </p:spPr>
        <p:txBody>
          <a:bodyPr tIns="0" anchor="t" anchorCtr="0"/>
          <a:lstStyle>
            <a:lvl1pPr marL="0" indent="0" algn="l">
              <a:lnSpc>
                <a:spcPct val="85000"/>
              </a:lnSpc>
              <a:buNone/>
              <a:defRPr sz="3600" spc="0" baseline="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Agenda</a:t>
            </a:r>
          </a:p>
        </p:txBody>
      </p:sp>
      <p:sp>
        <p:nvSpPr>
          <p:cNvPr id="5" name="Text Placeholder 9">
            <a:extLst>
              <a:ext uri="{FF2B5EF4-FFF2-40B4-BE49-F238E27FC236}">
                <a16:creationId xmlns:a16="http://schemas.microsoft.com/office/drawing/2014/main" id="{224AB23C-E3D6-F803-06B5-69DFB7686EE0}"/>
              </a:ext>
            </a:extLst>
          </p:cNvPr>
          <p:cNvSpPr>
            <a:spLocks noGrp="1"/>
          </p:cNvSpPr>
          <p:nvPr>
            <p:ph type="body" sz="quarter" idx="13" hasCustomPrompt="1"/>
          </p:nvPr>
        </p:nvSpPr>
        <p:spPr>
          <a:xfrm>
            <a:off x="5232400" y="908939"/>
            <a:ext cx="2663825" cy="360362"/>
          </a:xfrm>
          <a:prstGeom prst="rect">
            <a:avLst/>
          </a:prstGeom>
        </p:spPr>
        <p:txBody>
          <a:bodyPr lIns="0" tIns="0" rIns="0" bIns="0">
            <a:noAutofit/>
          </a:bodyPr>
          <a:lstStyle>
            <a:lvl1pPr marL="0" indent="0" algn="l">
              <a:lnSpc>
                <a:spcPct val="90000"/>
              </a:lnSpc>
              <a:buNone/>
              <a:defRPr sz="1600">
                <a:solidFill>
                  <a:schemeClr val="accent1"/>
                </a:solidFill>
                <a:latin typeface="+mj-lt"/>
              </a:defRPr>
            </a:lvl1pPr>
          </a:lstStyle>
          <a:p>
            <a:pPr lvl="0"/>
            <a:r>
              <a:rPr lang="en-US"/>
              <a:t>Section 1 Avenir Pro 16pt</a:t>
            </a:r>
            <a:endParaRPr lang="en-GB"/>
          </a:p>
        </p:txBody>
      </p:sp>
      <p:sp>
        <p:nvSpPr>
          <p:cNvPr id="7" name="Text Placeholder 12">
            <a:extLst>
              <a:ext uri="{FF2B5EF4-FFF2-40B4-BE49-F238E27FC236}">
                <a16:creationId xmlns:a16="http://schemas.microsoft.com/office/drawing/2014/main" id="{CFD8C161-6DEE-44CA-4816-C87D49235C5B}"/>
              </a:ext>
            </a:extLst>
          </p:cNvPr>
          <p:cNvSpPr>
            <a:spLocks noGrp="1"/>
          </p:cNvSpPr>
          <p:nvPr>
            <p:ph type="body" sz="quarter" idx="15" hasCustomPrompt="1"/>
          </p:nvPr>
        </p:nvSpPr>
        <p:spPr>
          <a:xfrm>
            <a:off x="5232400" y="1181195"/>
            <a:ext cx="2663825" cy="360362"/>
          </a:xfrm>
        </p:spPr>
        <p:txBody>
          <a:bodyPr/>
          <a:lstStyle>
            <a:lvl1pPr marL="0" indent="0">
              <a:buNone/>
              <a:defRPr/>
            </a:lvl1pPr>
          </a:lstStyle>
          <a:p>
            <a:pPr lvl="0"/>
            <a:r>
              <a:rPr lang="en-US"/>
              <a:t>Speaker Name 15pt</a:t>
            </a:r>
            <a:endParaRPr lang="en-GB"/>
          </a:p>
        </p:txBody>
      </p:sp>
      <p:pic>
        <p:nvPicPr>
          <p:cNvPr id="8" name="Graphic 7">
            <a:extLst>
              <a:ext uri="{FF2B5EF4-FFF2-40B4-BE49-F238E27FC236}">
                <a16:creationId xmlns:a16="http://schemas.microsoft.com/office/drawing/2014/main" id="{683B4F17-A8E8-06EC-5129-E0F19DCF3CE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6336448"/>
            <a:ext cx="1381417" cy="233480"/>
          </a:xfrm>
          <a:prstGeom prst="rect">
            <a:avLst/>
          </a:prstGeom>
        </p:spPr>
      </p:pic>
      <p:sp>
        <p:nvSpPr>
          <p:cNvPr id="9" name="Rectangle 8">
            <a:extLst>
              <a:ext uri="{FF2B5EF4-FFF2-40B4-BE49-F238E27FC236}">
                <a16:creationId xmlns:a16="http://schemas.microsoft.com/office/drawing/2014/main" id="{03DD3E6B-206F-FAC6-8C8E-DDA4D7EBEFC4}"/>
              </a:ext>
            </a:extLst>
          </p:cNvPr>
          <p:cNvSpPr/>
          <p:nvPr userDrawn="1"/>
        </p:nvSpPr>
        <p:spPr>
          <a:xfrm>
            <a:off x="10848975" y="6308725"/>
            <a:ext cx="1343025" cy="5492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a:extLst>
              <a:ext uri="{FF2B5EF4-FFF2-40B4-BE49-F238E27FC236}">
                <a16:creationId xmlns:a16="http://schemas.microsoft.com/office/drawing/2014/main" id="{EE60A789-4D6E-30A6-6DA8-9F305B73A5EE}"/>
              </a:ext>
            </a:extLst>
          </p:cNvPr>
          <p:cNvSpPr>
            <a:spLocks noGrp="1"/>
          </p:cNvSpPr>
          <p:nvPr>
            <p:ph type="body" sz="quarter" idx="22" hasCustomPrompt="1"/>
          </p:nvPr>
        </p:nvSpPr>
        <p:spPr>
          <a:xfrm>
            <a:off x="5232400" y="1813813"/>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2  Avenir Pro 16pt</a:t>
            </a:r>
            <a:endParaRPr lang="en-GB"/>
          </a:p>
        </p:txBody>
      </p:sp>
      <p:sp>
        <p:nvSpPr>
          <p:cNvPr id="11" name="Text Placeholder 12">
            <a:extLst>
              <a:ext uri="{FF2B5EF4-FFF2-40B4-BE49-F238E27FC236}">
                <a16:creationId xmlns:a16="http://schemas.microsoft.com/office/drawing/2014/main" id="{8FDC29EA-BD5F-116B-F30C-12BEC33CA6C7}"/>
              </a:ext>
            </a:extLst>
          </p:cNvPr>
          <p:cNvSpPr>
            <a:spLocks noGrp="1"/>
          </p:cNvSpPr>
          <p:nvPr>
            <p:ph type="body" sz="quarter" idx="23" hasCustomPrompt="1"/>
          </p:nvPr>
        </p:nvSpPr>
        <p:spPr>
          <a:xfrm>
            <a:off x="5232400" y="2086069"/>
            <a:ext cx="2663825" cy="360362"/>
          </a:xfrm>
        </p:spPr>
        <p:txBody>
          <a:bodyPr/>
          <a:lstStyle>
            <a:lvl1pPr marL="0" indent="0">
              <a:buNone/>
              <a:defRPr/>
            </a:lvl1pPr>
          </a:lstStyle>
          <a:p>
            <a:pPr lvl="0"/>
            <a:r>
              <a:rPr lang="en-US"/>
              <a:t>Speaker Name 15pt</a:t>
            </a:r>
            <a:endParaRPr lang="en-GB"/>
          </a:p>
        </p:txBody>
      </p:sp>
      <p:sp>
        <p:nvSpPr>
          <p:cNvPr id="12" name="Text Placeholder 9">
            <a:extLst>
              <a:ext uri="{FF2B5EF4-FFF2-40B4-BE49-F238E27FC236}">
                <a16:creationId xmlns:a16="http://schemas.microsoft.com/office/drawing/2014/main" id="{EF6F2E8C-B48C-517A-F065-06A432F6B013}"/>
              </a:ext>
            </a:extLst>
          </p:cNvPr>
          <p:cNvSpPr>
            <a:spLocks noGrp="1"/>
          </p:cNvSpPr>
          <p:nvPr>
            <p:ph type="body" sz="quarter" idx="24" hasCustomPrompt="1"/>
          </p:nvPr>
        </p:nvSpPr>
        <p:spPr>
          <a:xfrm>
            <a:off x="5232400" y="2708369"/>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3 Avenir Pro 16pt</a:t>
            </a:r>
            <a:endParaRPr lang="en-GB"/>
          </a:p>
        </p:txBody>
      </p:sp>
      <p:sp>
        <p:nvSpPr>
          <p:cNvPr id="13" name="Text Placeholder 12">
            <a:extLst>
              <a:ext uri="{FF2B5EF4-FFF2-40B4-BE49-F238E27FC236}">
                <a16:creationId xmlns:a16="http://schemas.microsoft.com/office/drawing/2014/main" id="{B58126D8-98A4-E17B-3B84-3EF5242D4F47}"/>
              </a:ext>
            </a:extLst>
          </p:cNvPr>
          <p:cNvSpPr>
            <a:spLocks noGrp="1"/>
          </p:cNvSpPr>
          <p:nvPr>
            <p:ph type="body" sz="quarter" idx="25" hasCustomPrompt="1"/>
          </p:nvPr>
        </p:nvSpPr>
        <p:spPr>
          <a:xfrm>
            <a:off x="5232400" y="2980625"/>
            <a:ext cx="2663825" cy="360362"/>
          </a:xfrm>
        </p:spPr>
        <p:txBody>
          <a:bodyPr/>
          <a:lstStyle>
            <a:lvl1pPr marL="0" indent="0">
              <a:buNone/>
              <a:defRPr/>
            </a:lvl1pPr>
          </a:lstStyle>
          <a:p>
            <a:pPr lvl="0"/>
            <a:r>
              <a:rPr lang="en-US"/>
              <a:t>Speaker Name 15pt</a:t>
            </a:r>
            <a:endParaRPr lang="en-GB"/>
          </a:p>
        </p:txBody>
      </p:sp>
      <p:sp>
        <p:nvSpPr>
          <p:cNvPr id="14" name="Text Placeholder 9">
            <a:extLst>
              <a:ext uri="{FF2B5EF4-FFF2-40B4-BE49-F238E27FC236}">
                <a16:creationId xmlns:a16="http://schemas.microsoft.com/office/drawing/2014/main" id="{1ED0FCF5-1C60-5F8D-1027-F4241D9D40C9}"/>
              </a:ext>
            </a:extLst>
          </p:cNvPr>
          <p:cNvSpPr>
            <a:spLocks noGrp="1"/>
          </p:cNvSpPr>
          <p:nvPr>
            <p:ph type="body" sz="quarter" idx="26" hasCustomPrompt="1"/>
          </p:nvPr>
        </p:nvSpPr>
        <p:spPr>
          <a:xfrm>
            <a:off x="5232400" y="3609276"/>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4 Avenir Pro 16pt</a:t>
            </a:r>
            <a:endParaRPr lang="en-GB"/>
          </a:p>
        </p:txBody>
      </p:sp>
      <p:sp>
        <p:nvSpPr>
          <p:cNvPr id="15" name="Text Placeholder 12">
            <a:extLst>
              <a:ext uri="{FF2B5EF4-FFF2-40B4-BE49-F238E27FC236}">
                <a16:creationId xmlns:a16="http://schemas.microsoft.com/office/drawing/2014/main" id="{2F51B631-62B9-E5D7-35B4-08C03D9E119C}"/>
              </a:ext>
            </a:extLst>
          </p:cNvPr>
          <p:cNvSpPr>
            <a:spLocks noGrp="1"/>
          </p:cNvSpPr>
          <p:nvPr>
            <p:ph type="body" sz="quarter" idx="27" hasCustomPrompt="1"/>
          </p:nvPr>
        </p:nvSpPr>
        <p:spPr>
          <a:xfrm>
            <a:off x="5232400" y="3881532"/>
            <a:ext cx="2663825" cy="360362"/>
          </a:xfrm>
        </p:spPr>
        <p:txBody>
          <a:bodyPr/>
          <a:lstStyle>
            <a:lvl1pPr marL="0" indent="0">
              <a:buNone/>
              <a:defRPr/>
            </a:lvl1pPr>
          </a:lstStyle>
          <a:p>
            <a:pPr lvl="0"/>
            <a:r>
              <a:rPr lang="en-US"/>
              <a:t>Speaker Name 15pt</a:t>
            </a:r>
            <a:endParaRPr lang="en-GB"/>
          </a:p>
        </p:txBody>
      </p:sp>
      <p:sp>
        <p:nvSpPr>
          <p:cNvPr id="16" name="Text Placeholder 9">
            <a:extLst>
              <a:ext uri="{FF2B5EF4-FFF2-40B4-BE49-F238E27FC236}">
                <a16:creationId xmlns:a16="http://schemas.microsoft.com/office/drawing/2014/main" id="{6FD95A7C-52F7-427C-6DAA-139846B0A18A}"/>
              </a:ext>
            </a:extLst>
          </p:cNvPr>
          <p:cNvSpPr>
            <a:spLocks noGrp="1"/>
          </p:cNvSpPr>
          <p:nvPr>
            <p:ph type="body" sz="quarter" idx="28" hasCustomPrompt="1"/>
          </p:nvPr>
        </p:nvSpPr>
        <p:spPr>
          <a:xfrm>
            <a:off x="5232400" y="4511770"/>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5 Avenir Pro 16pt</a:t>
            </a:r>
            <a:endParaRPr lang="en-GB"/>
          </a:p>
        </p:txBody>
      </p:sp>
      <p:sp>
        <p:nvSpPr>
          <p:cNvPr id="17" name="Text Placeholder 12">
            <a:extLst>
              <a:ext uri="{FF2B5EF4-FFF2-40B4-BE49-F238E27FC236}">
                <a16:creationId xmlns:a16="http://schemas.microsoft.com/office/drawing/2014/main" id="{D6B49BD4-FB4C-945A-3BF6-5556BE3A5884}"/>
              </a:ext>
            </a:extLst>
          </p:cNvPr>
          <p:cNvSpPr>
            <a:spLocks noGrp="1"/>
          </p:cNvSpPr>
          <p:nvPr>
            <p:ph type="body" sz="quarter" idx="29" hasCustomPrompt="1"/>
          </p:nvPr>
        </p:nvSpPr>
        <p:spPr>
          <a:xfrm>
            <a:off x="5232400" y="4784026"/>
            <a:ext cx="2663825" cy="360362"/>
          </a:xfrm>
        </p:spPr>
        <p:txBody>
          <a:bodyPr/>
          <a:lstStyle>
            <a:lvl1pPr marL="0" indent="0">
              <a:buNone/>
              <a:defRPr/>
            </a:lvl1pPr>
          </a:lstStyle>
          <a:p>
            <a:pPr lvl="0"/>
            <a:r>
              <a:rPr lang="en-US"/>
              <a:t>Speaker Name 15pt</a:t>
            </a:r>
            <a:endParaRPr lang="en-GB"/>
          </a:p>
        </p:txBody>
      </p:sp>
      <p:sp>
        <p:nvSpPr>
          <p:cNvPr id="18" name="Text Placeholder 9">
            <a:extLst>
              <a:ext uri="{FF2B5EF4-FFF2-40B4-BE49-F238E27FC236}">
                <a16:creationId xmlns:a16="http://schemas.microsoft.com/office/drawing/2014/main" id="{DB0B9DAF-4055-427C-BA9A-F9FEEC716659}"/>
              </a:ext>
            </a:extLst>
          </p:cNvPr>
          <p:cNvSpPr>
            <a:spLocks noGrp="1"/>
          </p:cNvSpPr>
          <p:nvPr>
            <p:ph type="body" sz="quarter" idx="30" hasCustomPrompt="1"/>
          </p:nvPr>
        </p:nvSpPr>
        <p:spPr>
          <a:xfrm>
            <a:off x="5232400" y="5409501"/>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6 Avenir Pro 16pt</a:t>
            </a:r>
            <a:endParaRPr lang="en-GB"/>
          </a:p>
        </p:txBody>
      </p:sp>
      <p:sp>
        <p:nvSpPr>
          <p:cNvPr id="19" name="Text Placeholder 12">
            <a:extLst>
              <a:ext uri="{FF2B5EF4-FFF2-40B4-BE49-F238E27FC236}">
                <a16:creationId xmlns:a16="http://schemas.microsoft.com/office/drawing/2014/main" id="{70F189EA-FAF1-C6C0-ABC6-612C2429F9DC}"/>
              </a:ext>
            </a:extLst>
          </p:cNvPr>
          <p:cNvSpPr>
            <a:spLocks noGrp="1"/>
          </p:cNvSpPr>
          <p:nvPr>
            <p:ph type="body" sz="quarter" idx="31" hasCustomPrompt="1"/>
          </p:nvPr>
        </p:nvSpPr>
        <p:spPr>
          <a:xfrm>
            <a:off x="5232400" y="5681757"/>
            <a:ext cx="2663825" cy="360362"/>
          </a:xfrm>
        </p:spPr>
        <p:txBody>
          <a:bodyPr/>
          <a:lstStyle>
            <a:lvl1pPr marL="0" indent="0">
              <a:buNone/>
              <a:defRPr/>
            </a:lvl1pPr>
          </a:lstStyle>
          <a:p>
            <a:pPr lvl="0"/>
            <a:r>
              <a:rPr lang="en-US"/>
              <a:t>Speaker Name 15pt</a:t>
            </a:r>
            <a:endParaRPr lang="en-GB"/>
          </a:p>
        </p:txBody>
      </p:sp>
      <p:sp>
        <p:nvSpPr>
          <p:cNvPr id="20" name="Text Placeholder 9">
            <a:extLst>
              <a:ext uri="{FF2B5EF4-FFF2-40B4-BE49-F238E27FC236}">
                <a16:creationId xmlns:a16="http://schemas.microsoft.com/office/drawing/2014/main" id="{1EA17E92-77BD-2660-1A92-015C5AC74FFA}"/>
              </a:ext>
            </a:extLst>
          </p:cNvPr>
          <p:cNvSpPr>
            <a:spLocks noGrp="1"/>
          </p:cNvSpPr>
          <p:nvPr>
            <p:ph type="body" sz="quarter" idx="32" hasCustomPrompt="1"/>
          </p:nvPr>
        </p:nvSpPr>
        <p:spPr>
          <a:xfrm>
            <a:off x="8975725" y="908939"/>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7 Avenir Pro 16pt</a:t>
            </a:r>
            <a:endParaRPr lang="en-GB"/>
          </a:p>
        </p:txBody>
      </p:sp>
      <p:sp>
        <p:nvSpPr>
          <p:cNvPr id="21" name="Text Placeholder 12">
            <a:extLst>
              <a:ext uri="{FF2B5EF4-FFF2-40B4-BE49-F238E27FC236}">
                <a16:creationId xmlns:a16="http://schemas.microsoft.com/office/drawing/2014/main" id="{AC1C5F36-D24C-AD20-707D-F2ABF9DC9024}"/>
              </a:ext>
            </a:extLst>
          </p:cNvPr>
          <p:cNvSpPr>
            <a:spLocks noGrp="1"/>
          </p:cNvSpPr>
          <p:nvPr>
            <p:ph type="body" sz="quarter" idx="33" hasCustomPrompt="1"/>
          </p:nvPr>
        </p:nvSpPr>
        <p:spPr>
          <a:xfrm>
            <a:off x="8975725" y="1181195"/>
            <a:ext cx="2663825" cy="360362"/>
          </a:xfrm>
        </p:spPr>
        <p:txBody>
          <a:bodyPr/>
          <a:lstStyle>
            <a:lvl1pPr marL="0" indent="0">
              <a:buNone/>
              <a:defRPr/>
            </a:lvl1pPr>
          </a:lstStyle>
          <a:p>
            <a:pPr lvl="0"/>
            <a:r>
              <a:rPr lang="en-US"/>
              <a:t>Speaker Name 15pt</a:t>
            </a:r>
            <a:endParaRPr lang="en-GB"/>
          </a:p>
        </p:txBody>
      </p:sp>
      <p:sp>
        <p:nvSpPr>
          <p:cNvPr id="22" name="Text Placeholder 9">
            <a:extLst>
              <a:ext uri="{FF2B5EF4-FFF2-40B4-BE49-F238E27FC236}">
                <a16:creationId xmlns:a16="http://schemas.microsoft.com/office/drawing/2014/main" id="{E97F85AC-D9A9-B403-3E8B-0345C43DA801}"/>
              </a:ext>
            </a:extLst>
          </p:cNvPr>
          <p:cNvSpPr>
            <a:spLocks noGrp="1"/>
          </p:cNvSpPr>
          <p:nvPr>
            <p:ph type="body" sz="quarter" idx="34" hasCustomPrompt="1"/>
          </p:nvPr>
        </p:nvSpPr>
        <p:spPr>
          <a:xfrm>
            <a:off x="8975725" y="1813813"/>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8  Avenir Pro 16pt</a:t>
            </a:r>
            <a:endParaRPr lang="en-GB"/>
          </a:p>
        </p:txBody>
      </p:sp>
      <p:sp>
        <p:nvSpPr>
          <p:cNvPr id="23" name="Text Placeholder 12">
            <a:extLst>
              <a:ext uri="{FF2B5EF4-FFF2-40B4-BE49-F238E27FC236}">
                <a16:creationId xmlns:a16="http://schemas.microsoft.com/office/drawing/2014/main" id="{EA8F6877-7E4F-A612-0E1C-CD9D336CC235}"/>
              </a:ext>
            </a:extLst>
          </p:cNvPr>
          <p:cNvSpPr>
            <a:spLocks noGrp="1"/>
          </p:cNvSpPr>
          <p:nvPr>
            <p:ph type="body" sz="quarter" idx="35" hasCustomPrompt="1"/>
          </p:nvPr>
        </p:nvSpPr>
        <p:spPr>
          <a:xfrm>
            <a:off x="8975725" y="2086069"/>
            <a:ext cx="2663825" cy="360362"/>
          </a:xfrm>
        </p:spPr>
        <p:txBody>
          <a:bodyPr/>
          <a:lstStyle>
            <a:lvl1pPr marL="0" indent="0">
              <a:buNone/>
              <a:defRPr/>
            </a:lvl1pPr>
          </a:lstStyle>
          <a:p>
            <a:pPr lvl="0"/>
            <a:r>
              <a:rPr lang="en-US"/>
              <a:t>Speaker Name 15pt</a:t>
            </a:r>
            <a:endParaRPr lang="en-GB"/>
          </a:p>
        </p:txBody>
      </p:sp>
      <p:sp>
        <p:nvSpPr>
          <p:cNvPr id="24" name="Text Placeholder 9">
            <a:extLst>
              <a:ext uri="{FF2B5EF4-FFF2-40B4-BE49-F238E27FC236}">
                <a16:creationId xmlns:a16="http://schemas.microsoft.com/office/drawing/2014/main" id="{42697E96-0219-044B-9462-5A15DE9F4A76}"/>
              </a:ext>
            </a:extLst>
          </p:cNvPr>
          <p:cNvSpPr>
            <a:spLocks noGrp="1"/>
          </p:cNvSpPr>
          <p:nvPr>
            <p:ph type="body" sz="quarter" idx="36" hasCustomPrompt="1"/>
          </p:nvPr>
        </p:nvSpPr>
        <p:spPr>
          <a:xfrm>
            <a:off x="8975725" y="2708369"/>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9 Avenir Pro 16pt</a:t>
            </a:r>
            <a:endParaRPr lang="en-GB"/>
          </a:p>
        </p:txBody>
      </p:sp>
      <p:sp>
        <p:nvSpPr>
          <p:cNvPr id="25" name="Text Placeholder 12">
            <a:extLst>
              <a:ext uri="{FF2B5EF4-FFF2-40B4-BE49-F238E27FC236}">
                <a16:creationId xmlns:a16="http://schemas.microsoft.com/office/drawing/2014/main" id="{EDACB4B8-ABDB-9C18-1309-C8397CDBC34D}"/>
              </a:ext>
            </a:extLst>
          </p:cNvPr>
          <p:cNvSpPr>
            <a:spLocks noGrp="1"/>
          </p:cNvSpPr>
          <p:nvPr>
            <p:ph type="body" sz="quarter" idx="37" hasCustomPrompt="1"/>
          </p:nvPr>
        </p:nvSpPr>
        <p:spPr>
          <a:xfrm>
            <a:off x="8975725" y="2980625"/>
            <a:ext cx="2663825" cy="360362"/>
          </a:xfrm>
        </p:spPr>
        <p:txBody>
          <a:bodyPr/>
          <a:lstStyle>
            <a:lvl1pPr marL="0" indent="0">
              <a:buNone/>
              <a:defRPr/>
            </a:lvl1pPr>
          </a:lstStyle>
          <a:p>
            <a:pPr lvl="0"/>
            <a:r>
              <a:rPr lang="en-US"/>
              <a:t>Speaker Name 15pt</a:t>
            </a:r>
            <a:endParaRPr lang="en-GB"/>
          </a:p>
        </p:txBody>
      </p:sp>
      <p:sp>
        <p:nvSpPr>
          <p:cNvPr id="26" name="Text Placeholder 9">
            <a:extLst>
              <a:ext uri="{FF2B5EF4-FFF2-40B4-BE49-F238E27FC236}">
                <a16:creationId xmlns:a16="http://schemas.microsoft.com/office/drawing/2014/main" id="{5BDC3638-D2E4-2CA2-B482-5F445F322F81}"/>
              </a:ext>
            </a:extLst>
          </p:cNvPr>
          <p:cNvSpPr>
            <a:spLocks noGrp="1"/>
          </p:cNvSpPr>
          <p:nvPr>
            <p:ph type="body" sz="quarter" idx="38" hasCustomPrompt="1"/>
          </p:nvPr>
        </p:nvSpPr>
        <p:spPr>
          <a:xfrm>
            <a:off x="8975725" y="3609276"/>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10 Avenir Pro 16pt</a:t>
            </a:r>
            <a:endParaRPr lang="en-GB"/>
          </a:p>
        </p:txBody>
      </p:sp>
      <p:sp>
        <p:nvSpPr>
          <p:cNvPr id="27" name="Text Placeholder 12">
            <a:extLst>
              <a:ext uri="{FF2B5EF4-FFF2-40B4-BE49-F238E27FC236}">
                <a16:creationId xmlns:a16="http://schemas.microsoft.com/office/drawing/2014/main" id="{D7276912-87AB-3D95-DBD5-BE1EC2F3CF6E}"/>
              </a:ext>
            </a:extLst>
          </p:cNvPr>
          <p:cNvSpPr>
            <a:spLocks noGrp="1"/>
          </p:cNvSpPr>
          <p:nvPr>
            <p:ph type="body" sz="quarter" idx="39" hasCustomPrompt="1"/>
          </p:nvPr>
        </p:nvSpPr>
        <p:spPr>
          <a:xfrm>
            <a:off x="8975725" y="3881532"/>
            <a:ext cx="2663825" cy="360362"/>
          </a:xfrm>
        </p:spPr>
        <p:txBody>
          <a:bodyPr/>
          <a:lstStyle>
            <a:lvl1pPr marL="0" indent="0">
              <a:buNone/>
              <a:defRPr/>
            </a:lvl1pPr>
          </a:lstStyle>
          <a:p>
            <a:pPr lvl="0"/>
            <a:r>
              <a:rPr lang="en-US"/>
              <a:t>Speaker Name 15pt</a:t>
            </a:r>
            <a:endParaRPr lang="en-GB"/>
          </a:p>
        </p:txBody>
      </p:sp>
      <p:sp>
        <p:nvSpPr>
          <p:cNvPr id="28" name="Text Placeholder 9">
            <a:extLst>
              <a:ext uri="{FF2B5EF4-FFF2-40B4-BE49-F238E27FC236}">
                <a16:creationId xmlns:a16="http://schemas.microsoft.com/office/drawing/2014/main" id="{05321EE3-008C-9A2C-C9F4-7656D161F1BB}"/>
              </a:ext>
            </a:extLst>
          </p:cNvPr>
          <p:cNvSpPr>
            <a:spLocks noGrp="1"/>
          </p:cNvSpPr>
          <p:nvPr>
            <p:ph type="body" sz="quarter" idx="40" hasCustomPrompt="1"/>
          </p:nvPr>
        </p:nvSpPr>
        <p:spPr>
          <a:xfrm>
            <a:off x="8975725" y="4511770"/>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11 Avenir Pro 16pt</a:t>
            </a:r>
            <a:endParaRPr lang="en-GB"/>
          </a:p>
        </p:txBody>
      </p:sp>
      <p:sp>
        <p:nvSpPr>
          <p:cNvPr id="29" name="Text Placeholder 12">
            <a:extLst>
              <a:ext uri="{FF2B5EF4-FFF2-40B4-BE49-F238E27FC236}">
                <a16:creationId xmlns:a16="http://schemas.microsoft.com/office/drawing/2014/main" id="{E23C8ADD-B068-2D01-D971-A7BAB0A42D06}"/>
              </a:ext>
            </a:extLst>
          </p:cNvPr>
          <p:cNvSpPr>
            <a:spLocks noGrp="1"/>
          </p:cNvSpPr>
          <p:nvPr>
            <p:ph type="body" sz="quarter" idx="41" hasCustomPrompt="1"/>
          </p:nvPr>
        </p:nvSpPr>
        <p:spPr>
          <a:xfrm>
            <a:off x="8975725" y="4784026"/>
            <a:ext cx="2663825" cy="360362"/>
          </a:xfrm>
        </p:spPr>
        <p:txBody>
          <a:bodyPr/>
          <a:lstStyle>
            <a:lvl1pPr marL="0" indent="0">
              <a:buNone/>
              <a:defRPr/>
            </a:lvl1pPr>
          </a:lstStyle>
          <a:p>
            <a:pPr lvl="0"/>
            <a:r>
              <a:rPr lang="en-US"/>
              <a:t>Speaker Name 15pt</a:t>
            </a:r>
            <a:endParaRPr lang="en-GB"/>
          </a:p>
        </p:txBody>
      </p:sp>
      <p:sp>
        <p:nvSpPr>
          <p:cNvPr id="30" name="Text Placeholder 9">
            <a:extLst>
              <a:ext uri="{FF2B5EF4-FFF2-40B4-BE49-F238E27FC236}">
                <a16:creationId xmlns:a16="http://schemas.microsoft.com/office/drawing/2014/main" id="{10E63031-72D7-BF94-8472-58823FAFFCC1}"/>
              </a:ext>
            </a:extLst>
          </p:cNvPr>
          <p:cNvSpPr>
            <a:spLocks noGrp="1"/>
          </p:cNvSpPr>
          <p:nvPr>
            <p:ph type="body" sz="quarter" idx="42" hasCustomPrompt="1"/>
          </p:nvPr>
        </p:nvSpPr>
        <p:spPr>
          <a:xfrm>
            <a:off x="8975725" y="5409501"/>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12 Avenir Pro 16pt</a:t>
            </a:r>
            <a:endParaRPr lang="en-GB"/>
          </a:p>
        </p:txBody>
      </p:sp>
      <p:sp>
        <p:nvSpPr>
          <p:cNvPr id="31" name="Text Placeholder 12">
            <a:extLst>
              <a:ext uri="{FF2B5EF4-FFF2-40B4-BE49-F238E27FC236}">
                <a16:creationId xmlns:a16="http://schemas.microsoft.com/office/drawing/2014/main" id="{2276196C-5B63-4F79-6C91-AE4AB3BE34ED}"/>
              </a:ext>
            </a:extLst>
          </p:cNvPr>
          <p:cNvSpPr>
            <a:spLocks noGrp="1"/>
          </p:cNvSpPr>
          <p:nvPr>
            <p:ph type="body" sz="quarter" idx="43" hasCustomPrompt="1"/>
          </p:nvPr>
        </p:nvSpPr>
        <p:spPr>
          <a:xfrm>
            <a:off x="8975725" y="5681757"/>
            <a:ext cx="2663825" cy="360362"/>
          </a:xfrm>
        </p:spPr>
        <p:txBody>
          <a:bodyPr/>
          <a:lstStyle>
            <a:lvl1pPr marL="0" indent="0">
              <a:buNone/>
              <a:defRPr/>
            </a:lvl1pPr>
          </a:lstStyle>
          <a:p>
            <a:pPr lvl="0"/>
            <a:r>
              <a:rPr lang="en-US"/>
              <a:t>Speaker Name 15pt</a:t>
            </a:r>
            <a:endParaRPr lang="en-GB"/>
          </a:p>
        </p:txBody>
      </p:sp>
    </p:spTree>
    <p:extLst>
      <p:ext uri="{BB962C8B-B14F-4D97-AF65-F5344CB8AC3E}">
        <p14:creationId xmlns:p14="http://schemas.microsoft.com/office/powerpoint/2010/main" val="38792760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ight Image - Agenda">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4E2632-8F02-C7D9-5AF7-6BEC26E5C184}"/>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5">
            <a:extLst>
              <a:ext uri="{FF2B5EF4-FFF2-40B4-BE49-F238E27FC236}">
                <a16:creationId xmlns:a16="http://schemas.microsoft.com/office/drawing/2014/main" id="{460A8DC2-35E5-122C-4093-0CB894A5D697}"/>
              </a:ext>
            </a:extLst>
          </p:cNvPr>
          <p:cNvSpPr>
            <a:spLocks noGrp="1"/>
          </p:cNvSpPr>
          <p:nvPr>
            <p:ph type="pic" sz="quarter" idx="20" hasCustomPrompt="1"/>
          </p:nvPr>
        </p:nvSpPr>
        <p:spPr>
          <a:xfrm>
            <a:off x="0" y="0"/>
            <a:ext cx="4151312" cy="6858000"/>
          </a:xfrm>
          <a:custGeom>
            <a:avLst/>
            <a:gdLst>
              <a:gd name="connsiteX0" fmla="*/ 1592699 w 4151312"/>
              <a:gd name="connsiteY0" fmla="*/ 6492423 h 6858000"/>
              <a:gd name="connsiteX1" fmla="*/ 1592699 w 4151312"/>
              <a:gd name="connsiteY1" fmla="*/ 6501164 h 6858000"/>
              <a:gd name="connsiteX2" fmla="*/ 1592546 w 4151312"/>
              <a:gd name="connsiteY2" fmla="*/ 6504388 h 6858000"/>
              <a:gd name="connsiteX3" fmla="*/ 1568857 w 4151312"/>
              <a:gd name="connsiteY3" fmla="*/ 6522619 h 6858000"/>
              <a:gd name="connsiteX4" fmla="*/ 1551438 w 4151312"/>
              <a:gd name="connsiteY4" fmla="*/ 6508315 h 6858000"/>
              <a:gd name="connsiteX5" fmla="*/ 1568857 w 4151312"/>
              <a:gd name="connsiteY5" fmla="*/ 6495071 h 6858000"/>
              <a:gd name="connsiteX6" fmla="*/ 1581983 w 4151312"/>
              <a:gd name="connsiteY6" fmla="*/ 6495071 h 6858000"/>
              <a:gd name="connsiteX7" fmla="*/ 1592699 w 4151312"/>
              <a:gd name="connsiteY7" fmla="*/ 6492423 h 6858000"/>
              <a:gd name="connsiteX8" fmla="*/ 1172060 w 4151312"/>
              <a:gd name="connsiteY8" fmla="*/ 6492423 h 6858000"/>
              <a:gd name="connsiteX9" fmla="*/ 1172060 w 4151312"/>
              <a:gd name="connsiteY9" fmla="*/ 6501164 h 6858000"/>
              <a:gd name="connsiteX10" fmla="*/ 1171906 w 4151312"/>
              <a:gd name="connsiteY10" fmla="*/ 6504389 h 6858000"/>
              <a:gd name="connsiteX11" fmla="*/ 1148216 w 4151312"/>
              <a:gd name="connsiteY11" fmla="*/ 6522619 h 6858000"/>
              <a:gd name="connsiteX12" fmla="*/ 1130802 w 4151312"/>
              <a:gd name="connsiteY12" fmla="*/ 6508315 h 6858000"/>
              <a:gd name="connsiteX13" fmla="*/ 1148216 w 4151312"/>
              <a:gd name="connsiteY13" fmla="*/ 6495071 h 6858000"/>
              <a:gd name="connsiteX14" fmla="*/ 1161343 w 4151312"/>
              <a:gd name="connsiteY14" fmla="*/ 6495071 h 6858000"/>
              <a:gd name="connsiteX15" fmla="*/ 1172060 w 4151312"/>
              <a:gd name="connsiteY15" fmla="*/ 6492423 h 6858000"/>
              <a:gd name="connsiteX16" fmla="*/ 1796056 w 4151312"/>
              <a:gd name="connsiteY16" fmla="*/ 6448718 h 6858000"/>
              <a:gd name="connsiteX17" fmla="*/ 1823115 w 4151312"/>
              <a:gd name="connsiteY17" fmla="*/ 6470969 h 6858000"/>
              <a:gd name="connsiteX18" fmla="*/ 1768190 w 4151312"/>
              <a:gd name="connsiteY18" fmla="*/ 6470969 h 6858000"/>
              <a:gd name="connsiteX19" fmla="*/ 1796056 w 4151312"/>
              <a:gd name="connsiteY19" fmla="*/ 6448718 h 6858000"/>
              <a:gd name="connsiteX20" fmla="*/ 1385331 w 4151312"/>
              <a:gd name="connsiteY20" fmla="*/ 6423290 h 6858000"/>
              <a:gd name="connsiteX21" fmla="*/ 1427128 w 4151312"/>
              <a:gd name="connsiteY21" fmla="*/ 6544605 h 6858000"/>
              <a:gd name="connsiteX22" fmla="*/ 1470261 w 4151312"/>
              <a:gd name="connsiteY22" fmla="*/ 6544605 h 6858000"/>
              <a:gd name="connsiteX23" fmla="*/ 1513932 w 4151312"/>
              <a:gd name="connsiteY23" fmla="*/ 6423290 h 6858000"/>
              <a:gd name="connsiteX24" fmla="*/ 1477223 w 4151312"/>
              <a:gd name="connsiteY24" fmla="*/ 6423290 h 6858000"/>
              <a:gd name="connsiteX25" fmla="*/ 1449367 w 4151312"/>
              <a:gd name="connsiteY25" fmla="*/ 6507521 h 6858000"/>
              <a:gd name="connsiteX26" fmla="*/ 1423104 w 4151312"/>
              <a:gd name="connsiteY26" fmla="*/ 6423290 h 6858000"/>
              <a:gd name="connsiteX27" fmla="*/ 1319153 w 4151312"/>
              <a:gd name="connsiteY27" fmla="*/ 6423290 h 6858000"/>
              <a:gd name="connsiteX28" fmla="*/ 1319153 w 4151312"/>
              <a:gd name="connsiteY28" fmla="*/ 6452426 h 6858000"/>
              <a:gd name="connsiteX29" fmla="*/ 1336299 w 4151312"/>
              <a:gd name="connsiteY29" fmla="*/ 6452426 h 6858000"/>
              <a:gd name="connsiteX30" fmla="*/ 1336299 w 4151312"/>
              <a:gd name="connsiteY30" fmla="*/ 6544604 h 6858000"/>
              <a:gd name="connsiteX31" fmla="*/ 1371127 w 4151312"/>
              <a:gd name="connsiteY31" fmla="*/ 6544604 h 6858000"/>
              <a:gd name="connsiteX32" fmla="*/ 1371127 w 4151312"/>
              <a:gd name="connsiteY32" fmla="*/ 6423290 h 6858000"/>
              <a:gd name="connsiteX33" fmla="*/ 1293161 w 4151312"/>
              <a:gd name="connsiteY33" fmla="*/ 6421700 h 6858000"/>
              <a:gd name="connsiteX34" fmla="*/ 1261280 w 4151312"/>
              <a:gd name="connsiteY34" fmla="*/ 6442626 h 6858000"/>
              <a:gd name="connsiteX35" fmla="*/ 1261280 w 4151312"/>
              <a:gd name="connsiteY35" fmla="*/ 6423290 h 6858000"/>
              <a:gd name="connsiteX36" fmla="*/ 1227522 w 4151312"/>
              <a:gd name="connsiteY36" fmla="*/ 6423290 h 6858000"/>
              <a:gd name="connsiteX37" fmla="*/ 1227522 w 4151312"/>
              <a:gd name="connsiteY37" fmla="*/ 6544604 h 6858000"/>
              <a:gd name="connsiteX38" fmla="*/ 1262352 w 4151312"/>
              <a:gd name="connsiteY38" fmla="*/ 6544604 h 6858000"/>
              <a:gd name="connsiteX39" fmla="*/ 1262352 w 4151312"/>
              <a:gd name="connsiteY39" fmla="*/ 6486596 h 6858000"/>
              <a:gd name="connsiteX40" fmla="*/ 1288073 w 4151312"/>
              <a:gd name="connsiteY40" fmla="*/ 6457194 h 6858000"/>
              <a:gd name="connsiteX41" fmla="*/ 1302808 w 4151312"/>
              <a:gd name="connsiteY41" fmla="*/ 6457194 h 6858000"/>
              <a:gd name="connsiteX42" fmla="*/ 1302808 w 4151312"/>
              <a:gd name="connsiteY42" fmla="*/ 6422760 h 6858000"/>
              <a:gd name="connsiteX43" fmla="*/ 1293161 w 4151312"/>
              <a:gd name="connsiteY43" fmla="*/ 6421700 h 6858000"/>
              <a:gd name="connsiteX44" fmla="*/ 1796056 w 4151312"/>
              <a:gd name="connsiteY44" fmla="*/ 6420112 h 6858000"/>
              <a:gd name="connsiteX45" fmla="*/ 1791956 w 4151312"/>
              <a:gd name="connsiteY45" fmla="*/ 6420138 h 6858000"/>
              <a:gd name="connsiteX46" fmla="*/ 1732297 w 4151312"/>
              <a:gd name="connsiteY46" fmla="*/ 6483948 h 6858000"/>
              <a:gd name="connsiteX47" fmla="*/ 1770879 w 4151312"/>
              <a:gd name="connsiteY47" fmla="*/ 6541990 h 6858000"/>
              <a:gd name="connsiteX48" fmla="*/ 1857943 w 4151312"/>
              <a:gd name="connsiteY48" fmla="*/ 6509641 h 6858000"/>
              <a:gd name="connsiteX49" fmla="*/ 1821781 w 4151312"/>
              <a:gd name="connsiteY49" fmla="*/ 6505933 h 6858000"/>
              <a:gd name="connsiteX50" fmla="*/ 1802269 w 4151312"/>
              <a:gd name="connsiteY50" fmla="*/ 6518046 h 6858000"/>
              <a:gd name="connsiteX51" fmla="*/ 1768997 w 4151312"/>
              <a:gd name="connsiteY51" fmla="*/ 6494013 h 6858000"/>
              <a:gd name="connsiteX52" fmla="*/ 1860353 w 4151312"/>
              <a:gd name="connsiteY52" fmla="*/ 6494013 h 6858000"/>
              <a:gd name="connsiteX53" fmla="*/ 1860353 w 4151312"/>
              <a:gd name="connsiteY53" fmla="*/ 6492689 h 6858000"/>
              <a:gd name="connsiteX54" fmla="*/ 1796056 w 4151312"/>
              <a:gd name="connsiteY54" fmla="*/ 6420112 h 6858000"/>
              <a:gd name="connsiteX55" fmla="*/ 1574215 w 4151312"/>
              <a:gd name="connsiteY55" fmla="*/ 6420111 h 6858000"/>
              <a:gd name="connsiteX56" fmla="*/ 1521700 w 4151312"/>
              <a:gd name="connsiteY56" fmla="*/ 6434944 h 6858000"/>
              <a:gd name="connsiteX57" fmla="*/ 1535364 w 4151312"/>
              <a:gd name="connsiteY57" fmla="*/ 6460902 h 6858000"/>
              <a:gd name="connsiteX58" fmla="*/ 1572342 w 4151312"/>
              <a:gd name="connsiteY58" fmla="*/ 6449512 h 6858000"/>
              <a:gd name="connsiteX59" fmla="*/ 1592699 w 4151312"/>
              <a:gd name="connsiteY59" fmla="*/ 6463816 h 6858000"/>
              <a:gd name="connsiteX60" fmla="*/ 1592699 w 4151312"/>
              <a:gd name="connsiteY60" fmla="*/ 6465140 h 6858000"/>
              <a:gd name="connsiteX61" fmla="*/ 1584124 w 4151312"/>
              <a:gd name="connsiteY61" fmla="*/ 6472292 h 6858000"/>
              <a:gd name="connsiteX62" fmla="*/ 1560013 w 4151312"/>
              <a:gd name="connsiteY62" fmla="*/ 6472292 h 6858000"/>
              <a:gd name="connsiteX63" fmla="*/ 1515545 w 4151312"/>
              <a:gd name="connsiteY63" fmla="*/ 6509640 h 6858000"/>
              <a:gd name="connsiteX64" fmla="*/ 1515603 w 4151312"/>
              <a:gd name="connsiteY64" fmla="*/ 6510750 h 6858000"/>
              <a:gd name="connsiteX65" fmla="*/ 1558409 w 4151312"/>
              <a:gd name="connsiteY65" fmla="*/ 6547782 h 6858000"/>
              <a:gd name="connsiteX66" fmla="*/ 1592699 w 4151312"/>
              <a:gd name="connsiteY66" fmla="*/ 6533214 h 6858000"/>
              <a:gd name="connsiteX67" fmla="*/ 1592699 w 4151312"/>
              <a:gd name="connsiteY67" fmla="*/ 6544604 h 6858000"/>
              <a:gd name="connsiteX68" fmla="*/ 1627527 w 4151312"/>
              <a:gd name="connsiteY68" fmla="*/ 6544604 h 6858000"/>
              <a:gd name="connsiteX69" fmla="*/ 1627527 w 4151312"/>
              <a:gd name="connsiteY69" fmla="*/ 6464875 h 6858000"/>
              <a:gd name="connsiteX70" fmla="*/ 1574215 w 4151312"/>
              <a:gd name="connsiteY70" fmla="*/ 6420111 h 6858000"/>
              <a:gd name="connsiteX71" fmla="*/ 1153574 w 4151312"/>
              <a:gd name="connsiteY71" fmla="*/ 6420111 h 6858000"/>
              <a:gd name="connsiteX72" fmla="*/ 1101062 w 4151312"/>
              <a:gd name="connsiteY72" fmla="*/ 6434944 h 6858000"/>
              <a:gd name="connsiteX73" fmla="*/ 1114726 w 4151312"/>
              <a:gd name="connsiteY73" fmla="*/ 6460902 h 6858000"/>
              <a:gd name="connsiteX74" fmla="*/ 1151699 w 4151312"/>
              <a:gd name="connsiteY74" fmla="*/ 6449512 h 6858000"/>
              <a:gd name="connsiteX75" fmla="*/ 1172060 w 4151312"/>
              <a:gd name="connsiteY75" fmla="*/ 6463816 h 6858000"/>
              <a:gd name="connsiteX76" fmla="*/ 1172060 w 4151312"/>
              <a:gd name="connsiteY76" fmla="*/ 6465140 h 6858000"/>
              <a:gd name="connsiteX77" fmla="*/ 1163487 w 4151312"/>
              <a:gd name="connsiteY77" fmla="*/ 6472292 h 6858000"/>
              <a:gd name="connsiteX78" fmla="*/ 1139375 w 4151312"/>
              <a:gd name="connsiteY78" fmla="*/ 6472292 h 6858000"/>
              <a:gd name="connsiteX79" fmla="*/ 1094901 w 4151312"/>
              <a:gd name="connsiteY79" fmla="*/ 6509640 h 6858000"/>
              <a:gd name="connsiteX80" fmla="*/ 1094960 w 4151312"/>
              <a:gd name="connsiteY80" fmla="*/ 6510749 h 6858000"/>
              <a:gd name="connsiteX81" fmla="*/ 1137766 w 4151312"/>
              <a:gd name="connsiteY81" fmla="*/ 6547782 h 6858000"/>
              <a:gd name="connsiteX82" fmla="*/ 1172060 w 4151312"/>
              <a:gd name="connsiteY82" fmla="*/ 6533214 h 6858000"/>
              <a:gd name="connsiteX83" fmla="*/ 1172060 w 4151312"/>
              <a:gd name="connsiteY83" fmla="*/ 6544604 h 6858000"/>
              <a:gd name="connsiteX84" fmla="*/ 1206890 w 4151312"/>
              <a:gd name="connsiteY84" fmla="*/ 6544604 h 6858000"/>
              <a:gd name="connsiteX85" fmla="*/ 1206890 w 4151312"/>
              <a:gd name="connsiteY85" fmla="*/ 6464875 h 6858000"/>
              <a:gd name="connsiteX86" fmla="*/ 1153574 w 4151312"/>
              <a:gd name="connsiteY86" fmla="*/ 6420111 h 6858000"/>
              <a:gd name="connsiteX87" fmla="*/ 568575 w 4151312"/>
              <a:gd name="connsiteY87" fmla="*/ 6383429 h 6858000"/>
              <a:gd name="connsiteX88" fmla="*/ 568549 w 4151312"/>
              <a:gd name="connsiteY88" fmla="*/ 6520396 h 6858000"/>
              <a:gd name="connsiteX89" fmla="*/ 624511 w 4151312"/>
              <a:gd name="connsiteY89" fmla="*/ 6519097 h 6858000"/>
              <a:gd name="connsiteX90" fmla="*/ 618898 w 4151312"/>
              <a:gd name="connsiteY90" fmla="*/ 6402004 h 6858000"/>
              <a:gd name="connsiteX91" fmla="*/ 624479 w 4151312"/>
              <a:gd name="connsiteY91" fmla="*/ 6384725 h 6858000"/>
              <a:gd name="connsiteX92" fmla="*/ 568575 w 4151312"/>
              <a:gd name="connsiteY92" fmla="*/ 6383429 h 6858000"/>
              <a:gd name="connsiteX93" fmla="*/ 1659953 w 4151312"/>
              <a:gd name="connsiteY93" fmla="*/ 6377201 h 6858000"/>
              <a:gd name="connsiteX94" fmla="*/ 1659953 w 4151312"/>
              <a:gd name="connsiteY94" fmla="*/ 6423290 h 6858000"/>
              <a:gd name="connsiteX95" fmla="*/ 1640662 w 4151312"/>
              <a:gd name="connsiteY95" fmla="*/ 6423290 h 6858000"/>
              <a:gd name="connsiteX96" fmla="*/ 1640662 w 4151312"/>
              <a:gd name="connsiteY96" fmla="*/ 6452426 h 6858000"/>
              <a:gd name="connsiteX97" fmla="*/ 1659953 w 4151312"/>
              <a:gd name="connsiteY97" fmla="*/ 6452426 h 6858000"/>
              <a:gd name="connsiteX98" fmla="*/ 1659953 w 4151312"/>
              <a:gd name="connsiteY98" fmla="*/ 6518911 h 6858000"/>
              <a:gd name="connsiteX99" fmla="*/ 1695318 w 4151312"/>
              <a:gd name="connsiteY99" fmla="*/ 6546194 h 6858000"/>
              <a:gd name="connsiteX100" fmla="*/ 1722377 w 4151312"/>
              <a:gd name="connsiteY100" fmla="*/ 6544604 h 6858000"/>
              <a:gd name="connsiteX101" fmla="*/ 1722377 w 4151312"/>
              <a:gd name="connsiteY101" fmla="*/ 6515203 h 6858000"/>
              <a:gd name="connsiteX102" fmla="*/ 1706303 w 4151312"/>
              <a:gd name="connsiteY102" fmla="*/ 6515998 h 6858000"/>
              <a:gd name="connsiteX103" fmla="*/ 1694780 w 4151312"/>
              <a:gd name="connsiteY103" fmla="*/ 6507256 h 6858000"/>
              <a:gd name="connsiteX104" fmla="*/ 1694780 w 4151312"/>
              <a:gd name="connsiteY104" fmla="*/ 6452426 h 6858000"/>
              <a:gd name="connsiteX105" fmla="*/ 1721302 w 4151312"/>
              <a:gd name="connsiteY105" fmla="*/ 6452426 h 6858000"/>
              <a:gd name="connsiteX106" fmla="*/ 1721302 w 4151312"/>
              <a:gd name="connsiteY106" fmla="*/ 6423290 h 6858000"/>
              <a:gd name="connsiteX107" fmla="*/ 1694780 w 4151312"/>
              <a:gd name="connsiteY107" fmla="*/ 6423290 h 6858000"/>
              <a:gd name="connsiteX108" fmla="*/ 1694780 w 4151312"/>
              <a:gd name="connsiteY108" fmla="*/ 6377201 h 6858000"/>
              <a:gd name="connsiteX109" fmla="*/ 1884617 w 4151312"/>
              <a:gd name="connsiteY109" fmla="*/ 6359355 h 6858000"/>
              <a:gd name="connsiteX110" fmla="*/ 1884617 w 4151312"/>
              <a:gd name="connsiteY110" fmla="*/ 6392335 h 6858000"/>
              <a:gd name="connsiteX111" fmla="*/ 1893998 w 4151312"/>
              <a:gd name="connsiteY111" fmla="*/ 6392335 h 6858000"/>
              <a:gd name="connsiteX112" fmla="*/ 1893998 w 4151312"/>
              <a:gd name="connsiteY112" fmla="*/ 6373492 h 6858000"/>
              <a:gd name="connsiteX113" fmla="*/ 1898291 w 4151312"/>
              <a:gd name="connsiteY113" fmla="*/ 6385270 h 6858000"/>
              <a:gd name="connsiteX114" fmla="*/ 1905819 w 4151312"/>
              <a:gd name="connsiteY114" fmla="*/ 6385270 h 6858000"/>
              <a:gd name="connsiteX115" fmla="*/ 1910111 w 4151312"/>
              <a:gd name="connsiteY115" fmla="*/ 6373492 h 6858000"/>
              <a:gd name="connsiteX116" fmla="*/ 1910111 w 4151312"/>
              <a:gd name="connsiteY116" fmla="*/ 6392335 h 6858000"/>
              <a:gd name="connsiteX117" fmla="*/ 1919685 w 4151312"/>
              <a:gd name="connsiteY117" fmla="*/ 6392335 h 6858000"/>
              <a:gd name="connsiteX118" fmla="*/ 1919685 w 4151312"/>
              <a:gd name="connsiteY118" fmla="*/ 6359355 h 6858000"/>
              <a:gd name="connsiteX119" fmla="*/ 1907566 w 4151312"/>
              <a:gd name="connsiteY119" fmla="*/ 6359355 h 6858000"/>
              <a:gd name="connsiteX120" fmla="*/ 1902362 w 4151312"/>
              <a:gd name="connsiteY120" fmla="*/ 6373114 h 6858000"/>
              <a:gd name="connsiteX121" fmla="*/ 1897494 w 4151312"/>
              <a:gd name="connsiteY121" fmla="*/ 6359355 h 6858000"/>
              <a:gd name="connsiteX122" fmla="*/ 1850683 w 4151312"/>
              <a:gd name="connsiteY122" fmla="*/ 6359355 h 6858000"/>
              <a:gd name="connsiteX123" fmla="*/ 1850683 w 4151312"/>
              <a:gd name="connsiteY123" fmla="*/ 6367929 h 6858000"/>
              <a:gd name="connsiteX124" fmla="*/ 1860074 w 4151312"/>
              <a:gd name="connsiteY124" fmla="*/ 6367929 h 6858000"/>
              <a:gd name="connsiteX125" fmla="*/ 1860074 w 4151312"/>
              <a:gd name="connsiteY125" fmla="*/ 6392335 h 6858000"/>
              <a:gd name="connsiteX126" fmla="*/ 1869839 w 4151312"/>
              <a:gd name="connsiteY126" fmla="*/ 6392335 h 6858000"/>
              <a:gd name="connsiteX127" fmla="*/ 1869839 w 4151312"/>
              <a:gd name="connsiteY127" fmla="*/ 6367929 h 6858000"/>
              <a:gd name="connsiteX128" fmla="*/ 1879230 w 4151312"/>
              <a:gd name="connsiteY128" fmla="*/ 6367929 h 6858000"/>
              <a:gd name="connsiteX129" fmla="*/ 1879230 w 4151312"/>
              <a:gd name="connsiteY129" fmla="*/ 6359355 h 6858000"/>
              <a:gd name="connsiteX130" fmla="*/ 1352105 w 4151312"/>
              <a:gd name="connsiteY130" fmla="*/ 6359189 h 6858000"/>
              <a:gd name="connsiteX131" fmla="*/ 1329868 w 4151312"/>
              <a:gd name="connsiteY131" fmla="*/ 6381439 h 6858000"/>
              <a:gd name="connsiteX132" fmla="*/ 1352108 w 4151312"/>
              <a:gd name="connsiteY132" fmla="*/ 6403427 h 6858000"/>
              <a:gd name="connsiteX133" fmla="*/ 1374610 w 4151312"/>
              <a:gd name="connsiteY133" fmla="*/ 6381439 h 6858000"/>
              <a:gd name="connsiteX134" fmla="*/ 1374610 w 4151312"/>
              <a:gd name="connsiteY134" fmla="*/ 6381364 h 6858000"/>
              <a:gd name="connsiteX135" fmla="*/ 1352105 w 4151312"/>
              <a:gd name="connsiteY135" fmla="*/ 6359189 h 6858000"/>
              <a:gd name="connsiteX136" fmla="*/ 1041583 w 4151312"/>
              <a:gd name="connsiteY136" fmla="*/ 6359189 h 6858000"/>
              <a:gd name="connsiteX137" fmla="*/ 1041583 w 4151312"/>
              <a:gd name="connsiteY137" fmla="*/ 6544604 h 6858000"/>
              <a:gd name="connsiteX138" fmla="*/ 1076143 w 4151312"/>
              <a:gd name="connsiteY138" fmla="*/ 6544604 h 6858000"/>
              <a:gd name="connsiteX139" fmla="*/ 1076143 w 4151312"/>
              <a:gd name="connsiteY139" fmla="*/ 6359189 h 6858000"/>
              <a:gd name="connsiteX140" fmla="*/ 925239 w 4151312"/>
              <a:gd name="connsiteY140" fmla="*/ 6355990 h 6858000"/>
              <a:gd name="connsiteX141" fmla="*/ 832602 w 4151312"/>
              <a:gd name="connsiteY141" fmla="*/ 6451897 h 6858000"/>
              <a:gd name="connsiteX142" fmla="*/ 832623 w 4151312"/>
              <a:gd name="connsiteY142" fmla="*/ 6456990 h 6858000"/>
              <a:gd name="connsiteX143" fmla="*/ 930389 w 4151312"/>
              <a:gd name="connsiteY143" fmla="*/ 6547783 h 6858000"/>
              <a:gd name="connsiteX144" fmla="*/ 1022285 w 4151312"/>
              <a:gd name="connsiteY144" fmla="*/ 6478650 h 6858000"/>
              <a:gd name="connsiteX145" fmla="*/ 981294 w 4151312"/>
              <a:gd name="connsiteY145" fmla="*/ 6478650 h 6858000"/>
              <a:gd name="connsiteX146" fmla="*/ 930389 w 4151312"/>
              <a:gd name="connsiteY146" fmla="*/ 6513878 h 6858000"/>
              <a:gd name="connsiteX147" fmla="*/ 871450 w 4151312"/>
              <a:gd name="connsiteY147" fmla="*/ 6451897 h 6858000"/>
              <a:gd name="connsiteX148" fmla="*/ 930389 w 4151312"/>
              <a:gd name="connsiteY148" fmla="*/ 6389916 h 6858000"/>
              <a:gd name="connsiteX149" fmla="*/ 981294 w 4151312"/>
              <a:gd name="connsiteY149" fmla="*/ 6425144 h 6858000"/>
              <a:gd name="connsiteX150" fmla="*/ 1022285 w 4151312"/>
              <a:gd name="connsiteY150" fmla="*/ 6425144 h 6858000"/>
              <a:gd name="connsiteX151" fmla="*/ 930389 w 4151312"/>
              <a:gd name="connsiteY151" fmla="*/ 6356011 h 6858000"/>
              <a:gd name="connsiteX152" fmla="*/ 925239 w 4151312"/>
              <a:gd name="connsiteY152" fmla="*/ 6355990 h 6858000"/>
              <a:gd name="connsiteX153" fmla="*/ 651232 w 4151312"/>
              <a:gd name="connsiteY153" fmla="*/ 6336161 h 6858000"/>
              <a:gd name="connsiteX154" fmla="*/ 624479 w 4151312"/>
              <a:gd name="connsiteY154" fmla="*/ 6384726 h 6858000"/>
              <a:gd name="connsiteX155" fmla="*/ 742033 w 4151312"/>
              <a:gd name="connsiteY155" fmla="*/ 6451914 h 6858000"/>
              <a:gd name="connsiteX156" fmla="*/ 624512 w 4151312"/>
              <a:gd name="connsiteY156" fmla="*/ 6519097 h 6858000"/>
              <a:gd name="connsiteX157" fmla="*/ 651373 w 4151312"/>
              <a:gd name="connsiteY157" fmla="*/ 6567631 h 6858000"/>
              <a:gd name="connsiteX158" fmla="*/ 771228 w 4151312"/>
              <a:gd name="connsiteY158" fmla="*/ 6499136 h 6858000"/>
              <a:gd name="connsiteX159" fmla="*/ 742033 w 4151312"/>
              <a:gd name="connsiteY159" fmla="*/ 6451914 h 6858000"/>
              <a:gd name="connsiteX160" fmla="*/ 771227 w 4151312"/>
              <a:gd name="connsiteY160" fmla="*/ 6404692 h 6858000"/>
              <a:gd name="connsiteX161" fmla="*/ 651232 w 4151312"/>
              <a:gd name="connsiteY161" fmla="*/ 6336161 h 6858000"/>
              <a:gd name="connsiteX162" fmla="*/ 0 w 4151312"/>
              <a:gd name="connsiteY162" fmla="*/ 0 h 6858000"/>
              <a:gd name="connsiteX163" fmla="*/ 4151312 w 4151312"/>
              <a:gd name="connsiteY163" fmla="*/ 0 h 6858000"/>
              <a:gd name="connsiteX164" fmla="*/ 4151312 w 4151312"/>
              <a:gd name="connsiteY164" fmla="*/ 6858000 h 6858000"/>
              <a:gd name="connsiteX165" fmla="*/ 0 w 4151312"/>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4151312"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4151312" y="0"/>
                </a:lnTo>
                <a:lnTo>
                  <a:pt x="4151312" y="6858000"/>
                </a:lnTo>
                <a:lnTo>
                  <a:pt x="0" y="6858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center icon to insert light image</a:t>
            </a:r>
          </a:p>
        </p:txBody>
      </p:sp>
      <p:sp>
        <p:nvSpPr>
          <p:cNvPr id="8" name="Text Placeholder 9">
            <a:extLst>
              <a:ext uri="{FF2B5EF4-FFF2-40B4-BE49-F238E27FC236}">
                <a16:creationId xmlns:a16="http://schemas.microsoft.com/office/drawing/2014/main" id="{29FAF35B-2ED4-D537-2CBC-679AE67EE6C1}"/>
              </a:ext>
            </a:extLst>
          </p:cNvPr>
          <p:cNvSpPr>
            <a:spLocks noGrp="1"/>
          </p:cNvSpPr>
          <p:nvPr>
            <p:ph type="body" sz="quarter" idx="13" hasCustomPrompt="1"/>
          </p:nvPr>
        </p:nvSpPr>
        <p:spPr>
          <a:xfrm>
            <a:off x="5232400" y="908939"/>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1 Avenir Pro 16pt</a:t>
            </a:r>
            <a:endParaRPr lang="en-GB"/>
          </a:p>
        </p:txBody>
      </p:sp>
      <p:sp>
        <p:nvSpPr>
          <p:cNvPr id="9" name="Text Placeholder 12">
            <a:extLst>
              <a:ext uri="{FF2B5EF4-FFF2-40B4-BE49-F238E27FC236}">
                <a16:creationId xmlns:a16="http://schemas.microsoft.com/office/drawing/2014/main" id="{23B40A7F-5AE1-5AC4-16CC-DA9E88A61485}"/>
              </a:ext>
            </a:extLst>
          </p:cNvPr>
          <p:cNvSpPr>
            <a:spLocks noGrp="1"/>
          </p:cNvSpPr>
          <p:nvPr>
            <p:ph type="body" sz="quarter" idx="15" hasCustomPrompt="1"/>
          </p:nvPr>
        </p:nvSpPr>
        <p:spPr>
          <a:xfrm>
            <a:off x="5232400" y="1181195"/>
            <a:ext cx="2663825" cy="360362"/>
          </a:xfrm>
        </p:spPr>
        <p:txBody>
          <a:bodyPr/>
          <a:lstStyle>
            <a:lvl1pPr marL="0" indent="0">
              <a:buNone/>
              <a:defRPr/>
            </a:lvl1pPr>
          </a:lstStyle>
          <a:p>
            <a:pPr lvl="0"/>
            <a:r>
              <a:rPr lang="en-US"/>
              <a:t>Speaker Name 15pt</a:t>
            </a:r>
            <a:endParaRPr lang="en-GB"/>
          </a:p>
        </p:txBody>
      </p:sp>
      <p:sp>
        <p:nvSpPr>
          <p:cNvPr id="11" name="Rectangle 10">
            <a:extLst>
              <a:ext uri="{FF2B5EF4-FFF2-40B4-BE49-F238E27FC236}">
                <a16:creationId xmlns:a16="http://schemas.microsoft.com/office/drawing/2014/main" id="{7DF3D335-952A-E773-05C6-D90DC09E72CD}"/>
              </a:ext>
            </a:extLst>
          </p:cNvPr>
          <p:cNvSpPr/>
          <p:nvPr userDrawn="1"/>
        </p:nvSpPr>
        <p:spPr>
          <a:xfrm>
            <a:off x="10848975" y="6308725"/>
            <a:ext cx="1343025" cy="5492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9">
            <a:extLst>
              <a:ext uri="{FF2B5EF4-FFF2-40B4-BE49-F238E27FC236}">
                <a16:creationId xmlns:a16="http://schemas.microsoft.com/office/drawing/2014/main" id="{B6B5DFED-7647-0C9C-FF5A-980FF7F61F21}"/>
              </a:ext>
            </a:extLst>
          </p:cNvPr>
          <p:cNvSpPr>
            <a:spLocks noGrp="1"/>
          </p:cNvSpPr>
          <p:nvPr>
            <p:ph type="body" sz="quarter" idx="22" hasCustomPrompt="1"/>
          </p:nvPr>
        </p:nvSpPr>
        <p:spPr>
          <a:xfrm>
            <a:off x="5232400" y="1813813"/>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2  Avenir Pro 16pt</a:t>
            </a:r>
            <a:endParaRPr lang="en-GB"/>
          </a:p>
        </p:txBody>
      </p:sp>
      <p:sp>
        <p:nvSpPr>
          <p:cNvPr id="13" name="Text Placeholder 12">
            <a:extLst>
              <a:ext uri="{FF2B5EF4-FFF2-40B4-BE49-F238E27FC236}">
                <a16:creationId xmlns:a16="http://schemas.microsoft.com/office/drawing/2014/main" id="{5AEDF268-A16E-392A-A38C-932CA3DA19C8}"/>
              </a:ext>
            </a:extLst>
          </p:cNvPr>
          <p:cNvSpPr>
            <a:spLocks noGrp="1"/>
          </p:cNvSpPr>
          <p:nvPr>
            <p:ph type="body" sz="quarter" idx="23" hasCustomPrompt="1"/>
          </p:nvPr>
        </p:nvSpPr>
        <p:spPr>
          <a:xfrm>
            <a:off x="5232400" y="2086069"/>
            <a:ext cx="2663825" cy="360362"/>
          </a:xfrm>
        </p:spPr>
        <p:txBody>
          <a:bodyPr/>
          <a:lstStyle>
            <a:lvl1pPr marL="0" indent="0">
              <a:buNone/>
              <a:defRPr/>
            </a:lvl1pPr>
          </a:lstStyle>
          <a:p>
            <a:pPr lvl="0"/>
            <a:r>
              <a:rPr lang="en-US"/>
              <a:t>Speaker Name 15pt</a:t>
            </a:r>
            <a:endParaRPr lang="en-GB"/>
          </a:p>
        </p:txBody>
      </p:sp>
      <p:sp>
        <p:nvSpPr>
          <p:cNvPr id="14" name="Text Placeholder 9">
            <a:extLst>
              <a:ext uri="{FF2B5EF4-FFF2-40B4-BE49-F238E27FC236}">
                <a16:creationId xmlns:a16="http://schemas.microsoft.com/office/drawing/2014/main" id="{99EC5CF4-0A45-7231-2C85-32BB9F0453B7}"/>
              </a:ext>
            </a:extLst>
          </p:cNvPr>
          <p:cNvSpPr>
            <a:spLocks noGrp="1"/>
          </p:cNvSpPr>
          <p:nvPr>
            <p:ph type="body" sz="quarter" idx="24" hasCustomPrompt="1"/>
          </p:nvPr>
        </p:nvSpPr>
        <p:spPr>
          <a:xfrm>
            <a:off x="5232400" y="2708369"/>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3 Avenir Pro 16pt</a:t>
            </a:r>
            <a:endParaRPr lang="en-GB"/>
          </a:p>
        </p:txBody>
      </p:sp>
      <p:sp>
        <p:nvSpPr>
          <p:cNvPr id="15" name="Text Placeholder 12">
            <a:extLst>
              <a:ext uri="{FF2B5EF4-FFF2-40B4-BE49-F238E27FC236}">
                <a16:creationId xmlns:a16="http://schemas.microsoft.com/office/drawing/2014/main" id="{B174E7E9-2FE4-7461-5B13-B5FC955FFAEC}"/>
              </a:ext>
            </a:extLst>
          </p:cNvPr>
          <p:cNvSpPr>
            <a:spLocks noGrp="1"/>
          </p:cNvSpPr>
          <p:nvPr>
            <p:ph type="body" sz="quarter" idx="25" hasCustomPrompt="1"/>
          </p:nvPr>
        </p:nvSpPr>
        <p:spPr>
          <a:xfrm>
            <a:off x="5232400" y="2980625"/>
            <a:ext cx="2663825" cy="360362"/>
          </a:xfrm>
        </p:spPr>
        <p:txBody>
          <a:bodyPr/>
          <a:lstStyle>
            <a:lvl1pPr marL="0" indent="0">
              <a:buNone/>
              <a:defRPr/>
            </a:lvl1pPr>
          </a:lstStyle>
          <a:p>
            <a:pPr lvl="0"/>
            <a:r>
              <a:rPr lang="en-US"/>
              <a:t>Speaker Name 15pt</a:t>
            </a:r>
            <a:endParaRPr lang="en-GB"/>
          </a:p>
        </p:txBody>
      </p:sp>
      <p:sp>
        <p:nvSpPr>
          <p:cNvPr id="16" name="Text Placeholder 9">
            <a:extLst>
              <a:ext uri="{FF2B5EF4-FFF2-40B4-BE49-F238E27FC236}">
                <a16:creationId xmlns:a16="http://schemas.microsoft.com/office/drawing/2014/main" id="{43D53C35-7B0A-5827-3E29-6CEC9AA2DD9E}"/>
              </a:ext>
            </a:extLst>
          </p:cNvPr>
          <p:cNvSpPr>
            <a:spLocks noGrp="1"/>
          </p:cNvSpPr>
          <p:nvPr>
            <p:ph type="body" sz="quarter" idx="26" hasCustomPrompt="1"/>
          </p:nvPr>
        </p:nvSpPr>
        <p:spPr>
          <a:xfrm>
            <a:off x="5232400" y="3609276"/>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4 Avenir Pro 16pt</a:t>
            </a:r>
            <a:endParaRPr lang="en-GB"/>
          </a:p>
        </p:txBody>
      </p:sp>
      <p:sp>
        <p:nvSpPr>
          <p:cNvPr id="17" name="Text Placeholder 12">
            <a:extLst>
              <a:ext uri="{FF2B5EF4-FFF2-40B4-BE49-F238E27FC236}">
                <a16:creationId xmlns:a16="http://schemas.microsoft.com/office/drawing/2014/main" id="{AE819C7B-BB25-3FA5-219F-C6E56BFB07C2}"/>
              </a:ext>
            </a:extLst>
          </p:cNvPr>
          <p:cNvSpPr>
            <a:spLocks noGrp="1"/>
          </p:cNvSpPr>
          <p:nvPr>
            <p:ph type="body" sz="quarter" idx="27" hasCustomPrompt="1"/>
          </p:nvPr>
        </p:nvSpPr>
        <p:spPr>
          <a:xfrm>
            <a:off x="5232400" y="3881532"/>
            <a:ext cx="2663825" cy="360362"/>
          </a:xfrm>
        </p:spPr>
        <p:txBody>
          <a:bodyPr/>
          <a:lstStyle>
            <a:lvl1pPr marL="0" indent="0">
              <a:buNone/>
              <a:defRPr/>
            </a:lvl1pPr>
          </a:lstStyle>
          <a:p>
            <a:pPr lvl="0"/>
            <a:r>
              <a:rPr lang="en-US"/>
              <a:t>Speaker Name 15pt</a:t>
            </a:r>
            <a:endParaRPr lang="en-GB"/>
          </a:p>
        </p:txBody>
      </p:sp>
      <p:sp>
        <p:nvSpPr>
          <p:cNvPr id="18" name="Text Placeholder 9">
            <a:extLst>
              <a:ext uri="{FF2B5EF4-FFF2-40B4-BE49-F238E27FC236}">
                <a16:creationId xmlns:a16="http://schemas.microsoft.com/office/drawing/2014/main" id="{B1C6517C-6CD7-9A15-83C4-0C815BE566B3}"/>
              </a:ext>
            </a:extLst>
          </p:cNvPr>
          <p:cNvSpPr>
            <a:spLocks noGrp="1"/>
          </p:cNvSpPr>
          <p:nvPr>
            <p:ph type="body" sz="quarter" idx="28" hasCustomPrompt="1"/>
          </p:nvPr>
        </p:nvSpPr>
        <p:spPr>
          <a:xfrm>
            <a:off x="5232400" y="4511770"/>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5 Avenir Pro 16pt</a:t>
            </a:r>
            <a:endParaRPr lang="en-GB"/>
          </a:p>
        </p:txBody>
      </p:sp>
      <p:sp>
        <p:nvSpPr>
          <p:cNvPr id="19" name="Text Placeholder 12">
            <a:extLst>
              <a:ext uri="{FF2B5EF4-FFF2-40B4-BE49-F238E27FC236}">
                <a16:creationId xmlns:a16="http://schemas.microsoft.com/office/drawing/2014/main" id="{6E1C68AA-7188-8B61-B1E8-F3622A628BD9}"/>
              </a:ext>
            </a:extLst>
          </p:cNvPr>
          <p:cNvSpPr>
            <a:spLocks noGrp="1"/>
          </p:cNvSpPr>
          <p:nvPr>
            <p:ph type="body" sz="quarter" idx="29" hasCustomPrompt="1"/>
          </p:nvPr>
        </p:nvSpPr>
        <p:spPr>
          <a:xfrm>
            <a:off x="5232400" y="4784026"/>
            <a:ext cx="2663825" cy="360362"/>
          </a:xfrm>
        </p:spPr>
        <p:txBody>
          <a:bodyPr/>
          <a:lstStyle>
            <a:lvl1pPr marL="0" indent="0">
              <a:buNone/>
              <a:defRPr/>
            </a:lvl1pPr>
          </a:lstStyle>
          <a:p>
            <a:pPr lvl="0"/>
            <a:r>
              <a:rPr lang="en-US"/>
              <a:t>Speaker Name 15pt</a:t>
            </a:r>
            <a:endParaRPr lang="en-GB"/>
          </a:p>
        </p:txBody>
      </p:sp>
      <p:sp>
        <p:nvSpPr>
          <p:cNvPr id="20" name="Text Placeholder 9">
            <a:extLst>
              <a:ext uri="{FF2B5EF4-FFF2-40B4-BE49-F238E27FC236}">
                <a16:creationId xmlns:a16="http://schemas.microsoft.com/office/drawing/2014/main" id="{0B9EFD6F-156E-4DFC-7D58-F0EFA92A24AA}"/>
              </a:ext>
            </a:extLst>
          </p:cNvPr>
          <p:cNvSpPr>
            <a:spLocks noGrp="1"/>
          </p:cNvSpPr>
          <p:nvPr>
            <p:ph type="body" sz="quarter" idx="30" hasCustomPrompt="1"/>
          </p:nvPr>
        </p:nvSpPr>
        <p:spPr>
          <a:xfrm>
            <a:off x="5232400" y="5409501"/>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6 Avenir Pro 16pt</a:t>
            </a:r>
            <a:endParaRPr lang="en-GB"/>
          </a:p>
        </p:txBody>
      </p:sp>
      <p:sp>
        <p:nvSpPr>
          <p:cNvPr id="21" name="Text Placeholder 12">
            <a:extLst>
              <a:ext uri="{FF2B5EF4-FFF2-40B4-BE49-F238E27FC236}">
                <a16:creationId xmlns:a16="http://schemas.microsoft.com/office/drawing/2014/main" id="{3DBF1F67-9877-94F8-BEA4-41153A6C0769}"/>
              </a:ext>
            </a:extLst>
          </p:cNvPr>
          <p:cNvSpPr>
            <a:spLocks noGrp="1"/>
          </p:cNvSpPr>
          <p:nvPr>
            <p:ph type="body" sz="quarter" idx="31" hasCustomPrompt="1"/>
          </p:nvPr>
        </p:nvSpPr>
        <p:spPr>
          <a:xfrm>
            <a:off x="5232400" y="5681757"/>
            <a:ext cx="2663825" cy="360362"/>
          </a:xfrm>
        </p:spPr>
        <p:txBody>
          <a:bodyPr/>
          <a:lstStyle>
            <a:lvl1pPr marL="0" indent="0">
              <a:buNone/>
              <a:defRPr/>
            </a:lvl1pPr>
          </a:lstStyle>
          <a:p>
            <a:pPr lvl="0"/>
            <a:r>
              <a:rPr lang="en-US"/>
              <a:t>Speaker Name 15pt</a:t>
            </a:r>
            <a:endParaRPr lang="en-GB"/>
          </a:p>
        </p:txBody>
      </p:sp>
      <p:sp>
        <p:nvSpPr>
          <p:cNvPr id="22" name="Text Placeholder 9">
            <a:extLst>
              <a:ext uri="{FF2B5EF4-FFF2-40B4-BE49-F238E27FC236}">
                <a16:creationId xmlns:a16="http://schemas.microsoft.com/office/drawing/2014/main" id="{A54438EC-BB31-4EB7-9778-FF0A011295FE}"/>
              </a:ext>
            </a:extLst>
          </p:cNvPr>
          <p:cNvSpPr>
            <a:spLocks noGrp="1"/>
          </p:cNvSpPr>
          <p:nvPr>
            <p:ph type="body" sz="quarter" idx="32" hasCustomPrompt="1"/>
          </p:nvPr>
        </p:nvSpPr>
        <p:spPr>
          <a:xfrm>
            <a:off x="8975725" y="908939"/>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7 Avenir Pro 16pt</a:t>
            </a:r>
            <a:endParaRPr lang="en-GB"/>
          </a:p>
        </p:txBody>
      </p:sp>
      <p:sp>
        <p:nvSpPr>
          <p:cNvPr id="23" name="Text Placeholder 12">
            <a:extLst>
              <a:ext uri="{FF2B5EF4-FFF2-40B4-BE49-F238E27FC236}">
                <a16:creationId xmlns:a16="http://schemas.microsoft.com/office/drawing/2014/main" id="{C6015995-C040-395B-8F49-FB86ACC997F3}"/>
              </a:ext>
            </a:extLst>
          </p:cNvPr>
          <p:cNvSpPr>
            <a:spLocks noGrp="1"/>
          </p:cNvSpPr>
          <p:nvPr>
            <p:ph type="body" sz="quarter" idx="33" hasCustomPrompt="1"/>
          </p:nvPr>
        </p:nvSpPr>
        <p:spPr>
          <a:xfrm>
            <a:off x="8975725" y="1181195"/>
            <a:ext cx="2663825" cy="360362"/>
          </a:xfrm>
        </p:spPr>
        <p:txBody>
          <a:bodyPr/>
          <a:lstStyle>
            <a:lvl1pPr marL="0" indent="0">
              <a:buNone/>
              <a:defRPr/>
            </a:lvl1pPr>
          </a:lstStyle>
          <a:p>
            <a:pPr lvl="0"/>
            <a:r>
              <a:rPr lang="en-US"/>
              <a:t>Speaker Name 15pt</a:t>
            </a:r>
            <a:endParaRPr lang="en-GB"/>
          </a:p>
        </p:txBody>
      </p:sp>
      <p:sp>
        <p:nvSpPr>
          <p:cNvPr id="24" name="Text Placeholder 9">
            <a:extLst>
              <a:ext uri="{FF2B5EF4-FFF2-40B4-BE49-F238E27FC236}">
                <a16:creationId xmlns:a16="http://schemas.microsoft.com/office/drawing/2014/main" id="{00942916-9629-80F6-AC6A-8ED53F51D003}"/>
              </a:ext>
            </a:extLst>
          </p:cNvPr>
          <p:cNvSpPr>
            <a:spLocks noGrp="1"/>
          </p:cNvSpPr>
          <p:nvPr>
            <p:ph type="body" sz="quarter" idx="34" hasCustomPrompt="1"/>
          </p:nvPr>
        </p:nvSpPr>
        <p:spPr>
          <a:xfrm>
            <a:off x="8975725" y="1813813"/>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8  Avenir Pro 16pt</a:t>
            </a:r>
            <a:endParaRPr lang="en-GB"/>
          </a:p>
        </p:txBody>
      </p:sp>
      <p:sp>
        <p:nvSpPr>
          <p:cNvPr id="25" name="Text Placeholder 12">
            <a:extLst>
              <a:ext uri="{FF2B5EF4-FFF2-40B4-BE49-F238E27FC236}">
                <a16:creationId xmlns:a16="http://schemas.microsoft.com/office/drawing/2014/main" id="{DC377951-7E09-434C-3CA1-FC24EC03978D}"/>
              </a:ext>
            </a:extLst>
          </p:cNvPr>
          <p:cNvSpPr>
            <a:spLocks noGrp="1"/>
          </p:cNvSpPr>
          <p:nvPr>
            <p:ph type="body" sz="quarter" idx="35" hasCustomPrompt="1"/>
          </p:nvPr>
        </p:nvSpPr>
        <p:spPr>
          <a:xfrm>
            <a:off x="8975725" y="2086069"/>
            <a:ext cx="2663825" cy="360362"/>
          </a:xfrm>
        </p:spPr>
        <p:txBody>
          <a:bodyPr/>
          <a:lstStyle>
            <a:lvl1pPr marL="0" indent="0">
              <a:buNone/>
              <a:defRPr/>
            </a:lvl1pPr>
          </a:lstStyle>
          <a:p>
            <a:pPr lvl="0"/>
            <a:r>
              <a:rPr lang="en-US"/>
              <a:t>Speaker Name 15pt</a:t>
            </a:r>
            <a:endParaRPr lang="en-GB"/>
          </a:p>
        </p:txBody>
      </p:sp>
      <p:sp>
        <p:nvSpPr>
          <p:cNvPr id="26" name="Text Placeholder 9">
            <a:extLst>
              <a:ext uri="{FF2B5EF4-FFF2-40B4-BE49-F238E27FC236}">
                <a16:creationId xmlns:a16="http://schemas.microsoft.com/office/drawing/2014/main" id="{6B0284CB-4F49-F10E-B66C-A889CD0680FC}"/>
              </a:ext>
            </a:extLst>
          </p:cNvPr>
          <p:cNvSpPr>
            <a:spLocks noGrp="1"/>
          </p:cNvSpPr>
          <p:nvPr>
            <p:ph type="body" sz="quarter" idx="36" hasCustomPrompt="1"/>
          </p:nvPr>
        </p:nvSpPr>
        <p:spPr>
          <a:xfrm>
            <a:off x="8975725" y="2708369"/>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9 Avenir Pro 16pt</a:t>
            </a:r>
            <a:endParaRPr lang="en-GB"/>
          </a:p>
        </p:txBody>
      </p:sp>
      <p:sp>
        <p:nvSpPr>
          <p:cNvPr id="27" name="Text Placeholder 12">
            <a:extLst>
              <a:ext uri="{FF2B5EF4-FFF2-40B4-BE49-F238E27FC236}">
                <a16:creationId xmlns:a16="http://schemas.microsoft.com/office/drawing/2014/main" id="{17183C7B-B72F-664B-6C57-F54186596EE5}"/>
              </a:ext>
            </a:extLst>
          </p:cNvPr>
          <p:cNvSpPr>
            <a:spLocks noGrp="1"/>
          </p:cNvSpPr>
          <p:nvPr>
            <p:ph type="body" sz="quarter" idx="37" hasCustomPrompt="1"/>
          </p:nvPr>
        </p:nvSpPr>
        <p:spPr>
          <a:xfrm>
            <a:off x="8975725" y="2980625"/>
            <a:ext cx="2663825" cy="360362"/>
          </a:xfrm>
        </p:spPr>
        <p:txBody>
          <a:bodyPr/>
          <a:lstStyle>
            <a:lvl1pPr marL="0" indent="0">
              <a:buNone/>
              <a:defRPr/>
            </a:lvl1pPr>
          </a:lstStyle>
          <a:p>
            <a:pPr lvl="0"/>
            <a:r>
              <a:rPr lang="en-US"/>
              <a:t>Speaker Name 15pt</a:t>
            </a:r>
            <a:endParaRPr lang="en-GB"/>
          </a:p>
        </p:txBody>
      </p:sp>
      <p:sp>
        <p:nvSpPr>
          <p:cNvPr id="28" name="Text Placeholder 9">
            <a:extLst>
              <a:ext uri="{FF2B5EF4-FFF2-40B4-BE49-F238E27FC236}">
                <a16:creationId xmlns:a16="http://schemas.microsoft.com/office/drawing/2014/main" id="{DCABEF20-8905-AC9B-3895-64C2CF54F44E}"/>
              </a:ext>
            </a:extLst>
          </p:cNvPr>
          <p:cNvSpPr>
            <a:spLocks noGrp="1"/>
          </p:cNvSpPr>
          <p:nvPr>
            <p:ph type="body" sz="quarter" idx="38" hasCustomPrompt="1"/>
          </p:nvPr>
        </p:nvSpPr>
        <p:spPr>
          <a:xfrm>
            <a:off x="8975725" y="3609276"/>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10 Avenir Pro 16pt</a:t>
            </a:r>
            <a:endParaRPr lang="en-GB"/>
          </a:p>
        </p:txBody>
      </p:sp>
      <p:sp>
        <p:nvSpPr>
          <p:cNvPr id="29" name="Text Placeholder 12">
            <a:extLst>
              <a:ext uri="{FF2B5EF4-FFF2-40B4-BE49-F238E27FC236}">
                <a16:creationId xmlns:a16="http://schemas.microsoft.com/office/drawing/2014/main" id="{19F03FD3-2CA8-B8D3-C2B1-63B6952D3CC6}"/>
              </a:ext>
            </a:extLst>
          </p:cNvPr>
          <p:cNvSpPr>
            <a:spLocks noGrp="1"/>
          </p:cNvSpPr>
          <p:nvPr>
            <p:ph type="body" sz="quarter" idx="39" hasCustomPrompt="1"/>
          </p:nvPr>
        </p:nvSpPr>
        <p:spPr>
          <a:xfrm>
            <a:off x="8975725" y="3881532"/>
            <a:ext cx="2663825" cy="360362"/>
          </a:xfrm>
        </p:spPr>
        <p:txBody>
          <a:bodyPr/>
          <a:lstStyle>
            <a:lvl1pPr marL="0" indent="0">
              <a:buNone/>
              <a:defRPr/>
            </a:lvl1pPr>
          </a:lstStyle>
          <a:p>
            <a:pPr lvl="0"/>
            <a:r>
              <a:rPr lang="en-US"/>
              <a:t>Speaker Name 15pt</a:t>
            </a:r>
            <a:endParaRPr lang="en-GB"/>
          </a:p>
        </p:txBody>
      </p:sp>
      <p:sp>
        <p:nvSpPr>
          <p:cNvPr id="30" name="Text Placeholder 9">
            <a:extLst>
              <a:ext uri="{FF2B5EF4-FFF2-40B4-BE49-F238E27FC236}">
                <a16:creationId xmlns:a16="http://schemas.microsoft.com/office/drawing/2014/main" id="{CFAC3BA0-1BFE-BD36-97E8-7B9AFC97C5AB}"/>
              </a:ext>
            </a:extLst>
          </p:cNvPr>
          <p:cNvSpPr>
            <a:spLocks noGrp="1"/>
          </p:cNvSpPr>
          <p:nvPr>
            <p:ph type="body" sz="quarter" idx="40" hasCustomPrompt="1"/>
          </p:nvPr>
        </p:nvSpPr>
        <p:spPr>
          <a:xfrm>
            <a:off x="8975725" y="4511770"/>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11 Avenir Pro 16pt</a:t>
            </a:r>
            <a:endParaRPr lang="en-GB"/>
          </a:p>
        </p:txBody>
      </p:sp>
      <p:sp>
        <p:nvSpPr>
          <p:cNvPr id="31" name="Text Placeholder 12">
            <a:extLst>
              <a:ext uri="{FF2B5EF4-FFF2-40B4-BE49-F238E27FC236}">
                <a16:creationId xmlns:a16="http://schemas.microsoft.com/office/drawing/2014/main" id="{517A058D-52DC-2B72-8F49-AFA7235EFFA5}"/>
              </a:ext>
            </a:extLst>
          </p:cNvPr>
          <p:cNvSpPr>
            <a:spLocks noGrp="1"/>
          </p:cNvSpPr>
          <p:nvPr>
            <p:ph type="body" sz="quarter" idx="41" hasCustomPrompt="1"/>
          </p:nvPr>
        </p:nvSpPr>
        <p:spPr>
          <a:xfrm>
            <a:off x="8975725" y="4784026"/>
            <a:ext cx="2663825" cy="360362"/>
          </a:xfrm>
        </p:spPr>
        <p:txBody>
          <a:bodyPr/>
          <a:lstStyle>
            <a:lvl1pPr marL="0" indent="0">
              <a:buNone/>
              <a:defRPr/>
            </a:lvl1pPr>
          </a:lstStyle>
          <a:p>
            <a:pPr lvl="0"/>
            <a:r>
              <a:rPr lang="en-US"/>
              <a:t>Speaker Name 15pt</a:t>
            </a:r>
            <a:endParaRPr lang="en-GB"/>
          </a:p>
        </p:txBody>
      </p:sp>
      <p:sp>
        <p:nvSpPr>
          <p:cNvPr id="32" name="Text Placeholder 9">
            <a:extLst>
              <a:ext uri="{FF2B5EF4-FFF2-40B4-BE49-F238E27FC236}">
                <a16:creationId xmlns:a16="http://schemas.microsoft.com/office/drawing/2014/main" id="{565CFB2E-2B49-CF4D-BA50-38DAE20F71C0}"/>
              </a:ext>
            </a:extLst>
          </p:cNvPr>
          <p:cNvSpPr>
            <a:spLocks noGrp="1"/>
          </p:cNvSpPr>
          <p:nvPr>
            <p:ph type="body" sz="quarter" idx="42" hasCustomPrompt="1"/>
          </p:nvPr>
        </p:nvSpPr>
        <p:spPr>
          <a:xfrm>
            <a:off x="8975725" y="5409501"/>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12 Avenir Pro 16pt</a:t>
            </a:r>
            <a:endParaRPr lang="en-GB"/>
          </a:p>
        </p:txBody>
      </p:sp>
      <p:sp>
        <p:nvSpPr>
          <p:cNvPr id="33" name="Text Placeholder 12">
            <a:extLst>
              <a:ext uri="{FF2B5EF4-FFF2-40B4-BE49-F238E27FC236}">
                <a16:creationId xmlns:a16="http://schemas.microsoft.com/office/drawing/2014/main" id="{0D017032-F096-B22C-C6FA-B16A61A5A04B}"/>
              </a:ext>
            </a:extLst>
          </p:cNvPr>
          <p:cNvSpPr>
            <a:spLocks noGrp="1"/>
          </p:cNvSpPr>
          <p:nvPr>
            <p:ph type="body" sz="quarter" idx="43" hasCustomPrompt="1"/>
          </p:nvPr>
        </p:nvSpPr>
        <p:spPr>
          <a:xfrm>
            <a:off x="8975725" y="5681757"/>
            <a:ext cx="2663825" cy="360362"/>
          </a:xfrm>
        </p:spPr>
        <p:txBody>
          <a:bodyPr/>
          <a:lstStyle>
            <a:lvl1pPr marL="0" indent="0">
              <a:buNone/>
              <a:defRPr/>
            </a:lvl1pPr>
          </a:lstStyle>
          <a:p>
            <a:pPr lvl="0"/>
            <a:r>
              <a:rPr lang="en-US"/>
              <a:t>Speaker Name 15pt</a:t>
            </a:r>
            <a:endParaRPr lang="en-GB"/>
          </a:p>
        </p:txBody>
      </p:sp>
      <p:sp>
        <p:nvSpPr>
          <p:cNvPr id="3" name="Text Placeholder 12">
            <a:extLst>
              <a:ext uri="{FF2B5EF4-FFF2-40B4-BE49-F238E27FC236}">
                <a16:creationId xmlns:a16="http://schemas.microsoft.com/office/drawing/2014/main" id="{4C11C650-3EE9-B1D4-9C29-2E854BF6BDB3}"/>
              </a:ext>
            </a:extLst>
          </p:cNvPr>
          <p:cNvSpPr>
            <a:spLocks noGrp="1"/>
          </p:cNvSpPr>
          <p:nvPr>
            <p:ph type="body" sz="quarter" idx="21" hasCustomPrompt="1"/>
          </p:nvPr>
        </p:nvSpPr>
        <p:spPr>
          <a:xfrm>
            <a:off x="550864" y="908939"/>
            <a:ext cx="2808286" cy="539751"/>
          </a:xfrm>
        </p:spPr>
        <p:txBody>
          <a:bodyPr tIns="0" anchor="t" anchorCtr="0"/>
          <a:lstStyle>
            <a:lvl1pPr marL="0" indent="0" algn="l">
              <a:lnSpc>
                <a:spcPct val="85000"/>
              </a:lnSpc>
              <a:buNone/>
              <a:defRPr sz="3600" spc="0" baseline="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Agenda</a:t>
            </a:r>
          </a:p>
        </p:txBody>
      </p:sp>
    </p:spTree>
    <p:extLst>
      <p:ext uri="{BB962C8B-B14F-4D97-AF65-F5344CB8AC3E}">
        <p14:creationId xmlns:p14="http://schemas.microsoft.com/office/powerpoint/2010/main" val="3225768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rk Image - Agend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A02ADD0-9DEE-498A-A9F7-5ACF309A222A}"/>
              </a:ext>
            </a:extLst>
          </p:cNvPr>
          <p:cNvSpPr/>
          <p:nvPr userDrawn="1"/>
        </p:nvSpPr>
        <p:spPr>
          <a:xfrm>
            <a:off x="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 Placeholder 38">
            <a:extLst>
              <a:ext uri="{FF2B5EF4-FFF2-40B4-BE49-F238E27FC236}">
                <a16:creationId xmlns:a16="http://schemas.microsoft.com/office/drawing/2014/main" id="{F7A19D80-B581-99D7-F155-640B8E61F577}"/>
              </a:ext>
            </a:extLst>
          </p:cNvPr>
          <p:cNvSpPr>
            <a:spLocks noGrp="1"/>
          </p:cNvSpPr>
          <p:nvPr>
            <p:ph type="body" sz="quarter" idx="22" hasCustomPrompt="1"/>
          </p:nvPr>
        </p:nvSpPr>
        <p:spPr>
          <a:xfrm>
            <a:off x="0" y="6129338"/>
            <a:ext cx="2279650" cy="728662"/>
          </a:xfrm>
          <a:prstGeom prst="roundRect">
            <a:avLst>
              <a:gd name="adj" fmla="val 0"/>
            </a:avLst>
          </a:prstGeom>
          <a:solidFill>
            <a:schemeClr val="bg1"/>
          </a:solidFill>
        </p:spPr>
        <p:txBody>
          <a:bodyPr/>
          <a:lstStyle>
            <a:lvl1pPr marL="0" indent="0">
              <a:buNone/>
              <a:defRPr/>
            </a:lvl1pPr>
          </a:lstStyle>
          <a:p>
            <a:pPr lvl="0"/>
            <a:r>
              <a:rPr lang="en-US"/>
              <a:t> </a:t>
            </a:r>
            <a:endParaRPr lang="en-GB"/>
          </a:p>
        </p:txBody>
      </p:sp>
      <p:sp>
        <p:nvSpPr>
          <p:cNvPr id="6" name="Picture Placeholder 5">
            <a:extLst>
              <a:ext uri="{FF2B5EF4-FFF2-40B4-BE49-F238E27FC236}">
                <a16:creationId xmlns:a16="http://schemas.microsoft.com/office/drawing/2014/main" id="{CCB2AEB7-8E57-4C7C-2757-07E542DEE60C}"/>
              </a:ext>
            </a:extLst>
          </p:cNvPr>
          <p:cNvSpPr>
            <a:spLocks noGrp="1"/>
          </p:cNvSpPr>
          <p:nvPr>
            <p:ph type="pic" sz="quarter" idx="20" hasCustomPrompt="1"/>
          </p:nvPr>
        </p:nvSpPr>
        <p:spPr>
          <a:xfrm>
            <a:off x="0" y="0"/>
            <a:ext cx="4151312" cy="6858000"/>
          </a:xfrm>
          <a:custGeom>
            <a:avLst/>
            <a:gdLst>
              <a:gd name="connsiteX0" fmla="*/ 1592699 w 4151312"/>
              <a:gd name="connsiteY0" fmla="*/ 6492423 h 6858000"/>
              <a:gd name="connsiteX1" fmla="*/ 1592699 w 4151312"/>
              <a:gd name="connsiteY1" fmla="*/ 6501164 h 6858000"/>
              <a:gd name="connsiteX2" fmla="*/ 1592546 w 4151312"/>
              <a:gd name="connsiteY2" fmla="*/ 6504388 h 6858000"/>
              <a:gd name="connsiteX3" fmla="*/ 1568857 w 4151312"/>
              <a:gd name="connsiteY3" fmla="*/ 6522619 h 6858000"/>
              <a:gd name="connsiteX4" fmla="*/ 1551438 w 4151312"/>
              <a:gd name="connsiteY4" fmla="*/ 6508315 h 6858000"/>
              <a:gd name="connsiteX5" fmla="*/ 1568857 w 4151312"/>
              <a:gd name="connsiteY5" fmla="*/ 6495071 h 6858000"/>
              <a:gd name="connsiteX6" fmla="*/ 1581983 w 4151312"/>
              <a:gd name="connsiteY6" fmla="*/ 6495071 h 6858000"/>
              <a:gd name="connsiteX7" fmla="*/ 1592699 w 4151312"/>
              <a:gd name="connsiteY7" fmla="*/ 6492423 h 6858000"/>
              <a:gd name="connsiteX8" fmla="*/ 1172060 w 4151312"/>
              <a:gd name="connsiteY8" fmla="*/ 6492423 h 6858000"/>
              <a:gd name="connsiteX9" fmla="*/ 1172060 w 4151312"/>
              <a:gd name="connsiteY9" fmla="*/ 6501164 h 6858000"/>
              <a:gd name="connsiteX10" fmla="*/ 1171906 w 4151312"/>
              <a:gd name="connsiteY10" fmla="*/ 6504389 h 6858000"/>
              <a:gd name="connsiteX11" fmla="*/ 1148216 w 4151312"/>
              <a:gd name="connsiteY11" fmla="*/ 6522619 h 6858000"/>
              <a:gd name="connsiteX12" fmla="*/ 1130802 w 4151312"/>
              <a:gd name="connsiteY12" fmla="*/ 6508315 h 6858000"/>
              <a:gd name="connsiteX13" fmla="*/ 1148216 w 4151312"/>
              <a:gd name="connsiteY13" fmla="*/ 6495071 h 6858000"/>
              <a:gd name="connsiteX14" fmla="*/ 1161343 w 4151312"/>
              <a:gd name="connsiteY14" fmla="*/ 6495071 h 6858000"/>
              <a:gd name="connsiteX15" fmla="*/ 1172060 w 4151312"/>
              <a:gd name="connsiteY15" fmla="*/ 6492423 h 6858000"/>
              <a:gd name="connsiteX16" fmla="*/ 1796056 w 4151312"/>
              <a:gd name="connsiteY16" fmla="*/ 6448718 h 6858000"/>
              <a:gd name="connsiteX17" fmla="*/ 1823115 w 4151312"/>
              <a:gd name="connsiteY17" fmla="*/ 6470969 h 6858000"/>
              <a:gd name="connsiteX18" fmla="*/ 1768190 w 4151312"/>
              <a:gd name="connsiteY18" fmla="*/ 6470969 h 6858000"/>
              <a:gd name="connsiteX19" fmla="*/ 1796056 w 4151312"/>
              <a:gd name="connsiteY19" fmla="*/ 6448718 h 6858000"/>
              <a:gd name="connsiteX20" fmla="*/ 1385331 w 4151312"/>
              <a:gd name="connsiteY20" fmla="*/ 6423290 h 6858000"/>
              <a:gd name="connsiteX21" fmla="*/ 1427128 w 4151312"/>
              <a:gd name="connsiteY21" fmla="*/ 6544605 h 6858000"/>
              <a:gd name="connsiteX22" fmla="*/ 1470261 w 4151312"/>
              <a:gd name="connsiteY22" fmla="*/ 6544605 h 6858000"/>
              <a:gd name="connsiteX23" fmla="*/ 1513932 w 4151312"/>
              <a:gd name="connsiteY23" fmla="*/ 6423290 h 6858000"/>
              <a:gd name="connsiteX24" fmla="*/ 1477223 w 4151312"/>
              <a:gd name="connsiteY24" fmla="*/ 6423290 h 6858000"/>
              <a:gd name="connsiteX25" fmla="*/ 1449367 w 4151312"/>
              <a:gd name="connsiteY25" fmla="*/ 6507521 h 6858000"/>
              <a:gd name="connsiteX26" fmla="*/ 1423104 w 4151312"/>
              <a:gd name="connsiteY26" fmla="*/ 6423290 h 6858000"/>
              <a:gd name="connsiteX27" fmla="*/ 1319153 w 4151312"/>
              <a:gd name="connsiteY27" fmla="*/ 6423290 h 6858000"/>
              <a:gd name="connsiteX28" fmla="*/ 1319153 w 4151312"/>
              <a:gd name="connsiteY28" fmla="*/ 6452426 h 6858000"/>
              <a:gd name="connsiteX29" fmla="*/ 1336299 w 4151312"/>
              <a:gd name="connsiteY29" fmla="*/ 6452426 h 6858000"/>
              <a:gd name="connsiteX30" fmla="*/ 1336299 w 4151312"/>
              <a:gd name="connsiteY30" fmla="*/ 6544604 h 6858000"/>
              <a:gd name="connsiteX31" fmla="*/ 1371127 w 4151312"/>
              <a:gd name="connsiteY31" fmla="*/ 6544604 h 6858000"/>
              <a:gd name="connsiteX32" fmla="*/ 1371127 w 4151312"/>
              <a:gd name="connsiteY32" fmla="*/ 6423290 h 6858000"/>
              <a:gd name="connsiteX33" fmla="*/ 1293161 w 4151312"/>
              <a:gd name="connsiteY33" fmla="*/ 6421700 h 6858000"/>
              <a:gd name="connsiteX34" fmla="*/ 1261280 w 4151312"/>
              <a:gd name="connsiteY34" fmla="*/ 6442626 h 6858000"/>
              <a:gd name="connsiteX35" fmla="*/ 1261280 w 4151312"/>
              <a:gd name="connsiteY35" fmla="*/ 6423290 h 6858000"/>
              <a:gd name="connsiteX36" fmla="*/ 1227522 w 4151312"/>
              <a:gd name="connsiteY36" fmla="*/ 6423290 h 6858000"/>
              <a:gd name="connsiteX37" fmla="*/ 1227522 w 4151312"/>
              <a:gd name="connsiteY37" fmla="*/ 6544604 h 6858000"/>
              <a:gd name="connsiteX38" fmla="*/ 1262352 w 4151312"/>
              <a:gd name="connsiteY38" fmla="*/ 6544604 h 6858000"/>
              <a:gd name="connsiteX39" fmla="*/ 1262352 w 4151312"/>
              <a:gd name="connsiteY39" fmla="*/ 6486596 h 6858000"/>
              <a:gd name="connsiteX40" fmla="*/ 1288073 w 4151312"/>
              <a:gd name="connsiteY40" fmla="*/ 6457194 h 6858000"/>
              <a:gd name="connsiteX41" fmla="*/ 1302808 w 4151312"/>
              <a:gd name="connsiteY41" fmla="*/ 6457194 h 6858000"/>
              <a:gd name="connsiteX42" fmla="*/ 1302808 w 4151312"/>
              <a:gd name="connsiteY42" fmla="*/ 6422760 h 6858000"/>
              <a:gd name="connsiteX43" fmla="*/ 1293161 w 4151312"/>
              <a:gd name="connsiteY43" fmla="*/ 6421700 h 6858000"/>
              <a:gd name="connsiteX44" fmla="*/ 1796056 w 4151312"/>
              <a:gd name="connsiteY44" fmla="*/ 6420112 h 6858000"/>
              <a:gd name="connsiteX45" fmla="*/ 1791956 w 4151312"/>
              <a:gd name="connsiteY45" fmla="*/ 6420138 h 6858000"/>
              <a:gd name="connsiteX46" fmla="*/ 1732297 w 4151312"/>
              <a:gd name="connsiteY46" fmla="*/ 6483948 h 6858000"/>
              <a:gd name="connsiteX47" fmla="*/ 1770879 w 4151312"/>
              <a:gd name="connsiteY47" fmla="*/ 6541990 h 6858000"/>
              <a:gd name="connsiteX48" fmla="*/ 1857943 w 4151312"/>
              <a:gd name="connsiteY48" fmla="*/ 6509641 h 6858000"/>
              <a:gd name="connsiteX49" fmla="*/ 1821781 w 4151312"/>
              <a:gd name="connsiteY49" fmla="*/ 6505933 h 6858000"/>
              <a:gd name="connsiteX50" fmla="*/ 1802269 w 4151312"/>
              <a:gd name="connsiteY50" fmla="*/ 6518046 h 6858000"/>
              <a:gd name="connsiteX51" fmla="*/ 1768997 w 4151312"/>
              <a:gd name="connsiteY51" fmla="*/ 6494013 h 6858000"/>
              <a:gd name="connsiteX52" fmla="*/ 1860353 w 4151312"/>
              <a:gd name="connsiteY52" fmla="*/ 6494013 h 6858000"/>
              <a:gd name="connsiteX53" fmla="*/ 1860353 w 4151312"/>
              <a:gd name="connsiteY53" fmla="*/ 6492689 h 6858000"/>
              <a:gd name="connsiteX54" fmla="*/ 1796056 w 4151312"/>
              <a:gd name="connsiteY54" fmla="*/ 6420112 h 6858000"/>
              <a:gd name="connsiteX55" fmla="*/ 1574215 w 4151312"/>
              <a:gd name="connsiteY55" fmla="*/ 6420111 h 6858000"/>
              <a:gd name="connsiteX56" fmla="*/ 1521700 w 4151312"/>
              <a:gd name="connsiteY56" fmla="*/ 6434944 h 6858000"/>
              <a:gd name="connsiteX57" fmla="*/ 1535364 w 4151312"/>
              <a:gd name="connsiteY57" fmla="*/ 6460902 h 6858000"/>
              <a:gd name="connsiteX58" fmla="*/ 1572342 w 4151312"/>
              <a:gd name="connsiteY58" fmla="*/ 6449512 h 6858000"/>
              <a:gd name="connsiteX59" fmla="*/ 1592699 w 4151312"/>
              <a:gd name="connsiteY59" fmla="*/ 6463816 h 6858000"/>
              <a:gd name="connsiteX60" fmla="*/ 1592699 w 4151312"/>
              <a:gd name="connsiteY60" fmla="*/ 6465140 h 6858000"/>
              <a:gd name="connsiteX61" fmla="*/ 1584124 w 4151312"/>
              <a:gd name="connsiteY61" fmla="*/ 6472292 h 6858000"/>
              <a:gd name="connsiteX62" fmla="*/ 1560013 w 4151312"/>
              <a:gd name="connsiteY62" fmla="*/ 6472292 h 6858000"/>
              <a:gd name="connsiteX63" fmla="*/ 1515545 w 4151312"/>
              <a:gd name="connsiteY63" fmla="*/ 6509640 h 6858000"/>
              <a:gd name="connsiteX64" fmla="*/ 1515603 w 4151312"/>
              <a:gd name="connsiteY64" fmla="*/ 6510750 h 6858000"/>
              <a:gd name="connsiteX65" fmla="*/ 1558409 w 4151312"/>
              <a:gd name="connsiteY65" fmla="*/ 6547782 h 6858000"/>
              <a:gd name="connsiteX66" fmla="*/ 1592699 w 4151312"/>
              <a:gd name="connsiteY66" fmla="*/ 6533214 h 6858000"/>
              <a:gd name="connsiteX67" fmla="*/ 1592699 w 4151312"/>
              <a:gd name="connsiteY67" fmla="*/ 6544604 h 6858000"/>
              <a:gd name="connsiteX68" fmla="*/ 1627527 w 4151312"/>
              <a:gd name="connsiteY68" fmla="*/ 6544604 h 6858000"/>
              <a:gd name="connsiteX69" fmla="*/ 1627527 w 4151312"/>
              <a:gd name="connsiteY69" fmla="*/ 6464875 h 6858000"/>
              <a:gd name="connsiteX70" fmla="*/ 1574215 w 4151312"/>
              <a:gd name="connsiteY70" fmla="*/ 6420111 h 6858000"/>
              <a:gd name="connsiteX71" fmla="*/ 1153574 w 4151312"/>
              <a:gd name="connsiteY71" fmla="*/ 6420111 h 6858000"/>
              <a:gd name="connsiteX72" fmla="*/ 1101062 w 4151312"/>
              <a:gd name="connsiteY72" fmla="*/ 6434944 h 6858000"/>
              <a:gd name="connsiteX73" fmla="*/ 1114726 w 4151312"/>
              <a:gd name="connsiteY73" fmla="*/ 6460902 h 6858000"/>
              <a:gd name="connsiteX74" fmla="*/ 1151699 w 4151312"/>
              <a:gd name="connsiteY74" fmla="*/ 6449512 h 6858000"/>
              <a:gd name="connsiteX75" fmla="*/ 1172060 w 4151312"/>
              <a:gd name="connsiteY75" fmla="*/ 6463816 h 6858000"/>
              <a:gd name="connsiteX76" fmla="*/ 1172060 w 4151312"/>
              <a:gd name="connsiteY76" fmla="*/ 6465140 h 6858000"/>
              <a:gd name="connsiteX77" fmla="*/ 1163487 w 4151312"/>
              <a:gd name="connsiteY77" fmla="*/ 6472292 h 6858000"/>
              <a:gd name="connsiteX78" fmla="*/ 1139375 w 4151312"/>
              <a:gd name="connsiteY78" fmla="*/ 6472292 h 6858000"/>
              <a:gd name="connsiteX79" fmla="*/ 1094901 w 4151312"/>
              <a:gd name="connsiteY79" fmla="*/ 6509640 h 6858000"/>
              <a:gd name="connsiteX80" fmla="*/ 1094960 w 4151312"/>
              <a:gd name="connsiteY80" fmla="*/ 6510749 h 6858000"/>
              <a:gd name="connsiteX81" fmla="*/ 1137766 w 4151312"/>
              <a:gd name="connsiteY81" fmla="*/ 6547782 h 6858000"/>
              <a:gd name="connsiteX82" fmla="*/ 1172060 w 4151312"/>
              <a:gd name="connsiteY82" fmla="*/ 6533214 h 6858000"/>
              <a:gd name="connsiteX83" fmla="*/ 1172060 w 4151312"/>
              <a:gd name="connsiteY83" fmla="*/ 6544604 h 6858000"/>
              <a:gd name="connsiteX84" fmla="*/ 1206890 w 4151312"/>
              <a:gd name="connsiteY84" fmla="*/ 6544604 h 6858000"/>
              <a:gd name="connsiteX85" fmla="*/ 1206890 w 4151312"/>
              <a:gd name="connsiteY85" fmla="*/ 6464875 h 6858000"/>
              <a:gd name="connsiteX86" fmla="*/ 1153574 w 4151312"/>
              <a:gd name="connsiteY86" fmla="*/ 6420111 h 6858000"/>
              <a:gd name="connsiteX87" fmla="*/ 568575 w 4151312"/>
              <a:gd name="connsiteY87" fmla="*/ 6383429 h 6858000"/>
              <a:gd name="connsiteX88" fmla="*/ 568549 w 4151312"/>
              <a:gd name="connsiteY88" fmla="*/ 6520396 h 6858000"/>
              <a:gd name="connsiteX89" fmla="*/ 624511 w 4151312"/>
              <a:gd name="connsiteY89" fmla="*/ 6519097 h 6858000"/>
              <a:gd name="connsiteX90" fmla="*/ 618898 w 4151312"/>
              <a:gd name="connsiteY90" fmla="*/ 6402004 h 6858000"/>
              <a:gd name="connsiteX91" fmla="*/ 624479 w 4151312"/>
              <a:gd name="connsiteY91" fmla="*/ 6384725 h 6858000"/>
              <a:gd name="connsiteX92" fmla="*/ 568575 w 4151312"/>
              <a:gd name="connsiteY92" fmla="*/ 6383429 h 6858000"/>
              <a:gd name="connsiteX93" fmla="*/ 1659953 w 4151312"/>
              <a:gd name="connsiteY93" fmla="*/ 6377201 h 6858000"/>
              <a:gd name="connsiteX94" fmla="*/ 1659953 w 4151312"/>
              <a:gd name="connsiteY94" fmla="*/ 6423290 h 6858000"/>
              <a:gd name="connsiteX95" fmla="*/ 1640662 w 4151312"/>
              <a:gd name="connsiteY95" fmla="*/ 6423290 h 6858000"/>
              <a:gd name="connsiteX96" fmla="*/ 1640662 w 4151312"/>
              <a:gd name="connsiteY96" fmla="*/ 6452426 h 6858000"/>
              <a:gd name="connsiteX97" fmla="*/ 1659953 w 4151312"/>
              <a:gd name="connsiteY97" fmla="*/ 6452426 h 6858000"/>
              <a:gd name="connsiteX98" fmla="*/ 1659953 w 4151312"/>
              <a:gd name="connsiteY98" fmla="*/ 6518911 h 6858000"/>
              <a:gd name="connsiteX99" fmla="*/ 1695318 w 4151312"/>
              <a:gd name="connsiteY99" fmla="*/ 6546194 h 6858000"/>
              <a:gd name="connsiteX100" fmla="*/ 1722377 w 4151312"/>
              <a:gd name="connsiteY100" fmla="*/ 6544604 h 6858000"/>
              <a:gd name="connsiteX101" fmla="*/ 1722377 w 4151312"/>
              <a:gd name="connsiteY101" fmla="*/ 6515203 h 6858000"/>
              <a:gd name="connsiteX102" fmla="*/ 1706303 w 4151312"/>
              <a:gd name="connsiteY102" fmla="*/ 6515998 h 6858000"/>
              <a:gd name="connsiteX103" fmla="*/ 1694780 w 4151312"/>
              <a:gd name="connsiteY103" fmla="*/ 6507256 h 6858000"/>
              <a:gd name="connsiteX104" fmla="*/ 1694780 w 4151312"/>
              <a:gd name="connsiteY104" fmla="*/ 6452426 h 6858000"/>
              <a:gd name="connsiteX105" fmla="*/ 1721302 w 4151312"/>
              <a:gd name="connsiteY105" fmla="*/ 6452426 h 6858000"/>
              <a:gd name="connsiteX106" fmla="*/ 1721302 w 4151312"/>
              <a:gd name="connsiteY106" fmla="*/ 6423290 h 6858000"/>
              <a:gd name="connsiteX107" fmla="*/ 1694780 w 4151312"/>
              <a:gd name="connsiteY107" fmla="*/ 6423290 h 6858000"/>
              <a:gd name="connsiteX108" fmla="*/ 1694780 w 4151312"/>
              <a:gd name="connsiteY108" fmla="*/ 6377201 h 6858000"/>
              <a:gd name="connsiteX109" fmla="*/ 1884617 w 4151312"/>
              <a:gd name="connsiteY109" fmla="*/ 6359355 h 6858000"/>
              <a:gd name="connsiteX110" fmla="*/ 1884617 w 4151312"/>
              <a:gd name="connsiteY110" fmla="*/ 6392335 h 6858000"/>
              <a:gd name="connsiteX111" fmla="*/ 1893998 w 4151312"/>
              <a:gd name="connsiteY111" fmla="*/ 6392335 h 6858000"/>
              <a:gd name="connsiteX112" fmla="*/ 1893998 w 4151312"/>
              <a:gd name="connsiteY112" fmla="*/ 6373492 h 6858000"/>
              <a:gd name="connsiteX113" fmla="*/ 1898291 w 4151312"/>
              <a:gd name="connsiteY113" fmla="*/ 6385270 h 6858000"/>
              <a:gd name="connsiteX114" fmla="*/ 1905819 w 4151312"/>
              <a:gd name="connsiteY114" fmla="*/ 6385270 h 6858000"/>
              <a:gd name="connsiteX115" fmla="*/ 1910111 w 4151312"/>
              <a:gd name="connsiteY115" fmla="*/ 6373492 h 6858000"/>
              <a:gd name="connsiteX116" fmla="*/ 1910111 w 4151312"/>
              <a:gd name="connsiteY116" fmla="*/ 6392335 h 6858000"/>
              <a:gd name="connsiteX117" fmla="*/ 1919685 w 4151312"/>
              <a:gd name="connsiteY117" fmla="*/ 6392335 h 6858000"/>
              <a:gd name="connsiteX118" fmla="*/ 1919685 w 4151312"/>
              <a:gd name="connsiteY118" fmla="*/ 6359355 h 6858000"/>
              <a:gd name="connsiteX119" fmla="*/ 1907566 w 4151312"/>
              <a:gd name="connsiteY119" fmla="*/ 6359355 h 6858000"/>
              <a:gd name="connsiteX120" fmla="*/ 1902362 w 4151312"/>
              <a:gd name="connsiteY120" fmla="*/ 6373114 h 6858000"/>
              <a:gd name="connsiteX121" fmla="*/ 1897494 w 4151312"/>
              <a:gd name="connsiteY121" fmla="*/ 6359355 h 6858000"/>
              <a:gd name="connsiteX122" fmla="*/ 1850683 w 4151312"/>
              <a:gd name="connsiteY122" fmla="*/ 6359355 h 6858000"/>
              <a:gd name="connsiteX123" fmla="*/ 1850683 w 4151312"/>
              <a:gd name="connsiteY123" fmla="*/ 6367929 h 6858000"/>
              <a:gd name="connsiteX124" fmla="*/ 1860074 w 4151312"/>
              <a:gd name="connsiteY124" fmla="*/ 6367929 h 6858000"/>
              <a:gd name="connsiteX125" fmla="*/ 1860074 w 4151312"/>
              <a:gd name="connsiteY125" fmla="*/ 6392335 h 6858000"/>
              <a:gd name="connsiteX126" fmla="*/ 1869839 w 4151312"/>
              <a:gd name="connsiteY126" fmla="*/ 6392335 h 6858000"/>
              <a:gd name="connsiteX127" fmla="*/ 1869839 w 4151312"/>
              <a:gd name="connsiteY127" fmla="*/ 6367929 h 6858000"/>
              <a:gd name="connsiteX128" fmla="*/ 1879230 w 4151312"/>
              <a:gd name="connsiteY128" fmla="*/ 6367929 h 6858000"/>
              <a:gd name="connsiteX129" fmla="*/ 1879230 w 4151312"/>
              <a:gd name="connsiteY129" fmla="*/ 6359355 h 6858000"/>
              <a:gd name="connsiteX130" fmla="*/ 1352105 w 4151312"/>
              <a:gd name="connsiteY130" fmla="*/ 6359189 h 6858000"/>
              <a:gd name="connsiteX131" fmla="*/ 1329868 w 4151312"/>
              <a:gd name="connsiteY131" fmla="*/ 6381439 h 6858000"/>
              <a:gd name="connsiteX132" fmla="*/ 1352108 w 4151312"/>
              <a:gd name="connsiteY132" fmla="*/ 6403427 h 6858000"/>
              <a:gd name="connsiteX133" fmla="*/ 1374610 w 4151312"/>
              <a:gd name="connsiteY133" fmla="*/ 6381439 h 6858000"/>
              <a:gd name="connsiteX134" fmla="*/ 1374610 w 4151312"/>
              <a:gd name="connsiteY134" fmla="*/ 6381364 h 6858000"/>
              <a:gd name="connsiteX135" fmla="*/ 1352105 w 4151312"/>
              <a:gd name="connsiteY135" fmla="*/ 6359189 h 6858000"/>
              <a:gd name="connsiteX136" fmla="*/ 1041583 w 4151312"/>
              <a:gd name="connsiteY136" fmla="*/ 6359189 h 6858000"/>
              <a:gd name="connsiteX137" fmla="*/ 1041583 w 4151312"/>
              <a:gd name="connsiteY137" fmla="*/ 6544604 h 6858000"/>
              <a:gd name="connsiteX138" fmla="*/ 1076143 w 4151312"/>
              <a:gd name="connsiteY138" fmla="*/ 6544604 h 6858000"/>
              <a:gd name="connsiteX139" fmla="*/ 1076143 w 4151312"/>
              <a:gd name="connsiteY139" fmla="*/ 6359189 h 6858000"/>
              <a:gd name="connsiteX140" fmla="*/ 925239 w 4151312"/>
              <a:gd name="connsiteY140" fmla="*/ 6355990 h 6858000"/>
              <a:gd name="connsiteX141" fmla="*/ 832602 w 4151312"/>
              <a:gd name="connsiteY141" fmla="*/ 6451897 h 6858000"/>
              <a:gd name="connsiteX142" fmla="*/ 832623 w 4151312"/>
              <a:gd name="connsiteY142" fmla="*/ 6456990 h 6858000"/>
              <a:gd name="connsiteX143" fmla="*/ 930389 w 4151312"/>
              <a:gd name="connsiteY143" fmla="*/ 6547783 h 6858000"/>
              <a:gd name="connsiteX144" fmla="*/ 1022285 w 4151312"/>
              <a:gd name="connsiteY144" fmla="*/ 6478650 h 6858000"/>
              <a:gd name="connsiteX145" fmla="*/ 981294 w 4151312"/>
              <a:gd name="connsiteY145" fmla="*/ 6478650 h 6858000"/>
              <a:gd name="connsiteX146" fmla="*/ 930389 w 4151312"/>
              <a:gd name="connsiteY146" fmla="*/ 6513878 h 6858000"/>
              <a:gd name="connsiteX147" fmla="*/ 871450 w 4151312"/>
              <a:gd name="connsiteY147" fmla="*/ 6451897 h 6858000"/>
              <a:gd name="connsiteX148" fmla="*/ 930389 w 4151312"/>
              <a:gd name="connsiteY148" fmla="*/ 6389916 h 6858000"/>
              <a:gd name="connsiteX149" fmla="*/ 981294 w 4151312"/>
              <a:gd name="connsiteY149" fmla="*/ 6425144 h 6858000"/>
              <a:gd name="connsiteX150" fmla="*/ 1022285 w 4151312"/>
              <a:gd name="connsiteY150" fmla="*/ 6425144 h 6858000"/>
              <a:gd name="connsiteX151" fmla="*/ 930389 w 4151312"/>
              <a:gd name="connsiteY151" fmla="*/ 6356011 h 6858000"/>
              <a:gd name="connsiteX152" fmla="*/ 925239 w 4151312"/>
              <a:gd name="connsiteY152" fmla="*/ 6355990 h 6858000"/>
              <a:gd name="connsiteX153" fmla="*/ 651232 w 4151312"/>
              <a:gd name="connsiteY153" fmla="*/ 6336161 h 6858000"/>
              <a:gd name="connsiteX154" fmla="*/ 624479 w 4151312"/>
              <a:gd name="connsiteY154" fmla="*/ 6384726 h 6858000"/>
              <a:gd name="connsiteX155" fmla="*/ 742033 w 4151312"/>
              <a:gd name="connsiteY155" fmla="*/ 6451914 h 6858000"/>
              <a:gd name="connsiteX156" fmla="*/ 624512 w 4151312"/>
              <a:gd name="connsiteY156" fmla="*/ 6519097 h 6858000"/>
              <a:gd name="connsiteX157" fmla="*/ 651373 w 4151312"/>
              <a:gd name="connsiteY157" fmla="*/ 6567631 h 6858000"/>
              <a:gd name="connsiteX158" fmla="*/ 771228 w 4151312"/>
              <a:gd name="connsiteY158" fmla="*/ 6499136 h 6858000"/>
              <a:gd name="connsiteX159" fmla="*/ 742033 w 4151312"/>
              <a:gd name="connsiteY159" fmla="*/ 6451914 h 6858000"/>
              <a:gd name="connsiteX160" fmla="*/ 771227 w 4151312"/>
              <a:gd name="connsiteY160" fmla="*/ 6404692 h 6858000"/>
              <a:gd name="connsiteX161" fmla="*/ 651232 w 4151312"/>
              <a:gd name="connsiteY161" fmla="*/ 6336161 h 6858000"/>
              <a:gd name="connsiteX162" fmla="*/ 0 w 4151312"/>
              <a:gd name="connsiteY162" fmla="*/ 0 h 6858000"/>
              <a:gd name="connsiteX163" fmla="*/ 4151312 w 4151312"/>
              <a:gd name="connsiteY163" fmla="*/ 0 h 6858000"/>
              <a:gd name="connsiteX164" fmla="*/ 4151312 w 4151312"/>
              <a:gd name="connsiteY164" fmla="*/ 6858000 h 6858000"/>
              <a:gd name="connsiteX165" fmla="*/ 0 w 4151312"/>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4151312"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4151312" y="0"/>
                </a:lnTo>
                <a:lnTo>
                  <a:pt x="4151312"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2" name="Text Placeholder 9">
            <a:extLst>
              <a:ext uri="{FF2B5EF4-FFF2-40B4-BE49-F238E27FC236}">
                <a16:creationId xmlns:a16="http://schemas.microsoft.com/office/drawing/2014/main" id="{61C0AEEA-B845-6964-BD2E-BF0271E14F16}"/>
              </a:ext>
            </a:extLst>
          </p:cNvPr>
          <p:cNvSpPr>
            <a:spLocks noGrp="1"/>
          </p:cNvSpPr>
          <p:nvPr>
            <p:ph type="body" sz="quarter" idx="13" hasCustomPrompt="1"/>
          </p:nvPr>
        </p:nvSpPr>
        <p:spPr>
          <a:xfrm>
            <a:off x="5232400" y="908939"/>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1 avenir pro 16pt</a:t>
            </a:r>
            <a:endParaRPr lang="en-GB"/>
          </a:p>
        </p:txBody>
      </p:sp>
      <p:sp>
        <p:nvSpPr>
          <p:cNvPr id="10" name="Text Placeholder 12">
            <a:extLst>
              <a:ext uri="{FF2B5EF4-FFF2-40B4-BE49-F238E27FC236}">
                <a16:creationId xmlns:a16="http://schemas.microsoft.com/office/drawing/2014/main" id="{FD5477DB-82FD-E6A1-AE54-4CCD1272BB1B}"/>
              </a:ext>
            </a:extLst>
          </p:cNvPr>
          <p:cNvSpPr>
            <a:spLocks noGrp="1"/>
          </p:cNvSpPr>
          <p:nvPr>
            <p:ph type="body" sz="quarter" idx="15" hasCustomPrompt="1"/>
          </p:nvPr>
        </p:nvSpPr>
        <p:spPr>
          <a:xfrm>
            <a:off x="5232400" y="1181195"/>
            <a:ext cx="2663825" cy="360362"/>
          </a:xfrm>
        </p:spPr>
        <p:txBody>
          <a:bodyPr/>
          <a:lstStyle>
            <a:lvl1pPr marL="0" indent="0">
              <a:buNone/>
              <a:defRPr/>
            </a:lvl1pPr>
          </a:lstStyle>
          <a:p>
            <a:pPr lvl="0"/>
            <a:r>
              <a:rPr lang="en-US"/>
              <a:t>Speaker name 15pt</a:t>
            </a:r>
            <a:endParaRPr lang="en-GB"/>
          </a:p>
        </p:txBody>
      </p:sp>
      <p:sp>
        <p:nvSpPr>
          <p:cNvPr id="11" name="Rectangle 10">
            <a:extLst>
              <a:ext uri="{FF2B5EF4-FFF2-40B4-BE49-F238E27FC236}">
                <a16:creationId xmlns:a16="http://schemas.microsoft.com/office/drawing/2014/main" id="{AADA18F6-9B6E-469D-8086-74F1DD75B11B}"/>
              </a:ext>
            </a:extLst>
          </p:cNvPr>
          <p:cNvSpPr/>
          <p:nvPr userDrawn="1"/>
        </p:nvSpPr>
        <p:spPr>
          <a:xfrm>
            <a:off x="10848975" y="6308725"/>
            <a:ext cx="1343025" cy="549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9">
            <a:extLst>
              <a:ext uri="{FF2B5EF4-FFF2-40B4-BE49-F238E27FC236}">
                <a16:creationId xmlns:a16="http://schemas.microsoft.com/office/drawing/2014/main" id="{B1554274-B577-2134-C791-9D98E1F2A03E}"/>
              </a:ext>
            </a:extLst>
          </p:cNvPr>
          <p:cNvSpPr>
            <a:spLocks noGrp="1"/>
          </p:cNvSpPr>
          <p:nvPr>
            <p:ph type="body" sz="quarter" idx="23" hasCustomPrompt="1"/>
          </p:nvPr>
        </p:nvSpPr>
        <p:spPr>
          <a:xfrm>
            <a:off x="5232400" y="1813813"/>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2  avenir pro 16pt</a:t>
            </a:r>
            <a:endParaRPr lang="en-GB"/>
          </a:p>
        </p:txBody>
      </p:sp>
      <p:sp>
        <p:nvSpPr>
          <p:cNvPr id="13" name="Text Placeholder 12">
            <a:extLst>
              <a:ext uri="{FF2B5EF4-FFF2-40B4-BE49-F238E27FC236}">
                <a16:creationId xmlns:a16="http://schemas.microsoft.com/office/drawing/2014/main" id="{2FCEA881-9C2F-AC6E-3B16-B1A29145E90F}"/>
              </a:ext>
            </a:extLst>
          </p:cNvPr>
          <p:cNvSpPr>
            <a:spLocks noGrp="1"/>
          </p:cNvSpPr>
          <p:nvPr>
            <p:ph type="body" sz="quarter" idx="24" hasCustomPrompt="1"/>
          </p:nvPr>
        </p:nvSpPr>
        <p:spPr>
          <a:xfrm>
            <a:off x="5232400" y="2086069"/>
            <a:ext cx="2663825" cy="360362"/>
          </a:xfrm>
        </p:spPr>
        <p:txBody>
          <a:bodyPr/>
          <a:lstStyle>
            <a:lvl1pPr marL="0" indent="0">
              <a:buNone/>
              <a:defRPr/>
            </a:lvl1pPr>
          </a:lstStyle>
          <a:p>
            <a:pPr lvl="0"/>
            <a:r>
              <a:rPr lang="en-US"/>
              <a:t>Speaker name 15pt</a:t>
            </a:r>
            <a:endParaRPr lang="en-GB"/>
          </a:p>
        </p:txBody>
      </p:sp>
      <p:sp>
        <p:nvSpPr>
          <p:cNvPr id="14" name="Text Placeholder 9">
            <a:extLst>
              <a:ext uri="{FF2B5EF4-FFF2-40B4-BE49-F238E27FC236}">
                <a16:creationId xmlns:a16="http://schemas.microsoft.com/office/drawing/2014/main" id="{9893E9F5-8DE2-96ED-766C-C25917DD2383}"/>
              </a:ext>
            </a:extLst>
          </p:cNvPr>
          <p:cNvSpPr>
            <a:spLocks noGrp="1"/>
          </p:cNvSpPr>
          <p:nvPr>
            <p:ph type="body" sz="quarter" idx="25" hasCustomPrompt="1"/>
          </p:nvPr>
        </p:nvSpPr>
        <p:spPr>
          <a:xfrm>
            <a:off x="5232400" y="2708369"/>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3 avenir pro 16pt</a:t>
            </a:r>
            <a:endParaRPr lang="en-GB"/>
          </a:p>
        </p:txBody>
      </p:sp>
      <p:sp>
        <p:nvSpPr>
          <p:cNvPr id="15" name="Text Placeholder 12">
            <a:extLst>
              <a:ext uri="{FF2B5EF4-FFF2-40B4-BE49-F238E27FC236}">
                <a16:creationId xmlns:a16="http://schemas.microsoft.com/office/drawing/2014/main" id="{3F1E9894-90F0-A13F-883F-BF8DF0FBF0BF}"/>
              </a:ext>
            </a:extLst>
          </p:cNvPr>
          <p:cNvSpPr>
            <a:spLocks noGrp="1"/>
          </p:cNvSpPr>
          <p:nvPr>
            <p:ph type="body" sz="quarter" idx="26" hasCustomPrompt="1"/>
          </p:nvPr>
        </p:nvSpPr>
        <p:spPr>
          <a:xfrm>
            <a:off x="5232400" y="2980625"/>
            <a:ext cx="2663825" cy="360362"/>
          </a:xfrm>
        </p:spPr>
        <p:txBody>
          <a:bodyPr/>
          <a:lstStyle>
            <a:lvl1pPr marL="0" indent="0">
              <a:buNone/>
              <a:defRPr/>
            </a:lvl1pPr>
          </a:lstStyle>
          <a:p>
            <a:pPr lvl="0"/>
            <a:r>
              <a:rPr lang="en-US"/>
              <a:t>Speaker name 15pt</a:t>
            </a:r>
            <a:endParaRPr lang="en-GB"/>
          </a:p>
        </p:txBody>
      </p:sp>
      <p:sp>
        <p:nvSpPr>
          <p:cNvPr id="16" name="Text Placeholder 9">
            <a:extLst>
              <a:ext uri="{FF2B5EF4-FFF2-40B4-BE49-F238E27FC236}">
                <a16:creationId xmlns:a16="http://schemas.microsoft.com/office/drawing/2014/main" id="{903A62A5-634E-03D1-80A5-3E3D2D901FC9}"/>
              </a:ext>
            </a:extLst>
          </p:cNvPr>
          <p:cNvSpPr>
            <a:spLocks noGrp="1"/>
          </p:cNvSpPr>
          <p:nvPr>
            <p:ph type="body" sz="quarter" idx="27" hasCustomPrompt="1"/>
          </p:nvPr>
        </p:nvSpPr>
        <p:spPr>
          <a:xfrm>
            <a:off x="5232400" y="3609276"/>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4 avenir pro 16pt</a:t>
            </a:r>
            <a:endParaRPr lang="en-GB"/>
          </a:p>
        </p:txBody>
      </p:sp>
      <p:sp>
        <p:nvSpPr>
          <p:cNvPr id="17" name="Text Placeholder 12">
            <a:extLst>
              <a:ext uri="{FF2B5EF4-FFF2-40B4-BE49-F238E27FC236}">
                <a16:creationId xmlns:a16="http://schemas.microsoft.com/office/drawing/2014/main" id="{FB0F4B2A-9EE2-6ADF-5608-0B172C20F8F9}"/>
              </a:ext>
            </a:extLst>
          </p:cNvPr>
          <p:cNvSpPr>
            <a:spLocks noGrp="1"/>
          </p:cNvSpPr>
          <p:nvPr>
            <p:ph type="body" sz="quarter" idx="28" hasCustomPrompt="1"/>
          </p:nvPr>
        </p:nvSpPr>
        <p:spPr>
          <a:xfrm>
            <a:off x="5232400" y="3881532"/>
            <a:ext cx="2663825" cy="360362"/>
          </a:xfrm>
        </p:spPr>
        <p:txBody>
          <a:bodyPr/>
          <a:lstStyle>
            <a:lvl1pPr marL="0" indent="0">
              <a:buNone/>
              <a:defRPr/>
            </a:lvl1pPr>
          </a:lstStyle>
          <a:p>
            <a:pPr lvl="0"/>
            <a:r>
              <a:rPr lang="en-US"/>
              <a:t>Speaker name 15pt</a:t>
            </a:r>
            <a:endParaRPr lang="en-GB"/>
          </a:p>
        </p:txBody>
      </p:sp>
      <p:sp>
        <p:nvSpPr>
          <p:cNvPr id="19" name="Text Placeholder 9">
            <a:extLst>
              <a:ext uri="{FF2B5EF4-FFF2-40B4-BE49-F238E27FC236}">
                <a16:creationId xmlns:a16="http://schemas.microsoft.com/office/drawing/2014/main" id="{09F29E7C-941B-C75A-5A95-0BB7AB78FC9A}"/>
              </a:ext>
            </a:extLst>
          </p:cNvPr>
          <p:cNvSpPr>
            <a:spLocks noGrp="1"/>
          </p:cNvSpPr>
          <p:nvPr>
            <p:ph type="body" sz="quarter" idx="29" hasCustomPrompt="1"/>
          </p:nvPr>
        </p:nvSpPr>
        <p:spPr>
          <a:xfrm>
            <a:off x="5232400" y="4511770"/>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5 avenir pro 16pt</a:t>
            </a:r>
            <a:endParaRPr lang="en-GB"/>
          </a:p>
        </p:txBody>
      </p:sp>
      <p:sp>
        <p:nvSpPr>
          <p:cNvPr id="20" name="Text Placeholder 12">
            <a:extLst>
              <a:ext uri="{FF2B5EF4-FFF2-40B4-BE49-F238E27FC236}">
                <a16:creationId xmlns:a16="http://schemas.microsoft.com/office/drawing/2014/main" id="{949A5662-E9DB-9AF5-23B4-5B47F6EB594F}"/>
              </a:ext>
            </a:extLst>
          </p:cNvPr>
          <p:cNvSpPr>
            <a:spLocks noGrp="1"/>
          </p:cNvSpPr>
          <p:nvPr>
            <p:ph type="body" sz="quarter" idx="30" hasCustomPrompt="1"/>
          </p:nvPr>
        </p:nvSpPr>
        <p:spPr>
          <a:xfrm>
            <a:off x="5232400" y="4784026"/>
            <a:ext cx="2663825" cy="360362"/>
          </a:xfrm>
        </p:spPr>
        <p:txBody>
          <a:bodyPr/>
          <a:lstStyle>
            <a:lvl1pPr marL="0" indent="0">
              <a:buNone/>
              <a:defRPr/>
            </a:lvl1pPr>
          </a:lstStyle>
          <a:p>
            <a:pPr lvl="0"/>
            <a:r>
              <a:rPr lang="en-US"/>
              <a:t>Speaker name 15pt</a:t>
            </a:r>
            <a:endParaRPr lang="en-GB"/>
          </a:p>
        </p:txBody>
      </p:sp>
      <p:sp>
        <p:nvSpPr>
          <p:cNvPr id="21" name="Text Placeholder 9">
            <a:extLst>
              <a:ext uri="{FF2B5EF4-FFF2-40B4-BE49-F238E27FC236}">
                <a16:creationId xmlns:a16="http://schemas.microsoft.com/office/drawing/2014/main" id="{E25690CE-224F-00A8-746F-5EE5394A9EFD}"/>
              </a:ext>
            </a:extLst>
          </p:cNvPr>
          <p:cNvSpPr>
            <a:spLocks noGrp="1"/>
          </p:cNvSpPr>
          <p:nvPr>
            <p:ph type="body" sz="quarter" idx="31" hasCustomPrompt="1"/>
          </p:nvPr>
        </p:nvSpPr>
        <p:spPr>
          <a:xfrm>
            <a:off x="5232400" y="5409501"/>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6 avenir pro 16pt</a:t>
            </a:r>
            <a:endParaRPr lang="en-GB"/>
          </a:p>
        </p:txBody>
      </p:sp>
      <p:sp>
        <p:nvSpPr>
          <p:cNvPr id="22" name="Text Placeholder 12">
            <a:extLst>
              <a:ext uri="{FF2B5EF4-FFF2-40B4-BE49-F238E27FC236}">
                <a16:creationId xmlns:a16="http://schemas.microsoft.com/office/drawing/2014/main" id="{67DB1A79-B4D8-1F15-9341-AD5DC678D356}"/>
              </a:ext>
            </a:extLst>
          </p:cNvPr>
          <p:cNvSpPr>
            <a:spLocks noGrp="1"/>
          </p:cNvSpPr>
          <p:nvPr>
            <p:ph type="body" sz="quarter" idx="32" hasCustomPrompt="1"/>
          </p:nvPr>
        </p:nvSpPr>
        <p:spPr>
          <a:xfrm>
            <a:off x="5232400" y="5681757"/>
            <a:ext cx="2663825" cy="360362"/>
          </a:xfrm>
        </p:spPr>
        <p:txBody>
          <a:bodyPr/>
          <a:lstStyle>
            <a:lvl1pPr marL="0" indent="0">
              <a:buNone/>
              <a:defRPr/>
            </a:lvl1pPr>
          </a:lstStyle>
          <a:p>
            <a:pPr lvl="0"/>
            <a:r>
              <a:rPr lang="en-US"/>
              <a:t>Speaker name 15pt</a:t>
            </a:r>
            <a:endParaRPr lang="en-GB"/>
          </a:p>
        </p:txBody>
      </p:sp>
      <p:sp>
        <p:nvSpPr>
          <p:cNvPr id="23" name="Text Placeholder 9">
            <a:extLst>
              <a:ext uri="{FF2B5EF4-FFF2-40B4-BE49-F238E27FC236}">
                <a16:creationId xmlns:a16="http://schemas.microsoft.com/office/drawing/2014/main" id="{C8471210-7E5E-2611-978A-31DF0339AE97}"/>
              </a:ext>
            </a:extLst>
          </p:cNvPr>
          <p:cNvSpPr>
            <a:spLocks noGrp="1"/>
          </p:cNvSpPr>
          <p:nvPr>
            <p:ph type="body" sz="quarter" idx="33" hasCustomPrompt="1"/>
          </p:nvPr>
        </p:nvSpPr>
        <p:spPr>
          <a:xfrm>
            <a:off x="8975725" y="908939"/>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7 avenir pro 16pt</a:t>
            </a:r>
            <a:endParaRPr lang="en-GB"/>
          </a:p>
        </p:txBody>
      </p:sp>
      <p:sp>
        <p:nvSpPr>
          <p:cNvPr id="24" name="Text Placeholder 12">
            <a:extLst>
              <a:ext uri="{FF2B5EF4-FFF2-40B4-BE49-F238E27FC236}">
                <a16:creationId xmlns:a16="http://schemas.microsoft.com/office/drawing/2014/main" id="{C07127EC-2377-7100-E04F-67ADDB078D79}"/>
              </a:ext>
            </a:extLst>
          </p:cNvPr>
          <p:cNvSpPr>
            <a:spLocks noGrp="1"/>
          </p:cNvSpPr>
          <p:nvPr>
            <p:ph type="body" sz="quarter" idx="34" hasCustomPrompt="1"/>
          </p:nvPr>
        </p:nvSpPr>
        <p:spPr>
          <a:xfrm>
            <a:off x="8975725" y="1181195"/>
            <a:ext cx="2663825" cy="360362"/>
          </a:xfrm>
        </p:spPr>
        <p:txBody>
          <a:bodyPr/>
          <a:lstStyle>
            <a:lvl1pPr marL="0" indent="0">
              <a:buNone/>
              <a:defRPr/>
            </a:lvl1pPr>
          </a:lstStyle>
          <a:p>
            <a:pPr lvl="0"/>
            <a:r>
              <a:rPr lang="en-US"/>
              <a:t>Speaker name 15pt</a:t>
            </a:r>
            <a:endParaRPr lang="en-GB"/>
          </a:p>
        </p:txBody>
      </p:sp>
      <p:sp>
        <p:nvSpPr>
          <p:cNvPr id="25" name="Text Placeholder 9">
            <a:extLst>
              <a:ext uri="{FF2B5EF4-FFF2-40B4-BE49-F238E27FC236}">
                <a16:creationId xmlns:a16="http://schemas.microsoft.com/office/drawing/2014/main" id="{E815D68E-1CE0-2576-83D5-714D0D9D67CD}"/>
              </a:ext>
            </a:extLst>
          </p:cNvPr>
          <p:cNvSpPr>
            <a:spLocks noGrp="1"/>
          </p:cNvSpPr>
          <p:nvPr>
            <p:ph type="body" sz="quarter" idx="35" hasCustomPrompt="1"/>
          </p:nvPr>
        </p:nvSpPr>
        <p:spPr>
          <a:xfrm>
            <a:off x="8975725" y="1813813"/>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8  avenir pro 16pt</a:t>
            </a:r>
            <a:endParaRPr lang="en-GB"/>
          </a:p>
        </p:txBody>
      </p:sp>
      <p:sp>
        <p:nvSpPr>
          <p:cNvPr id="26" name="Text Placeholder 12">
            <a:extLst>
              <a:ext uri="{FF2B5EF4-FFF2-40B4-BE49-F238E27FC236}">
                <a16:creationId xmlns:a16="http://schemas.microsoft.com/office/drawing/2014/main" id="{004F5386-D368-9E36-A148-B8BB46214294}"/>
              </a:ext>
            </a:extLst>
          </p:cNvPr>
          <p:cNvSpPr>
            <a:spLocks noGrp="1"/>
          </p:cNvSpPr>
          <p:nvPr>
            <p:ph type="body" sz="quarter" idx="36" hasCustomPrompt="1"/>
          </p:nvPr>
        </p:nvSpPr>
        <p:spPr>
          <a:xfrm>
            <a:off x="8975725" y="2086069"/>
            <a:ext cx="2663825" cy="360362"/>
          </a:xfrm>
        </p:spPr>
        <p:txBody>
          <a:bodyPr/>
          <a:lstStyle>
            <a:lvl1pPr marL="0" indent="0">
              <a:buNone/>
              <a:defRPr/>
            </a:lvl1pPr>
          </a:lstStyle>
          <a:p>
            <a:pPr lvl="0"/>
            <a:r>
              <a:rPr lang="en-US"/>
              <a:t>Speaker name 15pt</a:t>
            </a:r>
            <a:endParaRPr lang="en-GB"/>
          </a:p>
        </p:txBody>
      </p:sp>
      <p:sp>
        <p:nvSpPr>
          <p:cNvPr id="27" name="Text Placeholder 9">
            <a:extLst>
              <a:ext uri="{FF2B5EF4-FFF2-40B4-BE49-F238E27FC236}">
                <a16:creationId xmlns:a16="http://schemas.microsoft.com/office/drawing/2014/main" id="{FB90B496-5EC9-35C9-C86A-E80933A78A49}"/>
              </a:ext>
            </a:extLst>
          </p:cNvPr>
          <p:cNvSpPr>
            <a:spLocks noGrp="1"/>
          </p:cNvSpPr>
          <p:nvPr>
            <p:ph type="body" sz="quarter" idx="37" hasCustomPrompt="1"/>
          </p:nvPr>
        </p:nvSpPr>
        <p:spPr>
          <a:xfrm>
            <a:off x="8975725" y="2708369"/>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9 avenir pro 16pt</a:t>
            </a:r>
            <a:endParaRPr lang="en-GB"/>
          </a:p>
        </p:txBody>
      </p:sp>
      <p:sp>
        <p:nvSpPr>
          <p:cNvPr id="28" name="Text Placeholder 12">
            <a:extLst>
              <a:ext uri="{FF2B5EF4-FFF2-40B4-BE49-F238E27FC236}">
                <a16:creationId xmlns:a16="http://schemas.microsoft.com/office/drawing/2014/main" id="{A88C0809-BDC1-5C5D-C145-C67847620FAD}"/>
              </a:ext>
            </a:extLst>
          </p:cNvPr>
          <p:cNvSpPr>
            <a:spLocks noGrp="1"/>
          </p:cNvSpPr>
          <p:nvPr>
            <p:ph type="body" sz="quarter" idx="38" hasCustomPrompt="1"/>
          </p:nvPr>
        </p:nvSpPr>
        <p:spPr>
          <a:xfrm>
            <a:off x="8975725" y="2980625"/>
            <a:ext cx="2663825" cy="360362"/>
          </a:xfrm>
        </p:spPr>
        <p:txBody>
          <a:bodyPr/>
          <a:lstStyle>
            <a:lvl1pPr marL="0" indent="0">
              <a:buNone/>
              <a:defRPr/>
            </a:lvl1pPr>
          </a:lstStyle>
          <a:p>
            <a:pPr lvl="0"/>
            <a:r>
              <a:rPr lang="en-US"/>
              <a:t>Speaker name 15pt</a:t>
            </a:r>
            <a:endParaRPr lang="en-GB"/>
          </a:p>
        </p:txBody>
      </p:sp>
      <p:sp>
        <p:nvSpPr>
          <p:cNvPr id="29" name="Text Placeholder 9">
            <a:extLst>
              <a:ext uri="{FF2B5EF4-FFF2-40B4-BE49-F238E27FC236}">
                <a16:creationId xmlns:a16="http://schemas.microsoft.com/office/drawing/2014/main" id="{DFC92DED-B248-ECFC-DCF1-7F0D4B940F73}"/>
              </a:ext>
            </a:extLst>
          </p:cNvPr>
          <p:cNvSpPr>
            <a:spLocks noGrp="1"/>
          </p:cNvSpPr>
          <p:nvPr>
            <p:ph type="body" sz="quarter" idx="39" hasCustomPrompt="1"/>
          </p:nvPr>
        </p:nvSpPr>
        <p:spPr>
          <a:xfrm>
            <a:off x="8975725" y="3609276"/>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10 avenir pro 16pt</a:t>
            </a:r>
            <a:endParaRPr lang="en-GB"/>
          </a:p>
        </p:txBody>
      </p:sp>
      <p:sp>
        <p:nvSpPr>
          <p:cNvPr id="30" name="Text Placeholder 12">
            <a:extLst>
              <a:ext uri="{FF2B5EF4-FFF2-40B4-BE49-F238E27FC236}">
                <a16:creationId xmlns:a16="http://schemas.microsoft.com/office/drawing/2014/main" id="{422024D2-C5C8-32E5-720D-D7F76F42D590}"/>
              </a:ext>
            </a:extLst>
          </p:cNvPr>
          <p:cNvSpPr>
            <a:spLocks noGrp="1"/>
          </p:cNvSpPr>
          <p:nvPr>
            <p:ph type="body" sz="quarter" idx="40" hasCustomPrompt="1"/>
          </p:nvPr>
        </p:nvSpPr>
        <p:spPr>
          <a:xfrm>
            <a:off x="8975725" y="3881532"/>
            <a:ext cx="2663825" cy="360362"/>
          </a:xfrm>
        </p:spPr>
        <p:txBody>
          <a:bodyPr/>
          <a:lstStyle>
            <a:lvl1pPr marL="0" indent="0">
              <a:buNone/>
              <a:defRPr/>
            </a:lvl1pPr>
          </a:lstStyle>
          <a:p>
            <a:pPr lvl="0"/>
            <a:r>
              <a:rPr lang="en-US"/>
              <a:t>Speaker name 15pt</a:t>
            </a:r>
            <a:endParaRPr lang="en-GB"/>
          </a:p>
        </p:txBody>
      </p:sp>
      <p:sp>
        <p:nvSpPr>
          <p:cNvPr id="31" name="Text Placeholder 9">
            <a:extLst>
              <a:ext uri="{FF2B5EF4-FFF2-40B4-BE49-F238E27FC236}">
                <a16:creationId xmlns:a16="http://schemas.microsoft.com/office/drawing/2014/main" id="{81CF6D66-5CDB-DDED-E412-73F47D2CEA87}"/>
              </a:ext>
            </a:extLst>
          </p:cNvPr>
          <p:cNvSpPr>
            <a:spLocks noGrp="1"/>
          </p:cNvSpPr>
          <p:nvPr>
            <p:ph type="body" sz="quarter" idx="41" hasCustomPrompt="1"/>
          </p:nvPr>
        </p:nvSpPr>
        <p:spPr>
          <a:xfrm>
            <a:off x="8975725" y="4511770"/>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11 avenir pro 16pt</a:t>
            </a:r>
            <a:endParaRPr lang="en-GB"/>
          </a:p>
        </p:txBody>
      </p:sp>
      <p:sp>
        <p:nvSpPr>
          <p:cNvPr id="32" name="Text Placeholder 12">
            <a:extLst>
              <a:ext uri="{FF2B5EF4-FFF2-40B4-BE49-F238E27FC236}">
                <a16:creationId xmlns:a16="http://schemas.microsoft.com/office/drawing/2014/main" id="{3EA79088-B0C8-5221-B3B7-94941F5EAFAB}"/>
              </a:ext>
            </a:extLst>
          </p:cNvPr>
          <p:cNvSpPr>
            <a:spLocks noGrp="1"/>
          </p:cNvSpPr>
          <p:nvPr>
            <p:ph type="body" sz="quarter" idx="42" hasCustomPrompt="1"/>
          </p:nvPr>
        </p:nvSpPr>
        <p:spPr>
          <a:xfrm>
            <a:off x="8975725" y="4784026"/>
            <a:ext cx="2663825" cy="360362"/>
          </a:xfrm>
        </p:spPr>
        <p:txBody>
          <a:bodyPr/>
          <a:lstStyle>
            <a:lvl1pPr marL="0" indent="0">
              <a:buNone/>
              <a:defRPr/>
            </a:lvl1pPr>
          </a:lstStyle>
          <a:p>
            <a:pPr lvl="0"/>
            <a:r>
              <a:rPr lang="en-US"/>
              <a:t>Speaker name 15pt</a:t>
            </a:r>
            <a:endParaRPr lang="en-GB"/>
          </a:p>
        </p:txBody>
      </p:sp>
      <p:sp>
        <p:nvSpPr>
          <p:cNvPr id="33" name="Text Placeholder 9">
            <a:extLst>
              <a:ext uri="{FF2B5EF4-FFF2-40B4-BE49-F238E27FC236}">
                <a16:creationId xmlns:a16="http://schemas.microsoft.com/office/drawing/2014/main" id="{2EFD3D92-4700-5758-D654-520724C3EC7F}"/>
              </a:ext>
            </a:extLst>
          </p:cNvPr>
          <p:cNvSpPr>
            <a:spLocks noGrp="1"/>
          </p:cNvSpPr>
          <p:nvPr>
            <p:ph type="body" sz="quarter" idx="43" hasCustomPrompt="1"/>
          </p:nvPr>
        </p:nvSpPr>
        <p:spPr>
          <a:xfrm>
            <a:off x="8975725" y="5409501"/>
            <a:ext cx="2663825" cy="360362"/>
          </a:xfrm>
          <a:prstGeom prst="rect">
            <a:avLst/>
          </a:prstGeom>
        </p:spPr>
        <p:txBody>
          <a:bodyPr lIns="0" tIns="0" rIns="0" bIns="0">
            <a:noAutofit/>
          </a:bodyPr>
          <a:lstStyle>
            <a:lvl1pPr marL="0" indent="0">
              <a:lnSpc>
                <a:spcPct val="90000"/>
              </a:lnSpc>
              <a:buNone/>
              <a:defRPr sz="1600">
                <a:solidFill>
                  <a:schemeClr val="accent2"/>
                </a:solidFill>
                <a:latin typeface="+mj-lt"/>
              </a:defRPr>
            </a:lvl1pPr>
          </a:lstStyle>
          <a:p>
            <a:pPr lvl="0"/>
            <a:r>
              <a:rPr lang="en-US"/>
              <a:t>Section 12 avenir pro 16pt</a:t>
            </a:r>
            <a:endParaRPr lang="en-GB"/>
          </a:p>
        </p:txBody>
      </p:sp>
      <p:sp>
        <p:nvSpPr>
          <p:cNvPr id="34" name="Text Placeholder 12">
            <a:extLst>
              <a:ext uri="{FF2B5EF4-FFF2-40B4-BE49-F238E27FC236}">
                <a16:creationId xmlns:a16="http://schemas.microsoft.com/office/drawing/2014/main" id="{965B4BE6-2135-9654-00F7-5F3CF8F789BD}"/>
              </a:ext>
            </a:extLst>
          </p:cNvPr>
          <p:cNvSpPr>
            <a:spLocks noGrp="1"/>
          </p:cNvSpPr>
          <p:nvPr>
            <p:ph type="body" sz="quarter" idx="44" hasCustomPrompt="1"/>
          </p:nvPr>
        </p:nvSpPr>
        <p:spPr>
          <a:xfrm>
            <a:off x="8975725" y="5681757"/>
            <a:ext cx="2663825" cy="360362"/>
          </a:xfrm>
        </p:spPr>
        <p:txBody>
          <a:bodyPr/>
          <a:lstStyle>
            <a:lvl1pPr marL="0" indent="0">
              <a:buNone/>
              <a:defRPr/>
            </a:lvl1pPr>
          </a:lstStyle>
          <a:p>
            <a:pPr lvl="0"/>
            <a:r>
              <a:rPr lang="en-US"/>
              <a:t>Speaker name 15pt</a:t>
            </a:r>
            <a:endParaRPr lang="en-GB"/>
          </a:p>
        </p:txBody>
      </p:sp>
      <p:sp>
        <p:nvSpPr>
          <p:cNvPr id="3" name="Text Placeholder 12">
            <a:extLst>
              <a:ext uri="{FF2B5EF4-FFF2-40B4-BE49-F238E27FC236}">
                <a16:creationId xmlns:a16="http://schemas.microsoft.com/office/drawing/2014/main" id="{52A5910F-1B7D-5878-9532-2B9886165333}"/>
              </a:ext>
            </a:extLst>
          </p:cNvPr>
          <p:cNvSpPr>
            <a:spLocks noGrp="1"/>
          </p:cNvSpPr>
          <p:nvPr>
            <p:ph type="body" sz="quarter" idx="21" hasCustomPrompt="1"/>
          </p:nvPr>
        </p:nvSpPr>
        <p:spPr>
          <a:xfrm>
            <a:off x="550864" y="908939"/>
            <a:ext cx="2808286" cy="539751"/>
          </a:xfrm>
        </p:spPr>
        <p:txBody>
          <a:bodyPr tIns="0" anchor="t" anchorCtr="0"/>
          <a:lstStyle>
            <a:lvl1pPr marL="0" indent="0" algn="l">
              <a:lnSpc>
                <a:spcPct val="85000"/>
              </a:lnSpc>
              <a:buNone/>
              <a:defRPr sz="3600" spc="0" baseline="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Agenda</a:t>
            </a:r>
          </a:p>
        </p:txBody>
      </p:sp>
    </p:spTree>
    <p:extLst>
      <p:ext uri="{BB962C8B-B14F-4D97-AF65-F5344CB8AC3E}">
        <p14:creationId xmlns:p14="http://schemas.microsoft.com/office/powerpoint/2010/main" val="42817572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ark Image - Agenda">
    <p:bg>
      <p:bgPr>
        <a:solidFill>
          <a:schemeClr val="tx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60A8DC2-35E5-122C-4093-0CB894A5D697}"/>
              </a:ext>
            </a:extLst>
          </p:cNvPr>
          <p:cNvSpPr>
            <a:spLocks noGrp="1"/>
          </p:cNvSpPr>
          <p:nvPr>
            <p:ph type="pic" sz="quarter" idx="20" hasCustomPrompt="1"/>
          </p:nvPr>
        </p:nvSpPr>
        <p:spPr>
          <a:xfrm>
            <a:off x="0" y="0"/>
            <a:ext cx="4151312" cy="6858000"/>
          </a:xfrm>
          <a:custGeom>
            <a:avLst/>
            <a:gdLst>
              <a:gd name="connsiteX0" fmla="*/ 1592699 w 4151312"/>
              <a:gd name="connsiteY0" fmla="*/ 6492423 h 6858000"/>
              <a:gd name="connsiteX1" fmla="*/ 1592699 w 4151312"/>
              <a:gd name="connsiteY1" fmla="*/ 6501164 h 6858000"/>
              <a:gd name="connsiteX2" fmla="*/ 1592546 w 4151312"/>
              <a:gd name="connsiteY2" fmla="*/ 6504388 h 6858000"/>
              <a:gd name="connsiteX3" fmla="*/ 1568857 w 4151312"/>
              <a:gd name="connsiteY3" fmla="*/ 6522619 h 6858000"/>
              <a:gd name="connsiteX4" fmla="*/ 1551438 w 4151312"/>
              <a:gd name="connsiteY4" fmla="*/ 6508315 h 6858000"/>
              <a:gd name="connsiteX5" fmla="*/ 1568857 w 4151312"/>
              <a:gd name="connsiteY5" fmla="*/ 6495071 h 6858000"/>
              <a:gd name="connsiteX6" fmla="*/ 1581983 w 4151312"/>
              <a:gd name="connsiteY6" fmla="*/ 6495071 h 6858000"/>
              <a:gd name="connsiteX7" fmla="*/ 1592699 w 4151312"/>
              <a:gd name="connsiteY7" fmla="*/ 6492423 h 6858000"/>
              <a:gd name="connsiteX8" fmla="*/ 1172060 w 4151312"/>
              <a:gd name="connsiteY8" fmla="*/ 6492423 h 6858000"/>
              <a:gd name="connsiteX9" fmla="*/ 1172060 w 4151312"/>
              <a:gd name="connsiteY9" fmla="*/ 6501164 h 6858000"/>
              <a:gd name="connsiteX10" fmla="*/ 1171906 w 4151312"/>
              <a:gd name="connsiteY10" fmla="*/ 6504389 h 6858000"/>
              <a:gd name="connsiteX11" fmla="*/ 1148216 w 4151312"/>
              <a:gd name="connsiteY11" fmla="*/ 6522619 h 6858000"/>
              <a:gd name="connsiteX12" fmla="*/ 1130802 w 4151312"/>
              <a:gd name="connsiteY12" fmla="*/ 6508315 h 6858000"/>
              <a:gd name="connsiteX13" fmla="*/ 1148216 w 4151312"/>
              <a:gd name="connsiteY13" fmla="*/ 6495071 h 6858000"/>
              <a:gd name="connsiteX14" fmla="*/ 1161343 w 4151312"/>
              <a:gd name="connsiteY14" fmla="*/ 6495071 h 6858000"/>
              <a:gd name="connsiteX15" fmla="*/ 1172060 w 4151312"/>
              <a:gd name="connsiteY15" fmla="*/ 6492423 h 6858000"/>
              <a:gd name="connsiteX16" fmla="*/ 1796056 w 4151312"/>
              <a:gd name="connsiteY16" fmla="*/ 6448718 h 6858000"/>
              <a:gd name="connsiteX17" fmla="*/ 1823115 w 4151312"/>
              <a:gd name="connsiteY17" fmla="*/ 6470969 h 6858000"/>
              <a:gd name="connsiteX18" fmla="*/ 1768190 w 4151312"/>
              <a:gd name="connsiteY18" fmla="*/ 6470969 h 6858000"/>
              <a:gd name="connsiteX19" fmla="*/ 1796056 w 4151312"/>
              <a:gd name="connsiteY19" fmla="*/ 6448718 h 6858000"/>
              <a:gd name="connsiteX20" fmla="*/ 1385331 w 4151312"/>
              <a:gd name="connsiteY20" fmla="*/ 6423290 h 6858000"/>
              <a:gd name="connsiteX21" fmla="*/ 1427128 w 4151312"/>
              <a:gd name="connsiteY21" fmla="*/ 6544605 h 6858000"/>
              <a:gd name="connsiteX22" fmla="*/ 1470261 w 4151312"/>
              <a:gd name="connsiteY22" fmla="*/ 6544605 h 6858000"/>
              <a:gd name="connsiteX23" fmla="*/ 1513932 w 4151312"/>
              <a:gd name="connsiteY23" fmla="*/ 6423290 h 6858000"/>
              <a:gd name="connsiteX24" fmla="*/ 1477223 w 4151312"/>
              <a:gd name="connsiteY24" fmla="*/ 6423290 h 6858000"/>
              <a:gd name="connsiteX25" fmla="*/ 1449367 w 4151312"/>
              <a:gd name="connsiteY25" fmla="*/ 6507521 h 6858000"/>
              <a:gd name="connsiteX26" fmla="*/ 1423104 w 4151312"/>
              <a:gd name="connsiteY26" fmla="*/ 6423290 h 6858000"/>
              <a:gd name="connsiteX27" fmla="*/ 1319153 w 4151312"/>
              <a:gd name="connsiteY27" fmla="*/ 6423290 h 6858000"/>
              <a:gd name="connsiteX28" fmla="*/ 1319153 w 4151312"/>
              <a:gd name="connsiteY28" fmla="*/ 6452426 h 6858000"/>
              <a:gd name="connsiteX29" fmla="*/ 1336299 w 4151312"/>
              <a:gd name="connsiteY29" fmla="*/ 6452426 h 6858000"/>
              <a:gd name="connsiteX30" fmla="*/ 1336299 w 4151312"/>
              <a:gd name="connsiteY30" fmla="*/ 6544604 h 6858000"/>
              <a:gd name="connsiteX31" fmla="*/ 1371127 w 4151312"/>
              <a:gd name="connsiteY31" fmla="*/ 6544604 h 6858000"/>
              <a:gd name="connsiteX32" fmla="*/ 1371127 w 4151312"/>
              <a:gd name="connsiteY32" fmla="*/ 6423290 h 6858000"/>
              <a:gd name="connsiteX33" fmla="*/ 1293161 w 4151312"/>
              <a:gd name="connsiteY33" fmla="*/ 6421700 h 6858000"/>
              <a:gd name="connsiteX34" fmla="*/ 1261280 w 4151312"/>
              <a:gd name="connsiteY34" fmla="*/ 6442626 h 6858000"/>
              <a:gd name="connsiteX35" fmla="*/ 1261280 w 4151312"/>
              <a:gd name="connsiteY35" fmla="*/ 6423290 h 6858000"/>
              <a:gd name="connsiteX36" fmla="*/ 1227522 w 4151312"/>
              <a:gd name="connsiteY36" fmla="*/ 6423290 h 6858000"/>
              <a:gd name="connsiteX37" fmla="*/ 1227522 w 4151312"/>
              <a:gd name="connsiteY37" fmla="*/ 6544604 h 6858000"/>
              <a:gd name="connsiteX38" fmla="*/ 1262352 w 4151312"/>
              <a:gd name="connsiteY38" fmla="*/ 6544604 h 6858000"/>
              <a:gd name="connsiteX39" fmla="*/ 1262352 w 4151312"/>
              <a:gd name="connsiteY39" fmla="*/ 6486596 h 6858000"/>
              <a:gd name="connsiteX40" fmla="*/ 1288073 w 4151312"/>
              <a:gd name="connsiteY40" fmla="*/ 6457194 h 6858000"/>
              <a:gd name="connsiteX41" fmla="*/ 1302808 w 4151312"/>
              <a:gd name="connsiteY41" fmla="*/ 6457194 h 6858000"/>
              <a:gd name="connsiteX42" fmla="*/ 1302808 w 4151312"/>
              <a:gd name="connsiteY42" fmla="*/ 6422760 h 6858000"/>
              <a:gd name="connsiteX43" fmla="*/ 1293161 w 4151312"/>
              <a:gd name="connsiteY43" fmla="*/ 6421700 h 6858000"/>
              <a:gd name="connsiteX44" fmla="*/ 1796056 w 4151312"/>
              <a:gd name="connsiteY44" fmla="*/ 6420112 h 6858000"/>
              <a:gd name="connsiteX45" fmla="*/ 1791956 w 4151312"/>
              <a:gd name="connsiteY45" fmla="*/ 6420138 h 6858000"/>
              <a:gd name="connsiteX46" fmla="*/ 1732297 w 4151312"/>
              <a:gd name="connsiteY46" fmla="*/ 6483948 h 6858000"/>
              <a:gd name="connsiteX47" fmla="*/ 1770879 w 4151312"/>
              <a:gd name="connsiteY47" fmla="*/ 6541990 h 6858000"/>
              <a:gd name="connsiteX48" fmla="*/ 1857943 w 4151312"/>
              <a:gd name="connsiteY48" fmla="*/ 6509641 h 6858000"/>
              <a:gd name="connsiteX49" fmla="*/ 1821781 w 4151312"/>
              <a:gd name="connsiteY49" fmla="*/ 6505933 h 6858000"/>
              <a:gd name="connsiteX50" fmla="*/ 1802269 w 4151312"/>
              <a:gd name="connsiteY50" fmla="*/ 6518046 h 6858000"/>
              <a:gd name="connsiteX51" fmla="*/ 1768997 w 4151312"/>
              <a:gd name="connsiteY51" fmla="*/ 6494013 h 6858000"/>
              <a:gd name="connsiteX52" fmla="*/ 1860353 w 4151312"/>
              <a:gd name="connsiteY52" fmla="*/ 6494013 h 6858000"/>
              <a:gd name="connsiteX53" fmla="*/ 1860353 w 4151312"/>
              <a:gd name="connsiteY53" fmla="*/ 6492689 h 6858000"/>
              <a:gd name="connsiteX54" fmla="*/ 1796056 w 4151312"/>
              <a:gd name="connsiteY54" fmla="*/ 6420112 h 6858000"/>
              <a:gd name="connsiteX55" fmla="*/ 1574215 w 4151312"/>
              <a:gd name="connsiteY55" fmla="*/ 6420111 h 6858000"/>
              <a:gd name="connsiteX56" fmla="*/ 1521700 w 4151312"/>
              <a:gd name="connsiteY56" fmla="*/ 6434944 h 6858000"/>
              <a:gd name="connsiteX57" fmla="*/ 1535364 w 4151312"/>
              <a:gd name="connsiteY57" fmla="*/ 6460902 h 6858000"/>
              <a:gd name="connsiteX58" fmla="*/ 1572342 w 4151312"/>
              <a:gd name="connsiteY58" fmla="*/ 6449512 h 6858000"/>
              <a:gd name="connsiteX59" fmla="*/ 1592699 w 4151312"/>
              <a:gd name="connsiteY59" fmla="*/ 6463816 h 6858000"/>
              <a:gd name="connsiteX60" fmla="*/ 1592699 w 4151312"/>
              <a:gd name="connsiteY60" fmla="*/ 6465140 h 6858000"/>
              <a:gd name="connsiteX61" fmla="*/ 1584124 w 4151312"/>
              <a:gd name="connsiteY61" fmla="*/ 6472292 h 6858000"/>
              <a:gd name="connsiteX62" fmla="*/ 1560013 w 4151312"/>
              <a:gd name="connsiteY62" fmla="*/ 6472292 h 6858000"/>
              <a:gd name="connsiteX63" fmla="*/ 1515545 w 4151312"/>
              <a:gd name="connsiteY63" fmla="*/ 6509640 h 6858000"/>
              <a:gd name="connsiteX64" fmla="*/ 1515603 w 4151312"/>
              <a:gd name="connsiteY64" fmla="*/ 6510750 h 6858000"/>
              <a:gd name="connsiteX65" fmla="*/ 1558409 w 4151312"/>
              <a:gd name="connsiteY65" fmla="*/ 6547782 h 6858000"/>
              <a:gd name="connsiteX66" fmla="*/ 1592699 w 4151312"/>
              <a:gd name="connsiteY66" fmla="*/ 6533214 h 6858000"/>
              <a:gd name="connsiteX67" fmla="*/ 1592699 w 4151312"/>
              <a:gd name="connsiteY67" fmla="*/ 6544604 h 6858000"/>
              <a:gd name="connsiteX68" fmla="*/ 1627527 w 4151312"/>
              <a:gd name="connsiteY68" fmla="*/ 6544604 h 6858000"/>
              <a:gd name="connsiteX69" fmla="*/ 1627527 w 4151312"/>
              <a:gd name="connsiteY69" fmla="*/ 6464875 h 6858000"/>
              <a:gd name="connsiteX70" fmla="*/ 1574215 w 4151312"/>
              <a:gd name="connsiteY70" fmla="*/ 6420111 h 6858000"/>
              <a:gd name="connsiteX71" fmla="*/ 1153574 w 4151312"/>
              <a:gd name="connsiteY71" fmla="*/ 6420111 h 6858000"/>
              <a:gd name="connsiteX72" fmla="*/ 1101062 w 4151312"/>
              <a:gd name="connsiteY72" fmla="*/ 6434944 h 6858000"/>
              <a:gd name="connsiteX73" fmla="*/ 1114726 w 4151312"/>
              <a:gd name="connsiteY73" fmla="*/ 6460902 h 6858000"/>
              <a:gd name="connsiteX74" fmla="*/ 1151699 w 4151312"/>
              <a:gd name="connsiteY74" fmla="*/ 6449512 h 6858000"/>
              <a:gd name="connsiteX75" fmla="*/ 1172060 w 4151312"/>
              <a:gd name="connsiteY75" fmla="*/ 6463816 h 6858000"/>
              <a:gd name="connsiteX76" fmla="*/ 1172060 w 4151312"/>
              <a:gd name="connsiteY76" fmla="*/ 6465140 h 6858000"/>
              <a:gd name="connsiteX77" fmla="*/ 1163487 w 4151312"/>
              <a:gd name="connsiteY77" fmla="*/ 6472292 h 6858000"/>
              <a:gd name="connsiteX78" fmla="*/ 1139375 w 4151312"/>
              <a:gd name="connsiteY78" fmla="*/ 6472292 h 6858000"/>
              <a:gd name="connsiteX79" fmla="*/ 1094901 w 4151312"/>
              <a:gd name="connsiteY79" fmla="*/ 6509640 h 6858000"/>
              <a:gd name="connsiteX80" fmla="*/ 1094960 w 4151312"/>
              <a:gd name="connsiteY80" fmla="*/ 6510749 h 6858000"/>
              <a:gd name="connsiteX81" fmla="*/ 1137766 w 4151312"/>
              <a:gd name="connsiteY81" fmla="*/ 6547782 h 6858000"/>
              <a:gd name="connsiteX82" fmla="*/ 1172060 w 4151312"/>
              <a:gd name="connsiteY82" fmla="*/ 6533214 h 6858000"/>
              <a:gd name="connsiteX83" fmla="*/ 1172060 w 4151312"/>
              <a:gd name="connsiteY83" fmla="*/ 6544604 h 6858000"/>
              <a:gd name="connsiteX84" fmla="*/ 1206890 w 4151312"/>
              <a:gd name="connsiteY84" fmla="*/ 6544604 h 6858000"/>
              <a:gd name="connsiteX85" fmla="*/ 1206890 w 4151312"/>
              <a:gd name="connsiteY85" fmla="*/ 6464875 h 6858000"/>
              <a:gd name="connsiteX86" fmla="*/ 1153574 w 4151312"/>
              <a:gd name="connsiteY86" fmla="*/ 6420111 h 6858000"/>
              <a:gd name="connsiteX87" fmla="*/ 568575 w 4151312"/>
              <a:gd name="connsiteY87" fmla="*/ 6383429 h 6858000"/>
              <a:gd name="connsiteX88" fmla="*/ 568549 w 4151312"/>
              <a:gd name="connsiteY88" fmla="*/ 6520396 h 6858000"/>
              <a:gd name="connsiteX89" fmla="*/ 624511 w 4151312"/>
              <a:gd name="connsiteY89" fmla="*/ 6519097 h 6858000"/>
              <a:gd name="connsiteX90" fmla="*/ 618898 w 4151312"/>
              <a:gd name="connsiteY90" fmla="*/ 6402004 h 6858000"/>
              <a:gd name="connsiteX91" fmla="*/ 624479 w 4151312"/>
              <a:gd name="connsiteY91" fmla="*/ 6384725 h 6858000"/>
              <a:gd name="connsiteX92" fmla="*/ 568575 w 4151312"/>
              <a:gd name="connsiteY92" fmla="*/ 6383429 h 6858000"/>
              <a:gd name="connsiteX93" fmla="*/ 1659953 w 4151312"/>
              <a:gd name="connsiteY93" fmla="*/ 6377201 h 6858000"/>
              <a:gd name="connsiteX94" fmla="*/ 1659953 w 4151312"/>
              <a:gd name="connsiteY94" fmla="*/ 6423290 h 6858000"/>
              <a:gd name="connsiteX95" fmla="*/ 1640662 w 4151312"/>
              <a:gd name="connsiteY95" fmla="*/ 6423290 h 6858000"/>
              <a:gd name="connsiteX96" fmla="*/ 1640662 w 4151312"/>
              <a:gd name="connsiteY96" fmla="*/ 6452426 h 6858000"/>
              <a:gd name="connsiteX97" fmla="*/ 1659953 w 4151312"/>
              <a:gd name="connsiteY97" fmla="*/ 6452426 h 6858000"/>
              <a:gd name="connsiteX98" fmla="*/ 1659953 w 4151312"/>
              <a:gd name="connsiteY98" fmla="*/ 6518911 h 6858000"/>
              <a:gd name="connsiteX99" fmla="*/ 1695318 w 4151312"/>
              <a:gd name="connsiteY99" fmla="*/ 6546194 h 6858000"/>
              <a:gd name="connsiteX100" fmla="*/ 1722377 w 4151312"/>
              <a:gd name="connsiteY100" fmla="*/ 6544604 h 6858000"/>
              <a:gd name="connsiteX101" fmla="*/ 1722377 w 4151312"/>
              <a:gd name="connsiteY101" fmla="*/ 6515203 h 6858000"/>
              <a:gd name="connsiteX102" fmla="*/ 1706303 w 4151312"/>
              <a:gd name="connsiteY102" fmla="*/ 6515998 h 6858000"/>
              <a:gd name="connsiteX103" fmla="*/ 1694780 w 4151312"/>
              <a:gd name="connsiteY103" fmla="*/ 6507256 h 6858000"/>
              <a:gd name="connsiteX104" fmla="*/ 1694780 w 4151312"/>
              <a:gd name="connsiteY104" fmla="*/ 6452426 h 6858000"/>
              <a:gd name="connsiteX105" fmla="*/ 1721302 w 4151312"/>
              <a:gd name="connsiteY105" fmla="*/ 6452426 h 6858000"/>
              <a:gd name="connsiteX106" fmla="*/ 1721302 w 4151312"/>
              <a:gd name="connsiteY106" fmla="*/ 6423290 h 6858000"/>
              <a:gd name="connsiteX107" fmla="*/ 1694780 w 4151312"/>
              <a:gd name="connsiteY107" fmla="*/ 6423290 h 6858000"/>
              <a:gd name="connsiteX108" fmla="*/ 1694780 w 4151312"/>
              <a:gd name="connsiteY108" fmla="*/ 6377201 h 6858000"/>
              <a:gd name="connsiteX109" fmla="*/ 1884617 w 4151312"/>
              <a:gd name="connsiteY109" fmla="*/ 6359355 h 6858000"/>
              <a:gd name="connsiteX110" fmla="*/ 1884617 w 4151312"/>
              <a:gd name="connsiteY110" fmla="*/ 6392335 h 6858000"/>
              <a:gd name="connsiteX111" fmla="*/ 1893998 w 4151312"/>
              <a:gd name="connsiteY111" fmla="*/ 6392335 h 6858000"/>
              <a:gd name="connsiteX112" fmla="*/ 1893998 w 4151312"/>
              <a:gd name="connsiteY112" fmla="*/ 6373492 h 6858000"/>
              <a:gd name="connsiteX113" fmla="*/ 1898291 w 4151312"/>
              <a:gd name="connsiteY113" fmla="*/ 6385270 h 6858000"/>
              <a:gd name="connsiteX114" fmla="*/ 1905819 w 4151312"/>
              <a:gd name="connsiteY114" fmla="*/ 6385270 h 6858000"/>
              <a:gd name="connsiteX115" fmla="*/ 1910111 w 4151312"/>
              <a:gd name="connsiteY115" fmla="*/ 6373492 h 6858000"/>
              <a:gd name="connsiteX116" fmla="*/ 1910111 w 4151312"/>
              <a:gd name="connsiteY116" fmla="*/ 6392335 h 6858000"/>
              <a:gd name="connsiteX117" fmla="*/ 1919685 w 4151312"/>
              <a:gd name="connsiteY117" fmla="*/ 6392335 h 6858000"/>
              <a:gd name="connsiteX118" fmla="*/ 1919685 w 4151312"/>
              <a:gd name="connsiteY118" fmla="*/ 6359355 h 6858000"/>
              <a:gd name="connsiteX119" fmla="*/ 1907566 w 4151312"/>
              <a:gd name="connsiteY119" fmla="*/ 6359355 h 6858000"/>
              <a:gd name="connsiteX120" fmla="*/ 1902362 w 4151312"/>
              <a:gd name="connsiteY120" fmla="*/ 6373114 h 6858000"/>
              <a:gd name="connsiteX121" fmla="*/ 1897494 w 4151312"/>
              <a:gd name="connsiteY121" fmla="*/ 6359355 h 6858000"/>
              <a:gd name="connsiteX122" fmla="*/ 1850683 w 4151312"/>
              <a:gd name="connsiteY122" fmla="*/ 6359355 h 6858000"/>
              <a:gd name="connsiteX123" fmla="*/ 1850683 w 4151312"/>
              <a:gd name="connsiteY123" fmla="*/ 6367929 h 6858000"/>
              <a:gd name="connsiteX124" fmla="*/ 1860074 w 4151312"/>
              <a:gd name="connsiteY124" fmla="*/ 6367929 h 6858000"/>
              <a:gd name="connsiteX125" fmla="*/ 1860074 w 4151312"/>
              <a:gd name="connsiteY125" fmla="*/ 6392335 h 6858000"/>
              <a:gd name="connsiteX126" fmla="*/ 1869839 w 4151312"/>
              <a:gd name="connsiteY126" fmla="*/ 6392335 h 6858000"/>
              <a:gd name="connsiteX127" fmla="*/ 1869839 w 4151312"/>
              <a:gd name="connsiteY127" fmla="*/ 6367929 h 6858000"/>
              <a:gd name="connsiteX128" fmla="*/ 1879230 w 4151312"/>
              <a:gd name="connsiteY128" fmla="*/ 6367929 h 6858000"/>
              <a:gd name="connsiteX129" fmla="*/ 1879230 w 4151312"/>
              <a:gd name="connsiteY129" fmla="*/ 6359355 h 6858000"/>
              <a:gd name="connsiteX130" fmla="*/ 1352105 w 4151312"/>
              <a:gd name="connsiteY130" fmla="*/ 6359189 h 6858000"/>
              <a:gd name="connsiteX131" fmla="*/ 1329868 w 4151312"/>
              <a:gd name="connsiteY131" fmla="*/ 6381439 h 6858000"/>
              <a:gd name="connsiteX132" fmla="*/ 1352108 w 4151312"/>
              <a:gd name="connsiteY132" fmla="*/ 6403427 h 6858000"/>
              <a:gd name="connsiteX133" fmla="*/ 1374610 w 4151312"/>
              <a:gd name="connsiteY133" fmla="*/ 6381439 h 6858000"/>
              <a:gd name="connsiteX134" fmla="*/ 1374610 w 4151312"/>
              <a:gd name="connsiteY134" fmla="*/ 6381364 h 6858000"/>
              <a:gd name="connsiteX135" fmla="*/ 1352105 w 4151312"/>
              <a:gd name="connsiteY135" fmla="*/ 6359189 h 6858000"/>
              <a:gd name="connsiteX136" fmla="*/ 1041583 w 4151312"/>
              <a:gd name="connsiteY136" fmla="*/ 6359189 h 6858000"/>
              <a:gd name="connsiteX137" fmla="*/ 1041583 w 4151312"/>
              <a:gd name="connsiteY137" fmla="*/ 6544604 h 6858000"/>
              <a:gd name="connsiteX138" fmla="*/ 1076143 w 4151312"/>
              <a:gd name="connsiteY138" fmla="*/ 6544604 h 6858000"/>
              <a:gd name="connsiteX139" fmla="*/ 1076143 w 4151312"/>
              <a:gd name="connsiteY139" fmla="*/ 6359189 h 6858000"/>
              <a:gd name="connsiteX140" fmla="*/ 925239 w 4151312"/>
              <a:gd name="connsiteY140" fmla="*/ 6355990 h 6858000"/>
              <a:gd name="connsiteX141" fmla="*/ 832602 w 4151312"/>
              <a:gd name="connsiteY141" fmla="*/ 6451897 h 6858000"/>
              <a:gd name="connsiteX142" fmla="*/ 832623 w 4151312"/>
              <a:gd name="connsiteY142" fmla="*/ 6456990 h 6858000"/>
              <a:gd name="connsiteX143" fmla="*/ 930389 w 4151312"/>
              <a:gd name="connsiteY143" fmla="*/ 6547783 h 6858000"/>
              <a:gd name="connsiteX144" fmla="*/ 1022285 w 4151312"/>
              <a:gd name="connsiteY144" fmla="*/ 6478650 h 6858000"/>
              <a:gd name="connsiteX145" fmla="*/ 981294 w 4151312"/>
              <a:gd name="connsiteY145" fmla="*/ 6478650 h 6858000"/>
              <a:gd name="connsiteX146" fmla="*/ 930389 w 4151312"/>
              <a:gd name="connsiteY146" fmla="*/ 6513878 h 6858000"/>
              <a:gd name="connsiteX147" fmla="*/ 871450 w 4151312"/>
              <a:gd name="connsiteY147" fmla="*/ 6451897 h 6858000"/>
              <a:gd name="connsiteX148" fmla="*/ 930389 w 4151312"/>
              <a:gd name="connsiteY148" fmla="*/ 6389916 h 6858000"/>
              <a:gd name="connsiteX149" fmla="*/ 981294 w 4151312"/>
              <a:gd name="connsiteY149" fmla="*/ 6425144 h 6858000"/>
              <a:gd name="connsiteX150" fmla="*/ 1022285 w 4151312"/>
              <a:gd name="connsiteY150" fmla="*/ 6425144 h 6858000"/>
              <a:gd name="connsiteX151" fmla="*/ 930389 w 4151312"/>
              <a:gd name="connsiteY151" fmla="*/ 6356011 h 6858000"/>
              <a:gd name="connsiteX152" fmla="*/ 925239 w 4151312"/>
              <a:gd name="connsiteY152" fmla="*/ 6355990 h 6858000"/>
              <a:gd name="connsiteX153" fmla="*/ 651232 w 4151312"/>
              <a:gd name="connsiteY153" fmla="*/ 6336161 h 6858000"/>
              <a:gd name="connsiteX154" fmla="*/ 624479 w 4151312"/>
              <a:gd name="connsiteY154" fmla="*/ 6384726 h 6858000"/>
              <a:gd name="connsiteX155" fmla="*/ 742033 w 4151312"/>
              <a:gd name="connsiteY155" fmla="*/ 6451914 h 6858000"/>
              <a:gd name="connsiteX156" fmla="*/ 624512 w 4151312"/>
              <a:gd name="connsiteY156" fmla="*/ 6519097 h 6858000"/>
              <a:gd name="connsiteX157" fmla="*/ 651373 w 4151312"/>
              <a:gd name="connsiteY157" fmla="*/ 6567631 h 6858000"/>
              <a:gd name="connsiteX158" fmla="*/ 771228 w 4151312"/>
              <a:gd name="connsiteY158" fmla="*/ 6499136 h 6858000"/>
              <a:gd name="connsiteX159" fmla="*/ 742033 w 4151312"/>
              <a:gd name="connsiteY159" fmla="*/ 6451914 h 6858000"/>
              <a:gd name="connsiteX160" fmla="*/ 771227 w 4151312"/>
              <a:gd name="connsiteY160" fmla="*/ 6404692 h 6858000"/>
              <a:gd name="connsiteX161" fmla="*/ 651232 w 4151312"/>
              <a:gd name="connsiteY161" fmla="*/ 6336161 h 6858000"/>
              <a:gd name="connsiteX162" fmla="*/ 0 w 4151312"/>
              <a:gd name="connsiteY162" fmla="*/ 0 h 6858000"/>
              <a:gd name="connsiteX163" fmla="*/ 4151312 w 4151312"/>
              <a:gd name="connsiteY163" fmla="*/ 0 h 6858000"/>
              <a:gd name="connsiteX164" fmla="*/ 4151312 w 4151312"/>
              <a:gd name="connsiteY164" fmla="*/ 6858000 h 6858000"/>
              <a:gd name="connsiteX165" fmla="*/ 0 w 4151312"/>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4151312"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4151312" y="0"/>
                </a:lnTo>
                <a:lnTo>
                  <a:pt x="4151312"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center icon to insert dark image</a:t>
            </a:r>
          </a:p>
        </p:txBody>
      </p:sp>
      <p:sp>
        <p:nvSpPr>
          <p:cNvPr id="2" name="Text Placeholder 9">
            <a:extLst>
              <a:ext uri="{FF2B5EF4-FFF2-40B4-BE49-F238E27FC236}">
                <a16:creationId xmlns:a16="http://schemas.microsoft.com/office/drawing/2014/main" id="{904DD49F-7200-BFF1-2A10-BA03C16B477D}"/>
              </a:ext>
            </a:extLst>
          </p:cNvPr>
          <p:cNvSpPr>
            <a:spLocks noGrp="1"/>
          </p:cNvSpPr>
          <p:nvPr>
            <p:ph type="body" sz="quarter" idx="13" hasCustomPrompt="1"/>
          </p:nvPr>
        </p:nvSpPr>
        <p:spPr>
          <a:xfrm>
            <a:off x="5232400" y="908939"/>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1 Avenir Pro 16pt</a:t>
            </a:r>
            <a:endParaRPr lang="en-GB"/>
          </a:p>
        </p:txBody>
      </p:sp>
      <p:sp>
        <p:nvSpPr>
          <p:cNvPr id="8" name="Text Placeholder 12">
            <a:extLst>
              <a:ext uri="{FF2B5EF4-FFF2-40B4-BE49-F238E27FC236}">
                <a16:creationId xmlns:a16="http://schemas.microsoft.com/office/drawing/2014/main" id="{24254A76-548D-ABB9-7DB9-02B84510A9FE}"/>
              </a:ext>
            </a:extLst>
          </p:cNvPr>
          <p:cNvSpPr>
            <a:spLocks noGrp="1"/>
          </p:cNvSpPr>
          <p:nvPr>
            <p:ph type="body" sz="quarter" idx="15" hasCustomPrompt="1"/>
          </p:nvPr>
        </p:nvSpPr>
        <p:spPr>
          <a:xfrm>
            <a:off x="5232400" y="1181195"/>
            <a:ext cx="2663825" cy="360362"/>
          </a:xfrm>
        </p:spPr>
        <p:txBody>
          <a:bodyPr/>
          <a:lstStyle>
            <a:lvl1pPr marL="0" indent="0">
              <a:buNone/>
              <a:defRPr/>
            </a:lvl1pPr>
          </a:lstStyle>
          <a:p>
            <a:pPr lvl="0"/>
            <a:r>
              <a:rPr lang="en-US"/>
              <a:t>Speaker Name 15pt</a:t>
            </a:r>
            <a:endParaRPr lang="en-GB"/>
          </a:p>
        </p:txBody>
      </p:sp>
      <p:sp>
        <p:nvSpPr>
          <p:cNvPr id="9" name="Rectangle 8">
            <a:extLst>
              <a:ext uri="{FF2B5EF4-FFF2-40B4-BE49-F238E27FC236}">
                <a16:creationId xmlns:a16="http://schemas.microsoft.com/office/drawing/2014/main" id="{85A22E35-39E8-D8C8-8792-D2A6F234BDB2}"/>
              </a:ext>
            </a:extLst>
          </p:cNvPr>
          <p:cNvSpPr/>
          <p:nvPr userDrawn="1"/>
        </p:nvSpPr>
        <p:spPr>
          <a:xfrm>
            <a:off x="10848975" y="6308725"/>
            <a:ext cx="1343025" cy="5492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9">
            <a:extLst>
              <a:ext uri="{FF2B5EF4-FFF2-40B4-BE49-F238E27FC236}">
                <a16:creationId xmlns:a16="http://schemas.microsoft.com/office/drawing/2014/main" id="{8700E4EA-ED53-6710-2381-295DD293E1B6}"/>
              </a:ext>
            </a:extLst>
          </p:cNvPr>
          <p:cNvSpPr>
            <a:spLocks noGrp="1"/>
          </p:cNvSpPr>
          <p:nvPr>
            <p:ph type="body" sz="quarter" idx="22" hasCustomPrompt="1"/>
          </p:nvPr>
        </p:nvSpPr>
        <p:spPr>
          <a:xfrm>
            <a:off x="5232400" y="1813813"/>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2  Avenir Pro 16pt</a:t>
            </a:r>
            <a:endParaRPr lang="en-GB"/>
          </a:p>
        </p:txBody>
      </p:sp>
      <p:sp>
        <p:nvSpPr>
          <p:cNvPr id="12" name="Text Placeholder 12">
            <a:extLst>
              <a:ext uri="{FF2B5EF4-FFF2-40B4-BE49-F238E27FC236}">
                <a16:creationId xmlns:a16="http://schemas.microsoft.com/office/drawing/2014/main" id="{920ABA3B-52CD-F2D5-2E66-010C70068C27}"/>
              </a:ext>
            </a:extLst>
          </p:cNvPr>
          <p:cNvSpPr>
            <a:spLocks noGrp="1"/>
          </p:cNvSpPr>
          <p:nvPr>
            <p:ph type="body" sz="quarter" idx="23" hasCustomPrompt="1"/>
          </p:nvPr>
        </p:nvSpPr>
        <p:spPr>
          <a:xfrm>
            <a:off x="5232400" y="2086069"/>
            <a:ext cx="2663825" cy="360362"/>
          </a:xfrm>
        </p:spPr>
        <p:txBody>
          <a:bodyPr/>
          <a:lstStyle>
            <a:lvl1pPr marL="0" indent="0">
              <a:buNone/>
              <a:defRPr/>
            </a:lvl1pPr>
          </a:lstStyle>
          <a:p>
            <a:pPr lvl="0"/>
            <a:r>
              <a:rPr lang="en-US"/>
              <a:t>Speaker Name 15pt</a:t>
            </a:r>
            <a:endParaRPr lang="en-GB"/>
          </a:p>
        </p:txBody>
      </p:sp>
      <p:sp>
        <p:nvSpPr>
          <p:cNvPr id="13" name="Text Placeholder 9">
            <a:extLst>
              <a:ext uri="{FF2B5EF4-FFF2-40B4-BE49-F238E27FC236}">
                <a16:creationId xmlns:a16="http://schemas.microsoft.com/office/drawing/2014/main" id="{40AA1C17-5F97-8BDE-202D-2E9DF90F82C0}"/>
              </a:ext>
            </a:extLst>
          </p:cNvPr>
          <p:cNvSpPr>
            <a:spLocks noGrp="1"/>
          </p:cNvSpPr>
          <p:nvPr>
            <p:ph type="body" sz="quarter" idx="24" hasCustomPrompt="1"/>
          </p:nvPr>
        </p:nvSpPr>
        <p:spPr>
          <a:xfrm>
            <a:off x="5232400" y="2708369"/>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3 Avenir Pro 16pt</a:t>
            </a:r>
            <a:endParaRPr lang="en-GB"/>
          </a:p>
        </p:txBody>
      </p:sp>
      <p:sp>
        <p:nvSpPr>
          <p:cNvPr id="14" name="Text Placeholder 12">
            <a:extLst>
              <a:ext uri="{FF2B5EF4-FFF2-40B4-BE49-F238E27FC236}">
                <a16:creationId xmlns:a16="http://schemas.microsoft.com/office/drawing/2014/main" id="{AFE6F300-51E6-251C-C58E-2F1A1B2E0F61}"/>
              </a:ext>
            </a:extLst>
          </p:cNvPr>
          <p:cNvSpPr>
            <a:spLocks noGrp="1"/>
          </p:cNvSpPr>
          <p:nvPr>
            <p:ph type="body" sz="quarter" idx="25" hasCustomPrompt="1"/>
          </p:nvPr>
        </p:nvSpPr>
        <p:spPr>
          <a:xfrm>
            <a:off x="5232400" y="2980625"/>
            <a:ext cx="2663825" cy="360362"/>
          </a:xfrm>
        </p:spPr>
        <p:txBody>
          <a:bodyPr/>
          <a:lstStyle>
            <a:lvl1pPr marL="0" indent="0">
              <a:buNone/>
              <a:defRPr/>
            </a:lvl1pPr>
          </a:lstStyle>
          <a:p>
            <a:pPr lvl="0"/>
            <a:r>
              <a:rPr lang="en-US"/>
              <a:t>Speaker Name 15pt</a:t>
            </a:r>
            <a:endParaRPr lang="en-GB"/>
          </a:p>
        </p:txBody>
      </p:sp>
      <p:sp>
        <p:nvSpPr>
          <p:cNvPr id="15" name="Text Placeholder 9">
            <a:extLst>
              <a:ext uri="{FF2B5EF4-FFF2-40B4-BE49-F238E27FC236}">
                <a16:creationId xmlns:a16="http://schemas.microsoft.com/office/drawing/2014/main" id="{0DB1E516-D75C-258D-154F-FF5BF0059DB4}"/>
              </a:ext>
            </a:extLst>
          </p:cNvPr>
          <p:cNvSpPr>
            <a:spLocks noGrp="1"/>
          </p:cNvSpPr>
          <p:nvPr>
            <p:ph type="body" sz="quarter" idx="26" hasCustomPrompt="1"/>
          </p:nvPr>
        </p:nvSpPr>
        <p:spPr>
          <a:xfrm>
            <a:off x="5232400" y="3609276"/>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4 Avenir Pro 16pt</a:t>
            </a:r>
            <a:endParaRPr lang="en-GB"/>
          </a:p>
        </p:txBody>
      </p:sp>
      <p:sp>
        <p:nvSpPr>
          <p:cNvPr id="16" name="Text Placeholder 12">
            <a:extLst>
              <a:ext uri="{FF2B5EF4-FFF2-40B4-BE49-F238E27FC236}">
                <a16:creationId xmlns:a16="http://schemas.microsoft.com/office/drawing/2014/main" id="{A95DC8E2-952F-574D-9B03-7B60870706F6}"/>
              </a:ext>
            </a:extLst>
          </p:cNvPr>
          <p:cNvSpPr>
            <a:spLocks noGrp="1"/>
          </p:cNvSpPr>
          <p:nvPr>
            <p:ph type="body" sz="quarter" idx="27" hasCustomPrompt="1"/>
          </p:nvPr>
        </p:nvSpPr>
        <p:spPr>
          <a:xfrm>
            <a:off x="5232400" y="3881532"/>
            <a:ext cx="2663825" cy="360362"/>
          </a:xfrm>
        </p:spPr>
        <p:txBody>
          <a:bodyPr/>
          <a:lstStyle>
            <a:lvl1pPr marL="0" indent="0">
              <a:buNone/>
              <a:defRPr/>
            </a:lvl1pPr>
          </a:lstStyle>
          <a:p>
            <a:pPr lvl="0"/>
            <a:r>
              <a:rPr lang="en-US"/>
              <a:t>Speaker Name 15pt</a:t>
            </a:r>
            <a:endParaRPr lang="en-GB"/>
          </a:p>
        </p:txBody>
      </p:sp>
      <p:sp>
        <p:nvSpPr>
          <p:cNvPr id="17" name="Text Placeholder 9">
            <a:extLst>
              <a:ext uri="{FF2B5EF4-FFF2-40B4-BE49-F238E27FC236}">
                <a16:creationId xmlns:a16="http://schemas.microsoft.com/office/drawing/2014/main" id="{BA242158-90C6-8EDC-88DD-5C85A923BFA3}"/>
              </a:ext>
            </a:extLst>
          </p:cNvPr>
          <p:cNvSpPr>
            <a:spLocks noGrp="1"/>
          </p:cNvSpPr>
          <p:nvPr>
            <p:ph type="body" sz="quarter" idx="28" hasCustomPrompt="1"/>
          </p:nvPr>
        </p:nvSpPr>
        <p:spPr>
          <a:xfrm>
            <a:off x="5232400" y="4511770"/>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5 Avenir Pro 16pt</a:t>
            </a:r>
            <a:endParaRPr lang="en-GB"/>
          </a:p>
        </p:txBody>
      </p:sp>
      <p:sp>
        <p:nvSpPr>
          <p:cNvPr id="18" name="Text Placeholder 12">
            <a:extLst>
              <a:ext uri="{FF2B5EF4-FFF2-40B4-BE49-F238E27FC236}">
                <a16:creationId xmlns:a16="http://schemas.microsoft.com/office/drawing/2014/main" id="{6B2717EA-181E-5681-4CFD-B938554C56EA}"/>
              </a:ext>
            </a:extLst>
          </p:cNvPr>
          <p:cNvSpPr>
            <a:spLocks noGrp="1"/>
          </p:cNvSpPr>
          <p:nvPr>
            <p:ph type="body" sz="quarter" idx="29" hasCustomPrompt="1"/>
          </p:nvPr>
        </p:nvSpPr>
        <p:spPr>
          <a:xfrm>
            <a:off x="5232400" y="4784026"/>
            <a:ext cx="2663825" cy="360362"/>
          </a:xfrm>
        </p:spPr>
        <p:txBody>
          <a:bodyPr/>
          <a:lstStyle>
            <a:lvl1pPr marL="0" indent="0">
              <a:buNone/>
              <a:defRPr/>
            </a:lvl1pPr>
          </a:lstStyle>
          <a:p>
            <a:pPr lvl="0"/>
            <a:r>
              <a:rPr lang="en-US"/>
              <a:t>Speaker Name 15pt</a:t>
            </a:r>
            <a:endParaRPr lang="en-GB"/>
          </a:p>
        </p:txBody>
      </p:sp>
      <p:sp>
        <p:nvSpPr>
          <p:cNvPr id="19" name="Text Placeholder 9">
            <a:extLst>
              <a:ext uri="{FF2B5EF4-FFF2-40B4-BE49-F238E27FC236}">
                <a16:creationId xmlns:a16="http://schemas.microsoft.com/office/drawing/2014/main" id="{BBB43BEB-F2E3-4729-E3C4-033B9D038770}"/>
              </a:ext>
            </a:extLst>
          </p:cNvPr>
          <p:cNvSpPr>
            <a:spLocks noGrp="1"/>
          </p:cNvSpPr>
          <p:nvPr>
            <p:ph type="body" sz="quarter" idx="30" hasCustomPrompt="1"/>
          </p:nvPr>
        </p:nvSpPr>
        <p:spPr>
          <a:xfrm>
            <a:off x="5232400" y="5409501"/>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6 Avenir Pro 16pt</a:t>
            </a:r>
            <a:endParaRPr lang="en-GB"/>
          </a:p>
        </p:txBody>
      </p:sp>
      <p:sp>
        <p:nvSpPr>
          <p:cNvPr id="20" name="Text Placeholder 12">
            <a:extLst>
              <a:ext uri="{FF2B5EF4-FFF2-40B4-BE49-F238E27FC236}">
                <a16:creationId xmlns:a16="http://schemas.microsoft.com/office/drawing/2014/main" id="{DBA53FB6-1E59-A28B-7E3C-6372413C180F}"/>
              </a:ext>
            </a:extLst>
          </p:cNvPr>
          <p:cNvSpPr>
            <a:spLocks noGrp="1"/>
          </p:cNvSpPr>
          <p:nvPr>
            <p:ph type="body" sz="quarter" idx="31" hasCustomPrompt="1"/>
          </p:nvPr>
        </p:nvSpPr>
        <p:spPr>
          <a:xfrm>
            <a:off x="5232400" y="5681757"/>
            <a:ext cx="2663825" cy="360362"/>
          </a:xfrm>
        </p:spPr>
        <p:txBody>
          <a:bodyPr/>
          <a:lstStyle>
            <a:lvl1pPr marL="0" indent="0">
              <a:buNone/>
              <a:defRPr/>
            </a:lvl1pPr>
          </a:lstStyle>
          <a:p>
            <a:pPr lvl="0"/>
            <a:r>
              <a:rPr lang="en-US"/>
              <a:t>Speaker Name 15pt</a:t>
            </a:r>
            <a:endParaRPr lang="en-GB"/>
          </a:p>
        </p:txBody>
      </p:sp>
      <p:sp>
        <p:nvSpPr>
          <p:cNvPr id="21" name="Text Placeholder 9">
            <a:extLst>
              <a:ext uri="{FF2B5EF4-FFF2-40B4-BE49-F238E27FC236}">
                <a16:creationId xmlns:a16="http://schemas.microsoft.com/office/drawing/2014/main" id="{F13B60C7-A30D-3E17-E546-058B3168FBCE}"/>
              </a:ext>
            </a:extLst>
          </p:cNvPr>
          <p:cNvSpPr>
            <a:spLocks noGrp="1"/>
          </p:cNvSpPr>
          <p:nvPr>
            <p:ph type="body" sz="quarter" idx="32" hasCustomPrompt="1"/>
          </p:nvPr>
        </p:nvSpPr>
        <p:spPr>
          <a:xfrm>
            <a:off x="8975725" y="908939"/>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7 Avenir Pro 16pt</a:t>
            </a:r>
            <a:endParaRPr lang="en-GB"/>
          </a:p>
        </p:txBody>
      </p:sp>
      <p:sp>
        <p:nvSpPr>
          <p:cNvPr id="22" name="Text Placeholder 12">
            <a:extLst>
              <a:ext uri="{FF2B5EF4-FFF2-40B4-BE49-F238E27FC236}">
                <a16:creationId xmlns:a16="http://schemas.microsoft.com/office/drawing/2014/main" id="{7F5E6EBC-119E-E644-4C5C-BFD61EBE17EA}"/>
              </a:ext>
            </a:extLst>
          </p:cNvPr>
          <p:cNvSpPr>
            <a:spLocks noGrp="1"/>
          </p:cNvSpPr>
          <p:nvPr>
            <p:ph type="body" sz="quarter" idx="33" hasCustomPrompt="1"/>
          </p:nvPr>
        </p:nvSpPr>
        <p:spPr>
          <a:xfrm>
            <a:off x="8975725" y="1181195"/>
            <a:ext cx="2663825" cy="360362"/>
          </a:xfrm>
        </p:spPr>
        <p:txBody>
          <a:bodyPr/>
          <a:lstStyle>
            <a:lvl1pPr marL="0" indent="0">
              <a:buNone/>
              <a:defRPr/>
            </a:lvl1pPr>
          </a:lstStyle>
          <a:p>
            <a:pPr lvl="0"/>
            <a:r>
              <a:rPr lang="en-US"/>
              <a:t>Speaker Name 15pt</a:t>
            </a:r>
            <a:endParaRPr lang="en-GB"/>
          </a:p>
        </p:txBody>
      </p:sp>
      <p:sp>
        <p:nvSpPr>
          <p:cNvPr id="23" name="Text Placeholder 9">
            <a:extLst>
              <a:ext uri="{FF2B5EF4-FFF2-40B4-BE49-F238E27FC236}">
                <a16:creationId xmlns:a16="http://schemas.microsoft.com/office/drawing/2014/main" id="{401DECB5-DEB3-E4A4-2232-6F1F2D88A5D8}"/>
              </a:ext>
            </a:extLst>
          </p:cNvPr>
          <p:cNvSpPr>
            <a:spLocks noGrp="1"/>
          </p:cNvSpPr>
          <p:nvPr>
            <p:ph type="body" sz="quarter" idx="34" hasCustomPrompt="1"/>
          </p:nvPr>
        </p:nvSpPr>
        <p:spPr>
          <a:xfrm>
            <a:off x="8975725" y="1813813"/>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8  Avenir Pro 16pt</a:t>
            </a:r>
            <a:endParaRPr lang="en-GB"/>
          </a:p>
        </p:txBody>
      </p:sp>
      <p:sp>
        <p:nvSpPr>
          <p:cNvPr id="24" name="Text Placeholder 12">
            <a:extLst>
              <a:ext uri="{FF2B5EF4-FFF2-40B4-BE49-F238E27FC236}">
                <a16:creationId xmlns:a16="http://schemas.microsoft.com/office/drawing/2014/main" id="{21D9D621-C176-8343-F645-AF4D83E2BD81}"/>
              </a:ext>
            </a:extLst>
          </p:cNvPr>
          <p:cNvSpPr>
            <a:spLocks noGrp="1"/>
          </p:cNvSpPr>
          <p:nvPr>
            <p:ph type="body" sz="quarter" idx="35" hasCustomPrompt="1"/>
          </p:nvPr>
        </p:nvSpPr>
        <p:spPr>
          <a:xfrm>
            <a:off x="8975725" y="2086069"/>
            <a:ext cx="2663825" cy="360362"/>
          </a:xfrm>
        </p:spPr>
        <p:txBody>
          <a:bodyPr/>
          <a:lstStyle>
            <a:lvl1pPr marL="0" indent="0">
              <a:buNone/>
              <a:defRPr/>
            </a:lvl1pPr>
          </a:lstStyle>
          <a:p>
            <a:pPr lvl="0"/>
            <a:r>
              <a:rPr lang="en-US"/>
              <a:t>Speaker Name 15pt</a:t>
            </a:r>
            <a:endParaRPr lang="en-GB"/>
          </a:p>
        </p:txBody>
      </p:sp>
      <p:sp>
        <p:nvSpPr>
          <p:cNvPr id="25" name="Text Placeholder 9">
            <a:extLst>
              <a:ext uri="{FF2B5EF4-FFF2-40B4-BE49-F238E27FC236}">
                <a16:creationId xmlns:a16="http://schemas.microsoft.com/office/drawing/2014/main" id="{ECA4A4FD-0ACA-7F48-6D43-334EFA97791E}"/>
              </a:ext>
            </a:extLst>
          </p:cNvPr>
          <p:cNvSpPr>
            <a:spLocks noGrp="1"/>
          </p:cNvSpPr>
          <p:nvPr>
            <p:ph type="body" sz="quarter" idx="36" hasCustomPrompt="1"/>
          </p:nvPr>
        </p:nvSpPr>
        <p:spPr>
          <a:xfrm>
            <a:off x="8975725" y="2708369"/>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9 Avenir Pro 16pt</a:t>
            </a:r>
            <a:endParaRPr lang="en-GB"/>
          </a:p>
        </p:txBody>
      </p:sp>
      <p:sp>
        <p:nvSpPr>
          <p:cNvPr id="26" name="Text Placeholder 12">
            <a:extLst>
              <a:ext uri="{FF2B5EF4-FFF2-40B4-BE49-F238E27FC236}">
                <a16:creationId xmlns:a16="http://schemas.microsoft.com/office/drawing/2014/main" id="{792AC346-C547-570D-541F-0B294A0CA5E5}"/>
              </a:ext>
            </a:extLst>
          </p:cNvPr>
          <p:cNvSpPr>
            <a:spLocks noGrp="1"/>
          </p:cNvSpPr>
          <p:nvPr>
            <p:ph type="body" sz="quarter" idx="37" hasCustomPrompt="1"/>
          </p:nvPr>
        </p:nvSpPr>
        <p:spPr>
          <a:xfrm>
            <a:off x="8975725" y="2980625"/>
            <a:ext cx="2663825" cy="360362"/>
          </a:xfrm>
        </p:spPr>
        <p:txBody>
          <a:bodyPr/>
          <a:lstStyle>
            <a:lvl1pPr marL="0" indent="0">
              <a:buNone/>
              <a:defRPr/>
            </a:lvl1pPr>
          </a:lstStyle>
          <a:p>
            <a:pPr lvl="0"/>
            <a:r>
              <a:rPr lang="en-US"/>
              <a:t>Speaker Name 15pt</a:t>
            </a:r>
            <a:endParaRPr lang="en-GB"/>
          </a:p>
        </p:txBody>
      </p:sp>
      <p:sp>
        <p:nvSpPr>
          <p:cNvPr id="27" name="Text Placeholder 9">
            <a:extLst>
              <a:ext uri="{FF2B5EF4-FFF2-40B4-BE49-F238E27FC236}">
                <a16:creationId xmlns:a16="http://schemas.microsoft.com/office/drawing/2014/main" id="{CEAF6484-F23D-EA59-D6CA-33BDB4596246}"/>
              </a:ext>
            </a:extLst>
          </p:cNvPr>
          <p:cNvSpPr>
            <a:spLocks noGrp="1"/>
          </p:cNvSpPr>
          <p:nvPr>
            <p:ph type="body" sz="quarter" idx="38" hasCustomPrompt="1"/>
          </p:nvPr>
        </p:nvSpPr>
        <p:spPr>
          <a:xfrm>
            <a:off x="8975725" y="3609276"/>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10 Avenir Pro 16pt</a:t>
            </a:r>
            <a:endParaRPr lang="en-GB"/>
          </a:p>
        </p:txBody>
      </p:sp>
      <p:sp>
        <p:nvSpPr>
          <p:cNvPr id="28" name="Text Placeholder 12">
            <a:extLst>
              <a:ext uri="{FF2B5EF4-FFF2-40B4-BE49-F238E27FC236}">
                <a16:creationId xmlns:a16="http://schemas.microsoft.com/office/drawing/2014/main" id="{E3B155F2-F419-B7F4-3EDD-3A7DCFEE0A28}"/>
              </a:ext>
            </a:extLst>
          </p:cNvPr>
          <p:cNvSpPr>
            <a:spLocks noGrp="1"/>
          </p:cNvSpPr>
          <p:nvPr>
            <p:ph type="body" sz="quarter" idx="39" hasCustomPrompt="1"/>
          </p:nvPr>
        </p:nvSpPr>
        <p:spPr>
          <a:xfrm>
            <a:off x="8975725" y="3881532"/>
            <a:ext cx="2663825" cy="360362"/>
          </a:xfrm>
        </p:spPr>
        <p:txBody>
          <a:bodyPr/>
          <a:lstStyle>
            <a:lvl1pPr marL="0" indent="0">
              <a:buNone/>
              <a:defRPr/>
            </a:lvl1pPr>
          </a:lstStyle>
          <a:p>
            <a:pPr lvl="0"/>
            <a:r>
              <a:rPr lang="en-US"/>
              <a:t>Speaker Name 15pt</a:t>
            </a:r>
            <a:endParaRPr lang="en-GB"/>
          </a:p>
        </p:txBody>
      </p:sp>
      <p:sp>
        <p:nvSpPr>
          <p:cNvPr id="29" name="Text Placeholder 9">
            <a:extLst>
              <a:ext uri="{FF2B5EF4-FFF2-40B4-BE49-F238E27FC236}">
                <a16:creationId xmlns:a16="http://schemas.microsoft.com/office/drawing/2014/main" id="{1B5A2B92-6A29-5F58-5968-E6C55AB80B0A}"/>
              </a:ext>
            </a:extLst>
          </p:cNvPr>
          <p:cNvSpPr>
            <a:spLocks noGrp="1"/>
          </p:cNvSpPr>
          <p:nvPr>
            <p:ph type="body" sz="quarter" idx="40" hasCustomPrompt="1"/>
          </p:nvPr>
        </p:nvSpPr>
        <p:spPr>
          <a:xfrm>
            <a:off x="8975725" y="4511770"/>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11 Avenir Pro 16pt</a:t>
            </a:r>
            <a:endParaRPr lang="en-GB"/>
          </a:p>
        </p:txBody>
      </p:sp>
      <p:sp>
        <p:nvSpPr>
          <p:cNvPr id="30" name="Text Placeholder 12">
            <a:extLst>
              <a:ext uri="{FF2B5EF4-FFF2-40B4-BE49-F238E27FC236}">
                <a16:creationId xmlns:a16="http://schemas.microsoft.com/office/drawing/2014/main" id="{DC3F1F9D-9AA0-ADE6-C61A-CFA5751C4948}"/>
              </a:ext>
            </a:extLst>
          </p:cNvPr>
          <p:cNvSpPr>
            <a:spLocks noGrp="1"/>
          </p:cNvSpPr>
          <p:nvPr>
            <p:ph type="body" sz="quarter" idx="41" hasCustomPrompt="1"/>
          </p:nvPr>
        </p:nvSpPr>
        <p:spPr>
          <a:xfrm>
            <a:off x="8975725" y="4784026"/>
            <a:ext cx="2663825" cy="360362"/>
          </a:xfrm>
        </p:spPr>
        <p:txBody>
          <a:bodyPr/>
          <a:lstStyle>
            <a:lvl1pPr marL="0" indent="0">
              <a:buNone/>
              <a:defRPr/>
            </a:lvl1pPr>
          </a:lstStyle>
          <a:p>
            <a:pPr lvl="0"/>
            <a:r>
              <a:rPr lang="en-US"/>
              <a:t>Speaker Name 15pt</a:t>
            </a:r>
            <a:endParaRPr lang="en-GB"/>
          </a:p>
        </p:txBody>
      </p:sp>
      <p:sp>
        <p:nvSpPr>
          <p:cNvPr id="31" name="Text Placeholder 9">
            <a:extLst>
              <a:ext uri="{FF2B5EF4-FFF2-40B4-BE49-F238E27FC236}">
                <a16:creationId xmlns:a16="http://schemas.microsoft.com/office/drawing/2014/main" id="{80FCEB47-247B-36B3-395E-CE025CC66F13}"/>
              </a:ext>
            </a:extLst>
          </p:cNvPr>
          <p:cNvSpPr>
            <a:spLocks noGrp="1"/>
          </p:cNvSpPr>
          <p:nvPr>
            <p:ph type="body" sz="quarter" idx="42" hasCustomPrompt="1"/>
          </p:nvPr>
        </p:nvSpPr>
        <p:spPr>
          <a:xfrm>
            <a:off x="8975725" y="5409501"/>
            <a:ext cx="2663825" cy="360362"/>
          </a:xfrm>
          <a:prstGeom prst="rect">
            <a:avLst/>
          </a:prstGeom>
        </p:spPr>
        <p:txBody>
          <a:bodyPr lIns="0" tIns="0" rIns="0" bIns="0">
            <a:noAutofit/>
          </a:bodyPr>
          <a:lstStyle>
            <a:lvl1pPr marL="0" indent="0">
              <a:lnSpc>
                <a:spcPct val="90000"/>
              </a:lnSpc>
              <a:buNone/>
              <a:defRPr sz="1600">
                <a:solidFill>
                  <a:schemeClr val="accent1"/>
                </a:solidFill>
                <a:latin typeface="+mj-lt"/>
              </a:defRPr>
            </a:lvl1pPr>
          </a:lstStyle>
          <a:p>
            <a:pPr lvl="0"/>
            <a:r>
              <a:rPr lang="en-US"/>
              <a:t>Section 12 Avenir Pro 16pt</a:t>
            </a:r>
            <a:endParaRPr lang="en-GB"/>
          </a:p>
        </p:txBody>
      </p:sp>
      <p:sp>
        <p:nvSpPr>
          <p:cNvPr id="32" name="Text Placeholder 12">
            <a:extLst>
              <a:ext uri="{FF2B5EF4-FFF2-40B4-BE49-F238E27FC236}">
                <a16:creationId xmlns:a16="http://schemas.microsoft.com/office/drawing/2014/main" id="{5D5E22BF-D9C7-B107-2988-3AB9C9141CDC}"/>
              </a:ext>
            </a:extLst>
          </p:cNvPr>
          <p:cNvSpPr>
            <a:spLocks noGrp="1"/>
          </p:cNvSpPr>
          <p:nvPr>
            <p:ph type="body" sz="quarter" idx="43" hasCustomPrompt="1"/>
          </p:nvPr>
        </p:nvSpPr>
        <p:spPr>
          <a:xfrm>
            <a:off x="8975725" y="5681757"/>
            <a:ext cx="2663825" cy="360362"/>
          </a:xfrm>
        </p:spPr>
        <p:txBody>
          <a:bodyPr/>
          <a:lstStyle>
            <a:lvl1pPr marL="0" indent="0">
              <a:buNone/>
              <a:defRPr/>
            </a:lvl1pPr>
          </a:lstStyle>
          <a:p>
            <a:pPr lvl="0"/>
            <a:r>
              <a:rPr lang="en-US"/>
              <a:t>Speaker Name 15pt</a:t>
            </a:r>
            <a:endParaRPr lang="en-GB"/>
          </a:p>
        </p:txBody>
      </p:sp>
      <p:sp>
        <p:nvSpPr>
          <p:cNvPr id="3" name="Text Placeholder 12">
            <a:extLst>
              <a:ext uri="{FF2B5EF4-FFF2-40B4-BE49-F238E27FC236}">
                <a16:creationId xmlns:a16="http://schemas.microsoft.com/office/drawing/2014/main" id="{F5901797-6CF8-474D-5966-88001DA92D47}"/>
              </a:ext>
            </a:extLst>
          </p:cNvPr>
          <p:cNvSpPr>
            <a:spLocks noGrp="1"/>
          </p:cNvSpPr>
          <p:nvPr>
            <p:ph type="body" sz="quarter" idx="21" hasCustomPrompt="1"/>
          </p:nvPr>
        </p:nvSpPr>
        <p:spPr>
          <a:xfrm>
            <a:off x="550864" y="908939"/>
            <a:ext cx="2808286" cy="539751"/>
          </a:xfrm>
        </p:spPr>
        <p:txBody>
          <a:bodyPr tIns="0" anchor="t" anchorCtr="0"/>
          <a:lstStyle>
            <a:lvl1pPr marL="0" indent="0" algn="l">
              <a:lnSpc>
                <a:spcPct val="85000"/>
              </a:lnSpc>
              <a:buNone/>
              <a:defRPr sz="3600" spc="0" baseline="0">
                <a:solidFill>
                  <a:schemeClr val="accent3"/>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Agenda</a:t>
            </a:r>
          </a:p>
        </p:txBody>
      </p:sp>
    </p:spTree>
    <p:extLst>
      <p:ext uri="{BB962C8B-B14F-4D97-AF65-F5344CB8AC3E}">
        <p14:creationId xmlns:p14="http://schemas.microsoft.com/office/powerpoint/2010/main" val="15153428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ingle Text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8281986"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34059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257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1069257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45B5A2C8-67E4-384B-2E57-D41D53E41A9F}"/>
              </a:ext>
            </a:extLst>
          </p:cNvPr>
          <p:cNvSpPr>
            <a:spLocks noGrp="1"/>
          </p:cNvSpPr>
          <p:nvPr>
            <p:ph type="body" sz="quarter" idx="15"/>
          </p:nvPr>
        </p:nvSpPr>
        <p:spPr>
          <a:xfrm>
            <a:off x="6167438" y="1808163"/>
            <a:ext cx="5076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460908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x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8281986"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8281986"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CF79B565-DB41-54E3-E8CF-A38FFA9BA18A}"/>
              </a:ext>
            </a:extLst>
          </p:cNvPr>
          <p:cNvSpPr>
            <a:spLocks noGrp="1"/>
          </p:cNvSpPr>
          <p:nvPr>
            <p:ph type="body" sz="quarter" idx="16"/>
          </p:nvPr>
        </p:nvSpPr>
        <p:spPr>
          <a:xfrm>
            <a:off x="4295151"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7" name="Text Placeholder 12">
            <a:extLst>
              <a:ext uri="{FF2B5EF4-FFF2-40B4-BE49-F238E27FC236}">
                <a16:creationId xmlns:a16="http://schemas.microsoft.com/office/drawing/2014/main" id="{6859DFB9-0FCD-A2DA-D7CC-B515A2628778}"/>
              </a:ext>
            </a:extLst>
          </p:cNvPr>
          <p:cNvSpPr>
            <a:spLocks noGrp="1"/>
          </p:cNvSpPr>
          <p:nvPr>
            <p:ph type="body" sz="quarter" idx="17"/>
          </p:nvPr>
        </p:nvSpPr>
        <p:spPr>
          <a:xfrm>
            <a:off x="8039438"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196757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x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382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2714209"/>
            <a:ext cx="3204000" cy="1084842"/>
          </a:xfrm>
        </p:spPr>
        <p:txBody>
          <a:bodyPr/>
          <a:lstStyle>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endParaRPr lang="en-GB"/>
          </a:p>
        </p:txBody>
      </p:sp>
      <p:sp>
        <p:nvSpPr>
          <p:cNvPr id="5" name="Text Placeholder 12">
            <a:extLst>
              <a:ext uri="{FF2B5EF4-FFF2-40B4-BE49-F238E27FC236}">
                <a16:creationId xmlns:a16="http://schemas.microsoft.com/office/drawing/2014/main" id="{1A11780E-7970-3D6A-560B-8FC352EB4BDB}"/>
              </a:ext>
            </a:extLst>
          </p:cNvPr>
          <p:cNvSpPr>
            <a:spLocks noGrp="1"/>
          </p:cNvSpPr>
          <p:nvPr>
            <p:ph type="body" sz="quarter" idx="15"/>
          </p:nvPr>
        </p:nvSpPr>
        <p:spPr>
          <a:xfrm>
            <a:off x="4295775" y="2714209"/>
            <a:ext cx="3204000" cy="1084842"/>
          </a:xfrm>
        </p:spPr>
        <p:txBody>
          <a:bodyPr/>
          <a:lstStyle>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endParaRPr lang="en-GB"/>
          </a:p>
        </p:txBody>
      </p:sp>
      <p:sp>
        <p:nvSpPr>
          <p:cNvPr id="6" name="Text Placeholder 12">
            <a:extLst>
              <a:ext uri="{FF2B5EF4-FFF2-40B4-BE49-F238E27FC236}">
                <a16:creationId xmlns:a16="http://schemas.microsoft.com/office/drawing/2014/main" id="{1EF9E0E2-8309-0399-0C77-0B68A918E11E}"/>
              </a:ext>
            </a:extLst>
          </p:cNvPr>
          <p:cNvSpPr>
            <a:spLocks noGrp="1"/>
          </p:cNvSpPr>
          <p:nvPr>
            <p:ph type="body" sz="quarter" idx="16"/>
          </p:nvPr>
        </p:nvSpPr>
        <p:spPr>
          <a:xfrm>
            <a:off x="8040688" y="2714209"/>
            <a:ext cx="3204000" cy="1084842"/>
          </a:xfrm>
        </p:spPr>
        <p:txBody>
          <a:bodyPr/>
          <a:lstStyle>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endParaRPr lang="en-GB"/>
          </a:p>
        </p:txBody>
      </p:sp>
      <p:sp>
        <p:nvSpPr>
          <p:cNvPr id="15" name="Picture Placeholder 15">
            <a:extLst>
              <a:ext uri="{FF2B5EF4-FFF2-40B4-BE49-F238E27FC236}">
                <a16:creationId xmlns:a16="http://schemas.microsoft.com/office/drawing/2014/main" id="{CF8728D3-981A-EB49-C69E-EF522D4902BC}"/>
              </a:ext>
            </a:extLst>
          </p:cNvPr>
          <p:cNvSpPr>
            <a:spLocks noGrp="1"/>
          </p:cNvSpPr>
          <p:nvPr>
            <p:ph type="pic" sz="quarter" idx="23" hasCustomPrompt="1"/>
          </p:nvPr>
        </p:nvSpPr>
        <p:spPr>
          <a:xfrm>
            <a:off x="550863" y="1815305"/>
            <a:ext cx="360362" cy="360362"/>
          </a:xfrm>
          <a:noFill/>
          <a:ln>
            <a:noFill/>
          </a:ln>
        </p:spPr>
        <p:txBody>
          <a:bodyPr anchor="ctr" anchorCtr="0"/>
          <a:lstStyle>
            <a:lvl1pPr marL="0" indent="0" algn="ctr">
              <a:buNone/>
              <a:defRPr sz="1050">
                <a:solidFill>
                  <a:schemeClr val="accent1"/>
                </a:solidFill>
                <a:latin typeface="+mn-lt"/>
              </a:defRPr>
            </a:lvl1pPr>
          </a:lstStyle>
          <a:p>
            <a:pPr lvl="0"/>
            <a:r>
              <a:rPr lang="en-GB"/>
              <a:t>icon</a:t>
            </a:r>
          </a:p>
        </p:txBody>
      </p:sp>
      <p:sp>
        <p:nvSpPr>
          <p:cNvPr id="16" name="Picture Placeholder 15">
            <a:extLst>
              <a:ext uri="{FF2B5EF4-FFF2-40B4-BE49-F238E27FC236}">
                <a16:creationId xmlns:a16="http://schemas.microsoft.com/office/drawing/2014/main" id="{BBE6A814-2537-6045-0FBD-C8F2204C95ED}"/>
              </a:ext>
            </a:extLst>
          </p:cNvPr>
          <p:cNvSpPr>
            <a:spLocks noGrp="1"/>
          </p:cNvSpPr>
          <p:nvPr>
            <p:ph type="pic" sz="quarter" idx="24" hasCustomPrompt="1"/>
          </p:nvPr>
        </p:nvSpPr>
        <p:spPr>
          <a:xfrm>
            <a:off x="4295776" y="1815305"/>
            <a:ext cx="360362" cy="360362"/>
          </a:xfrm>
          <a:noFill/>
          <a:ln>
            <a:noFill/>
          </a:ln>
        </p:spPr>
        <p:txBody>
          <a:bodyPr anchor="ctr" anchorCtr="0"/>
          <a:lstStyle>
            <a:lvl1pPr marL="0" indent="0" algn="ctr">
              <a:buNone/>
              <a:defRPr sz="1050">
                <a:solidFill>
                  <a:schemeClr val="accent1"/>
                </a:solidFill>
                <a:latin typeface="+mn-lt"/>
              </a:defRPr>
            </a:lvl1pPr>
          </a:lstStyle>
          <a:p>
            <a:pPr lvl="0"/>
            <a:r>
              <a:rPr lang="en-GB"/>
              <a:t>icon</a:t>
            </a:r>
          </a:p>
        </p:txBody>
      </p:sp>
      <p:sp>
        <p:nvSpPr>
          <p:cNvPr id="17" name="Picture Placeholder 15">
            <a:extLst>
              <a:ext uri="{FF2B5EF4-FFF2-40B4-BE49-F238E27FC236}">
                <a16:creationId xmlns:a16="http://schemas.microsoft.com/office/drawing/2014/main" id="{BC2AAACA-6016-AC70-03D0-56B026D5A52C}"/>
              </a:ext>
            </a:extLst>
          </p:cNvPr>
          <p:cNvSpPr>
            <a:spLocks noGrp="1"/>
          </p:cNvSpPr>
          <p:nvPr>
            <p:ph type="pic" sz="quarter" idx="25" hasCustomPrompt="1"/>
          </p:nvPr>
        </p:nvSpPr>
        <p:spPr>
          <a:xfrm>
            <a:off x="8040687" y="1815305"/>
            <a:ext cx="360362" cy="360362"/>
          </a:xfrm>
          <a:noFill/>
          <a:ln>
            <a:noFill/>
          </a:ln>
        </p:spPr>
        <p:txBody>
          <a:bodyPr anchor="ctr" anchorCtr="0"/>
          <a:lstStyle>
            <a:lvl1pPr marL="0" indent="0" algn="ctr">
              <a:buNone/>
              <a:defRPr sz="1050">
                <a:solidFill>
                  <a:schemeClr val="accent1"/>
                </a:solidFill>
                <a:latin typeface="+mn-lt"/>
              </a:defRPr>
            </a:lvl1pPr>
          </a:lstStyle>
          <a:p>
            <a:pPr lvl="0"/>
            <a:r>
              <a:rPr lang="en-GB"/>
              <a:t>icon</a:t>
            </a:r>
          </a:p>
        </p:txBody>
      </p:sp>
      <p:sp>
        <p:nvSpPr>
          <p:cNvPr id="18" name="Picture Placeholder 15">
            <a:extLst>
              <a:ext uri="{FF2B5EF4-FFF2-40B4-BE49-F238E27FC236}">
                <a16:creationId xmlns:a16="http://schemas.microsoft.com/office/drawing/2014/main" id="{FBDFD7A6-615C-DED2-47F9-F2F6DD4A926A}"/>
              </a:ext>
            </a:extLst>
          </p:cNvPr>
          <p:cNvSpPr>
            <a:spLocks noGrp="1"/>
          </p:cNvSpPr>
          <p:nvPr>
            <p:ph type="pic" sz="quarter" idx="26" hasCustomPrompt="1"/>
          </p:nvPr>
        </p:nvSpPr>
        <p:spPr>
          <a:xfrm>
            <a:off x="550863" y="3975101"/>
            <a:ext cx="360362" cy="360362"/>
          </a:xfrm>
          <a:noFill/>
          <a:ln>
            <a:noFill/>
          </a:ln>
        </p:spPr>
        <p:txBody>
          <a:bodyPr anchor="ctr" anchorCtr="0"/>
          <a:lstStyle>
            <a:lvl1pPr marL="0" indent="0" algn="ctr">
              <a:buNone/>
              <a:defRPr sz="1050">
                <a:solidFill>
                  <a:schemeClr val="accent1"/>
                </a:solidFill>
                <a:latin typeface="+mn-lt"/>
              </a:defRPr>
            </a:lvl1pPr>
          </a:lstStyle>
          <a:p>
            <a:pPr lvl="0"/>
            <a:r>
              <a:rPr lang="en-GB"/>
              <a:t>icon</a:t>
            </a:r>
          </a:p>
        </p:txBody>
      </p:sp>
      <p:sp>
        <p:nvSpPr>
          <p:cNvPr id="19" name="Picture Placeholder 15">
            <a:extLst>
              <a:ext uri="{FF2B5EF4-FFF2-40B4-BE49-F238E27FC236}">
                <a16:creationId xmlns:a16="http://schemas.microsoft.com/office/drawing/2014/main" id="{94728C11-8074-D1BE-B9D0-CB027FAF714D}"/>
              </a:ext>
            </a:extLst>
          </p:cNvPr>
          <p:cNvSpPr>
            <a:spLocks noGrp="1"/>
          </p:cNvSpPr>
          <p:nvPr>
            <p:ph type="pic" sz="quarter" idx="27" hasCustomPrompt="1"/>
          </p:nvPr>
        </p:nvSpPr>
        <p:spPr>
          <a:xfrm>
            <a:off x="4295776" y="3975101"/>
            <a:ext cx="360362" cy="360362"/>
          </a:xfrm>
          <a:noFill/>
          <a:ln>
            <a:noFill/>
          </a:ln>
        </p:spPr>
        <p:txBody>
          <a:bodyPr anchor="ctr" anchorCtr="0"/>
          <a:lstStyle>
            <a:lvl1pPr marL="0" indent="0" algn="ctr">
              <a:buNone/>
              <a:defRPr sz="1050">
                <a:solidFill>
                  <a:schemeClr val="accent1"/>
                </a:solidFill>
                <a:latin typeface="+mn-lt"/>
              </a:defRPr>
            </a:lvl1pPr>
          </a:lstStyle>
          <a:p>
            <a:pPr lvl="0"/>
            <a:r>
              <a:rPr lang="en-GB"/>
              <a:t>icon</a:t>
            </a:r>
          </a:p>
        </p:txBody>
      </p:sp>
      <p:sp>
        <p:nvSpPr>
          <p:cNvPr id="20" name="Picture Placeholder 15">
            <a:extLst>
              <a:ext uri="{FF2B5EF4-FFF2-40B4-BE49-F238E27FC236}">
                <a16:creationId xmlns:a16="http://schemas.microsoft.com/office/drawing/2014/main" id="{F0912BBD-4F8D-1C4E-BAB2-26D3F44FC076}"/>
              </a:ext>
            </a:extLst>
          </p:cNvPr>
          <p:cNvSpPr>
            <a:spLocks noGrp="1"/>
          </p:cNvSpPr>
          <p:nvPr>
            <p:ph type="pic" sz="quarter" idx="28" hasCustomPrompt="1"/>
          </p:nvPr>
        </p:nvSpPr>
        <p:spPr>
          <a:xfrm>
            <a:off x="8040687" y="3975101"/>
            <a:ext cx="360362" cy="360362"/>
          </a:xfrm>
          <a:noFill/>
          <a:ln>
            <a:noFill/>
          </a:ln>
        </p:spPr>
        <p:txBody>
          <a:bodyPr anchor="ctr" anchorCtr="0"/>
          <a:lstStyle>
            <a:lvl1pPr marL="0" indent="0" algn="ctr">
              <a:buNone/>
              <a:defRPr sz="1050">
                <a:solidFill>
                  <a:schemeClr val="accent1"/>
                </a:solidFill>
                <a:latin typeface="+mn-lt"/>
              </a:defRPr>
            </a:lvl1pPr>
          </a:lstStyle>
          <a:p>
            <a:pPr lvl="0"/>
            <a:r>
              <a:rPr lang="en-GB" err="1"/>
              <a:t>inon</a:t>
            </a:r>
            <a:endParaRPr lang="en-GB"/>
          </a:p>
        </p:txBody>
      </p:sp>
      <p:sp>
        <p:nvSpPr>
          <p:cNvPr id="21" name="Text Placeholder 12">
            <a:extLst>
              <a:ext uri="{FF2B5EF4-FFF2-40B4-BE49-F238E27FC236}">
                <a16:creationId xmlns:a16="http://schemas.microsoft.com/office/drawing/2014/main" id="{6E66683B-A6F4-4DD1-EA6F-AEA3CEEEC327}"/>
              </a:ext>
            </a:extLst>
          </p:cNvPr>
          <p:cNvSpPr>
            <a:spLocks noGrp="1"/>
          </p:cNvSpPr>
          <p:nvPr>
            <p:ph type="body" sz="quarter" idx="29"/>
          </p:nvPr>
        </p:nvSpPr>
        <p:spPr>
          <a:xfrm>
            <a:off x="550864" y="4880014"/>
            <a:ext cx="3204000" cy="1084842"/>
          </a:xfrm>
        </p:spPr>
        <p:txBody>
          <a:bodyPr/>
          <a:lstStyle>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endParaRPr lang="en-GB"/>
          </a:p>
        </p:txBody>
      </p:sp>
      <p:sp>
        <p:nvSpPr>
          <p:cNvPr id="22" name="Text Placeholder 12">
            <a:extLst>
              <a:ext uri="{FF2B5EF4-FFF2-40B4-BE49-F238E27FC236}">
                <a16:creationId xmlns:a16="http://schemas.microsoft.com/office/drawing/2014/main" id="{3B144B33-D084-060F-5581-DDBE883820CD}"/>
              </a:ext>
            </a:extLst>
          </p:cNvPr>
          <p:cNvSpPr>
            <a:spLocks noGrp="1"/>
          </p:cNvSpPr>
          <p:nvPr>
            <p:ph type="body" sz="quarter" idx="30"/>
          </p:nvPr>
        </p:nvSpPr>
        <p:spPr>
          <a:xfrm>
            <a:off x="4295775" y="4880014"/>
            <a:ext cx="3204000" cy="1084842"/>
          </a:xfrm>
        </p:spPr>
        <p:txBody>
          <a:bodyPr/>
          <a:lstStyle>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endParaRPr lang="en-GB"/>
          </a:p>
        </p:txBody>
      </p:sp>
      <p:sp>
        <p:nvSpPr>
          <p:cNvPr id="23" name="Text Placeholder 12">
            <a:extLst>
              <a:ext uri="{FF2B5EF4-FFF2-40B4-BE49-F238E27FC236}">
                <a16:creationId xmlns:a16="http://schemas.microsoft.com/office/drawing/2014/main" id="{15877E3B-9D42-A4A3-2645-70BEEDB8BA8C}"/>
              </a:ext>
            </a:extLst>
          </p:cNvPr>
          <p:cNvSpPr>
            <a:spLocks noGrp="1"/>
          </p:cNvSpPr>
          <p:nvPr>
            <p:ph type="body" sz="quarter" idx="31"/>
          </p:nvPr>
        </p:nvSpPr>
        <p:spPr>
          <a:xfrm>
            <a:off x="8040688" y="4880014"/>
            <a:ext cx="3204000" cy="1084842"/>
          </a:xfrm>
        </p:spPr>
        <p:txBody>
          <a:bodyPr/>
          <a:lstStyle>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endParaRPr lang="en-GB"/>
          </a:p>
        </p:txBody>
      </p:sp>
      <p:sp>
        <p:nvSpPr>
          <p:cNvPr id="7" name="Text Placeholder 12">
            <a:extLst>
              <a:ext uri="{FF2B5EF4-FFF2-40B4-BE49-F238E27FC236}">
                <a16:creationId xmlns:a16="http://schemas.microsoft.com/office/drawing/2014/main" id="{EBB16481-08E1-935B-439F-998CF3FB6A15}"/>
              </a:ext>
            </a:extLst>
          </p:cNvPr>
          <p:cNvSpPr>
            <a:spLocks noGrp="1"/>
          </p:cNvSpPr>
          <p:nvPr>
            <p:ph type="body" sz="quarter" idx="33" hasCustomPrompt="1"/>
          </p:nvPr>
        </p:nvSpPr>
        <p:spPr>
          <a:xfrm>
            <a:off x="550861" y="2354266"/>
            <a:ext cx="3203999"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8" name="Text Placeholder 12">
            <a:extLst>
              <a:ext uri="{FF2B5EF4-FFF2-40B4-BE49-F238E27FC236}">
                <a16:creationId xmlns:a16="http://schemas.microsoft.com/office/drawing/2014/main" id="{FD7AA914-9207-8E22-11B4-51AFEC090828}"/>
              </a:ext>
            </a:extLst>
          </p:cNvPr>
          <p:cNvSpPr>
            <a:spLocks noGrp="1"/>
          </p:cNvSpPr>
          <p:nvPr>
            <p:ph type="body" sz="quarter" idx="39" hasCustomPrompt="1"/>
          </p:nvPr>
        </p:nvSpPr>
        <p:spPr>
          <a:xfrm>
            <a:off x="4294188" y="2354266"/>
            <a:ext cx="3205586"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9" name="Text Placeholder 12">
            <a:extLst>
              <a:ext uri="{FF2B5EF4-FFF2-40B4-BE49-F238E27FC236}">
                <a16:creationId xmlns:a16="http://schemas.microsoft.com/office/drawing/2014/main" id="{4C9F7CB6-EC15-D23D-BC60-F13920456B9B}"/>
              </a:ext>
            </a:extLst>
          </p:cNvPr>
          <p:cNvSpPr>
            <a:spLocks noGrp="1"/>
          </p:cNvSpPr>
          <p:nvPr>
            <p:ph type="body" sz="quarter" idx="41" hasCustomPrompt="1"/>
          </p:nvPr>
        </p:nvSpPr>
        <p:spPr>
          <a:xfrm>
            <a:off x="8039099" y="2354266"/>
            <a:ext cx="3205586"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11" name="Text Placeholder 12">
            <a:extLst>
              <a:ext uri="{FF2B5EF4-FFF2-40B4-BE49-F238E27FC236}">
                <a16:creationId xmlns:a16="http://schemas.microsoft.com/office/drawing/2014/main" id="{1BA75414-8C62-1067-CFA4-FA10DCACE774}"/>
              </a:ext>
            </a:extLst>
          </p:cNvPr>
          <p:cNvSpPr>
            <a:spLocks noGrp="1"/>
          </p:cNvSpPr>
          <p:nvPr>
            <p:ph type="body" sz="quarter" idx="42" hasCustomPrompt="1"/>
          </p:nvPr>
        </p:nvSpPr>
        <p:spPr>
          <a:xfrm>
            <a:off x="550861" y="4511513"/>
            <a:ext cx="3203999"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
        <p:nvSpPr>
          <p:cNvPr id="12" name="Text Placeholder 12">
            <a:extLst>
              <a:ext uri="{FF2B5EF4-FFF2-40B4-BE49-F238E27FC236}">
                <a16:creationId xmlns:a16="http://schemas.microsoft.com/office/drawing/2014/main" id="{2B924D59-6423-CEC2-5EE2-AE3E539912D1}"/>
              </a:ext>
            </a:extLst>
          </p:cNvPr>
          <p:cNvSpPr>
            <a:spLocks noGrp="1"/>
          </p:cNvSpPr>
          <p:nvPr>
            <p:ph type="body" sz="quarter" idx="43" hasCustomPrompt="1"/>
          </p:nvPr>
        </p:nvSpPr>
        <p:spPr>
          <a:xfrm>
            <a:off x="4294188" y="4511513"/>
            <a:ext cx="3205586"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ive</a:t>
            </a:r>
          </a:p>
        </p:txBody>
      </p:sp>
      <p:sp>
        <p:nvSpPr>
          <p:cNvPr id="14" name="Text Placeholder 12">
            <a:extLst>
              <a:ext uri="{FF2B5EF4-FFF2-40B4-BE49-F238E27FC236}">
                <a16:creationId xmlns:a16="http://schemas.microsoft.com/office/drawing/2014/main" id="{3D7A6482-EE6C-C6F0-BECB-03B442140B2B}"/>
              </a:ext>
            </a:extLst>
          </p:cNvPr>
          <p:cNvSpPr>
            <a:spLocks noGrp="1"/>
          </p:cNvSpPr>
          <p:nvPr>
            <p:ph type="body" sz="quarter" idx="44" hasCustomPrompt="1"/>
          </p:nvPr>
        </p:nvSpPr>
        <p:spPr>
          <a:xfrm>
            <a:off x="8039099" y="4511513"/>
            <a:ext cx="3205586"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six</a:t>
            </a:r>
          </a:p>
        </p:txBody>
      </p:sp>
    </p:spTree>
    <p:extLst>
      <p:ext uri="{BB962C8B-B14F-4D97-AF65-F5344CB8AC3E}">
        <p14:creationId xmlns:p14="http://schemas.microsoft.com/office/powerpoint/2010/main" val="8874979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382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Picture Placeholder 15">
            <a:extLst>
              <a:ext uri="{FF2B5EF4-FFF2-40B4-BE49-F238E27FC236}">
                <a16:creationId xmlns:a16="http://schemas.microsoft.com/office/drawing/2014/main" id="{2EA171D6-EAD7-2CF4-C438-37D4EBFC5887}"/>
              </a:ext>
            </a:extLst>
          </p:cNvPr>
          <p:cNvSpPr>
            <a:spLocks noGrp="1"/>
          </p:cNvSpPr>
          <p:nvPr>
            <p:ph type="pic" sz="quarter" idx="20" hasCustomPrompt="1"/>
          </p:nvPr>
        </p:nvSpPr>
        <p:spPr>
          <a:xfrm>
            <a:off x="551231" y="1815305"/>
            <a:ext cx="936257" cy="892971"/>
          </a:xfrm>
          <a:noFill/>
          <a:ln>
            <a:noFill/>
          </a:ln>
        </p:spPr>
        <p:txBody>
          <a:bodyPr anchor="ctr" anchorCtr="0"/>
          <a:lstStyle>
            <a:lvl1pPr marL="0" indent="0" algn="ctr">
              <a:spcBef>
                <a:spcPts val="0"/>
              </a:spcBef>
              <a:buNone/>
              <a:defRPr sz="1050">
                <a:solidFill>
                  <a:schemeClr val="accent1"/>
                </a:solidFill>
                <a:latin typeface="+mn-lt"/>
              </a:defRPr>
            </a:lvl1pPr>
          </a:lstStyle>
          <a:p>
            <a:pPr lvl="0"/>
            <a:r>
              <a:rPr lang="en-GB"/>
              <a:t>click or drag </a:t>
            </a:r>
            <a:br>
              <a:rPr lang="en-GB"/>
            </a:br>
            <a:r>
              <a:rPr lang="en-GB"/>
              <a:t>to insert  pictogram</a:t>
            </a:r>
          </a:p>
        </p:txBody>
      </p:sp>
      <p:sp>
        <p:nvSpPr>
          <p:cNvPr id="9" name="Picture Placeholder 15">
            <a:extLst>
              <a:ext uri="{FF2B5EF4-FFF2-40B4-BE49-F238E27FC236}">
                <a16:creationId xmlns:a16="http://schemas.microsoft.com/office/drawing/2014/main" id="{D4E481C3-CC11-1CFB-201D-1B269ED03B3E}"/>
              </a:ext>
            </a:extLst>
          </p:cNvPr>
          <p:cNvSpPr>
            <a:spLocks noGrp="1"/>
          </p:cNvSpPr>
          <p:nvPr>
            <p:ph type="pic" sz="quarter" idx="27" hasCustomPrompt="1"/>
          </p:nvPr>
        </p:nvSpPr>
        <p:spPr>
          <a:xfrm>
            <a:off x="4301608" y="1816649"/>
            <a:ext cx="936258" cy="892971"/>
          </a:xfrm>
          <a:noFill/>
          <a:ln>
            <a:noFill/>
          </a:ln>
        </p:spPr>
        <p:txBody>
          <a:bodyPr anchor="ctr" anchorCtr="0"/>
          <a:lstStyle>
            <a:lvl1pPr marL="0" indent="0" algn="ctr">
              <a:spcBef>
                <a:spcPts val="0"/>
              </a:spcBef>
              <a:buNone/>
              <a:defRPr sz="1050">
                <a:solidFill>
                  <a:schemeClr val="accent1"/>
                </a:solidFill>
                <a:latin typeface="+mn-lt"/>
              </a:defRPr>
            </a:lvl1pPr>
          </a:lstStyle>
          <a:p>
            <a:pPr lvl="0"/>
            <a:r>
              <a:rPr lang="en-GB"/>
              <a:t>click or darg </a:t>
            </a:r>
            <a:br>
              <a:rPr lang="en-GB"/>
            </a:br>
            <a:r>
              <a:rPr lang="en-GB"/>
              <a:t>to insert  pictogram</a:t>
            </a:r>
          </a:p>
        </p:txBody>
      </p:sp>
      <p:sp>
        <p:nvSpPr>
          <p:cNvPr id="12" name="Picture Placeholder 15">
            <a:extLst>
              <a:ext uri="{FF2B5EF4-FFF2-40B4-BE49-F238E27FC236}">
                <a16:creationId xmlns:a16="http://schemas.microsoft.com/office/drawing/2014/main" id="{410FFDC6-EDC0-0D17-EA8F-1D63862DD171}"/>
              </a:ext>
            </a:extLst>
          </p:cNvPr>
          <p:cNvSpPr>
            <a:spLocks noGrp="1"/>
          </p:cNvSpPr>
          <p:nvPr>
            <p:ph type="pic" sz="quarter" idx="29" hasCustomPrompt="1"/>
          </p:nvPr>
        </p:nvSpPr>
        <p:spPr>
          <a:xfrm>
            <a:off x="8039099" y="1816892"/>
            <a:ext cx="936257" cy="892971"/>
          </a:xfrm>
          <a:noFill/>
          <a:ln>
            <a:noFill/>
          </a:ln>
        </p:spPr>
        <p:txBody>
          <a:bodyPr anchor="ctr" anchorCtr="0"/>
          <a:lstStyle>
            <a:lvl1pPr marL="0" indent="0" algn="ctr">
              <a:spcBef>
                <a:spcPts val="0"/>
              </a:spcBef>
              <a:buNone/>
              <a:defRPr sz="1050">
                <a:solidFill>
                  <a:schemeClr val="accent1"/>
                </a:solidFill>
                <a:latin typeface="+mn-lt"/>
              </a:defRPr>
            </a:lvl1pPr>
          </a:lstStyle>
          <a:p>
            <a:pPr lvl="0"/>
            <a:r>
              <a:rPr lang="en-GB"/>
              <a:t>click or drag </a:t>
            </a:r>
            <a:br>
              <a:rPr lang="en-GB"/>
            </a:br>
            <a:r>
              <a:rPr lang="en-GB"/>
              <a:t>to insert  pictogram</a:t>
            </a:r>
          </a:p>
        </p:txBody>
      </p:sp>
      <p:sp>
        <p:nvSpPr>
          <p:cNvPr id="26" name="Text Placeholder 12">
            <a:extLst>
              <a:ext uri="{FF2B5EF4-FFF2-40B4-BE49-F238E27FC236}">
                <a16:creationId xmlns:a16="http://schemas.microsoft.com/office/drawing/2014/main" id="{67AA24BF-B3A5-DD0B-0D78-5383ECD9EE5A}"/>
              </a:ext>
            </a:extLst>
          </p:cNvPr>
          <p:cNvSpPr>
            <a:spLocks noGrp="1"/>
          </p:cNvSpPr>
          <p:nvPr>
            <p:ph type="body" sz="quarter" idx="32"/>
          </p:nvPr>
        </p:nvSpPr>
        <p:spPr>
          <a:xfrm>
            <a:off x="550864" y="3429000"/>
            <a:ext cx="3204000" cy="1981200"/>
          </a:xfr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Click to edit Master text styles</a:t>
            </a:r>
          </a:p>
          <a:p>
            <a:pPr lvl="1"/>
            <a:r>
              <a:rPr lang="en-US"/>
              <a:t>Second level</a:t>
            </a:r>
          </a:p>
          <a:p>
            <a:pPr lvl="2"/>
            <a:r>
              <a:rPr lang="en-US"/>
              <a:t>Third level</a:t>
            </a:r>
          </a:p>
        </p:txBody>
      </p:sp>
      <p:sp>
        <p:nvSpPr>
          <p:cNvPr id="27" name="Text Placeholder 12">
            <a:extLst>
              <a:ext uri="{FF2B5EF4-FFF2-40B4-BE49-F238E27FC236}">
                <a16:creationId xmlns:a16="http://schemas.microsoft.com/office/drawing/2014/main" id="{464A1211-D215-C620-96FA-3D66903DC37D}"/>
              </a:ext>
            </a:extLst>
          </p:cNvPr>
          <p:cNvSpPr>
            <a:spLocks noGrp="1"/>
          </p:cNvSpPr>
          <p:nvPr>
            <p:ph type="body" sz="quarter" idx="15"/>
          </p:nvPr>
        </p:nvSpPr>
        <p:spPr>
          <a:xfrm>
            <a:off x="4295775" y="3429000"/>
            <a:ext cx="3204000" cy="1981200"/>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28" name="Text Placeholder 12">
            <a:extLst>
              <a:ext uri="{FF2B5EF4-FFF2-40B4-BE49-F238E27FC236}">
                <a16:creationId xmlns:a16="http://schemas.microsoft.com/office/drawing/2014/main" id="{F41D264A-B19D-8A77-DA15-A85BB03AA289}"/>
              </a:ext>
            </a:extLst>
          </p:cNvPr>
          <p:cNvSpPr>
            <a:spLocks noGrp="1"/>
          </p:cNvSpPr>
          <p:nvPr>
            <p:ph type="body" sz="quarter" idx="16"/>
          </p:nvPr>
        </p:nvSpPr>
        <p:spPr>
          <a:xfrm>
            <a:off x="8040688" y="3429000"/>
            <a:ext cx="3204000" cy="1981200"/>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8D88CA9E-AAA3-F90B-4017-BA2199A957EC}"/>
              </a:ext>
            </a:extLst>
          </p:cNvPr>
          <p:cNvSpPr>
            <a:spLocks noGrp="1"/>
          </p:cNvSpPr>
          <p:nvPr>
            <p:ph type="body" sz="quarter" idx="33" hasCustomPrompt="1"/>
          </p:nvPr>
        </p:nvSpPr>
        <p:spPr>
          <a:xfrm>
            <a:off x="550861" y="3068638"/>
            <a:ext cx="3203999"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6" name="Text Placeholder 12">
            <a:extLst>
              <a:ext uri="{FF2B5EF4-FFF2-40B4-BE49-F238E27FC236}">
                <a16:creationId xmlns:a16="http://schemas.microsoft.com/office/drawing/2014/main" id="{E1592742-5192-2442-D2D1-C93A811139F1}"/>
              </a:ext>
            </a:extLst>
          </p:cNvPr>
          <p:cNvSpPr>
            <a:spLocks noGrp="1"/>
          </p:cNvSpPr>
          <p:nvPr>
            <p:ph type="body" sz="quarter" idx="39" hasCustomPrompt="1"/>
          </p:nvPr>
        </p:nvSpPr>
        <p:spPr>
          <a:xfrm>
            <a:off x="4294188" y="3068638"/>
            <a:ext cx="3205586"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8" name="Text Placeholder 12">
            <a:extLst>
              <a:ext uri="{FF2B5EF4-FFF2-40B4-BE49-F238E27FC236}">
                <a16:creationId xmlns:a16="http://schemas.microsoft.com/office/drawing/2014/main" id="{9F750E87-C1CF-4852-E1FB-CCD23D7D194D}"/>
              </a:ext>
            </a:extLst>
          </p:cNvPr>
          <p:cNvSpPr>
            <a:spLocks noGrp="1"/>
          </p:cNvSpPr>
          <p:nvPr>
            <p:ph type="body" sz="quarter" idx="41" hasCustomPrompt="1"/>
          </p:nvPr>
        </p:nvSpPr>
        <p:spPr>
          <a:xfrm>
            <a:off x="8039099" y="3068638"/>
            <a:ext cx="3205586"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Tree>
    <p:extLst>
      <p:ext uri="{BB962C8B-B14F-4D97-AF65-F5344CB8AC3E}">
        <p14:creationId xmlns:p14="http://schemas.microsoft.com/office/powerpoint/2010/main" val="33623277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x Pictogram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382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F0399FF5-9649-B959-9DCF-DAECACBCDEEC}"/>
              </a:ext>
            </a:extLst>
          </p:cNvPr>
          <p:cNvSpPr>
            <a:spLocks noGrp="1"/>
          </p:cNvSpPr>
          <p:nvPr>
            <p:ph type="pic" sz="quarter" idx="20" hasCustomPrompt="1"/>
          </p:nvPr>
        </p:nvSpPr>
        <p:spPr>
          <a:xfrm>
            <a:off x="551231" y="1815304"/>
            <a:ext cx="936257" cy="892971"/>
          </a:xfrm>
          <a:noFill/>
        </p:spPr>
        <p:txBody>
          <a:bodyPr anchor="ctr" anchorCtr="0"/>
          <a:lstStyle>
            <a:lvl1pPr marL="0" indent="0" algn="ctr">
              <a:spcBef>
                <a:spcPts val="0"/>
              </a:spcBef>
              <a:buNone/>
              <a:defRPr sz="1050">
                <a:solidFill>
                  <a:schemeClr val="accent1"/>
                </a:solidFill>
                <a:latin typeface="+mn-lt"/>
              </a:defRPr>
            </a:lvl1pPr>
          </a:lstStyle>
          <a:p>
            <a:pPr lvl="0"/>
            <a:r>
              <a:rPr lang="en-GB"/>
              <a:t>click or drag </a:t>
            </a:r>
            <a:br>
              <a:rPr lang="en-GB"/>
            </a:br>
            <a:r>
              <a:rPr lang="en-GB"/>
              <a:t>to insert  pictogram</a:t>
            </a:r>
          </a:p>
        </p:txBody>
      </p:sp>
      <p:sp>
        <p:nvSpPr>
          <p:cNvPr id="8" name="Picture Placeholder 15">
            <a:extLst>
              <a:ext uri="{FF2B5EF4-FFF2-40B4-BE49-F238E27FC236}">
                <a16:creationId xmlns:a16="http://schemas.microsoft.com/office/drawing/2014/main" id="{EE3320D6-3CB1-7A47-2BFC-A4E7CD41E662}"/>
              </a:ext>
            </a:extLst>
          </p:cNvPr>
          <p:cNvSpPr>
            <a:spLocks noGrp="1"/>
          </p:cNvSpPr>
          <p:nvPr>
            <p:ph type="pic" sz="quarter" idx="27" hasCustomPrompt="1"/>
          </p:nvPr>
        </p:nvSpPr>
        <p:spPr>
          <a:xfrm>
            <a:off x="3359518" y="1815304"/>
            <a:ext cx="936257" cy="892971"/>
          </a:xfrm>
          <a:noFill/>
        </p:spPr>
        <p:txBody>
          <a:bodyPr anchor="ctr" anchorCtr="0"/>
          <a:lstStyle>
            <a:lvl1pPr marL="0" indent="0" algn="ctr">
              <a:spcBef>
                <a:spcPts val="0"/>
              </a:spcBef>
              <a:buNone/>
              <a:defRPr sz="1050">
                <a:solidFill>
                  <a:schemeClr val="accent1"/>
                </a:solidFill>
                <a:latin typeface="+mn-lt"/>
              </a:defRPr>
            </a:lvl1pPr>
          </a:lstStyle>
          <a:p>
            <a:pPr lvl="0"/>
            <a:r>
              <a:rPr lang="en-GB"/>
              <a:t>click or drag </a:t>
            </a:r>
            <a:br>
              <a:rPr lang="en-GB"/>
            </a:br>
            <a:r>
              <a:rPr lang="en-GB"/>
              <a:t>to insert  pictogram</a:t>
            </a:r>
          </a:p>
        </p:txBody>
      </p:sp>
      <p:sp>
        <p:nvSpPr>
          <p:cNvPr id="14" name="Picture Placeholder 15">
            <a:extLst>
              <a:ext uri="{FF2B5EF4-FFF2-40B4-BE49-F238E27FC236}">
                <a16:creationId xmlns:a16="http://schemas.microsoft.com/office/drawing/2014/main" id="{F7147628-F7A2-5521-0AE1-2410D1FA1E9B}"/>
              </a:ext>
            </a:extLst>
          </p:cNvPr>
          <p:cNvSpPr>
            <a:spLocks noGrp="1"/>
          </p:cNvSpPr>
          <p:nvPr>
            <p:ph type="pic" sz="quarter" idx="29" hasCustomPrompt="1"/>
          </p:nvPr>
        </p:nvSpPr>
        <p:spPr>
          <a:xfrm>
            <a:off x="6167805" y="1815304"/>
            <a:ext cx="936257" cy="892971"/>
          </a:xfrm>
          <a:noFill/>
        </p:spPr>
        <p:txBody>
          <a:bodyPr anchor="ctr" anchorCtr="0"/>
          <a:lstStyle>
            <a:lvl1pPr marL="0" indent="0" algn="ctr">
              <a:spcBef>
                <a:spcPts val="0"/>
              </a:spcBef>
              <a:buNone/>
              <a:defRPr sz="1050">
                <a:solidFill>
                  <a:schemeClr val="accent1"/>
                </a:solidFill>
                <a:latin typeface="+mn-lt"/>
              </a:defRPr>
            </a:lvl1pPr>
          </a:lstStyle>
          <a:p>
            <a:pPr lvl="0"/>
            <a:r>
              <a:rPr lang="en-GB"/>
              <a:t>click or drag </a:t>
            </a:r>
            <a:br>
              <a:rPr lang="en-GB"/>
            </a:br>
            <a:r>
              <a:rPr lang="en-GB"/>
              <a:t>to insert  pictogram</a:t>
            </a:r>
          </a:p>
        </p:txBody>
      </p:sp>
      <p:sp>
        <p:nvSpPr>
          <p:cNvPr id="16" name="Picture Placeholder 15">
            <a:extLst>
              <a:ext uri="{FF2B5EF4-FFF2-40B4-BE49-F238E27FC236}">
                <a16:creationId xmlns:a16="http://schemas.microsoft.com/office/drawing/2014/main" id="{783ED533-7007-5D08-AFDD-C0ED064FE79F}"/>
              </a:ext>
            </a:extLst>
          </p:cNvPr>
          <p:cNvSpPr>
            <a:spLocks noGrp="1"/>
          </p:cNvSpPr>
          <p:nvPr>
            <p:ph type="pic" sz="quarter" idx="33" hasCustomPrompt="1"/>
          </p:nvPr>
        </p:nvSpPr>
        <p:spPr>
          <a:xfrm>
            <a:off x="8976091" y="1815304"/>
            <a:ext cx="936257" cy="892971"/>
          </a:xfrm>
          <a:noFill/>
        </p:spPr>
        <p:txBody>
          <a:bodyPr anchor="ctr" anchorCtr="0"/>
          <a:lstStyle>
            <a:lvl1pPr marL="0" indent="0" algn="ctr">
              <a:spcBef>
                <a:spcPts val="0"/>
              </a:spcBef>
              <a:buNone/>
              <a:defRPr sz="1050">
                <a:solidFill>
                  <a:schemeClr val="accent1"/>
                </a:solidFill>
                <a:latin typeface="+mn-lt"/>
              </a:defRPr>
            </a:lvl1pPr>
          </a:lstStyle>
          <a:p>
            <a:pPr lvl="0"/>
            <a:r>
              <a:rPr lang="en-GB"/>
              <a:t>click or drag </a:t>
            </a:r>
            <a:br>
              <a:rPr lang="en-GB"/>
            </a:br>
            <a:r>
              <a:rPr lang="en-GB"/>
              <a:t>to insert  pictogram</a:t>
            </a:r>
          </a:p>
        </p:txBody>
      </p:sp>
      <p:sp>
        <p:nvSpPr>
          <p:cNvPr id="18" name="Text Placeholder 12">
            <a:extLst>
              <a:ext uri="{FF2B5EF4-FFF2-40B4-BE49-F238E27FC236}">
                <a16:creationId xmlns:a16="http://schemas.microsoft.com/office/drawing/2014/main" id="{287F0BB8-9028-A298-0ED9-DD9841E9FF1E}"/>
              </a:ext>
            </a:extLst>
          </p:cNvPr>
          <p:cNvSpPr>
            <a:spLocks noGrp="1"/>
          </p:cNvSpPr>
          <p:nvPr>
            <p:ph type="body" sz="quarter" idx="35"/>
          </p:nvPr>
        </p:nvSpPr>
        <p:spPr>
          <a:xfrm>
            <a:off x="550864" y="3429000"/>
            <a:ext cx="2268000" cy="1981200"/>
          </a:xfrm>
          <a:noFill/>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Click to edit Master text styles</a:t>
            </a:r>
          </a:p>
          <a:p>
            <a:pPr lvl="1"/>
            <a:r>
              <a:rPr lang="en-US"/>
              <a:t>Second level</a:t>
            </a:r>
          </a:p>
          <a:p>
            <a:pPr lvl="2"/>
            <a:r>
              <a:rPr lang="en-US"/>
              <a:t>Third level</a:t>
            </a:r>
          </a:p>
        </p:txBody>
      </p:sp>
      <p:sp>
        <p:nvSpPr>
          <p:cNvPr id="19" name="Text Placeholder 12">
            <a:extLst>
              <a:ext uri="{FF2B5EF4-FFF2-40B4-BE49-F238E27FC236}">
                <a16:creationId xmlns:a16="http://schemas.microsoft.com/office/drawing/2014/main" id="{EBEB4CD8-6B60-C130-BCA3-DCF661418B37}"/>
              </a:ext>
            </a:extLst>
          </p:cNvPr>
          <p:cNvSpPr>
            <a:spLocks noGrp="1"/>
          </p:cNvSpPr>
          <p:nvPr>
            <p:ph type="body" sz="quarter" idx="36"/>
          </p:nvPr>
        </p:nvSpPr>
        <p:spPr>
          <a:xfrm>
            <a:off x="3359151" y="3429000"/>
            <a:ext cx="2268000" cy="1981200"/>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20" name="Text Placeholder 12">
            <a:extLst>
              <a:ext uri="{FF2B5EF4-FFF2-40B4-BE49-F238E27FC236}">
                <a16:creationId xmlns:a16="http://schemas.microsoft.com/office/drawing/2014/main" id="{FBD3B35B-85FC-EDDE-B2E6-90A04DDC0CBF}"/>
              </a:ext>
            </a:extLst>
          </p:cNvPr>
          <p:cNvSpPr>
            <a:spLocks noGrp="1"/>
          </p:cNvSpPr>
          <p:nvPr>
            <p:ph type="body" sz="quarter" idx="37"/>
          </p:nvPr>
        </p:nvSpPr>
        <p:spPr>
          <a:xfrm>
            <a:off x="6167438" y="3429000"/>
            <a:ext cx="2268000" cy="1981200"/>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21" name="Text Placeholder 12">
            <a:extLst>
              <a:ext uri="{FF2B5EF4-FFF2-40B4-BE49-F238E27FC236}">
                <a16:creationId xmlns:a16="http://schemas.microsoft.com/office/drawing/2014/main" id="{15362B43-1343-95D7-3182-D159AA5259CA}"/>
              </a:ext>
            </a:extLst>
          </p:cNvPr>
          <p:cNvSpPr>
            <a:spLocks noGrp="1"/>
          </p:cNvSpPr>
          <p:nvPr>
            <p:ph type="body" sz="quarter" idx="38"/>
          </p:nvPr>
        </p:nvSpPr>
        <p:spPr>
          <a:xfrm>
            <a:off x="8975724" y="3429000"/>
            <a:ext cx="2268000" cy="1981200"/>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DDF58CD2-CE69-99DF-0DD7-54B19DAF37C0}"/>
              </a:ext>
            </a:extLst>
          </p:cNvPr>
          <p:cNvSpPr>
            <a:spLocks noGrp="1"/>
          </p:cNvSpPr>
          <p:nvPr>
            <p:ph type="body" sz="quarter" idx="16" hasCustomPrompt="1"/>
          </p:nvPr>
        </p:nvSpPr>
        <p:spPr>
          <a:xfrm>
            <a:off x="550862" y="3068638"/>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one</a:t>
            </a:r>
          </a:p>
        </p:txBody>
      </p:sp>
      <p:sp>
        <p:nvSpPr>
          <p:cNvPr id="7" name="Text Placeholder 12">
            <a:extLst>
              <a:ext uri="{FF2B5EF4-FFF2-40B4-BE49-F238E27FC236}">
                <a16:creationId xmlns:a16="http://schemas.microsoft.com/office/drawing/2014/main" id="{685B5BAD-F653-34E0-BD7A-D07E667E03D9}"/>
              </a:ext>
            </a:extLst>
          </p:cNvPr>
          <p:cNvSpPr>
            <a:spLocks noGrp="1"/>
          </p:cNvSpPr>
          <p:nvPr>
            <p:ph type="body" sz="quarter" idx="39" hasCustomPrompt="1"/>
          </p:nvPr>
        </p:nvSpPr>
        <p:spPr>
          <a:xfrm>
            <a:off x="3359150" y="3068638"/>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wo</a:t>
            </a:r>
          </a:p>
        </p:txBody>
      </p:sp>
      <p:sp>
        <p:nvSpPr>
          <p:cNvPr id="9" name="Text Placeholder 12">
            <a:extLst>
              <a:ext uri="{FF2B5EF4-FFF2-40B4-BE49-F238E27FC236}">
                <a16:creationId xmlns:a16="http://schemas.microsoft.com/office/drawing/2014/main" id="{3AC23E49-C105-792E-89B7-2E538F46D33B}"/>
              </a:ext>
            </a:extLst>
          </p:cNvPr>
          <p:cNvSpPr>
            <a:spLocks noGrp="1"/>
          </p:cNvSpPr>
          <p:nvPr>
            <p:ph type="body" sz="quarter" idx="41" hasCustomPrompt="1"/>
          </p:nvPr>
        </p:nvSpPr>
        <p:spPr>
          <a:xfrm>
            <a:off x="6167437" y="3068638"/>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three</a:t>
            </a:r>
          </a:p>
        </p:txBody>
      </p:sp>
      <p:sp>
        <p:nvSpPr>
          <p:cNvPr id="11" name="Text Placeholder 12">
            <a:extLst>
              <a:ext uri="{FF2B5EF4-FFF2-40B4-BE49-F238E27FC236}">
                <a16:creationId xmlns:a16="http://schemas.microsoft.com/office/drawing/2014/main" id="{66030319-162A-8EAC-EC05-EC48F87D6AA5}"/>
              </a:ext>
            </a:extLst>
          </p:cNvPr>
          <p:cNvSpPr>
            <a:spLocks noGrp="1"/>
          </p:cNvSpPr>
          <p:nvPr>
            <p:ph type="body" sz="quarter" idx="44" hasCustomPrompt="1"/>
          </p:nvPr>
        </p:nvSpPr>
        <p:spPr>
          <a:xfrm>
            <a:off x="8981446" y="3068638"/>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Section four</a:t>
            </a:r>
          </a:p>
        </p:txBody>
      </p:sp>
    </p:spTree>
    <p:extLst>
      <p:ext uri="{BB962C8B-B14F-4D97-AF65-F5344CB8AC3E}">
        <p14:creationId xmlns:p14="http://schemas.microsoft.com/office/powerpoint/2010/main" val="29179738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3 Colum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8BDDD5A-F3EA-9324-C80F-BA48A7004202}"/>
              </a:ext>
            </a:extLst>
          </p:cNvPr>
          <p:cNvSpPr/>
          <p:nvPr userDrawn="1"/>
        </p:nvSpPr>
        <p:spPr>
          <a:xfrm rot="10800000">
            <a:off x="4295774" y="0"/>
            <a:ext cx="789622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3204000"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3204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1A11780E-7970-3D6A-560B-8FC352EB4BDB}"/>
              </a:ext>
            </a:extLst>
          </p:cNvPr>
          <p:cNvSpPr>
            <a:spLocks noGrp="1"/>
          </p:cNvSpPr>
          <p:nvPr>
            <p:ph type="body" sz="quarter" idx="15"/>
          </p:nvPr>
        </p:nvSpPr>
        <p:spPr>
          <a:xfrm>
            <a:off x="4692225" y="1808163"/>
            <a:ext cx="194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C512CBC6-7C81-ACCD-65ED-7954BDCBDE28}"/>
              </a:ext>
            </a:extLst>
          </p:cNvPr>
          <p:cNvSpPr>
            <a:spLocks noGrp="1"/>
          </p:cNvSpPr>
          <p:nvPr>
            <p:ph type="body" sz="quarter" idx="16"/>
          </p:nvPr>
        </p:nvSpPr>
        <p:spPr>
          <a:xfrm>
            <a:off x="7195387" y="1808163"/>
            <a:ext cx="194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15" name="Text Placeholder 12">
            <a:extLst>
              <a:ext uri="{FF2B5EF4-FFF2-40B4-BE49-F238E27FC236}">
                <a16:creationId xmlns:a16="http://schemas.microsoft.com/office/drawing/2014/main" id="{2D427C67-BD30-366F-9839-241213EFE940}"/>
              </a:ext>
            </a:extLst>
          </p:cNvPr>
          <p:cNvSpPr>
            <a:spLocks noGrp="1"/>
          </p:cNvSpPr>
          <p:nvPr>
            <p:ph type="body" sz="quarter" idx="17"/>
          </p:nvPr>
        </p:nvSpPr>
        <p:spPr>
          <a:xfrm>
            <a:off x="9698549" y="1808163"/>
            <a:ext cx="194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16" name="Text Placeholder 12">
            <a:extLst>
              <a:ext uri="{FF2B5EF4-FFF2-40B4-BE49-F238E27FC236}">
                <a16:creationId xmlns:a16="http://schemas.microsoft.com/office/drawing/2014/main" id="{EE7A4F10-417A-F5FC-D102-ABE65026F567}"/>
              </a:ext>
            </a:extLst>
          </p:cNvPr>
          <p:cNvSpPr>
            <a:spLocks noGrp="1"/>
          </p:cNvSpPr>
          <p:nvPr>
            <p:ph type="body" sz="quarter" idx="18"/>
          </p:nvPr>
        </p:nvSpPr>
        <p:spPr>
          <a:xfrm>
            <a:off x="4692224" y="368301"/>
            <a:ext cx="6948911" cy="722524"/>
          </a:xfrm>
        </p:spPr>
        <p:txBody>
          <a:bodyPr/>
          <a:lstStyle>
            <a:lvl4pPr>
              <a:buClr>
                <a:schemeClr val="accent1"/>
              </a:buClr>
              <a:defRPr/>
            </a:lvl4pPr>
            <a:lvl5pPr>
              <a:buClr>
                <a:schemeClr val="accent1"/>
              </a:buClr>
              <a:defRPr/>
            </a:lvl5pPr>
          </a:lstStyle>
          <a:p>
            <a:pPr lvl="0"/>
            <a:r>
              <a:rPr lang="en-US"/>
              <a:t>Click to edit Master text styles</a:t>
            </a:r>
          </a:p>
          <a:p>
            <a:pPr lvl="1"/>
            <a:r>
              <a:rPr lang="en-US"/>
              <a:t>Second level</a:t>
            </a:r>
            <a:endParaRPr lang="en-GB"/>
          </a:p>
        </p:txBody>
      </p:sp>
    </p:spTree>
    <p:extLst>
      <p:ext uri="{BB962C8B-B14F-4D97-AF65-F5344CB8AC3E}">
        <p14:creationId xmlns:p14="http://schemas.microsoft.com/office/powerpoint/2010/main" val="383295534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x Columns - Mint / Citru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A72F9-BFC0-D39E-29A5-088B334EC876}"/>
              </a:ext>
            </a:extLst>
          </p:cNvPr>
          <p:cNvSpPr/>
          <p:nvPr userDrawn="1"/>
        </p:nvSpPr>
        <p:spPr>
          <a:xfrm rot="10800000">
            <a:off x="8040683" y="0"/>
            <a:ext cx="4151314" cy="6858000"/>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48911"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6948911"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2" name="Text Placeholder 12">
            <a:extLst>
              <a:ext uri="{FF2B5EF4-FFF2-40B4-BE49-F238E27FC236}">
                <a16:creationId xmlns:a16="http://schemas.microsoft.com/office/drawing/2014/main" id="{6F01E589-B0FD-5773-FC7E-69EF88D24ECA}"/>
              </a:ext>
            </a:extLst>
          </p:cNvPr>
          <p:cNvSpPr>
            <a:spLocks noGrp="1"/>
          </p:cNvSpPr>
          <p:nvPr>
            <p:ph type="body" sz="quarter" idx="14"/>
          </p:nvPr>
        </p:nvSpPr>
        <p:spPr>
          <a:xfrm>
            <a:off x="550864"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5DD0B1F3-2906-E57C-03AB-E26F5EBF9C94}"/>
              </a:ext>
            </a:extLst>
          </p:cNvPr>
          <p:cNvSpPr>
            <a:spLocks noGrp="1"/>
          </p:cNvSpPr>
          <p:nvPr>
            <p:ph type="body" sz="quarter" idx="17"/>
          </p:nvPr>
        </p:nvSpPr>
        <p:spPr>
          <a:xfrm>
            <a:off x="4295151"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15" name="Text Placeholder 12">
            <a:extLst>
              <a:ext uri="{FF2B5EF4-FFF2-40B4-BE49-F238E27FC236}">
                <a16:creationId xmlns:a16="http://schemas.microsoft.com/office/drawing/2014/main" id="{0380A71F-4948-4E24-888C-0570FBF8EDAF}"/>
              </a:ext>
            </a:extLst>
          </p:cNvPr>
          <p:cNvSpPr>
            <a:spLocks noGrp="1"/>
          </p:cNvSpPr>
          <p:nvPr>
            <p:ph type="body" sz="quarter" idx="18"/>
          </p:nvPr>
        </p:nvSpPr>
        <p:spPr>
          <a:xfrm>
            <a:off x="8581599" y="1808163"/>
            <a:ext cx="3204000" cy="4321175"/>
          </a:xfrm>
          <a:noFill/>
        </p:spPr>
        <p:txBody>
          <a:bodyPr vert="horz" lIns="0" tIns="0" rIns="0" bIns="0" rtlCol="0">
            <a:noAutofit/>
          </a:bodyPr>
          <a:lstStyle>
            <a:lvl1pPr>
              <a:buClr>
                <a:schemeClr val="tx1"/>
              </a:buClr>
              <a:defRPr lang="en-US">
                <a:solidFill>
                  <a:schemeClr val="tx1"/>
                </a:solidFill>
              </a:defRPr>
            </a:lvl1pPr>
            <a:lvl2pPr>
              <a:buClr>
                <a:schemeClr val="tx1"/>
              </a:buClr>
              <a:defRPr lang="en-US">
                <a:solidFill>
                  <a:schemeClr val="tx1"/>
                </a:solidFill>
              </a:defRPr>
            </a:lvl2pPr>
            <a:lvl3pPr>
              <a:buClr>
                <a:schemeClr val="tx1"/>
              </a:buClr>
              <a:defRPr lang="en-US">
                <a:solidFill>
                  <a:schemeClr val="tx1"/>
                </a:solidFill>
              </a:defRPr>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41766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1 Split - Mint / Citrus Quo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2BB2454-B096-073B-4A7F-1C07ABDC3FE7}"/>
              </a:ext>
            </a:extLst>
          </p:cNvPr>
          <p:cNvSpPr/>
          <p:nvPr userDrawn="1"/>
        </p:nvSpPr>
        <p:spPr>
          <a:xfrm rot="10800000">
            <a:off x="8040683" y="0"/>
            <a:ext cx="4151314" cy="6858000"/>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6948911"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6948911"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5" name="Text Placeholder 12">
            <a:extLst>
              <a:ext uri="{FF2B5EF4-FFF2-40B4-BE49-F238E27FC236}">
                <a16:creationId xmlns:a16="http://schemas.microsoft.com/office/drawing/2014/main" id="{1A11780E-7970-3D6A-560B-8FC352EB4BDB}"/>
              </a:ext>
            </a:extLst>
          </p:cNvPr>
          <p:cNvSpPr>
            <a:spLocks noGrp="1"/>
          </p:cNvSpPr>
          <p:nvPr>
            <p:ph type="body" sz="quarter" idx="15"/>
          </p:nvPr>
        </p:nvSpPr>
        <p:spPr>
          <a:xfrm>
            <a:off x="4295775"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14" name="Text Placeholder 9">
            <a:extLst>
              <a:ext uri="{FF2B5EF4-FFF2-40B4-BE49-F238E27FC236}">
                <a16:creationId xmlns:a16="http://schemas.microsoft.com/office/drawing/2014/main" id="{D23C6334-82A7-ABBA-2854-6492F7A3E835}"/>
              </a:ext>
            </a:extLst>
          </p:cNvPr>
          <p:cNvSpPr>
            <a:spLocks noGrp="1"/>
          </p:cNvSpPr>
          <p:nvPr>
            <p:ph type="body" sz="quarter" idx="16" hasCustomPrompt="1"/>
          </p:nvPr>
        </p:nvSpPr>
        <p:spPr>
          <a:xfrm>
            <a:off x="8816023" y="1808163"/>
            <a:ext cx="2825115" cy="1697037"/>
          </a:xfrm>
          <a:prstGeom prst="rect">
            <a:avLst/>
          </a:prstGeom>
        </p:spPr>
        <p:txBody>
          <a:bodyPr lIns="0" tIns="0" rIns="0" bIns="0" anchor="b" anchorCtr="0">
            <a:noAutofit/>
          </a:bodyPr>
          <a:lstStyle>
            <a:lvl1pPr marL="0" indent="0" algn="l">
              <a:buNone/>
              <a:tabLst/>
              <a:defRPr sz="2400">
                <a:solidFill>
                  <a:schemeClr val="tx1"/>
                </a:solidFill>
                <a:latin typeface="+mj-lt"/>
              </a:defRPr>
            </a:lvl1pPr>
          </a:lstStyle>
          <a:p>
            <a:pPr lvl="0"/>
            <a:r>
              <a:rPr lang="en-US"/>
              <a:t>“Quote Copy Avenir Demi 24pt”.</a:t>
            </a:r>
            <a:endParaRPr lang="en-GB"/>
          </a:p>
        </p:txBody>
      </p:sp>
      <p:sp>
        <p:nvSpPr>
          <p:cNvPr id="15" name="Text Placeholder 12">
            <a:extLst>
              <a:ext uri="{FF2B5EF4-FFF2-40B4-BE49-F238E27FC236}">
                <a16:creationId xmlns:a16="http://schemas.microsoft.com/office/drawing/2014/main" id="{B3613A0B-1417-F206-9FCE-23EF8B2DEE88}"/>
              </a:ext>
            </a:extLst>
          </p:cNvPr>
          <p:cNvSpPr>
            <a:spLocks noGrp="1"/>
          </p:cNvSpPr>
          <p:nvPr>
            <p:ph type="body" sz="quarter" idx="17" hasCustomPrompt="1"/>
          </p:nvPr>
        </p:nvSpPr>
        <p:spPr>
          <a:xfrm>
            <a:off x="8816023" y="3634999"/>
            <a:ext cx="2825115" cy="252000"/>
          </a:xfrm>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16" name="Text Placeholder 12">
            <a:extLst>
              <a:ext uri="{FF2B5EF4-FFF2-40B4-BE49-F238E27FC236}">
                <a16:creationId xmlns:a16="http://schemas.microsoft.com/office/drawing/2014/main" id="{5959B016-A1E2-E00B-BEE8-469AD89CDCC4}"/>
              </a:ext>
            </a:extLst>
          </p:cNvPr>
          <p:cNvSpPr>
            <a:spLocks noGrp="1"/>
          </p:cNvSpPr>
          <p:nvPr>
            <p:ph type="body" sz="quarter" idx="27" hasCustomPrompt="1"/>
          </p:nvPr>
        </p:nvSpPr>
        <p:spPr>
          <a:xfrm>
            <a:off x="8816023" y="3892179"/>
            <a:ext cx="2825115" cy="252000"/>
          </a:xfrm>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Tree>
    <p:extLst>
      <p:ext uri="{BB962C8B-B14F-4D97-AF65-F5344CB8AC3E}">
        <p14:creationId xmlns:p14="http://schemas.microsoft.com/office/powerpoint/2010/main" val="26094612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attern - 1 line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F9049-5E28-324A-C127-89A520ECE3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 y="1012"/>
            <a:ext cx="12188400" cy="6855975"/>
          </a:xfrm>
          <a:prstGeom prst="rect">
            <a:avLst/>
          </a:prstGeom>
        </p:spPr>
      </p:pic>
      <p:grpSp>
        <p:nvGrpSpPr>
          <p:cNvPr id="6" name="Graphic 13">
            <a:extLst>
              <a:ext uri="{FF2B5EF4-FFF2-40B4-BE49-F238E27FC236}">
                <a16:creationId xmlns:a16="http://schemas.microsoft.com/office/drawing/2014/main" id="{D52C985B-47D7-433E-A866-3C0AB39DE64B}"/>
              </a:ext>
            </a:extLst>
          </p:cNvPr>
          <p:cNvGrpSpPr/>
          <p:nvPr userDrawn="1"/>
        </p:nvGrpSpPr>
        <p:grpSpPr>
          <a:xfrm>
            <a:off x="5916434" y="371476"/>
            <a:ext cx="341492" cy="376238"/>
            <a:chOff x="5408631" y="362875"/>
            <a:chExt cx="214296" cy="236100"/>
          </a:xfrm>
          <a:solidFill>
            <a:schemeClr val="bg1"/>
          </a:solidFill>
        </p:grpSpPr>
        <p:sp>
          <p:nvSpPr>
            <p:cNvPr id="8" name="Freeform: Shape 7">
              <a:extLst>
                <a:ext uri="{FF2B5EF4-FFF2-40B4-BE49-F238E27FC236}">
                  <a16:creationId xmlns:a16="http://schemas.microsoft.com/office/drawing/2014/main" id="{051CBA01-B8A4-42BF-DAC5-B83D0B7BC3FC}"/>
                </a:ext>
              </a:extLst>
            </p:cNvPr>
            <p:cNvSpPr/>
            <p:nvPr/>
          </p:nvSpPr>
          <p:spPr>
            <a:xfrm>
              <a:off x="5474917" y="481070"/>
              <a:ext cx="147913" cy="117904"/>
            </a:xfrm>
            <a:custGeom>
              <a:avLst/>
              <a:gdLst>
                <a:gd name="connsiteX0" fmla="*/ 97 w 147913"/>
                <a:gd name="connsiteY0" fmla="*/ 68342 h 117904"/>
                <a:gd name="connsiteX1" fmla="*/ 14036 w 147913"/>
                <a:gd name="connsiteY1" fmla="*/ 98061 h 117904"/>
                <a:gd name="connsiteX2" fmla="*/ 27105 w 147913"/>
                <a:gd name="connsiteY2" fmla="*/ 117905 h 117904"/>
                <a:gd name="connsiteX3" fmla="*/ 147913 w 147913"/>
                <a:gd name="connsiteY3" fmla="*/ 48111 h 117904"/>
                <a:gd name="connsiteX4" fmla="*/ 118486 w 147913"/>
                <a:gd name="connsiteY4" fmla="*/ 0 h 117904"/>
                <a:gd name="connsiteX5" fmla="*/ 0 w 147913"/>
                <a:gd name="connsiteY5" fmla="*/ 68536 h 11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13" h="117904">
                  <a:moveTo>
                    <a:pt x="97" y="68342"/>
                  </a:moveTo>
                  <a:cubicBezTo>
                    <a:pt x="3872" y="78506"/>
                    <a:pt x="8519" y="88477"/>
                    <a:pt x="14036" y="98061"/>
                  </a:cubicBezTo>
                  <a:cubicBezTo>
                    <a:pt x="18005" y="104933"/>
                    <a:pt x="22361" y="111516"/>
                    <a:pt x="27105" y="117905"/>
                  </a:cubicBezTo>
                  <a:cubicBezTo>
                    <a:pt x="73957" y="106386"/>
                    <a:pt x="115582" y="81798"/>
                    <a:pt x="147913" y="48111"/>
                  </a:cubicBezTo>
                  <a:cubicBezTo>
                    <a:pt x="140460" y="30589"/>
                    <a:pt x="130489" y="14424"/>
                    <a:pt x="118486" y="0"/>
                  </a:cubicBezTo>
                  <a:cubicBezTo>
                    <a:pt x="89058" y="35526"/>
                    <a:pt x="47336" y="60501"/>
                    <a:pt x="0" y="68536"/>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1BCC4840-F4D7-AF6C-7D05-F1207870A5E0}"/>
                </a:ext>
              </a:extLst>
            </p:cNvPr>
            <p:cNvSpPr/>
            <p:nvPr/>
          </p:nvSpPr>
          <p:spPr>
            <a:xfrm>
              <a:off x="5475014" y="362875"/>
              <a:ext cx="147913" cy="118098"/>
            </a:xfrm>
            <a:custGeom>
              <a:avLst/>
              <a:gdLst>
                <a:gd name="connsiteX0" fmla="*/ 27008 w 147913"/>
                <a:gd name="connsiteY0" fmla="*/ 0 h 118098"/>
                <a:gd name="connsiteX1" fmla="*/ 0 w 147913"/>
                <a:gd name="connsiteY1" fmla="*/ 49563 h 118098"/>
                <a:gd name="connsiteX2" fmla="*/ 118486 w 147913"/>
                <a:gd name="connsiteY2" fmla="*/ 118099 h 118098"/>
                <a:gd name="connsiteX3" fmla="*/ 147913 w 147913"/>
                <a:gd name="connsiteY3" fmla="*/ 69988 h 118098"/>
                <a:gd name="connsiteX4" fmla="*/ 27008 w 147913"/>
                <a:gd name="connsiteY4" fmla="*/ 0 h 11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913" h="118098">
                  <a:moveTo>
                    <a:pt x="27008" y="0"/>
                  </a:moveTo>
                  <a:cubicBezTo>
                    <a:pt x="15779" y="15004"/>
                    <a:pt x="6679" y="31654"/>
                    <a:pt x="0" y="49563"/>
                  </a:cubicBezTo>
                  <a:cubicBezTo>
                    <a:pt x="47433" y="57597"/>
                    <a:pt x="89058" y="82572"/>
                    <a:pt x="118486" y="118099"/>
                  </a:cubicBezTo>
                  <a:cubicBezTo>
                    <a:pt x="130489" y="103675"/>
                    <a:pt x="140460" y="87412"/>
                    <a:pt x="147913" y="69988"/>
                  </a:cubicBezTo>
                  <a:cubicBezTo>
                    <a:pt x="115582" y="36107"/>
                    <a:pt x="73860" y="11519"/>
                    <a:pt x="27008" y="0"/>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81B78DFB-CACF-8A93-6F50-4B852508181E}"/>
                </a:ext>
              </a:extLst>
            </p:cNvPr>
            <p:cNvSpPr/>
            <p:nvPr/>
          </p:nvSpPr>
          <p:spPr>
            <a:xfrm>
              <a:off x="5408631" y="409727"/>
              <a:ext cx="66383" cy="142589"/>
            </a:xfrm>
            <a:custGeom>
              <a:avLst/>
              <a:gdLst>
                <a:gd name="connsiteX0" fmla="*/ 66383 w 66383"/>
                <a:gd name="connsiteY0" fmla="*/ 139685 h 142589"/>
                <a:gd name="connsiteX1" fmla="*/ 60769 w 66383"/>
                <a:gd name="connsiteY1" fmla="*/ 20328 h 142589"/>
                <a:gd name="connsiteX2" fmla="*/ 66383 w 66383"/>
                <a:gd name="connsiteY2" fmla="*/ 2710 h 142589"/>
                <a:gd name="connsiteX3" fmla="*/ 33567 w 66383"/>
                <a:gd name="connsiteY3" fmla="*/ 0 h 142589"/>
                <a:gd name="connsiteX4" fmla="*/ 9948 w 66383"/>
                <a:gd name="connsiteY4" fmla="*/ 1452 h 142589"/>
                <a:gd name="connsiteX5" fmla="*/ 9948 w 66383"/>
                <a:gd name="connsiteY5" fmla="*/ 141137 h 142589"/>
                <a:gd name="connsiteX6" fmla="*/ 33567 w 66383"/>
                <a:gd name="connsiteY6" fmla="*/ 142589 h 142589"/>
                <a:gd name="connsiteX7" fmla="*/ 66383 w 66383"/>
                <a:gd name="connsiteY7" fmla="*/ 139879 h 14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83" h="142589">
                  <a:moveTo>
                    <a:pt x="66383" y="139685"/>
                  </a:moveTo>
                  <a:cubicBezTo>
                    <a:pt x="52153" y="101642"/>
                    <a:pt x="50024" y="60308"/>
                    <a:pt x="60769" y="20328"/>
                  </a:cubicBezTo>
                  <a:cubicBezTo>
                    <a:pt x="62414" y="14327"/>
                    <a:pt x="64254" y="8422"/>
                    <a:pt x="66383" y="2710"/>
                  </a:cubicBezTo>
                  <a:cubicBezTo>
                    <a:pt x="55735" y="871"/>
                    <a:pt x="44796" y="0"/>
                    <a:pt x="33567" y="0"/>
                  </a:cubicBezTo>
                  <a:cubicBezTo>
                    <a:pt x="25630" y="0"/>
                    <a:pt x="17692" y="484"/>
                    <a:pt x="9948" y="1452"/>
                  </a:cubicBezTo>
                  <a:cubicBezTo>
                    <a:pt x="-3024" y="46368"/>
                    <a:pt x="-3605" y="94769"/>
                    <a:pt x="9948" y="141137"/>
                  </a:cubicBezTo>
                  <a:cubicBezTo>
                    <a:pt x="17692" y="142105"/>
                    <a:pt x="25533" y="142589"/>
                    <a:pt x="33567" y="142589"/>
                  </a:cubicBezTo>
                  <a:cubicBezTo>
                    <a:pt x="44700" y="142589"/>
                    <a:pt x="55735" y="141621"/>
                    <a:pt x="66383" y="139879"/>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Text Placeholder 9">
            <a:extLst>
              <a:ext uri="{FF2B5EF4-FFF2-40B4-BE49-F238E27FC236}">
                <a16:creationId xmlns:a16="http://schemas.microsoft.com/office/drawing/2014/main" id="{4C6DD403-4D79-7A8B-97FC-8A42C027024F}"/>
              </a:ext>
            </a:extLst>
          </p:cNvPr>
          <p:cNvSpPr>
            <a:spLocks noGrp="1"/>
          </p:cNvSpPr>
          <p:nvPr>
            <p:ph type="body" sz="quarter" idx="16" hasCustomPrompt="1"/>
          </p:nvPr>
        </p:nvSpPr>
        <p:spPr>
          <a:xfrm>
            <a:off x="1487487" y="2500384"/>
            <a:ext cx="9217026" cy="1030130"/>
          </a:xfrm>
          <a:prstGeom prst="rect">
            <a:avLst/>
          </a:prstGeom>
        </p:spPr>
        <p:txBody>
          <a:bodyPr lIns="0" tIns="36000" rIns="0" bIns="0" anchor="b" anchorCtr="0">
            <a:noAutofit/>
          </a:bodyPr>
          <a:lstStyle>
            <a:lvl1pPr marL="0" indent="0" algn="ctr">
              <a:lnSpc>
                <a:spcPct val="85000"/>
              </a:lnSpc>
              <a:spcBef>
                <a:spcPts val="0"/>
              </a:spcBef>
              <a:buNone/>
              <a:defRPr sz="3600">
                <a:solidFill>
                  <a:schemeClr val="accent1"/>
                </a:solidFill>
                <a:latin typeface="+mj-lt"/>
              </a:defRPr>
            </a:lvl1pPr>
          </a:lstStyle>
          <a:p>
            <a:pPr lvl="0"/>
            <a:r>
              <a:rPr lang="en-US"/>
              <a:t>Section break one line</a:t>
            </a:r>
          </a:p>
        </p:txBody>
      </p:sp>
      <p:sp>
        <p:nvSpPr>
          <p:cNvPr id="39" name="Text Placeholder 9">
            <a:extLst>
              <a:ext uri="{FF2B5EF4-FFF2-40B4-BE49-F238E27FC236}">
                <a16:creationId xmlns:a16="http://schemas.microsoft.com/office/drawing/2014/main" id="{41718DC0-4644-0FF2-8F4A-B6CD6022D8C8}"/>
              </a:ext>
            </a:extLst>
          </p:cNvPr>
          <p:cNvSpPr>
            <a:spLocks noGrp="1"/>
          </p:cNvSpPr>
          <p:nvPr>
            <p:ph type="body" sz="quarter" idx="17" hasCustomPrompt="1"/>
          </p:nvPr>
        </p:nvSpPr>
        <p:spPr>
          <a:xfrm>
            <a:off x="1487487" y="3659011"/>
            <a:ext cx="9213525" cy="281703"/>
          </a:xfrm>
          <a:prstGeom prst="rect">
            <a:avLst/>
          </a:prstGeom>
        </p:spPr>
        <p:txBody>
          <a:bodyPr lIns="0" tIns="36000" rIns="0" bIns="0" anchor="t" anchorCtr="0">
            <a:noAutofit/>
          </a:bodyPr>
          <a:lstStyle>
            <a:lvl1pPr marL="0" indent="0" algn="ctr">
              <a:lnSpc>
                <a:spcPct val="85000"/>
              </a:lnSpc>
              <a:buNone/>
              <a:defRPr sz="2000">
                <a:solidFill>
                  <a:schemeClr val="bg1"/>
                </a:solidFill>
                <a:latin typeface="+mn-lt"/>
              </a:defRPr>
            </a:lvl1pPr>
          </a:lstStyle>
          <a:p>
            <a:pPr lvl="0"/>
            <a:r>
              <a:rPr lang="en-US"/>
              <a:t>Section break subtitle here</a:t>
            </a:r>
          </a:p>
        </p:txBody>
      </p:sp>
    </p:spTree>
    <p:extLst>
      <p:ext uri="{BB962C8B-B14F-4D97-AF65-F5344CB8AC3E}">
        <p14:creationId xmlns:p14="http://schemas.microsoft.com/office/powerpoint/2010/main" val="63006923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0:50 Split - Mint / Citrus 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6918438-EB19-3BAF-9D32-38F41EC025E0}"/>
              </a:ext>
            </a:extLst>
          </p:cNvPr>
          <p:cNvSpPr/>
          <p:nvPr userDrawn="1"/>
        </p:nvSpPr>
        <p:spPr>
          <a:xfrm rot="10800000">
            <a:off x="6095996" y="0"/>
            <a:ext cx="6096003" cy="6858000"/>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6000"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5076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5" name="Text Placeholder 9">
            <a:extLst>
              <a:ext uri="{FF2B5EF4-FFF2-40B4-BE49-F238E27FC236}">
                <a16:creationId xmlns:a16="http://schemas.microsoft.com/office/drawing/2014/main" id="{4B25FFED-8100-76FB-514F-B35A20530675}"/>
              </a:ext>
            </a:extLst>
          </p:cNvPr>
          <p:cNvSpPr>
            <a:spLocks noGrp="1"/>
          </p:cNvSpPr>
          <p:nvPr>
            <p:ph type="body" sz="quarter" idx="15" hasCustomPrompt="1"/>
          </p:nvPr>
        </p:nvSpPr>
        <p:spPr>
          <a:xfrm>
            <a:off x="7102801" y="1808163"/>
            <a:ext cx="3601712" cy="1697037"/>
          </a:xfrm>
          <a:prstGeom prst="rect">
            <a:avLst/>
          </a:prstGeom>
        </p:spPr>
        <p:txBody>
          <a:bodyPr lIns="0" tIns="0" rIns="0" bIns="0" anchor="b" anchorCtr="0">
            <a:noAutofit/>
          </a:bodyPr>
          <a:lstStyle>
            <a:lvl1pPr marL="0" indent="0" algn="l">
              <a:buNone/>
              <a:tabLst/>
              <a:defRPr sz="2400">
                <a:solidFill>
                  <a:schemeClr val="tx1"/>
                </a:solidFill>
                <a:latin typeface="+mj-lt"/>
              </a:defRPr>
            </a:lvl1pPr>
          </a:lstStyle>
          <a:p>
            <a:pPr lvl="0"/>
            <a:r>
              <a:rPr lang="en-US"/>
              <a:t>“Quote Copy Avenir Demi 24pt”.</a:t>
            </a:r>
            <a:endParaRPr lang="en-GB"/>
          </a:p>
        </p:txBody>
      </p:sp>
      <p:sp>
        <p:nvSpPr>
          <p:cNvPr id="6" name="Text Placeholder 12">
            <a:extLst>
              <a:ext uri="{FF2B5EF4-FFF2-40B4-BE49-F238E27FC236}">
                <a16:creationId xmlns:a16="http://schemas.microsoft.com/office/drawing/2014/main" id="{4A2C9BF4-7693-988E-8CB3-04BB860D1524}"/>
              </a:ext>
            </a:extLst>
          </p:cNvPr>
          <p:cNvSpPr>
            <a:spLocks noGrp="1"/>
          </p:cNvSpPr>
          <p:nvPr>
            <p:ph type="body" sz="quarter" idx="16" hasCustomPrompt="1"/>
          </p:nvPr>
        </p:nvSpPr>
        <p:spPr>
          <a:xfrm>
            <a:off x="7102801" y="3634999"/>
            <a:ext cx="2665088" cy="252000"/>
          </a:xfrm>
        </p:spPr>
        <p:txBody>
          <a:bodyPr/>
          <a:lstStyle>
            <a:lvl1pPr marL="0" indent="0" algn="l">
              <a:buNone/>
              <a:defRPr sz="1600">
                <a:solidFill>
                  <a:schemeClr val="tx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7" name="Text Placeholder 12">
            <a:extLst>
              <a:ext uri="{FF2B5EF4-FFF2-40B4-BE49-F238E27FC236}">
                <a16:creationId xmlns:a16="http://schemas.microsoft.com/office/drawing/2014/main" id="{E6117815-6BF6-8F89-617B-8E8D06B679CF}"/>
              </a:ext>
            </a:extLst>
          </p:cNvPr>
          <p:cNvSpPr>
            <a:spLocks noGrp="1"/>
          </p:cNvSpPr>
          <p:nvPr>
            <p:ph type="body" sz="quarter" idx="27" hasCustomPrompt="1"/>
          </p:nvPr>
        </p:nvSpPr>
        <p:spPr>
          <a:xfrm>
            <a:off x="7104063" y="3892179"/>
            <a:ext cx="2663824" cy="252000"/>
          </a:xfrm>
        </p:spPr>
        <p:txBody>
          <a:bodyPr/>
          <a:lstStyle>
            <a:lvl1pPr marL="0" indent="0" algn="l">
              <a:buNone/>
              <a:defRPr sz="1500">
                <a:solidFill>
                  <a:schemeClr val="tx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Tree>
    <p:extLst>
      <p:ext uri="{BB962C8B-B14F-4D97-AF65-F5344CB8AC3E}">
        <p14:creationId xmlns:p14="http://schemas.microsoft.com/office/powerpoint/2010/main" val="129280821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x Columns - Mint / Citrus Big Sta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E0D233-F943-F0B6-7B7C-957E19B5D03B}"/>
              </a:ext>
            </a:extLst>
          </p:cNvPr>
          <p:cNvSpPr/>
          <p:nvPr userDrawn="1"/>
        </p:nvSpPr>
        <p:spPr>
          <a:xfrm rot="10800000">
            <a:off x="8040683" y="0"/>
            <a:ext cx="4151314" cy="6858000"/>
          </a:xfrm>
          <a:prstGeom prst="rect">
            <a:avLst/>
          </a:prstGeom>
          <a:gradFill>
            <a:gsLst>
              <a:gs pos="85000">
                <a:schemeClr val="accent1"/>
              </a:gs>
              <a:gs pos="15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2" name="Text Placeholder 12">
            <a:extLst>
              <a:ext uri="{FF2B5EF4-FFF2-40B4-BE49-F238E27FC236}">
                <a16:creationId xmlns:a16="http://schemas.microsoft.com/office/drawing/2014/main" id="{C657B30C-B536-C29A-90E9-85145CA9103F}"/>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6" name="Text Placeholder 12">
            <a:extLst>
              <a:ext uri="{FF2B5EF4-FFF2-40B4-BE49-F238E27FC236}">
                <a16:creationId xmlns:a16="http://schemas.microsoft.com/office/drawing/2014/main" id="{A120D865-053F-F272-6CCC-2D2290A6BD9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tx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
        <p:nvSpPr>
          <p:cNvPr id="5" name="Title 1">
            <a:extLst>
              <a:ext uri="{FF2B5EF4-FFF2-40B4-BE49-F238E27FC236}">
                <a16:creationId xmlns:a16="http://schemas.microsoft.com/office/drawing/2014/main" id="{28544162-225E-B7B6-7917-68BEE3028EC3}"/>
              </a:ext>
            </a:extLst>
          </p:cNvPr>
          <p:cNvSpPr>
            <a:spLocks noGrp="1"/>
          </p:cNvSpPr>
          <p:nvPr>
            <p:ph type="title" hasCustomPrompt="1"/>
          </p:nvPr>
        </p:nvSpPr>
        <p:spPr>
          <a:xfrm>
            <a:off x="550864" y="368828"/>
            <a:ext cx="6948911" cy="251885"/>
          </a:xfrm>
        </p:spPr>
        <p:txBody>
          <a:bodyPr/>
          <a:lstStyle>
            <a:lvl1pPr>
              <a:defRPr/>
            </a:lvl1pPr>
          </a:lstStyle>
          <a:p>
            <a:r>
              <a:rPr lang="en-US"/>
              <a:t>Header avenir demi 24pt</a:t>
            </a:r>
            <a:endParaRPr lang="en-GB"/>
          </a:p>
        </p:txBody>
      </p:sp>
      <p:sp>
        <p:nvSpPr>
          <p:cNvPr id="7" name="Text Placeholder 9">
            <a:extLst>
              <a:ext uri="{FF2B5EF4-FFF2-40B4-BE49-F238E27FC236}">
                <a16:creationId xmlns:a16="http://schemas.microsoft.com/office/drawing/2014/main" id="{C3AA6AFE-7750-8473-8982-1DB44F321435}"/>
              </a:ext>
            </a:extLst>
          </p:cNvPr>
          <p:cNvSpPr>
            <a:spLocks noGrp="1"/>
          </p:cNvSpPr>
          <p:nvPr>
            <p:ph type="body" sz="quarter" idx="13" hasCustomPrompt="1"/>
          </p:nvPr>
        </p:nvSpPr>
        <p:spPr>
          <a:xfrm>
            <a:off x="550864" y="753852"/>
            <a:ext cx="6948911"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8" name="Text Placeholder 12">
            <a:extLst>
              <a:ext uri="{FF2B5EF4-FFF2-40B4-BE49-F238E27FC236}">
                <a16:creationId xmlns:a16="http://schemas.microsoft.com/office/drawing/2014/main" id="{E9F160AA-9F2F-C5ED-D2F2-62B8A8104523}"/>
              </a:ext>
            </a:extLst>
          </p:cNvPr>
          <p:cNvSpPr>
            <a:spLocks noGrp="1"/>
          </p:cNvSpPr>
          <p:nvPr>
            <p:ph type="body" sz="quarter" idx="14"/>
          </p:nvPr>
        </p:nvSpPr>
        <p:spPr>
          <a:xfrm>
            <a:off x="550864"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10" name="Text Placeholder 12">
            <a:extLst>
              <a:ext uri="{FF2B5EF4-FFF2-40B4-BE49-F238E27FC236}">
                <a16:creationId xmlns:a16="http://schemas.microsoft.com/office/drawing/2014/main" id="{451FF2EE-0611-EFBD-9FF1-3D5261791C20}"/>
              </a:ext>
            </a:extLst>
          </p:cNvPr>
          <p:cNvSpPr>
            <a:spLocks noGrp="1"/>
          </p:cNvSpPr>
          <p:nvPr>
            <p:ph type="body" sz="quarter" idx="15"/>
          </p:nvPr>
        </p:nvSpPr>
        <p:spPr>
          <a:xfrm>
            <a:off x="4295775"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802437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1 Dark Image / Big S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AF9F325-89C8-9A4F-6B42-94EF0B9A0275}"/>
              </a:ext>
            </a:extLst>
          </p:cNvPr>
          <p:cNvSpPr/>
          <p:nvPr userDrawn="1"/>
        </p:nvSpPr>
        <p:spPr>
          <a:xfrm>
            <a:off x="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ark, lit, white, light&#10;&#10;Description automatically generated">
            <a:extLst>
              <a:ext uri="{FF2B5EF4-FFF2-40B4-BE49-F238E27FC236}">
                <a16:creationId xmlns:a16="http://schemas.microsoft.com/office/drawing/2014/main" id="{F3AC6818-4D80-7C27-6F3D-8D1DFA9EF1C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0689" y="1"/>
            <a:ext cx="4151312" cy="6858000"/>
          </a:xfrm>
          <a:prstGeom prst="rect">
            <a:avLst/>
          </a:prstGeom>
        </p:spPr>
      </p:pic>
      <p:sp>
        <p:nvSpPr>
          <p:cNvPr id="43" name="Picture Placeholder 42">
            <a:extLst>
              <a:ext uri="{FF2B5EF4-FFF2-40B4-BE49-F238E27FC236}">
                <a16:creationId xmlns:a16="http://schemas.microsoft.com/office/drawing/2014/main" id="{C6FE3766-7949-D482-997B-F037BAB90A2C}"/>
              </a:ext>
            </a:extLst>
          </p:cNvPr>
          <p:cNvSpPr>
            <a:spLocks noGrp="1"/>
          </p:cNvSpPr>
          <p:nvPr>
            <p:ph type="pic" sz="quarter" idx="20" hasCustomPrompt="1"/>
          </p:nvPr>
        </p:nvSpPr>
        <p:spPr>
          <a:xfrm>
            <a:off x="0" y="0"/>
            <a:ext cx="8040688" cy="6858000"/>
          </a:xfrm>
          <a:custGeom>
            <a:avLst/>
            <a:gdLst>
              <a:gd name="connsiteX0" fmla="*/ 1592699 w 8040688"/>
              <a:gd name="connsiteY0" fmla="*/ 6492423 h 6858000"/>
              <a:gd name="connsiteX1" fmla="*/ 1592699 w 8040688"/>
              <a:gd name="connsiteY1" fmla="*/ 6501164 h 6858000"/>
              <a:gd name="connsiteX2" fmla="*/ 1592546 w 8040688"/>
              <a:gd name="connsiteY2" fmla="*/ 6504388 h 6858000"/>
              <a:gd name="connsiteX3" fmla="*/ 1568857 w 8040688"/>
              <a:gd name="connsiteY3" fmla="*/ 6522619 h 6858000"/>
              <a:gd name="connsiteX4" fmla="*/ 1551438 w 8040688"/>
              <a:gd name="connsiteY4" fmla="*/ 6508315 h 6858000"/>
              <a:gd name="connsiteX5" fmla="*/ 1568857 w 8040688"/>
              <a:gd name="connsiteY5" fmla="*/ 6495071 h 6858000"/>
              <a:gd name="connsiteX6" fmla="*/ 1581983 w 8040688"/>
              <a:gd name="connsiteY6" fmla="*/ 6495071 h 6858000"/>
              <a:gd name="connsiteX7" fmla="*/ 1592699 w 8040688"/>
              <a:gd name="connsiteY7" fmla="*/ 6492423 h 6858000"/>
              <a:gd name="connsiteX8" fmla="*/ 1172060 w 8040688"/>
              <a:gd name="connsiteY8" fmla="*/ 6492423 h 6858000"/>
              <a:gd name="connsiteX9" fmla="*/ 1172060 w 8040688"/>
              <a:gd name="connsiteY9" fmla="*/ 6501164 h 6858000"/>
              <a:gd name="connsiteX10" fmla="*/ 1171906 w 8040688"/>
              <a:gd name="connsiteY10" fmla="*/ 6504389 h 6858000"/>
              <a:gd name="connsiteX11" fmla="*/ 1148216 w 8040688"/>
              <a:gd name="connsiteY11" fmla="*/ 6522619 h 6858000"/>
              <a:gd name="connsiteX12" fmla="*/ 1130802 w 8040688"/>
              <a:gd name="connsiteY12" fmla="*/ 6508315 h 6858000"/>
              <a:gd name="connsiteX13" fmla="*/ 1148216 w 8040688"/>
              <a:gd name="connsiteY13" fmla="*/ 6495071 h 6858000"/>
              <a:gd name="connsiteX14" fmla="*/ 1161343 w 8040688"/>
              <a:gd name="connsiteY14" fmla="*/ 6495071 h 6858000"/>
              <a:gd name="connsiteX15" fmla="*/ 1172060 w 8040688"/>
              <a:gd name="connsiteY15" fmla="*/ 6492423 h 6858000"/>
              <a:gd name="connsiteX16" fmla="*/ 1796056 w 8040688"/>
              <a:gd name="connsiteY16" fmla="*/ 6448718 h 6858000"/>
              <a:gd name="connsiteX17" fmla="*/ 1823115 w 8040688"/>
              <a:gd name="connsiteY17" fmla="*/ 6470969 h 6858000"/>
              <a:gd name="connsiteX18" fmla="*/ 1768190 w 8040688"/>
              <a:gd name="connsiteY18" fmla="*/ 6470969 h 6858000"/>
              <a:gd name="connsiteX19" fmla="*/ 1796056 w 8040688"/>
              <a:gd name="connsiteY19" fmla="*/ 6448718 h 6858000"/>
              <a:gd name="connsiteX20" fmla="*/ 1385331 w 8040688"/>
              <a:gd name="connsiteY20" fmla="*/ 6423290 h 6858000"/>
              <a:gd name="connsiteX21" fmla="*/ 1427128 w 8040688"/>
              <a:gd name="connsiteY21" fmla="*/ 6544605 h 6858000"/>
              <a:gd name="connsiteX22" fmla="*/ 1470261 w 8040688"/>
              <a:gd name="connsiteY22" fmla="*/ 6544605 h 6858000"/>
              <a:gd name="connsiteX23" fmla="*/ 1513932 w 8040688"/>
              <a:gd name="connsiteY23" fmla="*/ 6423290 h 6858000"/>
              <a:gd name="connsiteX24" fmla="*/ 1477223 w 8040688"/>
              <a:gd name="connsiteY24" fmla="*/ 6423290 h 6858000"/>
              <a:gd name="connsiteX25" fmla="*/ 1449367 w 8040688"/>
              <a:gd name="connsiteY25" fmla="*/ 6507521 h 6858000"/>
              <a:gd name="connsiteX26" fmla="*/ 1423104 w 8040688"/>
              <a:gd name="connsiteY26" fmla="*/ 6423290 h 6858000"/>
              <a:gd name="connsiteX27" fmla="*/ 1319153 w 8040688"/>
              <a:gd name="connsiteY27" fmla="*/ 6423290 h 6858000"/>
              <a:gd name="connsiteX28" fmla="*/ 1319153 w 8040688"/>
              <a:gd name="connsiteY28" fmla="*/ 6452426 h 6858000"/>
              <a:gd name="connsiteX29" fmla="*/ 1336299 w 8040688"/>
              <a:gd name="connsiteY29" fmla="*/ 6452426 h 6858000"/>
              <a:gd name="connsiteX30" fmla="*/ 1336299 w 8040688"/>
              <a:gd name="connsiteY30" fmla="*/ 6544604 h 6858000"/>
              <a:gd name="connsiteX31" fmla="*/ 1371127 w 8040688"/>
              <a:gd name="connsiteY31" fmla="*/ 6544604 h 6858000"/>
              <a:gd name="connsiteX32" fmla="*/ 1371127 w 8040688"/>
              <a:gd name="connsiteY32" fmla="*/ 6423290 h 6858000"/>
              <a:gd name="connsiteX33" fmla="*/ 1293161 w 8040688"/>
              <a:gd name="connsiteY33" fmla="*/ 6421700 h 6858000"/>
              <a:gd name="connsiteX34" fmla="*/ 1261280 w 8040688"/>
              <a:gd name="connsiteY34" fmla="*/ 6442626 h 6858000"/>
              <a:gd name="connsiteX35" fmla="*/ 1261280 w 8040688"/>
              <a:gd name="connsiteY35" fmla="*/ 6423290 h 6858000"/>
              <a:gd name="connsiteX36" fmla="*/ 1227522 w 8040688"/>
              <a:gd name="connsiteY36" fmla="*/ 6423290 h 6858000"/>
              <a:gd name="connsiteX37" fmla="*/ 1227522 w 8040688"/>
              <a:gd name="connsiteY37" fmla="*/ 6544604 h 6858000"/>
              <a:gd name="connsiteX38" fmla="*/ 1262352 w 8040688"/>
              <a:gd name="connsiteY38" fmla="*/ 6544604 h 6858000"/>
              <a:gd name="connsiteX39" fmla="*/ 1262352 w 8040688"/>
              <a:gd name="connsiteY39" fmla="*/ 6486596 h 6858000"/>
              <a:gd name="connsiteX40" fmla="*/ 1288073 w 8040688"/>
              <a:gd name="connsiteY40" fmla="*/ 6457194 h 6858000"/>
              <a:gd name="connsiteX41" fmla="*/ 1302808 w 8040688"/>
              <a:gd name="connsiteY41" fmla="*/ 6457194 h 6858000"/>
              <a:gd name="connsiteX42" fmla="*/ 1302808 w 8040688"/>
              <a:gd name="connsiteY42" fmla="*/ 6422760 h 6858000"/>
              <a:gd name="connsiteX43" fmla="*/ 1293161 w 8040688"/>
              <a:gd name="connsiteY43" fmla="*/ 6421700 h 6858000"/>
              <a:gd name="connsiteX44" fmla="*/ 1796056 w 8040688"/>
              <a:gd name="connsiteY44" fmla="*/ 6420112 h 6858000"/>
              <a:gd name="connsiteX45" fmla="*/ 1791956 w 8040688"/>
              <a:gd name="connsiteY45" fmla="*/ 6420138 h 6858000"/>
              <a:gd name="connsiteX46" fmla="*/ 1732297 w 8040688"/>
              <a:gd name="connsiteY46" fmla="*/ 6483948 h 6858000"/>
              <a:gd name="connsiteX47" fmla="*/ 1770879 w 8040688"/>
              <a:gd name="connsiteY47" fmla="*/ 6541990 h 6858000"/>
              <a:gd name="connsiteX48" fmla="*/ 1857943 w 8040688"/>
              <a:gd name="connsiteY48" fmla="*/ 6509641 h 6858000"/>
              <a:gd name="connsiteX49" fmla="*/ 1821781 w 8040688"/>
              <a:gd name="connsiteY49" fmla="*/ 6505933 h 6858000"/>
              <a:gd name="connsiteX50" fmla="*/ 1802269 w 8040688"/>
              <a:gd name="connsiteY50" fmla="*/ 6518046 h 6858000"/>
              <a:gd name="connsiteX51" fmla="*/ 1768997 w 8040688"/>
              <a:gd name="connsiteY51" fmla="*/ 6494013 h 6858000"/>
              <a:gd name="connsiteX52" fmla="*/ 1860353 w 8040688"/>
              <a:gd name="connsiteY52" fmla="*/ 6494013 h 6858000"/>
              <a:gd name="connsiteX53" fmla="*/ 1860353 w 8040688"/>
              <a:gd name="connsiteY53" fmla="*/ 6492689 h 6858000"/>
              <a:gd name="connsiteX54" fmla="*/ 1796056 w 8040688"/>
              <a:gd name="connsiteY54" fmla="*/ 6420112 h 6858000"/>
              <a:gd name="connsiteX55" fmla="*/ 1574215 w 8040688"/>
              <a:gd name="connsiteY55" fmla="*/ 6420111 h 6858000"/>
              <a:gd name="connsiteX56" fmla="*/ 1521700 w 8040688"/>
              <a:gd name="connsiteY56" fmla="*/ 6434944 h 6858000"/>
              <a:gd name="connsiteX57" fmla="*/ 1535364 w 8040688"/>
              <a:gd name="connsiteY57" fmla="*/ 6460902 h 6858000"/>
              <a:gd name="connsiteX58" fmla="*/ 1572342 w 8040688"/>
              <a:gd name="connsiteY58" fmla="*/ 6449512 h 6858000"/>
              <a:gd name="connsiteX59" fmla="*/ 1592699 w 8040688"/>
              <a:gd name="connsiteY59" fmla="*/ 6463816 h 6858000"/>
              <a:gd name="connsiteX60" fmla="*/ 1592699 w 8040688"/>
              <a:gd name="connsiteY60" fmla="*/ 6465140 h 6858000"/>
              <a:gd name="connsiteX61" fmla="*/ 1584124 w 8040688"/>
              <a:gd name="connsiteY61" fmla="*/ 6472292 h 6858000"/>
              <a:gd name="connsiteX62" fmla="*/ 1560013 w 8040688"/>
              <a:gd name="connsiteY62" fmla="*/ 6472292 h 6858000"/>
              <a:gd name="connsiteX63" fmla="*/ 1515545 w 8040688"/>
              <a:gd name="connsiteY63" fmla="*/ 6509640 h 6858000"/>
              <a:gd name="connsiteX64" fmla="*/ 1515603 w 8040688"/>
              <a:gd name="connsiteY64" fmla="*/ 6510750 h 6858000"/>
              <a:gd name="connsiteX65" fmla="*/ 1558409 w 8040688"/>
              <a:gd name="connsiteY65" fmla="*/ 6547782 h 6858000"/>
              <a:gd name="connsiteX66" fmla="*/ 1592699 w 8040688"/>
              <a:gd name="connsiteY66" fmla="*/ 6533214 h 6858000"/>
              <a:gd name="connsiteX67" fmla="*/ 1592699 w 8040688"/>
              <a:gd name="connsiteY67" fmla="*/ 6544604 h 6858000"/>
              <a:gd name="connsiteX68" fmla="*/ 1627527 w 8040688"/>
              <a:gd name="connsiteY68" fmla="*/ 6544604 h 6858000"/>
              <a:gd name="connsiteX69" fmla="*/ 1627527 w 8040688"/>
              <a:gd name="connsiteY69" fmla="*/ 6464875 h 6858000"/>
              <a:gd name="connsiteX70" fmla="*/ 1574215 w 8040688"/>
              <a:gd name="connsiteY70" fmla="*/ 6420111 h 6858000"/>
              <a:gd name="connsiteX71" fmla="*/ 1153574 w 8040688"/>
              <a:gd name="connsiteY71" fmla="*/ 6420111 h 6858000"/>
              <a:gd name="connsiteX72" fmla="*/ 1101062 w 8040688"/>
              <a:gd name="connsiteY72" fmla="*/ 6434944 h 6858000"/>
              <a:gd name="connsiteX73" fmla="*/ 1114726 w 8040688"/>
              <a:gd name="connsiteY73" fmla="*/ 6460902 h 6858000"/>
              <a:gd name="connsiteX74" fmla="*/ 1151699 w 8040688"/>
              <a:gd name="connsiteY74" fmla="*/ 6449512 h 6858000"/>
              <a:gd name="connsiteX75" fmla="*/ 1172060 w 8040688"/>
              <a:gd name="connsiteY75" fmla="*/ 6463816 h 6858000"/>
              <a:gd name="connsiteX76" fmla="*/ 1172060 w 8040688"/>
              <a:gd name="connsiteY76" fmla="*/ 6465140 h 6858000"/>
              <a:gd name="connsiteX77" fmla="*/ 1163487 w 8040688"/>
              <a:gd name="connsiteY77" fmla="*/ 6472292 h 6858000"/>
              <a:gd name="connsiteX78" fmla="*/ 1139375 w 8040688"/>
              <a:gd name="connsiteY78" fmla="*/ 6472292 h 6858000"/>
              <a:gd name="connsiteX79" fmla="*/ 1094901 w 8040688"/>
              <a:gd name="connsiteY79" fmla="*/ 6509640 h 6858000"/>
              <a:gd name="connsiteX80" fmla="*/ 1094960 w 8040688"/>
              <a:gd name="connsiteY80" fmla="*/ 6510749 h 6858000"/>
              <a:gd name="connsiteX81" fmla="*/ 1137766 w 8040688"/>
              <a:gd name="connsiteY81" fmla="*/ 6547782 h 6858000"/>
              <a:gd name="connsiteX82" fmla="*/ 1172060 w 8040688"/>
              <a:gd name="connsiteY82" fmla="*/ 6533214 h 6858000"/>
              <a:gd name="connsiteX83" fmla="*/ 1172060 w 8040688"/>
              <a:gd name="connsiteY83" fmla="*/ 6544604 h 6858000"/>
              <a:gd name="connsiteX84" fmla="*/ 1206890 w 8040688"/>
              <a:gd name="connsiteY84" fmla="*/ 6544604 h 6858000"/>
              <a:gd name="connsiteX85" fmla="*/ 1206890 w 8040688"/>
              <a:gd name="connsiteY85" fmla="*/ 6464875 h 6858000"/>
              <a:gd name="connsiteX86" fmla="*/ 1153574 w 8040688"/>
              <a:gd name="connsiteY86" fmla="*/ 6420111 h 6858000"/>
              <a:gd name="connsiteX87" fmla="*/ 568575 w 8040688"/>
              <a:gd name="connsiteY87" fmla="*/ 6383429 h 6858000"/>
              <a:gd name="connsiteX88" fmla="*/ 568549 w 8040688"/>
              <a:gd name="connsiteY88" fmla="*/ 6520396 h 6858000"/>
              <a:gd name="connsiteX89" fmla="*/ 624511 w 8040688"/>
              <a:gd name="connsiteY89" fmla="*/ 6519097 h 6858000"/>
              <a:gd name="connsiteX90" fmla="*/ 618898 w 8040688"/>
              <a:gd name="connsiteY90" fmla="*/ 6402004 h 6858000"/>
              <a:gd name="connsiteX91" fmla="*/ 624479 w 8040688"/>
              <a:gd name="connsiteY91" fmla="*/ 6384725 h 6858000"/>
              <a:gd name="connsiteX92" fmla="*/ 568575 w 8040688"/>
              <a:gd name="connsiteY92" fmla="*/ 6383429 h 6858000"/>
              <a:gd name="connsiteX93" fmla="*/ 1659953 w 8040688"/>
              <a:gd name="connsiteY93" fmla="*/ 6377201 h 6858000"/>
              <a:gd name="connsiteX94" fmla="*/ 1659953 w 8040688"/>
              <a:gd name="connsiteY94" fmla="*/ 6423290 h 6858000"/>
              <a:gd name="connsiteX95" fmla="*/ 1640662 w 8040688"/>
              <a:gd name="connsiteY95" fmla="*/ 6423290 h 6858000"/>
              <a:gd name="connsiteX96" fmla="*/ 1640662 w 8040688"/>
              <a:gd name="connsiteY96" fmla="*/ 6452426 h 6858000"/>
              <a:gd name="connsiteX97" fmla="*/ 1659953 w 8040688"/>
              <a:gd name="connsiteY97" fmla="*/ 6452426 h 6858000"/>
              <a:gd name="connsiteX98" fmla="*/ 1659953 w 8040688"/>
              <a:gd name="connsiteY98" fmla="*/ 6518911 h 6858000"/>
              <a:gd name="connsiteX99" fmla="*/ 1695318 w 8040688"/>
              <a:gd name="connsiteY99" fmla="*/ 6546194 h 6858000"/>
              <a:gd name="connsiteX100" fmla="*/ 1722377 w 8040688"/>
              <a:gd name="connsiteY100" fmla="*/ 6544604 h 6858000"/>
              <a:gd name="connsiteX101" fmla="*/ 1722377 w 8040688"/>
              <a:gd name="connsiteY101" fmla="*/ 6515203 h 6858000"/>
              <a:gd name="connsiteX102" fmla="*/ 1706303 w 8040688"/>
              <a:gd name="connsiteY102" fmla="*/ 6515998 h 6858000"/>
              <a:gd name="connsiteX103" fmla="*/ 1694780 w 8040688"/>
              <a:gd name="connsiteY103" fmla="*/ 6507256 h 6858000"/>
              <a:gd name="connsiteX104" fmla="*/ 1694780 w 8040688"/>
              <a:gd name="connsiteY104" fmla="*/ 6452426 h 6858000"/>
              <a:gd name="connsiteX105" fmla="*/ 1721302 w 8040688"/>
              <a:gd name="connsiteY105" fmla="*/ 6452426 h 6858000"/>
              <a:gd name="connsiteX106" fmla="*/ 1721302 w 8040688"/>
              <a:gd name="connsiteY106" fmla="*/ 6423290 h 6858000"/>
              <a:gd name="connsiteX107" fmla="*/ 1694780 w 8040688"/>
              <a:gd name="connsiteY107" fmla="*/ 6423290 h 6858000"/>
              <a:gd name="connsiteX108" fmla="*/ 1694780 w 8040688"/>
              <a:gd name="connsiteY108" fmla="*/ 6377201 h 6858000"/>
              <a:gd name="connsiteX109" fmla="*/ 1884617 w 8040688"/>
              <a:gd name="connsiteY109" fmla="*/ 6359355 h 6858000"/>
              <a:gd name="connsiteX110" fmla="*/ 1884617 w 8040688"/>
              <a:gd name="connsiteY110" fmla="*/ 6392335 h 6858000"/>
              <a:gd name="connsiteX111" fmla="*/ 1893998 w 8040688"/>
              <a:gd name="connsiteY111" fmla="*/ 6392335 h 6858000"/>
              <a:gd name="connsiteX112" fmla="*/ 1893998 w 8040688"/>
              <a:gd name="connsiteY112" fmla="*/ 6373492 h 6858000"/>
              <a:gd name="connsiteX113" fmla="*/ 1898291 w 8040688"/>
              <a:gd name="connsiteY113" fmla="*/ 6385270 h 6858000"/>
              <a:gd name="connsiteX114" fmla="*/ 1905819 w 8040688"/>
              <a:gd name="connsiteY114" fmla="*/ 6385270 h 6858000"/>
              <a:gd name="connsiteX115" fmla="*/ 1910111 w 8040688"/>
              <a:gd name="connsiteY115" fmla="*/ 6373492 h 6858000"/>
              <a:gd name="connsiteX116" fmla="*/ 1910111 w 8040688"/>
              <a:gd name="connsiteY116" fmla="*/ 6392335 h 6858000"/>
              <a:gd name="connsiteX117" fmla="*/ 1919685 w 8040688"/>
              <a:gd name="connsiteY117" fmla="*/ 6392335 h 6858000"/>
              <a:gd name="connsiteX118" fmla="*/ 1919685 w 8040688"/>
              <a:gd name="connsiteY118" fmla="*/ 6359355 h 6858000"/>
              <a:gd name="connsiteX119" fmla="*/ 1907566 w 8040688"/>
              <a:gd name="connsiteY119" fmla="*/ 6359355 h 6858000"/>
              <a:gd name="connsiteX120" fmla="*/ 1902362 w 8040688"/>
              <a:gd name="connsiteY120" fmla="*/ 6373114 h 6858000"/>
              <a:gd name="connsiteX121" fmla="*/ 1897494 w 8040688"/>
              <a:gd name="connsiteY121" fmla="*/ 6359355 h 6858000"/>
              <a:gd name="connsiteX122" fmla="*/ 1850683 w 8040688"/>
              <a:gd name="connsiteY122" fmla="*/ 6359355 h 6858000"/>
              <a:gd name="connsiteX123" fmla="*/ 1850683 w 8040688"/>
              <a:gd name="connsiteY123" fmla="*/ 6367929 h 6858000"/>
              <a:gd name="connsiteX124" fmla="*/ 1860074 w 8040688"/>
              <a:gd name="connsiteY124" fmla="*/ 6367929 h 6858000"/>
              <a:gd name="connsiteX125" fmla="*/ 1860074 w 8040688"/>
              <a:gd name="connsiteY125" fmla="*/ 6392335 h 6858000"/>
              <a:gd name="connsiteX126" fmla="*/ 1869839 w 8040688"/>
              <a:gd name="connsiteY126" fmla="*/ 6392335 h 6858000"/>
              <a:gd name="connsiteX127" fmla="*/ 1869839 w 8040688"/>
              <a:gd name="connsiteY127" fmla="*/ 6367929 h 6858000"/>
              <a:gd name="connsiteX128" fmla="*/ 1879230 w 8040688"/>
              <a:gd name="connsiteY128" fmla="*/ 6367929 h 6858000"/>
              <a:gd name="connsiteX129" fmla="*/ 1879230 w 8040688"/>
              <a:gd name="connsiteY129" fmla="*/ 6359355 h 6858000"/>
              <a:gd name="connsiteX130" fmla="*/ 1352105 w 8040688"/>
              <a:gd name="connsiteY130" fmla="*/ 6359189 h 6858000"/>
              <a:gd name="connsiteX131" fmla="*/ 1329868 w 8040688"/>
              <a:gd name="connsiteY131" fmla="*/ 6381439 h 6858000"/>
              <a:gd name="connsiteX132" fmla="*/ 1352108 w 8040688"/>
              <a:gd name="connsiteY132" fmla="*/ 6403427 h 6858000"/>
              <a:gd name="connsiteX133" fmla="*/ 1374610 w 8040688"/>
              <a:gd name="connsiteY133" fmla="*/ 6381439 h 6858000"/>
              <a:gd name="connsiteX134" fmla="*/ 1374610 w 8040688"/>
              <a:gd name="connsiteY134" fmla="*/ 6381364 h 6858000"/>
              <a:gd name="connsiteX135" fmla="*/ 1352105 w 8040688"/>
              <a:gd name="connsiteY135" fmla="*/ 6359189 h 6858000"/>
              <a:gd name="connsiteX136" fmla="*/ 1041583 w 8040688"/>
              <a:gd name="connsiteY136" fmla="*/ 6359189 h 6858000"/>
              <a:gd name="connsiteX137" fmla="*/ 1041583 w 8040688"/>
              <a:gd name="connsiteY137" fmla="*/ 6544604 h 6858000"/>
              <a:gd name="connsiteX138" fmla="*/ 1076143 w 8040688"/>
              <a:gd name="connsiteY138" fmla="*/ 6544604 h 6858000"/>
              <a:gd name="connsiteX139" fmla="*/ 1076143 w 8040688"/>
              <a:gd name="connsiteY139" fmla="*/ 6359189 h 6858000"/>
              <a:gd name="connsiteX140" fmla="*/ 925239 w 8040688"/>
              <a:gd name="connsiteY140" fmla="*/ 6355990 h 6858000"/>
              <a:gd name="connsiteX141" fmla="*/ 832602 w 8040688"/>
              <a:gd name="connsiteY141" fmla="*/ 6451897 h 6858000"/>
              <a:gd name="connsiteX142" fmla="*/ 832623 w 8040688"/>
              <a:gd name="connsiteY142" fmla="*/ 6456990 h 6858000"/>
              <a:gd name="connsiteX143" fmla="*/ 930389 w 8040688"/>
              <a:gd name="connsiteY143" fmla="*/ 6547783 h 6858000"/>
              <a:gd name="connsiteX144" fmla="*/ 1022285 w 8040688"/>
              <a:gd name="connsiteY144" fmla="*/ 6478650 h 6858000"/>
              <a:gd name="connsiteX145" fmla="*/ 981294 w 8040688"/>
              <a:gd name="connsiteY145" fmla="*/ 6478650 h 6858000"/>
              <a:gd name="connsiteX146" fmla="*/ 930389 w 8040688"/>
              <a:gd name="connsiteY146" fmla="*/ 6513878 h 6858000"/>
              <a:gd name="connsiteX147" fmla="*/ 871450 w 8040688"/>
              <a:gd name="connsiteY147" fmla="*/ 6451897 h 6858000"/>
              <a:gd name="connsiteX148" fmla="*/ 930389 w 8040688"/>
              <a:gd name="connsiteY148" fmla="*/ 6389916 h 6858000"/>
              <a:gd name="connsiteX149" fmla="*/ 981294 w 8040688"/>
              <a:gd name="connsiteY149" fmla="*/ 6425144 h 6858000"/>
              <a:gd name="connsiteX150" fmla="*/ 1022285 w 8040688"/>
              <a:gd name="connsiteY150" fmla="*/ 6425144 h 6858000"/>
              <a:gd name="connsiteX151" fmla="*/ 930389 w 8040688"/>
              <a:gd name="connsiteY151" fmla="*/ 6356011 h 6858000"/>
              <a:gd name="connsiteX152" fmla="*/ 925239 w 8040688"/>
              <a:gd name="connsiteY152" fmla="*/ 6355990 h 6858000"/>
              <a:gd name="connsiteX153" fmla="*/ 651232 w 8040688"/>
              <a:gd name="connsiteY153" fmla="*/ 6336161 h 6858000"/>
              <a:gd name="connsiteX154" fmla="*/ 624479 w 8040688"/>
              <a:gd name="connsiteY154" fmla="*/ 6384726 h 6858000"/>
              <a:gd name="connsiteX155" fmla="*/ 742033 w 8040688"/>
              <a:gd name="connsiteY155" fmla="*/ 6451914 h 6858000"/>
              <a:gd name="connsiteX156" fmla="*/ 624512 w 8040688"/>
              <a:gd name="connsiteY156" fmla="*/ 6519097 h 6858000"/>
              <a:gd name="connsiteX157" fmla="*/ 651373 w 8040688"/>
              <a:gd name="connsiteY157" fmla="*/ 6567631 h 6858000"/>
              <a:gd name="connsiteX158" fmla="*/ 771228 w 8040688"/>
              <a:gd name="connsiteY158" fmla="*/ 6499136 h 6858000"/>
              <a:gd name="connsiteX159" fmla="*/ 742033 w 8040688"/>
              <a:gd name="connsiteY159" fmla="*/ 6451914 h 6858000"/>
              <a:gd name="connsiteX160" fmla="*/ 771227 w 8040688"/>
              <a:gd name="connsiteY160" fmla="*/ 6404692 h 6858000"/>
              <a:gd name="connsiteX161" fmla="*/ 651232 w 8040688"/>
              <a:gd name="connsiteY161" fmla="*/ 6336161 h 6858000"/>
              <a:gd name="connsiteX162" fmla="*/ 0 w 8040688"/>
              <a:gd name="connsiteY162" fmla="*/ 0 h 6858000"/>
              <a:gd name="connsiteX163" fmla="*/ 8040688 w 8040688"/>
              <a:gd name="connsiteY163" fmla="*/ 0 h 6858000"/>
              <a:gd name="connsiteX164" fmla="*/ 8040688 w 8040688"/>
              <a:gd name="connsiteY164" fmla="*/ 6858000 h 6858000"/>
              <a:gd name="connsiteX165" fmla="*/ 0 w 8040688"/>
              <a:gd name="connsiteY16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040688"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8040688" y="0"/>
                </a:lnTo>
                <a:lnTo>
                  <a:pt x="8040688"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6200" y="6348353"/>
            <a:ext cx="216000"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9" name="Text Placeholder 12">
            <a:extLst>
              <a:ext uri="{FF2B5EF4-FFF2-40B4-BE49-F238E27FC236}">
                <a16:creationId xmlns:a16="http://schemas.microsoft.com/office/drawing/2014/main" id="{983A1914-7D1F-4DEB-C99C-7D0FD5B7D4B6}"/>
              </a:ext>
            </a:extLst>
          </p:cNvPr>
          <p:cNvSpPr>
            <a:spLocks noGrp="1"/>
          </p:cNvSpPr>
          <p:nvPr>
            <p:ph type="body" sz="quarter" idx="21" hasCustomPrompt="1"/>
          </p:nvPr>
        </p:nvSpPr>
        <p:spPr>
          <a:xfrm>
            <a:off x="8615421" y="2168525"/>
            <a:ext cx="3024000" cy="1620837"/>
          </a:xfrm>
        </p:spPr>
        <p:txBody>
          <a:bodyPr anchor="b" anchorCtr="0"/>
          <a:lstStyle>
            <a:lvl1pPr marL="0" indent="0" algn="ctr">
              <a:buNone/>
              <a:defRPr sz="12000" spc="-300" baseline="0">
                <a:solidFill>
                  <a:schemeClr val="accent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88%</a:t>
            </a:r>
          </a:p>
        </p:txBody>
      </p:sp>
      <p:sp>
        <p:nvSpPr>
          <p:cNvPr id="8" name="Text Placeholder 12">
            <a:extLst>
              <a:ext uri="{FF2B5EF4-FFF2-40B4-BE49-F238E27FC236}">
                <a16:creationId xmlns:a16="http://schemas.microsoft.com/office/drawing/2014/main" id="{751E2A69-C8AD-BB49-162E-ECBB49D0E674}"/>
              </a:ext>
            </a:extLst>
          </p:cNvPr>
          <p:cNvSpPr>
            <a:spLocks noGrp="1"/>
          </p:cNvSpPr>
          <p:nvPr>
            <p:ph type="body" sz="quarter" idx="16"/>
          </p:nvPr>
        </p:nvSpPr>
        <p:spPr>
          <a:xfrm>
            <a:off x="8615421" y="3608388"/>
            <a:ext cx="3024000" cy="1620836"/>
          </a:xfrm>
        </p:spPr>
        <p:txBody>
          <a:bodyPr/>
          <a:lstStyle>
            <a:lvl1pPr marL="0" indent="0" algn="ctr">
              <a:buNone/>
              <a:defRPr sz="1800">
                <a:solidFill>
                  <a:schemeClr val="bg1"/>
                </a:solidFill>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597964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amp; 2x Light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C748F9B-6AA0-61DE-C048-B0E26BF0608C}"/>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icture Placeholder 8">
            <a:extLst>
              <a:ext uri="{FF2B5EF4-FFF2-40B4-BE49-F238E27FC236}">
                <a16:creationId xmlns:a16="http://schemas.microsoft.com/office/drawing/2014/main" id="{0379C22F-4220-2939-3BE2-C21EFF4BFC51}"/>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bg1">
              <a:lumMod val="8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GB" noProof="0" err="1"/>
              <a:t>center</a:t>
            </a:r>
            <a:r>
              <a:rPr lang="en-US"/>
              <a:t> icon to insert dark bottom image</a:t>
            </a:r>
          </a:p>
        </p:txBody>
      </p:sp>
      <p:sp>
        <p:nvSpPr>
          <p:cNvPr id="6" name="Picture Placeholder 15">
            <a:extLst>
              <a:ext uri="{FF2B5EF4-FFF2-40B4-BE49-F238E27FC236}">
                <a16:creationId xmlns:a16="http://schemas.microsoft.com/office/drawing/2014/main" id="{112A6D7F-060C-C727-E269-5DAFC29FDA47}"/>
              </a:ext>
            </a:extLst>
          </p:cNvPr>
          <p:cNvSpPr>
            <a:spLocks noGrp="1"/>
          </p:cNvSpPr>
          <p:nvPr>
            <p:ph type="pic" sz="quarter" idx="20" hasCustomPrompt="1"/>
          </p:nvPr>
        </p:nvSpPr>
        <p:spPr>
          <a:xfrm>
            <a:off x="6096001" y="0"/>
            <a:ext cx="6096000" cy="3429000"/>
          </a:xfrm>
          <a:solidFill>
            <a:schemeClr val="bg1">
              <a:lumMod val="95000"/>
            </a:schemeClr>
          </a:solidFill>
          <a:ln>
            <a:noFill/>
          </a:ln>
        </p:spPr>
        <p:txBody>
          <a:bodyPr tIns="108000" anchor="t" anchorCtr="0"/>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468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468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5" y="1808163"/>
            <a:ext cx="5074684"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494220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amp; 2x Dark Image st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C748F9B-6AA0-61DE-C048-B0E26BF0608C}"/>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icture Placeholder 8">
            <a:extLst>
              <a:ext uri="{FF2B5EF4-FFF2-40B4-BE49-F238E27FC236}">
                <a16:creationId xmlns:a16="http://schemas.microsoft.com/office/drawing/2014/main" id="{E5A32699-7885-234A-018F-995E5E197E7E}"/>
              </a:ext>
            </a:extLst>
          </p:cNvPr>
          <p:cNvSpPr>
            <a:spLocks noGrp="1"/>
          </p:cNvSpPr>
          <p:nvPr>
            <p:ph type="pic" sz="quarter" idx="21" hasCustomPrompt="1"/>
          </p:nvPr>
        </p:nvSpPr>
        <p:spPr>
          <a:xfrm>
            <a:off x="6096001"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solidFill>
            <a:schemeClr val="tx1">
              <a:lumMod val="65000"/>
              <a:lumOff val="3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bottom image</a:t>
            </a:r>
          </a:p>
        </p:txBody>
      </p:sp>
      <p:sp>
        <p:nvSpPr>
          <p:cNvPr id="6" name="Picture Placeholder 15">
            <a:extLst>
              <a:ext uri="{FF2B5EF4-FFF2-40B4-BE49-F238E27FC236}">
                <a16:creationId xmlns:a16="http://schemas.microsoft.com/office/drawing/2014/main" id="{112A6D7F-060C-C727-E269-5DAFC29FDA47}"/>
              </a:ext>
            </a:extLst>
          </p:cNvPr>
          <p:cNvSpPr>
            <a:spLocks noGrp="1"/>
          </p:cNvSpPr>
          <p:nvPr>
            <p:ph type="pic" sz="quarter" idx="20" hasCustomPrompt="1"/>
          </p:nvPr>
        </p:nvSpPr>
        <p:spPr>
          <a:xfrm>
            <a:off x="6096001" y="0"/>
            <a:ext cx="6096000" cy="3429000"/>
          </a:xfrm>
          <a:solidFill>
            <a:schemeClr val="tx1">
              <a:lumMod val="75000"/>
              <a:lumOff val="25000"/>
            </a:schemeClr>
          </a:solidFill>
          <a:ln>
            <a:noFill/>
          </a:ln>
        </p:spPr>
        <p:txBody>
          <a:bodyPr tIns="108000" anchor="t" anchorCtr="0"/>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top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507468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507468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5" y="1808163"/>
            <a:ext cx="5074684"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283962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Horizontal Split - 3x Col / Light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F8F0D41-5B8B-CC48-CDBA-ECDBD0FE2F3A}"/>
              </a:ext>
            </a:extLst>
          </p:cNvPr>
          <p:cNvSpPr/>
          <p:nvPr userDrawn="1"/>
        </p:nvSpPr>
        <p:spPr>
          <a:xfrm>
            <a:off x="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DCF2C2E3-C045-7BBF-FA6D-493BD0C9EE0C}"/>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6">
            <a:extLst>
              <a:ext uri="{FF2B5EF4-FFF2-40B4-BE49-F238E27FC236}">
                <a16:creationId xmlns:a16="http://schemas.microsoft.com/office/drawing/2014/main" id="{C0627511-6A7D-ACCD-6101-E71F930DA5AC}"/>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center icon to insert light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11" name="Title 1">
            <a:extLst>
              <a:ext uri="{FF2B5EF4-FFF2-40B4-BE49-F238E27FC236}">
                <a16:creationId xmlns:a16="http://schemas.microsoft.com/office/drawing/2014/main" id="{0B857ECA-885F-037E-16EA-3ACEF78EB884}"/>
              </a:ext>
            </a:extLst>
          </p:cNvPr>
          <p:cNvSpPr>
            <a:spLocks noGrp="1"/>
          </p:cNvSpPr>
          <p:nvPr>
            <p:ph type="title" hasCustomPrompt="1"/>
          </p:nvPr>
        </p:nvSpPr>
        <p:spPr>
          <a:xfrm>
            <a:off x="550864" y="368828"/>
            <a:ext cx="10693824"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F8BA6A5A-5404-EC8C-6762-1792B16E8CE4}"/>
              </a:ext>
            </a:extLst>
          </p:cNvPr>
          <p:cNvSpPr>
            <a:spLocks noGrp="1"/>
          </p:cNvSpPr>
          <p:nvPr>
            <p:ph type="body" sz="quarter" idx="13" hasCustomPrompt="1"/>
          </p:nvPr>
        </p:nvSpPr>
        <p:spPr>
          <a:xfrm>
            <a:off x="550864" y="753852"/>
            <a:ext cx="1069382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5" name="Text Placeholder 12">
            <a:extLst>
              <a:ext uri="{FF2B5EF4-FFF2-40B4-BE49-F238E27FC236}">
                <a16:creationId xmlns:a16="http://schemas.microsoft.com/office/drawing/2014/main" id="{F080106E-2C2A-A892-2BF2-DDD84001F27E}"/>
              </a:ext>
            </a:extLst>
          </p:cNvPr>
          <p:cNvSpPr>
            <a:spLocks noGrp="1"/>
          </p:cNvSpPr>
          <p:nvPr>
            <p:ph type="body" sz="quarter" idx="14"/>
          </p:nvPr>
        </p:nvSpPr>
        <p:spPr>
          <a:xfrm>
            <a:off x="550864" y="1808164"/>
            <a:ext cx="3204000" cy="1441450"/>
          </a:xfrm>
        </p:spPr>
        <p:txBody>
          <a:bodyPr/>
          <a:lstStyle>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endParaRPr lang="en-GB"/>
          </a:p>
        </p:txBody>
      </p:sp>
      <p:sp>
        <p:nvSpPr>
          <p:cNvPr id="16" name="Text Placeholder 12">
            <a:extLst>
              <a:ext uri="{FF2B5EF4-FFF2-40B4-BE49-F238E27FC236}">
                <a16:creationId xmlns:a16="http://schemas.microsoft.com/office/drawing/2014/main" id="{BC6FE898-C82A-5402-FE62-BBA0AC6B37E4}"/>
              </a:ext>
            </a:extLst>
          </p:cNvPr>
          <p:cNvSpPr>
            <a:spLocks noGrp="1"/>
          </p:cNvSpPr>
          <p:nvPr>
            <p:ph type="body" sz="quarter" idx="15"/>
          </p:nvPr>
        </p:nvSpPr>
        <p:spPr>
          <a:xfrm>
            <a:off x="4295775" y="1808164"/>
            <a:ext cx="3204000" cy="1441450"/>
          </a:xfrm>
        </p:spPr>
        <p:txBody>
          <a:bodyPr/>
          <a:lstStyle>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endParaRPr lang="en-GB"/>
          </a:p>
        </p:txBody>
      </p:sp>
      <p:sp>
        <p:nvSpPr>
          <p:cNvPr id="17" name="Text Placeholder 12">
            <a:extLst>
              <a:ext uri="{FF2B5EF4-FFF2-40B4-BE49-F238E27FC236}">
                <a16:creationId xmlns:a16="http://schemas.microsoft.com/office/drawing/2014/main" id="{37EAE28F-AA38-9754-5979-7244E696F76B}"/>
              </a:ext>
            </a:extLst>
          </p:cNvPr>
          <p:cNvSpPr>
            <a:spLocks noGrp="1"/>
          </p:cNvSpPr>
          <p:nvPr>
            <p:ph type="body" sz="quarter" idx="16"/>
          </p:nvPr>
        </p:nvSpPr>
        <p:spPr>
          <a:xfrm>
            <a:off x="8040688" y="1808164"/>
            <a:ext cx="3204000" cy="1441450"/>
          </a:xfrm>
        </p:spPr>
        <p:txBody>
          <a:bodyPr/>
          <a:lstStyle>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endParaRPr lang="en-GB"/>
          </a:p>
        </p:txBody>
      </p:sp>
    </p:spTree>
    <p:extLst>
      <p:ext uri="{BB962C8B-B14F-4D97-AF65-F5344CB8AC3E}">
        <p14:creationId xmlns:p14="http://schemas.microsoft.com/office/powerpoint/2010/main" val="121688669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orizontal Split - 3x Col / Dark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CF2C2E3-C045-7BBF-FA6D-493BD0C9EE0C}"/>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5">
            <a:extLst>
              <a:ext uri="{FF2B5EF4-FFF2-40B4-BE49-F238E27FC236}">
                <a16:creationId xmlns:a16="http://schemas.microsoft.com/office/drawing/2014/main" id="{68381DBD-4086-85F2-8E1E-A804D4A5C15B}"/>
              </a:ext>
            </a:extLst>
          </p:cNvPr>
          <p:cNvSpPr>
            <a:spLocks noGrp="1"/>
          </p:cNvSpPr>
          <p:nvPr>
            <p:ph type="pic" sz="quarter" idx="20" hasCustomPrompt="1"/>
          </p:nvPr>
        </p:nvSpPr>
        <p:spPr>
          <a:xfrm>
            <a:off x="0" y="3429000"/>
            <a:ext cx="12192000" cy="3429000"/>
          </a:xfrm>
          <a:custGeom>
            <a:avLst/>
            <a:gdLst>
              <a:gd name="connsiteX0" fmla="*/ 1592699 w 12192000"/>
              <a:gd name="connsiteY0" fmla="*/ 3063423 h 3429000"/>
              <a:gd name="connsiteX1" fmla="*/ 1592699 w 12192000"/>
              <a:gd name="connsiteY1" fmla="*/ 3072164 h 3429000"/>
              <a:gd name="connsiteX2" fmla="*/ 1592546 w 12192000"/>
              <a:gd name="connsiteY2" fmla="*/ 3075388 h 3429000"/>
              <a:gd name="connsiteX3" fmla="*/ 1568857 w 12192000"/>
              <a:gd name="connsiteY3" fmla="*/ 3093619 h 3429000"/>
              <a:gd name="connsiteX4" fmla="*/ 1551438 w 12192000"/>
              <a:gd name="connsiteY4" fmla="*/ 3079315 h 3429000"/>
              <a:gd name="connsiteX5" fmla="*/ 1568857 w 12192000"/>
              <a:gd name="connsiteY5" fmla="*/ 3066071 h 3429000"/>
              <a:gd name="connsiteX6" fmla="*/ 1581983 w 12192000"/>
              <a:gd name="connsiteY6" fmla="*/ 3066071 h 3429000"/>
              <a:gd name="connsiteX7" fmla="*/ 1592699 w 12192000"/>
              <a:gd name="connsiteY7" fmla="*/ 3063423 h 3429000"/>
              <a:gd name="connsiteX8" fmla="*/ 1172060 w 12192000"/>
              <a:gd name="connsiteY8" fmla="*/ 3063423 h 3429000"/>
              <a:gd name="connsiteX9" fmla="*/ 1172060 w 12192000"/>
              <a:gd name="connsiteY9" fmla="*/ 3072164 h 3429000"/>
              <a:gd name="connsiteX10" fmla="*/ 1171906 w 12192000"/>
              <a:gd name="connsiteY10" fmla="*/ 3075389 h 3429000"/>
              <a:gd name="connsiteX11" fmla="*/ 1148216 w 12192000"/>
              <a:gd name="connsiteY11" fmla="*/ 3093619 h 3429000"/>
              <a:gd name="connsiteX12" fmla="*/ 1130802 w 12192000"/>
              <a:gd name="connsiteY12" fmla="*/ 3079315 h 3429000"/>
              <a:gd name="connsiteX13" fmla="*/ 1148216 w 12192000"/>
              <a:gd name="connsiteY13" fmla="*/ 3066071 h 3429000"/>
              <a:gd name="connsiteX14" fmla="*/ 1161343 w 12192000"/>
              <a:gd name="connsiteY14" fmla="*/ 3066071 h 3429000"/>
              <a:gd name="connsiteX15" fmla="*/ 1172060 w 12192000"/>
              <a:gd name="connsiteY15" fmla="*/ 3063423 h 3429000"/>
              <a:gd name="connsiteX16" fmla="*/ 1796056 w 12192000"/>
              <a:gd name="connsiteY16" fmla="*/ 3019718 h 3429000"/>
              <a:gd name="connsiteX17" fmla="*/ 1823115 w 12192000"/>
              <a:gd name="connsiteY17" fmla="*/ 3041969 h 3429000"/>
              <a:gd name="connsiteX18" fmla="*/ 1768190 w 12192000"/>
              <a:gd name="connsiteY18" fmla="*/ 3041969 h 3429000"/>
              <a:gd name="connsiteX19" fmla="*/ 1796056 w 12192000"/>
              <a:gd name="connsiteY19" fmla="*/ 3019718 h 3429000"/>
              <a:gd name="connsiteX20" fmla="*/ 1385331 w 12192000"/>
              <a:gd name="connsiteY20" fmla="*/ 2994290 h 3429000"/>
              <a:gd name="connsiteX21" fmla="*/ 1427128 w 12192000"/>
              <a:gd name="connsiteY21" fmla="*/ 3115605 h 3429000"/>
              <a:gd name="connsiteX22" fmla="*/ 1470261 w 12192000"/>
              <a:gd name="connsiteY22" fmla="*/ 3115605 h 3429000"/>
              <a:gd name="connsiteX23" fmla="*/ 1513932 w 12192000"/>
              <a:gd name="connsiteY23" fmla="*/ 2994290 h 3429000"/>
              <a:gd name="connsiteX24" fmla="*/ 1477223 w 12192000"/>
              <a:gd name="connsiteY24" fmla="*/ 2994290 h 3429000"/>
              <a:gd name="connsiteX25" fmla="*/ 1449367 w 12192000"/>
              <a:gd name="connsiteY25" fmla="*/ 3078521 h 3429000"/>
              <a:gd name="connsiteX26" fmla="*/ 1423104 w 12192000"/>
              <a:gd name="connsiteY26" fmla="*/ 2994290 h 3429000"/>
              <a:gd name="connsiteX27" fmla="*/ 1319153 w 12192000"/>
              <a:gd name="connsiteY27" fmla="*/ 2994290 h 3429000"/>
              <a:gd name="connsiteX28" fmla="*/ 1319153 w 12192000"/>
              <a:gd name="connsiteY28" fmla="*/ 3023426 h 3429000"/>
              <a:gd name="connsiteX29" fmla="*/ 1336299 w 12192000"/>
              <a:gd name="connsiteY29" fmla="*/ 3023426 h 3429000"/>
              <a:gd name="connsiteX30" fmla="*/ 1336299 w 12192000"/>
              <a:gd name="connsiteY30" fmla="*/ 3115604 h 3429000"/>
              <a:gd name="connsiteX31" fmla="*/ 1371127 w 12192000"/>
              <a:gd name="connsiteY31" fmla="*/ 3115604 h 3429000"/>
              <a:gd name="connsiteX32" fmla="*/ 1371127 w 12192000"/>
              <a:gd name="connsiteY32" fmla="*/ 2994290 h 3429000"/>
              <a:gd name="connsiteX33" fmla="*/ 1293161 w 12192000"/>
              <a:gd name="connsiteY33" fmla="*/ 2992700 h 3429000"/>
              <a:gd name="connsiteX34" fmla="*/ 1261280 w 12192000"/>
              <a:gd name="connsiteY34" fmla="*/ 3013626 h 3429000"/>
              <a:gd name="connsiteX35" fmla="*/ 1261280 w 12192000"/>
              <a:gd name="connsiteY35" fmla="*/ 2994290 h 3429000"/>
              <a:gd name="connsiteX36" fmla="*/ 1227522 w 12192000"/>
              <a:gd name="connsiteY36" fmla="*/ 2994290 h 3429000"/>
              <a:gd name="connsiteX37" fmla="*/ 1227522 w 12192000"/>
              <a:gd name="connsiteY37" fmla="*/ 3115604 h 3429000"/>
              <a:gd name="connsiteX38" fmla="*/ 1262352 w 12192000"/>
              <a:gd name="connsiteY38" fmla="*/ 3115604 h 3429000"/>
              <a:gd name="connsiteX39" fmla="*/ 1262352 w 12192000"/>
              <a:gd name="connsiteY39" fmla="*/ 3057596 h 3429000"/>
              <a:gd name="connsiteX40" fmla="*/ 1288073 w 12192000"/>
              <a:gd name="connsiteY40" fmla="*/ 3028194 h 3429000"/>
              <a:gd name="connsiteX41" fmla="*/ 1302808 w 12192000"/>
              <a:gd name="connsiteY41" fmla="*/ 3028194 h 3429000"/>
              <a:gd name="connsiteX42" fmla="*/ 1302808 w 12192000"/>
              <a:gd name="connsiteY42" fmla="*/ 2993760 h 3429000"/>
              <a:gd name="connsiteX43" fmla="*/ 1293161 w 12192000"/>
              <a:gd name="connsiteY43" fmla="*/ 2992700 h 3429000"/>
              <a:gd name="connsiteX44" fmla="*/ 1796056 w 12192000"/>
              <a:gd name="connsiteY44" fmla="*/ 2991112 h 3429000"/>
              <a:gd name="connsiteX45" fmla="*/ 1791956 w 12192000"/>
              <a:gd name="connsiteY45" fmla="*/ 2991138 h 3429000"/>
              <a:gd name="connsiteX46" fmla="*/ 1732297 w 12192000"/>
              <a:gd name="connsiteY46" fmla="*/ 3054948 h 3429000"/>
              <a:gd name="connsiteX47" fmla="*/ 1770879 w 12192000"/>
              <a:gd name="connsiteY47" fmla="*/ 3112990 h 3429000"/>
              <a:gd name="connsiteX48" fmla="*/ 1857943 w 12192000"/>
              <a:gd name="connsiteY48" fmla="*/ 3080641 h 3429000"/>
              <a:gd name="connsiteX49" fmla="*/ 1821781 w 12192000"/>
              <a:gd name="connsiteY49" fmla="*/ 3076933 h 3429000"/>
              <a:gd name="connsiteX50" fmla="*/ 1802269 w 12192000"/>
              <a:gd name="connsiteY50" fmla="*/ 3089046 h 3429000"/>
              <a:gd name="connsiteX51" fmla="*/ 1768997 w 12192000"/>
              <a:gd name="connsiteY51" fmla="*/ 3065013 h 3429000"/>
              <a:gd name="connsiteX52" fmla="*/ 1860353 w 12192000"/>
              <a:gd name="connsiteY52" fmla="*/ 3065013 h 3429000"/>
              <a:gd name="connsiteX53" fmla="*/ 1860353 w 12192000"/>
              <a:gd name="connsiteY53" fmla="*/ 3063689 h 3429000"/>
              <a:gd name="connsiteX54" fmla="*/ 1796056 w 12192000"/>
              <a:gd name="connsiteY54" fmla="*/ 2991112 h 3429000"/>
              <a:gd name="connsiteX55" fmla="*/ 1574215 w 12192000"/>
              <a:gd name="connsiteY55" fmla="*/ 2991111 h 3429000"/>
              <a:gd name="connsiteX56" fmla="*/ 1521700 w 12192000"/>
              <a:gd name="connsiteY56" fmla="*/ 3005944 h 3429000"/>
              <a:gd name="connsiteX57" fmla="*/ 1535364 w 12192000"/>
              <a:gd name="connsiteY57" fmla="*/ 3031902 h 3429000"/>
              <a:gd name="connsiteX58" fmla="*/ 1572342 w 12192000"/>
              <a:gd name="connsiteY58" fmla="*/ 3020512 h 3429000"/>
              <a:gd name="connsiteX59" fmla="*/ 1592699 w 12192000"/>
              <a:gd name="connsiteY59" fmla="*/ 3034816 h 3429000"/>
              <a:gd name="connsiteX60" fmla="*/ 1592699 w 12192000"/>
              <a:gd name="connsiteY60" fmla="*/ 3036140 h 3429000"/>
              <a:gd name="connsiteX61" fmla="*/ 1584124 w 12192000"/>
              <a:gd name="connsiteY61" fmla="*/ 3043292 h 3429000"/>
              <a:gd name="connsiteX62" fmla="*/ 1560013 w 12192000"/>
              <a:gd name="connsiteY62" fmla="*/ 3043292 h 3429000"/>
              <a:gd name="connsiteX63" fmla="*/ 1515545 w 12192000"/>
              <a:gd name="connsiteY63" fmla="*/ 3080640 h 3429000"/>
              <a:gd name="connsiteX64" fmla="*/ 1515603 w 12192000"/>
              <a:gd name="connsiteY64" fmla="*/ 3081750 h 3429000"/>
              <a:gd name="connsiteX65" fmla="*/ 1558409 w 12192000"/>
              <a:gd name="connsiteY65" fmla="*/ 3118782 h 3429000"/>
              <a:gd name="connsiteX66" fmla="*/ 1592699 w 12192000"/>
              <a:gd name="connsiteY66" fmla="*/ 3104214 h 3429000"/>
              <a:gd name="connsiteX67" fmla="*/ 1592699 w 12192000"/>
              <a:gd name="connsiteY67" fmla="*/ 3115604 h 3429000"/>
              <a:gd name="connsiteX68" fmla="*/ 1627527 w 12192000"/>
              <a:gd name="connsiteY68" fmla="*/ 3115604 h 3429000"/>
              <a:gd name="connsiteX69" fmla="*/ 1627527 w 12192000"/>
              <a:gd name="connsiteY69" fmla="*/ 3035875 h 3429000"/>
              <a:gd name="connsiteX70" fmla="*/ 1574215 w 12192000"/>
              <a:gd name="connsiteY70" fmla="*/ 2991111 h 3429000"/>
              <a:gd name="connsiteX71" fmla="*/ 1153574 w 12192000"/>
              <a:gd name="connsiteY71" fmla="*/ 2991111 h 3429000"/>
              <a:gd name="connsiteX72" fmla="*/ 1101062 w 12192000"/>
              <a:gd name="connsiteY72" fmla="*/ 3005944 h 3429000"/>
              <a:gd name="connsiteX73" fmla="*/ 1114726 w 12192000"/>
              <a:gd name="connsiteY73" fmla="*/ 3031902 h 3429000"/>
              <a:gd name="connsiteX74" fmla="*/ 1151699 w 12192000"/>
              <a:gd name="connsiteY74" fmla="*/ 3020512 h 3429000"/>
              <a:gd name="connsiteX75" fmla="*/ 1172060 w 12192000"/>
              <a:gd name="connsiteY75" fmla="*/ 3034816 h 3429000"/>
              <a:gd name="connsiteX76" fmla="*/ 1172060 w 12192000"/>
              <a:gd name="connsiteY76" fmla="*/ 3036140 h 3429000"/>
              <a:gd name="connsiteX77" fmla="*/ 1163487 w 12192000"/>
              <a:gd name="connsiteY77" fmla="*/ 3043292 h 3429000"/>
              <a:gd name="connsiteX78" fmla="*/ 1139375 w 12192000"/>
              <a:gd name="connsiteY78" fmla="*/ 3043292 h 3429000"/>
              <a:gd name="connsiteX79" fmla="*/ 1094901 w 12192000"/>
              <a:gd name="connsiteY79" fmla="*/ 3080640 h 3429000"/>
              <a:gd name="connsiteX80" fmla="*/ 1094960 w 12192000"/>
              <a:gd name="connsiteY80" fmla="*/ 3081749 h 3429000"/>
              <a:gd name="connsiteX81" fmla="*/ 1137766 w 12192000"/>
              <a:gd name="connsiteY81" fmla="*/ 3118782 h 3429000"/>
              <a:gd name="connsiteX82" fmla="*/ 1172060 w 12192000"/>
              <a:gd name="connsiteY82" fmla="*/ 3104214 h 3429000"/>
              <a:gd name="connsiteX83" fmla="*/ 1172060 w 12192000"/>
              <a:gd name="connsiteY83" fmla="*/ 3115604 h 3429000"/>
              <a:gd name="connsiteX84" fmla="*/ 1206890 w 12192000"/>
              <a:gd name="connsiteY84" fmla="*/ 3115604 h 3429000"/>
              <a:gd name="connsiteX85" fmla="*/ 1206890 w 12192000"/>
              <a:gd name="connsiteY85" fmla="*/ 3035875 h 3429000"/>
              <a:gd name="connsiteX86" fmla="*/ 1153574 w 12192000"/>
              <a:gd name="connsiteY86" fmla="*/ 2991111 h 3429000"/>
              <a:gd name="connsiteX87" fmla="*/ 568575 w 12192000"/>
              <a:gd name="connsiteY87" fmla="*/ 2954429 h 3429000"/>
              <a:gd name="connsiteX88" fmla="*/ 568549 w 12192000"/>
              <a:gd name="connsiteY88" fmla="*/ 3091396 h 3429000"/>
              <a:gd name="connsiteX89" fmla="*/ 624511 w 12192000"/>
              <a:gd name="connsiteY89" fmla="*/ 3090097 h 3429000"/>
              <a:gd name="connsiteX90" fmla="*/ 618898 w 12192000"/>
              <a:gd name="connsiteY90" fmla="*/ 2973004 h 3429000"/>
              <a:gd name="connsiteX91" fmla="*/ 624479 w 12192000"/>
              <a:gd name="connsiteY91" fmla="*/ 2955725 h 3429000"/>
              <a:gd name="connsiteX92" fmla="*/ 568575 w 12192000"/>
              <a:gd name="connsiteY92" fmla="*/ 2954429 h 3429000"/>
              <a:gd name="connsiteX93" fmla="*/ 1659953 w 12192000"/>
              <a:gd name="connsiteY93" fmla="*/ 2948201 h 3429000"/>
              <a:gd name="connsiteX94" fmla="*/ 1659953 w 12192000"/>
              <a:gd name="connsiteY94" fmla="*/ 2994290 h 3429000"/>
              <a:gd name="connsiteX95" fmla="*/ 1640662 w 12192000"/>
              <a:gd name="connsiteY95" fmla="*/ 2994290 h 3429000"/>
              <a:gd name="connsiteX96" fmla="*/ 1640662 w 12192000"/>
              <a:gd name="connsiteY96" fmla="*/ 3023426 h 3429000"/>
              <a:gd name="connsiteX97" fmla="*/ 1659953 w 12192000"/>
              <a:gd name="connsiteY97" fmla="*/ 3023426 h 3429000"/>
              <a:gd name="connsiteX98" fmla="*/ 1659953 w 12192000"/>
              <a:gd name="connsiteY98" fmla="*/ 3089911 h 3429000"/>
              <a:gd name="connsiteX99" fmla="*/ 1695318 w 12192000"/>
              <a:gd name="connsiteY99" fmla="*/ 3117194 h 3429000"/>
              <a:gd name="connsiteX100" fmla="*/ 1722377 w 12192000"/>
              <a:gd name="connsiteY100" fmla="*/ 3115604 h 3429000"/>
              <a:gd name="connsiteX101" fmla="*/ 1722377 w 12192000"/>
              <a:gd name="connsiteY101" fmla="*/ 3086203 h 3429000"/>
              <a:gd name="connsiteX102" fmla="*/ 1706303 w 12192000"/>
              <a:gd name="connsiteY102" fmla="*/ 3086998 h 3429000"/>
              <a:gd name="connsiteX103" fmla="*/ 1694780 w 12192000"/>
              <a:gd name="connsiteY103" fmla="*/ 3078256 h 3429000"/>
              <a:gd name="connsiteX104" fmla="*/ 1694780 w 12192000"/>
              <a:gd name="connsiteY104" fmla="*/ 3023426 h 3429000"/>
              <a:gd name="connsiteX105" fmla="*/ 1721302 w 12192000"/>
              <a:gd name="connsiteY105" fmla="*/ 3023426 h 3429000"/>
              <a:gd name="connsiteX106" fmla="*/ 1721302 w 12192000"/>
              <a:gd name="connsiteY106" fmla="*/ 2994290 h 3429000"/>
              <a:gd name="connsiteX107" fmla="*/ 1694780 w 12192000"/>
              <a:gd name="connsiteY107" fmla="*/ 2994290 h 3429000"/>
              <a:gd name="connsiteX108" fmla="*/ 1694780 w 12192000"/>
              <a:gd name="connsiteY108" fmla="*/ 2948201 h 3429000"/>
              <a:gd name="connsiteX109" fmla="*/ 1884617 w 12192000"/>
              <a:gd name="connsiteY109" fmla="*/ 2930355 h 3429000"/>
              <a:gd name="connsiteX110" fmla="*/ 1884617 w 12192000"/>
              <a:gd name="connsiteY110" fmla="*/ 2963335 h 3429000"/>
              <a:gd name="connsiteX111" fmla="*/ 1893998 w 12192000"/>
              <a:gd name="connsiteY111" fmla="*/ 2963335 h 3429000"/>
              <a:gd name="connsiteX112" fmla="*/ 1893998 w 12192000"/>
              <a:gd name="connsiteY112" fmla="*/ 2944492 h 3429000"/>
              <a:gd name="connsiteX113" fmla="*/ 1898291 w 12192000"/>
              <a:gd name="connsiteY113" fmla="*/ 2956270 h 3429000"/>
              <a:gd name="connsiteX114" fmla="*/ 1905819 w 12192000"/>
              <a:gd name="connsiteY114" fmla="*/ 2956270 h 3429000"/>
              <a:gd name="connsiteX115" fmla="*/ 1910111 w 12192000"/>
              <a:gd name="connsiteY115" fmla="*/ 2944492 h 3429000"/>
              <a:gd name="connsiteX116" fmla="*/ 1910111 w 12192000"/>
              <a:gd name="connsiteY116" fmla="*/ 2963335 h 3429000"/>
              <a:gd name="connsiteX117" fmla="*/ 1919685 w 12192000"/>
              <a:gd name="connsiteY117" fmla="*/ 2963335 h 3429000"/>
              <a:gd name="connsiteX118" fmla="*/ 1919685 w 12192000"/>
              <a:gd name="connsiteY118" fmla="*/ 2930355 h 3429000"/>
              <a:gd name="connsiteX119" fmla="*/ 1907566 w 12192000"/>
              <a:gd name="connsiteY119" fmla="*/ 2930355 h 3429000"/>
              <a:gd name="connsiteX120" fmla="*/ 1902362 w 12192000"/>
              <a:gd name="connsiteY120" fmla="*/ 2944114 h 3429000"/>
              <a:gd name="connsiteX121" fmla="*/ 1897494 w 12192000"/>
              <a:gd name="connsiteY121" fmla="*/ 2930355 h 3429000"/>
              <a:gd name="connsiteX122" fmla="*/ 1850683 w 12192000"/>
              <a:gd name="connsiteY122" fmla="*/ 2930355 h 3429000"/>
              <a:gd name="connsiteX123" fmla="*/ 1850683 w 12192000"/>
              <a:gd name="connsiteY123" fmla="*/ 2938929 h 3429000"/>
              <a:gd name="connsiteX124" fmla="*/ 1860074 w 12192000"/>
              <a:gd name="connsiteY124" fmla="*/ 2938929 h 3429000"/>
              <a:gd name="connsiteX125" fmla="*/ 1860074 w 12192000"/>
              <a:gd name="connsiteY125" fmla="*/ 2963335 h 3429000"/>
              <a:gd name="connsiteX126" fmla="*/ 1869839 w 12192000"/>
              <a:gd name="connsiteY126" fmla="*/ 2963335 h 3429000"/>
              <a:gd name="connsiteX127" fmla="*/ 1869839 w 12192000"/>
              <a:gd name="connsiteY127" fmla="*/ 2938929 h 3429000"/>
              <a:gd name="connsiteX128" fmla="*/ 1879230 w 12192000"/>
              <a:gd name="connsiteY128" fmla="*/ 2938929 h 3429000"/>
              <a:gd name="connsiteX129" fmla="*/ 1879230 w 12192000"/>
              <a:gd name="connsiteY129" fmla="*/ 2930355 h 3429000"/>
              <a:gd name="connsiteX130" fmla="*/ 1352105 w 12192000"/>
              <a:gd name="connsiteY130" fmla="*/ 2930189 h 3429000"/>
              <a:gd name="connsiteX131" fmla="*/ 1329868 w 12192000"/>
              <a:gd name="connsiteY131" fmla="*/ 2952439 h 3429000"/>
              <a:gd name="connsiteX132" fmla="*/ 1352108 w 12192000"/>
              <a:gd name="connsiteY132" fmla="*/ 2974427 h 3429000"/>
              <a:gd name="connsiteX133" fmla="*/ 1374610 w 12192000"/>
              <a:gd name="connsiteY133" fmla="*/ 2952439 h 3429000"/>
              <a:gd name="connsiteX134" fmla="*/ 1374610 w 12192000"/>
              <a:gd name="connsiteY134" fmla="*/ 2952364 h 3429000"/>
              <a:gd name="connsiteX135" fmla="*/ 1352105 w 12192000"/>
              <a:gd name="connsiteY135" fmla="*/ 2930189 h 3429000"/>
              <a:gd name="connsiteX136" fmla="*/ 1041583 w 12192000"/>
              <a:gd name="connsiteY136" fmla="*/ 2930189 h 3429000"/>
              <a:gd name="connsiteX137" fmla="*/ 1041583 w 12192000"/>
              <a:gd name="connsiteY137" fmla="*/ 3115604 h 3429000"/>
              <a:gd name="connsiteX138" fmla="*/ 1076143 w 12192000"/>
              <a:gd name="connsiteY138" fmla="*/ 3115604 h 3429000"/>
              <a:gd name="connsiteX139" fmla="*/ 1076143 w 12192000"/>
              <a:gd name="connsiteY139" fmla="*/ 2930189 h 3429000"/>
              <a:gd name="connsiteX140" fmla="*/ 925239 w 12192000"/>
              <a:gd name="connsiteY140" fmla="*/ 2926990 h 3429000"/>
              <a:gd name="connsiteX141" fmla="*/ 832602 w 12192000"/>
              <a:gd name="connsiteY141" fmla="*/ 3022897 h 3429000"/>
              <a:gd name="connsiteX142" fmla="*/ 832623 w 12192000"/>
              <a:gd name="connsiteY142" fmla="*/ 3027990 h 3429000"/>
              <a:gd name="connsiteX143" fmla="*/ 930389 w 12192000"/>
              <a:gd name="connsiteY143" fmla="*/ 3118783 h 3429000"/>
              <a:gd name="connsiteX144" fmla="*/ 1022285 w 12192000"/>
              <a:gd name="connsiteY144" fmla="*/ 3049650 h 3429000"/>
              <a:gd name="connsiteX145" fmla="*/ 981294 w 12192000"/>
              <a:gd name="connsiteY145" fmla="*/ 3049650 h 3429000"/>
              <a:gd name="connsiteX146" fmla="*/ 930389 w 12192000"/>
              <a:gd name="connsiteY146" fmla="*/ 3084878 h 3429000"/>
              <a:gd name="connsiteX147" fmla="*/ 871450 w 12192000"/>
              <a:gd name="connsiteY147" fmla="*/ 3022897 h 3429000"/>
              <a:gd name="connsiteX148" fmla="*/ 930389 w 12192000"/>
              <a:gd name="connsiteY148" fmla="*/ 2960916 h 3429000"/>
              <a:gd name="connsiteX149" fmla="*/ 981294 w 12192000"/>
              <a:gd name="connsiteY149" fmla="*/ 2996144 h 3429000"/>
              <a:gd name="connsiteX150" fmla="*/ 1022285 w 12192000"/>
              <a:gd name="connsiteY150" fmla="*/ 2996144 h 3429000"/>
              <a:gd name="connsiteX151" fmla="*/ 930389 w 12192000"/>
              <a:gd name="connsiteY151" fmla="*/ 2927011 h 3429000"/>
              <a:gd name="connsiteX152" fmla="*/ 925239 w 12192000"/>
              <a:gd name="connsiteY152" fmla="*/ 2926990 h 3429000"/>
              <a:gd name="connsiteX153" fmla="*/ 651232 w 12192000"/>
              <a:gd name="connsiteY153" fmla="*/ 2907161 h 3429000"/>
              <a:gd name="connsiteX154" fmla="*/ 624479 w 12192000"/>
              <a:gd name="connsiteY154" fmla="*/ 2955726 h 3429000"/>
              <a:gd name="connsiteX155" fmla="*/ 742033 w 12192000"/>
              <a:gd name="connsiteY155" fmla="*/ 3022914 h 3429000"/>
              <a:gd name="connsiteX156" fmla="*/ 624512 w 12192000"/>
              <a:gd name="connsiteY156" fmla="*/ 3090097 h 3429000"/>
              <a:gd name="connsiteX157" fmla="*/ 651373 w 12192000"/>
              <a:gd name="connsiteY157" fmla="*/ 3138631 h 3429000"/>
              <a:gd name="connsiteX158" fmla="*/ 771228 w 12192000"/>
              <a:gd name="connsiteY158" fmla="*/ 3070136 h 3429000"/>
              <a:gd name="connsiteX159" fmla="*/ 742033 w 12192000"/>
              <a:gd name="connsiteY159" fmla="*/ 3022914 h 3429000"/>
              <a:gd name="connsiteX160" fmla="*/ 771227 w 12192000"/>
              <a:gd name="connsiteY160" fmla="*/ 2975692 h 3429000"/>
              <a:gd name="connsiteX161" fmla="*/ 651232 w 12192000"/>
              <a:gd name="connsiteY161" fmla="*/ 2907161 h 3429000"/>
              <a:gd name="connsiteX162" fmla="*/ 0 w 12192000"/>
              <a:gd name="connsiteY162" fmla="*/ 0 h 3429000"/>
              <a:gd name="connsiteX163" fmla="*/ 12192000 w 12192000"/>
              <a:gd name="connsiteY163" fmla="*/ 0 h 3429000"/>
              <a:gd name="connsiteX164" fmla="*/ 12192000 w 12192000"/>
              <a:gd name="connsiteY164" fmla="*/ 3429000 h 3429000"/>
              <a:gd name="connsiteX165" fmla="*/ 8040688 w 12192000"/>
              <a:gd name="connsiteY165" fmla="*/ 3429000 h 3429000"/>
              <a:gd name="connsiteX166" fmla="*/ 7499776 w 12192000"/>
              <a:gd name="connsiteY166" fmla="*/ 3429000 h 3429000"/>
              <a:gd name="connsiteX167" fmla="*/ 0 w 12192000"/>
              <a:gd name="connsiteY16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2000" h="3429000">
                <a:moveTo>
                  <a:pt x="1592699" y="3063423"/>
                </a:moveTo>
                <a:lnTo>
                  <a:pt x="1592699" y="3072164"/>
                </a:lnTo>
                <a:cubicBezTo>
                  <a:pt x="1592738" y="3073241"/>
                  <a:pt x="1592680" y="3074319"/>
                  <a:pt x="1592546" y="3075388"/>
                </a:cubicBezTo>
                <a:cubicBezTo>
                  <a:pt x="1591096" y="3086890"/>
                  <a:pt x="1580495" y="3095053"/>
                  <a:pt x="1568857" y="3093619"/>
                </a:cubicBezTo>
                <a:cubicBezTo>
                  <a:pt x="1558141" y="3093619"/>
                  <a:pt x="1551438" y="3087526"/>
                  <a:pt x="1551438" y="3079315"/>
                </a:cubicBezTo>
                <a:cubicBezTo>
                  <a:pt x="1551438" y="3070839"/>
                  <a:pt x="1557872" y="3066071"/>
                  <a:pt x="1568857" y="3066071"/>
                </a:cubicBezTo>
                <a:lnTo>
                  <a:pt x="1581983" y="3066071"/>
                </a:lnTo>
                <a:cubicBezTo>
                  <a:pt x="1585766" y="3066554"/>
                  <a:pt x="1589598" y="3065609"/>
                  <a:pt x="1592699" y="3063423"/>
                </a:cubicBezTo>
                <a:close/>
                <a:moveTo>
                  <a:pt x="1172060" y="3063423"/>
                </a:moveTo>
                <a:lnTo>
                  <a:pt x="1172060" y="3072164"/>
                </a:lnTo>
                <a:cubicBezTo>
                  <a:pt x="1172093" y="3073242"/>
                  <a:pt x="1172042" y="3074320"/>
                  <a:pt x="1171906" y="3075389"/>
                </a:cubicBezTo>
                <a:cubicBezTo>
                  <a:pt x="1170456" y="3086891"/>
                  <a:pt x="1159850" y="3095053"/>
                  <a:pt x="1148216" y="3093619"/>
                </a:cubicBezTo>
                <a:cubicBezTo>
                  <a:pt x="1137499" y="3093619"/>
                  <a:pt x="1130802" y="3087526"/>
                  <a:pt x="1130802" y="3079315"/>
                </a:cubicBezTo>
                <a:cubicBezTo>
                  <a:pt x="1130802" y="3070839"/>
                  <a:pt x="1137232" y="3066071"/>
                  <a:pt x="1148216" y="3066071"/>
                </a:cubicBezTo>
                <a:lnTo>
                  <a:pt x="1161343" y="3066071"/>
                </a:lnTo>
                <a:cubicBezTo>
                  <a:pt x="1165125" y="3066554"/>
                  <a:pt x="1168953" y="3065609"/>
                  <a:pt x="1172060" y="3063423"/>
                </a:cubicBezTo>
                <a:close/>
                <a:moveTo>
                  <a:pt x="1796056" y="3019718"/>
                </a:moveTo>
                <a:cubicBezTo>
                  <a:pt x="1809461" y="3019340"/>
                  <a:pt x="1821051" y="3028873"/>
                  <a:pt x="1823115" y="3041969"/>
                </a:cubicBezTo>
                <a:lnTo>
                  <a:pt x="1768190" y="3041969"/>
                </a:lnTo>
                <a:cubicBezTo>
                  <a:pt x="1770601" y="3028738"/>
                  <a:pt x="1782469" y="3019261"/>
                  <a:pt x="1796056" y="3019718"/>
                </a:cubicBezTo>
                <a:close/>
                <a:moveTo>
                  <a:pt x="1385331" y="2994290"/>
                </a:moveTo>
                <a:lnTo>
                  <a:pt x="1427128" y="3115605"/>
                </a:lnTo>
                <a:lnTo>
                  <a:pt x="1470261" y="3115605"/>
                </a:lnTo>
                <a:lnTo>
                  <a:pt x="1513932" y="2994290"/>
                </a:lnTo>
                <a:lnTo>
                  <a:pt x="1477223" y="2994290"/>
                </a:lnTo>
                <a:lnTo>
                  <a:pt x="1449367" y="3078521"/>
                </a:lnTo>
                <a:lnTo>
                  <a:pt x="1423104" y="2994290"/>
                </a:lnTo>
                <a:close/>
                <a:moveTo>
                  <a:pt x="1319153" y="2994290"/>
                </a:moveTo>
                <a:lnTo>
                  <a:pt x="1319153" y="3023426"/>
                </a:lnTo>
                <a:lnTo>
                  <a:pt x="1336299" y="3023426"/>
                </a:lnTo>
                <a:lnTo>
                  <a:pt x="1336299" y="3115604"/>
                </a:lnTo>
                <a:lnTo>
                  <a:pt x="1371127" y="3115604"/>
                </a:lnTo>
                <a:lnTo>
                  <a:pt x="1371127" y="2994290"/>
                </a:lnTo>
                <a:close/>
                <a:moveTo>
                  <a:pt x="1293161" y="2992700"/>
                </a:moveTo>
                <a:cubicBezTo>
                  <a:pt x="1279051" y="2992037"/>
                  <a:pt x="1266138" y="3000512"/>
                  <a:pt x="1261280" y="3013626"/>
                </a:cubicBezTo>
                <a:lnTo>
                  <a:pt x="1261280" y="2994290"/>
                </a:lnTo>
                <a:lnTo>
                  <a:pt x="1227522" y="2994290"/>
                </a:lnTo>
                <a:lnTo>
                  <a:pt x="1227522" y="3115604"/>
                </a:lnTo>
                <a:lnTo>
                  <a:pt x="1262352" y="3115604"/>
                </a:lnTo>
                <a:lnTo>
                  <a:pt x="1262352" y="3057596"/>
                </a:lnTo>
                <a:cubicBezTo>
                  <a:pt x="1262352" y="3036405"/>
                  <a:pt x="1270389" y="3028194"/>
                  <a:pt x="1288073" y="3028194"/>
                </a:cubicBezTo>
                <a:lnTo>
                  <a:pt x="1302808" y="3028194"/>
                </a:lnTo>
                <a:lnTo>
                  <a:pt x="1302808" y="2993760"/>
                </a:lnTo>
                <a:cubicBezTo>
                  <a:pt x="1299648" y="2993016"/>
                  <a:pt x="1296409" y="2992660"/>
                  <a:pt x="1293161" y="2992700"/>
                </a:cubicBezTo>
                <a:close/>
                <a:moveTo>
                  <a:pt x="1796056" y="2991112"/>
                </a:moveTo>
                <a:cubicBezTo>
                  <a:pt x="1794693" y="2991076"/>
                  <a:pt x="1793320" y="2991084"/>
                  <a:pt x="1791956" y="2991138"/>
                </a:cubicBezTo>
                <a:cubicBezTo>
                  <a:pt x="1757657" y="2992470"/>
                  <a:pt x="1730943" y="3021039"/>
                  <a:pt x="1732297" y="3054948"/>
                </a:cubicBezTo>
                <a:cubicBezTo>
                  <a:pt x="1732749" y="3080035"/>
                  <a:pt x="1747766" y="3102624"/>
                  <a:pt x="1770879" y="3112990"/>
                </a:cubicBezTo>
                <a:cubicBezTo>
                  <a:pt x="1803959" y="3127828"/>
                  <a:pt x="1842934" y="3113344"/>
                  <a:pt x="1857943" y="3080641"/>
                </a:cubicBezTo>
                <a:lnTo>
                  <a:pt x="1821781" y="3076933"/>
                </a:lnTo>
                <a:cubicBezTo>
                  <a:pt x="1817229" y="3083448"/>
                  <a:pt x="1810181" y="3087829"/>
                  <a:pt x="1802269" y="3089046"/>
                </a:cubicBezTo>
                <a:cubicBezTo>
                  <a:pt x="1786368" y="3091493"/>
                  <a:pt x="1771474" y="3080733"/>
                  <a:pt x="1768997" y="3065013"/>
                </a:cubicBezTo>
                <a:lnTo>
                  <a:pt x="1860353" y="3065013"/>
                </a:lnTo>
                <a:lnTo>
                  <a:pt x="1860353" y="3063689"/>
                </a:lnTo>
                <a:cubicBezTo>
                  <a:pt x="1860353" y="3012832"/>
                  <a:pt x="1829808" y="2991112"/>
                  <a:pt x="1796056" y="2991112"/>
                </a:cubicBezTo>
                <a:close/>
                <a:moveTo>
                  <a:pt x="1574215" y="2991111"/>
                </a:moveTo>
                <a:cubicBezTo>
                  <a:pt x="1555692" y="2991390"/>
                  <a:pt x="1537573" y="2996507"/>
                  <a:pt x="1521700" y="3005944"/>
                </a:cubicBezTo>
                <a:lnTo>
                  <a:pt x="1535364" y="3031902"/>
                </a:lnTo>
                <a:cubicBezTo>
                  <a:pt x="1546618" y="3025290"/>
                  <a:pt x="1559283" y="3021388"/>
                  <a:pt x="1572342" y="3020512"/>
                </a:cubicBezTo>
                <a:cubicBezTo>
                  <a:pt x="1585738" y="3020512"/>
                  <a:pt x="1592699" y="3026075"/>
                  <a:pt x="1592699" y="3034816"/>
                </a:cubicBezTo>
                <a:lnTo>
                  <a:pt x="1592699" y="3036140"/>
                </a:lnTo>
                <a:cubicBezTo>
                  <a:pt x="1592699" y="3040643"/>
                  <a:pt x="1590020" y="3043292"/>
                  <a:pt x="1584124" y="3043292"/>
                </a:cubicBezTo>
                <a:lnTo>
                  <a:pt x="1560013" y="3043292"/>
                </a:lnTo>
                <a:cubicBezTo>
                  <a:pt x="1532685" y="3043292"/>
                  <a:pt x="1515545" y="3057595"/>
                  <a:pt x="1515545" y="3080640"/>
                </a:cubicBezTo>
                <a:cubicBezTo>
                  <a:pt x="1515555" y="3081010"/>
                  <a:pt x="1515574" y="3081380"/>
                  <a:pt x="1515603" y="3081750"/>
                </a:cubicBezTo>
                <a:cubicBezTo>
                  <a:pt x="1517081" y="3103663"/>
                  <a:pt x="1536247" y="3120244"/>
                  <a:pt x="1558409" y="3118782"/>
                </a:cubicBezTo>
                <a:cubicBezTo>
                  <a:pt x="1571536" y="3119591"/>
                  <a:pt x="1584259" y="3114183"/>
                  <a:pt x="1592699" y="3104214"/>
                </a:cubicBezTo>
                <a:lnTo>
                  <a:pt x="1592699" y="3115604"/>
                </a:lnTo>
                <a:lnTo>
                  <a:pt x="1627527" y="3115604"/>
                </a:lnTo>
                <a:lnTo>
                  <a:pt x="1627527" y="3035875"/>
                </a:lnTo>
                <a:cubicBezTo>
                  <a:pt x="1627527" y="3003825"/>
                  <a:pt x="1602081" y="2991111"/>
                  <a:pt x="1574215" y="2991111"/>
                </a:cubicBezTo>
                <a:close/>
                <a:moveTo>
                  <a:pt x="1153574" y="2991111"/>
                </a:moveTo>
                <a:cubicBezTo>
                  <a:pt x="1135053" y="2991390"/>
                  <a:pt x="1116936" y="2996508"/>
                  <a:pt x="1101062" y="3005944"/>
                </a:cubicBezTo>
                <a:lnTo>
                  <a:pt x="1114726" y="3031902"/>
                </a:lnTo>
                <a:cubicBezTo>
                  <a:pt x="1125976" y="3025290"/>
                  <a:pt x="1138641" y="3021388"/>
                  <a:pt x="1151699" y="3020512"/>
                </a:cubicBezTo>
                <a:cubicBezTo>
                  <a:pt x="1165095" y="3020512"/>
                  <a:pt x="1172060" y="3026075"/>
                  <a:pt x="1172060" y="3034816"/>
                </a:cubicBezTo>
                <a:lnTo>
                  <a:pt x="1172060" y="3036140"/>
                </a:lnTo>
                <a:cubicBezTo>
                  <a:pt x="1172060" y="3040643"/>
                  <a:pt x="1169381" y="3043292"/>
                  <a:pt x="1163487" y="3043292"/>
                </a:cubicBezTo>
                <a:lnTo>
                  <a:pt x="1139375" y="3043292"/>
                </a:lnTo>
                <a:cubicBezTo>
                  <a:pt x="1112046" y="3043292"/>
                  <a:pt x="1094901" y="3057595"/>
                  <a:pt x="1094901" y="3080640"/>
                </a:cubicBezTo>
                <a:cubicBezTo>
                  <a:pt x="1094915" y="3081010"/>
                  <a:pt x="1094936" y="3081379"/>
                  <a:pt x="1094960" y="3081749"/>
                </a:cubicBezTo>
                <a:cubicBezTo>
                  <a:pt x="1096437" y="3103662"/>
                  <a:pt x="1115603" y="3120243"/>
                  <a:pt x="1137766" y="3118782"/>
                </a:cubicBezTo>
                <a:cubicBezTo>
                  <a:pt x="1150890" y="3119592"/>
                  <a:pt x="1163622" y="3114184"/>
                  <a:pt x="1172060" y="3104214"/>
                </a:cubicBezTo>
                <a:lnTo>
                  <a:pt x="1172060" y="3115604"/>
                </a:lnTo>
                <a:lnTo>
                  <a:pt x="1206890" y="3115604"/>
                </a:lnTo>
                <a:lnTo>
                  <a:pt x="1206890" y="3035875"/>
                </a:lnTo>
                <a:cubicBezTo>
                  <a:pt x="1206890" y="3003825"/>
                  <a:pt x="1181438" y="2991111"/>
                  <a:pt x="1153574" y="2991111"/>
                </a:cubicBezTo>
                <a:close/>
                <a:moveTo>
                  <a:pt x="568575" y="2954429"/>
                </a:moveTo>
                <a:cubicBezTo>
                  <a:pt x="555414" y="2999156"/>
                  <a:pt x="555406" y="3046664"/>
                  <a:pt x="568549" y="3091396"/>
                </a:cubicBezTo>
                <a:cubicBezTo>
                  <a:pt x="587170" y="3093621"/>
                  <a:pt x="606017" y="3093184"/>
                  <a:pt x="624511" y="3090097"/>
                </a:cubicBezTo>
                <a:cubicBezTo>
                  <a:pt x="610287" y="3052610"/>
                  <a:pt x="608324" y="3011654"/>
                  <a:pt x="618898" y="2973004"/>
                </a:cubicBezTo>
                <a:cubicBezTo>
                  <a:pt x="620492" y="2967123"/>
                  <a:pt x="622369" y="2961366"/>
                  <a:pt x="624479" y="2955725"/>
                </a:cubicBezTo>
                <a:cubicBezTo>
                  <a:pt x="606004" y="2952645"/>
                  <a:pt x="587176" y="2952208"/>
                  <a:pt x="568575" y="2954429"/>
                </a:cubicBezTo>
                <a:close/>
                <a:moveTo>
                  <a:pt x="1659953" y="2948201"/>
                </a:moveTo>
                <a:lnTo>
                  <a:pt x="1659953" y="2994290"/>
                </a:lnTo>
                <a:lnTo>
                  <a:pt x="1640662" y="2994290"/>
                </a:lnTo>
                <a:lnTo>
                  <a:pt x="1640662" y="3023426"/>
                </a:lnTo>
                <a:lnTo>
                  <a:pt x="1659953" y="3023426"/>
                </a:lnTo>
                <a:lnTo>
                  <a:pt x="1659953" y="3089911"/>
                </a:lnTo>
                <a:cubicBezTo>
                  <a:pt x="1659953" y="3114280"/>
                  <a:pt x="1677900" y="3117194"/>
                  <a:pt x="1695318" y="3117194"/>
                </a:cubicBezTo>
                <a:cubicBezTo>
                  <a:pt x="1705497" y="3117194"/>
                  <a:pt x="1722377" y="3115604"/>
                  <a:pt x="1722377" y="3115604"/>
                </a:cubicBezTo>
                <a:lnTo>
                  <a:pt x="1722377" y="3086203"/>
                </a:lnTo>
                <a:cubicBezTo>
                  <a:pt x="1722377" y="3086203"/>
                  <a:pt x="1715137" y="3086998"/>
                  <a:pt x="1706303" y="3086998"/>
                </a:cubicBezTo>
                <a:cubicBezTo>
                  <a:pt x="1700945" y="3086998"/>
                  <a:pt x="1694780" y="3085938"/>
                  <a:pt x="1694780" y="3078256"/>
                </a:cubicBezTo>
                <a:lnTo>
                  <a:pt x="1694780" y="3023426"/>
                </a:lnTo>
                <a:lnTo>
                  <a:pt x="1721302" y="3023426"/>
                </a:lnTo>
                <a:lnTo>
                  <a:pt x="1721302" y="2994290"/>
                </a:lnTo>
                <a:lnTo>
                  <a:pt x="1694780" y="2994290"/>
                </a:lnTo>
                <a:lnTo>
                  <a:pt x="1694780" y="2948201"/>
                </a:lnTo>
                <a:close/>
                <a:moveTo>
                  <a:pt x="1884617" y="2930355"/>
                </a:moveTo>
                <a:lnTo>
                  <a:pt x="1884617" y="2963335"/>
                </a:lnTo>
                <a:lnTo>
                  <a:pt x="1893998" y="2963335"/>
                </a:lnTo>
                <a:lnTo>
                  <a:pt x="1893998" y="2944492"/>
                </a:lnTo>
                <a:lnTo>
                  <a:pt x="1898291" y="2956270"/>
                </a:lnTo>
                <a:lnTo>
                  <a:pt x="1905819" y="2956270"/>
                </a:lnTo>
                <a:lnTo>
                  <a:pt x="1910111" y="2944492"/>
                </a:lnTo>
                <a:lnTo>
                  <a:pt x="1910111" y="2963335"/>
                </a:lnTo>
                <a:lnTo>
                  <a:pt x="1919685" y="2963335"/>
                </a:lnTo>
                <a:lnTo>
                  <a:pt x="1919685" y="2930355"/>
                </a:lnTo>
                <a:lnTo>
                  <a:pt x="1907566" y="2930355"/>
                </a:lnTo>
                <a:lnTo>
                  <a:pt x="1902362" y="2944114"/>
                </a:lnTo>
                <a:lnTo>
                  <a:pt x="1897494" y="2930355"/>
                </a:lnTo>
                <a:close/>
                <a:moveTo>
                  <a:pt x="1850683" y="2930355"/>
                </a:moveTo>
                <a:lnTo>
                  <a:pt x="1850683" y="2938929"/>
                </a:lnTo>
                <a:lnTo>
                  <a:pt x="1860074" y="2938929"/>
                </a:lnTo>
                <a:lnTo>
                  <a:pt x="1860074" y="2963335"/>
                </a:lnTo>
                <a:lnTo>
                  <a:pt x="1869839" y="2963335"/>
                </a:lnTo>
                <a:lnTo>
                  <a:pt x="1869839" y="2938929"/>
                </a:lnTo>
                <a:lnTo>
                  <a:pt x="1879230" y="2938929"/>
                </a:lnTo>
                <a:lnTo>
                  <a:pt x="1879230" y="2930355"/>
                </a:lnTo>
                <a:close/>
                <a:moveTo>
                  <a:pt x="1352105" y="2930189"/>
                </a:moveTo>
                <a:cubicBezTo>
                  <a:pt x="1339759" y="2930284"/>
                  <a:pt x="1329816" y="2940233"/>
                  <a:pt x="1329868" y="2952439"/>
                </a:cubicBezTo>
                <a:cubicBezTo>
                  <a:pt x="1329940" y="2964552"/>
                  <a:pt x="1339855" y="2974355"/>
                  <a:pt x="1352108" y="2974427"/>
                </a:cubicBezTo>
                <a:cubicBezTo>
                  <a:pt x="1364463" y="2974498"/>
                  <a:pt x="1374538" y="2964654"/>
                  <a:pt x="1374610" y="2952439"/>
                </a:cubicBezTo>
                <a:cubicBezTo>
                  <a:pt x="1374610" y="2952414"/>
                  <a:pt x="1374610" y="2952388"/>
                  <a:pt x="1374610" y="2952364"/>
                </a:cubicBezTo>
                <a:cubicBezTo>
                  <a:pt x="1374589" y="2940096"/>
                  <a:pt x="1364513" y="2930168"/>
                  <a:pt x="1352105" y="2930189"/>
                </a:cubicBezTo>
                <a:close/>
                <a:moveTo>
                  <a:pt x="1041583" y="2930189"/>
                </a:moveTo>
                <a:lnTo>
                  <a:pt x="1041583" y="3115604"/>
                </a:lnTo>
                <a:lnTo>
                  <a:pt x="1076143" y="3115604"/>
                </a:lnTo>
                <a:lnTo>
                  <a:pt x="1076143" y="2930189"/>
                </a:lnTo>
                <a:close/>
                <a:moveTo>
                  <a:pt x="925239" y="2926990"/>
                </a:moveTo>
                <a:cubicBezTo>
                  <a:pt x="872870" y="2928183"/>
                  <a:pt x="831395" y="2971122"/>
                  <a:pt x="832602" y="3022897"/>
                </a:cubicBezTo>
                <a:cubicBezTo>
                  <a:pt x="832562" y="3024595"/>
                  <a:pt x="832569" y="3026292"/>
                  <a:pt x="832623" y="3027990"/>
                </a:cubicBezTo>
                <a:cubicBezTo>
                  <a:pt x="834261" y="3079753"/>
                  <a:pt x="878033" y="3120402"/>
                  <a:pt x="930389" y="3118783"/>
                </a:cubicBezTo>
                <a:cubicBezTo>
                  <a:pt x="973630" y="3119900"/>
                  <a:pt x="1011845" y="3091151"/>
                  <a:pt x="1022285" y="3049650"/>
                </a:cubicBezTo>
                <a:lnTo>
                  <a:pt x="981294" y="3049650"/>
                </a:lnTo>
                <a:cubicBezTo>
                  <a:pt x="974516" y="3071553"/>
                  <a:pt x="953525" y="3086080"/>
                  <a:pt x="930389" y="3084878"/>
                </a:cubicBezTo>
                <a:cubicBezTo>
                  <a:pt x="895026" y="3084878"/>
                  <a:pt x="871450" y="3058391"/>
                  <a:pt x="871450" y="3022897"/>
                </a:cubicBezTo>
                <a:cubicBezTo>
                  <a:pt x="871450" y="2987403"/>
                  <a:pt x="895026" y="2960916"/>
                  <a:pt x="930389" y="2960916"/>
                </a:cubicBezTo>
                <a:cubicBezTo>
                  <a:pt x="953525" y="2959714"/>
                  <a:pt x="974516" y="2974241"/>
                  <a:pt x="981294" y="2996144"/>
                </a:cubicBezTo>
                <a:lnTo>
                  <a:pt x="1022285" y="2996144"/>
                </a:lnTo>
                <a:cubicBezTo>
                  <a:pt x="1011846" y="2954642"/>
                  <a:pt x="973630" y="2925892"/>
                  <a:pt x="930389" y="2927011"/>
                </a:cubicBezTo>
                <a:cubicBezTo>
                  <a:pt x="928673" y="2926958"/>
                  <a:pt x="926955" y="2926951"/>
                  <a:pt x="925239" y="2926990"/>
                </a:cubicBezTo>
                <a:close/>
                <a:moveTo>
                  <a:pt x="651232" y="2907161"/>
                </a:moveTo>
                <a:cubicBezTo>
                  <a:pt x="639985" y="2921984"/>
                  <a:pt x="630973" y="2938343"/>
                  <a:pt x="624479" y="2955726"/>
                </a:cubicBezTo>
                <a:cubicBezTo>
                  <a:pt x="670541" y="2963471"/>
                  <a:pt x="712258" y="2987315"/>
                  <a:pt x="742033" y="3022914"/>
                </a:cubicBezTo>
                <a:cubicBezTo>
                  <a:pt x="712265" y="3058505"/>
                  <a:pt x="670562" y="3082346"/>
                  <a:pt x="624512" y="3090097"/>
                </a:cubicBezTo>
                <a:cubicBezTo>
                  <a:pt x="631041" y="3107476"/>
                  <a:pt x="640089" y="3123825"/>
                  <a:pt x="651373" y="3138631"/>
                </a:cubicBezTo>
                <a:cubicBezTo>
                  <a:pt x="697088" y="3127502"/>
                  <a:pt x="738657" y="3103746"/>
                  <a:pt x="771228" y="3070136"/>
                </a:cubicBezTo>
                <a:cubicBezTo>
                  <a:pt x="763842" y="3053091"/>
                  <a:pt x="754009" y="3037186"/>
                  <a:pt x="742033" y="3022914"/>
                </a:cubicBezTo>
                <a:cubicBezTo>
                  <a:pt x="754009" y="3008642"/>
                  <a:pt x="763841" y="2992738"/>
                  <a:pt x="771227" y="2975692"/>
                </a:cubicBezTo>
                <a:cubicBezTo>
                  <a:pt x="738623" y="2942047"/>
                  <a:pt x="697001" y="2918276"/>
                  <a:pt x="651232" y="2907161"/>
                </a:cubicBezTo>
                <a:close/>
                <a:moveTo>
                  <a:pt x="0" y="0"/>
                </a:moveTo>
                <a:lnTo>
                  <a:pt x="12192000" y="0"/>
                </a:lnTo>
                <a:lnTo>
                  <a:pt x="12192000" y="3429000"/>
                </a:lnTo>
                <a:lnTo>
                  <a:pt x="8040688" y="3429000"/>
                </a:lnTo>
                <a:lnTo>
                  <a:pt x="7499776" y="3429000"/>
                </a:lnTo>
                <a:lnTo>
                  <a:pt x="0" y="3429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center icon to insert dark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1" name="Title 1">
            <a:extLst>
              <a:ext uri="{FF2B5EF4-FFF2-40B4-BE49-F238E27FC236}">
                <a16:creationId xmlns:a16="http://schemas.microsoft.com/office/drawing/2014/main" id="{0B857ECA-885F-037E-16EA-3ACEF78EB884}"/>
              </a:ext>
            </a:extLst>
          </p:cNvPr>
          <p:cNvSpPr>
            <a:spLocks noGrp="1"/>
          </p:cNvSpPr>
          <p:nvPr>
            <p:ph type="title" hasCustomPrompt="1"/>
          </p:nvPr>
        </p:nvSpPr>
        <p:spPr>
          <a:xfrm>
            <a:off x="550864" y="368828"/>
            <a:ext cx="10693824" cy="251885"/>
          </a:xfrm>
        </p:spPr>
        <p:txBody>
          <a:bodyPr/>
          <a:lstStyle>
            <a:lvl1pPr>
              <a:defRPr/>
            </a:lvl1pPr>
          </a:lstStyle>
          <a:p>
            <a:r>
              <a:rPr lang="en-US"/>
              <a:t>Header avenir demi 24pt</a:t>
            </a:r>
            <a:endParaRPr lang="en-GB"/>
          </a:p>
        </p:txBody>
      </p:sp>
      <p:sp>
        <p:nvSpPr>
          <p:cNvPr id="12" name="Text Placeholder 9">
            <a:extLst>
              <a:ext uri="{FF2B5EF4-FFF2-40B4-BE49-F238E27FC236}">
                <a16:creationId xmlns:a16="http://schemas.microsoft.com/office/drawing/2014/main" id="{F8BA6A5A-5404-EC8C-6762-1792B16E8CE4}"/>
              </a:ext>
            </a:extLst>
          </p:cNvPr>
          <p:cNvSpPr>
            <a:spLocks noGrp="1"/>
          </p:cNvSpPr>
          <p:nvPr>
            <p:ph type="body" sz="quarter" idx="13" hasCustomPrompt="1"/>
          </p:nvPr>
        </p:nvSpPr>
        <p:spPr>
          <a:xfrm>
            <a:off x="550864" y="753852"/>
            <a:ext cx="10693824"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5" name="Text Placeholder 12">
            <a:extLst>
              <a:ext uri="{FF2B5EF4-FFF2-40B4-BE49-F238E27FC236}">
                <a16:creationId xmlns:a16="http://schemas.microsoft.com/office/drawing/2014/main" id="{F080106E-2C2A-A892-2BF2-DDD84001F27E}"/>
              </a:ext>
            </a:extLst>
          </p:cNvPr>
          <p:cNvSpPr>
            <a:spLocks noGrp="1"/>
          </p:cNvSpPr>
          <p:nvPr>
            <p:ph type="body" sz="quarter" idx="14"/>
          </p:nvPr>
        </p:nvSpPr>
        <p:spPr>
          <a:xfrm>
            <a:off x="550864" y="1808164"/>
            <a:ext cx="3204000" cy="1441450"/>
          </a:xfrm>
        </p:spPr>
        <p:txBody>
          <a:bodyPr/>
          <a:lstStyle>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endParaRPr lang="en-GB"/>
          </a:p>
        </p:txBody>
      </p:sp>
      <p:sp>
        <p:nvSpPr>
          <p:cNvPr id="16" name="Text Placeholder 12">
            <a:extLst>
              <a:ext uri="{FF2B5EF4-FFF2-40B4-BE49-F238E27FC236}">
                <a16:creationId xmlns:a16="http://schemas.microsoft.com/office/drawing/2014/main" id="{BC6FE898-C82A-5402-FE62-BBA0AC6B37E4}"/>
              </a:ext>
            </a:extLst>
          </p:cNvPr>
          <p:cNvSpPr>
            <a:spLocks noGrp="1"/>
          </p:cNvSpPr>
          <p:nvPr>
            <p:ph type="body" sz="quarter" idx="15"/>
          </p:nvPr>
        </p:nvSpPr>
        <p:spPr>
          <a:xfrm>
            <a:off x="4295775" y="1808164"/>
            <a:ext cx="3204000" cy="1441450"/>
          </a:xfrm>
        </p:spPr>
        <p:txBody>
          <a:bodyPr/>
          <a:lstStyle>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endParaRPr lang="en-GB"/>
          </a:p>
        </p:txBody>
      </p:sp>
      <p:sp>
        <p:nvSpPr>
          <p:cNvPr id="17" name="Text Placeholder 12">
            <a:extLst>
              <a:ext uri="{FF2B5EF4-FFF2-40B4-BE49-F238E27FC236}">
                <a16:creationId xmlns:a16="http://schemas.microsoft.com/office/drawing/2014/main" id="{37EAE28F-AA38-9754-5979-7244E696F76B}"/>
              </a:ext>
            </a:extLst>
          </p:cNvPr>
          <p:cNvSpPr>
            <a:spLocks noGrp="1"/>
          </p:cNvSpPr>
          <p:nvPr>
            <p:ph type="body" sz="quarter" idx="16"/>
          </p:nvPr>
        </p:nvSpPr>
        <p:spPr>
          <a:xfrm>
            <a:off x="8040688" y="1808164"/>
            <a:ext cx="3204000" cy="1441450"/>
          </a:xfrm>
        </p:spPr>
        <p:txBody>
          <a:bodyPr/>
          <a:lstStyle>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endParaRPr lang="en-GB"/>
          </a:p>
        </p:txBody>
      </p:sp>
    </p:spTree>
    <p:extLst>
      <p:ext uri="{BB962C8B-B14F-4D97-AF65-F5344CB8AC3E}">
        <p14:creationId xmlns:p14="http://schemas.microsoft.com/office/powerpoint/2010/main" val="166039032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2 Text / Light Image">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9BDD6D-5DA5-4239-76D3-BF4896A2390F}"/>
              </a:ext>
            </a:extLst>
          </p:cNvPr>
          <p:cNvSpPr/>
          <p:nvPr userDrawn="1"/>
        </p:nvSpPr>
        <p:spPr>
          <a:xfrm>
            <a:off x="9912350" y="6129338"/>
            <a:ext cx="2279650" cy="728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6">
            <a:extLst>
              <a:ext uri="{FF2B5EF4-FFF2-40B4-BE49-F238E27FC236}">
                <a16:creationId xmlns:a16="http://schemas.microsoft.com/office/drawing/2014/main" id="{0904C42E-63C8-67AA-25C5-F33ED8EB41E7}"/>
              </a:ext>
            </a:extLst>
          </p:cNvPr>
          <p:cNvSpPr>
            <a:spLocks noGrp="1"/>
          </p:cNvSpPr>
          <p:nvPr>
            <p:ph type="pic" sz="quarter" idx="20" hasCustomPrompt="1"/>
          </p:nvPr>
        </p:nvSpPr>
        <p:spPr>
          <a:xfrm>
            <a:off x="4151313" y="0"/>
            <a:ext cx="8040688" cy="6858000"/>
          </a:xfrm>
          <a:custGeom>
            <a:avLst/>
            <a:gdLst>
              <a:gd name="connsiteX0" fmla="*/ 0 w 8040688"/>
              <a:gd name="connsiteY0" fmla="*/ 0 h 6858000"/>
              <a:gd name="connsiteX1" fmla="*/ 8040688 w 8040688"/>
              <a:gd name="connsiteY1" fmla="*/ 0 h 6858000"/>
              <a:gd name="connsiteX2" fmla="*/ 8040688 w 8040688"/>
              <a:gd name="connsiteY2" fmla="*/ 6858000 h 6858000"/>
              <a:gd name="connsiteX3" fmla="*/ 0 w 80406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040688" h="6858000">
                <a:moveTo>
                  <a:pt x="0" y="0"/>
                </a:moveTo>
                <a:lnTo>
                  <a:pt x="8040688" y="0"/>
                </a:lnTo>
                <a:lnTo>
                  <a:pt x="8040688" y="6858000"/>
                </a:lnTo>
                <a:lnTo>
                  <a:pt x="0" y="6858000"/>
                </a:lnTo>
                <a:close/>
              </a:path>
            </a:pathLst>
          </a:custGeom>
          <a:solidFill>
            <a:schemeClr val="bg1">
              <a:lumMod val="95000"/>
            </a:schemeClr>
          </a:solidFill>
          <a:ln>
            <a:noFill/>
          </a:ln>
        </p:spPr>
        <p:txBody>
          <a:bodyPr wrap="square" tIns="108000" anchor="t" anchorCtr="0">
            <a:noAutofit/>
          </a:bodyPr>
          <a:lstStyle>
            <a:lvl1pPr marL="0" indent="0" algn="ctr">
              <a:buNone/>
              <a:defRPr sz="1000">
                <a:solidFill>
                  <a:schemeClr val="accent2"/>
                </a:solidFill>
                <a:latin typeface="+mn-lt"/>
              </a:defRPr>
            </a:lvl1pPr>
          </a:lstStyle>
          <a:p>
            <a:pPr lvl="0"/>
            <a:r>
              <a:rPr lang="en-US"/>
              <a:t>Drag picture file here or click </a:t>
            </a:r>
            <a:r>
              <a:rPr lang="en-US" noProof="0"/>
              <a:t>center</a:t>
            </a:r>
            <a:r>
              <a:rPr lang="en-US"/>
              <a:t> icon to insert light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3211511" cy="251885"/>
          </a:xfrm>
        </p:spPr>
        <p:txBody>
          <a:bodyPr/>
          <a:lstStyle>
            <a:lvl1pPr>
              <a:defRPr>
                <a:solidFill>
                  <a:schemeClr val="accent1"/>
                </a:solidFill>
              </a:defRPr>
            </a:lvl1pPr>
          </a:lstStyle>
          <a:p>
            <a:r>
              <a:rPr lang="en-US"/>
              <a:t>Header avenir demi </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tx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3211511"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5" y="1808163"/>
            <a:ext cx="321151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8431362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2 Text / Dark Image">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9BDD6D-5DA5-4239-76D3-BF4896A2390F}"/>
              </a:ext>
            </a:extLst>
          </p:cNvPr>
          <p:cNvSpPr/>
          <p:nvPr userDrawn="1"/>
        </p:nvSpPr>
        <p:spPr>
          <a:xfrm>
            <a:off x="9912350" y="6129338"/>
            <a:ext cx="227965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6">
            <a:extLst>
              <a:ext uri="{FF2B5EF4-FFF2-40B4-BE49-F238E27FC236}">
                <a16:creationId xmlns:a16="http://schemas.microsoft.com/office/drawing/2014/main" id="{7D4A9995-DC9E-3684-CF4A-66D0DE5FF828}"/>
              </a:ext>
            </a:extLst>
          </p:cNvPr>
          <p:cNvSpPr>
            <a:spLocks noGrp="1"/>
          </p:cNvSpPr>
          <p:nvPr>
            <p:ph type="pic" sz="quarter" idx="20" hasCustomPrompt="1"/>
          </p:nvPr>
        </p:nvSpPr>
        <p:spPr>
          <a:xfrm>
            <a:off x="4151313" y="0"/>
            <a:ext cx="8040688" cy="6858000"/>
          </a:xfrm>
          <a:custGeom>
            <a:avLst/>
            <a:gdLst>
              <a:gd name="connsiteX0" fmla="*/ 0 w 8040688"/>
              <a:gd name="connsiteY0" fmla="*/ 0 h 6858000"/>
              <a:gd name="connsiteX1" fmla="*/ 8040688 w 8040688"/>
              <a:gd name="connsiteY1" fmla="*/ 0 h 6858000"/>
              <a:gd name="connsiteX2" fmla="*/ 8040688 w 8040688"/>
              <a:gd name="connsiteY2" fmla="*/ 6858000 h 6858000"/>
              <a:gd name="connsiteX3" fmla="*/ 0 w 80406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040688" h="6858000">
                <a:moveTo>
                  <a:pt x="0" y="0"/>
                </a:moveTo>
                <a:lnTo>
                  <a:pt x="8040688" y="0"/>
                </a:lnTo>
                <a:lnTo>
                  <a:pt x="8040688"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3211511" cy="251885"/>
          </a:xfrm>
        </p:spPr>
        <p:txBody>
          <a:bodyPr/>
          <a:lstStyle>
            <a:lvl1pPr>
              <a:defRPr>
                <a:solidFill>
                  <a:schemeClr val="accent1"/>
                </a:solidFill>
              </a:defRPr>
            </a:lvl1pPr>
          </a:lstStyle>
          <a:p>
            <a:r>
              <a:rPr lang="en-US"/>
              <a:t>Header avenir demi </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3211511"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5" y="1808163"/>
            <a:ext cx="321151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6308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ck Pattern - Mint Quot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253BAB4-376B-829B-D496-3E7AE2C40E9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0" y="1012"/>
            <a:ext cx="12188400" cy="6855975"/>
          </a:xfrm>
          <a:prstGeom prst="rect">
            <a:avLst/>
          </a:prstGeom>
        </p:spPr>
      </p:pic>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2" name="Text Placeholder 12">
            <a:extLst>
              <a:ext uri="{FF2B5EF4-FFF2-40B4-BE49-F238E27FC236}">
                <a16:creationId xmlns:a16="http://schemas.microsoft.com/office/drawing/2014/main" id="{51D1D711-9691-BEE7-727A-A074BC47FEA0}"/>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6" name="Text Placeholder 12">
            <a:extLst>
              <a:ext uri="{FF2B5EF4-FFF2-40B4-BE49-F238E27FC236}">
                <a16:creationId xmlns:a16="http://schemas.microsoft.com/office/drawing/2014/main" id="{0EFA41F3-CF2B-F07E-F3DA-DC0602B25A9D}"/>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bg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18" name="Text Placeholder 9">
            <a:extLst>
              <a:ext uri="{FF2B5EF4-FFF2-40B4-BE49-F238E27FC236}">
                <a16:creationId xmlns:a16="http://schemas.microsoft.com/office/drawing/2014/main" id="{6A6F47D2-4DE8-3A51-AB24-AA4D5A7F13E9}"/>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accent1"/>
                </a:solidFill>
                <a:latin typeface="+mj-lt"/>
              </a:defRPr>
            </a:lvl1pPr>
          </a:lstStyle>
          <a:p>
            <a:pPr lvl="0"/>
            <a:r>
              <a:rPr lang="en-US"/>
              <a:t>“Quote copy, resize textbox horizontally as required”.</a:t>
            </a:r>
            <a:endParaRPr lang="en-GB"/>
          </a:p>
        </p:txBody>
      </p:sp>
      <p:pic>
        <p:nvPicPr>
          <p:cNvPr id="7" name="Graphic 6">
            <a:extLst>
              <a:ext uri="{FF2B5EF4-FFF2-40B4-BE49-F238E27FC236}">
                <a16:creationId xmlns:a16="http://schemas.microsoft.com/office/drawing/2014/main" id="{861E0A2F-248F-8E7B-8F36-71FDC08C0E7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6336448"/>
            <a:ext cx="1381417" cy="233480"/>
          </a:xfrm>
          <a:prstGeom prst="rect">
            <a:avLst/>
          </a:prstGeom>
        </p:spPr>
      </p:pic>
    </p:spTree>
    <p:extLst>
      <p:ext uri="{BB962C8B-B14F-4D97-AF65-F5344CB8AC3E}">
        <p14:creationId xmlns:p14="http://schemas.microsoft.com/office/powerpoint/2010/main" val="19734519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attern - 2 or 3 lin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1BA179-50D1-3E6A-8EF6-CBB64A943C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 y="1012"/>
            <a:ext cx="12188400" cy="6855975"/>
          </a:xfrm>
          <a:prstGeom prst="rect">
            <a:avLst/>
          </a:prstGeom>
        </p:spPr>
      </p:pic>
      <p:grpSp>
        <p:nvGrpSpPr>
          <p:cNvPr id="6" name="Graphic 13">
            <a:extLst>
              <a:ext uri="{FF2B5EF4-FFF2-40B4-BE49-F238E27FC236}">
                <a16:creationId xmlns:a16="http://schemas.microsoft.com/office/drawing/2014/main" id="{D52C985B-47D7-433E-A866-3C0AB39DE64B}"/>
              </a:ext>
            </a:extLst>
          </p:cNvPr>
          <p:cNvGrpSpPr/>
          <p:nvPr userDrawn="1"/>
        </p:nvGrpSpPr>
        <p:grpSpPr>
          <a:xfrm>
            <a:off x="5916434" y="371476"/>
            <a:ext cx="341492" cy="376238"/>
            <a:chOff x="5408631" y="362875"/>
            <a:chExt cx="214296" cy="236100"/>
          </a:xfrm>
          <a:solidFill>
            <a:schemeClr val="bg1"/>
          </a:solidFill>
        </p:grpSpPr>
        <p:sp>
          <p:nvSpPr>
            <p:cNvPr id="8" name="Freeform: Shape 7">
              <a:extLst>
                <a:ext uri="{FF2B5EF4-FFF2-40B4-BE49-F238E27FC236}">
                  <a16:creationId xmlns:a16="http://schemas.microsoft.com/office/drawing/2014/main" id="{051CBA01-B8A4-42BF-DAC5-B83D0B7BC3FC}"/>
                </a:ext>
              </a:extLst>
            </p:cNvPr>
            <p:cNvSpPr/>
            <p:nvPr/>
          </p:nvSpPr>
          <p:spPr>
            <a:xfrm>
              <a:off x="5474917" y="481070"/>
              <a:ext cx="147913" cy="117904"/>
            </a:xfrm>
            <a:custGeom>
              <a:avLst/>
              <a:gdLst>
                <a:gd name="connsiteX0" fmla="*/ 97 w 147913"/>
                <a:gd name="connsiteY0" fmla="*/ 68342 h 117904"/>
                <a:gd name="connsiteX1" fmla="*/ 14036 w 147913"/>
                <a:gd name="connsiteY1" fmla="*/ 98061 h 117904"/>
                <a:gd name="connsiteX2" fmla="*/ 27105 w 147913"/>
                <a:gd name="connsiteY2" fmla="*/ 117905 h 117904"/>
                <a:gd name="connsiteX3" fmla="*/ 147913 w 147913"/>
                <a:gd name="connsiteY3" fmla="*/ 48111 h 117904"/>
                <a:gd name="connsiteX4" fmla="*/ 118486 w 147913"/>
                <a:gd name="connsiteY4" fmla="*/ 0 h 117904"/>
                <a:gd name="connsiteX5" fmla="*/ 0 w 147913"/>
                <a:gd name="connsiteY5" fmla="*/ 68536 h 11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913" h="117904">
                  <a:moveTo>
                    <a:pt x="97" y="68342"/>
                  </a:moveTo>
                  <a:cubicBezTo>
                    <a:pt x="3872" y="78506"/>
                    <a:pt x="8519" y="88477"/>
                    <a:pt x="14036" y="98061"/>
                  </a:cubicBezTo>
                  <a:cubicBezTo>
                    <a:pt x="18005" y="104933"/>
                    <a:pt x="22361" y="111516"/>
                    <a:pt x="27105" y="117905"/>
                  </a:cubicBezTo>
                  <a:cubicBezTo>
                    <a:pt x="73957" y="106386"/>
                    <a:pt x="115582" y="81798"/>
                    <a:pt x="147913" y="48111"/>
                  </a:cubicBezTo>
                  <a:cubicBezTo>
                    <a:pt x="140460" y="30589"/>
                    <a:pt x="130489" y="14424"/>
                    <a:pt x="118486" y="0"/>
                  </a:cubicBezTo>
                  <a:cubicBezTo>
                    <a:pt x="89058" y="35526"/>
                    <a:pt x="47336" y="60501"/>
                    <a:pt x="0" y="68536"/>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1BCC4840-F4D7-AF6C-7D05-F1207870A5E0}"/>
                </a:ext>
              </a:extLst>
            </p:cNvPr>
            <p:cNvSpPr/>
            <p:nvPr/>
          </p:nvSpPr>
          <p:spPr>
            <a:xfrm>
              <a:off x="5475014" y="362875"/>
              <a:ext cx="147913" cy="118098"/>
            </a:xfrm>
            <a:custGeom>
              <a:avLst/>
              <a:gdLst>
                <a:gd name="connsiteX0" fmla="*/ 27008 w 147913"/>
                <a:gd name="connsiteY0" fmla="*/ 0 h 118098"/>
                <a:gd name="connsiteX1" fmla="*/ 0 w 147913"/>
                <a:gd name="connsiteY1" fmla="*/ 49563 h 118098"/>
                <a:gd name="connsiteX2" fmla="*/ 118486 w 147913"/>
                <a:gd name="connsiteY2" fmla="*/ 118099 h 118098"/>
                <a:gd name="connsiteX3" fmla="*/ 147913 w 147913"/>
                <a:gd name="connsiteY3" fmla="*/ 69988 h 118098"/>
                <a:gd name="connsiteX4" fmla="*/ 27008 w 147913"/>
                <a:gd name="connsiteY4" fmla="*/ 0 h 11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913" h="118098">
                  <a:moveTo>
                    <a:pt x="27008" y="0"/>
                  </a:moveTo>
                  <a:cubicBezTo>
                    <a:pt x="15779" y="15004"/>
                    <a:pt x="6679" y="31654"/>
                    <a:pt x="0" y="49563"/>
                  </a:cubicBezTo>
                  <a:cubicBezTo>
                    <a:pt x="47433" y="57597"/>
                    <a:pt x="89058" y="82572"/>
                    <a:pt x="118486" y="118099"/>
                  </a:cubicBezTo>
                  <a:cubicBezTo>
                    <a:pt x="130489" y="103675"/>
                    <a:pt x="140460" y="87412"/>
                    <a:pt x="147913" y="69988"/>
                  </a:cubicBezTo>
                  <a:cubicBezTo>
                    <a:pt x="115582" y="36107"/>
                    <a:pt x="73860" y="11519"/>
                    <a:pt x="27008" y="0"/>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81B78DFB-CACF-8A93-6F50-4B852508181E}"/>
                </a:ext>
              </a:extLst>
            </p:cNvPr>
            <p:cNvSpPr/>
            <p:nvPr/>
          </p:nvSpPr>
          <p:spPr>
            <a:xfrm>
              <a:off x="5408631" y="409727"/>
              <a:ext cx="66383" cy="142589"/>
            </a:xfrm>
            <a:custGeom>
              <a:avLst/>
              <a:gdLst>
                <a:gd name="connsiteX0" fmla="*/ 66383 w 66383"/>
                <a:gd name="connsiteY0" fmla="*/ 139685 h 142589"/>
                <a:gd name="connsiteX1" fmla="*/ 60769 w 66383"/>
                <a:gd name="connsiteY1" fmla="*/ 20328 h 142589"/>
                <a:gd name="connsiteX2" fmla="*/ 66383 w 66383"/>
                <a:gd name="connsiteY2" fmla="*/ 2710 h 142589"/>
                <a:gd name="connsiteX3" fmla="*/ 33567 w 66383"/>
                <a:gd name="connsiteY3" fmla="*/ 0 h 142589"/>
                <a:gd name="connsiteX4" fmla="*/ 9948 w 66383"/>
                <a:gd name="connsiteY4" fmla="*/ 1452 h 142589"/>
                <a:gd name="connsiteX5" fmla="*/ 9948 w 66383"/>
                <a:gd name="connsiteY5" fmla="*/ 141137 h 142589"/>
                <a:gd name="connsiteX6" fmla="*/ 33567 w 66383"/>
                <a:gd name="connsiteY6" fmla="*/ 142589 h 142589"/>
                <a:gd name="connsiteX7" fmla="*/ 66383 w 66383"/>
                <a:gd name="connsiteY7" fmla="*/ 139879 h 14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83" h="142589">
                  <a:moveTo>
                    <a:pt x="66383" y="139685"/>
                  </a:moveTo>
                  <a:cubicBezTo>
                    <a:pt x="52153" y="101642"/>
                    <a:pt x="50024" y="60308"/>
                    <a:pt x="60769" y="20328"/>
                  </a:cubicBezTo>
                  <a:cubicBezTo>
                    <a:pt x="62414" y="14327"/>
                    <a:pt x="64254" y="8422"/>
                    <a:pt x="66383" y="2710"/>
                  </a:cubicBezTo>
                  <a:cubicBezTo>
                    <a:pt x="55735" y="871"/>
                    <a:pt x="44796" y="0"/>
                    <a:pt x="33567" y="0"/>
                  </a:cubicBezTo>
                  <a:cubicBezTo>
                    <a:pt x="25630" y="0"/>
                    <a:pt x="17692" y="484"/>
                    <a:pt x="9948" y="1452"/>
                  </a:cubicBezTo>
                  <a:cubicBezTo>
                    <a:pt x="-3024" y="46368"/>
                    <a:pt x="-3605" y="94769"/>
                    <a:pt x="9948" y="141137"/>
                  </a:cubicBezTo>
                  <a:cubicBezTo>
                    <a:pt x="17692" y="142105"/>
                    <a:pt x="25533" y="142589"/>
                    <a:pt x="33567" y="142589"/>
                  </a:cubicBezTo>
                  <a:cubicBezTo>
                    <a:pt x="44700" y="142589"/>
                    <a:pt x="55735" y="141621"/>
                    <a:pt x="66383" y="139879"/>
                  </a:cubicBezTo>
                  <a:close/>
                </a:path>
              </a:pathLst>
            </a:custGeom>
            <a:grpFill/>
            <a:ln w="96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9" name="Text Placeholder 9">
            <a:extLst>
              <a:ext uri="{FF2B5EF4-FFF2-40B4-BE49-F238E27FC236}">
                <a16:creationId xmlns:a16="http://schemas.microsoft.com/office/drawing/2014/main" id="{41718DC0-4644-0FF2-8F4A-B6CD6022D8C8}"/>
              </a:ext>
            </a:extLst>
          </p:cNvPr>
          <p:cNvSpPr>
            <a:spLocks noGrp="1"/>
          </p:cNvSpPr>
          <p:nvPr>
            <p:ph type="body" sz="quarter" idx="17" hasCustomPrompt="1"/>
          </p:nvPr>
        </p:nvSpPr>
        <p:spPr>
          <a:xfrm>
            <a:off x="3359150" y="4139077"/>
            <a:ext cx="5473700" cy="281703"/>
          </a:xfrm>
          <a:prstGeom prst="rect">
            <a:avLst/>
          </a:prstGeom>
        </p:spPr>
        <p:txBody>
          <a:bodyPr lIns="0" tIns="36000" rIns="0" bIns="0" anchor="t" anchorCtr="0">
            <a:noAutofit/>
          </a:bodyPr>
          <a:lstStyle>
            <a:lvl1pPr marL="0" indent="0" algn="ctr">
              <a:lnSpc>
                <a:spcPct val="85000"/>
              </a:lnSpc>
              <a:buNone/>
              <a:defRPr sz="2000">
                <a:solidFill>
                  <a:schemeClr val="bg1"/>
                </a:solidFill>
                <a:latin typeface="+mn-lt"/>
              </a:defRPr>
            </a:lvl1pPr>
          </a:lstStyle>
          <a:p>
            <a:pPr lvl="0"/>
            <a:r>
              <a:rPr lang="en-US"/>
              <a:t>Section break subtitle here</a:t>
            </a:r>
          </a:p>
        </p:txBody>
      </p:sp>
      <p:sp>
        <p:nvSpPr>
          <p:cNvPr id="2" name="Text Placeholder 9">
            <a:extLst>
              <a:ext uri="{FF2B5EF4-FFF2-40B4-BE49-F238E27FC236}">
                <a16:creationId xmlns:a16="http://schemas.microsoft.com/office/drawing/2014/main" id="{04F5E0CA-97CD-F885-F5D2-9213676D50AA}"/>
              </a:ext>
            </a:extLst>
          </p:cNvPr>
          <p:cNvSpPr>
            <a:spLocks noGrp="1"/>
          </p:cNvSpPr>
          <p:nvPr>
            <p:ph type="body" sz="quarter" idx="16" hasCustomPrompt="1"/>
          </p:nvPr>
        </p:nvSpPr>
        <p:spPr>
          <a:xfrm>
            <a:off x="3359151" y="2442689"/>
            <a:ext cx="5473700" cy="1567891"/>
          </a:xfrm>
          <a:prstGeom prst="rect">
            <a:avLst/>
          </a:prstGeom>
        </p:spPr>
        <p:txBody>
          <a:bodyPr lIns="0" tIns="36000" rIns="0" bIns="0" anchor="b" anchorCtr="0">
            <a:noAutofit/>
          </a:bodyPr>
          <a:lstStyle>
            <a:lvl1pPr marL="0" indent="0" algn="ctr">
              <a:lnSpc>
                <a:spcPct val="85000"/>
              </a:lnSpc>
              <a:spcBef>
                <a:spcPts val="0"/>
              </a:spcBef>
              <a:buNone/>
              <a:defRPr sz="3600">
                <a:solidFill>
                  <a:schemeClr val="accent1"/>
                </a:solidFill>
                <a:latin typeface="+mj-lt"/>
              </a:defRPr>
            </a:lvl1pPr>
          </a:lstStyle>
          <a:p>
            <a:pPr lvl="0"/>
            <a:r>
              <a:rPr lang="en-US"/>
              <a:t>Section break two or three lines lorem ipsum dolor</a:t>
            </a:r>
          </a:p>
        </p:txBody>
      </p:sp>
    </p:spTree>
    <p:extLst>
      <p:ext uri="{BB962C8B-B14F-4D97-AF65-F5344CB8AC3E}">
        <p14:creationId xmlns:p14="http://schemas.microsoft.com/office/powerpoint/2010/main" val="415306159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ull Dark Image - Quote">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5BAE39-428F-3EBA-D573-EE064F5E4131}"/>
              </a:ext>
            </a:extLst>
          </p:cNvPr>
          <p:cNvSpPr>
            <a:spLocks noGrp="1"/>
          </p:cNvSpPr>
          <p:nvPr>
            <p:ph type="pic" sz="quarter" idx="20" hasCustomPrompt="1"/>
          </p:nvPr>
        </p:nvSpPr>
        <p:spPr>
          <a:xfrm>
            <a:off x="0" y="0"/>
            <a:ext cx="12192000" cy="6858000"/>
          </a:xfrm>
          <a:custGeom>
            <a:avLst/>
            <a:gdLst>
              <a:gd name="connsiteX0" fmla="*/ 1592699 w 12192000"/>
              <a:gd name="connsiteY0" fmla="*/ 6492423 h 6858000"/>
              <a:gd name="connsiteX1" fmla="*/ 1592699 w 12192000"/>
              <a:gd name="connsiteY1" fmla="*/ 6501164 h 6858000"/>
              <a:gd name="connsiteX2" fmla="*/ 1592546 w 12192000"/>
              <a:gd name="connsiteY2" fmla="*/ 6504388 h 6858000"/>
              <a:gd name="connsiteX3" fmla="*/ 1568857 w 12192000"/>
              <a:gd name="connsiteY3" fmla="*/ 6522619 h 6858000"/>
              <a:gd name="connsiteX4" fmla="*/ 1551438 w 12192000"/>
              <a:gd name="connsiteY4" fmla="*/ 6508315 h 6858000"/>
              <a:gd name="connsiteX5" fmla="*/ 1568857 w 12192000"/>
              <a:gd name="connsiteY5" fmla="*/ 6495071 h 6858000"/>
              <a:gd name="connsiteX6" fmla="*/ 1581983 w 12192000"/>
              <a:gd name="connsiteY6" fmla="*/ 6495071 h 6858000"/>
              <a:gd name="connsiteX7" fmla="*/ 1592699 w 12192000"/>
              <a:gd name="connsiteY7" fmla="*/ 6492423 h 6858000"/>
              <a:gd name="connsiteX8" fmla="*/ 1172060 w 12192000"/>
              <a:gd name="connsiteY8" fmla="*/ 6492423 h 6858000"/>
              <a:gd name="connsiteX9" fmla="*/ 1172060 w 12192000"/>
              <a:gd name="connsiteY9" fmla="*/ 6501164 h 6858000"/>
              <a:gd name="connsiteX10" fmla="*/ 1171906 w 12192000"/>
              <a:gd name="connsiteY10" fmla="*/ 6504389 h 6858000"/>
              <a:gd name="connsiteX11" fmla="*/ 1148216 w 12192000"/>
              <a:gd name="connsiteY11" fmla="*/ 6522619 h 6858000"/>
              <a:gd name="connsiteX12" fmla="*/ 1130802 w 12192000"/>
              <a:gd name="connsiteY12" fmla="*/ 6508315 h 6858000"/>
              <a:gd name="connsiteX13" fmla="*/ 1148216 w 12192000"/>
              <a:gd name="connsiteY13" fmla="*/ 6495071 h 6858000"/>
              <a:gd name="connsiteX14" fmla="*/ 1161343 w 12192000"/>
              <a:gd name="connsiteY14" fmla="*/ 6495071 h 6858000"/>
              <a:gd name="connsiteX15" fmla="*/ 1172060 w 12192000"/>
              <a:gd name="connsiteY15" fmla="*/ 6492423 h 6858000"/>
              <a:gd name="connsiteX16" fmla="*/ 1796056 w 12192000"/>
              <a:gd name="connsiteY16" fmla="*/ 6448718 h 6858000"/>
              <a:gd name="connsiteX17" fmla="*/ 1823115 w 12192000"/>
              <a:gd name="connsiteY17" fmla="*/ 6470969 h 6858000"/>
              <a:gd name="connsiteX18" fmla="*/ 1768190 w 12192000"/>
              <a:gd name="connsiteY18" fmla="*/ 6470969 h 6858000"/>
              <a:gd name="connsiteX19" fmla="*/ 1796056 w 12192000"/>
              <a:gd name="connsiteY19" fmla="*/ 6448718 h 6858000"/>
              <a:gd name="connsiteX20" fmla="*/ 1385331 w 12192000"/>
              <a:gd name="connsiteY20" fmla="*/ 6423290 h 6858000"/>
              <a:gd name="connsiteX21" fmla="*/ 1427128 w 12192000"/>
              <a:gd name="connsiteY21" fmla="*/ 6544605 h 6858000"/>
              <a:gd name="connsiteX22" fmla="*/ 1470261 w 12192000"/>
              <a:gd name="connsiteY22" fmla="*/ 6544605 h 6858000"/>
              <a:gd name="connsiteX23" fmla="*/ 1513932 w 12192000"/>
              <a:gd name="connsiteY23" fmla="*/ 6423290 h 6858000"/>
              <a:gd name="connsiteX24" fmla="*/ 1477223 w 12192000"/>
              <a:gd name="connsiteY24" fmla="*/ 6423290 h 6858000"/>
              <a:gd name="connsiteX25" fmla="*/ 1449367 w 12192000"/>
              <a:gd name="connsiteY25" fmla="*/ 6507521 h 6858000"/>
              <a:gd name="connsiteX26" fmla="*/ 1423104 w 12192000"/>
              <a:gd name="connsiteY26" fmla="*/ 6423290 h 6858000"/>
              <a:gd name="connsiteX27" fmla="*/ 1319153 w 12192000"/>
              <a:gd name="connsiteY27" fmla="*/ 6423290 h 6858000"/>
              <a:gd name="connsiteX28" fmla="*/ 1319153 w 12192000"/>
              <a:gd name="connsiteY28" fmla="*/ 6452426 h 6858000"/>
              <a:gd name="connsiteX29" fmla="*/ 1336299 w 12192000"/>
              <a:gd name="connsiteY29" fmla="*/ 6452426 h 6858000"/>
              <a:gd name="connsiteX30" fmla="*/ 1336299 w 12192000"/>
              <a:gd name="connsiteY30" fmla="*/ 6544604 h 6858000"/>
              <a:gd name="connsiteX31" fmla="*/ 1371127 w 12192000"/>
              <a:gd name="connsiteY31" fmla="*/ 6544604 h 6858000"/>
              <a:gd name="connsiteX32" fmla="*/ 1371127 w 12192000"/>
              <a:gd name="connsiteY32" fmla="*/ 6423290 h 6858000"/>
              <a:gd name="connsiteX33" fmla="*/ 1293161 w 12192000"/>
              <a:gd name="connsiteY33" fmla="*/ 6421700 h 6858000"/>
              <a:gd name="connsiteX34" fmla="*/ 1261280 w 12192000"/>
              <a:gd name="connsiteY34" fmla="*/ 6442626 h 6858000"/>
              <a:gd name="connsiteX35" fmla="*/ 1261280 w 12192000"/>
              <a:gd name="connsiteY35" fmla="*/ 6423290 h 6858000"/>
              <a:gd name="connsiteX36" fmla="*/ 1227522 w 12192000"/>
              <a:gd name="connsiteY36" fmla="*/ 6423290 h 6858000"/>
              <a:gd name="connsiteX37" fmla="*/ 1227522 w 12192000"/>
              <a:gd name="connsiteY37" fmla="*/ 6544604 h 6858000"/>
              <a:gd name="connsiteX38" fmla="*/ 1262352 w 12192000"/>
              <a:gd name="connsiteY38" fmla="*/ 6544604 h 6858000"/>
              <a:gd name="connsiteX39" fmla="*/ 1262352 w 12192000"/>
              <a:gd name="connsiteY39" fmla="*/ 6486596 h 6858000"/>
              <a:gd name="connsiteX40" fmla="*/ 1288073 w 12192000"/>
              <a:gd name="connsiteY40" fmla="*/ 6457194 h 6858000"/>
              <a:gd name="connsiteX41" fmla="*/ 1302808 w 12192000"/>
              <a:gd name="connsiteY41" fmla="*/ 6457194 h 6858000"/>
              <a:gd name="connsiteX42" fmla="*/ 1302808 w 12192000"/>
              <a:gd name="connsiteY42" fmla="*/ 6422760 h 6858000"/>
              <a:gd name="connsiteX43" fmla="*/ 1293161 w 12192000"/>
              <a:gd name="connsiteY43" fmla="*/ 6421700 h 6858000"/>
              <a:gd name="connsiteX44" fmla="*/ 1796056 w 12192000"/>
              <a:gd name="connsiteY44" fmla="*/ 6420112 h 6858000"/>
              <a:gd name="connsiteX45" fmla="*/ 1791956 w 12192000"/>
              <a:gd name="connsiteY45" fmla="*/ 6420138 h 6858000"/>
              <a:gd name="connsiteX46" fmla="*/ 1732297 w 12192000"/>
              <a:gd name="connsiteY46" fmla="*/ 6483948 h 6858000"/>
              <a:gd name="connsiteX47" fmla="*/ 1770879 w 12192000"/>
              <a:gd name="connsiteY47" fmla="*/ 6541990 h 6858000"/>
              <a:gd name="connsiteX48" fmla="*/ 1857943 w 12192000"/>
              <a:gd name="connsiteY48" fmla="*/ 6509641 h 6858000"/>
              <a:gd name="connsiteX49" fmla="*/ 1821781 w 12192000"/>
              <a:gd name="connsiteY49" fmla="*/ 6505933 h 6858000"/>
              <a:gd name="connsiteX50" fmla="*/ 1802269 w 12192000"/>
              <a:gd name="connsiteY50" fmla="*/ 6518046 h 6858000"/>
              <a:gd name="connsiteX51" fmla="*/ 1768997 w 12192000"/>
              <a:gd name="connsiteY51" fmla="*/ 6494013 h 6858000"/>
              <a:gd name="connsiteX52" fmla="*/ 1860353 w 12192000"/>
              <a:gd name="connsiteY52" fmla="*/ 6494013 h 6858000"/>
              <a:gd name="connsiteX53" fmla="*/ 1860353 w 12192000"/>
              <a:gd name="connsiteY53" fmla="*/ 6492689 h 6858000"/>
              <a:gd name="connsiteX54" fmla="*/ 1796056 w 12192000"/>
              <a:gd name="connsiteY54" fmla="*/ 6420112 h 6858000"/>
              <a:gd name="connsiteX55" fmla="*/ 1574215 w 12192000"/>
              <a:gd name="connsiteY55" fmla="*/ 6420111 h 6858000"/>
              <a:gd name="connsiteX56" fmla="*/ 1521700 w 12192000"/>
              <a:gd name="connsiteY56" fmla="*/ 6434944 h 6858000"/>
              <a:gd name="connsiteX57" fmla="*/ 1535364 w 12192000"/>
              <a:gd name="connsiteY57" fmla="*/ 6460902 h 6858000"/>
              <a:gd name="connsiteX58" fmla="*/ 1572342 w 12192000"/>
              <a:gd name="connsiteY58" fmla="*/ 6449512 h 6858000"/>
              <a:gd name="connsiteX59" fmla="*/ 1592699 w 12192000"/>
              <a:gd name="connsiteY59" fmla="*/ 6463816 h 6858000"/>
              <a:gd name="connsiteX60" fmla="*/ 1592699 w 12192000"/>
              <a:gd name="connsiteY60" fmla="*/ 6465140 h 6858000"/>
              <a:gd name="connsiteX61" fmla="*/ 1584124 w 12192000"/>
              <a:gd name="connsiteY61" fmla="*/ 6472292 h 6858000"/>
              <a:gd name="connsiteX62" fmla="*/ 1560013 w 12192000"/>
              <a:gd name="connsiteY62" fmla="*/ 6472292 h 6858000"/>
              <a:gd name="connsiteX63" fmla="*/ 1515545 w 12192000"/>
              <a:gd name="connsiteY63" fmla="*/ 6509640 h 6858000"/>
              <a:gd name="connsiteX64" fmla="*/ 1515603 w 12192000"/>
              <a:gd name="connsiteY64" fmla="*/ 6510750 h 6858000"/>
              <a:gd name="connsiteX65" fmla="*/ 1558409 w 12192000"/>
              <a:gd name="connsiteY65" fmla="*/ 6547782 h 6858000"/>
              <a:gd name="connsiteX66" fmla="*/ 1592699 w 12192000"/>
              <a:gd name="connsiteY66" fmla="*/ 6533214 h 6858000"/>
              <a:gd name="connsiteX67" fmla="*/ 1592699 w 12192000"/>
              <a:gd name="connsiteY67" fmla="*/ 6544604 h 6858000"/>
              <a:gd name="connsiteX68" fmla="*/ 1627527 w 12192000"/>
              <a:gd name="connsiteY68" fmla="*/ 6544604 h 6858000"/>
              <a:gd name="connsiteX69" fmla="*/ 1627527 w 12192000"/>
              <a:gd name="connsiteY69" fmla="*/ 6464875 h 6858000"/>
              <a:gd name="connsiteX70" fmla="*/ 1574215 w 12192000"/>
              <a:gd name="connsiteY70" fmla="*/ 6420111 h 6858000"/>
              <a:gd name="connsiteX71" fmla="*/ 1153574 w 12192000"/>
              <a:gd name="connsiteY71" fmla="*/ 6420111 h 6858000"/>
              <a:gd name="connsiteX72" fmla="*/ 1101062 w 12192000"/>
              <a:gd name="connsiteY72" fmla="*/ 6434944 h 6858000"/>
              <a:gd name="connsiteX73" fmla="*/ 1114726 w 12192000"/>
              <a:gd name="connsiteY73" fmla="*/ 6460902 h 6858000"/>
              <a:gd name="connsiteX74" fmla="*/ 1151699 w 12192000"/>
              <a:gd name="connsiteY74" fmla="*/ 6449512 h 6858000"/>
              <a:gd name="connsiteX75" fmla="*/ 1172060 w 12192000"/>
              <a:gd name="connsiteY75" fmla="*/ 6463816 h 6858000"/>
              <a:gd name="connsiteX76" fmla="*/ 1172060 w 12192000"/>
              <a:gd name="connsiteY76" fmla="*/ 6465140 h 6858000"/>
              <a:gd name="connsiteX77" fmla="*/ 1163487 w 12192000"/>
              <a:gd name="connsiteY77" fmla="*/ 6472292 h 6858000"/>
              <a:gd name="connsiteX78" fmla="*/ 1139375 w 12192000"/>
              <a:gd name="connsiteY78" fmla="*/ 6472292 h 6858000"/>
              <a:gd name="connsiteX79" fmla="*/ 1094901 w 12192000"/>
              <a:gd name="connsiteY79" fmla="*/ 6509640 h 6858000"/>
              <a:gd name="connsiteX80" fmla="*/ 1094960 w 12192000"/>
              <a:gd name="connsiteY80" fmla="*/ 6510749 h 6858000"/>
              <a:gd name="connsiteX81" fmla="*/ 1137766 w 12192000"/>
              <a:gd name="connsiteY81" fmla="*/ 6547782 h 6858000"/>
              <a:gd name="connsiteX82" fmla="*/ 1172060 w 12192000"/>
              <a:gd name="connsiteY82" fmla="*/ 6533214 h 6858000"/>
              <a:gd name="connsiteX83" fmla="*/ 1172060 w 12192000"/>
              <a:gd name="connsiteY83" fmla="*/ 6544604 h 6858000"/>
              <a:gd name="connsiteX84" fmla="*/ 1206890 w 12192000"/>
              <a:gd name="connsiteY84" fmla="*/ 6544604 h 6858000"/>
              <a:gd name="connsiteX85" fmla="*/ 1206890 w 12192000"/>
              <a:gd name="connsiteY85" fmla="*/ 6464875 h 6858000"/>
              <a:gd name="connsiteX86" fmla="*/ 1153574 w 12192000"/>
              <a:gd name="connsiteY86" fmla="*/ 6420111 h 6858000"/>
              <a:gd name="connsiteX87" fmla="*/ 568575 w 12192000"/>
              <a:gd name="connsiteY87" fmla="*/ 6383429 h 6858000"/>
              <a:gd name="connsiteX88" fmla="*/ 568549 w 12192000"/>
              <a:gd name="connsiteY88" fmla="*/ 6520396 h 6858000"/>
              <a:gd name="connsiteX89" fmla="*/ 624511 w 12192000"/>
              <a:gd name="connsiteY89" fmla="*/ 6519097 h 6858000"/>
              <a:gd name="connsiteX90" fmla="*/ 618898 w 12192000"/>
              <a:gd name="connsiteY90" fmla="*/ 6402004 h 6858000"/>
              <a:gd name="connsiteX91" fmla="*/ 624479 w 12192000"/>
              <a:gd name="connsiteY91" fmla="*/ 6384725 h 6858000"/>
              <a:gd name="connsiteX92" fmla="*/ 568575 w 12192000"/>
              <a:gd name="connsiteY92" fmla="*/ 6383429 h 6858000"/>
              <a:gd name="connsiteX93" fmla="*/ 1659953 w 12192000"/>
              <a:gd name="connsiteY93" fmla="*/ 6377201 h 6858000"/>
              <a:gd name="connsiteX94" fmla="*/ 1659953 w 12192000"/>
              <a:gd name="connsiteY94" fmla="*/ 6423290 h 6858000"/>
              <a:gd name="connsiteX95" fmla="*/ 1640662 w 12192000"/>
              <a:gd name="connsiteY95" fmla="*/ 6423290 h 6858000"/>
              <a:gd name="connsiteX96" fmla="*/ 1640662 w 12192000"/>
              <a:gd name="connsiteY96" fmla="*/ 6452426 h 6858000"/>
              <a:gd name="connsiteX97" fmla="*/ 1659953 w 12192000"/>
              <a:gd name="connsiteY97" fmla="*/ 6452426 h 6858000"/>
              <a:gd name="connsiteX98" fmla="*/ 1659953 w 12192000"/>
              <a:gd name="connsiteY98" fmla="*/ 6518911 h 6858000"/>
              <a:gd name="connsiteX99" fmla="*/ 1695318 w 12192000"/>
              <a:gd name="connsiteY99" fmla="*/ 6546194 h 6858000"/>
              <a:gd name="connsiteX100" fmla="*/ 1722377 w 12192000"/>
              <a:gd name="connsiteY100" fmla="*/ 6544604 h 6858000"/>
              <a:gd name="connsiteX101" fmla="*/ 1722377 w 12192000"/>
              <a:gd name="connsiteY101" fmla="*/ 6515203 h 6858000"/>
              <a:gd name="connsiteX102" fmla="*/ 1706303 w 12192000"/>
              <a:gd name="connsiteY102" fmla="*/ 6515998 h 6858000"/>
              <a:gd name="connsiteX103" fmla="*/ 1694780 w 12192000"/>
              <a:gd name="connsiteY103" fmla="*/ 6507256 h 6858000"/>
              <a:gd name="connsiteX104" fmla="*/ 1694780 w 12192000"/>
              <a:gd name="connsiteY104" fmla="*/ 6452426 h 6858000"/>
              <a:gd name="connsiteX105" fmla="*/ 1721302 w 12192000"/>
              <a:gd name="connsiteY105" fmla="*/ 6452426 h 6858000"/>
              <a:gd name="connsiteX106" fmla="*/ 1721302 w 12192000"/>
              <a:gd name="connsiteY106" fmla="*/ 6423290 h 6858000"/>
              <a:gd name="connsiteX107" fmla="*/ 1694780 w 12192000"/>
              <a:gd name="connsiteY107" fmla="*/ 6423290 h 6858000"/>
              <a:gd name="connsiteX108" fmla="*/ 1694780 w 12192000"/>
              <a:gd name="connsiteY108" fmla="*/ 6377201 h 6858000"/>
              <a:gd name="connsiteX109" fmla="*/ 1884617 w 12192000"/>
              <a:gd name="connsiteY109" fmla="*/ 6359355 h 6858000"/>
              <a:gd name="connsiteX110" fmla="*/ 1884617 w 12192000"/>
              <a:gd name="connsiteY110" fmla="*/ 6392335 h 6858000"/>
              <a:gd name="connsiteX111" fmla="*/ 1893998 w 12192000"/>
              <a:gd name="connsiteY111" fmla="*/ 6392335 h 6858000"/>
              <a:gd name="connsiteX112" fmla="*/ 1893998 w 12192000"/>
              <a:gd name="connsiteY112" fmla="*/ 6373492 h 6858000"/>
              <a:gd name="connsiteX113" fmla="*/ 1898291 w 12192000"/>
              <a:gd name="connsiteY113" fmla="*/ 6385270 h 6858000"/>
              <a:gd name="connsiteX114" fmla="*/ 1905819 w 12192000"/>
              <a:gd name="connsiteY114" fmla="*/ 6385270 h 6858000"/>
              <a:gd name="connsiteX115" fmla="*/ 1910111 w 12192000"/>
              <a:gd name="connsiteY115" fmla="*/ 6373492 h 6858000"/>
              <a:gd name="connsiteX116" fmla="*/ 1910111 w 12192000"/>
              <a:gd name="connsiteY116" fmla="*/ 6392335 h 6858000"/>
              <a:gd name="connsiteX117" fmla="*/ 1919685 w 12192000"/>
              <a:gd name="connsiteY117" fmla="*/ 6392335 h 6858000"/>
              <a:gd name="connsiteX118" fmla="*/ 1919685 w 12192000"/>
              <a:gd name="connsiteY118" fmla="*/ 6359355 h 6858000"/>
              <a:gd name="connsiteX119" fmla="*/ 1907566 w 12192000"/>
              <a:gd name="connsiteY119" fmla="*/ 6359355 h 6858000"/>
              <a:gd name="connsiteX120" fmla="*/ 1902362 w 12192000"/>
              <a:gd name="connsiteY120" fmla="*/ 6373114 h 6858000"/>
              <a:gd name="connsiteX121" fmla="*/ 1897494 w 12192000"/>
              <a:gd name="connsiteY121" fmla="*/ 6359355 h 6858000"/>
              <a:gd name="connsiteX122" fmla="*/ 1850683 w 12192000"/>
              <a:gd name="connsiteY122" fmla="*/ 6359355 h 6858000"/>
              <a:gd name="connsiteX123" fmla="*/ 1850683 w 12192000"/>
              <a:gd name="connsiteY123" fmla="*/ 6367929 h 6858000"/>
              <a:gd name="connsiteX124" fmla="*/ 1860074 w 12192000"/>
              <a:gd name="connsiteY124" fmla="*/ 6367929 h 6858000"/>
              <a:gd name="connsiteX125" fmla="*/ 1860074 w 12192000"/>
              <a:gd name="connsiteY125" fmla="*/ 6392335 h 6858000"/>
              <a:gd name="connsiteX126" fmla="*/ 1869839 w 12192000"/>
              <a:gd name="connsiteY126" fmla="*/ 6392335 h 6858000"/>
              <a:gd name="connsiteX127" fmla="*/ 1869839 w 12192000"/>
              <a:gd name="connsiteY127" fmla="*/ 6367929 h 6858000"/>
              <a:gd name="connsiteX128" fmla="*/ 1879230 w 12192000"/>
              <a:gd name="connsiteY128" fmla="*/ 6367929 h 6858000"/>
              <a:gd name="connsiteX129" fmla="*/ 1879230 w 12192000"/>
              <a:gd name="connsiteY129" fmla="*/ 6359355 h 6858000"/>
              <a:gd name="connsiteX130" fmla="*/ 1352105 w 12192000"/>
              <a:gd name="connsiteY130" fmla="*/ 6359189 h 6858000"/>
              <a:gd name="connsiteX131" fmla="*/ 1329868 w 12192000"/>
              <a:gd name="connsiteY131" fmla="*/ 6381439 h 6858000"/>
              <a:gd name="connsiteX132" fmla="*/ 1352108 w 12192000"/>
              <a:gd name="connsiteY132" fmla="*/ 6403427 h 6858000"/>
              <a:gd name="connsiteX133" fmla="*/ 1374610 w 12192000"/>
              <a:gd name="connsiteY133" fmla="*/ 6381439 h 6858000"/>
              <a:gd name="connsiteX134" fmla="*/ 1374610 w 12192000"/>
              <a:gd name="connsiteY134" fmla="*/ 6381364 h 6858000"/>
              <a:gd name="connsiteX135" fmla="*/ 1352105 w 12192000"/>
              <a:gd name="connsiteY135" fmla="*/ 6359189 h 6858000"/>
              <a:gd name="connsiteX136" fmla="*/ 1041583 w 12192000"/>
              <a:gd name="connsiteY136" fmla="*/ 6359189 h 6858000"/>
              <a:gd name="connsiteX137" fmla="*/ 1041583 w 12192000"/>
              <a:gd name="connsiteY137" fmla="*/ 6544604 h 6858000"/>
              <a:gd name="connsiteX138" fmla="*/ 1076143 w 12192000"/>
              <a:gd name="connsiteY138" fmla="*/ 6544604 h 6858000"/>
              <a:gd name="connsiteX139" fmla="*/ 1076143 w 12192000"/>
              <a:gd name="connsiteY139" fmla="*/ 6359189 h 6858000"/>
              <a:gd name="connsiteX140" fmla="*/ 925239 w 12192000"/>
              <a:gd name="connsiteY140" fmla="*/ 6355990 h 6858000"/>
              <a:gd name="connsiteX141" fmla="*/ 832602 w 12192000"/>
              <a:gd name="connsiteY141" fmla="*/ 6451897 h 6858000"/>
              <a:gd name="connsiteX142" fmla="*/ 832623 w 12192000"/>
              <a:gd name="connsiteY142" fmla="*/ 6456990 h 6858000"/>
              <a:gd name="connsiteX143" fmla="*/ 930389 w 12192000"/>
              <a:gd name="connsiteY143" fmla="*/ 6547783 h 6858000"/>
              <a:gd name="connsiteX144" fmla="*/ 1022285 w 12192000"/>
              <a:gd name="connsiteY144" fmla="*/ 6478650 h 6858000"/>
              <a:gd name="connsiteX145" fmla="*/ 981294 w 12192000"/>
              <a:gd name="connsiteY145" fmla="*/ 6478650 h 6858000"/>
              <a:gd name="connsiteX146" fmla="*/ 930389 w 12192000"/>
              <a:gd name="connsiteY146" fmla="*/ 6513878 h 6858000"/>
              <a:gd name="connsiteX147" fmla="*/ 871450 w 12192000"/>
              <a:gd name="connsiteY147" fmla="*/ 6451897 h 6858000"/>
              <a:gd name="connsiteX148" fmla="*/ 930389 w 12192000"/>
              <a:gd name="connsiteY148" fmla="*/ 6389916 h 6858000"/>
              <a:gd name="connsiteX149" fmla="*/ 981294 w 12192000"/>
              <a:gd name="connsiteY149" fmla="*/ 6425144 h 6858000"/>
              <a:gd name="connsiteX150" fmla="*/ 1022285 w 12192000"/>
              <a:gd name="connsiteY150" fmla="*/ 6425144 h 6858000"/>
              <a:gd name="connsiteX151" fmla="*/ 930389 w 12192000"/>
              <a:gd name="connsiteY151" fmla="*/ 6356011 h 6858000"/>
              <a:gd name="connsiteX152" fmla="*/ 925239 w 12192000"/>
              <a:gd name="connsiteY152" fmla="*/ 6355990 h 6858000"/>
              <a:gd name="connsiteX153" fmla="*/ 651232 w 12192000"/>
              <a:gd name="connsiteY153" fmla="*/ 6336161 h 6858000"/>
              <a:gd name="connsiteX154" fmla="*/ 624479 w 12192000"/>
              <a:gd name="connsiteY154" fmla="*/ 6384726 h 6858000"/>
              <a:gd name="connsiteX155" fmla="*/ 742033 w 12192000"/>
              <a:gd name="connsiteY155" fmla="*/ 6451914 h 6858000"/>
              <a:gd name="connsiteX156" fmla="*/ 624512 w 12192000"/>
              <a:gd name="connsiteY156" fmla="*/ 6519097 h 6858000"/>
              <a:gd name="connsiteX157" fmla="*/ 651373 w 12192000"/>
              <a:gd name="connsiteY157" fmla="*/ 6567631 h 6858000"/>
              <a:gd name="connsiteX158" fmla="*/ 771228 w 12192000"/>
              <a:gd name="connsiteY158" fmla="*/ 6499136 h 6858000"/>
              <a:gd name="connsiteX159" fmla="*/ 742033 w 12192000"/>
              <a:gd name="connsiteY159" fmla="*/ 6451914 h 6858000"/>
              <a:gd name="connsiteX160" fmla="*/ 771227 w 12192000"/>
              <a:gd name="connsiteY160" fmla="*/ 6404692 h 6858000"/>
              <a:gd name="connsiteX161" fmla="*/ 651232 w 12192000"/>
              <a:gd name="connsiteY161" fmla="*/ 6336161 h 6858000"/>
              <a:gd name="connsiteX162" fmla="*/ 0 w 12192000"/>
              <a:gd name="connsiteY162" fmla="*/ 0 h 6858000"/>
              <a:gd name="connsiteX163" fmla="*/ 7104065 w 12192000"/>
              <a:gd name="connsiteY163" fmla="*/ 0 h 6858000"/>
              <a:gd name="connsiteX164" fmla="*/ 8040688 w 12192000"/>
              <a:gd name="connsiteY164" fmla="*/ 0 h 6858000"/>
              <a:gd name="connsiteX165" fmla="*/ 12192000 w 12192000"/>
              <a:gd name="connsiteY165" fmla="*/ 0 h 6858000"/>
              <a:gd name="connsiteX166" fmla="*/ 12192000 w 12192000"/>
              <a:gd name="connsiteY166" fmla="*/ 6858000 h 6858000"/>
              <a:gd name="connsiteX167" fmla="*/ 8040688 w 12192000"/>
              <a:gd name="connsiteY167" fmla="*/ 6858000 h 6858000"/>
              <a:gd name="connsiteX168" fmla="*/ 7104065 w 12192000"/>
              <a:gd name="connsiteY168" fmla="*/ 6858000 h 6858000"/>
              <a:gd name="connsiteX169" fmla="*/ 0 w 12192000"/>
              <a:gd name="connsiteY16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2192000" h="6858000">
                <a:moveTo>
                  <a:pt x="1592699" y="6492423"/>
                </a:moveTo>
                <a:lnTo>
                  <a:pt x="1592699" y="6501164"/>
                </a:lnTo>
                <a:cubicBezTo>
                  <a:pt x="1592738" y="6502241"/>
                  <a:pt x="1592680" y="6503319"/>
                  <a:pt x="1592546" y="6504388"/>
                </a:cubicBezTo>
                <a:cubicBezTo>
                  <a:pt x="1591096" y="6515890"/>
                  <a:pt x="1580495" y="6524053"/>
                  <a:pt x="1568857" y="6522619"/>
                </a:cubicBezTo>
                <a:cubicBezTo>
                  <a:pt x="1558141" y="6522619"/>
                  <a:pt x="1551438" y="6516526"/>
                  <a:pt x="1551438" y="6508315"/>
                </a:cubicBezTo>
                <a:cubicBezTo>
                  <a:pt x="1551438" y="6499839"/>
                  <a:pt x="1557872" y="6495071"/>
                  <a:pt x="1568857" y="6495071"/>
                </a:cubicBezTo>
                <a:lnTo>
                  <a:pt x="1581983" y="6495071"/>
                </a:lnTo>
                <a:cubicBezTo>
                  <a:pt x="1585766" y="6495554"/>
                  <a:pt x="1589598" y="6494609"/>
                  <a:pt x="1592699" y="6492423"/>
                </a:cubicBezTo>
                <a:close/>
                <a:moveTo>
                  <a:pt x="1172060" y="6492423"/>
                </a:moveTo>
                <a:lnTo>
                  <a:pt x="1172060" y="6501164"/>
                </a:lnTo>
                <a:cubicBezTo>
                  <a:pt x="1172093" y="6502242"/>
                  <a:pt x="1172042" y="6503320"/>
                  <a:pt x="1171906" y="6504389"/>
                </a:cubicBezTo>
                <a:cubicBezTo>
                  <a:pt x="1170456" y="6515891"/>
                  <a:pt x="1159850" y="6524053"/>
                  <a:pt x="1148216" y="6522619"/>
                </a:cubicBezTo>
                <a:cubicBezTo>
                  <a:pt x="1137499" y="6522619"/>
                  <a:pt x="1130802" y="6516526"/>
                  <a:pt x="1130802" y="6508315"/>
                </a:cubicBezTo>
                <a:cubicBezTo>
                  <a:pt x="1130802" y="6499839"/>
                  <a:pt x="1137232" y="6495071"/>
                  <a:pt x="1148216" y="6495071"/>
                </a:cubicBezTo>
                <a:lnTo>
                  <a:pt x="1161343" y="6495071"/>
                </a:lnTo>
                <a:cubicBezTo>
                  <a:pt x="1165125" y="6495554"/>
                  <a:pt x="1168953" y="6494609"/>
                  <a:pt x="1172060" y="6492423"/>
                </a:cubicBezTo>
                <a:close/>
                <a:moveTo>
                  <a:pt x="1796056" y="6448718"/>
                </a:moveTo>
                <a:cubicBezTo>
                  <a:pt x="1809461" y="6448340"/>
                  <a:pt x="1821051" y="6457873"/>
                  <a:pt x="1823115" y="6470969"/>
                </a:cubicBezTo>
                <a:lnTo>
                  <a:pt x="1768190" y="6470969"/>
                </a:lnTo>
                <a:cubicBezTo>
                  <a:pt x="1770601" y="6457738"/>
                  <a:pt x="1782469" y="6448261"/>
                  <a:pt x="1796056" y="6448718"/>
                </a:cubicBezTo>
                <a:close/>
                <a:moveTo>
                  <a:pt x="1385331" y="6423290"/>
                </a:moveTo>
                <a:lnTo>
                  <a:pt x="1427128" y="6544605"/>
                </a:lnTo>
                <a:lnTo>
                  <a:pt x="1470261" y="6544605"/>
                </a:lnTo>
                <a:lnTo>
                  <a:pt x="1513932" y="6423290"/>
                </a:lnTo>
                <a:lnTo>
                  <a:pt x="1477223" y="6423290"/>
                </a:lnTo>
                <a:lnTo>
                  <a:pt x="1449367" y="6507521"/>
                </a:lnTo>
                <a:lnTo>
                  <a:pt x="1423104" y="6423290"/>
                </a:lnTo>
                <a:close/>
                <a:moveTo>
                  <a:pt x="1319153" y="6423290"/>
                </a:moveTo>
                <a:lnTo>
                  <a:pt x="1319153" y="6452426"/>
                </a:lnTo>
                <a:lnTo>
                  <a:pt x="1336299" y="6452426"/>
                </a:lnTo>
                <a:lnTo>
                  <a:pt x="1336299" y="6544604"/>
                </a:lnTo>
                <a:lnTo>
                  <a:pt x="1371127" y="6544604"/>
                </a:lnTo>
                <a:lnTo>
                  <a:pt x="1371127" y="6423290"/>
                </a:lnTo>
                <a:close/>
                <a:moveTo>
                  <a:pt x="1293161" y="6421700"/>
                </a:moveTo>
                <a:cubicBezTo>
                  <a:pt x="1279051" y="6421037"/>
                  <a:pt x="1266138" y="6429512"/>
                  <a:pt x="1261280" y="6442626"/>
                </a:cubicBezTo>
                <a:lnTo>
                  <a:pt x="1261280" y="6423290"/>
                </a:lnTo>
                <a:lnTo>
                  <a:pt x="1227522" y="6423290"/>
                </a:lnTo>
                <a:lnTo>
                  <a:pt x="1227522" y="6544604"/>
                </a:lnTo>
                <a:lnTo>
                  <a:pt x="1262352" y="6544604"/>
                </a:lnTo>
                <a:lnTo>
                  <a:pt x="1262352" y="6486596"/>
                </a:lnTo>
                <a:cubicBezTo>
                  <a:pt x="1262352" y="6465405"/>
                  <a:pt x="1270389" y="6457194"/>
                  <a:pt x="1288073" y="6457194"/>
                </a:cubicBezTo>
                <a:lnTo>
                  <a:pt x="1302808" y="6457194"/>
                </a:lnTo>
                <a:lnTo>
                  <a:pt x="1302808" y="6422760"/>
                </a:lnTo>
                <a:cubicBezTo>
                  <a:pt x="1299648" y="6422016"/>
                  <a:pt x="1296409" y="6421660"/>
                  <a:pt x="1293161" y="6421700"/>
                </a:cubicBezTo>
                <a:close/>
                <a:moveTo>
                  <a:pt x="1796056" y="6420112"/>
                </a:moveTo>
                <a:cubicBezTo>
                  <a:pt x="1794693" y="6420076"/>
                  <a:pt x="1793320" y="6420084"/>
                  <a:pt x="1791956" y="6420138"/>
                </a:cubicBezTo>
                <a:cubicBezTo>
                  <a:pt x="1757657" y="6421470"/>
                  <a:pt x="1730943" y="6450039"/>
                  <a:pt x="1732297" y="6483948"/>
                </a:cubicBezTo>
                <a:cubicBezTo>
                  <a:pt x="1732749" y="6509035"/>
                  <a:pt x="1747766" y="6531624"/>
                  <a:pt x="1770879" y="6541990"/>
                </a:cubicBezTo>
                <a:cubicBezTo>
                  <a:pt x="1803959" y="6556828"/>
                  <a:pt x="1842934" y="6542344"/>
                  <a:pt x="1857943" y="6509641"/>
                </a:cubicBezTo>
                <a:lnTo>
                  <a:pt x="1821781" y="6505933"/>
                </a:lnTo>
                <a:cubicBezTo>
                  <a:pt x="1817229" y="6512448"/>
                  <a:pt x="1810181" y="6516829"/>
                  <a:pt x="1802269" y="6518046"/>
                </a:cubicBezTo>
                <a:cubicBezTo>
                  <a:pt x="1786368" y="6520493"/>
                  <a:pt x="1771474" y="6509733"/>
                  <a:pt x="1768997" y="6494013"/>
                </a:cubicBezTo>
                <a:lnTo>
                  <a:pt x="1860353" y="6494013"/>
                </a:lnTo>
                <a:lnTo>
                  <a:pt x="1860353" y="6492689"/>
                </a:lnTo>
                <a:cubicBezTo>
                  <a:pt x="1860353" y="6441832"/>
                  <a:pt x="1829808" y="6420112"/>
                  <a:pt x="1796056" y="6420112"/>
                </a:cubicBezTo>
                <a:close/>
                <a:moveTo>
                  <a:pt x="1574215" y="6420111"/>
                </a:moveTo>
                <a:cubicBezTo>
                  <a:pt x="1555692" y="6420390"/>
                  <a:pt x="1537573" y="6425507"/>
                  <a:pt x="1521700" y="6434944"/>
                </a:cubicBezTo>
                <a:lnTo>
                  <a:pt x="1535364" y="6460902"/>
                </a:lnTo>
                <a:cubicBezTo>
                  <a:pt x="1546618" y="6454290"/>
                  <a:pt x="1559283" y="6450388"/>
                  <a:pt x="1572342" y="6449512"/>
                </a:cubicBezTo>
                <a:cubicBezTo>
                  <a:pt x="1585738" y="6449512"/>
                  <a:pt x="1592699" y="6455075"/>
                  <a:pt x="1592699" y="6463816"/>
                </a:cubicBezTo>
                <a:lnTo>
                  <a:pt x="1592699" y="6465140"/>
                </a:lnTo>
                <a:cubicBezTo>
                  <a:pt x="1592699" y="6469643"/>
                  <a:pt x="1590020" y="6472292"/>
                  <a:pt x="1584124" y="6472292"/>
                </a:cubicBezTo>
                <a:lnTo>
                  <a:pt x="1560013" y="6472292"/>
                </a:lnTo>
                <a:cubicBezTo>
                  <a:pt x="1532685" y="6472292"/>
                  <a:pt x="1515545" y="6486595"/>
                  <a:pt x="1515545" y="6509640"/>
                </a:cubicBezTo>
                <a:cubicBezTo>
                  <a:pt x="1515555" y="6510010"/>
                  <a:pt x="1515574" y="6510380"/>
                  <a:pt x="1515603" y="6510750"/>
                </a:cubicBezTo>
                <a:cubicBezTo>
                  <a:pt x="1517081" y="6532663"/>
                  <a:pt x="1536247" y="6549244"/>
                  <a:pt x="1558409" y="6547782"/>
                </a:cubicBezTo>
                <a:cubicBezTo>
                  <a:pt x="1571536" y="6548591"/>
                  <a:pt x="1584259" y="6543183"/>
                  <a:pt x="1592699" y="6533214"/>
                </a:cubicBezTo>
                <a:lnTo>
                  <a:pt x="1592699" y="6544604"/>
                </a:lnTo>
                <a:lnTo>
                  <a:pt x="1627527" y="6544604"/>
                </a:lnTo>
                <a:lnTo>
                  <a:pt x="1627527" y="6464875"/>
                </a:lnTo>
                <a:cubicBezTo>
                  <a:pt x="1627527" y="6432825"/>
                  <a:pt x="1602081" y="6420111"/>
                  <a:pt x="1574215" y="6420111"/>
                </a:cubicBezTo>
                <a:close/>
                <a:moveTo>
                  <a:pt x="1153574" y="6420111"/>
                </a:moveTo>
                <a:cubicBezTo>
                  <a:pt x="1135053" y="6420390"/>
                  <a:pt x="1116936" y="6425508"/>
                  <a:pt x="1101062" y="6434944"/>
                </a:cubicBezTo>
                <a:lnTo>
                  <a:pt x="1114726" y="6460902"/>
                </a:lnTo>
                <a:cubicBezTo>
                  <a:pt x="1125976" y="6454290"/>
                  <a:pt x="1138641" y="6450388"/>
                  <a:pt x="1151699" y="6449512"/>
                </a:cubicBezTo>
                <a:cubicBezTo>
                  <a:pt x="1165095" y="6449512"/>
                  <a:pt x="1172060" y="6455075"/>
                  <a:pt x="1172060" y="6463816"/>
                </a:cubicBezTo>
                <a:lnTo>
                  <a:pt x="1172060" y="6465140"/>
                </a:lnTo>
                <a:cubicBezTo>
                  <a:pt x="1172060" y="6469643"/>
                  <a:pt x="1169381" y="6472292"/>
                  <a:pt x="1163487" y="6472292"/>
                </a:cubicBezTo>
                <a:lnTo>
                  <a:pt x="1139375" y="6472292"/>
                </a:lnTo>
                <a:cubicBezTo>
                  <a:pt x="1112046" y="6472292"/>
                  <a:pt x="1094901" y="6486595"/>
                  <a:pt x="1094901" y="6509640"/>
                </a:cubicBezTo>
                <a:cubicBezTo>
                  <a:pt x="1094915" y="6510010"/>
                  <a:pt x="1094936" y="6510379"/>
                  <a:pt x="1094960" y="6510749"/>
                </a:cubicBezTo>
                <a:cubicBezTo>
                  <a:pt x="1096437" y="6532662"/>
                  <a:pt x="1115603" y="6549243"/>
                  <a:pt x="1137766" y="6547782"/>
                </a:cubicBezTo>
                <a:cubicBezTo>
                  <a:pt x="1150890" y="6548592"/>
                  <a:pt x="1163622" y="6543184"/>
                  <a:pt x="1172060" y="6533214"/>
                </a:cubicBezTo>
                <a:lnTo>
                  <a:pt x="1172060" y="6544604"/>
                </a:lnTo>
                <a:lnTo>
                  <a:pt x="1206890" y="6544604"/>
                </a:lnTo>
                <a:lnTo>
                  <a:pt x="1206890" y="6464875"/>
                </a:lnTo>
                <a:cubicBezTo>
                  <a:pt x="1206890" y="6432825"/>
                  <a:pt x="1181438" y="6420111"/>
                  <a:pt x="1153574" y="6420111"/>
                </a:cubicBezTo>
                <a:close/>
                <a:moveTo>
                  <a:pt x="568575" y="6383429"/>
                </a:moveTo>
                <a:cubicBezTo>
                  <a:pt x="555414" y="6428156"/>
                  <a:pt x="555406" y="6475664"/>
                  <a:pt x="568549" y="6520396"/>
                </a:cubicBezTo>
                <a:cubicBezTo>
                  <a:pt x="587170" y="6522621"/>
                  <a:pt x="606017" y="6522184"/>
                  <a:pt x="624511" y="6519097"/>
                </a:cubicBezTo>
                <a:cubicBezTo>
                  <a:pt x="610287" y="6481610"/>
                  <a:pt x="608324" y="6440654"/>
                  <a:pt x="618898" y="6402004"/>
                </a:cubicBezTo>
                <a:cubicBezTo>
                  <a:pt x="620492" y="6396123"/>
                  <a:pt x="622369" y="6390366"/>
                  <a:pt x="624479" y="6384725"/>
                </a:cubicBezTo>
                <a:cubicBezTo>
                  <a:pt x="606004" y="6381645"/>
                  <a:pt x="587176" y="6381208"/>
                  <a:pt x="568575" y="6383429"/>
                </a:cubicBezTo>
                <a:close/>
                <a:moveTo>
                  <a:pt x="1659953" y="6377201"/>
                </a:moveTo>
                <a:lnTo>
                  <a:pt x="1659953" y="6423290"/>
                </a:lnTo>
                <a:lnTo>
                  <a:pt x="1640662" y="6423290"/>
                </a:lnTo>
                <a:lnTo>
                  <a:pt x="1640662" y="6452426"/>
                </a:lnTo>
                <a:lnTo>
                  <a:pt x="1659953" y="6452426"/>
                </a:lnTo>
                <a:lnTo>
                  <a:pt x="1659953" y="6518911"/>
                </a:lnTo>
                <a:cubicBezTo>
                  <a:pt x="1659953" y="6543280"/>
                  <a:pt x="1677900" y="6546194"/>
                  <a:pt x="1695318" y="6546194"/>
                </a:cubicBezTo>
                <a:cubicBezTo>
                  <a:pt x="1705497" y="6546194"/>
                  <a:pt x="1722377" y="6544604"/>
                  <a:pt x="1722377" y="6544604"/>
                </a:cubicBezTo>
                <a:lnTo>
                  <a:pt x="1722377" y="6515203"/>
                </a:lnTo>
                <a:cubicBezTo>
                  <a:pt x="1722377" y="6515203"/>
                  <a:pt x="1715137" y="6515998"/>
                  <a:pt x="1706303" y="6515998"/>
                </a:cubicBezTo>
                <a:cubicBezTo>
                  <a:pt x="1700945" y="6515998"/>
                  <a:pt x="1694780" y="6514938"/>
                  <a:pt x="1694780" y="6507256"/>
                </a:cubicBezTo>
                <a:lnTo>
                  <a:pt x="1694780" y="6452426"/>
                </a:lnTo>
                <a:lnTo>
                  <a:pt x="1721302" y="6452426"/>
                </a:lnTo>
                <a:lnTo>
                  <a:pt x="1721302" y="6423290"/>
                </a:lnTo>
                <a:lnTo>
                  <a:pt x="1694780" y="6423290"/>
                </a:lnTo>
                <a:lnTo>
                  <a:pt x="1694780" y="6377201"/>
                </a:lnTo>
                <a:close/>
                <a:moveTo>
                  <a:pt x="1884617" y="6359355"/>
                </a:moveTo>
                <a:lnTo>
                  <a:pt x="1884617" y="6392335"/>
                </a:lnTo>
                <a:lnTo>
                  <a:pt x="1893998" y="6392335"/>
                </a:lnTo>
                <a:lnTo>
                  <a:pt x="1893998" y="6373492"/>
                </a:lnTo>
                <a:lnTo>
                  <a:pt x="1898291" y="6385270"/>
                </a:lnTo>
                <a:lnTo>
                  <a:pt x="1905819" y="6385270"/>
                </a:lnTo>
                <a:lnTo>
                  <a:pt x="1910111" y="6373492"/>
                </a:lnTo>
                <a:lnTo>
                  <a:pt x="1910111" y="6392335"/>
                </a:lnTo>
                <a:lnTo>
                  <a:pt x="1919685" y="6392335"/>
                </a:lnTo>
                <a:lnTo>
                  <a:pt x="1919685" y="6359355"/>
                </a:lnTo>
                <a:lnTo>
                  <a:pt x="1907566" y="6359355"/>
                </a:lnTo>
                <a:lnTo>
                  <a:pt x="1902362" y="6373114"/>
                </a:lnTo>
                <a:lnTo>
                  <a:pt x="1897494" y="6359355"/>
                </a:lnTo>
                <a:close/>
                <a:moveTo>
                  <a:pt x="1850683" y="6359355"/>
                </a:moveTo>
                <a:lnTo>
                  <a:pt x="1850683" y="6367929"/>
                </a:lnTo>
                <a:lnTo>
                  <a:pt x="1860074" y="6367929"/>
                </a:lnTo>
                <a:lnTo>
                  <a:pt x="1860074" y="6392335"/>
                </a:lnTo>
                <a:lnTo>
                  <a:pt x="1869839" y="6392335"/>
                </a:lnTo>
                <a:lnTo>
                  <a:pt x="1869839" y="6367929"/>
                </a:lnTo>
                <a:lnTo>
                  <a:pt x="1879230" y="6367929"/>
                </a:lnTo>
                <a:lnTo>
                  <a:pt x="1879230" y="6359355"/>
                </a:lnTo>
                <a:close/>
                <a:moveTo>
                  <a:pt x="1352105" y="6359189"/>
                </a:moveTo>
                <a:cubicBezTo>
                  <a:pt x="1339759" y="6359284"/>
                  <a:pt x="1329816" y="6369233"/>
                  <a:pt x="1329868" y="6381439"/>
                </a:cubicBezTo>
                <a:cubicBezTo>
                  <a:pt x="1329940" y="6393552"/>
                  <a:pt x="1339855" y="6403355"/>
                  <a:pt x="1352108" y="6403427"/>
                </a:cubicBezTo>
                <a:cubicBezTo>
                  <a:pt x="1364463" y="6403498"/>
                  <a:pt x="1374538" y="6393654"/>
                  <a:pt x="1374610" y="6381439"/>
                </a:cubicBezTo>
                <a:cubicBezTo>
                  <a:pt x="1374610" y="6381414"/>
                  <a:pt x="1374610" y="6381388"/>
                  <a:pt x="1374610" y="6381364"/>
                </a:cubicBezTo>
                <a:cubicBezTo>
                  <a:pt x="1374589" y="6369096"/>
                  <a:pt x="1364513" y="6359168"/>
                  <a:pt x="1352105" y="6359189"/>
                </a:cubicBezTo>
                <a:close/>
                <a:moveTo>
                  <a:pt x="1041583" y="6359189"/>
                </a:moveTo>
                <a:lnTo>
                  <a:pt x="1041583" y="6544604"/>
                </a:lnTo>
                <a:lnTo>
                  <a:pt x="1076143" y="6544604"/>
                </a:lnTo>
                <a:lnTo>
                  <a:pt x="1076143" y="6359189"/>
                </a:lnTo>
                <a:close/>
                <a:moveTo>
                  <a:pt x="925239" y="6355990"/>
                </a:moveTo>
                <a:cubicBezTo>
                  <a:pt x="872870" y="6357183"/>
                  <a:pt x="831395" y="6400122"/>
                  <a:pt x="832602" y="6451897"/>
                </a:cubicBezTo>
                <a:cubicBezTo>
                  <a:pt x="832562" y="6453595"/>
                  <a:pt x="832569" y="6455292"/>
                  <a:pt x="832623" y="6456990"/>
                </a:cubicBezTo>
                <a:cubicBezTo>
                  <a:pt x="834261" y="6508753"/>
                  <a:pt x="878033" y="6549402"/>
                  <a:pt x="930389" y="6547783"/>
                </a:cubicBezTo>
                <a:cubicBezTo>
                  <a:pt x="973630" y="6548900"/>
                  <a:pt x="1011845" y="6520151"/>
                  <a:pt x="1022285" y="6478650"/>
                </a:cubicBezTo>
                <a:lnTo>
                  <a:pt x="981294" y="6478650"/>
                </a:lnTo>
                <a:cubicBezTo>
                  <a:pt x="974516" y="6500553"/>
                  <a:pt x="953525" y="6515080"/>
                  <a:pt x="930389" y="6513878"/>
                </a:cubicBezTo>
                <a:cubicBezTo>
                  <a:pt x="895026" y="6513878"/>
                  <a:pt x="871450" y="6487391"/>
                  <a:pt x="871450" y="6451897"/>
                </a:cubicBezTo>
                <a:cubicBezTo>
                  <a:pt x="871450" y="6416403"/>
                  <a:pt x="895026" y="6389916"/>
                  <a:pt x="930389" y="6389916"/>
                </a:cubicBezTo>
                <a:cubicBezTo>
                  <a:pt x="953525" y="6388714"/>
                  <a:pt x="974516" y="6403241"/>
                  <a:pt x="981294" y="6425144"/>
                </a:cubicBezTo>
                <a:lnTo>
                  <a:pt x="1022285" y="6425144"/>
                </a:lnTo>
                <a:cubicBezTo>
                  <a:pt x="1011846" y="6383642"/>
                  <a:pt x="973630" y="6354892"/>
                  <a:pt x="930389" y="6356011"/>
                </a:cubicBezTo>
                <a:cubicBezTo>
                  <a:pt x="928673" y="6355958"/>
                  <a:pt x="926955" y="6355951"/>
                  <a:pt x="925239" y="6355990"/>
                </a:cubicBezTo>
                <a:close/>
                <a:moveTo>
                  <a:pt x="651232" y="6336161"/>
                </a:moveTo>
                <a:cubicBezTo>
                  <a:pt x="639985" y="6350984"/>
                  <a:pt x="630973" y="6367343"/>
                  <a:pt x="624479" y="6384726"/>
                </a:cubicBezTo>
                <a:cubicBezTo>
                  <a:pt x="670541" y="6392471"/>
                  <a:pt x="712258" y="6416315"/>
                  <a:pt x="742033" y="6451914"/>
                </a:cubicBezTo>
                <a:cubicBezTo>
                  <a:pt x="712265" y="6487505"/>
                  <a:pt x="670562" y="6511346"/>
                  <a:pt x="624512" y="6519097"/>
                </a:cubicBezTo>
                <a:cubicBezTo>
                  <a:pt x="631041" y="6536476"/>
                  <a:pt x="640089" y="6552825"/>
                  <a:pt x="651373" y="6567631"/>
                </a:cubicBezTo>
                <a:cubicBezTo>
                  <a:pt x="697088" y="6556502"/>
                  <a:pt x="738657" y="6532746"/>
                  <a:pt x="771228" y="6499136"/>
                </a:cubicBezTo>
                <a:cubicBezTo>
                  <a:pt x="763842" y="6482091"/>
                  <a:pt x="754009" y="6466186"/>
                  <a:pt x="742033" y="6451914"/>
                </a:cubicBezTo>
                <a:cubicBezTo>
                  <a:pt x="754009" y="6437642"/>
                  <a:pt x="763841" y="6421738"/>
                  <a:pt x="771227" y="6404692"/>
                </a:cubicBezTo>
                <a:cubicBezTo>
                  <a:pt x="738623" y="6371047"/>
                  <a:pt x="697001" y="6347276"/>
                  <a:pt x="651232" y="6336161"/>
                </a:cubicBezTo>
                <a:close/>
                <a:moveTo>
                  <a:pt x="0" y="0"/>
                </a:moveTo>
                <a:lnTo>
                  <a:pt x="7104065" y="0"/>
                </a:lnTo>
                <a:lnTo>
                  <a:pt x="8040688" y="0"/>
                </a:lnTo>
                <a:lnTo>
                  <a:pt x="12192000" y="0"/>
                </a:lnTo>
                <a:lnTo>
                  <a:pt x="12192000" y="6858000"/>
                </a:lnTo>
                <a:lnTo>
                  <a:pt x="8040688" y="6858000"/>
                </a:lnTo>
                <a:lnTo>
                  <a:pt x="7104065" y="6858000"/>
                </a:lnTo>
                <a:lnTo>
                  <a:pt x="0" y="6858000"/>
                </a:lnTo>
                <a:close/>
              </a:path>
            </a:pathLst>
          </a:custGeom>
          <a:solidFill>
            <a:schemeClr val="tx1">
              <a:lumMod val="75000"/>
              <a:lumOff val="25000"/>
            </a:schemeClr>
          </a:solidFill>
          <a:ln>
            <a:noFill/>
          </a:ln>
        </p:spPr>
        <p:txBody>
          <a:bodyPr wrap="square" tIns="108000" anchor="t" anchorCtr="0">
            <a:noAutofit/>
          </a:bodyPr>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dark image</a:t>
            </a:r>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5" name="Text Placeholder 12">
            <a:extLst>
              <a:ext uri="{FF2B5EF4-FFF2-40B4-BE49-F238E27FC236}">
                <a16:creationId xmlns:a16="http://schemas.microsoft.com/office/drawing/2014/main" id="{6DFF0592-E1D3-FA38-367B-6AACE16AB121}"/>
              </a:ext>
            </a:extLst>
          </p:cNvPr>
          <p:cNvSpPr>
            <a:spLocks noGrp="1"/>
          </p:cNvSpPr>
          <p:nvPr>
            <p:ph type="body" sz="quarter" idx="28" hasCustomPrompt="1"/>
          </p:nvPr>
        </p:nvSpPr>
        <p:spPr>
          <a:xfrm>
            <a:off x="1487488" y="4286568"/>
            <a:ext cx="3600450" cy="259239"/>
          </a:xfrm>
          <a:noFill/>
        </p:spPr>
        <p:txBody>
          <a:bodyPr/>
          <a:lstStyle>
            <a:lvl1pPr marL="0" indent="0" algn="l">
              <a:buNone/>
              <a:defRPr sz="16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7" name="Text Placeholder 12">
            <a:extLst>
              <a:ext uri="{FF2B5EF4-FFF2-40B4-BE49-F238E27FC236}">
                <a16:creationId xmlns:a16="http://schemas.microsoft.com/office/drawing/2014/main" id="{FC985B5E-496F-CAB2-88DD-D72D7C4B91FF}"/>
              </a:ext>
            </a:extLst>
          </p:cNvPr>
          <p:cNvSpPr>
            <a:spLocks noGrp="1"/>
          </p:cNvSpPr>
          <p:nvPr>
            <p:ph type="body" sz="quarter" idx="29" hasCustomPrompt="1"/>
          </p:nvPr>
        </p:nvSpPr>
        <p:spPr>
          <a:xfrm>
            <a:off x="1487488" y="4543748"/>
            <a:ext cx="3600450" cy="259239"/>
          </a:xfrm>
          <a:noFill/>
        </p:spPr>
        <p:txBody>
          <a:bodyPr/>
          <a:lstStyle>
            <a:lvl1pPr marL="0" indent="0" algn="l">
              <a:buNone/>
              <a:defRPr sz="1500">
                <a:solidFill>
                  <a:schemeClr val="bg1"/>
                </a:solidFill>
                <a:latin typeface="+mn-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Company name</a:t>
            </a:r>
          </a:p>
        </p:txBody>
      </p:sp>
      <p:sp>
        <p:nvSpPr>
          <p:cNvPr id="9" name="Text Placeholder 9">
            <a:extLst>
              <a:ext uri="{FF2B5EF4-FFF2-40B4-BE49-F238E27FC236}">
                <a16:creationId xmlns:a16="http://schemas.microsoft.com/office/drawing/2014/main" id="{77587D0B-46D5-31FC-0458-5D35206C04D0}"/>
              </a:ext>
            </a:extLst>
          </p:cNvPr>
          <p:cNvSpPr>
            <a:spLocks noGrp="1"/>
          </p:cNvSpPr>
          <p:nvPr>
            <p:ph type="body" sz="quarter" idx="26" hasCustomPrompt="1"/>
          </p:nvPr>
        </p:nvSpPr>
        <p:spPr>
          <a:xfrm>
            <a:off x="1487488" y="2979813"/>
            <a:ext cx="8280400" cy="1107996"/>
          </a:xfrm>
          <a:prstGeom prst="rect">
            <a:avLst/>
          </a:prstGeom>
          <a:noFill/>
        </p:spPr>
        <p:txBody>
          <a:bodyPr wrap="square" lIns="0" tIns="0" rIns="0" bIns="0" anchor="b" anchorCtr="0">
            <a:spAutoFit/>
          </a:bodyPr>
          <a:lstStyle>
            <a:lvl1pPr marL="0" indent="0" algn="l">
              <a:buNone/>
              <a:tabLst/>
              <a:defRPr sz="3600">
                <a:solidFill>
                  <a:schemeClr val="bg1"/>
                </a:solidFill>
                <a:latin typeface="+mj-lt"/>
              </a:defRPr>
            </a:lvl1pPr>
          </a:lstStyle>
          <a:p>
            <a:pPr lvl="0"/>
            <a:r>
              <a:rPr lang="en-US"/>
              <a:t>“Quote copy, resize textbox </a:t>
            </a:r>
            <a:r>
              <a:rPr lang="en-US" err="1"/>
              <a:t>recolour</a:t>
            </a:r>
            <a:r>
              <a:rPr lang="en-US"/>
              <a:t> text as required”.</a:t>
            </a:r>
            <a:endParaRPr lang="en-GB"/>
          </a:p>
        </p:txBody>
      </p:sp>
    </p:spTree>
    <p:extLst>
      <p:ext uri="{BB962C8B-B14F-4D97-AF65-F5344CB8AC3E}">
        <p14:creationId xmlns:p14="http://schemas.microsoft.com/office/powerpoint/2010/main" val="102374250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x Image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382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F0399FF5-9649-B959-9DCF-DAECACBCDEEC}"/>
              </a:ext>
            </a:extLst>
          </p:cNvPr>
          <p:cNvSpPr>
            <a:spLocks noGrp="1"/>
          </p:cNvSpPr>
          <p:nvPr>
            <p:ph type="pic" sz="quarter" idx="20" hasCustomPrompt="1"/>
          </p:nvPr>
        </p:nvSpPr>
        <p:spPr>
          <a:xfrm>
            <a:off x="550863" y="1815304"/>
            <a:ext cx="3204000" cy="1613696"/>
          </a:xfrm>
          <a:noFill/>
        </p:spPr>
        <p:txBody>
          <a:bodyPr tIns="144000" anchor="t" anchorCtr="0"/>
          <a:lstStyle>
            <a:lvl1pPr marL="0" indent="0" algn="ctr">
              <a:buNone/>
              <a:defRPr sz="1000">
                <a:solidFill>
                  <a:schemeClr val="accent1"/>
                </a:solidFill>
                <a:latin typeface="+mn-lt"/>
              </a:defRPr>
            </a:lvl1pPr>
          </a:lstStyle>
          <a:p>
            <a:pPr lvl="0"/>
            <a:r>
              <a:rPr lang="en-US"/>
              <a:t>Drag picture file here or click icon to insert image</a:t>
            </a:r>
          </a:p>
        </p:txBody>
      </p:sp>
      <p:sp>
        <p:nvSpPr>
          <p:cNvPr id="8" name="Picture Placeholder 15">
            <a:extLst>
              <a:ext uri="{FF2B5EF4-FFF2-40B4-BE49-F238E27FC236}">
                <a16:creationId xmlns:a16="http://schemas.microsoft.com/office/drawing/2014/main" id="{EE3320D6-3CB1-7A47-2BFC-A4E7CD41E662}"/>
              </a:ext>
            </a:extLst>
          </p:cNvPr>
          <p:cNvSpPr>
            <a:spLocks noGrp="1"/>
          </p:cNvSpPr>
          <p:nvPr>
            <p:ph type="pic" sz="quarter" idx="27" hasCustomPrompt="1"/>
          </p:nvPr>
        </p:nvSpPr>
        <p:spPr>
          <a:xfrm>
            <a:off x="4295774" y="1815304"/>
            <a:ext cx="3204000" cy="1613696"/>
          </a:xfrm>
          <a:noFill/>
        </p:spPr>
        <p:txBody>
          <a:bodyPr tIns="144000" anchor="t" anchorCtr="0"/>
          <a:lstStyle>
            <a:lvl1pPr marL="0" indent="0" algn="ctr">
              <a:buNone/>
              <a:defRPr sz="1000">
                <a:solidFill>
                  <a:schemeClr val="accent1"/>
                </a:solidFill>
                <a:latin typeface="+mn-lt"/>
              </a:defRPr>
            </a:lvl1pPr>
          </a:lstStyle>
          <a:p>
            <a:pPr lvl="0"/>
            <a:r>
              <a:rPr lang="en-US"/>
              <a:t>Drag picture file here or click icon to insert image</a:t>
            </a:r>
          </a:p>
        </p:txBody>
      </p:sp>
      <p:sp>
        <p:nvSpPr>
          <p:cNvPr id="14" name="Picture Placeholder 15">
            <a:extLst>
              <a:ext uri="{FF2B5EF4-FFF2-40B4-BE49-F238E27FC236}">
                <a16:creationId xmlns:a16="http://schemas.microsoft.com/office/drawing/2014/main" id="{F7147628-F7A2-5521-0AE1-2410D1FA1E9B}"/>
              </a:ext>
            </a:extLst>
          </p:cNvPr>
          <p:cNvSpPr>
            <a:spLocks noGrp="1"/>
          </p:cNvSpPr>
          <p:nvPr>
            <p:ph type="pic" sz="quarter" idx="29" hasCustomPrompt="1"/>
          </p:nvPr>
        </p:nvSpPr>
        <p:spPr>
          <a:xfrm>
            <a:off x="8040685" y="1815304"/>
            <a:ext cx="3204000" cy="1613696"/>
          </a:xfrm>
          <a:noFill/>
        </p:spPr>
        <p:txBody>
          <a:bodyPr tIns="144000" anchor="t" anchorCtr="0"/>
          <a:lstStyle>
            <a:lvl1pPr marL="0" indent="0" algn="ctr">
              <a:buNone/>
              <a:defRPr sz="1000">
                <a:solidFill>
                  <a:schemeClr val="accent1"/>
                </a:solidFill>
                <a:latin typeface="+mn-lt"/>
              </a:defRPr>
            </a:lvl1pPr>
          </a:lstStyle>
          <a:p>
            <a:pPr lvl="0"/>
            <a:r>
              <a:rPr lang="en-US"/>
              <a:t>Drag picture file here or click icon to insert image</a:t>
            </a:r>
          </a:p>
        </p:txBody>
      </p:sp>
      <p:sp>
        <p:nvSpPr>
          <p:cNvPr id="18" name="Text Placeholder 12">
            <a:extLst>
              <a:ext uri="{FF2B5EF4-FFF2-40B4-BE49-F238E27FC236}">
                <a16:creationId xmlns:a16="http://schemas.microsoft.com/office/drawing/2014/main" id="{287F0BB8-9028-A298-0ED9-DD9841E9FF1E}"/>
              </a:ext>
            </a:extLst>
          </p:cNvPr>
          <p:cNvSpPr>
            <a:spLocks noGrp="1"/>
          </p:cNvSpPr>
          <p:nvPr>
            <p:ph type="body" sz="quarter" idx="35"/>
          </p:nvPr>
        </p:nvSpPr>
        <p:spPr>
          <a:xfrm>
            <a:off x="550863" y="3614886"/>
            <a:ext cx="3204000" cy="1974702"/>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19" name="Text Placeholder 12">
            <a:extLst>
              <a:ext uri="{FF2B5EF4-FFF2-40B4-BE49-F238E27FC236}">
                <a16:creationId xmlns:a16="http://schemas.microsoft.com/office/drawing/2014/main" id="{EBEB4CD8-6B60-C130-BCA3-DCF661418B37}"/>
              </a:ext>
            </a:extLst>
          </p:cNvPr>
          <p:cNvSpPr>
            <a:spLocks noGrp="1"/>
          </p:cNvSpPr>
          <p:nvPr>
            <p:ph type="body" sz="quarter" idx="36"/>
          </p:nvPr>
        </p:nvSpPr>
        <p:spPr>
          <a:xfrm>
            <a:off x="4295774" y="3614886"/>
            <a:ext cx="3204000" cy="1974702"/>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20" name="Text Placeholder 12">
            <a:extLst>
              <a:ext uri="{FF2B5EF4-FFF2-40B4-BE49-F238E27FC236}">
                <a16:creationId xmlns:a16="http://schemas.microsoft.com/office/drawing/2014/main" id="{FBD3B35B-85FC-EDDE-B2E6-90A04DDC0CBF}"/>
              </a:ext>
            </a:extLst>
          </p:cNvPr>
          <p:cNvSpPr>
            <a:spLocks noGrp="1"/>
          </p:cNvSpPr>
          <p:nvPr>
            <p:ph type="body" sz="quarter" idx="37"/>
          </p:nvPr>
        </p:nvSpPr>
        <p:spPr>
          <a:xfrm>
            <a:off x="8040685" y="3614886"/>
            <a:ext cx="3204000" cy="1974702"/>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7" name="Text Placeholder 12">
            <a:extLst>
              <a:ext uri="{FF2B5EF4-FFF2-40B4-BE49-F238E27FC236}">
                <a16:creationId xmlns:a16="http://schemas.microsoft.com/office/drawing/2014/main" id="{B9536768-8309-390C-EBBB-52A3D79A449D}"/>
              </a:ext>
            </a:extLst>
          </p:cNvPr>
          <p:cNvSpPr>
            <a:spLocks noGrp="1"/>
          </p:cNvSpPr>
          <p:nvPr>
            <p:ph type="body" sz="quarter" idx="39" hasCustomPrompt="1"/>
          </p:nvPr>
        </p:nvSpPr>
        <p:spPr>
          <a:xfrm>
            <a:off x="550863" y="1720850"/>
            <a:ext cx="3204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9" name="Text Placeholder 12">
            <a:extLst>
              <a:ext uri="{FF2B5EF4-FFF2-40B4-BE49-F238E27FC236}">
                <a16:creationId xmlns:a16="http://schemas.microsoft.com/office/drawing/2014/main" id="{07E23126-BE6F-DDF6-A6A3-47E69F507933}"/>
              </a:ext>
            </a:extLst>
          </p:cNvPr>
          <p:cNvSpPr>
            <a:spLocks noGrp="1"/>
          </p:cNvSpPr>
          <p:nvPr>
            <p:ph type="body" sz="quarter" idx="40" hasCustomPrompt="1"/>
          </p:nvPr>
        </p:nvSpPr>
        <p:spPr>
          <a:xfrm>
            <a:off x="4295774" y="1720850"/>
            <a:ext cx="3204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11" name="Text Placeholder 12">
            <a:extLst>
              <a:ext uri="{FF2B5EF4-FFF2-40B4-BE49-F238E27FC236}">
                <a16:creationId xmlns:a16="http://schemas.microsoft.com/office/drawing/2014/main" id="{D8B9C039-D99A-63F9-5EF9-175C494B73EE}"/>
              </a:ext>
            </a:extLst>
          </p:cNvPr>
          <p:cNvSpPr>
            <a:spLocks noGrp="1"/>
          </p:cNvSpPr>
          <p:nvPr>
            <p:ph type="body" sz="quarter" idx="41" hasCustomPrompt="1"/>
          </p:nvPr>
        </p:nvSpPr>
        <p:spPr>
          <a:xfrm>
            <a:off x="8040685" y="1720850"/>
            <a:ext cx="3204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Tree>
    <p:extLst>
      <p:ext uri="{BB962C8B-B14F-4D97-AF65-F5344CB8AC3E}">
        <p14:creationId xmlns:p14="http://schemas.microsoft.com/office/powerpoint/2010/main" val="38246110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x Image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382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8" name="Text Placeholder 12">
            <a:extLst>
              <a:ext uri="{FF2B5EF4-FFF2-40B4-BE49-F238E27FC236}">
                <a16:creationId xmlns:a16="http://schemas.microsoft.com/office/drawing/2014/main" id="{287F0BB8-9028-A298-0ED9-DD9841E9FF1E}"/>
              </a:ext>
            </a:extLst>
          </p:cNvPr>
          <p:cNvSpPr>
            <a:spLocks noGrp="1"/>
          </p:cNvSpPr>
          <p:nvPr>
            <p:ph type="body" sz="quarter" idx="35"/>
          </p:nvPr>
        </p:nvSpPr>
        <p:spPr>
          <a:xfrm>
            <a:off x="550864" y="3614886"/>
            <a:ext cx="2268000" cy="1974702"/>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19" name="Text Placeholder 12">
            <a:extLst>
              <a:ext uri="{FF2B5EF4-FFF2-40B4-BE49-F238E27FC236}">
                <a16:creationId xmlns:a16="http://schemas.microsoft.com/office/drawing/2014/main" id="{EBEB4CD8-6B60-C130-BCA3-DCF661418B37}"/>
              </a:ext>
            </a:extLst>
          </p:cNvPr>
          <p:cNvSpPr>
            <a:spLocks noGrp="1"/>
          </p:cNvSpPr>
          <p:nvPr>
            <p:ph type="body" sz="quarter" idx="36"/>
          </p:nvPr>
        </p:nvSpPr>
        <p:spPr>
          <a:xfrm>
            <a:off x="3359151" y="3614886"/>
            <a:ext cx="2268000" cy="1974702"/>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20" name="Text Placeholder 12">
            <a:extLst>
              <a:ext uri="{FF2B5EF4-FFF2-40B4-BE49-F238E27FC236}">
                <a16:creationId xmlns:a16="http://schemas.microsoft.com/office/drawing/2014/main" id="{FBD3B35B-85FC-EDDE-B2E6-90A04DDC0CBF}"/>
              </a:ext>
            </a:extLst>
          </p:cNvPr>
          <p:cNvSpPr>
            <a:spLocks noGrp="1"/>
          </p:cNvSpPr>
          <p:nvPr>
            <p:ph type="body" sz="quarter" idx="37"/>
          </p:nvPr>
        </p:nvSpPr>
        <p:spPr>
          <a:xfrm>
            <a:off x="6167438" y="3614886"/>
            <a:ext cx="2268000" cy="1974702"/>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21" name="Text Placeholder 12">
            <a:extLst>
              <a:ext uri="{FF2B5EF4-FFF2-40B4-BE49-F238E27FC236}">
                <a16:creationId xmlns:a16="http://schemas.microsoft.com/office/drawing/2014/main" id="{15362B43-1343-95D7-3182-D159AA5259CA}"/>
              </a:ext>
            </a:extLst>
          </p:cNvPr>
          <p:cNvSpPr>
            <a:spLocks noGrp="1"/>
          </p:cNvSpPr>
          <p:nvPr>
            <p:ph type="body" sz="quarter" idx="38"/>
          </p:nvPr>
        </p:nvSpPr>
        <p:spPr>
          <a:xfrm>
            <a:off x="8975724" y="3614886"/>
            <a:ext cx="2268000" cy="1974702"/>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7" name="Text Placeholder 12">
            <a:extLst>
              <a:ext uri="{FF2B5EF4-FFF2-40B4-BE49-F238E27FC236}">
                <a16:creationId xmlns:a16="http://schemas.microsoft.com/office/drawing/2014/main" id="{B9536768-8309-390C-EBBB-52A3D79A449D}"/>
              </a:ext>
            </a:extLst>
          </p:cNvPr>
          <p:cNvSpPr>
            <a:spLocks noGrp="1"/>
          </p:cNvSpPr>
          <p:nvPr>
            <p:ph type="body" sz="quarter" idx="39" hasCustomPrompt="1"/>
          </p:nvPr>
        </p:nvSpPr>
        <p:spPr>
          <a:xfrm>
            <a:off x="550864"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9" name="Text Placeholder 12">
            <a:extLst>
              <a:ext uri="{FF2B5EF4-FFF2-40B4-BE49-F238E27FC236}">
                <a16:creationId xmlns:a16="http://schemas.microsoft.com/office/drawing/2014/main" id="{07E23126-BE6F-DDF6-A6A3-47E69F507933}"/>
              </a:ext>
            </a:extLst>
          </p:cNvPr>
          <p:cNvSpPr>
            <a:spLocks noGrp="1"/>
          </p:cNvSpPr>
          <p:nvPr>
            <p:ph type="body" sz="quarter" idx="40" hasCustomPrompt="1"/>
          </p:nvPr>
        </p:nvSpPr>
        <p:spPr>
          <a:xfrm>
            <a:off x="3359151"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11" name="Text Placeholder 12">
            <a:extLst>
              <a:ext uri="{FF2B5EF4-FFF2-40B4-BE49-F238E27FC236}">
                <a16:creationId xmlns:a16="http://schemas.microsoft.com/office/drawing/2014/main" id="{D8B9C039-D99A-63F9-5EF9-175C494B73EE}"/>
              </a:ext>
            </a:extLst>
          </p:cNvPr>
          <p:cNvSpPr>
            <a:spLocks noGrp="1"/>
          </p:cNvSpPr>
          <p:nvPr>
            <p:ph type="body" sz="quarter" idx="41" hasCustomPrompt="1"/>
          </p:nvPr>
        </p:nvSpPr>
        <p:spPr>
          <a:xfrm>
            <a:off x="6167438"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12" name="Text Placeholder 12">
            <a:extLst>
              <a:ext uri="{FF2B5EF4-FFF2-40B4-BE49-F238E27FC236}">
                <a16:creationId xmlns:a16="http://schemas.microsoft.com/office/drawing/2014/main" id="{50A0A20C-27C8-B9D3-5FD0-CC4FC8630D17}"/>
              </a:ext>
            </a:extLst>
          </p:cNvPr>
          <p:cNvSpPr>
            <a:spLocks noGrp="1"/>
          </p:cNvSpPr>
          <p:nvPr>
            <p:ph type="body" sz="quarter" idx="42" hasCustomPrompt="1"/>
          </p:nvPr>
        </p:nvSpPr>
        <p:spPr>
          <a:xfrm>
            <a:off x="8975724" y="1720850"/>
            <a:ext cx="2268000" cy="94454"/>
          </a:xfrm>
          <a:solidFill>
            <a:schemeClr val="accent2"/>
          </a:solidFill>
        </p:spPr>
        <p:txBody>
          <a:bodyPr/>
          <a:lstStyle>
            <a:lvl1pPr marL="0" indent="0">
              <a:buNone/>
              <a:defRPr sz="200"/>
            </a:lvl1pPr>
            <a:lvl4pPr>
              <a:buClr>
                <a:schemeClr val="accent1"/>
              </a:buClr>
              <a:defRPr/>
            </a:lvl4pPr>
            <a:lvl5pPr>
              <a:buClr>
                <a:schemeClr val="accent1"/>
              </a:buClr>
              <a:defRPr/>
            </a:lvl5pPr>
          </a:lstStyle>
          <a:p>
            <a:pPr lvl="0"/>
            <a:r>
              <a:rPr lang="en-US"/>
              <a:t> </a:t>
            </a:r>
            <a:endParaRPr lang="en-GB"/>
          </a:p>
        </p:txBody>
      </p:sp>
      <p:sp>
        <p:nvSpPr>
          <p:cNvPr id="6" name="Picture Placeholder 15">
            <a:extLst>
              <a:ext uri="{FF2B5EF4-FFF2-40B4-BE49-F238E27FC236}">
                <a16:creationId xmlns:a16="http://schemas.microsoft.com/office/drawing/2014/main" id="{D1A10CE7-8722-B041-E2DE-E39C5492A09C}"/>
              </a:ext>
            </a:extLst>
          </p:cNvPr>
          <p:cNvSpPr>
            <a:spLocks noGrp="1"/>
          </p:cNvSpPr>
          <p:nvPr>
            <p:ph type="pic" sz="quarter" idx="20" hasCustomPrompt="1"/>
          </p:nvPr>
        </p:nvSpPr>
        <p:spPr>
          <a:xfrm>
            <a:off x="551231" y="1815304"/>
            <a:ext cx="2267633" cy="1613696"/>
          </a:xfrm>
          <a:noFill/>
        </p:spPr>
        <p:txBody>
          <a:bodyPr lIns="288000" tIns="144000" rIns="288000" anchor="t" anchorCtr="0"/>
          <a:lstStyle>
            <a:lvl1pPr marL="0" indent="0" algn="ctr">
              <a:buNone/>
              <a:defRPr sz="1050">
                <a:solidFill>
                  <a:schemeClr val="accent1"/>
                </a:solidFill>
                <a:latin typeface="+mn-lt"/>
              </a:defRPr>
            </a:lvl1pPr>
          </a:lstStyle>
          <a:p>
            <a:pPr lvl="0"/>
            <a:r>
              <a:rPr lang="en-US"/>
              <a:t>Drag picture file or click icon to insert image</a:t>
            </a:r>
          </a:p>
        </p:txBody>
      </p:sp>
      <p:sp>
        <p:nvSpPr>
          <p:cNvPr id="13" name="Picture Placeholder 15">
            <a:extLst>
              <a:ext uri="{FF2B5EF4-FFF2-40B4-BE49-F238E27FC236}">
                <a16:creationId xmlns:a16="http://schemas.microsoft.com/office/drawing/2014/main" id="{759FAF63-33EE-773B-A574-A23C0BBA1A55}"/>
              </a:ext>
            </a:extLst>
          </p:cNvPr>
          <p:cNvSpPr>
            <a:spLocks noGrp="1"/>
          </p:cNvSpPr>
          <p:nvPr>
            <p:ph type="pic" sz="quarter" idx="27" hasCustomPrompt="1"/>
          </p:nvPr>
        </p:nvSpPr>
        <p:spPr>
          <a:xfrm>
            <a:off x="3359518" y="1815304"/>
            <a:ext cx="2267633" cy="1613696"/>
          </a:xfrm>
          <a:noFill/>
        </p:spPr>
        <p:txBody>
          <a:bodyPr lIns="288000" tIns="144000" rIns="288000" anchor="t" anchorCtr="0"/>
          <a:lstStyle>
            <a:lvl1pPr marL="0" indent="0" algn="ctr">
              <a:buNone/>
              <a:defRPr sz="1050">
                <a:solidFill>
                  <a:schemeClr val="accent1"/>
                </a:solidFill>
                <a:latin typeface="+mn-lt"/>
              </a:defRPr>
            </a:lvl1pPr>
          </a:lstStyle>
          <a:p>
            <a:pPr lvl="0"/>
            <a:r>
              <a:rPr lang="en-US"/>
              <a:t>Drag picture file or click icon to insert image</a:t>
            </a:r>
          </a:p>
        </p:txBody>
      </p:sp>
      <p:sp>
        <p:nvSpPr>
          <p:cNvPr id="15" name="Picture Placeholder 15">
            <a:extLst>
              <a:ext uri="{FF2B5EF4-FFF2-40B4-BE49-F238E27FC236}">
                <a16:creationId xmlns:a16="http://schemas.microsoft.com/office/drawing/2014/main" id="{C901D21E-0104-E7CA-F6E8-C59390F203C3}"/>
              </a:ext>
            </a:extLst>
          </p:cNvPr>
          <p:cNvSpPr>
            <a:spLocks noGrp="1"/>
          </p:cNvSpPr>
          <p:nvPr>
            <p:ph type="pic" sz="quarter" idx="29" hasCustomPrompt="1"/>
          </p:nvPr>
        </p:nvSpPr>
        <p:spPr>
          <a:xfrm>
            <a:off x="6167805" y="1815304"/>
            <a:ext cx="2267633" cy="1613696"/>
          </a:xfrm>
          <a:noFill/>
        </p:spPr>
        <p:txBody>
          <a:bodyPr lIns="288000" tIns="144000" rIns="288000" anchor="t" anchorCtr="0"/>
          <a:lstStyle>
            <a:lvl1pPr marL="0" indent="0" algn="ctr">
              <a:buNone/>
              <a:defRPr sz="1050">
                <a:solidFill>
                  <a:schemeClr val="accent1"/>
                </a:solidFill>
                <a:latin typeface="+mn-lt"/>
              </a:defRPr>
            </a:lvl1pPr>
          </a:lstStyle>
          <a:p>
            <a:pPr lvl="0"/>
            <a:r>
              <a:rPr lang="en-US"/>
              <a:t>Drag picture file or click icon to insert image</a:t>
            </a:r>
          </a:p>
        </p:txBody>
      </p:sp>
      <p:sp>
        <p:nvSpPr>
          <p:cNvPr id="17" name="Picture Placeholder 15">
            <a:extLst>
              <a:ext uri="{FF2B5EF4-FFF2-40B4-BE49-F238E27FC236}">
                <a16:creationId xmlns:a16="http://schemas.microsoft.com/office/drawing/2014/main" id="{80F3D6B4-C038-0DD0-8ED2-7284E638E2E4}"/>
              </a:ext>
            </a:extLst>
          </p:cNvPr>
          <p:cNvSpPr>
            <a:spLocks noGrp="1"/>
          </p:cNvSpPr>
          <p:nvPr>
            <p:ph type="pic" sz="quarter" idx="33" hasCustomPrompt="1"/>
          </p:nvPr>
        </p:nvSpPr>
        <p:spPr>
          <a:xfrm>
            <a:off x="8976091" y="1815304"/>
            <a:ext cx="2267633" cy="1613696"/>
          </a:xfrm>
          <a:noFill/>
        </p:spPr>
        <p:txBody>
          <a:bodyPr lIns="288000" tIns="144000" rIns="288000" anchor="t" anchorCtr="0"/>
          <a:lstStyle>
            <a:lvl1pPr marL="0" indent="0" algn="ctr">
              <a:buNone/>
              <a:defRPr sz="1050">
                <a:solidFill>
                  <a:schemeClr val="accent1"/>
                </a:solidFill>
                <a:latin typeface="+mn-lt"/>
              </a:defRPr>
            </a:lvl1pPr>
          </a:lstStyle>
          <a:p>
            <a:pPr lvl="0"/>
            <a:r>
              <a:rPr lang="en-US"/>
              <a:t>Drag picture file or click icon to insert image</a:t>
            </a:r>
          </a:p>
        </p:txBody>
      </p:sp>
    </p:spTree>
    <p:extLst>
      <p:ext uri="{BB962C8B-B14F-4D97-AF65-F5344CB8AC3E}">
        <p14:creationId xmlns:p14="http://schemas.microsoft.com/office/powerpoint/2010/main" val="352739067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4 Prof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382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27" name="Picture Placeholder 15">
            <a:extLst>
              <a:ext uri="{FF2B5EF4-FFF2-40B4-BE49-F238E27FC236}">
                <a16:creationId xmlns:a16="http://schemas.microsoft.com/office/drawing/2014/main" id="{27654ED8-01A8-D1FE-3820-89D5B49A47F6}"/>
              </a:ext>
            </a:extLst>
          </p:cNvPr>
          <p:cNvSpPr>
            <a:spLocks noGrp="1"/>
          </p:cNvSpPr>
          <p:nvPr>
            <p:ph type="pic" sz="quarter" idx="39" hasCustomPrompt="1"/>
          </p:nvPr>
        </p:nvSpPr>
        <p:spPr>
          <a:xfrm>
            <a:off x="6167437" y="1270001"/>
            <a:ext cx="900000" cy="900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28" name="Text Placeholder 12">
            <a:extLst>
              <a:ext uri="{FF2B5EF4-FFF2-40B4-BE49-F238E27FC236}">
                <a16:creationId xmlns:a16="http://schemas.microsoft.com/office/drawing/2014/main" id="{2618AB31-9EE4-B0FA-1912-B680B15254CB}"/>
              </a:ext>
            </a:extLst>
          </p:cNvPr>
          <p:cNvSpPr>
            <a:spLocks noGrp="1"/>
          </p:cNvSpPr>
          <p:nvPr>
            <p:ph type="body" sz="quarter" idx="40"/>
          </p:nvPr>
        </p:nvSpPr>
        <p:spPr>
          <a:xfrm>
            <a:off x="6167437"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9" name="Text Placeholder 12">
            <a:extLst>
              <a:ext uri="{FF2B5EF4-FFF2-40B4-BE49-F238E27FC236}">
                <a16:creationId xmlns:a16="http://schemas.microsoft.com/office/drawing/2014/main" id="{FFB9ADBC-E4B6-3784-421C-A4EFC1B7C5F1}"/>
              </a:ext>
            </a:extLst>
          </p:cNvPr>
          <p:cNvSpPr>
            <a:spLocks noGrp="1"/>
          </p:cNvSpPr>
          <p:nvPr>
            <p:ph type="body" sz="quarter" idx="41" hasCustomPrompt="1"/>
          </p:nvPr>
        </p:nvSpPr>
        <p:spPr>
          <a:xfrm>
            <a:off x="6167437" y="2311763"/>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0" name="Picture Placeholder 15">
            <a:extLst>
              <a:ext uri="{FF2B5EF4-FFF2-40B4-BE49-F238E27FC236}">
                <a16:creationId xmlns:a16="http://schemas.microsoft.com/office/drawing/2014/main" id="{090BA775-0FAF-3B62-608B-8FFFDAC8C6A8}"/>
              </a:ext>
            </a:extLst>
          </p:cNvPr>
          <p:cNvSpPr>
            <a:spLocks noGrp="1"/>
          </p:cNvSpPr>
          <p:nvPr>
            <p:ph type="pic" sz="quarter" idx="42" hasCustomPrompt="1"/>
          </p:nvPr>
        </p:nvSpPr>
        <p:spPr>
          <a:xfrm>
            <a:off x="8981446" y="1270001"/>
            <a:ext cx="900000" cy="900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31" name="Text Placeholder 12">
            <a:extLst>
              <a:ext uri="{FF2B5EF4-FFF2-40B4-BE49-F238E27FC236}">
                <a16:creationId xmlns:a16="http://schemas.microsoft.com/office/drawing/2014/main" id="{A4516BE6-7228-94F3-8A7A-1E37960B7528}"/>
              </a:ext>
            </a:extLst>
          </p:cNvPr>
          <p:cNvSpPr>
            <a:spLocks noGrp="1"/>
          </p:cNvSpPr>
          <p:nvPr>
            <p:ph type="body" sz="quarter" idx="43"/>
          </p:nvPr>
        </p:nvSpPr>
        <p:spPr>
          <a:xfrm>
            <a:off x="8981446"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2" name="Text Placeholder 12">
            <a:extLst>
              <a:ext uri="{FF2B5EF4-FFF2-40B4-BE49-F238E27FC236}">
                <a16:creationId xmlns:a16="http://schemas.microsoft.com/office/drawing/2014/main" id="{3588081C-BD44-BBE8-D377-92B62904A549}"/>
              </a:ext>
            </a:extLst>
          </p:cNvPr>
          <p:cNvSpPr>
            <a:spLocks noGrp="1"/>
          </p:cNvSpPr>
          <p:nvPr>
            <p:ph type="body" sz="quarter" idx="44" hasCustomPrompt="1"/>
          </p:nvPr>
        </p:nvSpPr>
        <p:spPr>
          <a:xfrm>
            <a:off x="8981446" y="2311763"/>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3" name="Picture Placeholder 15">
            <a:extLst>
              <a:ext uri="{FF2B5EF4-FFF2-40B4-BE49-F238E27FC236}">
                <a16:creationId xmlns:a16="http://schemas.microsoft.com/office/drawing/2014/main" id="{EA3D41BA-AEEA-96AC-53A8-EE9C4600C18F}"/>
              </a:ext>
            </a:extLst>
          </p:cNvPr>
          <p:cNvSpPr>
            <a:spLocks noGrp="1"/>
          </p:cNvSpPr>
          <p:nvPr>
            <p:ph type="pic" sz="quarter" idx="45" hasCustomPrompt="1"/>
          </p:nvPr>
        </p:nvSpPr>
        <p:spPr>
          <a:xfrm>
            <a:off x="551231" y="1639334"/>
            <a:ext cx="1404000" cy="1404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34" name="Text Placeholder 12">
            <a:extLst>
              <a:ext uri="{FF2B5EF4-FFF2-40B4-BE49-F238E27FC236}">
                <a16:creationId xmlns:a16="http://schemas.microsoft.com/office/drawing/2014/main" id="{3166EF9B-1EAF-2D91-282C-4F324D7791B0}"/>
              </a:ext>
            </a:extLst>
          </p:cNvPr>
          <p:cNvSpPr>
            <a:spLocks noGrp="1"/>
          </p:cNvSpPr>
          <p:nvPr>
            <p:ph type="body" sz="quarter" idx="46"/>
          </p:nvPr>
        </p:nvSpPr>
        <p:spPr>
          <a:xfrm>
            <a:off x="550863" y="3968750"/>
            <a:ext cx="2268000" cy="1436074"/>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bg1"/>
              </a:buClr>
              <a:defRPr sz="1200"/>
            </a:lvl4pPr>
            <a:lvl5pPr marL="720000" indent="-144000">
              <a:spcBef>
                <a:spcPts val="600"/>
              </a:spcBef>
              <a:buClr>
                <a:schemeClr val="bg1"/>
              </a:buClr>
              <a:defRPr sz="1200"/>
            </a:lvl5pPr>
          </a:lstStyle>
          <a:p>
            <a:pPr lvl="0"/>
            <a:r>
              <a:rPr lang="en-US"/>
              <a:t>Click to edit Master text styles</a:t>
            </a:r>
          </a:p>
          <a:p>
            <a:pPr lvl="1"/>
            <a:r>
              <a:rPr lang="en-US"/>
              <a:t>Second level</a:t>
            </a:r>
          </a:p>
          <a:p>
            <a:pPr lvl="2"/>
            <a:r>
              <a:rPr lang="en-US"/>
              <a:t>Third level</a:t>
            </a:r>
          </a:p>
        </p:txBody>
      </p:sp>
      <p:sp>
        <p:nvSpPr>
          <p:cNvPr id="35" name="Text Placeholder 12">
            <a:extLst>
              <a:ext uri="{FF2B5EF4-FFF2-40B4-BE49-F238E27FC236}">
                <a16:creationId xmlns:a16="http://schemas.microsoft.com/office/drawing/2014/main" id="{07E14275-13C8-E05E-C524-07E8FDA5157C}"/>
              </a:ext>
            </a:extLst>
          </p:cNvPr>
          <p:cNvSpPr>
            <a:spLocks noGrp="1"/>
          </p:cNvSpPr>
          <p:nvPr>
            <p:ph type="body" sz="quarter" idx="47" hasCustomPrompt="1"/>
          </p:nvPr>
        </p:nvSpPr>
        <p:spPr>
          <a:xfrm>
            <a:off x="550862" y="3215665"/>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6" name="Picture Placeholder 15">
            <a:extLst>
              <a:ext uri="{FF2B5EF4-FFF2-40B4-BE49-F238E27FC236}">
                <a16:creationId xmlns:a16="http://schemas.microsoft.com/office/drawing/2014/main" id="{1CB67B3F-7653-7693-9A99-87EB4369E1B0}"/>
              </a:ext>
            </a:extLst>
          </p:cNvPr>
          <p:cNvSpPr>
            <a:spLocks noGrp="1"/>
          </p:cNvSpPr>
          <p:nvPr>
            <p:ph type="pic" sz="quarter" idx="48" hasCustomPrompt="1"/>
          </p:nvPr>
        </p:nvSpPr>
        <p:spPr>
          <a:xfrm>
            <a:off x="3359519" y="1639334"/>
            <a:ext cx="1404000" cy="1404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38" name="Text Placeholder 12">
            <a:extLst>
              <a:ext uri="{FF2B5EF4-FFF2-40B4-BE49-F238E27FC236}">
                <a16:creationId xmlns:a16="http://schemas.microsoft.com/office/drawing/2014/main" id="{C9B048A9-0972-A797-F369-1DE2D85AB2AF}"/>
              </a:ext>
            </a:extLst>
          </p:cNvPr>
          <p:cNvSpPr>
            <a:spLocks noGrp="1"/>
          </p:cNvSpPr>
          <p:nvPr>
            <p:ph type="body" sz="quarter" idx="50" hasCustomPrompt="1"/>
          </p:nvPr>
        </p:nvSpPr>
        <p:spPr>
          <a:xfrm>
            <a:off x="3359150" y="3215665"/>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9" name="Picture Placeholder 15">
            <a:extLst>
              <a:ext uri="{FF2B5EF4-FFF2-40B4-BE49-F238E27FC236}">
                <a16:creationId xmlns:a16="http://schemas.microsoft.com/office/drawing/2014/main" id="{EEE724BB-CF04-4BA5-3E97-50ABFDA075D5}"/>
              </a:ext>
            </a:extLst>
          </p:cNvPr>
          <p:cNvSpPr>
            <a:spLocks noGrp="1"/>
          </p:cNvSpPr>
          <p:nvPr>
            <p:ph type="pic" sz="quarter" idx="51" hasCustomPrompt="1"/>
          </p:nvPr>
        </p:nvSpPr>
        <p:spPr>
          <a:xfrm>
            <a:off x="6167437" y="3790587"/>
            <a:ext cx="900000" cy="900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40" name="Text Placeholder 12">
            <a:extLst>
              <a:ext uri="{FF2B5EF4-FFF2-40B4-BE49-F238E27FC236}">
                <a16:creationId xmlns:a16="http://schemas.microsoft.com/office/drawing/2014/main" id="{4C60F514-6C86-508D-7B36-0F00CCFE330E}"/>
              </a:ext>
            </a:extLst>
          </p:cNvPr>
          <p:cNvSpPr>
            <a:spLocks noGrp="1"/>
          </p:cNvSpPr>
          <p:nvPr>
            <p:ph type="body" sz="quarter" idx="52"/>
          </p:nvPr>
        </p:nvSpPr>
        <p:spPr>
          <a:xfrm>
            <a:off x="6167437"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41" name="Text Placeholder 12">
            <a:extLst>
              <a:ext uri="{FF2B5EF4-FFF2-40B4-BE49-F238E27FC236}">
                <a16:creationId xmlns:a16="http://schemas.microsoft.com/office/drawing/2014/main" id="{619DCB73-639A-6611-985F-E7FF07FA9408}"/>
              </a:ext>
            </a:extLst>
          </p:cNvPr>
          <p:cNvSpPr>
            <a:spLocks noGrp="1"/>
          </p:cNvSpPr>
          <p:nvPr>
            <p:ph type="body" sz="quarter" idx="53" hasCustomPrompt="1"/>
          </p:nvPr>
        </p:nvSpPr>
        <p:spPr>
          <a:xfrm>
            <a:off x="6167437" y="4832349"/>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2" name="Picture Placeholder 15">
            <a:extLst>
              <a:ext uri="{FF2B5EF4-FFF2-40B4-BE49-F238E27FC236}">
                <a16:creationId xmlns:a16="http://schemas.microsoft.com/office/drawing/2014/main" id="{620D7DC7-38B5-58A0-4239-E47C805C654B}"/>
              </a:ext>
            </a:extLst>
          </p:cNvPr>
          <p:cNvSpPr>
            <a:spLocks noGrp="1"/>
          </p:cNvSpPr>
          <p:nvPr>
            <p:ph type="pic" sz="quarter" idx="54" hasCustomPrompt="1"/>
          </p:nvPr>
        </p:nvSpPr>
        <p:spPr>
          <a:xfrm>
            <a:off x="8981446" y="3790587"/>
            <a:ext cx="900000" cy="900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43" name="Text Placeholder 12">
            <a:extLst>
              <a:ext uri="{FF2B5EF4-FFF2-40B4-BE49-F238E27FC236}">
                <a16:creationId xmlns:a16="http://schemas.microsoft.com/office/drawing/2014/main" id="{52AA6AB4-75D7-5FD8-94E1-0A3579B12732}"/>
              </a:ext>
            </a:extLst>
          </p:cNvPr>
          <p:cNvSpPr>
            <a:spLocks noGrp="1"/>
          </p:cNvSpPr>
          <p:nvPr>
            <p:ph type="body" sz="quarter" idx="55"/>
          </p:nvPr>
        </p:nvSpPr>
        <p:spPr>
          <a:xfrm>
            <a:off x="8981446"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44" name="Text Placeholder 12">
            <a:extLst>
              <a:ext uri="{FF2B5EF4-FFF2-40B4-BE49-F238E27FC236}">
                <a16:creationId xmlns:a16="http://schemas.microsoft.com/office/drawing/2014/main" id="{8852589B-60D7-C4CE-4B17-949DB1679A18}"/>
              </a:ext>
            </a:extLst>
          </p:cNvPr>
          <p:cNvSpPr>
            <a:spLocks noGrp="1"/>
          </p:cNvSpPr>
          <p:nvPr>
            <p:ph type="body" sz="quarter" idx="56" hasCustomPrompt="1"/>
          </p:nvPr>
        </p:nvSpPr>
        <p:spPr>
          <a:xfrm>
            <a:off x="8981446" y="4832349"/>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7" name="Text Placeholder 12">
            <a:extLst>
              <a:ext uri="{FF2B5EF4-FFF2-40B4-BE49-F238E27FC236}">
                <a16:creationId xmlns:a16="http://schemas.microsoft.com/office/drawing/2014/main" id="{6536A327-7419-C103-F6A2-9A088DBA02E3}"/>
              </a:ext>
            </a:extLst>
          </p:cNvPr>
          <p:cNvSpPr>
            <a:spLocks noGrp="1"/>
          </p:cNvSpPr>
          <p:nvPr>
            <p:ph type="body" sz="quarter" idx="59" hasCustomPrompt="1"/>
          </p:nvPr>
        </p:nvSpPr>
        <p:spPr>
          <a:xfrm>
            <a:off x="6167437" y="2642734"/>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8" name="Text Placeholder 12">
            <a:extLst>
              <a:ext uri="{FF2B5EF4-FFF2-40B4-BE49-F238E27FC236}">
                <a16:creationId xmlns:a16="http://schemas.microsoft.com/office/drawing/2014/main" id="{EECF5BC7-CFF8-A868-D488-9C551C4E632F}"/>
              </a:ext>
            </a:extLst>
          </p:cNvPr>
          <p:cNvSpPr>
            <a:spLocks noGrp="1"/>
          </p:cNvSpPr>
          <p:nvPr>
            <p:ph type="body" sz="quarter" idx="60" hasCustomPrompt="1"/>
          </p:nvPr>
        </p:nvSpPr>
        <p:spPr>
          <a:xfrm>
            <a:off x="8981446" y="2642734"/>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9" name="Text Placeholder 12">
            <a:extLst>
              <a:ext uri="{FF2B5EF4-FFF2-40B4-BE49-F238E27FC236}">
                <a16:creationId xmlns:a16="http://schemas.microsoft.com/office/drawing/2014/main" id="{729C4491-431E-BEC4-C554-D8B972A52B4D}"/>
              </a:ext>
            </a:extLst>
          </p:cNvPr>
          <p:cNvSpPr>
            <a:spLocks noGrp="1"/>
          </p:cNvSpPr>
          <p:nvPr>
            <p:ph type="body" sz="quarter" idx="61" hasCustomPrompt="1"/>
          </p:nvPr>
        </p:nvSpPr>
        <p:spPr>
          <a:xfrm>
            <a:off x="550862" y="3546636"/>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50" name="Text Placeholder 12">
            <a:extLst>
              <a:ext uri="{FF2B5EF4-FFF2-40B4-BE49-F238E27FC236}">
                <a16:creationId xmlns:a16="http://schemas.microsoft.com/office/drawing/2014/main" id="{DBA4C49A-79C9-62D6-952E-53593BA8FDF3}"/>
              </a:ext>
            </a:extLst>
          </p:cNvPr>
          <p:cNvSpPr>
            <a:spLocks noGrp="1"/>
          </p:cNvSpPr>
          <p:nvPr>
            <p:ph type="body" sz="quarter" idx="62" hasCustomPrompt="1"/>
          </p:nvPr>
        </p:nvSpPr>
        <p:spPr>
          <a:xfrm>
            <a:off x="3359150" y="3546636"/>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51" name="Text Placeholder 12">
            <a:extLst>
              <a:ext uri="{FF2B5EF4-FFF2-40B4-BE49-F238E27FC236}">
                <a16:creationId xmlns:a16="http://schemas.microsoft.com/office/drawing/2014/main" id="{7E41E13C-D5F5-BD38-259C-D1942D2200D9}"/>
              </a:ext>
            </a:extLst>
          </p:cNvPr>
          <p:cNvSpPr>
            <a:spLocks noGrp="1"/>
          </p:cNvSpPr>
          <p:nvPr>
            <p:ph type="body" sz="quarter" idx="63" hasCustomPrompt="1"/>
          </p:nvPr>
        </p:nvSpPr>
        <p:spPr>
          <a:xfrm>
            <a:off x="6167437" y="5163320"/>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52" name="Text Placeholder 12">
            <a:extLst>
              <a:ext uri="{FF2B5EF4-FFF2-40B4-BE49-F238E27FC236}">
                <a16:creationId xmlns:a16="http://schemas.microsoft.com/office/drawing/2014/main" id="{54C70E94-353C-A5EB-BD45-32DB6E8C78EF}"/>
              </a:ext>
            </a:extLst>
          </p:cNvPr>
          <p:cNvSpPr>
            <a:spLocks noGrp="1"/>
          </p:cNvSpPr>
          <p:nvPr>
            <p:ph type="body" sz="quarter" idx="64" hasCustomPrompt="1"/>
          </p:nvPr>
        </p:nvSpPr>
        <p:spPr>
          <a:xfrm>
            <a:off x="8981446" y="5163320"/>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6" name="Text Placeholder 12">
            <a:extLst>
              <a:ext uri="{FF2B5EF4-FFF2-40B4-BE49-F238E27FC236}">
                <a16:creationId xmlns:a16="http://schemas.microsoft.com/office/drawing/2014/main" id="{54DDFC76-55A0-6FD0-7915-56E53DF28213}"/>
              </a:ext>
            </a:extLst>
          </p:cNvPr>
          <p:cNvSpPr>
            <a:spLocks noGrp="1"/>
          </p:cNvSpPr>
          <p:nvPr>
            <p:ph type="body" sz="quarter" idx="65"/>
          </p:nvPr>
        </p:nvSpPr>
        <p:spPr>
          <a:xfrm>
            <a:off x="3359150" y="3968750"/>
            <a:ext cx="2268000" cy="1436074"/>
          </a:xfrm>
          <a:noFill/>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stStyle>
          <a:p>
            <a:pPr marL="144000" lvl="0" indent="-144000">
              <a:spcBef>
                <a:spcPts val="300"/>
              </a:spcBef>
            </a:pPr>
            <a:r>
              <a:rPr lang="en-US"/>
              <a:t>Click to edit Master text styles</a:t>
            </a:r>
          </a:p>
          <a:p>
            <a:pPr marL="288000" lvl="1" indent="-144000">
              <a:spcBef>
                <a:spcPts val="300"/>
              </a:spcBef>
            </a:pPr>
            <a:r>
              <a:rPr lang="en-US"/>
              <a:t>Second level</a:t>
            </a:r>
          </a:p>
          <a:p>
            <a:pPr marL="432000" lvl="2" indent="-144000">
              <a:spcBef>
                <a:spcPts val="600"/>
              </a:spcBef>
            </a:pPr>
            <a:r>
              <a:rPr lang="en-US"/>
              <a:t>Third level</a:t>
            </a:r>
          </a:p>
        </p:txBody>
      </p:sp>
    </p:spTree>
    <p:extLst>
      <p:ext uri="{BB962C8B-B14F-4D97-AF65-F5344CB8AC3E}">
        <p14:creationId xmlns:p14="http://schemas.microsoft.com/office/powerpoint/2010/main" val="106757739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x Prof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10693824"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1069382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5" name="Picture Placeholder 15">
            <a:extLst>
              <a:ext uri="{FF2B5EF4-FFF2-40B4-BE49-F238E27FC236}">
                <a16:creationId xmlns:a16="http://schemas.microsoft.com/office/drawing/2014/main" id="{F0399FF5-9649-B959-9DCF-DAECACBCDEEC}"/>
              </a:ext>
            </a:extLst>
          </p:cNvPr>
          <p:cNvSpPr>
            <a:spLocks noGrp="1"/>
          </p:cNvSpPr>
          <p:nvPr>
            <p:ph type="pic" sz="quarter" idx="20" hasCustomPrompt="1"/>
          </p:nvPr>
        </p:nvSpPr>
        <p:spPr>
          <a:xfrm>
            <a:off x="551231" y="1270001"/>
            <a:ext cx="900000" cy="900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15" name="Text Placeholder 12">
            <a:extLst>
              <a:ext uri="{FF2B5EF4-FFF2-40B4-BE49-F238E27FC236}">
                <a16:creationId xmlns:a16="http://schemas.microsoft.com/office/drawing/2014/main" id="{2EB5C14C-C39B-2AB9-B522-0DF5FF3D5837}"/>
              </a:ext>
            </a:extLst>
          </p:cNvPr>
          <p:cNvSpPr>
            <a:spLocks noGrp="1"/>
          </p:cNvSpPr>
          <p:nvPr>
            <p:ph type="body" sz="quarter" idx="35"/>
          </p:nvPr>
        </p:nvSpPr>
        <p:spPr>
          <a:xfrm>
            <a:off x="550863"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3" name="Text Placeholder 12">
            <a:extLst>
              <a:ext uri="{FF2B5EF4-FFF2-40B4-BE49-F238E27FC236}">
                <a16:creationId xmlns:a16="http://schemas.microsoft.com/office/drawing/2014/main" id="{1BA6A2D1-C9D1-CA87-309E-3B0291E5E03B}"/>
              </a:ext>
            </a:extLst>
          </p:cNvPr>
          <p:cNvSpPr>
            <a:spLocks noGrp="1"/>
          </p:cNvSpPr>
          <p:nvPr>
            <p:ph type="body" sz="quarter" idx="16" hasCustomPrompt="1"/>
          </p:nvPr>
        </p:nvSpPr>
        <p:spPr>
          <a:xfrm>
            <a:off x="550862" y="2311763"/>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4" name="Picture Placeholder 15">
            <a:extLst>
              <a:ext uri="{FF2B5EF4-FFF2-40B4-BE49-F238E27FC236}">
                <a16:creationId xmlns:a16="http://schemas.microsoft.com/office/drawing/2014/main" id="{10069ACE-433B-A5F4-FF33-ADC28DEDA097}"/>
              </a:ext>
            </a:extLst>
          </p:cNvPr>
          <p:cNvSpPr>
            <a:spLocks noGrp="1"/>
          </p:cNvSpPr>
          <p:nvPr>
            <p:ph type="pic" sz="quarter" idx="36" hasCustomPrompt="1"/>
          </p:nvPr>
        </p:nvSpPr>
        <p:spPr>
          <a:xfrm>
            <a:off x="3359519" y="1270001"/>
            <a:ext cx="900000" cy="900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25" name="Text Placeholder 12">
            <a:extLst>
              <a:ext uri="{FF2B5EF4-FFF2-40B4-BE49-F238E27FC236}">
                <a16:creationId xmlns:a16="http://schemas.microsoft.com/office/drawing/2014/main" id="{21767CA1-850A-4E7F-6BAC-16411AA7D716}"/>
              </a:ext>
            </a:extLst>
          </p:cNvPr>
          <p:cNvSpPr>
            <a:spLocks noGrp="1"/>
          </p:cNvSpPr>
          <p:nvPr>
            <p:ph type="body" sz="quarter" idx="37"/>
          </p:nvPr>
        </p:nvSpPr>
        <p:spPr>
          <a:xfrm>
            <a:off x="3359151"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6" name="Text Placeholder 12">
            <a:extLst>
              <a:ext uri="{FF2B5EF4-FFF2-40B4-BE49-F238E27FC236}">
                <a16:creationId xmlns:a16="http://schemas.microsoft.com/office/drawing/2014/main" id="{E37CC15E-DD99-78F2-2AAE-67D44E4A283C}"/>
              </a:ext>
            </a:extLst>
          </p:cNvPr>
          <p:cNvSpPr>
            <a:spLocks noGrp="1"/>
          </p:cNvSpPr>
          <p:nvPr>
            <p:ph type="body" sz="quarter" idx="38" hasCustomPrompt="1"/>
          </p:nvPr>
        </p:nvSpPr>
        <p:spPr>
          <a:xfrm>
            <a:off x="3359150" y="2311763"/>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27" name="Picture Placeholder 15">
            <a:extLst>
              <a:ext uri="{FF2B5EF4-FFF2-40B4-BE49-F238E27FC236}">
                <a16:creationId xmlns:a16="http://schemas.microsoft.com/office/drawing/2014/main" id="{27654ED8-01A8-D1FE-3820-89D5B49A47F6}"/>
              </a:ext>
            </a:extLst>
          </p:cNvPr>
          <p:cNvSpPr>
            <a:spLocks noGrp="1"/>
          </p:cNvSpPr>
          <p:nvPr>
            <p:ph type="pic" sz="quarter" idx="39" hasCustomPrompt="1"/>
          </p:nvPr>
        </p:nvSpPr>
        <p:spPr>
          <a:xfrm>
            <a:off x="6167437" y="1270001"/>
            <a:ext cx="900000" cy="900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28" name="Text Placeholder 12">
            <a:extLst>
              <a:ext uri="{FF2B5EF4-FFF2-40B4-BE49-F238E27FC236}">
                <a16:creationId xmlns:a16="http://schemas.microsoft.com/office/drawing/2014/main" id="{2618AB31-9EE4-B0FA-1912-B680B15254CB}"/>
              </a:ext>
            </a:extLst>
          </p:cNvPr>
          <p:cNvSpPr>
            <a:spLocks noGrp="1"/>
          </p:cNvSpPr>
          <p:nvPr>
            <p:ph type="body" sz="quarter" idx="40"/>
          </p:nvPr>
        </p:nvSpPr>
        <p:spPr>
          <a:xfrm>
            <a:off x="6167437"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29" name="Text Placeholder 12">
            <a:extLst>
              <a:ext uri="{FF2B5EF4-FFF2-40B4-BE49-F238E27FC236}">
                <a16:creationId xmlns:a16="http://schemas.microsoft.com/office/drawing/2014/main" id="{FFB9ADBC-E4B6-3784-421C-A4EFC1B7C5F1}"/>
              </a:ext>
            </a:extLst>
          </p:cNvPr>
          <p:cNvSpPr>
            <a:spLocks noGrp="1"/>
          </p:cNvSpPr>
          <p:nvPr>
            <p:ph type="body" sz="quarter" idx="41" hasCustomPrompt="1"/>
          </p:nvPr>
        </p:nvSpPr>
        <p:spPr>
          <a:xfrm>
            <a:off x="6167437" y="2311763"/>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0" name="Picture Placeholder 15">
            <a:extLst>
              <a:ext uri="{FF2B5EF4-FFF2-40B4-BE49-F238E27FC236}">
                <a16:creationId xmlns:a16="http://schemas.microsoft.com/office/drawing/2014/main" id="{090BA775-0FAF-3B62-608B-8FFFDAC8C6A8}"/>
              </a:ext>
            </a:extLst>
          </p:cNvPr>
          <p:cNvSpPr>
            <a:spLocks noGrp="1"/>
          </p:cNvSpPr>
          <p:nvPr>
            <p:ph type="pic" sz="quarter" idx="42" hasCustomPrompt="1"/>
          </p:nvPr>
        </p:nvSpPr>
        <p:spPr>
          <a:xfrm>
            <a:off x="8981446" y="1270001"/>
            <a:ext cx="900000" cy="900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31" name="Text Placeholder 12">
            <a:extLst>
              <a:ext uri="{FF2B5EF4-FFF2-40B4-BE49-F238E27FC236}">
                <a16:creationId xmlns:a16="http://schemas.microsoft.com/office/drawing/2014/main" id="{A4516BE6-7228-94F3-8A7A-1E37960B7528}"/>
              </a:ext>
            </a:extLst>
          </p:cNvPr>
          <p:cNvSpPr>
            <a:spLocks noGrp="1"/>
          </p:cNvSpPr>
          <p:nvPr>
            <p:ph type="body" sz="quarter" idx="43"/>
          </p:nvPr>
        </p:nvSpPr>
        <p:spPr>
          <a:xfrm>
            <a:off x="8981446" y="3068637"/>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2" name="Text Placeholder 12">
            <a:extLst>
              <a:ext uri="{FF2B5EF4-FFF2-40B4-BE49-F238E27FC236}">
                <a16:creationId xmlns:a16="http://schemas.microsoft.com/office/drawing/2014/main" id="{3588081C-BD44-BBE8-D377-92B62904A549}"/>
              </a:ext>
            </a:extLst>
          </p:cNvPr>
          <p:cNvSpPr>
            <a:spLocks noGrp="1"/>
          </p:cNvSpPr>
          <p:nvPr>
            <p:ph type="body" sz="quarter" idx="44" hasCustomPrompt="1"/>
          </p:nvPr>
        </p:nvSpPr>
        <p:spPr>
          <a:xfrm>
            <a:off x="8981446" y="2311763"/>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3" name="Picture Placeholder 15">
            <a:extLst>
              <a:ext uri="{FF2B5EF4-FFF2-40B4-BE49-F238E27FC236}">
                <a16:creationId xmlns:a16="http://schemas.microsoft.com/office/drawing/2014/main" id="{EA3D41BA-AEEA-96AC-53A8-EE9C4600C18F}"/>
              </a:ext>
            </a:extLst>
          </p:cNvPr>
          <p:cNvSpPr>
            <a:spLocks noGrp="1"/>
          </p:cNvSpPr>
          <p:nvPr>
            <p:ph type="pic" sz="quarter" idx="45" hasCustomPrompt="1"/>
          </p:nvPr>
        </p:nvSpPr>
        <p:spPr>
          <a:xfrm>
            <a:off x="551231" y="3790587"/>
            <a:ext cx="900000" cy="900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34" name="Text Placeholder 12">
            <a:extLst>
              <a:ext uri="{FF2B5EF4-FFF2-40B4-BE49-F238E27FC236}">
                <a16:creationId xmlns:a16="http://schemas.microsoft.com/office/drawing/2014/main" id="{3166EF9B-1EAF-2D91-282C-4F324D7791B0}"/>
              </a:ext>
            </a:extLst>
          </p:cNvPr>
          <p:cNvSpPr>
            <a:spLocks noGrp="1"/>
          </p:cNvSpPr>
          <p:nvPr>
            <p:ph type="body" sz="quarter" idx="46"/>
          </p:nvPr>
        </p:nvSpPr>
        <p:spPr>
          <a:xfrm>
            <a:off x="550863"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5" name="Text Placeholder 12">
            <a:extLst>
              <a:ext uri="{FF2B5EF4-FFF2-40B4-BE49-F238E27FC236}">
                <a16:creationId xmlns:a16="http://schemas.microsoft.com/office/drawing/2014/main" id="{07E14275-13C8-E05E-C524-07E8FDA5157C}"/>
              </a:ext>
            </a:extLst>
          </p:cNvPr>
          <p:cNvSpPr>
            <a:spLocks noGrp="1"/>
          </p:cNvSpPr>
          <p:nvPr>
            <p:ph type="body" sz="quarter" idx="47" hasCustomPrompt="1"/>
          </p:nvPr>
        </p:nvSpPr>
        <p:spPr>
          <a:xfrm>
            <a:off x="550862" y="4832349"/>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6" name="Picture Placeholder 15">
            <a:extLst>
              <a:ext uri="{FF2B5EF4-FFF2-40B4-BE49-F238E27FC236}">
                <a16:creationId xmlns:a16="http://schemas.microsoft.com/office/drawing/2014/main" id="{1CB67B3F-7653-7693-9A99-87EB4369E1B0}"/>
              </a:ext>
            </a:extLst>
          </p:cNvPr>
          <p:cNvSpPr>
            <a:spLocks noGrp="1"/>
          </p:cNvSpPr>
          <p:nvPr>
            <p:ph type="pic" sz="quarter" idx="48" hasCustomPrompt="1"/>
          </p:nvPr>
        </p:nvSpPr>
        <p:spPr>
          <a:xfrm>
            <a:off x="3359519" y="3790587"/>
            <a:ext cx="900000" cy="900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37" name="Text Placeholder 12">
            <a:extLst>
              <a:ext uri="{FF2B5EF4-FFF2-40B4-BE49-F238E27FC236}">
                <a16:creationId xmlns:a16="http://schemas.microsoft.com/office/drawing/2014/main" id="{5633B343-3276-FFE0-E133-78FCC4586C5D}"/>
              </a:ext>
            </a:extLst>
          </p:cNvPr>
          <p:cNvSpPr>
            <a:spLocks noGrp="1"/>
          </p:cNvSpPr>
          <p:nvPr>
            <p:ph type="body" sz="quarter" idx="49"/>
          </p:nvPr>
        </p:nvSpPr>
        <p:spPr>
          <a:xfrm>
            <a:off x="3359151"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38" name="Text Placeholder 12">
            <a:extLst>
              <a:ext uri="{FF2B5EF4-FFF2-40B4-BE49-F238E27FC236}">
                <a16:creationId xmlns:a16="http://schemas.microsoft.com/office/drawing/2014/main" id="{C9B048A9-0972-A797-F369-1DE2D85AB2AF}"/>
              </a:ext>
            </a:extLst>
          </p:cNvPr>
          <p:cNvSpPr>
            <a:spLocks noGrp="1"/>
          </p:cNvSpPr>
          <p:nvPr>
            <p:ph type="body" sz="quarter" idx="50" hasCustomPrompt="1"/>
          </p:nvPr>
        </p:nvSpPr>
        <p:spPr>
          <a:xfrm>
            <a:off x="3359150" y="4832349"/>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39" name="Picture Placeholder 15">
            <a:extLst>
              <a:ext uri="{FF2B5EF4-FFF2-40B4-BE49-F238E27FC236}">
                <a16:creationId xmlns:a16="http://schemas.microsoft.com/office/drawing/2014/main" id="{EEE724BB-CF04-4BA5-3E97-50ABFDA075D5}"/>
              </a:ext>
            </a:extLst>
          </p:cNvPr>
          <p:cNvSpPr>
            <a:spLocks noGrp="1"/>
          </p:cNvSpPr>
          <p:nvPr>
            <p:ph type="pic" sz="quarter" idx="51" hasCustomPrompt="1"/>
          </p:nvPr>
        </p:nvSpPr>
        <p:spPr>
          <a:xfrm>
            <a:off x="6167437" y="3790587"/>
            <a:ext cx="900000" cy="900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40" name="Text Placeholder 12">
            <a:extLst>
              <a:ext uri="{FF2B5EF4-FFF2-40B4-BE49-F238E27FC236}">
                <a16:creationId xmlns:a16="http://schemas.microsoft.com/office/drawing/2014/main" id="{4C60F514-6C86-508D-7B36-0F00CCFE330E}"/>
              </a:ext>
            </a:extLst>
          </p:cNvPr>
          <p:cNvSpPr>
            <a:spLocks noGrp="1"/>
          </p:cNvSpPr>
          <p:nvPr>
            <p:ph type="body" sz="quarter" idx="52"/>
          </p:nvPr>
        </p:nvSpPr>
        <p:spPr>
          <a:xfrm>
            <a:off x="6167437"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41" name="Text Placeholder 12">
            <a:extLst>
              <a:ext uri="{FF2B5EF4-FFF2-40B4-BE49-F238E27FC236}">
                <a16:creationId xmlns:a16="http://schemas.microsoft.com/office/drawing/2014/main" id="{619DCB73-639A-6611-985F-E7FF07FA9408}"/>
              </a:ext>
            </a:extLst>
          </p:cNvPr>
          <p:cNvSpPr>
            <a:spLocks noGrp="1"/>
          </p:cNvSpPr>
          <p:nvPr>
            <p:ph type="body" sz="quarter" idx="53" hasCustomPrompt="1"/>
          </p:nvPr>
        </p:nvSpPr>
        <p:spPr>
          <a:xfrm>
            <a:off x="6167437" y="4832349"/>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2" name="Picture Placeholder 15">
            <a:extLst>
              <a:ext uri="{FF2B5EF4-FFF2-40B4-BE49-F238E27FC236}">
                <a16:creationId xmlns:a16="http://schemas.microsoft.com/office/drawing/2014/main" id="{620D7DC7-38B5-58A0-4239-E47C805C654B}"/>
              </a:ext>
            </a:extLst>
          </p:cNvPr>
          <p:cNvSpPr>
            <a:spLocks noGrp="1"/>
          </p:cNvSpPr>
          <p:nvPr>
            <p:ph type="pic" sz="quarter" idx="54" hasCustomPrompt="1"/>
          </p:nvPr>
        </p:nvSpPr>
        <p:spPr>
          <a:xfrm>
            <a:off x="8981446" y="3790587"/>
            <a:ext cx="900000" cy="900000"/>
          </a:xfrm>
          <a:prstGeom prst="ellipse">
            <a:avLst/>
          </a:prstGeom>
          <a:solidFill>
            <a:schemeClr val="tx1">
              <a:lumMod val="75000"/>
              <a:lumOff val="25000"/>
            </a:schemeClr>
          </a:solidFill>
        </p:spPr>
        <p:txBody>
          <a:bodyPr tIns="0" anchor="ctr" anchorCtr="0"/>
          <a:lstStyle>
            <a:lvl1pPr marL="0" indent="0" algn="ctr">
              <a:buNone/>
              <a:defRPr sz="1000">
                <a:solidFill>
                  <a:schemeClr val="accent1"/>
                </a:solidFill>
                <a:latin typeface="+mn-lt"/>
              </a:defRPr>
            </a:lvl1pPr>
          </a:lstStyle>
          <a:p>
            <a:pPr lvl="0"/>
            <a:r>
              <a:rPr lang="en-GB"/>
              <a:t>insert profile pic</a:t>
            </a:r>
          </a:p>
        </p:txBody>
      </p:sp>
      <p:sp>
        <p:nvSpPr>
          <p:cNvPr id="43" name="Text Placeholder 12">
            <a:extLst>
              <a:ext uri="{FF2B5EF4-FFF2-40B4-BE49-F238E27FC236}">
                <a16:creationId xmlns:a16="http://schemas.microsoft.com/office/drawing/2014/main" id="{52AA6AB4-75D7-5FD8-94E1-0A3579B12732}"/>
              </a:ext>
            </a:extLst>
          </p:cNvPr>
          <p:cNvSpPr>
            <a:spLocks noGrp="1"/>
          </p:cNvSpPr>
          <p:nvPr>
            <p:ph type="body" sz="quarter" idx="55"/>
          </p:nvPr>
        </p:nvSpPr>
        <p:spPr>
          <a:xfrm>
            <a:off x="8981446" y="5589223"/>
            <a:ext cx="2268000" cy="539751"/>
          </a:xfrm>
        </p:spPr>
        <p:txBody>
          <a:bodyPr/>
          <a:lstStyle>
            <a:lvl1pPr marL="144000" indent="-144000">
              <a:spcBef>
                <a:spcPts val="300"/>
              </a:spcBef>
              <a:defRPr sz="1200"/>
            </a:lvl1pPr>
            <a:lvl2pPr marL="288000" indent="-144000">
              <a:spcBef>
                <a:spcPts val="300"/>
              </a:spcBef>
              <a:defRPr sz="1200"/>
            </a:lvl2pPr>
            <a:lvl3pPr marL="432000" indent="-144000">
              <a:spcBef>
                <a:spcPts val="600"/>
              </a:spcBef>
              <a:defRPr sz="1200"/>
            </a:lvl3pPr>
            <a:lvl4pPr marL="576000" indent="-144000">
              <a:spcBef>
                <a:spcPts val="600"/>
              </a:spcBef>
              <a:buClr>
                <a:schemeClr val="accent1"/>
              </a:buClr>
              <a:defRPr sz="1200"/>
            </a:lvl4pPr>
            <a:lvl5pPr marL="720000" indent="-144000">
              <a:spcBef>
                <a:spcPts val="600"/>
              </a:spcBef>
              <a:buClr>
                <a:schemeClr val="accent1"/>
              </a:buClr>
              <a:defRPr sz="1200"/>
            </a:lvl5pPr>
          </a:lstStyle>
          <a:p>
            <a:pPr lvl="0"/>
            <a:r>
              <a:rPr lang="en-US"/>
              <a:t>Click to edit Master text styles</a:t>
            </a:r>
          </a:p>
          <a:p>
            <a:pPr lvl="1"/>
            <a:r>
              <a:rPr lang="en-US"/>
              <a:t>Second level</a:t>
            </a:r>
          </a:p>
        </p:txBody>
      </p:sp>
      <p:sp>
        <p:nvSpPr>
          <p:cNvPr id="44" name="Text Placeholder 12">
            <a:extLst>
              <a:ext uri="{FF2B5EF4-FFF2-40B4-BE49-F238E27FC236}">
                <a16:creationId xmlns:a16="http://schemas.microsoft.com/office/drawing/2014/main" id="{8852589B-60D7-C4CE-4B17-949DB1679A18}"/>
              </a:ext>
            </a:extLst>
          </p:cNvPr>
          <p:cNvSpPr>
            <a:spLocks noGrp="1"/>
          </p:cNvSpPr>
          <p:nvPr>
            <p:ph type="body" sz="quarter" idx="56" hasCustomPrompt="1"/>
          </p:nvPr>
        </p:nvSpPr>
        <p:spPr>
          <a:xfrm>
            <a:off x="8981446" y="4832349"/>
            <a:ext cx="2268000" cy="270168"/>
          </a:xfrm>
        </p:spPr>
        <p:txBody>
          <a:bodyPr anchor="b" anchorCtr="0"/>
          <a:lstStyle>
            <a:lvl1pPr marL="0" indent="0" algn="l">
              <a:lnSpc>
                <a:spcPct val="85000"/>
              </a:lnSpc>
              <a:buNone/>
              <a:defRPr sz="1800">
                <a:solidFill>
                  <a:schemeClr val="accent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Forename Surname</a:t>
            </a:r>
          </a:p>
        </p:txBody>
      </p:sp>
      <p:sp>
        <p:nvSpPr>
          <p:cNvPr id="45" name="Text Placeholder 12">
            <a:extLst>
              <a:ext uri="{FF2B5EF4-FFF2-40B4-BE49-F238E27FC236}">
                <a16:creationId xmlns:a16="http://schemas.microsoft.com/office/drawing/2014/main" id="{0C143002-4A13-3C6F-6382-30ADD0C1B28B}"/>
              </a:ext>
            </a:extLst>
          </p:cNvPr>
          <p:cNvSpPr>
            <a:spLocks noGrp="1"/>
          </p:cNvSpPr>
          <p:nvPr>
            <p:ph type="body" sz="quarter" idx="57" hasCustomPrompt="1"/>
          </p:nvPr>
        </p:nvSpPr>
        <p:spPr>
          <a:xfrm>
            <a:off x="550862" y="2642734"/>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6" name="Text Placeholder 12">
            <a:extLst>
              <a:ext uri="{FF2B5EF4-FFF2-40B4-BE49-F238E27FC236}">
                <a16:creationId xmlns:a16="http://schemas.microsoft.com/office/drawing/2014/main" id="{FCAA7932-2491-E19F-F43E-926BEC1B4449}"/>
              </a:ext>
            </a:extLst>
          </p:cNvPr>
          <p:cNvSpPr>
            <a:spLocks noGrp="1"/>
          </p:cNvSpPr>
          <p:nvPr>
            <p:ph type="body" sz="quarter" idx="58" hasCustomPrompt="1"/>
          </p:nvPr>
        </p:nvSpPr>
        <p:spPr>
          <a:xfrm>
            <a:off x="3359150" y="2642734"/>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7" name="Text Placeholder 12">
            <a:extLst>
              <a:ext uri="{FF2B5EF4-FFF2-40B4-BE49-F238E27FC236}">
                <a16:creationId xmlns:a16="http://schemas.microsoft.com/office/drawing/2014/main" id="{6536A327-7419-C103-F6A2-9A088DBA02E3}"/>
              </a:ext>
            </a:extLst>
          </p:cNvPr>
          <p:cNvSpPr>
            <a:spLocks noGrp="1"/>
          </p:cNvSpPr>
          <p:nvPr>
            <p:ph type="body" sz="quarter" idx="59" hasCustomPrompt="1"/>
          </p:nvPr>
        </p:nvSpPr>
        <p:spPr>
          <a:xfrm>
            <a:off x="6167437" y="2642734"/>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8" name="Text Placeholder 12">
            <a:extLst>
              <a:ext uri="{FF2B5EF4-FFF2-40B4-BE49-F238E27FC236}">
                <a16:creationId xmlns:a16="http://schemas.microsoft.com/office/drawing/2014/main" id="{EECF5BC7-CFF8-A868-D488-9C551C4E632F}"/>
              </a:ext>
            </a:extLst>
          </p:cNvPr>
          <p:cNvSpPr>
            <a:spLocks noGrp="1"/>
          </p:cNvSpPr>
          <p:nvPr>
            <p:ph type="body" sz="quarter" idx="60" hasCustomPrompt="1"/>
          </p:nvPr>
        </p:nvSpPr>
        <p:spPr>
          <a:xfrm>
            <a:off x="8981446" y="2642734"/>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49" name="Text Placeholder 12">
            <a:extLst>
              <a:ext uri="{FF2B5EF4-FFF2-40B4-BE49-F238E27FC236}">
                <a16:creationId xmlns:a16="http://schemas.microsoft.com/office/drawing/2014/main" id="{729C4491-431E-BEC4-C554-D8B972A52B4D}"/>
              </a:ext>
            </a:extLst>
          </p:cNvPr>
          <p:cNvSpPr>
            <a:spLocks noGrp="1"/>
          </p:cNvSpPr>
          <p:nvPr>
            <p:ph type="body" sz="quarter" idx="61" hasCustomPrompt="1"/>
          </p:nvPr>
        </p:nvSpPr>
        <p:spPr>
          <a:xfrm>
            <a:off x="550862" y="5163320"/>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50" name="Text Placeholder 12">
            <a:extLst>
              <a:ext uri="{FF2B5EF4-FFF2-40B4-BE49-F238E27FC236}">
                <a16:creationId xmlns:a16="http://schemas.microsoft.com/office/drawing/2014/main" id="{DBA4C49A-79C9-62D6-952E-53593BA8FDF3}"/>
              </a:ext>
            </a:extLst>
          </p:cNvPr>
          <p:cNvSpPr>
            <a:spLocks noGrp="1"/>
          </p:cNvSpPr>
          <p:nvPr>
            <p:ph type="body" sz="quarter" idx="62" hasCustomPrompt="1"/>
          </p:nvPr>
        </p:nvSpPr>
        <p:spPr>
          <a:xfrm>
            <a:off x="3359150" y="5163320"/>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51" name="Text Placeholder 12">
            <a:extLst>
              <a:ext uri="{FF2B5EF4-FFF2-40B4-BE49-F238E27FC236}">
                <a16:creationId xmlns:a16="http://schemas.microsoft.com/office/drawing/2014/main" id="{7E41E13C-D5F5-BD38-259C-D1942D2200D9}"/>
              </a:ext>
            </a:extLst>
          </p:cNvPr>
          <p:cNvSpPr>
            <a:spLocks noGrp="1"/>
          </p:cNvSpPr>
          <p:nvPr>
            <p:ph type="body" sz="quarter" idx="63" hasCustomPrompt="1"/>
          </p:nvPr>
        </p:nvSpPr>
        <p:spPr>
          <a:xfrm>
            <a:off x="6167437" y="5163320"/>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
        <p:nvSpPr>
          <p:cNvPr id="52" name="Text Placeholder 12">
            <a:extLst>
              <a:ext uri="{FF2B5EF4-FFF2-40B4-BE49-F238E27FC236}">
                <a16:creationId xmlns:a16="http://schemas.microsoft.com/office/drawing/2014/main" id="{54C70E94-353C-A5EB-BD45-32DB6E8C78EF}"/>
              </a:ext>
            </a:extLst>
          </p:cNvPr>
          <p:cNvSpPr>
            <a:spLocks noGrp="1"/>
          </p:cNvSpPr>
          <p:nvPr>
            <p:ph type="body" sz="quarter" idx="64" hasCustomPrompt="1"/>
          </p:nvPr>
        </p:nvSpPr>
        <p:spPr>
          <a:xfrm>
            <a:off x="8981446" y="5163320"/>
            <a:ext cx="2268000" cy="243704"/>
          </a:xfrm>
        </p:spPr>
        <p:txBody>
          <a:bodyPr anchor="b" anchorCtr="0"/>
          <a:lstStyle>
            <a:lvl1pPr marL="0" indent="0" algn="l">
              <a:lnSpc>
                <a:spcPct val="85000"/>
              </a:lnSpc>
              <a:buNone/>
              <a:defRPr sz="1200">
                <a:solidFill>
                  <a:schemeClr val="bg1"/>
                </a:solidFill>
                <a:latin typeface="+mj-lt"/>
              </a:defRPr>
            </a:lvl1pPr>
            <a:lvl2pPr marL="180000" indent="0" algn="ctr">
              <a:buNone/>
              <a:defRPr sz="1800">
                <a:solidFill>
                  <a:schemeClr val="bg1"/>
                </a:solidFill>
              </a:defRPr>
            </a:lvl2pPr>
            <a:lvl3pPr marL="360000" indent="0" algn="ctr">
              <a:buNone/>
              <a:defRPr sz="1800">
                <a:solidFill>
                  <a:schemeClr val="bg1"/>
                </a:solidFill>
              </a:defRPr>
            </a:lvl3pPr>
            <a:lvl4pPr marL="0" indent="0" algn="ctr">
              <a:buClr>
                <a:schemeClr val="tx1"/>
              </a:buClr>
              <a:buNone/>
              <a:defRPr sz="1800">
                <a:solidFill>
                  <a:schemeClr val="bg1"/>
                </a:solidFill>
              </a:defRPr>
            </a:lvl4pPr>
            <a:lvl5pPr marL="180000" indent="0" algn="ctr">
              <a:buClr>
                <a:schemeClr val="tx1"/>
              </a:buClr>
              <a:buNone/>
              <a:defRPr sz="1800">
                <a:solidFill>
                  <a:schemeClr val="bg1"/>
                </a:solidFill>
              </a:defRPr>
            </a:lvl5pPr>
          </a:lstStyle>
          <a:p>
            <a:pPr lvl="0"/>
            <a:r>
              <a:rPr lang="en-US"/>
              <a:t>Job title goes here</a:t>
            </a:r>
          </a:p>
        </p:txBody>
      </p:sp>
    </p:spTree>
    <p:extLst>
      <p:ext uri="{BB962C8B-B14F-4D97-AF65-F5344CB8AC3E}">
        <p14:creationId xmlns:p14="http://schemas.microsoft.com/office/powerpoint/2010/main" val="145484529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2 Text / Chart">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4D6BA4-D604-62D4-D773-AC040EB4AA38}"/>
              </a:ext>
            </a:extLst>
          </p:cNvPr>
          <p:cNvSpPr/>
          <p:nvPr userDrawn="1"/>
        </p:nvSpPr>
        <p:spPr>
          <a:xfrm>
            <a:off x="4151313" y="1"/>
            <a:ext cx="804068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3211511" cy="251885"/>
          </a:xfrm>
        </p:spPr>
        <p:txBody>
          <a:bodyPr/>
          <a:lstStyle>
            <a:lvl1pPr>
              <a:defRPr>
                <a:solidFill>
                  <a:schemeClr val="accent1"/>
                </a:solidFill>
              </a:defRPr>
            </a:lvl1pPr>
          </a:lstStyle>
          <a:p>
            <a:r>
              <a:rPr lang="en-US"/>
              <a:t>Header avenir demi </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3211511"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5" y="1808163"/>
            <a:ext cx="3211510" cy="4321175"/>
          </a:xfrm>
        </p:spPr>
        <p:txBody>
          <a:bodyPr/>
          <a:lstStyle>
            <a:lvl4pPr>
              <a:buClr>
                <a:schemeClr val="bg1"/>
              </a:buClr>
              <a:defRPr/>
            </a:lvl4pPr>
            <a:lvl5pPr>
              <a:buClr>
                <a:schemeClr val="bg1"/>
              </a:buClr>
              <a:defRPr/>
            </a:lvl5pPr>
          </a:lstStyle>
          <a:p>
            <a:pPr lvl="0"/>
            <a:r>
              <a:rPr lang="en-US"/>
              <a:t>Click to edit Master text styles</a:t>
            </a:r>
          </a:p>
          <a:p>
            <a:pPr lvl="1"/>
            <a:r>
              <a:rPr lang="en-US"/>
              <a:t>Second level</a:t>
            </a:r>
          </a:p>
          <a:p>
            <a:pPr lvl="2"/>
            <a:r>
              <a:rPr lang="en-US"/>
              <a:t>Third level</a:t>
            </a:r>
          </a:p>
        </p:txBody>
      </p:sp>
      <p:sp>
        <p:nvSpPr>
          <p:cNvPr id="11" name="Chart Placeholder 10">
            <a:extLst>
              <a:ext uri="{FF2B5EF4-FFF2-40B4-BE49-F238E27FC236}">
                <a16:creationId xmlns:a16="http://schemas.microsoft.com/office/drawing/2014/main" id="{5951116A-40CB-A706-A107-C78DBAFDEBFE}"/>
              </a:ext>
            </a:extLst>
          </p:cNvPr>
          <p:cNvSpPr>
            <a:spLocks noGrp="1"/>
          </p:cNvSpPr>
          <p:nvPr>
            <p:ph type="chart" sz="quarter" idx="15" hasCustomPrompt="1"/>
          </p:nvPr>
        </p:nvSpPr>
        <p:spPr>
          <a:xfrm>
            <a:off x="4690801" y="1089025"/>
            <a:ext cx="6950338" cy="3060700"/>
          </a:xfrm>
        </p:spPr>
        <p:txBody>
          <a:bodyPr tIns="180000"/>
          <a:lstStyle>
            <a:lvl1pPr marL="0" indent="0" algn="ctr">
              <a:buNone/>
              <a:defRPr sz="1000">
                <a:solidFill>
                  <a:schemeClr val="accent1"/>
                </a:solidFill>
              </a:defRPr>
            </a:lvl1pPr>
          </a:lstStyle>
          <a:p>
            <a:r>
              <a:rPr lang="en-GB"/>
              <a:t>Click </a:t>
            </a:r>
            <a:r>
              <a:rPr lang="en-US" noProof="0"/>
              <a:t>center</a:t>
            </a:r>
            <a:r>
              <a:rPr lang="en-GB"/>
              <a:t> icon to insert graph or chart</a:t>
            </a:r>
          </a:p>
        </p:txBody>
      </p:sp>
      <p:sp>
        <p:nvSpPr>
          <p:cNvPr id="12" name="Text Placeholder 9">
            <a:extLst>
              <a:ext uri="{FF2B5EF4-FFF2-40B4-BE49-F238E27FC236}">
                <a16:creationId xmlns:a16="http://schemas.microsoft.com/office/drawing/2014/main" id="{A84DA8BB-5F30-09B1-E985-2D8FA21B48EE}"/>
              </a:ext>
            </a:extLst>
          </p:cNvPr>
          <p:cNvSpPr>
            <a:spLocks noGrp="1"/>
          </p:cNvSpPr>
          <p:nvPr>
            <p:ph type="body" sz="quarter" idx="16" hasCustomPrompt="1"/>
          </p:nvPr>
        </p:nvSpPr>
        <p:spPr>
          <a:xfrm>
            <a:off x="4690801" y="368828"/>
            <a:ext cx="6950334" cy="359835"/>
          </a:xfrm>
          <a:prstGeom prst="rect">
            <a:avLst/>
          </a:prstGeom>
        </p:spPr>
        <p:txBody>
          <a:bodyPr lIns="0" tIns="0" rIns="0" bIns="0" anchor="t" anchorCtr="0">
            <a:noAutofit/>
          </a:bodyPr>
          <a:lstStyle>
            <a:lvl1pPr marL="0" indent="0" algn="l">
              <a:buNone/>
              <a:defRPr sz="1400">
                <a:solidFill>
                  <a:schemeClr val="bg1"/>
                </a:solidFill>
                <a:latin typeface="+mn-lt"/>
              </a:defRPr>
            </a:lvl1pPr>
          </a:lstStyle>
          <a:p>
            <a:pPr lvl="0"/>
            <a:r>
              <a:rPr lang="en-US"/>
              <a:t>Avenir Demi 14pt lorem ipsum dolor sit </a:t>
            </a:r>
            <a:r>
              <a:rPr lang="en-US" err="1"/>
              <a:t>amet</a:t>
            </a:r>
            <a:endParaRPr lang="en-US"/>
          </a:p>
        </p:txBody>
      </p:sp>
      <p:sp>
        <p:nvSpPr>
          <p:cNvPr id="14" name="Text Placeholder 9">
            <a:extLst>
              <a:ext uri="{FF2B5EF4-FFF2-40B4-BE49-F238E27FC236}">
                <a16:creationId xmlns:a16="http://schemas.microsoft.com/office/drawing/2014/main" id="{EF72A8DE-339E-2B3D-4C89-58C8CE53CF5D}"/>
              </a:ext>
            </a:extLst>
          </p:cNvPr>
          <p:cNvSpPr>
            <a:spLocks noGrp="1"/>
          </p:cNvSpPr>
          <p:nvPr>
            <p:ph type="body" sz="quarter" idx="17" hasCustomPrompt="1"/>
          </p:nvPr>
        </p:nvSpPr>
        <p:spPr>
          <a:xfrm>
            <a:off x="5232400" y="4513789"/>
            <a:ext cx="1871664" cy="359835"/>
          </a:xfrm>
          <a:prstGeom prst="rect">
            <a:avLst/>
          </a:prstGeom>
        </p:spPr>
        <p:txBody>
          <a:bodyPr lIns="0" tIns="0" rIns="0" bIns="0" anchor="t" anchorCtr="0">
            <a:noAutofit/>
          </a:bodyPr>
          <a:lstStyle>
            <a:lvl1pPr marL="0" indent="0" algn="l">
              <a:buNone/>
              <a:defRPr sz="1200">
                <a:solidFill>
                  <a:schemeClr val="bg1"/>
                </a:solidFill>
                <a:latin typeface="+mn-lt"/>
              </a:defRPr>
            </a:lvl1pPr>
          </a:lstStyle>
          <a:p>
            <a:pPr lvl="0"/>
            <a:r>
              <a:rPr lang="en-US"/>
              <a:t>Avenir Demi 12pt lorem ipsum dolor sit </a:t>
            </a:r>
            <a:r>
              <a:rPr lang="en-US" err="1"/>
              <a:t>amet</a:t>
            </a:r>
            <a:endParaRPr lang="en-US"/>
          </a:p>
        </p:txBody>
      </p:sp>
      <p:sp>
        <p:nvSpPr>
          <p:cNvPr id="15" name="Text Placeholder 9">
            <a:extLst>
              <a:ext uri="{FF2B5EF4-FFF2-40B4-BE49-F238E27FC236}">
                <a16:creationId xmlns:a16="http://schemas.microsoft.com/office/drawing/2014/main" id="{2BFDD91C-6446-AD48-CAEB-841DC1DC22EA}"/>
              </a:ext>
            </a:extLst>
          </p:cNvPr>
          <p:cNvSpPr>
            <a:spLocks noGrp="1"/>
          </p:cNvSpPr>
          <p:nvPr>
            <p:ph type="body" sz="quarter" idx="18" hasCustomPrompt="1"/>
          </p:nvPr>
        </p:nvSpPr>
        <p:spPr>
          <a:xfrm>
            <a:off x="8977311" y="4513789"/>
            <a:ext cx="1871664" cy="359835"/>
          </a:xfrm>
          <a:prstGeom prst="rect">
            <a:avLst/>
          </a:prstGeom>
        </p:spPr>
        <p:txBody>
          <a:bodyPr lIns="0" tIns="0" rIns="0" bIns="0" anchor="t" anchorCtr="0">
            <a:noAutofit/>
          </a:bodyPr>
          <a:lstStyle>
            <a:lvl1pPr marL="0" indent="0" algn="l">
              <a:buNone/>
              <a:defRPr sz="1200">
                <a:solidFill>
                  <a:schemeClr val="bg1"/>
                </a:solidFill>
                <a:latin typeface="+mn-lt"/>
              </a:defRPr>
            </a:lvl1pPr>
          </a:lstStyle>
          <a:p>
            <a:pPr lvl="0"/>
            <a:r>
              <a:rPr lang="en-US"/>
              <a:t>Avenir Demi 12pt lorem ipsum dolor sit </a:t>
            </a:r>
            <a:r>
              <a:rPr lang="en-US" err="1"/>
              <a:t>amet</a:t>
            </a:r>
            <a:endParaRPr lang="en-US"/>
          </a:p>
        </p:txBody>
      </p:sp>
      <p:sp>
        <p:nvSpPr>
          <p:cNvPr id="16" name="Text Placeholder 9">
            <a:extLst>
              <a:ext uri="{FF2B5EF4-FFF2-40B4-BE49-F238E27FC236}">
                <a16:creationId xmlns:a16="http://schemas.microsoft.com/office/drawing/2014/main" id="{AD20601E-40F2-1DF1-38B7-5101DBF33201}"/>
              </a:ext>
            </a:extLst>
          </p:cNvPr>
          <p:cNvSpPr>
            <a:spLocks noGrp="1"/>
          </p:cNvSpPr>
          <p:nvPr>
            <p:ph type="body" sz="quarter" idx="19" hasCustomPrompt="1"/>
          </p:nvPr>
        </p:nvSpPr>
        <p:spPr>
          <a:xfrm>
            <a:off x="5232400" y="5053539"/>
            <a:ext cx="1871664" cy="359835"/>
          </a:xfrm>
          <a:prstGeom prst="rect">
            <a:avLst/>
          </a:prstGeom>
        </p:spPr>
        <p:txBody>
          <a:bodyPr lIns="0" tIns="0" rIns="0" bIns="0" anchor="t" anchorCtr="0">
            <a:noAutofit/>
          </a:bodyPr>
          <a:lstStyle>
            <a:lvl1pPr marL="0" indent="0" algn="l">
              <a:buNone/>
              <a:defRPr sz="1200">
                <a:solidFill>
                  <a:schemeClr val="bg1"/>
                </a:solidFill>
                <a:latin typeface="+mn-lt"/>
              </a:defRPr>
            </a:lvl1pPr>
          </a:lstStyle>
          <a:p>
            <a:pPr lvl="0"/>
            <a:r>
              <a:rPr lang="en-US"/>
              <a:t>Avenir Demi 12pt lorem ipsum dolor sit </a:t>
            </a:r>
            <a:r>
              <a:rPr lang="en-US" err="1"/>
              <a:t>amet</a:t>
            </a:r>
            <a:endParaRPr lang="en-US"/>
          </a:p>
        </p:txBody>
      </p:sp>
      <p:sp>
        <p:nvSpPr>
          <p:cNvPr id="17" name="Text Placeholder 9">
            <a:extLst>
              <a:ext uri="{FF2B5EF4-FFF2-40B4-BE49-F238E27FC236}">
                <a16:creationId xmlns:a16="http://schemas.microsoft.com/office/drawing/2014/main" id="{82C29969-1AD3-6659-3B8D-11793A66C076}"/>
              </a:ext>
            </a:extLst>
          </p:cNvPr>
          <p:cNvSpPr>
            <a:spLocks noGrp="1"/>
          </p:cNvSpPr>
          <p:nvPr>
            <p:ph type="body" sz="quarter" idx="20" hasCustomPrompt="1"/>
          </p:nvPr>
        </p:nvSpPr>
        <p:spPr>
          <a:xfrm>
            <a:off x="8977311" y="5053539"/>
            <a:ext cx="1871664" cy="359835"/>
          </a:xfrm>
          <a:prstGeom prst="rect">
            <a:avLst/>
          </a:prstGeom>
        </p:spPr>
        <p:txBody>
          <a:bodyPr lIns="0" tIns="0" rIns="0" bIns="0" anchor="t" anchorCtr="0">
            <a:noAutofit/>
          </a:bodyPr>
          <a:lstStyle>
            <a:lvl1pPr marL="0" indent="0" algn="l">
              <a:buNone/>
              <a:defRPr sz="1200">
                <a:solidFill>
                  <a:schemeClr val="bg1"/>
                </a:solidFill>
                <a:latin typeface="+mn-lt"/>
              </a:defRPr>
            </a:lvl1pPr>
          </a:lstStyle>
          <a:p>
            <a:pPr lvl="0"/>
            <a:r>
              <a:rPr lang="en-US"/>
              <a:t>Avenir Demi 12pt lorem ipsum dolor sit </a:t>
            </a:r>
            <a:r>
              <a:rPr lang="en-US" err="1"/>
              <a:t>amet</a:t>
            </a:r>
            <a:endParaRPr lang="en-US"/>
          </a:p>
        </p:txBody>
      </p:sp>
      <p:sp>
        <p:nvSpPr>
          <p:cNvPr id="18" name="Text Placeholder 9">
            <a:extLst>
              <a:ext uri="{FF2B5EF4-FFF2-40B4-BE49-F238E27FC236}">
                <a16:creationId xmlns:a16="http://schemas.microsoft.com/office/drawing/2014/main" id="{EE05C111-C082-6BD5-9282-C948E296F5D3}"/>
              </a:ext>
            </a:extLst>
          </p:cNvPr>
          <p:cNvSpPr>
            <a:spLocks noGrp="1"/>
          </p:cNvSpPr>
          <p:nvPr>
            <p:ph type="body" sz="quarter" idx="21" hasCustomPrompt="1"/>
          </p:nvPr>
        </p:nvSpPr>
        <p:spPr>
          <a:xfrm>
            <a:off x="5232400" y="5593818"/>
            <a:ext cx="1871664" cy="359835"/>
          </a:xfrm>
          <a:prstGeom prst="rect">
            <a:avLst/>
          </a:prstGeom>
        </p:spPr>
        <p:txBody>
          <a:bodyPr lIns="0" tIns="0" rIns="0" bIns="0" anchor="t" anchorCtr="0">
            <a:noAutofit/>
          </a:bodyPr>
          <a:lstStyle>
            <a:lvl1pPr marL="0" indent="0" algn="l">
              <a:buNone/>
              <a:defRPr sz="1200">
                <a:solidFill>
                  <a:schemeClr val="bg1"/>
                </a:solidFill>
                <a:latin typeface="+mn-lt"/>
              </a:defRPr>
            </a:lvl1pPr>
          </a:lstStyle>
          <a:p>
            <a:pPr lvl="0"/>
            <a:r>
              <a:rPr lang="en-US"/>
              <a:t>Avenir Demi 12pt lorem ipsum dolor sit </a:t>
            </a:r>
            <a:r>
              <a:rPr lang="en-US" err="1"/>
              <a:t>amet</a:t>
            </a:r>
            <a:endParaRPr lang="en-US"/>
          </a:p>
        </p:txBody>
      </p:sp>
      <p:sp>
        <p:nvSpPr>
          <p:cNvPr id="19" name="Text Placeholder 9">
            <a:extLst>
              <a:ext uri="{FF2B5EF4-FFF2-40B4-BE49-F238E27FC236}">
                <a16:creationId xmlns:a16="http://schemas.microsoft.com/office/drawing/2014/main" id="{EDDB6F98-8929-B811-A75E-1DD45E444D5A}"/>
              </a:ext>
            </a:extLst>
          </p:cNvPr>
          <p:cNvSpPr>
            <a:spLocks noGrp="1"/>
          </p:cNvSpPr>
          <p:nvPr>
            <p:ph type="body" sz="quarter" idx="22" hasCustomPrompt="1"/>
          </p:nvPr>
        </p:nvSpPr>
        <p:spPr>
          <a:xfrm>
            <a:off x="8977311" y="5593818"/>
            <a:ext cx="1871664" cy="359835"/>
          </a:xfrm>
          <a:prstGeom prst="rect">
            <a:avLst/>
          </a:prstGeom>
        </p:spPr>
        <p:txBody>
          <a:bodyPr lIns="0" tIns="0" rIns="0" bIns="0" anchor="t" anchorCtr="0">
            <a:noAutofit/>
          </a:bodyPr>
          <a:lstStyle>
            <a:lvl1pPr marL="0" indent="0" algn="l">
              <a:buNone/>
              <a:defRPr sz="1200">
                <a:solidFill>
                  <a:schemeClr val="bg1"/>
                </a:solidFill>
                <a:latin typeface="+mn-lt"/>
              </a:defRPr>
            </a:lvl1pPr>
          </a:lstStyle>
          <a:p>
            <a:pPr lvl="0"/>
            <a:r>
              <a:rPr lang="en-US"/>
              <a:t>Avenir Demi 12pt lorem ipsum dolor sit </a:t>
            </a:r>
            <a:r>
              <a:rPr lang="en-US" err="1"/>
              <a:t>amet</a:t>
            </a:r>
            <a:endParaRPr lang="en-US"/>
          </a:p>
        </p:txBody>
      </p:sp>
      <p:sp>
        <p:nvSpPr>
          <p:cNvPr id="20" name="Text Placeholder 9">
            <a:extLst>
              <a:ext uri="{FF2B5EF4-FFF2-40B4-BE49-F238E27FC236}">
                <a16:creationId xmlns:a16="http://schemas.microsoft.com/office/drawing/2014/main" id="{F7E10D3D-78C1-159D-49BD-1BA9282FF888}"/>
              </a:ext>
            </a:extLst>
          </p:cNvPr>
          <p:cNvSpPr>
            <a:spLocks noGrp="1"/>
          </p:cNvSpPr>
          <p:nvPr>
            <p:ph type="body" sz="quarter" idx="23" hasCustomPrompt="1"/>
          </p:nvPr>
        </p:nvSpPr>
        <p:spPr>
          <a:xfrm>
            <a:off x="4690801" y="4508500"/>
            <a:ext cx="216000" cy="216000"/>
          </a:xfrm>
          <a:prstGeom prst="rect">
            <a:avLst/>
          </a:prstGeom>
          <a:solidFill>
            <a:schemeClr val="accent1"/>
          </a:solidFill>
        </p:spPr>
        <p:txBody>
          <a:bodyPr lIns="0" tIns="0" rIns="0" bIns="0" anchor="ctr" anchorCtr="0">
            <a:noAutofit/>
          </a:bodyPr>
          <a:lstStyle>
            <a:lvl1pPr marL="0" indent="0" algn="ctr">
              <a:buNone/>
              <a:defRPr sz="1200" cap="all" baseline="0">
                <a:solidFill>
                  <a:schemeClr val="tx1"/>
                </a:solidFill>
                <a:latin typeface="+mj-lt"/>
              </a:defRPr>
            </a:lvl1pPr>
          </a:lstStyle>
          <a:p>
            <a:pPr lvl="0"/>
            <a:r>
              <a:rPr lang="en-US"/>
              <a:t>a</a:t>
            </a:r>
          </a:p>
        </p:txBody>
      </p:sp>
      <p:sp>
        <p:nvSpPr>
          <p:cNvPr id="21" name="Text Placeholder 9">
            <a:extLst>
              <a:ext uri="{FF2B5EF4-FFF2-40B4-BE49-F238E27FC236}">
                <a16:creationId xmlns:a16="http://schemas.microsoft.com/office/drawing/2014/main" id="{B567B3CC-1D2F-CE11-EA32-4B536ECE6A4C}"/>
              </a:ext>
            </a:extLst>
          </p:cNvPr>
          <p:cNvSpPr>
            <a:spLocks noGrp="1"/>
          </p:cNvSpPr>
          <p:nvPr>
            <p:ph type="body" sz="quarter" idx="24" hasCustomPrompt="1"/>
          </p:nvPr>
        </p:nvSpPr>
        <p:spPr>
          <a:xfrm>
            <a:off x="4690801" y="5053475"/>
            <a:ext cx="216000" cy="216000"/>
          </a:xfrm>
          <a:prstGeom prst="rect">
            <a:avLst/>
          </a:prstGeom>
          <a:solidFill>
            <a:schemeClr val="accent2"/>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b</a:t>
            </a:r>
          </a:p>
        </p:txBody>
      </p:sp>
      <p:sp>
        <p:nvSpPr>
          <p:cNvPr id="22" name="Text Placeholder 9">
            <a:extLst>
              <a:ext uri="{FF2B5EF4-FFF2-40B4-BE49-F238E27FC236}">
                <a16:creationId xmlns:a16="http://schemas.microsoft.com/office/drawing/2014/main" id="{F6CC62FF-967D-8D07-7260-6A7CC23BDACF}"/>
              </a:ext>
            </a:extLst>
          </p:cNvPr>
          <p:cNvSpPr>
            <a:spLocks noGrp="1"/>
          </p:cNvSpPr>
          <p:nvPr>
            <p:ph type="body" sz="quarter" idx="25" hasCustomPrompt="1"/>
          </p:nvPr>
        </p:nvSpPr>
        <p:spPr>
          <a:xfrm>
            <a:off x="4690801" y="5598450"/>
            <a:ext cx="216000" cy="216000"/>
          </a:xfrm>
          <a:prstGeom prst="rect">
            <a:avLst/>
          </a:prstGeom>
          <a:solidFill>
            <a:schemeClr val="accent3"/>
          </a:solidFill>
        </p:spPr>
        <p:txBody>
          <a:bodyPr lIns="0" tIns="0" rIns="0" bIns="0" anchor="ctr" anchorCtr="0">
            <a:noAutofit/>
          </a:bodyPr>
          <a:lstStyle>
            <a:lvl1pPr marL="0" indent="0" algn="ctr">
              <a:buNone/>
              <a:defRPr sz="1200" cap="all" baseline="0">
                <a:solidFill>
                  <a:schemeClr val="tx1"/>
                </a:solidFill>
                <a:latin typeface="+mj-lt"/>
              </a:defRPr>
            </a:lvl1pPr>
          </a:lstStyle>
          <a:p>
            <a:pPr lvl="0"/>
            <a:r>
              <a:rPr lang="en-US"/>
              <a:t>c</a:t>
            </a:r>
          </a:p>
        </p:txBody>
      </p:sp>
      <p:sp>
        <p:nvSpPr>
          <p:cNvPr id="23" name="Text Placeholder 9">
            <a:extLst>
              <a:ext uri="{FF2B5EF4-FFF2-40B4-BE49-F238E27FC236}">
                <a16:creationId xmlns:a16="http://schemas.microsoft.com/office/drawing/2014/main" id="{4BBB55B3-8B4B-6BEB-5E3E-351B0DAE18D8}"/>
              </a:ext>
            </a:extLst>
          </p:cNvPr>
          <p:cNvSpPr>
            <a:spLocks noGrp="1"/>
          </p:cNvSpPr>
          <p:nvPr>
            <p:ph type="body" sz="quarter" idx="26" hasCustomPrompt="1"/>
          </p:nvPr>
        </p:nvSpPr>
        <p:spPr>
          <a:xfrm>
            <a:off x="8441400" y="4508500"/>
            <a:ext cx="216000" cy="216000"/>
          </a:xfrm>
          <a:prstGeom prst="rect">
            <a:avLst/>
          </a:prstGeom>
          <a:solidFill>
            <a:schemeClr val="accent4"/>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d</a:t>
            </a:r>
          </a:p>
        </p:txBody>
      </p:sp>
      <p:sp>
        <p:nvSpPr>
          <p:cNvPr id="24" name="Text Placeholder 9">
            <a:extLst>
              <a:ext uri="{FF2B5EF4-FFF2-40B4-BE49-F238E27FC236}">
                <a16:creationId xmlns:a16="http://schemas.microsoft.com/office/drawing/2014/main" id="{BD1ADDA9-29A1-D4A5-6AF6-10D1ED61F639}"/>
              </a:ext>
            </a:extLst>
          </p:cNvPr>
          <p:cNvSpPr>
            <a:spLocks noGrp="1"/>
          </p:cNvSpPr>
          <p:nvPr>
            <p:ph type="body" sz="quarter" idx="27" hasCustomPrompt="1"/>
          </p:nvPr>
        </p:nvSpPr>
        <p:spPr>
          <a:xfrm>
            <a:off x="8441400" y="5053475"/>
            <a:ext cx="216000" cy="216000"/>
          </a:xfrm>
          <a:prstGeom prst="rect">
            <a:avLst/>
          </a:prstGeom>
          <a:solidFill>
            <a:schemeClr val="accent5"/>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e</a:t>
            </a:r>
          </a:p>
        </p:txBody>
      </p:sp>
      <p:sp>
        <p:nvSpPr>
          <p:cNvPr id="25" name="Text Placeholder 9">
            <a:extLst>
              <a:ext uri="{FF2B5EF4-FFF2-40B4-BE49-F238E27FC236}">
                <a16:creationId xmlns:a16="http://schemas.microsoft.com/office/drawing/2014/main" id="{D1FE7497-FADD-489E-4379-2F4CA8C33FE4}"/>
              </a:ext>
            </a:extLst>
          </p:cNvPr>
          <p:cNvSpPr>
            <a:spLocks noGrp="1"/>
          </p:cNvSpPr>
          <p:nvPr>
            <p:ph type="body" sz="quarter" idx="28" hasCustomPrompt="1"/>
          </p:nvPr>
        </p:nvSpPr>
        <p:spPr>
          <a:xfrm>
            <a:off x="8441400" y="5598450"/>
            <a:ext cx="216000" cy="216000"/>
          </a:xfrm>
          <a:prstGeom prst="rect">
            <a:avLst/>
          </a:prstGeom>
          <a:solidFill>
            <a:srgbClr val="16CEE1"/>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f</a:t>
            </a:r>
          </a:p>
        </p:txBody>
      </p:sp>
    </p:spTree>
    <p:extLst>
      <p:ext uri="{BB962C8B-B14F-4D97-AF65-F5344CB8AC3E}">
        <p14:creationId xmlns:p14="http://schemas.microsoft.com/office/powerpoint/2010/main" val="2035042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0:50 - Text / Chart">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4D6BA4-D604-62D4-D773-AC040EB4AA38}"/>
              </a:ext>
            </a:extLst>
          </p:cNvPr>
          <p:cNvSpPr/>
          <p:nvPr userDrawn="1"/>
        </p:nvSpPr>
        <p:spPr>
          <a:xfrm>
            <a:off x="6096001" y="1"/>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p>
            <a:fld id="{F59CD943-D024-467A-B36E-F11E1285ED75}" type="slidenum">
              <a:rPr lang="en-GB" smtClean="0"/>
              <a:pPr/>
              <a:t>‹#›</a:t>
            </a:fld>
            <a:endParaRPr lang="en-GB"/>
          </a:p>
        </p:txBody>
      </p:sp>
      <p:sp>
        <p:nvSpPr>
          <p:cNvPr id="11" name="Chart Placeholder 10">
            <a:extLst>
              <a:ext uri="{FF2B5EF4-FFF2-40B4-BE49-F238E27FC236}">
                <a16:creationId xmlns:a16="http://schemas.microsoft.com/office/drawing/2014/main" id="{5951116A-40CB-A706-A107-C78DBAFDEBFE}"/>
              </a:ext>
            </a:extLst>
          </p:cNvPr>
          <p:cNvSpPr>
            <a:spLocks noGrp="1"/>
          </p:cNvSpPr>
          <p:nvPr>
            <p:ph type="chart" sz="quarter" idx="15" hasCustomPrompt="1"/>
          </p:nvPr>
        </p:nvSpPr>
        <p:spPr>
          <a:xfrm>
            <a:off x="6635488" y="1089025"/>
            <a:ext cx="5005647" cy="3060700"/>
          </a:xfrm>
        </p:spPr>
        <p:txBody>
          <a:bodyPr tIns="180000"/>
          <a:lstStyle>
            <a:lvl1pPr marL="0" indent="0" algn="ctr">
              <a:buNone/>
              <a:defRPr sz="1000">
                <a:solidFill>
                  <a:schemeClr val="accent1"/>
                </a:solidFill>
              </a:defRPr>
            </a:lvl1pPr>
          </a:lstStyle>
          <a:p>
            <a:r>
              <a:rPr lang="en-GB"/>
              <a:t>Click </a:t>
            </a:r>
            <a:r>
              <a:rPr lang="en-US" noProof="0"/>
              <a:t>center</a:t>
            </a:r>
            <a:r>
              <a:rPr lang="en-GB"/>
              <a:t> icon to insert graph or chart</a:t>
            </a:r>
          </a:p>
        </p:txBody>
      </p:sp>
      <p:sp>
        <p:nvSpPr>
          <p:cNvPr id="12" name="Text Placeholder 9">
            <a:extLst>
              <a:ext uri="{FF2B5EF4-FFF2-40B4-BE49-F238E27FC236}">
                <a16:creationId xmlns:a16="http://schemas.microsoft.com/office/drawing/2014/main" id="{A84DA8BB-5F30-09B1-E985-2D8FA21B48EE}"/>
              </a:ext>
            </a:extLst>
          </p:cNvPr>
          <p:cNvSpPr>
            <a:spLocks noGrp="1"/>
          </p:cNvSpPr>
          <p:nvPr>
            <p:ph type="body" sz="quarter" idx="16" hasCustomPrompt="1"/>
          </p:nvPr>
        </p:nvSpPr>
        <p:spPr>
          <a:xfrm>
            <a:off x="6635488" y="368828"/>
            <a:ext cx="5005647" cy="359835"/>
          </a:xfrm>
          <a:prstGeom prst="rect">
            <a:avLst/>
          </a:prstGeom>
        </p:spPr>
        <p:txBody>
          <a:bodyPr lIns="0" tIns="0" rIns="0" bIns="0" anchor="t" anchorCtr="0">
            <a:noAutofit/>
          </a:bodyPr>
          <a:lstStyle>
            <a:lvl1pPr marL="0" indent="0" algn="l">
              <a:buNone/>
              <a:defRPr sz="1400">
                <a:solidFill>
                  <a:schemeClr val="bg1"/>
                </a:solidFill>
                <a:latin typeface="+mn-lt"/>
              </a:defRPr>
            </a:lvl1pPr>
          </a:lstStyle>
          <a:p>
            <a:pPr lvl="0"/>
            <a:r>
              <a:rPr lang="en-US"/>
              <a:t>Avenir Demi 14pt lorem ipsum dolor sit </a:t>
            </a:r>
            <a:r>
              <a:rPr lang="en-US" err="1"/>
              <a:t>amet</a:t>
            </a:r>
            <a:endParaRPr lang="en-US"/>
          </a:p>
        </p:txBody>
      </p:sp>
      <p:sp>
        <p:nvSpPr>
          <p:cNvPr id="14" name="Text Placeholder 9">
            <a:extLst>
              <a:ext uri="{FF2B5EF4-FFF2-40B4-BE49-F238E27FC236}">
                <a16:creationId xmlns:a16="http://schemas.microsoft.com/office/drawing/2014/main" id="{EF72A8DE-339E-2B3D-4C89-58C8CE53CF5D}"/>
              </a:ext>
            </a:extLst>
          </p:cNvPr>
          <p:cNvSpPr>
            <a:spLocks noGrp="1"/>
          </p:cNvSpPr>
          <p:nvPr>
            <p:ph type="body" sz="quarter" idx="17" hasCustomPrompt="1"/>
          </p:nvPr>
        </p:nvSpPr>
        <p:spPr>
          <a:xfrm>
            <a:off x="7104856" y="4513789"/>
            <a:ext cx="1871664" cy="359835"/>
          </a:xfrm>
          <a:prstGeom prst="rect">
            <a:avLst/>
          </a:prstGeom>
        </p:spPr>
        <p:txBody>
          <a:bodyPr lIns="0" tIns="0" rIns="0" bIns="0" anchor="t" anchorCtr="0">
            <a:noAutofit/>
          </a:bodyPr>
          <a:lstStyle>
            <a:lvl1pPr marL="0" indent="0" algn="l">
              <a:buNone/>
              <a:defRPr sz="1200">
                <a:solidFill>
                  <a:schemeClr val="bg1"/>
                </a:solidFill>
                <a:latin typeface="+mn-lt"/>
              </a:defRPr>
            </a:lvl1pPr>
          </a:lstStyle>
          <a:p>
            <a:pPr lvl="0"/>
            <a:r>
              <a:rPr lang="en-US"/>
              <a:t>Avenir Demi 12pt lorem ipsum dolor sit </a:t>
            </a:r>
            <a:r>
              <a:rPr lang="en-US" err="1"/>
              <a:t>amet</a:t>
            </a:r>
            <a:endParaRPr lang="en-US"/>
          </a:p>
        </p:txBody>
      </p:sp>
      <p:sp>
        <p:nvSpPr>
          <p:cNvPr id="15" name="Text Placeholder 9">
            <a:extLst>
              <a:ext uri="{FF2B5EF4-FFF2-40B4-BE49-F238E27FC236}">
                <a16:creationId xmlns:a16="http://schemas.microsoft.com/office/drawing/2014/main" id="{2BFDD91C-6446-AD48-CAEB-841DC1DC22EA}"/>
              </a:ext>
            </a:extLst>
          </p:cNvPr>
          <p:cNvSpPr>
            <a:spLocks noGrp="1"/>
          </p:cNvSpPr>
          <p:nvPr>
            <p:ph type="body" sz="quarter" idx="18" hasCustomPrompt="1"/>
          </p:nvPr>
        </p:nvSpPr>
        <p:spPr>
          <a:xfrm>
            <a:off x="9767505" y="4513789"/>
            <a:ext cx="1871664" cy="359835"/>
          </a:xfrm>
          <a:prstGeom prst="rect">
            <a:avLst/>
          </a:prstGeom>
        </p:spPr>
        <p:txBody>
          <a:bodyPr lIns="0" tIns="0" rIns="0" bIns="0" anchor="t" anchorCtr="0">
            <a:noAutofit/>
          </a:bodyPr>
          <a:lstStyle>
            <a:lvl1pPr marL="0" indent="0" algn="l">
              <a:buNone/>
              <a:defRPr sz="1200">
                <a:solidFill>
                  <a:schemeClr val="bg1"/>
                </a:solidFill>
                <a:latin typeface="+mn-lt"/>
              </a:defRPr>
            </a:lvl1pPr>
          </a:lstStyle>
          <a:p>
            <a:pPr lvl="0"/>
            <a:r>
              <a:rPr lang="en-US"/>
              <a:t>Avenir Demi 12pt lorem ipsum dolor sit </a:t>
            </a:r>
            <a:r>
              <a:rPr lang="en-US" err="1"/>
              <a:t>amet</a:t>
            </a:r>
            <a:endParaRPr lang="en-US"/>
          </a:p>
        </p:txBody>
      </p:sp>
      <p:sp>
        <p:nvSpPr>
          <p:cNvPr id="16" name="Text Placeholder 9">
            <a:extLst>
              <a:ext uri="{FF2B5EF4-FFF2-40B4-BE49-F238E27FC236}">
                <a16:creationId xmlns:a16="http://schemas.microsoft.com/office/drawing/2014/main" id="{AD20601E-40F2-1DF1-38B7-5101DBF33201}"/>
              </a:ext>
            </a:extLst>
          </p:cNvPr>
          <p:cNvSpPr>
            <a:spLocks noGrp="1"/>
          </p:cNvSpPr>
          <p:nvPr>
            <p:ph type="body" sz="quarter" idx="19" hasCustomPrompt="1"/>
          </p:nvPr>
        </p:nvSpPr>
        <p:spPr>
          <a:xfrm>
            <a:off x="7104856" y="5053539"/>
            <a:ext cx="1871664" cy="359835"/>
          </a:xfrm>
          <a:prstGeom prst="rect">
            <a:avLst/>
          </a:prstGeom>
        </p:spPr>
        <p:txBody>
          <a:bodyPr lIns="0" tIns="0" rIns="0" bIns="0" anchor="t" anchorCtr="0">
            <a:noAutofit/>
          </a:bodyPr>
          <a:lstStyle>
            <a:lvl1pPr marL="0" indent="0" algn="l">
              <a:buNone/>
              <a:defRPr sz="1200">
                <a:solidFill>
                  <a:schemeClr val="bg1"/>
                </a:solidFill>
                <a:latin typeface="+mn-lt"/>
              </a:defRPr>
            </a:lvl1pPr>
          </a:lstStyle>
          <a:p>
            <a:pPr lvl="0"/>
            <a:r>
              <a:rPr lang="en-US"/>
              <a:t>Avenir Demi 12pt lorem ipsum dolor sit </a:t>
            </a:r>
            <a:r>
              <a:rPr lang="en-US" err="1"/>
              <a:t>amet</a:t>
            </a:r>
            <a:endParaRPr lang="en-US"/>
          </a:p>
        </p:txBody>
      </p:sp>
      <p:sp>
        <p:nvSpPr>
          <p:cNvPr id="17" name="Text Placeholder 9">
            <a:extLst>
              <a:ext uri="{FF2B5EF4-FFF2-40B4-BE49-F238E27FC236}">
                <a16:creationId xmlns:a16="http://schemas.microsoft.com/office/drawing/2014/main" id="{82C29969-1AD3-6659-3B8D-11793A66C076}"/>
              </a:ext>
            </a:extLst>
          </p:cNvPr>
          <p:cNvSpPr>
            <a:spLocks noGrp="1"/>
          </p:cNvSpPr>
          <p:nvPr>
            <p:ph type="body" sz="quarter" idx="20" hasCustomPrompt="1"/>
          </p:nvPr>
        </p:nvSpPr>
        <p:spPr>
          <a:xfrm>
            <a:off x="9767505" y="5053539"/>
            <a:ext cx="1871664" cy="359835"/>
          </a:xfrm>
          <a:prstGeom prst="rect">
            <a:avLst/>
          </a:prstGeom>
        </p:spPr>
        <p:txBody>
          <a:bodyPr lIns="0" tIns="0" rIns="0" bIns="0" anchor="t" anchorCtr="0">
            <a:noAutofit/>
          </a:bodyPr>
          <a:lstStyle>
            <a:lvl1pPr marL="0" indent="0" algn="l">
              <a:buNone/>
              <a:defRPr sz="1200">
                <a:solidFill>
                  <a:schemeClr val="bg1"/>
                </a:solidFill>
                <a:latin typeface="+mn-lt"/>
              </a:defRPr>
            </a:lvl1pPr>
          </a:lstStyle>
          <a:p>
            <a:pPr lvl="0"/>
            <a:r>
              <a:rPr lang="en-US"/>
              <a:t>Avenir Demi 12pt lorem ipsum dolor sit </a:t>
            </a:r>
            <a:r>
              <a:rPr lang="en-US" err="1"/>
              <a:t>amet</a:t>
            </a:r>
            <a:endParaRPr lang="en-US"/>
          </a:p>
        </p:txBody>
      </p:sp>
      <p:sp>
        <p:nvSpPr>
          <p:cNvPr id="18" name="Text Placeholder 9">
            <a:extLst>
              <a:ext uri="{FF2B5EF4-FFF2-40B4-BE49-F238E27FC236}">
                <a16:creationId xmlns:a16="http://schemas.microsoft.com/office/drawing/2014/main" id="{EE05C111-C082-6BD5-9282-C948E296F5D3}"/>
              </a:ext>
            </a:extLst>
          </p:cNvPr>
          <p:cNvSpPr>
            <a:spLocks noGrp="1"/>
          </p:cNvSpPr>
          <p:nvPr>
            <p:ph type="body" sz="quarter" idx="21" hasCustomPrompt="1"/>
          </p:nvPr>
        </p:nvSpPr>
        <p:spPr>
          <a:xfrm>
            <a:off x="7104856" y="5593818"/>
            <a:ext cx="1871664" cy="359835"/>
          </a:xfrm>
          <a:prstGeom prst="rect">
            <a:avLst/>
          </a:prstGeom>
        </p:spPr>
        <p:txBody>
          <a:bodyPr lIns="0" tIns="0" rIns="0" bIns="0" anchor="t" anchorCtr="0">
            <a:noAutofit/>
          </a:bodyPr>
          <a:lstStyle>
            <a:lvl1pPr marL="0" indent="0" algn="l">
              <a:buNone/>
              <a:defRPr sz="1200">
                <a:solidFill>
                  <a:schemeClr val="bg1"/>
                </a:solidFill>
                <a:latin typeface="+mn-lt"/>
              </a:defRPr>
            </a:lvl1pPr>
          </a:lstStyle>
          <a:p>
            <a:pPr lvl="0"/>
            <a:r>
              <a:rPr lang="en-US"/>
              <a:t>Avenir Demi 12pt lorem ipsum dolor sit </a:t>
            </a:r>
            <a:r>
              <a:rPr lang="en-US" err="1"/>
              <a:t>amet</a:t>
            </a:r>
            <a:endParaRPr lang="en-US"/>
          </a:p>
        </p:txBody>
      </p:sp>
      <p:sp>
        <p:nvSpPr>
          <p:cNvPr id="19" name="Text Placeholder 9">
            <a:extLst>
              <a:ext uri="{FF2B5EF4-FFF2-40B4-BE49-F238E27FC236}">
                <a16:creationId xmlns:a16="http://schemas.microsoft.com/office/drawing/2014/main" id="{EDDB6F98-8929-B811-A75E-1DD45E444D5A}"/>
              </a:ext>
            </a:extLst>
          </p:cNvPr>
          <p:cNvSpPr>
            <a:spLocks noGrp="1"/>
          </p:cNvSpPr>
          <p:nvPr>
            <p:ph type="body" sz="quarter" idx="22" hasCustomPrompt="1"/>
          </p:nvPr>
        </p:nvSpPr>
        <p:spPr>
          <a:xfrm>
            <a:off x="9767505" y="5593818"/>
            <a:ext cx="1871664" cy="359835"/>
          </a:xfrm>
          <a:prstGeom prst="rect">
            <a:avLst/>
          </a:prstGeom>
        </p:spPr>
        <p:txBody>
          <a:bodyPr lIns="0" tIns="0" rIns="0" bIns="0" anchor="t" anchorCtr="0">
            <a:noAutofit/>
          </a:bodyPr>
          <a:lstStyle>
            <a:lvl1pPr marL="0" indent="0" algn="l">
              <a:buNone/>
              <a:defRPr sz="1200">
                <a:solidFill>
                  <a:schemeClr val="bg1"/>
                </a:solidFill>
                <a:latin typeface="+mn-lt"/>
              </a:defRPr>
            </a:lvl1pPr>
          </a:lstStyle>
          <a:p>
            <a:pPr lvl="0"/>
            <a:r>
              <a:rPr lang="en-US"/>
              <a:t>Avenir Demi 12pt lorem ipsum dolor sit </a:t>
            </a:r>
            <a:r>
              <a:rPr lang="en-US" err="1"/>
              <a:t>amet</a:t>
            </a:r>
            <a:endParaRPr lang="en-US"/>
          </a:p>
        </p:txBody>
      </p:sp>
      <p:sp>
        <p:nvSpPr>
          <p:cNvPr id="20" name="Text Placeholder 9">
            <a:extLst>
              <a:ext uri="{FF2B5EF4-FFF2-40B4-BE49-F238E27FC236}">
                <a16:creationId xmlns:a16="http://schemas.microsoft.com/office/drawing/2014/main" id="{F7E10D3D-78C1-159D-49BD-1BA9282FF888}"/>
              </a:ext>
            </a:extLst>
          </p:cNvPr>
          <p:cNvSpPr>
            <a:spLocks noGrp="1"/>
          </p:cNvSpPr>
          <p:nvPr>
            <p:ph type="body" sz="quarter" idx="23" hasCustomPrompt="1"/>
          </p:nvPr>
        </p:nvSpPr>
        <p:spPr>
          <a:xfrm>
            <a:off x="6635488" y="4508500"/>
            <a:ext cx="216000" cy="216000"/>
          </a:xfrm>
          <a:prstGeom prst="rect">
            <a:avLst/>
          </a:prstGeom>
          <a:solidFill>
            <a:schemeClr val="accent1"/>
          </a:solidFill>
        </p:spPr>
        <p:txBody>
          <a:bodyPr lIns="0" tIns="0" rIns="0" bIns="0" anchor="ctr" anchorCtr="0">
            <a:noAutofit/>
          </a:bodyPr>
          <a:lstStyle>
            <a:lvl1pPr marL="0" indent="0" algn="ctr">
              <a:buNone/>
              <a:defRPr sz="1200" cap="all" baseline="0">
                <a:solidFill>
                  <a:schemeClr val="tx1"/>
                </a:solidFill>
                <a:latin typeface="+mj-lt"/>
              </a:defRPr>
            </a:lvl1pPr>
          </a:lstStyle>
          <a:p>
            <a:pPr lvl="0"/>
            <a:r>
              <a:rPr lang="en-US"/>
              <a:t>a</a:t>
            </a:r>
          </a:p>
        </p:txBody>
      </p:sp>
      <p:sp>
        <p:nvSpPr>
          <p:cNvPr id="21" name="Text Placeholder 9">
            <a:extLst>
              <a:ext uri="{FF2B5EF4-FFF2-40B4-BE49-F238E27FC236}">
                <a16:creationId xmlns:a16="http://schemas.microsoft.com/office/drawing/2014/main" id="{B567B3CC-1D2F-CE11-EA32-4B536ECE6A4C}"/>
              </a:ext>
            </a:extLst>
          </p:cNvPr>
          <p:cNvSpPr>
            <a:spLocks noGrp="1"/>
          </p:cNvSpPr>
          <p:nvPr>
            <p:ph type="body" sz="quarter" idx="24" hasCustomPrompt="1"/>
          </p:nvPr>
        </p:nvSpPr>
        <p:spPr>
          <a:xfrm>
            <a:off x="6635488" y="5053475"/>
            <a:ext cx="216000" cy="216000"/>
          </a:xfrm>
          <a:prstGeom prst="rect">
            <a:avLst/>
          </a:prstGeom>
          <a:solidFill>
            <a:schemeClr val="accent2"/>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b</a:t>
            </a:r>
          </a:p>
        </p:txBody>
      </p:sp>
      <p:sp>
        <p:nvSpPr>
          <p:cNvPr id="22" name="Text Placeholder 9">
            <a:extLst>
              <a:ext uri="{FF2B5EF4-FFF2-40B4-BE49-F238E27FC236}">
                <a16:creationId xmlns:a16="http://schemas.microsoft.com/office/drawing/2014/main" id="{F6CC62FF-967D-8D07-7260-6A7CC23BDACF}"/>
              </a:ext>
            </a:extLst>
          </p:cNvPr>
          <p:cNvSpPr>
            <a:spLocks noGrp="1"/>
          </p:cNvSpPr>
          <p:nvPr>
            <p:ph type="body" sz="quarter" idx="25" hasCustomPrompt="1"/>
          </p:nvPr>
        </p:nvSpPr>
        <p:spPr>
          <a:xfrm>
            <a:off x="6635488" y="5598450"/>
            <a:ext cx="216000" cy="216000"/>
          </a:xfrm>
          <a:prstGeom prst="rect">
            <a:avLst/>
          </a:prstGeom>
          <a:solidFill>
            <a:schemeClr val="accent3"/>
          </a:solidFill>
        </p:spPr>
        <p:txBody>
          <a:bodyPr lIns="0" tIns="0" rIns="0" bIns="0" anchor="ctr" anchorCtr="0">
            <a:noAutofit/>
          </a:bodyPr>
          <a:lstStyle>
            <a:lvl1pPr marL="0" indent="0" algn="ctr">
              <a:buNone/>
              <a:defRPr sz="1200" cap="all" baseline="0">
                <a:solidFill>
                  <a:schemeClr val="tx1"/>
                </a:solidFill>
                <a:latin typeface="+mj-lt"/>
              </a:defRPr>
            </a:lvl1pPr>
          </a:lstStyle>
          <a:p>
            <a:pPr lvl="0"/>
            <a:r>
              <a:rPr lang="en-US"/>
              <a:t>c</a:t>
            </a:r>
          </a:p>
        </p:txBody>
      </p:sp>
      <p:sp>
        <p:nvSpPr>
          <p:cNvPr id="23" name="Text Placeholder 9">
            <a:extLst>
              <a:ext uri="{FF2B5EF4-FFF2-40B4-BE49-F238E27FC236}">
                <a16:creationId xmlns:a16="http://schemas.microsoft.com/office/drawing/2014/main" id="{4BBB55B3-8B4B-6BEB-5E3E-351B0DAE18D8}"/>
              </a:ext>
            </a:extLst>
          </p:cNvPr>
          <p:cNvSpPr>
            <a:spLocks noGrp="1"/>
          </p:cNvSpPr>
          <p:nvPr>
            <p:ph type="body" sz="quarter" idx="26" hasCustomPrompt="1"/>
          </p:nvPr>
        </p:nvSpPr>
        <p:spPr>
          <a:xfrm>
            <a:off x="9303825" y="4508500"/>
            <a:ext cx="216000" cy="216000"/>
          </a:xfrm>
          <a:prstGeom prst="rect">
            <a:avLst/>
          </a:prstGeom>
          <a:solidFill>
            <a:schemeClr val="accent4"/>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d</a:t>
            </a:r>
          </a:p>
        </p:txBody>
      </p:sp>
      <p:sp>
        <p:nvSpPr>
          <p:cNvPr id="24" name="Text Placeholder 9">
            <a:extLst>
              <a:ext uri="{FF2B5EF4-FFF2-40B4-BE49-F238E27FC236}">
                <a16:creationId xmlns:a16="http://schemas.microsoft.com/office/drawing/2014/main" id="{BD1ADDA9-29A1-D4A5-6AF6-10D1ED61F639}"/>
              </a:ext>
            </a:extLst>
          </p:cNvPr>
          <p:cNvSpPr>
            <a:spLocks noGrp="1"/>
          </p:cNvSpPr>
          <p:nvPr>
            <p:ph type="body" sz="quarter" idx="27" hasCustomPrompt="1"/>
          </p:nvPr>
        </p:nvSpPr>
        <p:spPr>
          <a:xfrm>
            <a:off x="9303825" y="5053475"/>
            <a:ext cx="216000" cy="216000"/>
          </a:xfrm>
          <a:prstGeom prst="rect">
            <a:avLst/>
          </a:prstGeom>
          <a:solidFill>
            <a:schemeClr val="accent5"/>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e</a:t>
            </a:r>
          </a:p>
        </p:txBody>
      </p:sp>
      <p:sp>
        <p:nvSpPr>
          <p:cNvPr id="25" name="Text Placeholder 9">
            <a:extLst>
              <a:ext uri="{FF2B5EF4-FFF2-40B4-BE49-F238E27FC236}">
                <a16:creationId xmlns:a16="http://schemas.microsoft.com/office/drawing/2014/main" id="{D1FE7497-FADD-489E-4379-2F4CA8C33FE4}"/>
              </a:ext>
            </a:extLst>
          </p:cNvPr>
          <p:cNvSpPr>
            <a:spLocks noGrp="1"/>
          </p:cNvSpPr>
          <p:nvPr>
            <p:ph type="body" sz="quarter" idx="28" hasCustomPrompt="1"/>
          </p:nvPr>
        </p:nvSpPr>
        <p:spPr>
          <a:xfrm>
            <a:off x="9303825" y="5598450"/>
            <a:ext cx="216000" cy="216000"/>
          </a:xfrm>
          <a:prstGeom prst="rect">
            <a:avLst/>
          </a:prstGeom>
          <a:solidFill>
            <a:srgbClr val="16CEE1"/>
          </a:solidFill>
        </p:spPr>
        <p:txBody>
          <a:bodyPr lIns="0" tIns="0" rIns="0" bIns="0" anchor="ctr" anchorCtr="0">
            <a:noAutofit/>
          </a:bodyPr>
          <a:lstStyle>
            <a:lvl1pPr marL="0" indent="0" algn="ctr">
              <a:buNone/>
              <a:defRPr sz="1200" cap="all" baseline="0">
                <a:solidFill>
                  <a:schemeClr val="bg1"/>
                </a:solidFill>
                <a:latin typeface="+mj-lt"/>
              </a:defRPr>
            </a:lvl1pPr>
          </a:lstStyle>
          <a:p>
            <a:pPr lvl="0"/>
            <a:r>
              <a:rPr lang="en-US"/>
              <a:t>f</a:t>
            </a:r>
          </a:p>
        </p:txBody>
      </p:sp>
      <p:sp>
        <p:nvSpPr>
          <p:cNvPr id="5" name="Title 1">
            <a:extLst>
              <a:ext uri="{FF2B5EF4-FFF2-40B4-BE49-F238E27FC236}">
                <a16:creationId xmlns:a16="http://schemas.microsoft.com/office/drawing/2014/main" id="{62B3885D-E6AF-5A7C-26C2-93D58D36DE66}"/>
              </a:ext>
            </a:extLst>
          </p:cNvPr>
          <p:cNvSpPr>
            <a:spLocks noGrp="1"/>
          </p:cNvSpPr>
          <p:nvPr>
            <p:ph type="title" hasCustomPrompt="1"/>
          </p:nvPr>
        </p:nvSpPr>
        <p:spPr>
          <a:xfrm>
            <a:off x="550864" y="368828"/>
            <a:ext cx="5076000" cy="251885"/>
          </a:xfrm>
        </p:spPr>
        <p:txBody>
          <a:bodyPr/>
          <a:lstStyle>
            <a:lvl1pPr>
              <a:defRPr>
                <a:solidFill>
                  <a:schemeClr val="accent1"/>
                </a:solidFill>
              </a:defRPr>
            </a:lvl1pPr>
          </a:lstStyle>
          <a:p>
            <a:r>
              <a:rPr lang="en-US"/>
              <a:t>Header avenir demi 24pt</a:t>
            </a:r>
            <a:endParaRPr lang="en-GB"/>
          </a:p>
        </p:txBody>
      </p:sp>
      <p:sp>
        <p:nvSpPr>
          <p:cNvPr id="7" name="Text Placeholder 9">
            <a:extLst>
              <a:ext uri="{FF2B5EF4-FFF2-40B4-BE49-F238E27FC236}">
                <a16:creationId xmlns:a16="http://schemas.microsoft.com/office/drawing/2014/main" id="{026A7FE8-7657-E899-CBBD-AA588FB3663B}"/>
              </a:ext>
            </a:extLst>
          </p:cNvPr>
          <p:cNvSpPr>
            <a:spLocks noGrp="1"/>
          </p:cNvSpPr>
          <p:nvPr>
            <p:ph type="body" sz="quarter" idx="13" hasCustomPrompt="1"/>
          </p:nvPr>
        </p:nvSpPr>
        <p:spPr>
          <a:xfrm>
            <a:off x="550864" y="753852"/>
            <a:ext cx="5076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8" name="Text Placeholder 12">
            <a:extLst>
              <a:ext uri="{FF2B5EF4-FFF2-40B4-BE49-F238E27FC236}">
                <a16:creationId xmlns:a16="http://schemas.microsoft.com/office/drawing/2014/main" id="{173AB386-34F7-6043-4B53-86A723ACB171}"/>
              </a:ext>
            </a:extLst>
          </p:cNvPr>
          <p:cNvSpPr>
            <a:spLocks noGrp="1"/>
          </p:cNvSpPr>
          <p:nvPr>
            <p:ph type="body" sz="quarter" idx="14"/>
          </p:nvPr>
        </p:nvSpPr>
        <p:spPr>
          <a:xfrm>
            <a:off x="550864" y="1808163"/>
            <a:ext cx="5076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0715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x Text / 1x Screensho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11090275"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3" y="753852"/>
            <a:ext cx="11090273"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628775"/>
            <a:ext cx="3204000" cy="4500563"/>
          </a:xfrm>
        </p:spPr>
        <p:txBody>
          <a:bodyPr/>
          <a:lstStyle>
            <a:lvl4pPr>
              <a:buClr>
                <a:schemeClr val="bg1"/>
              </a:buClr>
              <a:defRPr/>
            </a:lvl4pPr>
            <a:lvl5pPr>
              <a:buClr>
                <a:schemeClr val="bg1"/>
              </a:buClr>
              <a:defRPr/>
            </a:lvl5pPr>
          </a:lstStyle>
          <a:p>
            <a:pPr lvl="0"/>
            <a:r>
              <a:rPr lang="en-US"/>
              <a:t>Click to edit Master text styles</a:t>
            </a:r>
          </a:p>
          <a:p>
            <a:pPr lvl="1"/>
            <a:r>
              <a:rPr lang="en-US"/>
              <a:t>Second level</a:t>
            </a:r>
          </a:p>
          <a:p>
            <a:pPr lvl="2"/>
            <a:r>
              <a:rPr lang="en-US"/>
              <a:t>Third level</a:t>
            </a:r>
          </a:p>
        </p:txBody>
      </p:sp>
      <p:sp>
        <p:nvSpPr>
          <p:cNvPr id="6" name="Rectangle: Top Corners Rounded 5">
            <a:extLst>
              <a:ext uri="{FF2B5EF4-FFF2-40B4-BE49-F238E27FC236}">
                <a16:creationId xmlns:a16="http://schemas.microsoft.com/office/drawing/2014/main" id="{13418AE6-3475-B6CB-05F3-2E7EE8F27125}"/>
              </a:ext>
            </a:extLst>
          </p:cNvPr>
          <p:cNvSpPr/>
          <p:nvPr userDrawn="1"/>
        </p:nvSpPr>
        <p:spPr>
          <a:xfrm>
            <a:off x="4740276" y="1603375"/>
            <a:ext cx="6096000" cy="3651250"/>
          </a:xfrm>
          <a:prstGeom prst="round2SameRect">
            <a:avLst>
              <a:gd name="adj1" fmla="val 2349"/>
              <a:gd name="adj2" fmla="val 0"/>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1" name="Group 10">
            <a:extLst>
              <a:ext uri="{FF2B5EF4-FFF2-40B4-BE49-F238E27FC236}">
                <a16:creationId xmlns:a16="http://schemas.microsoft.com/office/drawing/2014/main" id="{9BC0F84A-9F67-A0D9-523F-A08FDCCDB610}"/>
              </a:ext>
            </a:extLst>
          </p:cNvPr>
          <p:cNvGrpSpPr/>
          <p:nvPr userDrawn="1"/>
        </p:nvGrpSpPr>
        <p:grpSpPr>
          <a:xfrm>
            <a:off x="10351298" y="1654106"/>
            <a:ext cx="118572" cy="116191"/>
            <a:chOff x="10353679" y="1654106"/>
            <a:chExt cx="118572" cy="116191"/>
          </a:xfrm>
        </p:grpSpPr>
        <p:sp>
          <p:nvSpPr>
            <p:cNvPr id="12" name="Rectangle 11">
              <a:extLst>
                <a:ext uri="{FF2B5EF4-FFF2-40B4-BE49-F238E27FC236}">
                  <a16:creationId xmlns:a16="http://schemas.microsoft.com/office/drawing/2014/main" id="{4D22A660-A891-BE4F-70E6-2A8B915A180F}"/>
                </a:ext>
              </a:extLst>
            </p:cNvPr>
            <p:cNvSpPr/>
            <p:nvPr/>
          </p:nvSpPr>
          <p:spPr>
            <a:xfrm>
              <a:off x="10382251" y="1680297"/>
              <a:ext cx="90000" cy="9000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F4780932-DFAD-F9D4-84A9-412EF888DA63}"/>
                </a:ext>
              </a:extLst>
            </p:cNvPr>
            <p:cNvSpPr/>
            <p:nvPr/>
          </p:nvSpPr>
          <p:spPr>
            <a:xfrm>
              <a:off x="10353679" y="1654106"/>
              <a:ext cx="90000" cy="9000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8" name="Group 17">
            <a:extLst>
              <a:ext uri="{FF2B5EF4-FFF2-40B4-BE49-F238E27FC236}">
                <a16:creationId xmlns:a16="http://schemas.microsoft.com/office/drawing/2014/main" id="{6B000B0B-E758-5C04-399D-7291C3FB0104}"/>
              </a:ext>
            </a:extLst>
          </p:cNvPr>
          <p:cNvGrpSpPr/>
          <p:nvPr userDrawn="1"/>
        </p:nvGrpSpPr>
        <p:grpSpPr>
          <a:xfrm>
            <a:off x="10602747" y="1677271"/>
            <a:ext cx="74459" cy="74459"/>
            <a:chOff x="10602747" y="1677271"/>
            <a:chExt cx="74459" cy="74459"/>
          </a:xfrm>
        </p:grpSpPr>
        <p:cxnSp>
          <p:nvCxnSpPr>
            <p:cNvPr id="19" name="Straight Connector 18">
              <a:extLst>
                <a:ext uri="{FF2B5EF4-FFF2-40B4-BE49-F238E27FC236}">
                  <a16:creationId xmlns:a16="http://schemas.microsoft.com/office/drawing/2014/main" id="{F6974CB6-8A3A-189D-82BD-C7D0556FE06F}"/>
                </a:ext>
              </a:extLst>
            </p:cNvPr>
            <p:cNvCxnSpPr>
              <a:cxnSpLocks/>
            </p:cNvCxnSpPr>
            <p:nvPr/>
          </p:nvCxnSpPr>
          <p:spPr>
            <a:xfrm>
              <a:off x="10602747" y="1677271"/>
              <a:ext cx="74459" cy="74459"/>
            </a:xfrm>
            <a:prstGeom prst="lin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B0947A5F-1E16-3451-B853-9DF883EB119B}"/>
                </a:ext>
              </a:extLst>
            </p:cNvPr>
            <p:cNvCxnSpPr>
              <a:cxnSpLocks/>
            </p:cNvCxnSpPr>
            <p:nvPr/>
          </p:nvCxnSpPr>
          <p:spPr>
            <a:xfrm flipH="1">
              <a:off x="10602747" y="1677271"/>
              <a:ext cx="74459" cy="74459"/>
            </a:xfrm>
            <a:prstGeom prst="lin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21" name="Straight Connector 20">
            <a:extLst>
              <a:ext uri="{FF2B5EF4-FFF2-40B4-BE49-F238E27FC236}">
                <a16:creationId xmlns:a16="http://schemas.microsoft.com/office/drawing/2014/main" id="{5EF5EFB6-196F-F63E-2DE7-D954DF520406}"/>
              </a:ext>
            </a:extLst>
          </p:cNvPr>
          <p:cNvCxnSpPr>
            <a:cxnSpLocks/>
          </p:cNvCxnSpPr>
          <p:nvPr userDrawn="1"/>
        </p:nvCxnSpPr>
        <p:spPr>
          <a:xfrm rot="2700000" flipH="1">
            <a:off x="10124115" y="1677271"/>
            <a:ext cx="74459" cy="74459"/>
          </a:xfrm>
          <a:prstGeom prst="lin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2" name="Picture Placeholder 15">
            <a:extLst>
              <a:ext uri="{FF2B5EF4-FFF2-40B4-BE49-F238E27FC236}">
                <a16:creationId xmlns:a16="http://schemas.microsoft.com/office/drawing/2014/main" id="{BD7FD75F-74DC-BC51-0299-6A9CCC57A509}"/>
              </a:ext>
            </a:extLst>
          </p:cNvPr>
          <p:cNvSpPr>
            <a:spLocks noGrp="1"/>
          </p:cNvSpPr>
          <p:nvPr>
            <p:ph type="pic" sz="quarter" idx="20" hasCustomPrompt="1"/>
          </p:nvPr>
        </p:nvSpPr>
        <p:spPr>
          <a:xfrm>
            <a:off x="4740276" y="1825625"/>
            <a:ext cx="6096000" cy="3429000"/>
          </a:xfrm>
          <a:solidFill>
            <a:schemeClr val="tx1">
              <a:lumMod val="75000"/>
              <a:lumOff val="25000"/>
            </a:schemeClr>
          </a:solidFill>
          <a:ln w="12700">
            <a:solidFill>
              <a:schemeClr val="bg1"/>
            </a:solidFill>
          </a:ln>
        </p:spPr>
        <p:txBody>
          <a:bodyPr tIns="108000" anchor="t" anchorCtr="0"/>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screenshot</a:t>
            </a:r>
          </a:p>
        </p:txBody>
      </p:sp>
    </p:spTree>
    <p:extLst>
      <p:ext uri="{BB962C8B-B14F-4D97-AF65-F5344CB8AC3E}">
        <p14:creationId xmlns:p14="http://schemas.microsoft.com/office/powerpoint/2010/main" val="31166411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x Text / 2x Smartpho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4" y="368828"/>
            <a:ext cx="3204000" cy="251885"/>
          </a:xfrm>
        </p:spPr>
        <p:txBody>
          <a:bodyPr/>
          <a:lstStyle>
            <a:lvl1pPr>
              <a:defRPr/>
            </a:lvl1pPr>
          </a:lstStyle>
          <a:p>
            <a:r>
              <a:rPr lang="en-US"/>
              <a:t>Header avenir demi</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320400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13" name="Text Placeholder 12">
            <a:extLst>
              <a:ext uri="{FF2B5EF4-FFF2-40B4-BE49-F238E27FC236}">
                <a16:creationId xmlns:a16="http://schemas.microsoft.com/office/drawing/2014/main" id="{94EED087-C914-C532-63CF-F214273BFBDB}"/>
              </a:ext>
            </a:extLst>
          </p:cNvPr>
          <p:cNvSpPr>
            <a:spLocks noGrp="1"/>
          </p:cNvSpPr>
          <p:nvPr>
            <p:ph type="body" sz="quarter" idx="14"/>
          </p:nvPr>
        </p:nvSpPr>
        <p:spPr>
          <a:xfrm>
            <a:off x="550864"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5" name="Rectangle: Rounded Corners 4">
            <a:extLst>
              <a:ext uri="{FF2B5EF4-FFF2-40B4-BE49-F238E27FC236}">
                <a16:creationId xmlns:a16="http://schemas.microsoft.com/office/drawing/2014/main" id="{9BF0B53D-F6DF-17CF-ACF1-4F88F84C5610}"/>
              </a:ext>
            </a:extLst>
          </p:cNvPr>
          <p:cNvSpPr/>
          <p:nvPr userDrawn="1"/>
        </p:nvSpPr>
        <p:spPr>
          <a:xfrm>
            <a:off x="4797580" y="741751"/>
            <a:ext cx="2596840" cy="5339329"/>
          </a:xfrm>
          <a:prstGeom prst="roundRect">
            <a:avLst>
              <a:gd name="adj" fmla="val 15682"/>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Rounded Corners 6">
            <a:extLst>
              <a:ext uri="{FF2B5EF4-FFF2-40B4-BE49-F238E27FC236}">
                <a16:creationId xmlns:a16="http://schemas.microsoft.com/office/drawing/2014/main" id="{88FE36AE-9D75-CC42-0B21-B390E3C001E0}"/>
              </a:ext>
            </a:extLst>
          </p:cNvPr>
          <p:cNvSpPr/>
          <p:nvPr userDrawn="1"/>
        </p:nvSpPr>
        <p:spPr>
          <a:xfrm>
            <a:off x="8485788" y="741751"/>
            <a:ext cx="2596840" cy="5339329"/>
          </a:xfrm>
          <a:prstGeom prst="roundRect">
            <a:avLst>
              <a:gd name="adj" fmla="val 15682"/>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0B0ADDAA-836E-54C8-DD63-18E67F92F62D}"/>
              </a:ext>
            </a:extLst>
          </p:cNvPr>
          <p:cNvCxnSpPr/>
          <p:nvPr userDrawn="1"/>
        </p:nvCxnSpPr>
        <p:spPr>
          <a:xfrm>
            <a:off x="4495800" y="1171568"/>
            <a:ext cx="6896100" cy="0"/>
          </a:xfrm>
          <a:prstGeom prst="line">
            <a:avLst/>
          </a:prstGeom>
          <a:ln w="635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367174E-1155-F38D-51EE-2F4AC411D02F}"/>
              </a:ext>
            </a:extLst>
          </p:cNvPr>
          <p:cNvCxnSpPr/>
          <p:nvPr userDrawn="1"/>
        </p:nvCxnSpPr>
        <p:spPr>
          <a:xfrm>
            <a:off x="4495800" y="5652617"/>
            <a:ext cx="6896100" cy="0"/>
          </a:xfrm>
          <a:prstGeom prst="line">
            <a:avLst/>
          </a:prstGeom>
          <a:ln w="635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15">
            <a:extLst>
              <a:ext uri="{FF2B5EF4-FFF2-40B4-BE49-F238E27FC236}">
                <a16:creationId xmlns:a16="http://schemas.microsoft.com/office/drawing/2014/main" id="{16121244-99D9-2546-8BEB-1F14FA9475F8}"/>
              </a:ext>
            </a:extLst>
          </p:cNvPr>
          <p:cNvSpPr>
            <a:spLocks noGrp="1"/>
          </p:cNvSpPr>
          <p:nvPr>
            <p:ph type="pic" sz="quarter" idx="20" hasCustomPrompt="1"/>
          </p:nvPr>
        </p:nvSpPr>
        <p:spPr>
          <a:xfrm>
            <a:off x="4938715" y="882462"/>
            <a:ext cx="2314571" cy="5057907"/>
          </a:xfrm>
          <a:prstGeom prst="roundRect">
            <a:avLst>
              <a:gd name="adj" fmla="val 12313"/>
            </a:avLst>
          </a:prstGeom>
          <a:solidFill>
            <a:schemeClr val="tx1">
              <a:lumMod val="75000"/>
              <a:lumOff val="25000"/>
            </a:schemeClr>
          </a:solidFill>
          <a:ln w="12700">
            <a:noFill/>
          </a:ln>
        </p:spPr>
        <p:txBody>
          <a:bodyPr lIns="72000" tIns="108000" rIns="72000" anchor="t" anchorCtr="0"/>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a:t>
            </a:r>
            <a:r>
              <a:rPr lang="en-GB"/>
              <a:t>screenshot</a:t>
            </a:r>
          </a:p>
        </p:txBody>
      </p:sp>
      <p:sp>
        <p:nvSpPr>
          <p:cNvPr id="11" name="Picture Placeholder 15">
            <a:extLst>
              <a:ext uri="{FF2B5EF4-FFF2-40B4-BE49-F238E27FC236}">
                <a16:creationId xmlns:a16="http://schemas.microsoft.com/office/drawing/2014/main" id="{013E17C5-D35B-479F-D89C-BD2C881A189B}"/>
              </a:ext>
            </a:extLst>
          </p:cNvPr>
          <p:cNvSpPr>
            <a:spLocks noGrp="1"/>
          </p:cNvSpPr>
          <p:nvPr>
            <p:ph type="pic" sz="quarter" idx="21" hasCustomPrompt="1"/>
          </p:nvPr>
        </p:nvSpPr>
        <p:spPr>
          <a:xfrm>
            <a:off x="8626923" y="882462"/>
            <a:ext cx="2314571" cy="5057907"/>
          </a:xfrm>
          <a:prstGeom prst="roundRect">
            <a:avLst>
              <a:gd name="adj" fmla="val 12313"/>
            </a:avLst>
          </a:prstGeom>
          <a:solidFill>
            <a:schemeClr val="tx1">
              <a:lumMod val="75000"/>
              <a:lumOff val="25000"/>
            </a:schemeClr>
          </a:solidFill>
          <a:ln w="12700">
            <a:noFill/>
          </a:ln>
        </p:spPr>
        <p:txBody>
          <a:bodyPr lIns="72000" tIns="108000" rIns="72000" anchor="t" anchorCtr="0"/>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a:t>
            </a:r>
            <a:r>
              <a:rPr lang="en-GB"/>
              <a:t>screenshot</a:t>
            </a:r>
          </a:p>
        </p:txBody>
      </p:sp>
    </p:spTree>
    <p:extLst>
      <p:ext uri="{BB962C8B-B14F-4D97-AF65-F5344CB8AC3E}">
        <p14:creationId xmlns:p14="http://schemas.microsoft.com/office/powerpoint/2010/main" val="36871821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x Columns / 1x Smartph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0F821-5920-9EC7-0061-529319AFDFAB}"/>
              </a:ext>
            </a:extLst>
          </p:cNvPr>
          <p:cNvSpPr>
            <a:spLocks noGrp="1"/>
          </p:cNvSpPr>
          <p:nvPr>
            <p:ph type="title" hasCustomPrompt="1"/>
          </p:nvPr>
        </p:nvSpPr>
        <p:spPr>
          <a:xfrm>
            <a:off x="550863" y="368828"/>
            <a:ext cx="6948911" cy="251885"/>
          </a:xfrm>
        </p:spPr>
        <p:txBody>
          <a:bodyPr/>
          <a:lstStyle>
            <a:lvl1pPr>
              <a:defRPr/>
            </a:lvl1pPr>
          </a:lstStyle>
          <a:p>
            <a:r>
              <a:rPr lang="en-US"/>
              <a:t>Header avenir demi 24pt</a:t>
            </a:r>
            <a:endParaRPr lang="en-GB"/>
          </a:p>
        </p:txBody>
      </p:sp>
      <p:sp>
        <p:nvSpPr>
          <p:cNvPr id="3" name="Footer Placeholder 2">
            <a:extLst>
              <a:ext uri="{FF2B5EF4-FFF2-40B4-BE49-F238E27FC236}">
                <a16:creationId xmlns:a16="http://schemas.microsoft.com/office/drawing/2014/main" id="{0871EE65-26EE-B181-C60C-77234227C285}"/>
              </a:ext>
            </a:extLst>
          </p:cNvPr>
          <p:cNvSpPr>
            <a:spLocks noGrp="1"/>
          </p:cNvSpPr>
          <p:nvPr>
            <p:ph type="ftr" sz="quarter" idx="10"/>
          </p:nvPr>
        </p:nvSpPr>
        <p:spPr>
          <a:xfrm>
            <a:off x="8040688" y="6348353"/>
            <a:ext cx="3292473" cy="215901"/>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0BDD441-95E6-955E-8A17-BE1B5185D4A8}"/>
              </a:ext>
            </a:extLst>
          </p:cNvPr>
          <p:cNvSpPr>
            <a:spLocks noGrp="1"/>
          </p:cNvSpPr>
          <p:nvPr>
            <p:ph type="sldNum" sz="quarter" idx="11"/>
          </p:nvPr>
        </p:nvSpPr>
        <p:spPr>
          <a:xfrm>
            <a:off x="11509200" y="6348353"/>
            <a:ext cx="215899" cy="215900"/>
          </a:xfrm>
        </p:spPr>
        <p:txBody>
          <a:bodyPr/>
          <a:lstStyle>
            <a:lvl1pPr>
              <a:defRPr>
                <a:solidFill>
                  <a:schemeClr val="bg1"/>
                </a:solidFill>
              </a:defRPr>
            </a:lvl1pPr>
          </a:lstStyle>
          <a:p>
            <a:fld id="{F59CD943-D024-467A-B36E-F11E1285ED75}" type="slidenum">
              <a:rPr lang="en-GB" smtClean="0"/>
              <a:pPr/>
              <a:t>‹#›</a:t>
            </a:fld>
            <a:endParaRPr lang="en-GB"/>
          </a:p>
        </p:txBody>
      </p:sp>
      <p:sp>
        <p:nvSpPr>
          <p:cNvPr id="10" name="Text Placeholder 9">
            <a:extLst>
              <a:ext uri="{FF2B5EF4-FFF2-40B4-BE49-F238E27FC236}">
                <a16:creationId xmlns:a16="http://schemas.microsoft.com/office/drawing/2014/main" id="{88D86876-3FB4-FBBD-1737-D60B88DA98AF}"/>
              </a:ext>
            </a:extLst>
          </p:cNvPr>
          <p:cNvSpPr>
            <a:spLocks noGrp="1"/>
          </p:cNvSpPr>
          <p:nvPr>
            <p:ph type="body" sz="quarter" idx="13" hasCustomPrompt="1"/>
          </p:nvPr>
        </p:nvSpPr>
        <p:spPr>
          <a:xfrm>
            <a:off x="550864" y="753852"/>
            <a:ext cx="6948910" cy="336973"/>
          </a:xfrm>
          <a:prstGeom prst="rect">
            <a:avLst/>
          </a:prstGeom>
        </p:spPr>
        <p:txBody>
          <a:bodyPr lIns="0" tIns="0" rIns="0" bIns="0">
            <a:noAutofit/>
          </a:bodyPr>
          <a:lstStyle>
            <a:lvl1pPr marL="0" indent="0">
              <a:lnSpc>
                <a:spcPct val="90000"/>
              </a:lnSpc>
              <a:buNone/>
              <a:defRPr sz="2000"/>
            </a:lvl1pPr>
          </a:lstStyle>
          <a:p>
            <a:pPr lvl="0"/>
            <a:r>
              <a:rPr lang="en-US"/>
              <a:t>Subhead avenir pro 20pt</a:t>
            </a:r>
            <a:endParaRPr lang="en-GB"/>
          </a:p>
        </p:txBody>
      </p:sp>
      <p:sp>
        <p:nvSpPr>
          <p:cNvPr id="7" name="Rectangle: Rounded Corners 6">
            <a:extLst>
              <a:ext uri="{FF2B5EF4-FFF2-40B4-BE49-F238E27FC236}">
                <a16:creationId xmlns:a16="http://schemas.microsoft.com/office/drawing/2014/main" id="{88FE36AE-9D75-CC42-0B21-B390E3C001E0}"/>
              </a:ext>
            </a:extLst>
          </p:cNvPr>
          <p:cNvSpPr/>
          <p:nvPr userDrawn="1"/>
        </p:nvSpPr>
        <p:spPr>
          <a:xfrm>
            <a:off x="8485788" y="741751"/>
            <a:ext cx="2596840" cy="5339329"/>
          </a:xfrm>
          <a:prstGeom prst="roundRect">
            <a:avLst>
              <a:gd name="adj" fmla="val 15682"/>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0B0ADDAA-836E-54C8-DD63-18E67F92F62D}"/>
              </a:ext>
            </a:extLst>
          </p:cNvPr>
          <p:cNvCxnSpPr/>
          <p:nvPr userDrawn="1"/>
        </p:nvCxnSpPr>
        <p:spPr>
          <a:xfrm>
            <a:off x="4495800" y="1171568"/>
            <a:ext cx="6896100" cy="0"/>
          </a:xfrm>
          <a:prstGeom prst="line">
            <a:avLst/>
          </a:prstGeom>
          <a:ln w="635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367174E-1155-F38D-51EE-2F4AC411D02F}"/>
              </a:ext>
            </a:extLst>
          </p:cNvPr>
          <p:cNvCxnSpPr/>
          <p:nvPr userDrawn="1"/>
        </p:nvCxnSpPr>
        <p:spPr>
          <a:xfrm>
            <a:off x="4495800" y="5652617"/>
            <a:ext cx="6896100" cy="0"/>
          </a:xfrm>
          <a:prstGeom prst="line">
            <a:avLst/>
          </a:prstGeom>
          <a:ln w="635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12">
            <a:extLst>
              <a:ext uri="{FF2B5EF4-FFF2-40B4-BE49-F238E27FC236}">
                <a16:creationId xmlns:a16="http://schemas.microsoft.com/office/drawing/2014/main" id="{1F5188B7-08EE-1AE1-2A08-B260F1FCC267}"/>
              </a:ext>
            </a:extLst>
          </p:cNvPr>
          <p:cNvSpPr>
            <a:spLocks noGrp="1"/>
          </p:cNvSpPr>
          <p:nvPr>
            <p:ph type="body" sz="quarter" idx="14"/>
          </p:nvPr>
        </p:nvSpPr>
        <p:spPr>
          <a:xfrm>
            <a:off x="550864"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11" name="Text Placeholder 12">
            <a:extLst>
              <a:ext uri="{FF2B5EF4-FFF2-40B4-BE49-F238E27FC236}">
                <a16:creationId xmlns:a16="http://schemas.microsoft.com/office/drawing/2014/main" id="{AC4544FE-A31D-1611-BA47-FB2E0EA7D648}"/>
              </a:ext>
            </a:extLst>
          </p:cNvPr>
          <p:cNvSpPr>
            <a:spLocks noGrp="1"/>
          </p:cNvSpPr>
          <p:nvPr>
            <p:ph type="body" sz="quarter" idx="15"/>
          </p:nvPr>
        </p:nvSpPr>
        <p:spPr>
          <a:xfrm>
            <a:off x="4295775" y="1808163"/>
            <a:ext cx="3204000" cy="4321175"/>
          </a:xfrm>
          <a:noFill/>
        </p:spPr>
        <p:txBody>
          <a:bodyPr vert="horz" lIns="0" tIns="0" rIns="0" bIns="0" rtlCol="0">
            <a:noAutofit/>
          </a:bodyPr>
          <a:lstStyle>
            <a:lvl1pPr>
              <a:defRPr lang="en-US"/>
            </a:lvl1pPr>
            <a:lvl2pPr>
              <a:defRPr lang="en-US"/>
            </a:lvl2pPr>
            <a:lvl3pPr>
              <a:defRPr lang="en-US"/>
            </a:lvl3pPr>
            <a:lvl4pPr>
              <a:defRPr lang="en-US"/>
            </a:lvl4pPr>
            <a:lvl5pPr>
              <a:defRPr lang="en-GB"/>
            </a:lvl5pPr>
          </a:lstStyle>
          <a:p>
            <a:pPr lvl="0"/>
            <a:r>
              <a:rPr lang="en-US"/>
              <a:t>Click to edit Master text styles</a:t>
            </a:r>
          </a:p>
          <a:p>
            <a:pPr lvl="1"/>
            <a:r>
              <a:rPr lang="en-US"/>
              <a:t>Second level</a:t>
            </a:r>
          </a:p>
          <a:p>
            <a:pPr lvl="2"/>
            <a:r>
              <a:rPr lang="en-US"/>
              <a:t>Third level</a:t>
            </a:r>
          </a:p>
        </p:txBody>
      </p:sp>
      <p:sp>
        <p:nvSpPr>
          <p:cNvPr id="5" name="Picture Placeholder 15">
            <a:extLst>
              <a:ext uri="{FF2B5EF4-FFF2-40B4-BE49-F238E27FC236}">
                <a16:creationId xmlns:a16="http://schemas.microsoft.com/office/drawing/2014/main" id="{83098F46-CCA3-C9DF-E04C-80FBCEF25711}"/>
              </a:ext>
            </a:extLst>
          </p:cNvPr>
          <p:cNvSpPr>
            <a:spLocks noGrp="1"/>
          </p:cNvSpPr>
          <p:nvPr>
            <p:ph type="pic" sz="quarter" idx="21" hasCustomPrompt="1"/>
          </p:nvPr>
        </p:nvSpPr>
        <p:spPr>
          <a:xfrm>
            <a:off x="8626923" y="882462"/>
            <a:ext cx="2314571" cy="5057907"/>
          </a:xfrm>
          <a:prstGeom prst="roundRect">
            <a:avLst>
              <a:gd name="adj" fmla="val 12313"/>
            </a:avLst>
          </a:prstGeom>
          <a:solidFill>
            <a:schemeClr val="tx1">
              <a:lumMod val="75000"/>
              <a:lumOff val="25000"/>
            </a:schemeClr>
          </a:solidFill>
          <a:ln w="12700">
            <a:noFill/>
          </a:ln>
        </p:spPr>
        <p:txBody>
          <a:bodyPr lIns="72000" tIns="108000" rIns="72000" anchor="t" anchorCtr="0"/>
          <a:lstStyle>
            <a:lvl1pPr marL="0" indent="0" algn="ctr">
              <a:buNone/>
              <a:defRPr sz="1000">
                <a:solidFill>
                  <a:schemeClr val="accent1"/>
                </a:solidFill>
                <a:latin typeface="+mn-lt"/>
              </a:defRPr>
            </a:lvl1pPr>
          </a:lstStyle>
          <a:p>
            <a:pPr lvl="0"/>
            <a:r>
              <a:rPr lang="en-US"/>
              <a:t>Drag picture file here or click </a:t>
            </a:r>
            <a:r>
              <a:rPr lang="en-US" noProof="0"/>
              <a:t>center</a:t>
            </a:r>
            <a:r>
              <a:rPr lang="en-US"/>
              <a:t> icon to insert </a:t>
            </a:r>
            <a:r>
              <a:rPr lang="en-GB"/>
              <a:t>screenshot</a:t>
            </a:r>
          </a:p>
        </p:txBody>
      </p:sp>
    </p:spTree>
    <p:extLst>
      <p:ext uri="{BB962C8B-B14F-4D97-AF65-F5344CB8AC3E}">
        <p14:creationId xmlns:p14="http://schemas.microsoft.com/office/powerpoint/2010/main" val="425564848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image" Target="../media/image4.png"/><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theme" Target="../theme/theme10.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image" Target="../media/image5.svg"/></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96.xml"/><Relationship Id="rId1" Type="http://schemas.openxmlformats.org/officeDocument/2006/relationships/slideLayout" Target="../slideLayouts/slideLayout95.xml"/><Relationship Id="rId5" Type="http://schemas.openxmlformats.org/officeDocument/2006/relationships/image" Target="../media/image5.svg"/><Relationship Id="rId4" Type="http://schemas.openxmlformats.org/officeDocument/2006/relationships/image" Target="../media/image4.png"/></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Layout" Target="../slideLayouts/slideLayout99.xml"/><Relationship Id="rId7" Type="http://schemas.openxmlformats.org/officeDocument/2006/relationships/image" Target="../media/image4.png"/><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theme" Target="../theme/theme12.xml"/><Relationship Id="rId5" Type="http://schemas.openxmlformats.org/officeDocument/2006/relationships/slideLayout" Target="../slideLayouts/slideLayout101.xml"/><Relationship Id="rId4" Type="http://schemas.openxmlformats.org/officeDocument/2006/relationships/slideLayout" Target="../slideLayouts/slideLayout100.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5" Type="http://schemas.openxmlformats.org/officeDocument/2006/relationships/image" Target="../media/image5.svg"/><Relationship Id="rId4" Type="http://schemas.openxmlformats.org/officeDocument/2006/relationships/image" Target="../media/image4.png"/></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06.xml"/><Relationship Id="rId7" Type="http://schemas.openxmlformats.org/officeDocument/2006/relationships/theme" Target="../theme/theme14.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5" Type="http://schemas.openxmlformats.org/officeDocument/2006/relationships/slideLayout" Target="../slideLayouts/slideLayout108.xml"/><Relationship Id="rId4" Type="http://schemas.openxmlformats.org/officeDocument/2006/relationships/slideLayout" Target="../slideLayouts/slideLayout107.xml"/><Relationship Id="rId9" Type="http://schemas.openxmlformats.org/officeDocument/2006/relationships/image" Target="../media/image2.svg"/></Relationships>
</file>

<file path=ppt/slideMasters/_rels/slideMaster15.xml.rels><?xml version="1.0" encoding="UTF-8" standalone="yes"?>
<Relationships xmlns="http://schemas.openxmlformats.org/package/2006/relationships"><Relationship Id="rId117" Type="http://schemas.openxmlformats.org/officeDocument/2006/relationships/slideLayout" Target="../slideLayouts/slideLayout226.xml"/><Relationship Id="rId21" Type="http://schemas.openxmlformats.org/officeDocument/2006/relationships/slideLayout" Target="../slideLayouts/slideLayout130.xml"/><Relationship Id="rId42" Type="http://schemas.openxmlformats.org/officeDocument/2006/relationships/slideLayout" Target="../slideLayouts/slideLayout151.xml"/><Relationship Id="rId63" Type="http://schemas.openxmlformats.org/officeDocument/2006/relationships/slideLayout" Target="../slideLayouts/slideLayout172.xml"/><Relationship Id="rId84" Type="http://schemas.openxmlformats.org/officeDocument/2006/relationships/slideLayout" Target="../slideLayouts/slideLayout193.xml"/><Relationship Id="rId16" Type="http://schemas.openxmlformats.org/officeDocument/2006/relationships/slideLayout" Target="../slideLayouts/slideLayout125.xml"/><Relationship Id="rId107" Type="http://schemas.openxmlformats.org/officeDocument/2006/relationships/slideLayout" Target="../slideLayouts/slideLayout216.xml"/><Relationship Id="rId11" Type="http://schemas.openxmlformats.org/officeDocument/2006/relationships/slideLayout" Target="../slideLayouts/slideLayout120.xml"/><Relationship Id="rId32" Type="http://schemas.openxmlformats.org/officeDocument/2006/relationships/slideLayout" Target="../slideLayouts/slideLayout141.xml"/><Relationship Id="rId37" Type="http://schemas.openxmlformats.org/officeDocument/2006/relationships/slideLayout" Target="../slideLayouts/slideLayout146.xml"/><Relationship Id="rId53" Type="http://schemas.openxmlformats.org/officeDocument/2006/relationships/slideLayout" Target="../slideLayouts/slideLayout162.xml"/><Relationship Id="rId58" Type="http://schemas.openxmlformats.org/officeDocument/2006/relationships/slideLayout" Target="../slideLayouts/slideLayout167.xml"/><Relationship Id="rId74" Type="http://schemas.openxmlformats.org/officeDocument/2006/relationships/slideLayout" Target="../slideLayouts/slideLayout183.xml"/><Relationship Id="rId79" Type="http://schemas.openxmlformats.org/officeDocument/2006/relationships/slideLayout" Target="../slideLayouts/slideLayout188.xml"/><Relationship Id="rId102" Type="http://schemas.openxmlformats.org/officeDocument/2006/relationships/slideLayout" Target="../slideLayouts/slideLayout211.xml"/><Relationship Id="rId123" Type="http://schemas.openxmlformats.org/officeDocument/2006/relationships/slideLayout" Target="../slideLayouts/slideLayout232.xml"/><Relationship Id="rId128" Type="http://schemas.openxmlformats.org/officeDocument/2006/relationships/slideLayout" Target="../slideLayouts/slideLayout237.xml"/><Relationship Id="rId5" Type="http://schemas.openxmlformats.org/officeDocument/2006/relationships/slideLayout" Target="../slideLayouts/slideLayout114.xml"/><Relationship Id="rId90" Type="http://schemas.openxmlformats.org/officeDocument/2006/relationships/slideLayout" Target="../slideLayouts/slideLayout199.xml"/><Relationship Id="rId95" Type="http://schemas.openxmlformats.org/officeDocument/2006/relationships/slideLayout" Target="../slideLayouts/slideLayout204.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43" Type="http://schemas.openxmlformats.org/officeDocument/2006/relationships/slideLayout" Target="../slideLayouts/slideLayout152.xml"/><Relationship Id="rId48" Type="http://schemas.openxmlformats.org/officeDocument/2006/relationships/slideLayout" Target="../slideLayouts/slideLayout157.xml"/><Relationship Id="rId64" Type="http://schemas.openxmlformats.org/officeDocument/2006/relationships/slideLayout" Target="../slideLayouts/slideLayout173.xml"/><Relationship Id="rId69" Type="http://schemas.openxmlformats.org/officeDocument/2006/relationships/slideLayout" Target="../slideLayouts/slideLayout178.xml"/><Relationship Id="rId113" Type="http://schemas.openxmlformats.org/officeDocument/2006/relationships/slideLayout" Target="../slideLayouts/slideLayout222.xml"/><Relationship Id="rId118" Type="http://schemas.openxmlformats.org/officeDocument/2006/relationships/slideLayout" Target="../slideLayouts/slideLayout227.xml"/><Relationship Id="rId134" Type="http://schemas.openxmlformats.org/officeDocument/2006/relationships/slideLayout" Target="../slideLayouts/slideLayout243.xml"/><Relationship Id="rId80" Type="http://schemas.openxmlformats.org/officeDocument/2006/relationships/slideLayout" Target="../slideLayouts/slideLayout189.xml"/><Relationship Id="rId85" Type="http://schemas.openxmlformats.org/officeDocument/2006/relationships/slideLayout" Target="../slideLayouts/slideLayout194.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33" Type="http://schemas.openxmlformats.org/officeDocument/2006/relationships/slideLayout" Target="../slideLayouts/slideLayout142.xml"/><Relationship Id="rId38" Type="http://schemas.openxmlformats.org/officeDocument/2006/relationships/slideLayout" Target="../slideLayouts/slideLayout147.xml"/><Relationship Id="rId59" Type="http://schemas.openxmlformats.org/officeDocument/2006/relationships/slideLayout" Target="../slideLayouts/slideLayout168.xml"/><Relationship Id="rId103" Type="http://schemas.openxmlformats.org/officeDocument/2006/relationships/slideLayout" Target="../slideLayouts/slideLayout212.xml"/><Relationship Id="rId108" Type="http://schemas.openxmlformats.org/officeDocument/2006/relationships/slideLayout" Target="../slideLayouts/slideLayout217.xml"/><Relationship Id="rId124" Type="http://schemas.openxmlformats.org/officeDocument/2006/relationships/slideLayout" Target="../slideLayouts/slideLayout233.xml"/><Relationship Id="rId129" Type="http://schemas.openxmlformats.org/officeDocument/2006/relationships/slideLayout" Target="../slideLayouts/slideLayout238.xml"/><Relationship Id="rId54" Type="http://schemas.openxmlformats.org/officeDocument/2006/relationships/slideLayout" Target="../slideLayouts/slideLayout163.xml"/><Relationship Id="rId70" Type="http://schemas.openxmlformats.org/officeDocument/2006/relationships/slideLayout" Target="../slideLayouts/slideLayout179.xml"/><Relationship Id="rId75" Type="http://schemas.openxmlformats.org/officeDocument/2006/relationships/slideLayout" Target="../slideLayouts/slideLayout184.xml"/><Relationship Id="rId91" Type="http://schemas.openxmlformats.org/officeDocument/2006/relationships/slideLayout" Target="../slideLayouts/slideLayout200.xml"/><Relationship Id="rId96" Type="http://schemas.openxmlformats.org/officeDocument/2006/relationships/slideLayout" Target="../slideLayouts/slideLayout205.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49" Type="http://schemas.openxmlformats.org/officeDocument/2006/relationships/slideLayout" Target="../slideLayouts/slideLayout158.xml"/><Relationship Id="rId114" Type="http://schemas.openxmlformats.org/officeDocument/2006/relationships/slideLayout" Target="../slideLayouts/slideLayout223.xml"/><Relationship Id="rId119" Type="http://schemas.openxmlformats.org/officeDocument/2006/relationships/slideLayout" Target="../slideLayouts/slideLayout228.xml"/><Relationship Id="rId44" Type="http://schemas.openxmlformats.org/officeDocument/2006/relationships/slideLayout" Target="../slideLayouts/slideLayout153.xml"/><Relationship Id="rId60" Type="http://schemas.openxmlformats.org/officeDocument/2006/relationships/slideLayout" Target="../slideLayouts/slideLayout169.xml"/><Relationship Id="rId65" Type="http://schemas.openxmlformats.org/officeDocument/2006/relationships/slideLayout" Target="../slideLayouts/slideLayout174.xml"/><Relationship Id="rId81" Type="http://schemas.openxmlformats.org/officeDocument/2006/relationships/slideLayout" Target="../slideLayouts/slideLayout190.xml"/><Relationship Id="rId86" Type="http://schemas.openxmlformats.org/officeDocument/2006/relationships/slideLayout" Target="../slideLayouts/slideLayout195.xml"/><Relationship Id="rId130" Type="http://schemas.openxmlformats.org/officeDocument/2006/relationships/slideLayout" Target="../slideLayouts/slideLayout239.xml"/><Relationship Id="rId135" Type="http://schemas.openxmlformats.org/officeDocument/2006/relationships/slideLayout" Target="../slideLayouts/slideLayout244.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9" Type="http://schemas.openxmlformats.org/officeDocument/2006/relationships/slideLayout" Target="../slideLayouts/slideLayout148.xml"/><Relationship Id="rId109" Type="http://schemas.openxmlformats.org/officeDocument/2006/relationships/slideLayout" Target="../slideLayouts/slideLayout218.xml"/><Relationship Id="rId34" Type="http://schemas.openxmlformats.org/officeDocument/2006/relationships/slideLayout" Target="../slideLayouts/slideLayout143.xml"/><Relationship Id="rId50" Type="http://schemas.openxmlformats.org/officeDocument/2006/relationships/slideLayout" Target="../slideLayouts/slideLayout159.xml"/><Relationship Id="rId55" Type="http://schemas.openxmlformats.org/officeDocument/2006/relationships/slideLayout" Target="../slideLayouts/slideLayout164.xml"/><Relationship Id="rId76" Type="http://schemas.openxmlformats.org/officeDocument/2006/relationships/slideLayout" Target="../slideLayouts/slideLayout185.xml"/><Relationship Id="rId97" Type="http://schemas.openxmlformats.org/officeDocument/2006/relationships/slideLayout" Target="../slideLayouts/slideLayout206.xml"/><Relationship Id="rId104" Type="http://schemas.openxmlformats.org/officeDocument/2006/relationships/slideLayout" Target="../slideLayouts/slideLayout213.xml"/><Relationship Id="rId120" Type="http://schemas.openxmlformats.org/officeDocument/2006/relationships/slideLayout" Target="../slideLayouts/slideLayout229.xml"/><Relationship Id="rId125" Type="http://schemas.openxmlformats.org/officeDocument/2006/relationships/slideLayout" Target="../slideLayouts/slideLayout234.xml"/><Relationship Id="rId7" Type="http://schemas.openxmlformats.org/officeDocument/2006/relationships/slideLayout" Target="../slideLayouts/slideLayout116.xml"/><Relationship Id="rId71" Type="http://schemas.openxmlformats.org/officeDocument/2006/relationships/slideLayout" Target="../slideLayouts/slideLayout180.xml"/><Relationship Id="rId92" Type="http://schemas.openxmlformats.org/officeDocument/2006/relationships/slideLayout" Target="../slideLayouts/slideLayout201.xml"/><Relationship Id="rId2" Type="http://schemas.openxmlformats.org/officeDocument/2006/relationships/slideLayout" Target="../slideLayouts/slideLayout111.xml"/><Relationship Id="rId29" Type="http://schemas.openxmlformats.org/officeDocument/2006/relationships/slideLayout" Target="../slideLayouts/slideLayout138.xml"/><Relationship Id="rId24" Type="http://schemas.openxmlformats.org/officeDocument/2006/relationships/slideLayout" Target="../slideLayouts/slideLayout133.xml"/><Relationship Id="rId40" Type="http://schemas.openxmlformats.org/officeDocument/2006/relationships/slideLayout" Target="../slideLayouts/slideLayout149.xml"/><Relationship Id="rId45" Type="http://schemas.openxmlformats.org/officeDocument/2006/relationships/slideLayout" Target="../slideLayouts/slideLayout154.xml"/><Relationship Id="rId66" Type="http://schemas.openxmlformats.org/officeDocument/2006/relationships/slideLayout" Target="../slideLayouts/slideLayout175.xml"/><Relationship Id="rId87" Type="http://schemas.openxmlformats.org/officeDocument/2006/relationships/slideLayout" Target="../slideLayouts/slideLayout196.xml"/><Relationship Id="rId110" Type="http://schemas.openxmlformats.org/officeDocument/2006/relationships/slideLayout" Target="../slideLayouts/slideLayout219.xml"/><Relationship Id="rId115" Type="http://schemas.openxmlformats.org/officeDocument/2006/relationships/slideLayout" Target="../slideLayouts/slideLayout224.xml"/><Relationship Id="rId131" Type="http://schemas.openxmlformats.org/officeDocument/2006/relationships/slideLayout" Target="../slideLayouts/slideLayout240.xml"/><Relationship Id="rId136" Type="http://schemas.openxmlformats.org/officeDocument/2006/relationships/theme" Target="../theme/theme15.xml"/><Relationship Id="rId61" Type="http://schemas.openxmlformats.org/officeDocument/2006/relationships/slideLayout" Target="../slideLayouts/slideLayout170.xml"/><Relationship Id="rId82" Type="http://schemas.openxmlformats.org/officeDocument/2006/relationships/slideLayout" Target="../slideLayouts/slideLayout191.xml"/><Relationship Id="rId19" Type="http://schemas.openxmlformats.org/officeDocument/2006/relationships/slideLayout" Target="../slideLayouts/slideLayout128.xml"/><Relationship Id="rId14" Type="http://schemas.openxmlformats.org/officeDocument/2006/relationships/slideLayout" Target="../slideLayouts/slideLayout123.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56" Type="http://schemas.openxmlformats.org/officeDocument/2006/relationships/slideLayout" Target="../slideLayouts/slideLayout165.xml"/><Relationship Id="rId77" Type="http://schemas.openxmlformats.org/officeDocument/2006/relationships/slideLayout" Target="../slideLayouts/slideLayout186.xml"/><Relationship Id="rId100" Type="http://schemas.openxmlformats.org/officeDocument/2006/relationships/slideLayout" Target="../slideLayouts/slideLayout209.xml"/><Relationship Id="rId105" Type="http://schemas.openxmlformats.org/officeDocument/2006/relationships/slideLayout" Target="../slideLayouts/slideLayout214.xml"/><Relationship Id="rId126" Type="http://schemas.openxmlformats.org/officeDocument/2006/relationships/slideLayout" Target="../slideLayouts/slideLayout235.xml"/><Relationship Id="rId8" Type="http://schemas.openxmlformats.org/officeDocument/2006/relationships/slideLayout" Target="../slideLayouts/slideLayout117.xml"/><Relationship Id="rId51" Type="http://schemas.openxmlformats.org/officeDocument/2006/relationships/slideLayout" Target="../slideLayouts/slideLayout160.xml"/><Relationship Id="rId72" Type="http://schemas.openxmlformats.org/officeDocument/2006/relationships/slideLayout" Target="../slideLayouts/slideLayout181.xml"/><Relationship Id="rId93" Type="http://schemas.openxmlformats.org/officeDocument/2006/relationships/slideLayout" Target="../slideLayouts/slideLayout202.xml"/><Relationship Id="rId98" Type="http://schemas.openxmlformats.org/officeDocument/2006/relationships/slideLayout" Target="../slideLayouts/slideLayout207.xml"/><Relationship Id="rId121" Type="http://schemas.openxmlformats.org/officeDocument/2006/relationships/slideLayout" Target="../slideLayouts/slideLayout230.xml"/><Relationship Id="rId3" Type="http://schemas.openxmlformats.org/officeDocument/2006/relationships/slideLayout" Target="../slideLayouts/slideLayout112.xml"/><Relationship Id="rId25" Type="http://schemas.openxmlformats.org/officeDocument/2006/relationships/slideLayout" Target="../slideLayouts/slideLayout134.xml"/><Relationship Id="rId46" Type="http://schemas.openxmlformats.org/officeDocument/2006/relationships/slideLayout" Target="../slideLayouts/slideLayout155.xml"/><Relationship Id="rId67" Type="http://schemas.openxmlformats.org/officeDocument/2006/relationships/slideLayout" Target="../slideLayouts/slideLayout176.xml"/><Relationship Id="rId116" Type="http://schemas.openxmlformats.org/officeDocument/2006/relationships/slideLayout" Target="../slideLayouts/slideLayout225.xml"/><Relationship Id="rId137" Type="http://schemas.openxmlformats.org/officeDocument/2006/relationships/image" Target="../media/image15.png"/><Relationship Id="rId20" Type="http://schemas.openxmlformats.org/officeDocument/2006/relationships/slideLayout" Target="../slideLayouts/slideLayout129.xml"/><Relationship Id="rId41" Type="http://schemas.openxmlformats.org/officeDocument/2006/relationships/slideLayout" Target="../slideLayouts/slideLayout150.xml"/><Relationship Id="rId62" Type="http://schemas.openxmlformats.org/officeDocument/2006/relationships/slideLayout" Target="../slideLayouts/slideLayout171.xml"/><Relationship Id="rId83" Type="http://schemas.openxmlformats.org/officeDocument/2006/relationships/slideLayout" Target="../slideLayouts/slideLayout192.xml"/><Relationship Id="rId88" Type="http://schemas.openxmlformats.org/officeDocument/2006/relationships/slideLayout" Target="../slideLayouts/slideLayout197.xml"/><Relationship Id="rId111" Type="http://schemas.openxmlformats.org/officeDocument/2006/relationships/slideLayout" Target="../slideLayouts/slideLayout220.xml"/><Relationship Id="rId132" Type="http://schemas.openxmlformats.org/officeDocument/2006/relationships/slideLayout" Target="../slideLayouts/slideLayout241.xml"/><Relationship Id="rId15" Type="http://schemas.openxmlformats.org/officeDocument/2006/relationships/slideLayout" Target="../slideLayouts/slideLayout124.xml"/><Relationship Id="rId36" Type="http://schemas.openxmlformats.org/officeDocument/2006/relationships/slideLayout" Target="../slideLayouts/slideLayout145.xml"/><Relationship Id="rId57" Type="http://schemas.openxmlformats.org/officeDocument/2006/relationships/slideLayout" Target="../slideLayouts/slideLayout166.xml"/><Relationship Id="rId106" Type="http://schemas.openxmlformats.org/officeDocument/2006/relationships/slideLayout" Target="../slideLayouts/slideLayout215.xml"/><Relationship Id="rId127" Type="http://schemas.openxmlformats.org/officeDocument/2006/relationships/slideLayout" Target="../slideLayouts/slideLayout236.xml"/><Relationship Id="rId10" Type="http://schemas.openxmlformats.org/officeDocument/2006/relationships/slideLayout" Target="../slideLayouts/slideLayout119.xml"/><Relationship Id="rId31" Type="http://schemas.openxmlformats.org/officeDocument/2006/relationships/slideLayout" Target="../slideLayouts/slideLayout140.xml"/><Relationship Id="rId52" Type="http://schemas.openxmlformats.org/officeDocument/2006/relationships/slideLayout" Target="../slideLayouts/slideLayout161.xml"/><Relationship Id="rId73" Type="http://schemas.openxmlformats.org/officeDocument/2006/relationships/slideLayout" Target="../slideLayouts/slideLayout182.xml"/><Relationship Id="rId78" Type="http://schemas.openxmlformats.org/officeDocument/2006/relationships/slideLayout" Target="../slideLayouts/slideLayout187.xml"/><Relationship Id="rId94" Type="http://schemas.openxmlformats.org/officeDocument/2006/relationships/slideLayout" Target="../slideLayouts/slideLayout203.xml"/><Relationship Id="rId99" Type="http://schemas.openxmlformats.org/officeDocument/2006/relationships/slideLayout" Target="../slideLayouts/slideLayout208.xml"/><Relationship Id="rId101" Type="http://schemas.openxmlformats.org/officeDocument/2006/relationships/slideLayout" Target="../slideLayouts/slideLayout210.xml"/><Relationship Id="rId122" Type="http://schemas.openxmlformats.org/officeDocument/2006/relationships/slideLayout" Target="../slideLayouts/slideLayout231.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26" Type="http://schemas.openxmlformats.org/officeDocument/2006/relationships/slideLayout" Target="../slideLayouts/slideLayout135.xml"/><Relationship Id="rId47" Type="http://schemas.openxmlformats.org/officeDocument/2006/relationships/slideLayout" Target="../slideLayouts/slideLayout156.xml"/><Relationship Id="rId68" Type="http://schemas.openxmlformats.org/officeDocument/2006/relationships/slideLayout" Target="../slideLayouts/slideLayout177.xml"/><Relationship Id="rId89" Type="http://schemas.openxmlformats.org/officeDocument/2006/relationships/slideLayout" Target="../slideLayouts/slideLayout198.xml"/><Relationship Id="rId112" Type="http://schemas.openxmlformats.org/officeDocument/2006/relationships/slideLayout" Target="../slideLayouts/slideLayout221.xml"/><Relationship Id="rId133" Type="http://schemas.openxmlformats.org/officeDocument/2006/relationships/slideLayout" Target="../slideLayouts/slideLayout24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2.svg"/><Relationship Id="rId5" Type="http://schemas.openxmlformats.org/officeDocument/2006/relationships/slideLayout" Target="../slideLayouts/slideLayout12.xml"/><Relationship Id="rId10" Type="http://schemas.openxmlformats.org/officeDocument/2006/relationships/image" Target="../media/image1.png"/><Relationship Id="rId4" Type="http://schemas.openxmlformats.org/officeDocument/2006/relationships/slideLayout" Target="../slideLayouts/slideLayout1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image" Target="../media/image2.svg"/><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image" Target="../media/image1.png"/><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theme" Target="../theme/theme4.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8" Type="http://schemas.openxmlformats.org/officeDocument/2006/relationships/slideLayout" Target="../slideLayouts/slideLayout2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5" Type="http://schemas.openxmlformats.org/officeDocument/2006/relationships/image" Target="../media/image2.svg"/><Relationship Id="rId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51.xml"/><Relationship Id="rId7" Type="http://schemas.openxmlformats.org/officeDocument/2006/relationships/image" Target="../media/image1.pn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6.xml"/><Relationship Id="rId5" Type="http://schemas.openxmlformats.org/officeDocument/2006/relationships/slideLayout" Target="../slideLayouts/slideLayout53.xml"/><Relationship Id="rId4" Type="http://schemas.openxmlformats.org/officeDocument/2006/relationships/slideLayout" Target="../slideLayouts/slideLayout52.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55.xml"/><Relationship Id="rId1" Type="http://schemas.openxmlformats.org/officeDocument/2006/relationships/slideLayout" Target="../slideLayouts/slideLayout54.xml"/><Relationship Id="rId5" Type="http://schemas.openxmlformats.org/officeDocument/2006/relationships/image" Target="../media/image2.svg"/><Relationship Id="rId4"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heme" Target="../theme/theme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5.svg"/><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image" Target="../media/image4.pn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6945" t="19498" r="6909" b="15243"/>
          <a:stretch/>
        </p:blipFill>
        <p:spPr>
          <a:xfrm>
            <a:off x="548482" y="6308725"/>
            <a:ext cx="1381418" cy="309766"/>
          </a:xfrm>
          <a:prstGeom prst="rect">
            <a:avLst/>
          </a:prstGeom>
        </p:spPr>
      </p:pic>
    </p:spTree>
    <p:extLst>
      <p:ext uri="{BB962C8B-B14F-4D97-AF65-F5344CB8AC3E}">
        <p14:creationId xmlns:p14="http://schemas.microsoft.com/office/powerpoint/2010/main" val="2253513242"/>
      </p:ext>
    </p:extLst>
  </p:cSld>
  <p:clrMap bg1="lt1" tx1="dk1" bg2="lt2" tx2="dk2" accent1="accent1" accent2="accent2" accent3="accent3" accent4="accent4" accent5="accent5" accent6="accent6" hlink="hlink" folHlink="folHlink"/>
  <p:sldLayoutIdLst>
    <p:sldLayoutId id="2147484588" r:id="rId1"/>
    <p:sldLayoutId id="2147484589" r:id="rId2"/>
    <p:sldLayoutId id="2147484491" r:id="rId3"/>
    <p:sldLayoutId id="2147484500" r:id="rId4"/>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18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tx1"/>
          </a:solidFill>
          <a:latin typeface="+mn-lt"/>
          <a:ea typeface="+mn-ea"/>
          <a:cs typeface="+mn-cs"/>
        </a:defRPr>
      </a:lvl4pPr>
      <a:lvl5pPr marL="36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tx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bg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bg1"/>
                </a:solidFill>
              </a:defRPr>
            </a:lvl1pPr>
          </a:lstStyle>
          <a:p>
            <a:fld id="{F59CD943-D024-467A-B36E-F11E1285ED75}" type="slidenum">
              <a:rPr lang="en-GB" smtClean="0"/>
              <a:pPr/>
              <a:t>‹#›</a:t>
            </a:fld>
            <a:endParaRPr lang="en-GB"/>
          </a:p>
        </p:txBody>
      </p:sp>
      <p:pic>
        <p:nvPicPr>
          <p:cNvPr id="208" name="Graphic 207">
            <a:extLst>
              <a:ext uri="{FF2B5EF4-FFF2-40B4-BE49-F238E27FC236}">
                <a16:creationId xmlns:a16="http://schemas.microsoft.com/office/drawing/2014/main" id="{AB351E08-0E99-FB1B-77C9-10D157E66236}"/>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550863" y="6336448"/>
            <a:ext cx="1381417" cy="233480"/>
          </a:xfrm>
          <a:prstGeom prst="rect">
            <a:avLst/>
          </a:prstGeom>
        </p:spPr>
      </p:pic>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a:noFill/>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91263953"/>
      </p:ext>
    </p:extLst>
  </p:cSld>
  <p:clrMap bg1="lt1" tx1="dk1" bg2="lt2" tx2="dk2" accent1="accent1" accent2="accent2" accent3="accent3" accent4="accent4" accent5="accent5" accent6="accent6" hlink="hlink" folHlink="folHlink"/>
  <p:sldLayoutIdLst>
    <p:sldLayoutId id="2147484278" r:id="rId1"/>
    <p:sldLayoutId id="2147484313" r:id="rId2"/>
    <p:sldLayoutId id="2147484314" r:id="rId3"/>
    <p:sldLayoutId id="2147484281" r:id="rId4"/>
    <p:sldLayoutId id="2147484282" r:id="rId5"/>
    <p:sldLayoutId id="2147484283" r:id="rId6"/>
    <p:sldLayoutId id="2147484284" r:id="rId7"/>
    <p:sldLayoutId id="2147484286" r:id="rId8"/>
    <p:sldLayoutId id="2147484311" r:id="rId9"/>
    <p:sldLayoutId id="2147484288" r:id="rId10"/>
    <p:sldLayoutId id="2147484289" r:id="rId11"/>
    <p:sldLayoutId id="2147484290" r:id="rId12"/>
    <p:sldLayoutId id="2147484293" r:id="rId13"/>
    <p:sldLayoutId id="2147484294" r:id="rId14"/>
    <p:sldLayoutId id="2147484295" r:id="rId15"/>
    <p:sldLayoutId id="2147484296" r:id="rId16"/>
    <p:sldLayoutId id="2147484297" r:id="rId17"/>
    <p:sldLayoutId id="2147484298" r:id="rId18"/>
    <p:sldLayoutId id="2147484312" r:id="rId19"/>
    <p:sldLayoutId id="2147484299" r:id="rId20"/>
    <p:sldLayoutId id="2147484306" r:id="rId21"/>
    <p:sldLayoutId id="2147484307" r:id="rId22"/>
    <p:sldLayoutId id="2147484308" r:id="rId23"/>
    <p:sldLayoutId id="2147484309" r:id="rId24"/>
  </p:sldLayoutIdLst>
  <p:hf hd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bg1"/>
          </a:solidFill>
          <a:latin typeface="+mn-lt"/>
          <a:ea typeface="+mn-ea"/>
          <a:cs typeface="+mn-cs"/>
        </a:defRPr>
      </a:lvl3pPr>
      <a:lvl4pPr marL="720000" indent="-180000" algn="l" defTabSz="914400" rtl="0" eaLnBrk="1" latinLnBrk="0" hangingPunct="1">
        <a:lnSpc>
          <a:spcPct val="100000"/>
        </a:lnSpc>
        <a:spcBef>
          <a:spcPts val="900"/>
        </a:spcBef>
        <a:buClr>
          <a:schemeClr val="bg1"/>
        </a:buClr>
        <a:buFont typeface="Courier New" panose="02070309020205020404" pitchFamily="49" charset="0"/>
        <a:buChar char="o"/>
        <a:defRPr sz="1500" kern="1200">
          <a:solidFill>
            <a:schemeClr val="bg1"/>
          </a:solidFill>
          <a:latin typeface="+mn-lt"/>
          <a:ea typeface="+mn-ea"/>
          <a:cs typeface="+mn-cs"/>
        </a:defRPr>
      </a:lvl4pPr>
      <a:lvl5pPr marL="900000" indent="-180000" algn="l" defTabSz="914400" rtl="0" eaLnBrk="1" latinLnBrk="0" hangingPunct="1">
        <a:lnSpc>
          <a:spcPct val="100000"/>
        </a:lnSpc>
        <a:spcBef>
          <a:spcPts val="900"/>
        </a:spcBef>
        <a:buClr>
          <a:schemeClr val="bg1"/>
        </a:buClr>
        <a:buFont typeface="Arial" panose="020B0604020202020204" pitchFamily="34" charset="0"/>
        <a:buChar char="­"/>
        <a:defRPr sz="1500" kern="1200">
          <a:solidFill>
            <a:schemeClr val="bg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bg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bg1"/>
                </a:solidFill>
              </a:defRPr>
            </a:lvl1pPr>
          </a:lstStyle>
          <a:p>
            <a:fld id="{F59CD943-D024-467A-B36E-F11E1285ED75}" type="slidenum">
              <a:rPr lang="en-GB" smtClean="0"/>
              <a:pPr/>
              <a:t>‹#›</a:t>
            </a:fld>
            <a:endParaRPr lang="en-GB"/>
          </a:p>
        </p:txBody>
      </p:sp>
      <p:pic>
        <p:nvPicPr>
          <p:cNvPr id="208" name="Graphic 207">
            <a:extLst>
              <a:ext uri="{FF2B5EF4-FFF2-40B4-BE49-F238E27FC236}">
                <a16:creationId xmlns:a16="http://schemas.microsoft.com/office/drawing/2014/main" id="{AB351E08-0E99-FB1B-77C9-10D157E662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50863" y="6336448"/>
            <a:ext cx="1381417" cy="233480"/>
          </a:xfrm>
          <a:prstGeom prst="rect">
            <a:avLst/>
          </a:prstGeom>
        </p:spPr>
      </p:pic>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a:noFill/>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24607411"/>
      </p:ext>
    </p:extLst>
  </p:cSld>
  <p:clrMap bg1="lt1" tx1="dk1" bg2="lt2" tx2="dk2" accent1="accent1" accent2="accent2" accent3="accent3" accent4="accent4" accent5="accent5" accent6="accent6" hlink="hlink" folHlink="folHlink"/>
  <p:sldLayoutIdLst>
    <p:sldLayoutId id="2147484537" r:id="rId1"/>
    <p:sldLayoutId id="2147484538" r:id="rId2"/>
  </p:sldLayoutIdLst>
  <p:hf hd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bg1"/>
          </a:solidFill>
          <a:latin typeface="+mn-lt"/>
          <a:ea typeface="+mn-ea"/>
          <a:cs typeface="+mn-cs"/>
        </a:defRPr>
      </a:lvl3pPr>
      <a:lvl4pPr marL="720000" indent="-180000" algn="l" defTabSz="914400" rtl="0" eaLnBrk="1" latinLnBrk="0" hangingPunct="1">
        <a:lnSpc>
          <a:spcPct val="100000"/>
        </a:lnSpc>
        <a:spcBef>
          <a:spcPts val="900"/>
        </a:spcBef>
        <a:buClr>
          <a:schemeClr val="bg1"/>
        </a:buClr>
        <a:buFont typeface="Courier New" panose="02070309020205020404" pitchFamily="49" charset="0"/>
        <a:buChar char="o"/>
        <a:defRPr sz="1500" kern="1200">
          <a:solidFill>
            <a:schemeClr val="bg1"/>
          </a:solidFill>
          <a:latin typeface="+mn-lt"/>
          <a:ea typeface="+mn-ea"/>
          <a:cs typeface="+mn-cs"/>
        </a:defRPr>
      </a:lvl4pPr>
      <a:lvl5pPr marL="900000" indent="-180000" algn="l" defTabSz="914400" rtl="0" eaLnBrk="1" latinLnBrk="0" hangingPunct="1">
        <a:lnSpc>
          <a:spcPct val="100000"/>
        </a:lnSpc>
        <a:spcBef>
          <a:spcPts val="900"/>
        </a:spcBef>
        <a:buClr>
          <a:schemeClr val="bg1"/>
        </a:buClr>
        <a:buFont typeface="Arial" panose="020B0604020202020204" pitchFamily="34" charset="0"/>
        <a:buChar char="­"/>
        <a:defRPr sz="1500" kern="1200">
          <a:solidFill>
            <a:schemeClr val="bg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bg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bg1"/>
                </a:solidFill>
              </a:defRPr>
            </a:lvl1pPr>
          </a:lstStyle>
          <a:p>
            <a:fld id="{F59CD943-D024-467A-B36E-F11E1285ED75}" type="slidenum">
              <a:rPr lang="en-GB" smtClean="0"/>
              <a:pPr/>
              <a:t>‹#›</a:t>
            </a:fld>
            <a:endParaRPr lang="en-GB"/>
          </a:p>
        </p:txBody>
      </p:sp>
      <p:pic>
        <p:nvPicPr>
          <p:cNvPr id="208" name="Graphic 207">
            <a:extLst>
              <a:ext uri="{FF2B5EF4-FFF2-40B4-BE49-F238E27FC236}">
                <a16:creationId xmlns:a16="http://schemas.microsoft.com/office/drawing/2014/main" id="{AB351E08-0E99-FB1B-77C9-10D157E6623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50863" y="6336448"/>
            <a:ext cx="1381417" cy="233480"/>
          </a:xfrm>
          <a:prstGeom prst="rect">
            <a:avLst/>
          </a:prstGeom>
        </p:spPr>
      </p:pic>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a:noFill/>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07030497"/>
      </p:ext>
    </p:extLst>
  </p:cSld>
  <p:clrMap bg1="lt1" tx1="dk1" bg2="lt2" tx2="dk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Lst>
  <p:hf hd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bg1"/>
          </a:solidFill>
          <a:latin typeface="+mn-lt"/>
          <a:ea typeface="+mn-ea"/>
          <a:cs typeface="+mn-cs"/>
        </a:defRPr>
      </a:lvl3pPr>
      <a:lvl4pPr marL="720000" indent="-180000" algn="l" defTabSz="914400" rtl="0" eaLnBrk="1" latinLnBrk="0" hangingPunct="1">
        <a:lnSpc>
          <a:spcPct val="100000"/>
        </a:lnSpc>
        <a:spcBef>
          <a:spcPts val="900"/>
        </a:spcBef>
        <a:buClr>
          <a:schemeClr val="bg1"/>
        </a:buClr>
        <a:buFont typeface="Courier New" panose="02070309020205020404" pitchFamily="49" charset="0"/>
        <a:buChar char="o"/>
        <a:defRPr sz="1500" kern="1200">
          <a:solidFill>
            <a:schemeClr val="bg1"/>
          </a:solidFill>
          <a:latin typeface="+mn-lt"/>
          <a:ea typeface="+mn-ea"/>
          <a:cs typeface="+mn-cs"/>
        </a:defRPr>
      </a:lvl4pPr>
      <a:lvl5pPr marL="900000" indent="-180000" algn="l" defTabSz="914400" rtl="0" eaLnBrk="1" latinLnBrk="0" hangingPunct="1">
        <a:lnSpc>
          <a:spcPct val="100000"/>
        </a:lnSpc>
        <a:spcBef>
          <a:spcPts val="900"/>
        </a:spcBef>
        <a:buClr>
          <a:schemeClr val="bg1"/>
        </a:buClr>
        <a:buFont typeface="Arial" panose="020B0604020202020204" pitchFamily="34" charset="0"/>
        <a:buChar char="­"/>
        <a:defRPr sz="1500" kern="1200">
          <a:solidFill>
            <a:schemeClr val="bg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bg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bg1"/>
                </a:solidFill>
              </a:defRPr>
            </a:lvl1pPr>
          </a:lstStyle>
          <a:p>
            <a:fld id="{F59CD943-D024-467A-B36E-F11E1285ED75}" type="slidenum">
              <a:rPr lang="en-GB" smtClean="0"/>
              <a:pPr/>
              <a:t>‹#›</a:t>
            </a:fld>
            <a:endParaRPr lang="en-GB"/>
          </a:p>
        </p:txBody>
      </p:sp>
      <p:pic>
        <p:nvPicPr>
          <p:cNvPr id="208" name="Graphic 207">
            <a:extLst>
              <a:ext uri="{FF2B5EF4-FFF2-40B4-BE49-F238E27FC236}">
                <a16:creationId xmlns:a16="http://schemas.microsoft.com/office/drawing/2014/main" id="{AB351E08-0E99-FB1B-77C9-10D157E662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50863" y="6336448"/>
            <a:ext cx="1381417" cy="233480"/>
          </a:xfrm>
          <a:prstGeom prst="rect">
            <a:avLst/>
          </a:prstGeom>
        </p:spPr>
      </p:pic>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a:noFill/>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87309943"/>
      </p:ext>
    </p:extLst>
  </p:cSld>
  <p:clrMap bg1="lt1" tx1="dk1" bg2="lt2" tx2="dk2" accent1="accent1" accent2="accent2" accent3="accent3" accent4="accent4" accent5="accent5" accent6="accent6" hlink="hlink" folHlink="folHlink"/>
  <p:sldLayoutIdLst>
    <p:sldLayoutId id="2147484425" r:id="rId1"/>
    <p:sldLayoutId id="2147484426" r:id="rId2"/>
  </p:sldLayoutIdLst>
  <p:hf hd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bg1"/>
          </a:solidFill>
          <a:latin typeface="+mn-lt"/>
          <a:ea typeface="+mn-ea"/>
          <a:cs typeface="+mn-cs"/>
        </a:defRPr>
      </a:lvl3pPr>
      <a:lvl4pPr marL="720000" indent="-180000" algn="l" defTabSz="914400" rtl="0" eaLnBrk="1" latinLnBrk="0" hangingPunct="1">
        <a:lnSpc>
          <a:spcPct val="100000"/>
        </a:lnSpc>
        <a:spcBef>
          <a:spcPts val="900"/>
        </a:spcBef>
        <a:buClr>
          <a:schemeClr val="bg1"/>
        </a:buClr>
        <a:buFont typeface="Courier New" panose="02070309020205020404" pitchFamily="49" charset="0"/>
        <a:buChar char="o"/>
        <a:defRPr sz="1500" kern="1200">
          <a:solidFill>
            <a:schemeClr val="bg1"/>
          </a:solidFill>
          <a:latin typeface="+mn-lt"/>
          <a:ea typeface="+mn-ea"/>
          <a:cs typeface="+mn-cs"/>
        </a:defRPr>
      </a:lvl4pPr>
      <a:lvl5pPr marL="900000" indent="-180000" algn="l" defTabSz="914400" rtl="0" eaLnBrk="1" latinLnBrk="0" hangingPunct="1">
        <a:lnSpc>
          <a:spcPct val="100000"/>
        </a:lnSpc>
        <a:spcBef>
          <a:spcPts val="900"/>
        </a:spcBef>
        <a:buClr>
          <a:schemeClr val="bg1"/>
        </a:buClr>
        <a:buFont typeface="Arial" panose="020B0604020202020204" pitchFamily="34" charset="0"/>
        <a:buChar char="­"/>
        <a:defRPr sz="1500" kern="1200">
          <a:solidFill>
            <a:schemeClr val="bg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defRPr>
            </a:lvl1pPr>
          </a:lstStyle>
          <a:p>
            <a:fld id="{F59CD943-D024-467A-B36E-F11E1285ED75}" type="slidenum">
              <a:rPr lang="en-GB" smtClean="0"/>
              <a:pPr/>
              <a:t>‹#›</a:t>
            </a:fld>
            <a:endParaRPr lang="en-GB"/>
          </a:p>
        </p:txBody>
      </p: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6945" t="19498" r="6909" b="15243"/>
          <a:stretch/>
        </p:blipFill>
        <p:spPr>
          <a:xfrm>
            <a:off x="548482" y="6308725"/>
            <a:ext cx="1381418" cy="309766"/>
          </a:xfrm>
          <a:prstGeom prst="rect">
            <a:avLst/>
          </a:prstGeom>
        </p:spPr>
      </p:pic>
    </p:spTree>
    <p:extLst>
      <p:ext uri="{BB962C8B-B14F-4D97-AF65-F5344CB8AC3E}">
        <p14:creationId xmlns:p14="http://schemas.microsoft.com/office/powerpoint/2010/main" val="4005910495"/>
      </p:ext>
    </p:extLst>
  </p:cSld>
  <p:clrMap bg1="lt1" tx1="dk1" bg2="lt2" tx2="dk2" accent1="accent1" accent2="accent2" accent3="accent3" accent4="accent4" accent5="accent5" accent6="accent6" hlink="hlink" folHlink="folHlink"/>
  <p:sldLayoutIdLst>
    <p:sldLayoutId id="2147484208" r:id="rId1"/>
    <p:sldLayoutId id="2147484597" r:id="rId2"/>
    <p:sldLayoutId id="2147484206" r:id="rId3"/>
    <p:sldLayoutId id="2147484207" r:id="rId4"/>
    <p:sldLayoutId id="2147484600" r:id="rId5"/>
    <p:sldLayoutId id="2147484601" r:id="rId6"/>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18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tx1"/>
          </a:solidFill>
          <a:latin typeface="+mn-lt"/>
          <a:ea typeface="+mn-ea"/>
          <a:cs typeface="+mn-cs"/>
        </a:defRPr>
      </a:lvl4pPr>
      <a:lvl5pPr marL="36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tx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576000" y="825019"/>
            <a:ext cx="7561260" cy="387093"/>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576000" y="1812926"/>
            <a:ext cx="7561262" cy="428307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close up of a flower&#10;&#10;Description automatically generated">
            <a:extLst>
              <a:ext uri="{FF2B5EF4-FFF2-40B4-BE49-F238E27FC236}">
                <a16:creationId xmlns:a16="http://schemas.microsoft.com/office/drawing/2014/main" id="{682BE5F3-928F-5E40-A2D0-FDA105E3B8D5}"/>
              </a:ext>
            </a:extLst>
          </p:cNvPr>
          <p:cNvPicPr>
            <a:picLocks noChangeAspect="1"/>
          </p:cNvPicPr>
          <p:nvPr userDrawn="1"/>
        </p:nvPicPr>
        <p:blipFill>
          <a:blip r:embed="rId137"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DAFE2DF9-98C6-9147-9B94-2A5A5D475B08}"/>
              </a:ext>
            </a:extLst>
          </p:cNvPr>
          <p:cNvSpPr>
            <a:spLocks noGrp="1"/>
          </p:cNvSpPr>
          <p:nvPr>
            <p:ph type="sldNum" sz="quarter" idx="4"/>
          </p:nvPr>
        </p:nvSpPr>
        <p:spPr>
          <a:xfrm>
            <a:off x="11336459" y="6541200"/>
            <a:ext cx="366016" cy="162000"/>
          </a:xfrm>
          <a:prstGeom prst="rect">
            <a:avLst/>
          </a:prstGeom>
        </p:spPr>
        <p:txBody>
          <a:bodyPr vert="horz" lIns="91440" tIns="45720" rIns="91440" bIns="45720" rtlCol="0" anchor="ctr"/>
          <a:lstStyle>
            <a:lvl1pPr algn="r">
              <a:defRPr sz="800">
                <a:solidFill>
                  <a:schemeClr val="tx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276119194"/>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 id="2147484627" r:id="rId13"/>
    <p:sldLayoutId id="2147484628" r:id="rId14"/>
    <p:sldLayoutId id="2147484629" r:id="rId15"/>
    <p:sldLayoutId id="2147484630" r:id="rId16"/>
    <p:sldLayoutId id="2147484631" r:id="rId17"/>
    <p:sldLayoutId id="2147484632" r:id="rId18"/>
    <p:sldLayoutId id="2147484633" r:id="rId19"/>
    <p:sldLayoutId id="2147484634" r:id="rId20"/>
    <p:sldLayoutId id="2147484635" r:id="rId21"/>
    <p:sldLayoutId id="2147484636" r:id="rId22"/>
    <p:sldLayoutId id="2147484637" r:id="rId23"/>
    <p:sldLayoutId id="2147484638" r:id="rId24"/>
    <p:sldLayoutId id="2147484639" r:id="rId25"/>
    <p:sldLayoutId id="2147484640" r:id="rId26"/>
    <p:sldLayoutId id="2147484641" r:id="rId27"/>
    <p:sldLayoutId id="2147484642" r:id="rId28"/>
    <p:sldLayoutId id="2147484643" r:id="rId29"/>
    <p:sldLayoutId id="2147484644" r:id="rId30"/>
    <p:sldLayoutId id="2147484645" r:id="rId31"/>
    <p:sldLayoutId id="2147484646" r:id="rId32"/>
    <p:sldLayoutId id="2147484647" r:id="rId33"/>
    <p:sldLayoutId id="2147484648" r:id="rId34"/>
    <p:sldLayoutId id="2147484649" r:id="rId35"/>
    <p:sldLayoutId id="2147484650" r:id="rId36"/>
    <p:sldLayoutId id="2147484651" r:id="rId37"/>
    <p:sldLayoutId id="2147484652" r:id="rId38"/>
    <p:sldLayoutId id="2147484653" r:id="rId39"/>
    <p:sldLayoutId id="2147484654" r:id="rId40"/>
    <p:sldLayoutId id="2147484655" r:id="rId41"/>
    <p:sldLayoutId id="2147484656" r:id="rId42"/>
    <p:sldLayoutId id="2147484657" r:id="rId43"/>
    <p:sldLayoutId id="2147484658" r:id="rId44"/>
    <p:sldLayoutId id="2147484659" r:id="rId45"/>
    <p:sldLayoutId id="2147484660" r:id="rId46"/>
    <p:sldLayoutId id="2147484661" r:id="rId47"/>
    <p:sldLayoutId id="2147484662" r:id="rId48"/>
    <p:sldLayoutId id="2147484663" r:id="rId49"/>
    <p:sldLayoutId id="2147484664" r:id="rId50"/>
    <p:sldLayoutId id="2147484665" r:id="rId51"/>
    <p:sldLayoutId id="2147484666" r:id="rId52"/>
    <p:sldLayoutId id="2147484667" r:id="rId53"/>
    <p:sldLayoutId id="2147484668" r:id="rId54"/>
    <p:sldLayoutId id="2147484669" r:id="rId55"/>
    <p:sldLayoutId id="2147484670" r:id="rId56"/>
    <p:sldLayoutId id="2147484671" r:id="rId57"/>
    <p:sldLayoutId id="2147484672" r:id="rId58"/>
    <p:sldLayoutId id="2147484673" r:id="rId59"/>
    <p:sldLayoutId id="2147484674" r:id="rId60"/>
    <p:sldLayoutId id="2147484675" r:id="rId61"/>
    <p:sldLayoutId id="2147484676" r:id="rId62"/>
    <p:sldLayoutId id="2147484677" r:id="rId63"/>
    <p:sldLayoutId id="2147484678" r:id="rId64"/>
    <p:sldLayoutId id="2147484679" r:id="rId65"/>
    <p:sldLayoutId id="2147484680" r:id="rId66"/>
    <p:sldLayoutId id="2147484681" r:id="rId67"/>
    <p:sldLayoutId id="2147484682" r:id="rId68"/>
    <p:sldLayoutId id="2147484683" r:id="rId69"/>
    <p:sldLayoutId id="2147484684" r:id="rId70"/>
    <p:sldLayoutId id="2147484685" r:id="rId71"/>
    <p:sldLayoutId id="2147484686" r:id="rId72"/>
    <p:sldLayoutId id="2147484687" r:id="rId73"/>
    <p:sldLayoutId id="2147484688" r:id="rId74"/>
    <p:sldLayoutId id="2147484689" r:id="rId75"/>
    <p:sldLayoutId id="2147484690" r:id="rId76"/>
    <p:sldLayoutId id="2147484691" r:id="rId77"/>
    <p:sldLayoutId id="2147484692" r:id="rId78"/>
    <p:sldLayoutId id="2147484693" r:id="rId79"/>
    <p:sldLayoutId id="2147484694" r:id="rId80"/>
    <p:sldLayoutId id="2147484695" r:id="rId81"/>
    <p:sldLayoutId id="2147484696" r:id="rId82"/>
    <p:sldLayoutId id="2147484697" r:id="rId83"/>
    <p:sldLayoutId id="2147484698" r:id="rId84"/>
    <p:sldLayoutId id="2147484699" r:id="rId85"/>
    <p:sldLayoutId id="2147484700" r:id="rId86"/>
    <p:sldLayoutId id="2147484701" r:id="rId87"/>
    <p:sldLayoutId id="2147484702" r:id="rId88"/>
    <p:sldLayoutId id="2147484703" r:id="rId89"/>
    <p:sldLayoutId id="2147484704" r:id="rId90"/>
    <p:sldLayoutId id="2147484705" r:id="rId91"/>
    <p:sldLayoutId id="2147484706" r:id="rId92"/>
    <p:sldLayoutId id="2147484707" r:id="rId93"/>
    <p:sldLayoutId id="2147484708" r:id="rId94"/>
    <p:sldLayoutId id="2147484709" r:id="rId95"/>
    <p:sldLayoutId id="2147484710" r:id="rId96"/>
    <p:sldLayoutId id="2147484711" r:id="rId97"/>
    <p:sldLayoutId id="2147484712" r:id="rId98"/>
    <p:sldLayoutId id="2147484713" r:id="rId99"/>
    <p:sldLayoutId id="2147484714" r:id="rId100"/>
    <p:sldLayoutId id="2147484715" r:id="rId101"/>
    <p:sldLayoutId id="2147484716" r:id="rId102"/>
    <p:sldLayoutId id="2147484717" r:id="rId103"/>
    <p:sldLayoutId id="2147484718" r:id="rId104"/>
    <p:sldLayoutId id="2147484719" r:id="rId105"/>
    <p:sldLayoutId id="2147484720" r:id="rId106"/>
    <p:sldLayoutId id="2147484721" r:id="rId107"/>
    <p:sldLayoutId id="2147484722" r:id="rId108"/>
    <p:sldLayoutId id="2147484723" r:id="rId109"/>
    <p:sldLayoutId id="2147484724" r:id="rId110"/>
    <p:sldLayoutId id="2147484725" r:id="rId111"/>
    <p:sldLayoutId id="2147484726" r:id="rId112"/>
    <p:sldLayoutId id="2147484727" r:id="rId113"/>
    <p:sldLayoutId id="2147484728" r:id="rId114"/>
    <p:sldLayoutId id="2147484729" r:id="rId115"/>
    <p:sldLayoutId id="2147484730" r:id="rId116"/>
    <p:sldLayoutId id="2147484731" r:id="rId117"/>
    <p:sldLayoutId id="2147484732" r:id="rId118"/>
    <p:sldLayoutId id="2147484733" r:id="rId119"/>
    <p:sldLayoutId id="2147484734" r:id="rId120"/>
    <p:sldLayoutId id="2147484735" r:id="rId121"/>
    <p:sldLayoutId id="2147484736" r:id="rId122"/>
    <p:sldLayoutId id="2147484737" r:id="rId123"/>
    <p:sldLayoutId id="2147484738" r:id="rId124"/>
    <p:sldLayoutId id="2147484739" r:id="rId125"/>
    <p:sldLayoutId id="2147484740" r:id="rId126"/>
    <p:sldLayoutId id="2147484741" r:id="rId127"/>
    <p:sldLayoutId id="2147484742" r:id="rId128"/>
    <p:sldLayoutId id="2147484743" r:id="rId129"/>
    <p:sldLayoutId id="2147484744" r:id="rId130"/>
    <p:sldLayoutId id="2147484746" r:id="rId131"/>
    <p:sldLayoutId id="2147484747" r:id="rId132"/>
    <p:sldLayoutId id="2147484748" r:id="rId133"/>
    <p:sldLayoutId id="2147484749" r:id="rId134"/>
    <p:sldLayoutId id="2147484750" r:id="rId135"/>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182880" indent="-182880" algn="l" defTabSz="914377" rtl="0" eaLnBrk="1" latinLnBrk="0" hangingPunct="1">
        <a:lnSpc>
          <a:spcPct val="100000"/>
        </a:lnSpc>
        <a:spcBef>
          <a:spcPts val="300"/>
        </a:spcBef>
        <a:spcAft>
          <a:spcPts val="200"/>
        </a:spcAft>
        <a:buClr>
          <a:schemeClr val="bg2"/>
        </a:buClr>
        <a:buFont typeface="Arial" panose="020B0604020202020204" pitchFamily="34" charset="0"/>
        <a:buChar char="•"/>
        <a:defRPr sz="2000" kern="1200">
          <a:solidFill>
            <a:schemeClr val="tx1"/>
          </a:solidFill>
          <a:latin typeface="+mn-lt"/>
          <a:ea typeface="+mn-ea"/>
          <a:cs typeface="+mn-cs"/>
        </a:defRPr>
      </a:lvl1pPr>
      <a:lvl2pPr marL="365760" indent="-182880" algn="l" defTabSz="914377" rtl="0" eaLnBrk="1" latinLnBrk="0" hangingPunct="1">
        <a:lnSpc>
          <a:spcPct val="100000"/>
        </a:lnSpc>
        <a:spcBef>
          <a:spcPts val="300"/>
        </a:spcBef>
        <a:spcAft>
          <a:spcPts val="200"/>
        </a:spcAft>
        <a:buClr>
          <a:schemeClr val="bg2"/>
        </a:buClr>
        <a:buFont typeface=".AppleSystemUIFont"/>
        <a:buChar char="–"/>
        <a:tabLst/>
        <a:defRPr sz="2000" kern="1200">
          <a:solidFill>
            <a:schemeClr val="tx1"/>
          </a:solidFill>
          <a:latin typeface="+mn-lt"/>
          <a:ea typeface="+mn-ea"/>
          <a:cs typeface="+mn-cs"/>
        </a:defRPr>
      </a:lvl2pPr>
      <a:lvl3pPr marL="54864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3pPr>
      <a:lvl4pPr marL="73152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4pPr>
      <a:lvl5pPr marL="914400" indent="-182880" algn="l" defTabSz="914377" rtl="0" eaLnBrk="1" latinLnBrk="0" hangingPunct="1">
        <a:lnSpc>
          <a:spcPct val="100000"/>
        </a:lnSpc>
        <a:spcBef>
          <a:spcPts val="300"/>
        </a:spcBef>
        <a:spcAft>
          <a:spcPts val="200"/>
        </a:spcAft>
        <a:buClr>
          <a:schemeClr val="bg2"/>
        </a:buClr>
        <a:buFont typeface=".AppleSystemUIFont"/>
        <a:buChar char="–"/>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310">
          <p15:clr>
            <a:srgbClr val="F26B43"/>
          </p15:clr>
        </p15:guide>
        <p15:guide id="39" pos="370">
          <p15:clr>
            <a:srgbClr val="F26B43"/>
          </p15:clr>
        </p15:guide>
        <p15:guide id="40" orient="horz" pos="967">
          <p15:clr>
            <a:srgbClr val="F26B43"/>
          </p15:clr>
        </p15:guide>
        <p15:guide id="41" orient="horz" pos="257">
          <p15:clr>
            <a:srgbClr val="F26B43"/>
          </p15:clr>
        </p15:guide>
        <p15:guide id="42" pos="846">
          <p15:clr>
            <a:srgbClr val="F26B43"/>
          </p15:clr>
        </p15:guide>
        <p15:guide id="43" pos="960">
          <p15:clr>
            <a:srgbClr val="F26B43"/>
          </p15:clr>
        </p15:guide>
        <p15:guide id="44" pos="1436">
          <p15:clr>
            <a:srgbClr val="F26B43"/>
          </p15:clr>
        </p15:guide>
        <p15:guide id="45" pos="1549">
          <p15:clr>
            <a:srgbClr val="F26B43"/>
          </p15:clr>
        </p15:guide>
        <p15:guide id="46" pos="2026">
          <p15:clr>
            <a:srgbClr val="C35EA4"/>
          </p15:clr>
        </p15:guide>
        <p15:guide id="47" pos="2139">
          <p15:clr>
            <a:srgbClr val="C35EA4"/>
          </p15:clr>
        </p15:guide>
        <p15:guide id="48" pos="2615">
          <p15:clr>
            <a:srgbClr val="547EBF"/>
          </p15:clr>
        </p15:guide>
        <p15:guide id="49" pos="2729">
          <p15:clr>
            <a:srgbClr val="547EBF"/>
          </p15:clr>
        </p15:guide>
        <p15:guide id="50" pos="3205">
          <p15:clr>
            <a:srgbClr val="F26B43"/>
          </p15:clr>
        </p15:guide>
        <p15:guide id="51" pos="3318">
          <p15:clr>
            <a:srgbClr val="F26B43"/>
          </p15:clr>
        </p15:guide>
        <p15:guide id="52" pos="3795">
          <p15:clr>
            <a:srgbClr val="C35EA4"/>
          </p15:clr>
        </p15:guide>
        <p15:guide id="53" pos="3885">
          <p15:clr>
            <a:srgbClr val="C35EA4"/>
          </p15:clr>
        </p15:guide>
        <p15:guide id="54" pos="4362">
          <p15:clr>
            <a:srgbClr val="F26B43"/>
          </p15:clr>
        </p15:guide>
        <p15:guide id="55" pos="4475">
          <p15:clr>
            <a:srgbClr val="F26B43"/>
          </p15:clr>
        </p15:guide>
        <p15:guide id="56" pos="4951">
          <p15:clr>
            <a:srgbClr val="547EBF"/>
          </p15:clr>
        </p15:guide>
        <p15:guide id="57" pos="5065">
          <p15:clr>
            <a:srgbClr val="547EBF"/>
          </p15:clr>
        </p15:guide>
        <p15:guide id="58" pos="5541">
          <p15:clr>
            <a:srgbClr val="C35EA4"/>
          </p15:clr>
        </p15:guide>
        <p15:guide id="59" pos="5654">
          <p15:clr>
            <a:srgbClr val="C35EA4"/>
          </p15:clr>
        </p15:guide>
        <p15:guide id="60" pos="6131">
          <p15:clr>
            <a:srgbClr val="F26B43"/>
          </p15:clr>
        </p15:guide>
        <p15:guide id="61" pos="6244">
          <p15:clr>
            <a:srgbClr val="F26B43"/>
          </p15:clr>
        </p15:guide>
        <p15:guide id="62" pos="6720">
          <p15:clr>
            <a:srgbClr val="F26B43"/>
          </p15:clr>
        </p15:guide>
        <p15:guide id="63" pos="6834">
          <p15:clr>
            <a:srgbClr val="F26B43"/>
          </p15:clr>
        </p15:guide>
        <p15:guide id="64" orient="horz" pos="512">
          <p15:clr>
            <a:srgbClr val="F26B43"/>
          </p15:clr>
        </p15:guide>
        <p15:guide id="65" orient="horz" pos="1142">
          <p15:clr>
            <a:srgbClr val="9FCC3B"/>
          </p15:clr>
        </p15:guide>
        <p15:guide id="66" orient="horz" pos="4007">
          <p15:clr>
            <a:srgbClr val="F26B43"/>
          </p15:clr>
        </p15:guide>
        <p15:guide id="67" pos="3840">
          <p15:clr>
            <a:srgbClr val="F26B43"/>
          </p15:clr>
        </p15:guide>
        <p15:guide id="68" orient="horz" pos="3840">
          <p15:clr>
            <a:srgbClr val="9FCC3B"/>
          </p15:clr>
        </p15:guide>
        <p15:guide id="69" orient="horz" pos="1488">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defRPr>
            </a:lvl1pPr>
          </a:lstStyle>
          <a:p>
            <a:fld id="{F59CD943-D024-467A-B36E-F11E1285ED75}" type="slidenum">
              <a:rPr lang="en-GB" smtClean="0"/>
              <a:pPr/>
              <a:t>‹#›</a:t>
            </a:fld>
            <a:endParaRPr lang="en-GB"/>
          </a:p>
        </p:txBody>
      </p:sp>
      <p:cxnSp>
        <p:nvCxnSpPr>
          <p:cNvPr id="210" name="Straight Connector 209">
            <a:extLst>
              <a:ext uri="{FF2B5EF4-FFF2-40B4-BE49-F238E27FC236}">
                <a16:creationId xmlns:a16="http://schemas.microsoft.com/office/drawing/2014/main" id="{66F11BD9-1D17-E792-B77F-E3B558258D6C}"/>
              </a:ext>
            </a:extLst>
          </p:cNvPr>
          <p:cNvCxnSpPr>
            <a:cxnSpLocks/>
          </p:cNvCxnSpPr>
          <p:nvPr userDrawn="1"/>
        </p:nvCxnSpPr>
        <p:spPr>
          <a:xfrm>
            <a:off x="11420476" y="6344781"/>
            <a:ext cx="0" cy="2158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6945" t="19498" r="6909" b="15243"/>
          <a:stretch/>
        </p:blipFill>
        <p:spPr>
          <a:xfrm>
            <a:off x="548482" y="6308725"/>
            <a:ext cx="1381418" cy="309766"/>
          </a:xfrm>
          <a:prstGeom prst="rect">
            <a:avLst/>
          </a:prstGeom>
        </p:spPr>
      </p:pic>
    </p:spTree>
    <p:extLst>
      <p:ext uri="{BB962C8B-B14F-4D97-AF65-F5344CB8AC3E}">
        <p14:creationId xmlns:p14="http://schemas.microsoft.com/office/powerpoint/2010/main" val="2985313703"/>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18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tx1"/>
          </a:solidFill>
          <a:latin typeface="+mn-lt"/>
          <a:ea typeface="+mn-ea"/>
          <a:cs typeface="+mn-cs"/>
        </a:defRPr>
      </a:lvl4pPr>
      <a:lvl5pPr marL="36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tx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defRPr>
            </a:lvl1pPr>
          </a:lstStyle>
          <a:p>
            <a:fld id="{F59CD943-D024-467A-B36E-F11E1285ED75}" type="slidenum">
              <a:rPr lang="en-GB" smtClean="0"/>
              <a:pPr/>
              <a:t>‹#›</a:t>
            </a:fld>
            <a:endParaRPr lang="en-GB"/>
          </a:p>
        </p:txBody>
      </p:sp>
      <p:cxnSp>
        <p:nvCxnSpPr>
          <p:cNvPr id="210" name="Straight Connector 209">
            <a:extLst>
              <a:ext uri="{FF2B5EF4-FFF2-40B4-BE49-F238E27FC236}">
                <a16:creationId xmlns:a16="http://schemas.microsoft.com/office/drawing/2014/main" id="{66F11BD9-1D17-E792-B77F-E3B558258D6C}"/>
              </a:ext>
            </a:extLst>
          </p:cNvPr>
          <p:cNvCxnSpPr>
            <a:cxnSpLocks/>
          </p:cNvCxnSpPr>
          <p:nvPr userDrawn="1"/>
        </p:nvCxnSpPr>
        <p:spPr>
          <a:xfrm>
            <a:off x="11420476" y="6344781"/>
            <a:ext cx="0" cy="2158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l="6945" t="19498" r="6909" b="15243"/>
          <a:stretch/>
        </p:blipFill>
        <p:spPr>
          <a:xfrm>
            <a:off x="548482" y="6308725"/>
            <a:ext cx="1381418" cy="309766"/>
          </a:xfrm>
          <a:prstGeom prst="rect">
            <a:avLst/>
          </a:prstGeom>
        </p:spPr>
      </p:pic>
    </p:spTree>
    <p:extLst>
      <p:ext uri="{BB962C8B-B14F-4D97-AF65-F5344CB8AC3E}">
        <p14:creationId xmlns:p14="http://schemas.microsoft.com/office/powerpoint/2010/main" val="1938853554"/>
      </p:ext>
    </p:extLst>
  </p:cSld>
  <p:clrMap bg1="lt1" tx1="dk1" bg2="lt2" tx2="dk2" accent1="accent1" accent2="accent2" accent3="accent3" accent4="accent4" accent5="accent5" accent6="accent6" hlink="hlink" folHlink="folHlink"/>
  <p:sldLayoutIdLst>
    <p:sldLayoutId id="2147484489" r:id="rId1"/>
    <p:sldLayoutId id="2147484490" r:id="rId2"/>
    <p:sldLayoutId id="2147484498" r:id="rId3"/>
    <p:sldLayoutId id="2147484499" r:id="rId4"/>
    <p:sldLayoutId id="2147484602" r:id="rId5"/>
    <p:sldLayoutId id="2147484603" r:id="rId6"/>
    <p:sldLayoutId id="2147484754" r:id="rId7"/>
    <p:sldLayoutId id="2147484755" r:id="rId8"/>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18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tx1"/>
          </a:solidFill>
          <a:latin typeface="+mn-lt"/>
          <a:ea typeface="+mn-ea"/>
          <a:cs typeface="+mn-cs"/>
        </a:defRPr>
      </a:lvl4pPr>
      <a:lvl5pPr marL="36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tx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latin typeface="+mn-lt"/>
              </a:defRPr>
            </a:lvl1pPr>
          </a:lstStyle>
          <a:p>
            <a:fld id="{F59CD943-D024-467A-B36E-F11E1285ED75}" type="slidenum">
              <a:rPr lang="en-GB" smtClean="0"/>
              <a:pPr/>
              <a:t>‹#›</a:t>
            </a:fld>
            <a:endParaRPr lang="en-GB"/>
          </a:p>
        </p:txBody>
      </p: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33" cstate="print">
            <a:extLst>
              <a:ext uri="{28A0092B-C50C-407E-A947-70E740481C1C}">
                <a14:useLocalDpi xmlns:a14="http://schemas.microsoft.com/office/drawing/2010/main"/>
              </a:ext>
              <a:ext uri="{96DAC541-7B7A-43D3-8B79-37D633B846F1}">
                <asvg:svgBlip xmlns:asvg="http://schemas.microsoft.com/office/drawing/2016/SVG/main" r:embed="rId34"/>
              </a:ext>
            </a:extLst>
          </a:blip>
          <a:srcRect l="6945" t="19498" r="6909" b="15243"/>
          <a:stretch/>
        </p:blipFill>
        <p:spPr>
          <a:xfrm>
            <a:off x="548482" y="6308725"/>
            <a:ext cx="1381418" cy="309766"/>
          </a:xfrm>
          <a:prstGeom prst="rect">
            <a:avLst/>
          </a:prstGeom>
        </p:spPr>
      </p:pic>
    </p:spTree>
    <p:extLst>
      <p:ext uri="{BB962C8B-B14F-4D97-AF65-F5344CB8AC3E}">
        <p14:creationId xmlns:p14="http://schemas.microsoft.com/office/powerpoint/2010/main" val="2648007252"/>
      </p:ext>
    </p:extLst>
  </p:cSld>
  <p:clrMap bg1="lt1" tx1="dk1" bg2="lt2" tx2="dk2" accent1="accent1" accent2="accent2" accent3="accent3" accent4="accent4" accent5="accent5" accent6="accent6" hlink="hlink" folHlink="folHlink"/>
  <p:sldLayoutIdLst>
    <p:sldLayoutId id="2147483919" r:id="rId1"/>
    <p:sldLayoutId id="2147484591" r:id="rId2"/>
    <p:sldLayoutId id="2147484592" r:id="rId3"/>
    <p:sldLayoutId id="2147483922" r:id="rId4"/>
    <p:sldLayoutId id="2147483923" r:id="rId5"/>
    <p:sldLayoutId id="2147483924" r:id="rId6"/>
    <p:sldLayoutId id="2147483925" r:id="rId7"/>
    <p:sldLayoutId id="2147483926" r:id="rId8"/>
    <p:sldLayoutId id="2147483928" r:id="rId9"/>
    <p:sldLayoutId id="2147484503" r:id="rId10"/>
    <p:sldLayoutId id="2147483952" r:id="rId11"/>
    <p:sldLayoutId id="2147483930" r:id="rId12"/>
    <p:sldLayoutId id="2147483931" r:id="rId13"/>
    <p:sldLayoutId id="2147484504" r:id="rId14"/>
    <p:sldLayoutId id="2147483953" r:id="rId15"/>
    <p:sldLayoutId id="2147484501" r:id="rId16"/>
    <p:sldLayoutId id="2147484502" r:id="rId17"/>
    <p:sldLayoutId id="2147484505" r:id="rId18"/>
    <p:sldLayoutId id="2147484506" r:id="rId19"/>
    <p:sldLayoutId id="2147484507" r:id="rId20"/>
    <p:sldLayoutId id="2147483934" r:id="rId21"/>
    <p:sldLayoutId id="2147483935" r:id="rId22"/>
    <p:sldLayoutId id="2147483936" r:id="rId23"/>
    <p:sldLayoutId id="2147483937" r:id="rId24"/>
    <p:sldLayoutId id="2147484590" r:id="rId25"/>
    <p:sldLayoutId id="2147483940" r:id="rId26"/>
    <p:sldLayoutId id="2147483948" r:id="rId27"/>
    <p:sldLayoutId id="2147483949" r:id="rId28"/>
    <p:sldLayoutId id="2147483950" r:id="rId29"/>
    <p:sldLayoutId id="2147483951" r:id="rId30"/>
    <p:sldLayoutId id="2147484753" r:id="rId31"/>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defRPr>
            </a:lvl1pPr>
          </a:lstStyle>
          <a:p>
            <a:fld id="{F59CD943-D024-467A-B36E-F11E1285ED75}" type="slidenum">
              <a:rPr lang="en-GB" smtClean="0"/>
              <a:pPr/>
              <a:t>‹#›</a:t>
            </a:fld>
            <a:endParaRPr lang="en-GB"/>
          </a:p>
        </p:txBody>
      </p: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6945" t="19498" r="6909" b="15243"/>
          <a:stretch/>
        </p:blipFill>
        <p:spPr>
          <a:xfrm>
            <a:off x="548482" y="6308725"/>
            <a:ext cx="1381418" cy="309766"/>
          </a:xfrm>
          <a:prstGeom prst="rect">
            <a:avLst/>
          </a:prstGeom>
        </p:spPr>
      </p:pic>
    </p:spTree>
    <p:extLst>
      <p:ext uri="{BB962C8B-B14F-4D97-AF65-F5344CB8AC3E}">
        <p14:creationId xmlns:p14="http://schemas.microsoft.com/office/powerpoint/2010/main" val="3362306812"/>
      </p:ext>
    </p:extLst>
  </p:cSld>
  <p:clrMap bg1="lt1" tx1="dk1" bg2="lt2" tx2="dk2" accent1="accent1" accent2="accent2" accent3="accent3" accent4="accent4" accent5="accent5" accent6="accent6" hlink="hlink" folHlink="folHlink"/>
  <p:sldLayoutIdLst>
    <p:sldLayoutId id="2147484576" r:id="rId1"/>
    <p:sldLayoutId id="2147484577" r:id="rId2"/>
  </p:sldLayoutIdLst>
  <p:hf hd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rial" panose="020B0604020202020204" pitchFamily="34" charset="0"/>
        <a:buChar char="­"/>
        <a:defRPr sz="1500" kern="1200">
          <a:solidFill>
            <a:schemeClr val="tx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defRPr>
            </a:lvl1pPr>
          </a:lstStyle>
          <a:p>
            <a:fld id="{F59CD943-D024-467A-B36E-F11E1285ED75}" type="slidenum">
              <a:rPr lang="en-GB" smtClean="0"/>
              <a:pPr/>
              <a:t>‹#›</a:t>
            </a:fld>
            <a:endParaRPr lang="en-GB"/>
          </a:p>
        </p:txBody>
      </p: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l="6945" t="19498" r="6909" b="15243"/>
          <a:stretch/>
        </p:blipFill>
        <p:spPr>
          <a:xfrm>
            <a:off x="548482" y="6308725"/>
            <a:ext cx="1381418" cy="309766"/>
          </a:xfrm>
          <a:prstGeom prst="rect">
            <a:avLst/>
          </a:prstGeom>
        </p:spPr>
      </p:pic>
    </p:spTree>
    <p:extLst>
      <p:ext uri="{BB962C8B-B14F-4D97-AF65-F5344CB8AC3E}">
        <p14:creationId xmlns:p14="http://schemas.microsoft.com/office/powerpoint/2010/main" val="1691894521"/>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rial" panose="020B0604020202020204" pitchFamily="34" charset="0"/>
        <a:buChar char="­"/>
        <a:defRPr sz="1500" kern="1200">
          <a:solidFill>
            <a:schemeClr val="tx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tx1"/>
                </a:solidFill>
              </a:defRPr>
            </a:lvl1pPr>
          </a:lstStyle>
          <a:p>
            <a:fld id="{F59CD943-D024-467A-B36E-F11E1285ED75}" type="slidenum">
              <a:rPr lang="en-GB" smtClean="0"/>
              <a:pPr/>
              <a:t>‹#›</a:t>
            </a:fld>
            <a:endParaRPr lang="en-GB"/>
          </a:p>
        </p:txBody>
      </p:sp>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pic>
        <p:nvPicPr>
          <p:cNvPr id="12" name="Picture Placeholder 13">
            <a:extLst>
              <a:ext uri="{FF2B5EF4-FFF2-40B4-BE49-F238E27FC236}">
                <a16:creationId xmlns:a16="http://schemas.microsoft.com/office/drawing/2014/main" id="{D55B5CEE-4AC1-C1A3-63DB-32646D2687EF}"/>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6945" t="19498" r="6909" b="15243"/>
          <a:stretch/>
        </p:blipFill>
        <p:spPr>
          <a:xfrm>
            <a:off x="548482" y="6308725"/>
            <a:ext cx="1381418" cy="309766"/>
          </a:xfrm>
          <a:prstGeom prst="rect">
            <a:avLst/>
          </a:prstGeom>
        </p:spPr>
      </p:pic>
    </p:spTree>
    <p:extLst>
      <p:ext uri="{BB962C8B-B14F-4D97-AF65-F5344CB8AC3E}">
        <p14:creationId xmlns:p14="http://schemas.microsoft.com/office/powerpoint/2010/main" val="1022141679"/>
      </p:ext>
    </p:extLst>
  </p:cSld>
  <p:clrMap bg1="lt1" tx1="dk1" bg2="lt2" tx2="dk2" accent1="accent1" accent2="accent2" accent3="accent3" accent4="accent4" accent5="accent5" accent6="accent6" hlink="hlink" folHlink="folHlink"/>
  <p:sldLayoutIdLst>
    <p:sldLayoutId id="2147484119" r:id="rId1"/>
    <p:sldLayoutId id="2147484120" r:id="rId2"/>
  </p:sldLayoutIdLst>
  <p:hf hdr="0" dt="0"/>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rial" panose="020B0604020202020204" pitchFamily="34" charset="0"/>
        <a:buChar char="­"/>
        <a:defRPr sz="1500" kern="1200">
          <a:solidFill>
            <a:schemeClr val="tx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bg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bg1"/>
                </a:solidFill>
              </a:defRPr>
            </a:lvl1pPr>
          </a:lstStyle>
          <a:p>
            <a:fld id="{F59CD943-D024-467A-B36E-F11E1285ED75}" type="slidenum">
              <a:rPr lang="en-GB" smtClean="0"/>
              <a:pPr/>
              <a:t>‹#›</a:t>
            </a:fld>
            <a:endParaRPr lang="en-GB"/>
          </a:p>
        </p:txBody>
      </p:sp>
      <p:pic>
        <p:nvPicPr>
          <p:cNvPr id="208" name="Graphic 207">
            <a:extLst>
              <a:ext uri="{FF2B5EF4-FFF2-40B4-BE49-F238E27FC236}">
                <a16:creationId xmlns:a16="http://schemas.microsoft.com/office/drawing/2014/main" id="{AB351E08-0E99-FB1B-77C9-10D157E66236}"/>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50863" y="6336448"/>
            <a:ext cx="1381417" cy="233480"/>
          </a:xfrm>
          <a:prstGeom prst="rect">
            <a:avLst/>
          </a:prstGeom>
        </p:spPr>
      </p:pic>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a:noFill/>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10917163"/>
      </p:ext>
    </p:extLst>
  </p:cSld>
  <p:clrMap bg1="lt1" tx1="dk1" bg2="lt2" tx2="dk2" accent1="accent1" accent2="accent2" accent3="accent3" accent4="accent4" accent5="accent5" accent6="accent6" hlink="hlink" folHlink="folHlink"/>
  <p:sldLayoutIdLst>
    <p:sldLayoutId id="2147484595" r:id="rId1"/>
    <p:sldLayoutId id="2147484609" r:id="rId2"/>
    <p:sldLayoutId id="2147484596" r:id="rId3"/>
    <p:sldLayoutId id="2147484610" r:id="rId4"/>
    <p:sldLayoutId id="2147484486" r:id="rId5"/>
    <p:sldLayoutId id="2147484487" r:id="rId6"/>
    <p:sldLayoutId id="2147484611" r:id="rId7"/>
    <p:sldLayoutId id="2147484612" r:id="rId8"/>
    <p:sldLayoutId id="2147484605" r:id="rId9"/>
    <p:sldLayoutId id="2147484606" r:id="rId10"/>
    <p:sldLayoutId id="2147484607" r:id="rId11"/>
    <p:sldLayoutId id="2147484608" r:id="rId12"/>
  </p:sldLayoutIdLst>
  <p:hf hd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bg1"/>
          </a:solidFill>
          <a:latin typeface="+mn-lt"/>
          <a:ea typeface="+mn-ea"/>
          <a:cs typeface="+mn-cs"/>
        </a:defRPr>
      </a:lvl3pPr>
      <a:lvl4pPr marL="18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bg1"/>
          </a:solidFill>
          <a:latin typeface="+mn-lt"/>
          <a:ea typeface="+mn-ea"/>
          <a:cs typeface="+mn-cs"/>
        </a:defRPr>
      </a:lvl4pPr>
      <a:lvl5pPr marL="36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bg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D1B4D6-09F5-E479-2AED-EDE0974FF279}"/>
              </a:ext>
            </a:extLst>
          </p:cNvPr>
          <p:cNvSpPr>
            <a:spLocks noGrp="1"/>
          </p:cNvSpPr>
          <p:nvPr>
            <p:ph type="title"/>
          </p:nvPr>
        </p:nvSpPr>
        <p:spPr>
          <a:xfrm>
            <a:off x="550864" y="368828"/>
            <a:ext cx="7345362" cy="309766"/>
          </a:xfrm>
          <a:prstGeom prst="rect">
            <a:avLst/>
          </a:prstGeom>
        </p:spPr>
        <p:txBody>
          <a:bodyPr vert="horz" lIns="0" tIns="0" rIns="0" bIns="0" rtlCol="0" anchor="t" anchorCtr="0">
            <a:noAutofit/>
          </a:bodyPr>
          <a:lstStyle/>
          <a:p>
            <a:r>
              <a:rPr lang="en-US"/>
              <a:t>Header avenir demi 24pt</a:t>
            </a:r>
            <a:endParaRPr lang="en-GB"/>
          </a:p>
        </p:txBody>
      </p:sp>
      <p:sp>
        <p:nvSpPr>
          <p:cNvPr id="5" name="Footer Placeholder 4">
            <a:extLst>
              <a:ext uri="{FF2B5EF4-FFF2-40B4-BE49-F238E27FC236}">
                <a16:creationId xmlns:a16="http://schemas.microsoft.com/office/drawing/2014/main" id="{6667196C-25D5-C3B8-0D57-612FAF9C5C56}"/>
              </a:ext>
            </a:extLst>
          </p:cNvPr>
          <p:cNvSpPr>
            <a:spLocks noGrp="1"/>
          </p:cNvSpPr>
          <p:nvPr>
            <p:ph type="ftr" sz="quarter" idx="3"/>
          </p:nvPr>
        </p:nvSpPr>
        <p:spPr>
          <a:xfrm>
            <a:off x="8040688" y="6348353"/>
            <a:ext cx="3292473" cy="215901"/>
          </a:xfrm>
          <a:prstGeom prst="rect">
            <a:avLst/>
          </a:prstGeom>
        </p:spPr>
        <p:txBody>
          <a:bodyPr vert="horz" lIns="0" tIns="0" rIns="0" bIns="0" rtlCol="0" anchor="ctr"/>
          <a:lstStyle>
            <a:lvl1pPr algn="r">
              <a:defRPr sz="900">
                <a:solidFill>
                  <a:schemeClr val="bg1"/>
                </a:solidFill>
              </a:defRPr>
            </a:lvl1pPr>
          </a:lstStyle>
          <a:p>
            <a:endParaRPr lang="en-GB"/>
          </a:p>
        </p:txBody>
      </p:sp>
      <p:sp>
        <p:nvSpPr>
          <p:cNvPr id="6" name="Slide Number Placeholder 5">
            <a:extLst>
              <a:ext uri="{FF2B5EF4-FFF2-40B4-BE49-F238E27FC236}">
                <a16:creationId xmlns:a16="http://schemas.microsoft.com/office/drawing/2014/main" id="{06A1DE54-54E0-3EB1-4173-FB5DCE9D7614}"/>
              </a:ext>
            </a:extLst>
          </p:cNvPr>
          <p:cNvSpPr>
            <a:spLocks noGrp="1"/>
          </p:cNvSpPr>
          <p:nvPr>
            <p:ph type="sldNum" sz="quarter" idx="4"/>
          </p:nvPr>
        </p:nvSpPr>
        <p:spPr>
          <a:xfrm>
            <a:off x="11507792" y="6348353"/>
            <a:ext cx="216000" cy="215900"/>
          </a:xfrm>
          <a:prstGeom prst="rect">
            <a:avLst/>
          </a:prstGeom>
        </p:spPr>
        <p:txBody>
          <a:bodyPr vert="horz" lIns="0" tIns="0" rIns="0" bIns="0" rtlCol="0" anchor="ctr"/>
          <a:lstStyle>
            <a:lvl1pPr algn="l">
              <a:defRPr sz="900">
                <a:solidFill>
                  <a:schemeClr val="bg1"/>
                </a:solidFill>
              </a:defRPr>
            </a:lvl1pPr>
          </a:lstStyle>
          <a:p>
            <a:fld id="{F59CD943-D024-467A-B36E-F11E1285ED75}" type="slidenum">
              <a:rPr lang="en-GB" smtClean="0"/>
              <a:pPr/>
              <a:t>‹#›</a:t>
            </a:fld>
            <a:endParaRPr lang="en-GB"/>
          </a:p>
        </p:txBody>
      </p:sp>
      <p:pic>
        <p:nvPicPr>
          <p:cNvPr id="208" name="Graphic 207">
            <a:extLst>
              <a:ext uri="{FF2B5EF4-FFF2-40B4-BE49-F238E27FC236}">
                <a16:creationId xmlns:a16="http://schemas.microsoft.com/office/drawing/2014/main" id="{AB351E08-0E99-FB1B-77C9-10D157E6623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50863" y="6336448"/>
            <a:ext cx="1381417" cy="233480"/>
          </a:xfrm>
          <a:prstGeom prst="rect">
            <a:avLst/>
          </a:prstGeom>
        </p:spPr>
      </p:pic>
      <p:sp>
        <p:nvSpPr>
          <p:cNvPr id="3" name="Text Placeholder 2">
            <a:extLst>
              <a:ext uri="{FF2B5EF4-FFF2-40B4-BE49-F238E27FC236}">
                <a16:creationId xmlns:a16="http://schemas.microsoft.com/office/drawing/2014/main" id="{5C1B50FF-FF35-77A6-3E05-3419EB2868DE}"/>
              </a:ext>
            </a:extLst>
          </p:cNvPr>
          <p:cNvSpPr>
            <a:spLocks noGrp="1"/>
          </p:cNvSpPr>
          <p:nvPr>
            <p:ph type="body" idx="1"/>
          </p:nvPr>
        </p:nvSpPr>
        <p:spPr>
          <a:xfrm>
            <a:off x="550864" y="1808163"/>
            <a:ext cx="3600449" cy="4321175"/>
          </a:xfrm>
          <a:prstGeom prst="rect">
            <a:avLst/>
          </a:prstGeom>
          <a:noFill/>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04377571"/>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Lst>
  <p:hf hd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bg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bg1"/>
          </a:solidFill>
          <a:latin typeface="+mn-lt"/>
          <a:ea typeface="+mn-ea"/>
          <a:cs typeface="+mn-cs"/>
        </a:defRPr>
      </a:lvl3pPr>
      <a:lvl4pPr marL="18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bg1"/>
          </a:solidFill>
          <a:latin typeface="+mn-lt"/>
          <a:ea typeface="+mn-ea"/>
          <a:cs typeface="+mn-cs"/>
        </a:defRPr>
      </a:lvl4pPr>
      <a:lvl5pPr marL="360000" indent="-180000" algn="l" defTabSz="914400" rtl="0" eaLnBrk="1" latinLnBrk="0" hangingPunct="1">
        <a:lnSpc>
          <a:spcPct val="100000"/>
        </a:lnSpc>
        <a:spcBef>
          <a:spcPts val="900"/>
        </a:spcBef>
        <a:buClr>
          <a:schemeClr val="accent2"/>
        </a:buClr>
        <a:buFont typeface="Arial" panose="020B0604020202020204" pitchFamily="34" charset="0"/>
        <a:buChar char="­"/>
        <a:defRPr sz="1500" kern="1200">
          <a:solidFill>
            <a:schemeClr val="bg1"/>
          </a:solidFill>
          <a:latin typeface="+mn-lt"/>
          <a:ea typeface="+mn-ea"/>
          <a:cs typeface="+mn-cs"/>
        </a:defRPr>
      </a:lvl5pPr>
      <a:lvl6pPr marL="540000" indent="-180000" algn="l" defTabSz="914400" rtl="0" eaLnBrk="1" latinLnBrk="0" hangingPunct="1">
        <a:lnSpc>
          <a:spcPct val="100000"/>
        </a:lnSpc>
        <a:spcBef>
          <a:spcPts val="9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9FCC3B"/>
          </p15:clr>
        </p15:guide>
        <p15:guide id="2" pos="3840" userDrawn="1">
          <p15:clr>
            <a:srgbClr val="9FCC3B"/>
          </p15:clr>
        </p15:guide>
        <p15:guide id="3" pos="3795" userDrawn="1">
          <p15:clr>
            <a:srgbClr val="F26B43"/>
          </p15:clr>
        </p15:guide>
        <p15:guide id="4" pos="3296" userDrawn="1">
          <p15:clr>
            <a:srgbClr val="F26B43"/>
          </p15:clr>
        </p15:guide>
        <p15:guide id="5" pos="3205" userDrawn="1">
          <p15:clr>
            <a:srgbClr val="F26B43"/>
          </p15:clr>
        </p15:guide>
        <p15:guide id="6" pos="2706" userDrawn="1">
          <p15:clr>
            <a:srgbClr val="F26B43"/>
          </p15:clr>
        </p15:guide>
        <p15:guide id="7" pos="2615" userDrawn="1">
          <p15:clr>
            <a:srgbClr val="F26B43"/>
          </p15:clr>
        </p15:guide>
        <p15:guide id="8" pos="2116" userDrawn="1">
          <p15:clr>
            <a:srgbClr val="F26B43"/>
          </p15:clr>
        </p15:guide>
        <p15:guide id="9" pos="2026" userDrawn="1">
          <p15:clr>
            <a:srgbClr val="F26B43"/>
          </p15:clr>
        </p15:guide>
        <p15:guide id="10" pos="1527" userDrawn="1">
          <p15:clr>
            <a:srgbClr val="F26B43"/>
          </p15:clr>
        </p15:guide>
        <p15:guide id="11" pos="1436" userDrawn="1">
          <p15:clr>
            <a:srgbClr val="F26B43"/>
          </p15:clr>
        </p15:guide>
        <p15:guide id="12" pos="937" userDrawn="1">
          <p15:clr>
            <a:srgbClr val="F26B43"/>
          </p15:clr>
        </p15:guide>
        <p15:guide id="13" pos="846" userDrawn="1">
          <p15:clr>
            <a:srgbClr val="F26B43"/>
          </p15:clr>
        </p15:guide>
        <p15:guide id="14" pos="347" userDrawn="1">
          <p15:clr>
            <a:srgbClr val="9FCC3B"/>
          </p15:clr>
        </p15:guide>
        <p15:guide id="15" pos="3885" userDrawn="1">
          <p15:clr>
            <a:srgbClr val="F26B43"/>
          </p15:clr>
        </p15:guide>
        <p15:guide id="16" pos="4384" userDrawn="1">
          <p15:clr>
            <a:srgbClr val="F26B43"/>
          </p15:clr>
        </p15:guide>
        <p15:guide id="17" pos="4475" userDrawn="1">
          <p15:clr>
            <a:srgbClr val="F26B43"/>
          </p15:clr>
        </p15:guide>
        <p15:guide id="18" pos="4974" userDrawn="1">
          <p15:clr>
            <a:srgbClr val="F26B43"/>
          </p15:clr>
        </p15:guide>
        <p15:guide id="19" pos="5065" userDrawn="1">
          <p15:clr>
            <a:srgbClr val="F26B43"/>
          </p15:clr>
        </p15:guide>
        <p15:guide id="20" pos="5564" userDrawn="1">
          <p15:clr>
            <a:srgbClr val="F26B43"/>
          </p15:clr>
        </p15:guide>
        <p15:guide id="21" pos="5654" userDrawn="1">
          <p15:clr>
            <a:srgbClr val="F26B43"/>
          </p15:clr>
        </p15:guide>
        <p15:guide id="22" pos="6153" userDrawn="1">
          <p15:clr>
            <a:srgbClr val="F26B43"/>
          </p15:clr>
        </p15:guide>
        <p15:guide id="23" pos="6244" userDrawn="1">
          <p15:clr>
            <a:srgbClr val="F26B43"/>
          </p15:clr>
        </p15:guide>
        <p15:guide id="24" pos="6743" userDrawn="1">
          <p15:clr>
            <a:srgbClr val="F26B43"/>
          </p15:clr>
        </p15:guide>
        <p15:guide id="25" pos="6834" userDrawn="1">
          <p15:clr>
            <a:srgbClr val="F26B43"/>
          </p15:clr>
        </p15:guide>
        <p15:guide id="26" pos="7333" userDrawn="1">
          <p15:clr>
            <a:srgbClr val="9FCC3B"/>
          </p15:clr>
        </p15:guide>
        <p15:guide id="35" orient="horz" pos="1139" userDrawn="1">
          <p15:clr>
            <a:srgbClr val="F26B43"/>
          </p15:clr>
        </p15:guide>
        <p15:guide id="41" orient="horz" pos="119" userDrawn="1">
          <p15:clr>
            <a:srgbClr val="9FCC3B"/>
          </p15:clr>
        </p15:guide>
        <p15:guide id="55" orient="horz" pos="3974" userDrawn="1">
          <p15:clr>
            <a:srgbClr val="F26B43"/>
          </p15:clr>
        </p15:guide>
        <p15:guide id="59" orient="horz" pos="4201" userDrawn="1">
          <p15:clr>
            <a:srgbClr val="9FCC3B"/>
          </p15:clr>
        </p15:guide>
        <p15:guide id="60" orient="horz" pos="459" userDrawn="1">
          <p15:clr>
            <a:srgbClr val="F26B43"/>
          </p15:clr>
        </p15:guide>
        <p15:guide id="62" orient="horz" pos="23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Layout" Target="../slideLayouts/slideLayout65.xml"/><Relationship Id="rId5" Type="http://schemas.openxmlformats.org/officeDocument/2006/relationships/image" Target="../media/image460.png"/><Relationship Id="rId4" Type="http://schemas.openxmlformats.org/officeDocument/2006/relationships/slide" Target="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sv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61.sv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svg"/><Relationship Id="rId4" Type="http://schemas.openxmlformats.org/officeDocument/2006/relationships/image" Target="../media/image59.svg"/><Relationship Id="rId9" Type="http://schemas.openxmlformats.org/officeDocument/2006/relationships/image" Target="../media/image64.png"/></Relationships>
</file>

<file path=ppt/slides/_rels/slide11.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72.png"/><Relationship Id="rId17" Type="http://schemas.openxmlformats.org/officeDocument/2006/relationships/image" Target="../media/image77.svg"/><Relationship Id="rId2" Type="http://schemas.openxmlformats.org/officeDocument/2006/relationships/notesSlide" Target="../notesSlides/notesSlide6.xml"/><Relationship Id="rId16" Type="http://schemas.openxmlformats.org/officeDocument/2006/relationships/image" Target="../media/image76.png"/><Relationship Id="rId1" Type="http://schemas.openxmlformats.org/officeDocument/2006/relationships/slideLayout" Target="../slideLayouts/slideLayout26.xml"/><Relationship Id="rId6" Type="http://schemas.openxmlformats.org/officeDocument/2006/relationships/diagramColors" Target="../diagrams/colors1.xml"/><Relationship Id="rId11" Type="http://schemas.openxmlformats.org/officeDocument/2006/relationships/image" Target="../media/image71.svg"/><Relationship Id="rId5" Type="http://schemas.openxmlformats.org/officeDocument/2006/relationships/diagramQuickStyle" Target="../diagrams/quickStyle1.xml"/><Relationship Id="rId15" Type="http://schemas.openxmlformats.org/officeDocument/2006/relationships/image" Target="../media/image75.svg"/><Relationship Id="rId10" Type="http://schemas.openxmlformats.org/officeDocument/2006/relationships/image" Target="../media/image70.png"/><Relationship Id="rId4" Type="http://schemas.openxmlformats.org/officeDocument/2006/relationships/diagramLayout" Target="../diagrams/layout1.xml"/><Relationship Id="rId9" Type="http://schemas.openxmlformats.org/officeDocument/2006/relationships/image" Target="../media/image69.svg"/><Relationship Id="rId14" Type="http://schemas.openxmlformats.org/officeDocument/2006/relationships/image" Target="../media/image7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5.xml"/><Relationship Id="rId7" Type="http://schemas.openxmlformats.org/officeDocument/2006/relationships/diagramData" Target="../diagrams/data2.xml"/><Relationship Id="rId2" Type="http://schemas.openxmlformats.org/officeDocument/2006/relationships/tags" Target="../tags/tag762.xml"/><Relationship Id="rId1" Type="http://schemas.openxmlformats.org/officeDocument/2006/relationships/vmlDrawing" Target="../drawings/vmlDrawing3.vml"/><Relationship Id="rId6" Type="http://schemas.openxmlformats.org/officeDocument/2006/relationships/image" Target="../media/image53.emf"/><Relationship Id="rId11" Type="http://schemas.microsoft.com/office/2007/relationships/diagramDrawing" Target="../diagrams/drawing2.xml"/><Relationship Id="rId5" Type="http://schemas.openxmlformats.org/officeDocument/2006/relationships/oleObject" Target="../embeddings/oleObject3.bin"/><Relationship Id="rId10" Type="http://schemas.openxmlformats.org/officeDocument/2006/relationships/diagramColors" Target="../diagrams/colors2.xml"/><Relationship Id="rId4" Type="http://schemas.openxmlformats.org/officeDocument/2006/relationships/notesSlide" Target="../notesSlides/notesSlide7.xml"/><Relationship Id="rId9"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3" Type="http://schemas.openxmlformats.org/officeDocument/2006/relationships/hyperlink" Target="https://doi.org/10.2471/blt.18.219691"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78.jpeg"/><Relationship Id="rId5" Type="http://schemas.openxmlformats.org/officeDocument/2006/relationships/hyperlink" Target="https://pubmed.ncbi.nlm.nih.gov/30992638/" TargetMode="External"/><Relationship Id="rId4" Type="http://schemas.openxmlformats.org/officeDocument/2006/relationships/hyperlink" Target="http://www.ncbi.nlm.nih.gov/pmc/articles/pmc6453318/"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png"/><Relationship Id="rId1" Type="http://schemas.openxmlformats.org/officeDocument/2006/relationships/slideLayout" Target="../slideLayouts/slideLayout44.xml"/><Relationship Id="rId5" Type="http://schemas.openxmlformats.org/officeDocument/2006/relationships/image" Target="../media/image52.jpeg"/><Relationship Id="rId4" Type="http://schemas.openxmlformats.org/officeDocument/2006/relationships/image" Target="../media/image51.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60.xml"/><Relationship Id="rId1" Type="http://schemas.openxmlformats.org/officeDocument/2006/relationships/vmlDrawing" Target="../drawings/vmlDrawing1.vml"/><Relationship Id="rId6" Type="http://schemas.openxmlformats.org/officeDocument/2006/relationships/image" Target="../media/image53.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slideLayout" Target="../slideLayouts/slideLayout15.xml"/><Relationship Id="rId7" Type="http://schemas.openxmlformats.org/officeDocument/2006/relationships/image" Target="../media/image54.png"/><Relationship Id="rId2" Type="http://schemas.openxmlformats.org/officeDocument/2006/relationships/tags" Target="../tags/tag761.xml"/><Relationship Id="rId1" Type="http://schemas.openxmlformats.org/officeDocument/2006/relationships/vmlDrawing" Target="../drawings/vmlDrawing2.vml"/><Relationship Id="rId6" Type="http://schemas.openxmlformats.org/officeDocument/2006/relationships/image" Target="../media/image53.emf"/><Relationship Id="rId5" Type="http://schemas.openxmlformats.org/officeDocument/2006/relationships/oleObject" Target="../embeddings/oleObject2.bin"/><Relationship Id="rId10" Type="http://schemas.openxmlformats.org/officeDocument/2006/relationships/image" Target="../media/image57.svg"/><Relationship Id="rId4" Type="http://schemas.openxmlformats.org/officeDocument/2006/relationships/notesSlide" Target="../notesSlides/notesSlide4.xml"/><Relationship Id="rId9" Type="http://schemas.openxmlformats.org/officeDocument/2006/relationships/image" Target="../media/image5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061939-39EF-FA8A-880D-30BB5BE87860}"/>
              </a:ext>
            </a:extLst>
          </p:cNvPr>
          <p:cNvSpPr>
            <a:spLocks noGrp="1"/>
          </p:cNvSpPr>
          <p:nvPr>
            <p:ph type="body" sz="quarter" idx="16"/>
          </p:nvPr>
        </p:nvSpPr>
        <p:spPr>
          <a:xfrm>
            <a:off x="550864" y="2003898"/>
            <a:ext cx="4486085" cy="2007564"/>
          </a:xfrm>
        </p:spPr>
        <p:txBody>
          <a:bodyPr/>
          <a:lstStyle/>
          <a:p>
            <a:r>
              <a:rPr lang="en-US" dirty="0">
                <a:solidFill>
                  <a:schemeClr val="accent1"/>
                </a:solidFill>
              </a:rPr>
              <a:t>The Evolving Regulatory Landscape for IVD in APAC</a:t>
            </a:r>
          </a:p>
        </p:txBody>
      </p:sp>
      <p:sp>
        <p:nvSpPr>
          <p:cNvPr id="3" name="Text Placeholder 2">
            <a:extLst>
              <a:ext uri="{FF2B5EF4-FFF2-40B4-BE49-F238E27FC236}">
                <a16:creationId xmlns:a16="http://schemas.microsoft.com/office/drawing/2014/main" id="{3200A8C9-039C-BDEF-4264-F74BD0BE2A76}"/>
              </a:ext>
            </a:extLst>
          </p:cNvPr>
          <p:cNvSpPr>
            <a:spLocks noGrp="1"/>
          </p:cNvSpPr>
          <p:nvPr>
            <p:ph type="body" sz="quarter" idx="17"/>
          </p:nvPr>
        </p:nvSpPr>
        <p:spPr>
          <a:xfrm>
            <a:off x="550864" y="4095818"/>
            <a:ext cx="4001681" cy="1127935"/>
          </a:xfrm>
        </p:spPr>
        <p:txBody>
          <a:bodyPr/>
          <a:lstStyle/>
          <a:p>
            <a:r>
              <a:rPr lang="en-US" dirty="0"/>
              <a:t>Understanding the challenges and opportunities</a:t>
            </a:r>
          </a:p>
        </p:txBody>
      </p:sp>
      <p:pic>
        <p:nvPicPr>
          <p:cNvPr id="8" name="Picture Placeholder 7" descr="A person holding papers and looking at a computer&#10;&#10;Description automatically generated with medium confidence">
            <a:extLst>
              <a:ext uri="{FF2B5EF4-FFF2-40B4-BE49-F238E27FC236}">
                <a16:creationId xmlns:a16="http://schemas.microsoft.com/office/drawing/2014/main" id="{97E1A526-16CC-86DE-700B-8DA7F5F71EDD}"/>
              </a:ext>
            </a:extLst>
          </p:cNvPr>
          <p:cNvPicPr>
            <a:picLocks noGrp="1" noChangeAspect="1"/>
          </p:cNvPicPr>
          <p:nvPr>
            <p:ph type="pic" sz="quarter" idx="21"/>
          </p:nvPr>
        </p:nvPicPr>
        <p:blipFill>
          <a:blip r:embed="rId2">
            <a:extLst>
              <a:ext uri="{28A0092B-C50C-407E-A947-70E740481C1C}">
                <a14:useLocalDpi xmlns:a14="http://schemas.microsoft.com/office/drawing/2010/main" val="0"/>
              </a:ext>
            </a:extLst>
          </a:blip>
          <a:srcRect l="13524" r="13524"/>
          <a:stretch>
            <a:fillRect/>
          </a:stretch>
        </p:blipFill>
        <p:spPr/>
      </p:pic>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F237837C-C13F-49D1-97F4-09D74B13EC57}"/>
                  </a:ext>
                </a:extLst>
              </p:cNvPr>
              <p:cNvGraphicFramePr>
                <a:graphicFrameLocks noChangeAspect="1"/>
              </p:cNvGraphicFramePr>
              <p:nvPr>
                <p:extLst>
                  <p:ext uri="{D42A27DB-BD31-4B8C-83A1-F6EECF244321}">
                    <p14:modId xmlns:p14="http://schemas.microsoft.com/office/powerpoint/2010/main" val="776860657"/>
                  </p:ext>
                </p:extLst>
              </p:nvPr>
            </p:nvGraphicFramePr>
            <p:xfrm>
              <a:off x="-3712308" y="842794"/>
              <a:ext cx="3048000" cy="1714500"/>
            </p:xfrm>
            <a:graphic>
              <a:graphicData uri="http://schemas.microsoft.com/office/powerpoint/2016/slidezoom">
                <pslz:sldZm>
                  <pslz:sldZmObj sldId="661" cId="398041788">
                    <pslz:zmPr id="{D1883050-B08A-47A3-AF13-44FBE1234BC4}" returnToParent="0" transitionDur="1000">
                      <p166:blipFill xmlns:p166="http://schemas.microsoft.com/office/powerpoint/2016/6/main">
                        <a:blip r:embed="rId3"/>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5" name="Slide Zoom 4">
                <a:hlinkClick r:id="rId4" action="ppaction://hlinksldjump"/>
                <a:extLst>
                  <a:ext uri="{FF2B5EF4-FFF2-40B4-BE49-F238E27FC236}">
                    <a16:creationId xmlns:a16="http://schemas.microsoft.com/office/drawing/2014/main" id="{F237837C-C13F-49D1-97F4-09D74B13EC57}"/>
                  </a:ext>
                </a:extLst>
              </p:cNvPr>
              <p:cNvPicPr>
                <a:picLocks noGrp="1" noRot="1" noChangeAspect="1" noMove="1" noResize="1" noEditPoints="1" noAdjustHandles="1" noChangeArrowheads="1" noChangeShapeType="1"/>
              </p:cNvPicPr>
              <p:nvPr/>
            </p:nvPicPr>
            <p:blipFill>
              <a:blip r:embed="rId5"/>
              <a:stretch>
                <a:fillRect/>
              </a:stretch>
            </p:blipFill>
            <p:spPr>
              <a:xfrm>
                <a:off x="-3712308" y="842794"/>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98041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4B5701B-4003-4F6B-8C7D-9D202A8A0E7B}"/>
              </a:ext>
            </a:extLst>
          </p:cNvPr>
          <p:cNvSpPr>
            <a:spLocks noGrp="1"/>
          </p:cNvSpPr>
          <p:nvPr>
            <p:ph type="title"/>
          </p:nvPr>
        </p:nvSpPr>
        <p:spPr>
          <a:xfrm>
            <a:off x="550864" y="356172"/>
            <a:ext cx="10692859" cy="746810"/>
          </a:xfrm>
        </p:spPr>
        <p:txBody>
          <a:bodyPr/>
          <a:lstStyle/>
          <a:p>
            <a:r>
              <a:rPr lang="en-GB" dirty="0">
                <a:solidFill>
                  <a:schemeClr val="accent2">
                    <a:lumMod val="50000"/>
                  </a:schemeClr>
                </a:solidFill>
              </a:rPr>
              <a:t>Regulations and innovation need to be aligned for best results and to drive development and adoption of safe and effective new products</a:t>
            </a:r>
            <a:br>
              <a:rPr lang="en-GB" dirty="0">
                <a:solidFill>
                  <a:schemeClr val="accent2">
                    <a:lumMod val="50000"/>
                  </a:schemeClr>
                </a:solidFill>
              </a:rPr>
            </a:br>
            <a:endParaRPr lang="en-US" dirty="0">
              <a:solidFill>
                <a:schemeClr val="accent2">
                  <a:lumMod val="50000"/>
                </a:schemeClr>
              </a:solidFill>
            </a:endParaRPr>
          </a:p>
        </p:txBody>
      </p:sp>
      <p:sp>
        <p:nvSpPr>
          <p:cNvPr id="3" name="Slide Number Placeholder 2">
            <a:extLst>
              <a:ext uri="{FF2B5EF4-FFF2-40B4-BE49-F238E27FC236}">
                <a16:creationId xmlns:a16="http://schemas.microsoft.com/office/drawing/2014/main" id="{4013A041-EDD1-68BC-30EE-51A9571B43E9}"/>
              </a:ext>
            </a:extLst>
          </p:cNvPr>
          <p:cNvSpPr>
            <a:spLocks noGrp="1"/>
          </p:cNvSpPr>
          <p:nvPr>
            <p:ph type="sldNum" sz="quarter" idx="11"/>
          </p:nvPr>
        </p:nvSpPr>
        <p:spPr/>
        <p:txBody>
          <a:bodyPr/>
          <a:lstStyle/>
          <a:p>
            <a:fld id="{F59CD943-D024-467A-B36E-F11E1285ED75}" type="slidenum">
              <a:rPr lang="en-GB" smtClean="0"/>
              <a:pPr/>
              <a:t>10</a:t>
            </a:fld>
            <a:endParaRPr lang="en-GB" dirty="0"/>
          </a:p>
        </p:txBody>
      </p:sp>
      <p:pic>
        <p:nvPicPr>
          <p:cNvPr id="40" name="Picture Placeholder 39" descr="Recycle sign">
            <a:extLst>
              <a:ext uri="{FF2B5EF4-FFF2-40B4-BE49-F238E27FC236}">
                <a16:creationId xmlns:a16="http://schemas.microsoft.com/office/drawing/2014/main" id="{D49001F0-8C4A-4D38-BECD-619D6C63C945}"/>
              </a:ext>
            </a:extLst>
          </p:cNvPr>
          <p:cNvPicPr>
            <a:picLocks noGrp="1" noChangeAspect="1"/>
          </p:cNvPicPr>
          <p:nvPr>
            <p:ph type="pic" sz="quarter" idx="20"/>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2288" b="2288"/>
          <a:stretch>
            <a:fillRect/>
          </a:stretch>
        </p:blipFill>
        <p:spPr>
          <a:xfrm>
            <a:off x="551231" y="1376483"/>
            <a:ext cx="936257" cy="892971"/>
          </a:xfrm>
        </p:spPr>
      </p:pic>
      <p:sp>
        <p:nvSpPr>
          <p:cNvPr id="8" name="Text Placeholder 7">
            <a:extLst>
              <a:ext uri="{FF2B5EF4-FFF2-40B4-BE49-F238E27FC236}">
                <a16:creationId xmlns:a16="http://schemas.microsoft.com/office/drawing/2014/main" id="{1A3D11AE-42EE-42D9-BCE2-D027EA90A224}"/>
              </a:ext>
            </a:extLst>
          </p:cNvPr>
          <p:cNvSpPr>
            <a:spLocks noGrp="1"/>
          </p:cNvSpPr>
          <p:nvPr>
            <p:ph type="body" sz="quarter" idx="26"/>
          </p:nvPr>
        </p:nvSpPr>
        <p:spPr>
          <a:xfrm>
            <a:off x="550864" y="2637135"/>
            <a:ext cx="1912245" cy="2384569"/>
          </a:xfrm>
        </p:spPr>
        <p:txBody>
          <a:bodyPr/>
          <a:lstStyle/>
          <a:p>
            <a:r>
              <a:rPr lang="en-US" sz="1200" dirty="0"/>
              <a:t>Unlike drugs, </a:t>
            </a:r>
            <a:r>
              <a:rPr lang="en-US" sz="1200" b="1" dirty="0"/>
              <a:t>medical devices are designed and undergo iterative development</a:t>
            </a:r>
            <a:endParaRPr lang="en-US" sz="1200" dirty="0"/>
          </a:p>
          <a:p>
            <a:r>
              <a:rPr lang="en-US" sz="1200" b="1" dirty="0"/>
              <a:t>Post-market experiences are important </a:t>
            </a:r>
            <a:r>
              <a:rPr lang="en-US" sz="1200" dirty="0"/>
              <a:t>in shaping premarket decisions</a:t>
            </a:r>
          </a:p>
          <a:p>
            <a:endParaRPr lang="en-US" dirty="0"/>
          </a:p>
        </p:txBody>
      </p:sp>
      <p:sp>
        <p:nvSpPr>
          <p:cNvPr id="10" name="Text Placeholder 9">
            <a:extLst>
              <a:ext uri="{FF2B5EF4-FFF2-40B4-BE49-F238E27FC236}">
                <a16:creationId xmlns:a16="http://schemas.microsoft.com/office/drawing/2014/main" id="{1B8D2D58-4674-47DA-8493-DFABACEB39BD}"/>
              </a:ext>
            </a:extLst>
          </p:cNvPr>
          <p:cNvSpPr>
            <a:spLocks noGrp="1"/>
          </p:cNvSpPr>
          <p:nvPr>
            <p:ph type="body" sz="quarter" idx="28"/>
          </p:nvPr>
        </p:nvSpPr>
        <p:spPr>
          <a:xfrm>
            <a:off x="2699267" y="2637135"/>
            <a:ext cx="1912245" cy="2384569"/>
          </a:xfrm>
        </p:spPr>
        <p:txBody>
          <a:bodyPr/>
          <a:lstStyle/>
          <a:p>
            <a:r>
              <a:rPr lang="en-US" sz="1200" dirty="0"/>
              <a:t>High-risk devices receive significant review and inspectional resources</a:t>
            </a:r>
          </a:p>
          <a:p>
            <a:r>
              <a:rPr lang="en-US" sz="1200" b="1" dirty="0"/>
              <a:t>Assumption that novel device means high-risk device needs to evolve</a:t>
            </a:r>
          </a:p>
          <a:p>
            <a:r>
              <a:rPr lang="en-US" sz="1200" dirty="0"/>
              <a:t>Low- to medium-risk devices have shorter review cycles and evidence requirements</a:t>
            </a:r>
          </a:p>
          <a:p>
            <a:endParaRPr lang="en-US" sz="1200" dirty="0"/>
          </a:p>
        </p:txBody>
      </p:sp>
      <p:sp>
        <p:nvSpPr>
          <p:cNvPr id="25" name="Text Placeholder 24">
            <a:extLst>
              <a:ext uri="{FF2B5EF4-FFF2-40B4-BE49-F238E27FC236}">
                <a16:creationId xmlns:a16="http://schemas.microsoft.com/office/drawing/2014/main" id="{6B47E601-3686-4173-B093-D868D7AB6D8B}"/>
              </a:ext>
            </a:extLst>
          </p:cNvPr>
          <p:cNvSpPr>
            <a:spLocks noGrp="1"/>
          </p:cNvSpPr>
          <p:nvPr>
            <p:ph type="body" sz="quarter" idx="30"/>
          </p:nvPr>
        </p:nvSpPr>
        <p:spPr>
          <a:xfrm>
            <a:off x="4885377" y="2637135"/>
            <a:ext cx="1912245" cy="2575874"/>
          </a:xfrm>
        </p:spPr>
        <p:txBody>
          <a:bodyPr/>
          <a:lstStyle/>
          <a:p>
            <a:r>
              <a:rPr lang="en-US" sz="1200" dirty="0"/>
              <a:t>Products with guidance have faster review cycles and higher chances of first-cycle approval; they were also the first to be reviewed by third-party reviewers</a:t>
            </a:r>
          </a:p>
          <a:p>
            <a:r>
              <a:rPr lang="en-US" sz="1200" b="1" dirty="0"/>
              <a:t>Guidance benefits both innovators and review scientists, contributing to more predictable and expedited review cycles</a:t>
            </a:r>
          </a:p>
        </p:txBody>
      </p:sp>
      <p:sp>
        <p:nvSpPr>
          <p:cNvPr id="27" name="Text Placeholder 26">
            <a:extLst>
              <a:ext uri="{FF2B5EF4-FFF2-40B4-BE49-F238E27FC236}">
                <a16:creationId xmlns:a16="http://schemas.microsoft.com/office/drawing/2014/main" id="{1732C713-D122-4E5F-898A-2FF5E44D9983}"/>
              </a:ext>
            </a:extLst>
          </p:cNvPr>
          <p:cNvSpPr>
            <a:spLocks noGrp="1"/>
          </p:cNvSpPr>
          <p:nvPr>
            <p:ph type="body" sz="quarter" idx="32"/>
          </p:nvPr>
        </p:nvSpPr>
        <p:spPr>
          <a:xfrm>
            <a:off x="7090343" y="2637135"/>
            <a:ext cx="1912245" cy="1979613"/>
          </a:xfrm>
        </p:spPr>
        <p:txBody>
          <a:bodyPr/>
          <a:lstStyle/>
          <a:p>
            <a:r>
              <a:rPr lang="en-US" sz="1200" dirty="0"/>
              <a:t>“Tool claims” have less burdensome evidence requirements than specific clinical benefit claims</a:t>
            </a:r>
          </a:p>
          <a:p>
            <a:r>
              <a:rPr lang="en-US" sz="1200" b="1" dirty="0"/>
              <a:t>Innovation is often established in research and practice outside of the regulatory framework</a:t>
            </a:r>
          </a:p>
        </p:txBody>
      </p:sp>
      <p:sp>
        <p:nvSpPr>
          <p:cNvPr id="28" name="Text Placeholder 27">
            <a:extLst>
              <a:ext uri="{FF2B5EF4-FFF2-40B4-BE49-F238E27FC236}">
                <a16:creationId xmlns:a16="http://schemas.microsoft.com/office/drawing/2014/main" id="{9673A65E-E584-4981-94E6-C21DEC0D85D4}"/>
              </a:ext>
            </a:extLst>
          </p:cNvPr>
          <p:cNvSpPr>
            <a:spLocks noGrp="1"/>
          </p:cNvSpPr>
          <p:nvPr>
            <p:ph type="body" sz="quarter" idx="41"/>
          </p:nvPr>
        </p:nvSpPr>
        <p:spPr>
          <a:xfrm>
            <a:off x="550864" y="2276772"/>
            <a:ext cx="2268000" cy="270168"/>
          </a:xfrm>
        </p:spPr>
        <p:txBody>
          <a:bodyPr/>
          <a:lstStyle/>
          <a:p>
            <a:r>
              <a:rPr lang="en-US" b="1" dirty="0">
                <a:solidFill>
                  <a:schemeClr val="accent2">
                    <a:lumMod val="50000"/>
                  </a:schemeClr>
                </a:solidFill>
              </a:rPr>
              <a:t>Product Lifecycle</a:t>
            </a:r>
          </a:p>
        </p:txBody>
      </p:sp>
      <p:sp>
        <p:nvSpPr>
          <p:cNvPr id="29" name="Text Placeholder 28">
            <a:extLst>
              <a:ext uri="{FF2B5EF4-FFF2-40B4-BE49-F238E27FC236}">
                <a16:creationId xmlns:a16="http://schemas.microsoft.com/office/drawing/2014/main" id="{6F66E88E-69FE-463B-885C-08275AC09882}"/>
              </a:ext>
            </a:extLst>
          </p:cNvPr>
          <p:cNvSpPr>
            <a:spLocks noGrp="1"/>
          </p:cNvSpPr>
          <p:nvPr>
            <p:ph type="body" sz="quarter" idx="45"/>
          </p:nvPr>
        </p:nvSpPr>
        <p:spPr>
          <a:xfrm>
            <a:off x="2704989" y="2276772"/>
            <a:ext cx="2268000" cy="270168"/>
          </a:xfrm>
        </p:spPr>
        <p:txBody>
          <a:bodyPr/>
          <a:lstStyle/>
          <a:p>
            <a:r>
              <a:rPr lang="en-US" b="1" dirty="0">
                <a:solidFill>
                  <a:schemeClr val="accent2">
                    <a:lumMod val="50000"/>
                  </a:schemeClr>
                </a:solidFill>
              </a:rPr>
              <a:t>Risk Classification</a:t>
            </a:r>
          </a:p>
        </p:txBody>
      </p:sp>
      <p:sp>
        <p:nvSpPr>
          <p:cNvPr id="30" name="Text Placeholder 29">
            <a:extLst>
              <a:ext uri="{FF2B5EF4-FFF2-40B4-BE49-F238E27FC236}">
                <a16:creationId xmlns:a16="http://schemas.microsoft.com/office/drawing/2014/main" id="{6EF6807B-B905-4A08-81C7-94C4A08C3307}"/>
              </a:ext>
            </a:extLst>
          </p:cNvPr>
          <p:cNvSpPr>
            <a:spLocks noGrp="1"/>
          </p:cNvSpPr>
          <p:nvPr>
            <p:ph type="body" sz="quarter" idx="67"/>
          </p:nvPr>
        </p:nvSpPr>
        <p:spPr>
          <a:xfrm>
            <a:off x="4885377" y="2276772"/>
            <a:ext cx="2268000" cy="270168"/>
          </a:xfrm>
        </p:spPr>
        <p:txBody>
          <a:bodyPr/>
          <a:lstStyle/>
          <a:p>
            <a:r>
              <a:rPr lang="en-US" b="1" dirty="0">
                <a:solidFill>
                  <a:schemeClr val="accent2">
                    <a:lumMod val="50000"/>
                  </a:schemeClr>
                </a:solidFill>
              </a:rPr>
              <a:t>Device Classification</a:t>
            </a:r>
          </a:p>
        </p:txBody>
      </p:sp>
      <p:sp>
        <p:nvSpPr>
          <p:cNvPr id="31" name="Text Placeholder 30">
            <a:extLst>
              <a:ext uri="{FF2B5EF4-FFF2-40B4-BE49-F238E27FC236}">
                <a16:creationId xmlns:a16="http://schemas.microsoft.com/office/drawing/2014/main" id="{2708473A-D046-4CE5-AC1E-6EEEACAFA72B}"/>
              </a:ext>
            </a:extLst>
          </p:cNvPr>
          <p:cNvSpPr>
            <a:spLocks noGrp="1"/>
          </p:cNvSpPr>
          <p:nvPr>
            <p:ph type="body" sz="quarter" idx="70"/>
          </p:nvPr>
        </p:nvSpPr>
        <p:spPr>
          <a:xfrm>
            <a:off x="7117236" y="2224712"/>
            <a:ext cx="2248085" cy="322228"/>
          </a:xfrm>
        </p:spPr>
        <p:txBody>
          <a:bodyPr/>
          <a:lstStyle/>
          <a:p>
            <a:r>
              <a:rPr lang="en-US" b="1" dirty="0">
                <a:solidFill>
                  <a:schemeClr val="accent2">
                    <a:lumMod val="50000"/>
                  </a:schemeClr>
                </a:solidFill>
              </a:rPr>
              <a:t>Clinical Evidence</a:t>
            </a:r>
          </a:p>
        </p:txBody>
      </p:sp>
      <p:sp>
        <p:nvSpPr>
          <p:cNvPr id="37" name="Text Placeholder 26">
            <a:extLst>
              <a:ext uri="{FF2B5EF4-FFF2-40B4-BE49-F238E27FC236}">
                <a16:creationId xmlns:a16="http://schemas.microsoft.com/office/drawing/2014/main" id="{3780FE85-2D93-423E-B012-7B7010E602B3}"/>
              </a:ext>
            </a:extLst>
          </p:cNvPr>
          <p:cNvSpPr txBox="1">
            <a:spLocks/>
          </p:cNvSpPr>
          <p:nvPr/>
        </p:nvSpPr>
        <p:spPr>
          <a:xfrm>
            <a:off x="9150152" y="2637135"/>
            <a:ext cx="1912245" cy="1979613"/>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36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2pPr>
            <a:lvl3pPr marL="540000" indent="-180000" algn="l" defTabSz="914400" rtl="0" eaLnBrk="1" latinLnBrk="0" hangingPunct="1">
              <a:lnSpc>
                <a:spcPct val="100000"/>
              </a:lnSpc>
              <a:spcBef>
                <a:spcPts val="900"/>
              </a:spcBef>
              <a:buFont typeface="Wingdings" panose="05000000000000000000" pitchFamily="2" charset="2"/>
              <a:buChar char="§"/>
              <a:defRPr sz="1500" kern="1200">
                <a:solidFill>
                  <a:schemeClr val="tx1"/>
                </a:solidFill>
                <a:latin typeface="+mn-lt"/>
                <a:ea typeface="+mn-ea"/>
                <a:cs typeface="+mn-cs"/>
              </a:defRPr>
            </a:lvl3pPr>
            <a:lvl4pPr marL="720000" indent="-180000" algn="l" defTabSz="914400" rtl="0" eaLnBrk="1" latinLnBrk="0" hangingPunct="1">
              <a:lnSpc>
                <a:spcPct val="100000"/>
              </a:lnSpc>
              <a:spcBef>
                <a:spcPts val="900"/>
              </a:spcBef>
              <a:buClr>
                <a:schemeClr val="tx1"/>
              </a:buClr>
              <a:buFont typeface="Courier New" panose="02070309020205020404" pitchFamily="49" charset="0"/>
              <a:buChar char="o"/>
              <a:defRPr sz="1500" kern="1200">
                <a:solidFill>
                  <a:schemeClr val="tx1"/>
                </a:solidFill>
                <a:latin typeface="+mn-lt"/>
                <a:ea typeface="+mn-ea"/>
                <a:cs typeface="+mn-cs"/>
              </a:defRPr>
            </a:lvl4pPr>
            <a:lvl5pPr marL="900000" indent="-180000" algn="l" defTabSz="914400" rtl="0" eaLnBrk="1" latinLnBrk="0" hangingPunct="1">
              <a:lnSpc>
                <a:spcPct val="100000"/>
              </a:lnSpc>
              <a:spcBef>
                <a:spcPts val="900"/>
              </a:spcBef>
              <a:buClr>
                <a:schemeClr val="tx1"/>
              </a:buClr>
              <a:buFont typeface="Avenir Next LT Pro" panose="020B0504020202020204" pitchFamily="34" charset="0"/>
              <a:buChar char="–"/>
              <a:defRPr sz="15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dirty="0"/>
              <a:t>Many standards are embedded in the evidence requirements for approval and clearance </a:t>
            </a:r>
          </a:p>
          <a:p>
            <a:r>
              <a:rPr lang="en-US" sz="1200" dirty="0"/>
              <a:t>Standards provide a predictable regulatory framework, and predictability promotes innovation</a:t>
            </a:r>
          </a:p>
        </p:txBody>
      </p:sp>
      <p:sp>
        <p:nvSpPr>
          <p:cNvPr id="38" name="Text Placeholder 30">
            <a:extLst>
              <a:ext uri="{FF2B5EF4-FFF2-40B4-BE49-F238E27FC236}">
                <a16:creationId xmlns:a16="http://schemas.microsoft.com/office/drawing/2014/main" id="{AF9DED71-50E1-4E5E-8660-AFDDAA45D7BB}"/>
              </a:ext>
            </a:extLst>
          </p:cNvPr>
          <p:cNvSpPr txBox="1">
            <a:spLocks/>
          </p:cNvSpPr>
          <p:nvPr/>
        </p:nvSpPr>
        <p:spPr>
          <a:xfrm>
            <a:off x="9177045" y="2224712"/>
            <a:ext cx="2248085" cy="322228"/>
          </a:xfrm>
          <a:prstGeom prst="rect">
            <a:avLst/>
          </a:prstGeom>
        </p:spPr>
        <p:txBody>
          <a:bodyPr vert="horz" lIns="0" tIns="0" rIns="0" bIns="0" rtlCol="0" anchor="b" anchorCtr="0">
            <a:noAutofit/>
          </a:bodyPr>
          <a:lstStyle>
            <a:lvl1pPr marL="0" indent="0" algn="l" defTabSz="914400" rtl="0" eaLnBrk="1" latinLnBrk="0" hangingPunct="1">
              <a:lnSpc>
                <a:spcPct val="85000"/>
              </a:lnSpc>
              <a:spcBef>
                <a:spcPts val="900"/>
              </a:spcBef>
              <a:buFont typeface="Arial" panose="020B0604020202020204" pitchFamily="34" charset="0"/>
              <a:buNone/>
              <a:defRPr sz="1800" kern="1200">
                <a:solidFill>
                  <a:schemeClr val="accent2"/>
                </a:solidFill>
                <a:latin typeface="+mj-lt"/>
                <a:ea typeface="+mn-ea"/>
                <a:cs typeface="+mn-cs"/>
              </a:defRPr>
            </a:lvl1pPr>
            <a:lvl2pPr marL="180000" indent="0" algn="ctr" defTabSz="914400" rtl="0" eaLnBrk="1" latinLnBrk="0" hangingPunct="1">
              <a:lnSpc>
                <a:spcPct val="100000"/>
              </a:lnSpc>
              <a:spcBef>
                <a:spcPts val="900"/>
              </a:spcBef>
              <a:buFont typeface="Arial" panose="020B0604020202020204" pitchFamily="34" charset="0"/>
              <a:buNone/>
              <a:defRPr sz="1800" kern="1200">
                <a:solidFill>
                  <a:schemeClr val="bg1"/>
                </a:solidFill>
                <a:latin typeface="+mn-lt"/>
                <a:ea typeface="+mn-ea"/>
                <a:cs typeface="+mn-cs"/>
              </a:defRPr>
            </a:lvl2pPr>
            <a:lvl3pPr marL="360000" indent="0" algn="ctr" defTabSz="914400" rtl="0" eaLnBrk="1" latinLnBrk="0" hangingPunct="1">
              <a:lnSpc>
                <a:spcPct val="100000"/>
              </a:lnSpc>
              <a:spcBef>
                <a:spcPts val="900"/>
              </a:spcBef>
              <a:buFont typeface="Wingdings" panose="05000000000000000000" pitchFamily="2" charset="2"/>
              <a:buNone/>
              <a:defRPr sz="1800" kern="1200">
                <a:solidFill>
                  <a:schemeClr val="bg1"/>
                </a:solidFill>
                <a:latin typeface="+mn-lt"/>
                <a:ea typeface="+mn-ea"/>
                <a:cs typeface="+mn-cs"/>
              </a:defRPr>
            </a:lvl3pPr>
            <a:lvl4pPr marL="0" indent="0" algn="ctr" defTabSz="914400" rtl="0" eaLnBrk="1" latinLnBrk="0" hangingPunct="1">
              <a:lnSpc>
                <a:spcPct val="100000"/>
              </a:lnSpc>
              <a:spcBef>
                <a:spcPts val="900"/>
              </a:spcBef>
              <a:buClr>
                <a:schemeClr val="tx1"/>
              </a:buClr>
              <a:buFont typeface="Courier New" panose="02070309020205020404" pitchFamily="49" charset="0"/>
              <a:buNone/>
              <a:defRPr sz="1800" kern="1200">
                <a:solidFill>
                  <a:schemeClr val="bg1"/>
                </a:solidFill>
                <a:latin typeface="+mn-lt"/>
                <a:ea typeface="+mn-ea"/>
                <a:cs typeface="+mn-cs"/>
              </a:defRPr>
            </a:lvl4pPr>
            <a:lvl5pPr marL="180000" indent="0" algn="ctr" defTabSz="914400" rtl="0" eaLnBrk="1" latinLnBrk="0" hangingPunct="1">
              <a:lnSpc>
                <a:spcPct val="100000"/>
              </a:lnSpc>
              <a:spcBef>
                <a:spcPts val="900"/>
              </a:spcBef>
              <a:buClr>
                <a:schemeClr val="tx1"/>
              </a:buClr>
              <a:buFont typeface="Avenir Next LT Pro" panose="020B0504020202020204" pitchFamily="34" charset="0"/>
              <a:buNone/>
              <a:defRPr sz="1800" kern="1200">
                <a:solidFill>
                  <a:schemeClr val="bg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accent2">
                    <a:lumMod val="50000"/>
                  </a:schemeClr>
                </a:solidFill>
              </a:rPr>
              <a:t>Standards</a:t>
            </a:r>
          </a:p>
        </p:txBody>
      </p:sp>
      <p:pic>
        <p:nvPicPr>
          <p:cNvPr id="60" name="Graphic 59" descr="Scales of justice">
            <a:extLst>
              <a:ext uri="{FF2B5EF4-FFF2-40B4-BE49-F238E27FC236}">
                <a16:creationId xmlns:a16="http://schemas.microsoft.com/office/drawing/2014/main" id="{5682C966-E541-4D2D-8BFE-3A93FB456CA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002588" y="1365768"/>
            <a:ext cx="914400" cy="914400"/>
          </a:xfrm>
          <a:prstGeom prst="rect">
            <a:avLst/>
          </a:prstGeom>
        </p:spPr>
      </p:pic>
      <p:pic>
        <p:nvPicPr>
          <p:cNvPr id="62" name="Graphic 61" descr="Doctor">
            <a:extLst>
              <a:ext uri="{FF2B5EF4-FFF2-40B4-BE49-F238E27FC236}">
                <a16:creationId xmlns:a16="http://schemas.microsoft.com/office/drawing/2014/main" id="{4C357222-CD1F-426B-A7AF-BE8037812D5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00373" y="1365768"/>
            <a:ext cx="914400" cy="914400"/>
          </a:xfrm>
          <a:prstGeom prst="rect">
            <a:avLst/>
          </a:prstGeom>
        </p:spPr>
      </p:pic>
      <p:pic>
        <p:nvPicPr>
          <p:cNvPr id="64" name="Graphic 63" descr="Checklist RTL">
            <a:extLst>
              <a:ext uri="{FF2B5EF4-FFF2-40B4-BE49-F238E27FC236}">
                <a16:creationId xmlns:a16="http://schemas.microsoft.com/office/drawing/2014/main" id="{7236BB32-9073-40A0-98F5-EF112E7D06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98157" y="1365768"/>
            <a:ext cx="914400" cy="914400"/>
          </a:xfrm>
          <a:prstGeom prst="rect">
            <a:avLst/>
          </a:prstGeom>
        </p:spPr>
      </p:pic>
      <p:pic>
        <p:nvPicPr>
          <p:cNvPr id="68" name="Graphic 67" descr="Warning">
            <a:extLst>
              <a:ext uri="{FF2B5EF4-FFF2-40B4-BE49-F238E27FC236}">
                <a16:creationId xmlns:a16="http://schemas.microsoft.com/office/drawing/2014/main" id="{4FBD0663-1432-4A5A-8DBD-7673AB273A8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701127" y="1365768"/>
            <a:ext cx="914400" cy="914400"/>
          </a:xfrm>
          <a:prstGeom prst="rect">
            <a:avLst/>
          </a:prstGeom>
        </p:spPr>
      </p:pic>
      <p:sp>
        <p:nvSpPr>
          <p:cNvPr id="71" name="TextBox 70">
            <a:extLst>
              <a:ext uri="{FF2B5EF4-FFF2-40B4-BE49-F238E27FC236}">
                <a16:creationId xmlns:a16="http://schemas.microsoft.com/office/drawing/2014/main" id="{63FE5DAB-9944-44F5-AC39-3EDD1ACB6047}"/>
              </a:ext>
            </a:extLst>
          </p:cNvPr>
          <p:cNvSpPr txBox="1"/>
          <p:nvPr/>
        </p:nvSpPr>
        <p:spPr>
          <a:xfrm>
            <a:off x="550864" y="5300424"/>
            <a:ext cx="10511533" cy="789319"/>
          </a:xfrm>
          <a:prstGeom prst="rect">
            <a:avLst/>
          </a:prstGeom>
          <a:solidFill>
            <a:schemeClr val="bg1"/>
          </a:solidFill>
          <a:ln>
            <a:solidFill>
              <a:schemeClr val="accent2"/>
            </a:solidFill>
          </a:ln>
        </p:spPr>
        <p:txBody>
          <a:bodyPr wrap="square" rtlCol="0">
            <a:noAutofit/>
          </a:bodyPr>
          <a:lstStyle/>
          <a:p>
            <a:pPr algn="l"/>
            <a:r>
              <a:rPr lang="en-US" sz="1400" dirty="0">
                <a:solidFill>
                  <a:schemeClr val="accent2">
                    <a:lumMod val="75000"/>
                  </a:schemeClr>
                </a:solidFill>
              </a:rPr>
              <a:t>In addition to having a detailed understanding of the regulatory processes for different countries, industry players also need to proactively find opportunities where they can opt for shorter review cycles, reduced evidence requirements, and other forms of guidance for their IVD devices</a:t>
            </a:r>
          </a:p>
          <a:p>
            <a:pPr algn="l"/>
            <a:endParaRPr lang="en-US" sz="1400" dirty="0">
              <a:solidFill>
                <a:schemeClr val="accent2">
                  <a:lumMod val="75000"/>
                </a:schemeClr>
              </a:solidFill>
            </a:endParaRPr>
          </a:p>
        </p:txBody>
      </p:sp>
      <p:sp>
        <p:nvSpPr>
          <p:cNvPr id="24" name="Footer Placeholder 1">
            <a:extLst>
              <a:ext uri="{FF2B5EF4-FFF2-40B4-BE49-F238E27FC236}">
                <a16:creationId xmlns:a16="http://schemas.microsoft.com/office/drawing/2014/main" id="{BE9A4010-3575-4694-8179-51F7CD355504}"/>
              </a:ext>
            </a:extLst>
          </p:cNvPr>
          <p:cNvSpPr txBox="1">
            <a:spLocks/>
          </p:cNvSpPr>
          <p:nvPr/>
        </p:nvSpPr>
        <p:spPr>
          <a:xfrm>
            <a:off x="8125959" y="6343039"/>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dirty="0">
                <a:solidFill>
                  <a:prstClr val="black"/>
                </a:solidFill>
              </a:rPr>
              <a:t>The Evolving Regulatory Landscape for IVD in APAC</a:t>
            </a:r>
          </a:p>
        </p:txBody>
      </p:sp>
      <p:cxnSp>
        <p:nvCxnSpPr>
          <p:cNvPr id="22" name="Straight Connector 21">
            <a:extLst>
              <a:ext uri="{FF2B5EF4-FFF2-40B4-BE49-F238E27FC236}">
                <a16:creationId xmlns:a16="http://schemas.microsoft.com/office/drawing/2014/main" id="{FF4B3900-F08D-4175-BBC5-294BEB226A40}"/>
              </a:ext>
            </a:extLst>
          </p:cNvPr>
          <p:cNvCxnSpPr>
            <a:cxnSpLocks/>
          </p:cNvCxnSpPr>
          <p:nvPr/>
        </p:nvCxnSpPr>
        <p:spPr>
          <a:xfrm>
            <a:off x="11421707" y="6357780"/>
            <a:ext cx="0" cy="19796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60867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FBDA11-73EA-FEED-4F29-ED46DFEC9C24}"/>
              </a:ext>
            </a:extLst>
          </p:cNvPr>
          <p:cNvSpPr>
            <a:spLocks noGrp="1"/>
          </p:cNvSpPr>
          <p:nvPr>
            <p:ph type="sldNum" sz="quarter" idx="11"/>
          </p:nvPr>
        </p:nvSpPr>
        <p:spPr/>
        <p:txBody>
          <a:bodyPr/>
          <a:lstStyle/>
          <a:p>
            <a:fld id="{F59CD943-D024-467A-B36E-F11E1285ED75}" type="slidenum">
              <a:rPr lang="en-GB" smtClean="0"/>
              <a:pPr/>
              <a:t>11</a:t>
            </a:fld>
            <a:endParaRPr lang="en-GB" dirty="0"/>
          </a:p>
        </p:txBody>
      </p:sp>
      <p:sp>
        <p:nvSpPr>
          <p:cNvPr id="4" name="Text Placeholder 3">
            <a:extLst>
              <a:ext uri="{FF2B5EF4-FFF2-40B4-BE49-F238E27FC236}">
                <a16:creationId xmlns:a16="http://schemas.microsoft.com/office/drawing/2014/main" id="{AB355E3E-3BCB-CC4F-573F-F8D03991C47E}"/>
              </a:ext>
            </a:extLst>
          </p:cNvPr>
          <p:cNvSpPr>
            <a:spLocks noGrp="1"/>
          </p:cNvSpPr>
          <p:nvPr>
            <p:ph type="body" sz="quarter" idx="21"/>
          </p:nvPr>
        </p:nvSpPr>
        <p:spPr>
          <a:xfrm>
            <a:off x="8613096" y="2168525"/>
            <a:ext cx="3024000" cy="1620837"/>
          </a:xfrm>
        </p:spPr>
        <p:txBody>
          <a:bodyPr/>
          <a:lstStyle/>
          <a:p>
            <a:r>
              <a:rPr lang="en-US" sz="4800" dirty="0"/>
              <a:t>12 - 22 months</a:t>
            </a:r>
            <a:endParaRPr lang="en-GB" sz="4800" dirty="0"/>
          </a:p>
        </p:txBody>
      </p:sp>
      <p:sp>
        <p:nvSpPr>
          <p:cNvPr id="5" name="Text Placeholder 4">
            <a:extLst>
              <a:ext uri="{FF2B5EF4-FFF2-40B4-BE49-F238E27FC236}">
                <a16:creationId xmlns:a16="http://schemas.microsoft.com/office/drawing/2014/main" id="{01502663-CD81-498F-CB8F-7A4785E29AC4}"/>
              </a:ext>
            </a:extLst>
          </p:cNvPr>
          <p:cNvSpPr>
            <a:spLocks noGrp="1"/>
          </p:cNvSpPr>
          <p:nvPr>
            <p:ph type="body" sz="quarter" idx="16"/>
          </p:nvPr>
        </p:nvSpPr>
        <p:spPr>
          <a:xfrm>
            <a:off x="8606543" y="3768186"/>
            <a:ext cx="3024000" cy="1620836"/>
          </a:xfrm>
        </p:spPr>
        <p:txBody>
          <a:bodyPr/>
          <a:lstStyle/>
          <a:p>
            <a:r>
              <a:rPr lang="en-US" dirty="0"/>
              <a:t>The speed which NMPA approves foreign IVDs. Local IVDs are approved in 6-12 months. That’s 2x faster.</a:t>
            </a:r>
            <a:endParaRPr lang="en-GB" dirty="0"/>
          </a:p>
        </p:txBody>
      </p:sp>
      <p:sp>
        <p:nvSpPr>
          <p:cNvPr id="6" name="Title 5">
            <a:extLst>
              <a:ext uri="{FF2B5EF4-FFF2-40B4-BE49-F238E27FC236}">
                <a16:creationId xmlns:a16="http://schemas.microsoft.com/office/drawing/2014/main" id="{2E821399-B4F2-8C0E-89EB-E46B6DAF03A9}"/>
              </a:ext>
            </a:extLst>
          </p:cNvPr>
          <p:cNvSpPr>
            <a:spLocks noGrp="1"/>
          </p:cNvSpPr>
          <p:nvPr>
            <p:ph type="title"/>
          </p:nvPr>
        </p:nvSpPr>
        <p:spPr>
          <a:xfrm>
            <a:off x="320401" y="462614"/>
            <a:ext cx="6966375" cy="251885"/>
          </a:xfrm>
        </p:spPr>
        <p:txBody>
          <a:bodyPr/>
          <a:lstStyle/>
          <a:p>
            <a:r>
              <a:rPr lang="en-US" dirty="0">
                <a:solidFill>
                  <a:schemeClr val="accent2">
                    <a:lumMod val="50000"/>
                  </a:schemeClr>
                </a:solidFill>
              </a:rPr>
              <a:t>The impact of regulators in APAC markets</a:t>
            </a:r>
            <a:endParaRPr lang="en-GB" dirty="0">
              <a:solidFill>
                <a:schemeClr val="accent2">
                  <a:lumMod val="50000"/>
                </a:schemeClr>
              </a:solidFill>
            </a:endParaRPr>
          </a:p>
        </p:txBody>
      </p:sp>
      <p:sp>
        <p:nvSpPr>
          <p:cNvPr id="7" name="Text Placeholder 6">
            <a:extLst>
              <a:ext uri="{FF2B5EF4-FFF2-40B4-BE49-F238E27FC236}">
                <a16:creationId xmlns:a16="http://schemas.microsoft.com/office/drawing/2014/main" id="{1B5097A9-246C-0A98-24D3-F3B2ABDB2A81}"/>
              </a:ext>
            </a:extLst>
          </p:cNvPr>
          <p:cNvSpPr>
            <a:spLocks noGrp="1"/>
          </p:cNvSpPr>
          <p:nvPr>
            <p:ph type="body" sz="quarter" idx="13"/>
          </p:nvPr>
        </p:nvSpPr>
        <p:spPr>
          <a:xfrm>
            <a:off x="320401" y="845838"/>
            <a:ext cx="6966375" cy="649470"/>
          </a:xfrm>
        </p:spPr>
        <p:txBody>
          <a:bodyPr/>
          <a:lstStyle/>
          <a:p>
            <a:r>
              <a:rPr lang="en-US" dirty="0"/>
              <a:t>Regulators’ impact to IVDs is not limited to just how the devices are registered – they impact how they are used too</a:t>
            </a:r>
            <a:endParaRPr lang="en-GB" dirty="0"/>
          </a:p>
        </p:txBody>
      </p:sp>
      <p:graphicFrame>
        <p:nvGraphicFramePr>
          <p:cNvPr id="10" name="Diagram 9">
            <a:extLst>
              <a:ext uri="{FF2B5EF4-FFF2-40B4-BE49-F238E27FC236}">
                <a16:creationId xmlns:a16="http://schemas.microsoft.com/office/drawing/2014/main" id="{9A1608D1-9007-69F1-D1F8-8532588BA8B2}"/>
              </a:ext>
            </a:extLst>
          </p:cNvPr>
          <p:cNvGraphicFramePr/>
          <p:nvPr>
            <p:extLst>
              <p:ext uri="{D42A27DB-BD31-4B8C-83A1-F6EECF244321}">
                <p14:modId xmlns:p14="http://schemas.microsoft.com/office/powerpoint/2010/main" val="3204091580"/>
              </p:ext>
            </p:extLst>
          </p:nvPr>
        </p:nvGraphicFramePr>
        <p:xfrm>
          <a:off x="177481" y="2168525"/>
          <a:ext cx="7617114" cy="37750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5671C380-3B90-68C8-7338-F22CB128077A}"/>
              </a:ext>
            </a:extLst>
          </p:cNvPr>
          <p:cNvSpPr txBox="1"/>
          <p:nvPr/>
        </p:nvSpPr>
        <p:spPr>
          <a:xfrm>
            <a:off x="257452" y="1802167"/>
            <a:ext cx="6680676" cy="468441"/>
          </a:xfrm>
          <a:prstGeom prst="rect">
            <a:avLst/>
          </a:prstGeom>
          <a:noFill/>
          <a:ln>
            <a:noFill/>
          </a:ln>
        </p:spPr>
        <p:txBody>
          <a:bodyPr wrap="none" rtlCol="0">
            <a:noAutofit/>
          </a:bodyPr>
          <a:lstStyle/>
          <a:p>
            <a:pPr algn="l"/>
            <a:r>
              <a:rPr lang="en-US" dirty="0"/>
              <a:t>Examples of how regulators are impacting how IVDs are used</a:t>
            </a:r>
            <a:endParaRPr lang="en-GB" dirty="0"/>
          </a:p>
        </p:txBody>
      </p:sp>
      <p:sp>
        <p:nvSpPr>
          <p:cNvPr id="8" name="Text Placeholder 4">
            <a:extLst>
              <a:ext uri="{FF2B5EF4-FFF2-40B4-BE49-F238E27FC236}">
                <a16:creationId xmlns:a16="http://schemas.microsoft.com/office/drawing/2014/main" id="{FD6F82AB-C2E3-B40D-A620-85A81F5C94FA}"/>
              </a:ext>
            </a:extLst>
          </p:cNvPr>
          <p:cNvSpPr txBox="1">
            <a:spLocks/>
          </p:cNvSpPr>
          <p:nvPr/>
        </p:nvSpPr>
        <p:spPr>
          <a:xfrm>
            <a:off x="8698200" y="1089025"/>
            <a:ext cx="3024000" cy="1620836"/>
          </a:xfrm>
          <a:prstGeom prst="rect">
            <a:avLst/>
          </a:prstGeom>
        </p:spPr>
        <p:txBody>
          <a:bodyPr vert="horz" lIns="0" tIns="0" rIns="0" bIns="0" rtlCol="0">
            <a:noAutofit/>
          </a:bodyPr>
          <a:lstStyle>
            <a:lvl1pPr marL="0" indent="0" algn="ctr" defTabSz="914400" rtl="0" eaLnBrk="1" latinLnBrk="0" hangingPunct="1">
              <a:lnSpc>
                <a:spcPct val="100000"/>
              </a:lnSpc>
              <a:spcBef>
                <a:spcPts val="900"/>
              </a:spcBef>
              <a:buFont typeface="Arial" panose="020B0604020202020204" pitchFamily="34" charset="0"/>
              <a:buNone/>
              <a:defRPr sz="1800" kern="1200">
                <a:solidFill>
                  <a:schemeClr val="bg1"/>
                </a:solidFill>
                <a:latin typeface="+mn-lt"/>
                <a:ea typeface="+mn-ea"/>
                <a:cs typeface="+mn-cs"/>
              </a:defRPr>
            </a:lvl1pPr>
            <a:lvl2pPr marL="180000" indent="0" algn="ctr" defTabSz="914400" rtl="0" eaLnBrk="1" latinLnBrk="0" hangingPunct="1">
              <a:lnSpc>
                <a:spcPct val="100000"/>
              </a:lnSpc>
              <a:spcBef>
                <a:spcPts val="900"/>
              </a:spcBef>
              <a:buFont typeface="Arial" panose="020B0604020202020204" pitchFamily="34" charset="0"/>
              <a:buNone/>
              <a:defRPr sz="1800" kern="1200">
                <a:solidFill>
                  <a:schemeClr val="bg1"/>
                </a:solidFill>
                <a:latin typeface="+mn-lt"/>
                <a:ea typeface="+mn-ea"/>
                <a:cs typeface="+mn-cs"/>
              </a:defRPr>
            </a:lvl2pPr>
            <a:lvl3pPr marL="360000" indent="0" algn="ctr" defTabSz="914400" rtl="0" eaLnBrk="1" latinLnBrk="0" hangingPunct="1">
              <a:lnSpc>
                <a:spcPct val="100000"/>
              </a:lnSpc>
              <a:spcBef>
                <a:spcPts val="900"/>
              </a:spcBef>
              <a:buFont typeface="Wingdings" panose="05000000000000000000" pitchFamily="2" charset="2"/>
              <a:buNone/>
              <a:defRPr sz="1800" kern="1200">
                <a:solidFill>
                  <a:schemeClr val="bg1"/>
                </a:solidFill>
                <a:latin typeface="+mn-lt"/>
                <a:ea typeface="+mn-ea"/>
                <a:cs typeface="+mn-cs"/>
              </a:defRPr>
            </a:lvl3pPr>
            <a:lvl4pPr marL="0" indent="0" algn="ctr" defTabSz="914400" rtl="0" eaLnBrk="1" latinLnBrk="0" hangingPunct="1">
              <a:lnSpc>
                <a:spcPct val="100000"/>
              </a:lnSpc>
              <a:spcBef>
                <a:spcPts val="900"/>
              </a:spcBef>
              <a:buClr>
                <a:schemeClr val="tx1"/>
              </a:buClr>
              <a:buFont typeface="Courier New" panose="02070309020205020404" pitchFamily="49" charset="0"/>
              <a:buNone/>
              <a:defRPr sz="1800" kern="1200">
                <a:solidFill>
                  <a:schemeClr val="bg1"/>
                </a:solidFill>
                <a:latin typeface="+mn-lt"/>
                <a:ea typeface="+mn-ea"/>
                <a:cs typeface="+mn-cs"/>
              </a:defRPr>
            </a:lvl4pPr>
            <a:lvl5pPr marL="180000" indent="0" algn="ctr" defTabSz="914400" rtl="0" eaLnBrk="1" latinLnBrk="0" hangingPunct="1">
              <a:lnSpc>
                <a:spcPct val="100000"/>
              </a:lnSpc>
              <a:spcBef>
                <a:spcPts val="900"/>
              </a:spcBef>
              <a:buClr>
                <a:schemeClr val="tx1"/>
              </a:buClr>
              <a:buFont typeface="Avenir Next LT Pro" panose="020B0504020202020204" pitchFamily="34" charset="0"/>
              <a:buNone/>
              <a:defRPr sz="1800" kern="1200">
                <a:solidFill>
                  <a:schemeClr val="bg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his can impact </a:t>
            </a:r>
            <a:r>
              <a:rPr lang="en-US" b="1" dirty="0"/>
              <a:t>speed to market </a:t>
            </a:r>
            <a:r>
              <a:rPr lang="en-US" dirty="0"/>
              <a:t>and availability of international IVDs</a:t>
            </a:r>
            <a:endParaRPr lang="en-GB" dirty="0"/>
          </a:p>
        </p:txBody>
      </p:sp>
      <p:pic>
        <p:nvPicPr>
          <p:cNvPr id="12" name="Graphic 11" descr="Thumbs up sign">
            <a:extLst>
              <a:ext uri="{FF2B5EF4-FFF2-40B4-BE49-F238E27FC236}">
                <a16:creationId xmlns:a16="http://schemas.microsoft.com/office/drawing/2014/main" id="{DB0A4CDF-36C3-4967-AA1E-B964574A367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5383" y="3039580"/>
            <a:ext cx="475284" cy="475284"/>
          </a:xfrm>
          <a:prstGeom prst="rect">
            <a:avLst/>
          </a:prstGeom>
        </p:spPr>
      </p:pic>
      <p:pic>
        <p:nvPicPr>
          <p:cNvPr id="14" name="Graphic 13" descr="Marketing">
            <a:extLst>
              <a:ext uri="{FF2B5EF4-FFF2-40B4-BE49-F238E27FC236}">
                <a16:creationId xmlns:a16="http://schemas.microsoft.com/office/drawing/2014/main" id="{CED5DE10-CFA7-4A59-87D7-66EB07E3297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81709" y="3818420"/>
            <a:ext cx="475284" cy="475284"/>
          </a:xfrm>
          <a:prstGeom prst="rect">
            <a:avLst/>
          </a:prstGeom>
        </p:spPr>
      </p:pic>
      <p:pic>
        <p:nvPicPr>
          <p:cNvPr id="18" name="Graphic 17" descr="Network">
            <a:extLst>
              <a:ext uri="{FF2B5EF4-FFF2-40B4-BE49-F238E27FC236}">
                <a16:creationId xmlns:a16="http://schemas.microsoft.com/office/drawing/2014/main" id="{C6436F40-8FC3-49E3-A9EC-78B5C24992C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3222" y="5212143"/>
            <a:ext cx="475284" cy="475284"/>
          </a:xfrm>
          <a:prstGeom prst="rect">
            <a:avLst/>
          </a:prstGeom>
        </p:spPr>
      </p:pic>
      <p:pic>
        <p:nvPicPr>
          <p:cNvPr id="20" name="Graphic 19" descr="Document">
            <a:extLst>
              <a:ext uri="{FF2B5EF4-FFF2-40B4-BE49-F238E27FC236}">
                <a16:creationId xmlns:a16="http://schemas.microsoft.com/office/drawing/2014/main" id="{A9AB8D49-113B-449E-BBF1-C749B07AB96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20401" y="2342719"/>
            <a:ext cx="475284" cy="475284"/>
          </a:xfrm>
          <a:prstGeom prst="rect">
            <a:avLst/>
          </a:prstGeom>
        </p:spPr>
      </p:pic>
      <p:pic>
        <p:nvPicPr>
          <p:cNvPr id="22" name="Graphic 21" descr="Flag">
            <a:extLst>
              <a:ext uri="{FF2B5EF4-FFF2-40B4-BE49-F238E27FC236}">
                <a16:creationId xmlns:a16="http://schemas.microsoft.com/office/drawing/2014/main" id="{0C6173F8-041D-405A-A273-CA676E93B42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35383" y="4542753"/>
            <a:ext cx="475284" cy="475284"/>
          </a:xfrm>
          <a:prstGeom prst="rect">
            <a:avLst/>
          </a:prstGeom>
        </p:spPr>
      </p:pic>
      <p:sp>
        <p:nvSpPr>
          <p:cNvPr id="16" name="Footer Placeholder 1">
            <a:extLst>
              <a:ext uri="{FF2B5EF4-FFF2-40B4-BE49-F238E27FC236}">
                <a16:creationId xmlns:a16="http://schemas.microsoft.com/office/drawing/2014/main" id="{5F4C94E2-74BF-4E2E-ADA8-0175183C22A6}"/>
              </a:ext>
            </a:extLst>
          </p:cNvPr>
          <p:cNvSpPr txBox="1">
            <a:spLocks/>
          </p:cNvSpPr>
          <p:nvPr/>
        </p:nvSpPr>
        <p:spPr>
          <a:xfrm>
            <a:off x="8129234" y="6342123"/>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dirty="0">
                <a:solidFill>
                  <a:schemeClr val="bg1"/>
                </a:solidFill>
              </a:rPr>
              <a:t>The Evolving Regulatory Landscape for IVD in APAC</a:t>
            </a:r>
          </a:p>
        </p:txBody>
      </p:sp>
      <p:cxnSp>
        <p:nvCxnSpPr>
          <p:cNvPr id="17" name="Straight Connector 16">
            <a:extLst>
              <a:ext uri="{FF2B5EF4-FFF2-40B4-BE49-F238E27FC236}">
                <a16:creationId xmlns:a16="http://schemas.microsoft.com/office/drawing/2014/main" id="{B9DC9950-3BB6-4145-8D0D-1A159F97909C}"/>
              </a:ext>
            </a:extLst>
          </p:cNvPr>
          <p:cNvCxnSpPr>
            <a:cxnSpLocks/>
          </p:cNvCxnSpPr>
          <p:nvPr/>
        </p:nvCxnSpPr>
        <p:spPr>
          <a:xfrm>
            <a:off x="11421707" y="6357780"/>
            <a:ext cx="0" cy="19796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68770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ADF7B73-B46C-D3F9-C53F-FA24E2268054}"/>
              </a:ext>
            </a:extLst>
          </p:cNvPr>
          <p:cNvSpPr>
            <a:spLocks noGrp="1"/>
          </p:cNvSpPr>
          <p:nvPr>
            <p:ph type="body" sz="quarter" idx="16"/>
          </p:nvPr>
        </p:nvSpPr>
        <p:spPr>
          <a:xfrm>
            <a:off x="2907015" y="2500384"/>
            <a:ext cx="6374468" cy="1030130"/>
          </a:xfrm>
        </p:spPr>
        <p:txBody>
          <a:bodyPr/>
          <a:lstStyle/>
          <a:p>
            <a:r>
              <a:rPr lang="en-US" b="1" dirty="0"/>
              <a:t>Connectivity, integrity, and data in the IVD industry</a:t>
            </a:r>
            <a:endParaRPr lang="en-US" dirty="0"/>
          </a:p>
        </p:txBody>
      </p:sp>
      <p:sp>
        <p:nvSpPr>
          <p:cNvPr id="8" name="Text Placeholder 7">
            <a:extLst>
              <a:ext uri="{FF2B5EF4-FFF2-40B4-BE49-F238E27FC236}">
                <a16:creationId xmlns:a16="http://schemas.microsoft.com/office/drawing/2014/main" id="{4FE99821-FE16-141B-4BF9-9C749E2AC0BE}"/>
              </a:ext>
            </a:extLst>
          </p:cNvPr>
          <p:cNvSpPr>
            <a:spLocks noGrp="1"/>
          </p:cNvSpPr>
          <p:nvPr>
            <p:ph type="body" sz="quarter" idx="17"/>
          </p:nvPr>
        </p:nvSpPr>
        <p:spPr>
          <a:xfrm>
            <a:off x="1487487" y="3659011"/>
            <a:ext cx="9409899" cy="583051"/>
          </a:xfrm>
        </p:spPr>
        <p:txBody>
          <a:bodyPr/>
          <a:lstStyle/>
          <a:p>
            <a:r>
              <a:rPr lang="en-US" dirty="0"/>
              <a:t>Connectivity is essential to effectively deliver products, services and drive public health, while integrity is important for maintaining trust</a:t>
            </a:r>
          </a:p>
        </p:txBody>
      </p:sp>
      <p:sp>
        <p:nvSpPr>
          <p:cNvPr id="4" name="Slide Number Placeholder 2">
            <a:extLst>
              <a:ext uri="{FF2B5EF4-FFF2-40B4-BE49-F238E27FC236}">
                <a16:creationId xmlns:a16="http://schemas.microsoft.com/office/drawing/2014/main" id="{98F81CBA-50C5-4984-854A-EC955CF79802}"/>
              </a:ext>
            </a:extLst>
          </p:cNvPr>
          <p:cNvSpPr txBox="1">
            <a:spLocks/>
          </p:cNvSpPr>
          <p:nvPr/>
        </p:nvSpPr>
        <p:spPr>
          <a:xfrm>
            <a:off x="11506200" y="6348352"/>
            <a:ext cx="340360" cy="215901"/>
          </a:xfrm>
          <a:prstGeom prst="rect">
            <a:avLst/>
          </a:prstGeom>
        </p:spPr>
        <p:txBody>
          <a:bodyPr anchor="ctr">
            <a:normAutofit fontScale="5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F59CD943-D024-467A-B36E-F11E1285ED75}" type="slidenum">
              <a:rPr lang="en-GB" smtClean="0">
                <a:solidFill>
                  <a:schemeClr val="accent1"/>
                </a:solidFill>
              </a:rPr>
              <a:pPr>
                <a:spcAft>
                  <a:spcPts val="600"/>
                </a:spcAft>
              </a:pPr>
              <a:t>12</a:t>
            </a:fld>
            <a:endParaRPr lang="en-GB" dirty="0">
              <a:solidFill>
                <a:schemeClr val="accent1"/>
              </a:solidFill>
            </a:endParaRPr>
          </a:p>
        </p:txBody>
      </p:sp>
      <p:sp>
        <p:nvSpPr>
          <p:cNvPr id="5" name="Footer Placeholder 1">
            <a:extLst>
              <a:ext uri="{FF2B5EF4-FFF2-40B4-BE49-F238E27FC236}">
                <a16:creationId xmlns:a16="http://schemas.microsoft.com/office/drawing/2014/main" id="{65AA9FF0-5C5D-4A3B-85D0-0D79138D90FE}"/>
              </a:ext>
            </a:extLst>
          </p:cNvPr>
          <p:cNvSpPr txBox="1">
            <a:spLocks/>
          </p:cNvSpPr>
          <p:nvPr/>
        </p:nvSpPr>
        <p:spPr>
          <a:xfrm>
            <a:off x="8129234" y="6326385"/>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dirty="0">
                <a:solidFill>
                  <a:schemeClr val="accent1"/>
                </a:solidFill>
              </a:rPr>
              <a:t>The Evolving Regulatory Landscape for IVD in APAC</a:t>
            </a:r>
          </a:p>
        </p:txBody>
      </p:sp>
    </p:spTree>
    <p:extLst>
      <p:ext uri="{BB962C8B-B14F-4D97-AF65-F5344CB8AC3E}">
        <p14:creationId xmlns:p14="http://schemas.microsoft.com/office/powerpoint/2010/main" val="25376222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C27FC3-B924-A511-C045-8555D0ED93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25" name="think-cell Slide" r:id="rId5" imgW="421" imgH="423" progId="TCLayout.ActiveDocument.1">
                  <p:embed/>
                </p:oleObj>
              </mc:Choice>
              <mc:Fallback>
                <p:oleObj name="think-cell Slide" r:id="rId5" imgW="421" imgH="423" progId="TCLayout.ActiveDocument.1">
                  <p:embed/>
                  <p:pic>
                    <p:nvPicPr>
                      <p:cNvPr id="4" name="think-cell data - do not delete" hidden="1">
                        <a:extLst>
                          <a:ext uri="{FF2B5EF4-FFF2-40B4-BE49-F238E27FC236}">
                            <a16:creationId xmlns:a16="http://schemas.microsoft.com/office/drawing/2014/main" id="{9FC27FC3-B924-A511-C045-8555D0ED93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4">
            <a:extLst>
              <a:ext uri="{FF2B5EF4-FFF2-40B4-BE49-F238E27FC236}">
                <a16:creationId xmlns:a16="http://schemas.microsoft.com/office/drawing/2014/main" id="{2ADC8ECC-890D-F743-8197-B5ED7CDCDDC6}"/>
              </a:ext>
            </a:extLst>
          </p:cNvPr>
          <p:cNvSpPr txBox="1">
            <a:spLocks/>
          </p:cNvSpPr>
          <p:nvPr/>
        </p:nvSpPr>
        <p:spPr>
          <a:xfrm>
            <a:off x="354257" y="293746"/>
            <a:ext cx="11224411" cy="409104"/>
          </a:xfrm>
          <a:prstGeom prst="rect">
            <a:avLst/>
          </a:prstGeom>
        </p:spPr>
        <p:txBody>
          <a:bodyPr vert="horz"/>
          <a:lst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i="0" u="none" strike="noStrike" kern="1200" cap="none" spc="0" normalizeH="0" baseline="0" noProof="0" dirty="0">
                <a:ln>
                  <a:noFill/>
                </a:ln>
                <a:solidFill>
                  <a:schemeClr val="accent2">
                    <a:lumMod val="50000"/>
                  </a:schemeClr>
                </a:solidFill>
                <a:effectLst/>
                <a:uLnTx/>
                <a:uFillTx/>
                <a:latin typeface="Avenir Next LT Pro Demi"/>
                <a:ea typeface="+mj-ea"/>
                <a:cs typeface="+mj-cs"/>
              </a:rPr>
              <a:t>When we talk about data connectivity, we need to talk about:</a:t>
            </a:r>
          </a:p>
        </p:txBody>
      </p:sp>
      <p:graphicFrame>
        <p:nvGraphicFramePr>
          <p:cNvPr id="5" name="Diagram 4">
            <a:extLst>
              <a:ext uri="{FF2B5EF4-FFF2-40B4-BE49-F238E27FC236}">
                <a16:creationId xmlns:a16="http://schemas.microsoft.com/office/drawing/2014/main" id="{2E790AC0-967F-FB1F-47DB-776FF3E4BCCC}"/>
              </a:ext>
            </a:extLst>
          </p:cNvPr>
          <p:cNvGraphicFramePr/>
          <p:nvPr>
            <p:extLst>
              <p:ext uri="{D42A27DB-BD31-4B8C-83A1-F6EECF244321}">
                <p14:modId xmlns:p14="http://schemas.microsoft.com/office/powerpoint/2010/main" val="2420871713"/>
              </p:ext>
            </p:extLst>
          </p:nvPr>
        </p:nvGraphicFramePr>
        <p:xfrm>
          <a:off x="577543" y="746844"/>
          <a:ext cx="10857594" cy="55379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Slide Number Placeholder 2">
            <a:extLst>
              <a:ext uri="{FF2B5EF4-FFF2-40B4-BE49-F238E27FC236}">
                <a16:creationId xmlns:a16="http://schemas.microsoft.com/office/drawing/2014/main" id="{66EB6C2A-2F09-7ACB-73F6-9BD7A8638926}"/>
              </a:ext>
            </a:extLst>
          </p:cNvPr>
          <p:cNvSpPr txBox="1">
            <a:spLocks/>
          </p:cNvSpPr>
          <p:nvPr/>
        </p:nvSpPr>
        <p:spPr>
          <a:xfrm>
            <a:off x="11435137" y="6348353"/>
            <a:ext cx="329515" cy="215901"/>
          </a:xfrm>
          <a:prstGeom prst="rect">
            <a:avLst/>
          </a:prstGeom>
        </p:spPr>
        <p:txBody>
          <a:bodyPr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F59CD943-D024-467A-B36E-F11E1285ED75}" type="slidenum">
              <a:rPr lang="en-GB" sz="900" smtClean="0"/>
              <a:pPr>
                <a:spcAft>
                  <a:spcPts val="600"/>
                </a:spcAft>
              </a:pPr>
              <a:t>13</a:t>
            </a:fld>
            <a:endParaRPr lang="en-GB" sz="900" dirty="0"/>
          </a:p>
        </p:txBody>
      </p:sp>
      <p:sp>
        <p:nvSpPr>
          <p:cNvPr id="8" name="Footer Placeholder 1">
            <a:extLst>
              <a:ext uri="{FF2B5EF4-FFF2-40B4-BE49-F238E27FC236}">
                <a16:creationId xmlns:a16="http://schemas.microsoft.com/office/drawing/2014/main" id="{1228D3E8-420C-411F-8106-84A3508CEDE1}"/>
              </a:ext>
            </a:extLst>
          </p:cNvPr>
          <p:cNvSpPr txBox="1">
            <a:spLocks/>
          </p:cNvSpPr>
          <p:nvPr/>
        </p:nvSpPr>
        <p:spPr>
          <a:xfrm>
            <a:off x="8142664" y="6348353"/>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dirty="0">
                <a:solidFill>
                  <a:prstClr val="black"/>
                </a:solidFill>
              </a:rPr>
              <a:t>The Evolving Regulatory Landscape for IVD in APAC</a:t>
            </a:r>
          </a:p>
        </p:txBody>
      </p:sp>
    </p:spTree>
    <p:extLst>
      <p:ext uri="{BB962C8B-B14F-4D97-AF65-F5344CB8AC3E}">
        <p14:creationId xmlns:p14="http://schemas.microsoft.com/office/powerpoint/2010/main" val="15377366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B4A8FF3-F8FD-46F6-9685-864F2C5C1586}"/>
              </a:ext>
            </a:extLst>
          </p:cNvPr>
          <p:cNvSpPr/>
          <p:nvPr/>
        </p:nvSpPr>
        <p:spPr>
          <a:xfrm>
            <a:off x="6203968" y="5257551"/>
            <a:ext cx="5718927" cy="307777"/>
          </a:xfrm>
          <a:prstGeom prst="rect">
            <a:avLst/>
          </a:prstGeom>
        </p:spPr>
        <p:txBody>
          <a:bodyPr wrap="square">
            <a:spAutoFit/>
          </a:bodyPr>
          <a:lstStyle/>
          <a:p>
            <a:r>
              <a:rPr lang="en-US" sz="700" dirty="0">
                <a:solidFill>
                  <a:srgbClr val="212121"/>
                </a:solidFill>
                <a:latin typeface="BlinkMacSystemFont"/>
              </a:rPr>
              <a:t>Source: Ming D., Rawson T., Sangkaew S., Rodriguez-Manzano J., Georgiou P., Holmes A. Connectivity of rapid-testing diagnostics and surveillance of infectious diseases. Bull. World Health Organ. 2019;97:242–244. doi: 10.2471/BLT.18.219691. - </a:t>
            </a:r>
            <a:r>
              <a:rPr lang="en-US" sz="700" dirty="0">
                <a:solidFill>
                  <a:srgbClr val="0071BC"/>
                </a:solidFill>
                <a:latin typeface="BlinkMacSystemFont"/>
                <a:hlinkClick r:id="rId3"/>
              </a:rPr>
              <a:t>DOI </a:t>
            </a:r>
            <a:r>
              <a:rPr lang="en-US" sz="700" dirty="0">
                <a:solidFill>
                  <a:srgbClr val="212121"/>
                </a:solidFill>
                <a:latin typeface="BlinkMacSystemFont"/>
              </a:rPr>
              <a:t>- </a:t>
            </a:r>
            <a:r>
              <a:rPr lang="en-US" sz="700" dirty="0">
                <a:solidFill>
                  <a:srgbClr val="0071BC"/>
                </a:solidFill>
                <a:latin typeface="BlinkMacSystemFont"/>
                <a:hlinkClick r:id="rId4"/>
              </a:rPr>
              <a:t>PMC </a:t>
            </a:r>
            <a:r>
              <a:rPr lang="en-US" sz="700" dirty="0">
                <a:solidFill>
                  <a:srgbClr val="212121"/>
                </a:solidFill>
                <a:latin typeface="BlinkMacSystemFont"/>
              </a:rPr>
              <a:t>- </a:t>
            </a:r>
            <a:r>
              <a:rPr lang="en-US" sz="700" dirty="0">
                <a:solidFill>
                  <a:srgbClr val="0071BC"/>
                </a:solidFill>
                <a:latin typeface="BlinkMacSystemFont"/>
                <a:hlinkClick r:id="rId5"/>
              </a:rPr>
              <a:t>PubMed</a:t>
            </a:r>
            <a:endParaRPr lang="en-US" sz="700" b="0" i="0" dirty="0">
              <a:solidFill>
                <a:srgbClr val="212121"/>
              </a:solidFill>
              <a:effectLst/>
              <a:latin typeface="BlinkMacSystemFont"/>
            </a:endParaRPr>
          </a:p>
        </p:txBody>
      </p:sp>
      <p:sp>
        <p:nvSpPr>
          <p:cNvPr id="3" name="Rectangle 2">
            <a:extLst>
              <a:ext uri="{FF2B5EF4-FFF2-40B4-BE49-F238E27FC236}">
                <a16:creationId xmlns:a16="http://schemas.microsoft.com/office/drawing/2014/main" id="{069C7306-A46A-4D6E-921A-73280BA893EE}"/>
              </a:ext>
            </a:extLst>
          </p:cNvPr>
          <p:cNvSpPr/>
          <p:nvPr/>
        </p:nvSpPr>
        <p:spPr>
          <a:xfrm>
            <a:off x="132917" y="210079"/>
            <a:ext cx="11733251" cy="499104"/>
          </a:xfrm>
          <a:prstGeom prst="rect">
            <a:avLst/>
          </a:prstGeom>
        </p:spPr>
        <p:txBody>
          <a:bodyPr vert="horz"/>
          <a:lstStyle/>
          <a:p>
            <a:pPr>
              <a:lnSpc>
                <a:spcPct val="90000"/>
              </a:lnSpc>
              <a:spcBef>
                <a:spcPct val="0"/>
              </a:spcBef>
            </a:pPr>
            <a:r>
              <a:rPr lang="en-US" sz="2400" dirty="0">
                <a:solidFill>
                  <a:schemeClr val="accent2">
                    <a:lumMod val="50000"/>
                  </a:schemeClr>
                </a:solidFill>
                <a:latin typeface="Avenir Next LT Pro Demi"/>
                <a:ea typeface="+mj-ea"/>
                <a:cs typeface="+mj-cs"/>
              </a:rPr>
              <a:t>Connectivity in diagnostics is crucial for real-time disease modeling and epidemic forecasting</a:t>
            </a:r>
          </a:p>
        </p:txBody>
      </p:sp>
      <p:sp>
        <p:nvSpPr>
          <p:cNvPr id="4" name="Rectangle 3">
            <a:extLst>
              <a:ext uri="{FF2B5EF4-FFF2-40B4-BE49-F238E27FC236}">
                <a16:creationId xmlns:a16="http://schemas.microsoft.com/office/drawing/2014/main" id="{123FC8F7-B2E7-47D1-9013-216B9AE83917}"/>
              </a:ext>
            </a:extLst>
          </p:cNvPr>
          <p:cNvSpPr/>
          <p:nvPr/>
        </p:nvSpPr>
        <p:spPr>
          <a:xfrm>
            <a:off x="326668" y="758250"/>
            <a:ext cx="5827076" cy="2246769"/>
          </a:xfrm>
          <a:prstGeom prst="rect">
            <a:avLst/>
          </a:prstGeom>
        </p:spPr>
        <p:txBody>
          <a:bodyPr wrap="square">
            <a:spAutoFit/>
          </a:bodyPr>
          <a:lstStyle/>
          <a:p>
            <a:r>
              <a:rPr lang="en-US" sz="1400" b="1" dirty="0"/>
              <a:t> </a:t>
            </a:r>
            <a:endParaRPr lang="en-US" sz="1400" dirty="0"/>
          </a:p>
          <a:p>
            <a:pPr marL="285750" indent="-285750">
              <a:buFont typeface="Arial" panose="020B0604020202020204" pitchFamily="34" charset="0"/>
              <a:buChar char="•"/>
            </a:pPr>
            <a:r>
              <a:rPr lang="en-US" sz="1400" dirty="0"/>
              <a:t>Combines </a:t>
            </a:r>
            <a:r>
              <a:rPr lang="en-US" sz="1400" b="1" dirty="0"/>
              <a:t>automatic reporting from rapid diagnostics </a:t>
            </a:r>
            <a:br>
              <a:rPr lang="en-US" sz="1400" b="1" dirty="0"/>
            </a:br>
            <a:r>
              <a:rPr lang="en-US" sz="1400" b="1" dirty="0"/>
              <a:t>and testing</a:t>
            </a:r>
            <a:r>
              <a:rPr lang="en-US" sz="1400" dirty="0"/>
              <a:t> from near-patient, PoC, and lab settings</a:t>
            </a:r>
            <a:br>
              <a:rPr lang="en-US" sz="1400" dirty="0"/>
            </a:br>
            <a:endParaRPr lang="en-US" sz="1400" dirty="0"/>
          </a:p>
          <a:p>
            <a:pPr marL="285750" indent="-285750">
              <a:buFont typeface="Arial" panose="020B0604020202020204" pitchFamily="34" charset="0"/>
              <a:buChar char="•"/>
            </a:pPr>
            <a:r>
              <a:rPr lang="en-US" sz="1400" dirty="0"/>
              <a:t>This supports </a:t>
            </a:r>
            <a:r>
              <a:rPr lang="en-US" sz="1400" b="1" dirty="0"/>
              <a:t>local clinical decision-making, and the test report is also automatically relayed through existing connectivity setup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The </a:t>
            </a:r>
            <a:r>
              <a:rPr lang="en-US" sz="1400" b="1" dirty="0"/>
              <a:t>integration of information from different sources or testing sites can be used for disease surveillance</a:t>
            </a:r>
            <a:endParaRPr lang="en-US" sz="1400" dirty="0"/>
          </a:p>
        </p:txBody>
      </p:sp>
      <p:sp>
        <p:nvSpPr>
          <p:cNvPr id="6" name="Rectangle 5">
            <a:extLst>
              <a:ext uri="{FF2B5EF4-FFF2-40B4-BE49-F238E27FC236}">
                <a16:creationId xmlns:a16="http://schemas.microsoft.com/office/drawing/2014/main" id="{31CF95AA-9DE9-457B-8E51-3DE4468ADF5E}"/>
              </a:ext>
            </a:extLst>
          </p:cNvPr>
          <p:cNvSpPr/>
          <p:nvPr/>
        </p:nvSpPr>
        <p:spPr>
          <a:xfrm>
            <a:off x="310045" y="3303638"/>
            <a:ext cx="5843699" cy="2462213"/>
          </a:xfrm>
          <a:prstGeom prst="rect">
            <a:avLst/>
          </a:prstGeom>
        </p:spPr>
        <p:txBody>
          <a:bodyPr wrap="square">
            <a:spAutoFit/>
          </a:bodyPr>
          <a:lstStyle/>
          <a:p>
            <a:pPr marL="285750" indent="-285750">
              <a:buFont typeface="Arial" panose="020B0604020202020204" pitchFamily="34" charset="0"/>
              <a:buChar char="•"/>
            </a:pPr>
            <a:r>
              <a:rPr lang="en-US" sz="1400" dirty="0"/>
              <a:t>Communicable diseases are monitored through the </a:t>
            </a:r>
            <a:r>
              <a:rPr lang="fr-FR" sz="1400" b="1" dirty="0"/>
              <a:t>National </a:t>
            </a:r>
            <a:r>
              <a:rPr lang="fr-FR" sz="1400" b="1" dirty="0" err="1"/>
              <a:t>Notifiable</a:t>
            </a:r>
            <a:r>
              <a:rPr lang="fr-FR" sz="1400" b="1" dirty="0"/>
              <a:t> Diseuses Surveillance System (</a:t>
            </a:r>
            <a:r>
              <a:rPr lang="en-US" sz="1400" b="1" dirty="0"/>
              <a:t>NNDSS) that receives data from pathology services and health departments.</a:t>
            </a:r>
            <a:br>
              <a:rPr lang="en-US" sz="1400" b="1" dirty="0"/>
            </a:br>
            <a:endParaRPr lang="en-US" sz="1400" b="1" dirty="0"/>
          </a:p>
          <a:p>
            <a:pPr marL="285750" indent="-285750">
              <a:buFont typeface="Arial" panose="020B0604020202020204" pitchFamily="34" charset="0"/>
              <a:buChar char="•"/>
            </a:pPr>
            <a:r>
              <a:rPr lang="en-US" sz="1400" dirty="0"/>
              <a:t>The notification system aims for swift public health response and long-term </a:t>
            </a:r>
            <a:r>
              <a:rPr lang="en-US" sz="1400" b="1" dirty="0"/>
              <a:t>disease monitoring under the National Health Security Act 2007</a:t>
            </a:r>
            <a:r>
              <a:rPr lang="en-US" sz="1400" dirty="0"/>
              <a:t>.</a:t>
            </a:r>
            <a:br>
              <a:rPr lang="en-US" sz="1400" dirty="0"/>
            </a:br>
            <a:endParaRPr lang="en-US" sz="1400" dirty="0"/>
          </a:p>
          <a:p>
            <a:pPr marL="285750" indent="-285750">
              <a:buFont typeface="Arial" panose="020B0604020202020204" pitchFamily="34" charset="0"/>
              <a:buChar char="•"/>
            </a:pPr>
            <a:r>
              <a:rPr lang="en-US" sz="1400" b="1" dirty="0"/>
              <a:t>Data linkage is an underutilized approach </a:t>
            </a:r>
            <a:r>
              <a:rPr lang="en-US" sz="1400" dirty="0"/>
              <a:t>is being explored  to integrate diverse sources to inform policy in communicable disease research.</a:t>
            </a:r>
          </a:p>
        </p:txBody>
      </p:sp>
      <p:grpSp>
        <p:nvGrpSpPr>
          <p:cNvPr id="8" name="Group 7">
            <a:extLst>
              <a:ext uri="{FF2B5EF4-FFF2-40B4-BE49-F238E27FC236}">
                <a16:creationId xmlns:a16="http://schemas.microsoft.com/office/drawing/2014/main" id="{2ADEA78E-6C5C-41EC-B231-35803E66C609}"/>
              </a:ext>
            </a:extLst>
          </p:cNvPr>
          <p:cNvGrpSpPr/>
          <p:nvPr/>
        </p:nvGrpSpPr>
        <p:grpSpPr>
          <a:xfrm>
            <a:off x="365734" y="700877"/>
            <a:ext cx="4624380" cy="294797"/>
            <a:chOff x="722784" y="3460657"/>
            <a:chExt cx="9230840" cy="291614"/>
          </a:xfrm>
          <a:solidFill>
            <a:schemeClr val="accent2">
              <a:lumMod val="50000"/>
            </a:schemeClr>
          </a:solidFill>
        </p:grpSpPr>
        <p:sp>
          <p:nvSpPr>
            <p:cNvPr id="9" name="Arrow: Chevron 8">
              <a:extLst>
                <a:ext uri="{FF2B5EF4-FFF2-40B4-BE49-F238E27FC236}">
                  <a16:creationId xmlns:a16="http://schemas.microsoft.com/office/drawing/2014/main" id="{38151DC3-4BF8-476F-87FB-0F55B9D29141}"/>
                </a:ext>
              </a:extLst>
            </p:cNvPr>
            <p:cNvSpPr/>
            <p:nvPr/>
          </p:nvSpPr>
          <p:spPr>
            <a:xfrm>
              <a:off x="722784" y="3460657"/>
              <a:ext cx="778012" cy="291614"/>
            </a:xfrm>
            <a:prstGeom prst="chevron">
              <a:avLst>
                <a:gd name="adj" fmla="val 12249"/>
              </a:avLst>
            </a:prstGeom>
            <a:grpFill/>
            <a:ln>
              <a:noFill/>
            </a:ln>
          </p:spPr>
          <p:txBody>
            <a:bodyPr wrap="square" rtlCol="0" anchor="ctr">
              <a:noAutofit/>
            </a:bodyPr>
            <a:lstStyle/>
            <a:p>
              <a:pPr algn="l"/>
              <a:endParaRPr lang="en-US" dirty="0">
                <a:solidFill>
                  <a:schemeClr val="tx1"/>
                </a:solidFill>
              </a:endParaRPr>
            </a:p>
          </p:txBody>
        </p:sp>
        <p:sp>
          <p:nvSpPr>
            <p:cNvPr id="10" name="Arrow: Chevron 9">
              <a:extLst>
                <a:ext uri="{FF2B5EF4-FFF2-40B4-BE49-F238E27FC236}">
                  <a16:creationId xmlns:a16="http://schemas.microsoft.com/office/drawing/2014/main" id="{F0F3CB00-CB2C-4B44-9B22-48267F73C70A}"/>
                </a:ext>
              </a:extLst>
            </p:cNvPr>
            <p:cNvSpPr/>
            <p:nvPr/>
          </p:nvSpPr>
          <p:spPr>
            <a:xfrm>
              <a:off x="866799" y="3460657"/>
              <a:ext cx="9086825" cy="291614"/>
            </a:xfrm>
            <a:prstGeom prst="chevron">
              <a:avLst>
                <a:gd name="adj" fmla="val 12249"/>
              </a:avLst>
            </a:prstGeom>
            <a:grpFill/>
            <a:ln>
              <a:solidFill>
                <a:schemeClr val="bg1"/>
              </a:solidFill>
            </a:ln>
          </p:spPr>
          <p:txBody>
            <a:bodyPr wrap="square" rtlCol="0" anchor="ctr">
              <a:noAutofit/>
            </a:bodyPr>
            <a:lstStyle/>
            <a:p>
              <a:r>
                <a:rPr lang="en-US" sz="1400" b="1" dirty="0">
                  <a:solidFill>
                    <a:schemeClr val="bg1"/>
                  </a:solidFill>
                </a:rPr>
                <a:t>A proposed integrated health surveillance system</a:t>
              </a:r>
            </a:p>
          </p:txBody>
        </p:sp>
      </p:grpSp>
      <p:grpSp>
        <p:nvGrpSpPr>
          <p:cNvPr id="11" name="Group 10">
            <a:extLst>
              <a:ext uri="{FF2B5EF4-FFF2-40B4-BE49-F238E27FC236}">
                <a16:creationId xmlns:a16="http://schemas.microsoft.com/office/drawing/2014/main" id="{E5FB1400-6B8D-4AD3-AAFF-0D19ADC8F661}"/>
              </a:ext>
            </a:extLst>
          </p:cNvPr>
          <p:cNvGrpSpPr/>
          <p:nvPr/>
        </p:nvGrpSpPr>
        <p:grpSpPr>
          <a:xfrm>
            <a:off x="310045" y="3018268"/>
            <a:ext cx="4683404" cy="294803"/>
            <a:chOff x="722784" y="3475350"/>
            <a:chExt cx="9230840" cy="291620"/>
          </a:xfrm>
          <a:solidFill>
            <a:schemeClr val="accent2">
              <a:lumMod val="50000"/>
            </a:schemeClr>
          </a:solidFill>
        </p:grpSpPr>
        <p:sp>
          <p:nvSpPr>
            <p:cNvPr id="12" name="Arrow: Chevron 11">
              <a:extLst>
                <a:ext uri="{FF2B5EF4-FFF2-40B4-BE49-F238E27FC236}">
                  <a16:creationId xmlns:a16="http://schemas.microsoft.com/office/drawing/2014/main" id="{42234D36-3E6B-4FA6-9645-5FB3A43BC3EB}"/>
                </a:ext>
              </a:extLst>
            </p:cNvPr>
            <p:cNvSpPr/>
            <p:nvPr/>
          </p:nvSpPr>
          <p:spPr>
            <a:xfrm>
              <a:off x="722784" y="3475356"/>
              <a:ext cx="778012" cy="291614"/>
            </a:xfrm>
            <a:prstGeom prst="chevron">
              <a:avLst>
                <a:gd name="adj" fmla="val 12249"/>
              </a:avLst>
            </a:prstGeom>
            <a:grpFill/>
            <a:ln>
              <a:noFill/>
            </a:ln>
          </p:spPr>
          <p:txBody>
            <a:bodyPr wrap="square" rtlCol="0" anchor="ctr">
              <a:noAutofit/>
            </a:bodyPr>
            <a:lstStyle/>
            <a:p>
              <a:pPr algn="l"/>
              <a:endParaRPr lang="en-US" dirty="0">
                <a:solidFill>
                  <a:schemeClr val="tx1"/>
                </a:solidFill>
              </a:endParaRPr>
            </a:p>
          </p:txBody>
        </p:sp>
        <p:sp>
          <p:nvSpPr>
            <p:cNvPr id="13" name="Arrow: Chevron 12">
              <a:extLst>
                <a:ext uri="{FF2B5EF4-FFF2-40B4-BE49-F238E27FC236}">
                  <a16:creationId xmlns:a16="http://schemas.microsoft.com/office/drawing/2014/main" id="{53B3E948-3D8D-46FA-8826-387F8515B925}"/>
                </a:ext>
              </a:extLst>
            </p:cNvPr>
            <p:cNvSpPr/>
            <p:nvPr/>
          </p:nvSpPr>
          <p:spPr>
            <a:xfrm>
              <a:off x="866799" y="3475350"/>
              <a:ext cx="9086825" cy="291614"/>
            </a:xfrm>
            <a:prstGeom prst="chevron">
              <a:avLst>
                <a:gd name="adj" fmla="val 12249"/>
              </a:avLst>
            </a:prstGeom>
            <a:grpFill/>
            <a:ln>
              <a:solidFill>
                <a:schemeClr val="bg1"/>
              </a:solidFill>
            </a:ln>
          </p:spPr>
          <p:txBody>
            <a:bodyPr wrap="square" rtlCol="0" anchor="ctr">
              <a:noAutofit/>
            </a:bodyPr>
            <a:lstStyle/>
            <a:p>
              <a:r>
                <a:rPr lang="en-US" sz="1400" b="1" dirty="0">
                  <a:solidFill>
                    <a:schemeClr val="bg1"/>
                  </a:solidFill>
                </a:rPr>
                <a:t>Present setup in Australia</a:t>
              </a:r>
            </a:p>
          </p:txBody>
        </p:sp>
      </p:grpSp>
      <p:sp>
        <p:nvSpPr>
          <p:cNvPr id="14" name="Footer Placeholder 1">
            <a:extLst>
              <a:ext uri="{FF2B5EF4-FFF2-40B4-BE49-F238E27FC236}">
                <a16:creationId xmlns:a16="http://schemas.microsoft.com/office/drawing/2014/main" id="{B8B181E6-0C69-4A05-A234-C5329F02688B}"/>
              </a:ext>
            </a:extLst>
          </p:cNvPr>
          <p:cNvSpPr txBox="1">
            <a:spLocks/>
          </p:cNvSpPr>
          <p:nvPr/>
        </p:nvSpPr>
        <p:spPr>
          <a:xfrm>
            <a:off x="8057823" y="6348353"/>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dirty="0">
                <a:solidFill>
                  <a:prstClr val="black"/>
                </a:solidFill>
              </a:rPr>
              <a:t>The Evolving Regulatory Landscape for IVD in APAC</a:t>
            </a:r>
          </a:p>
        </p:txBody>
      </p:sp>
      <p:sp>
        <p:nvSpPr>
          <p:cNvPr id="15" name="Slide Number Placeholder 2">
            <a:extLst>
              <a:ext uri="{FF2B5EF4-FFF2-40B4-BE49-F238E27FC236}">
                <a16:creationId xmlns:a16="http://schemas.microsoft.com/office/drawing/2014/main" id="{9C28E0C4-C370-4B1D-8E23-FBFC08694536}"/>
              </a:ext>
            </a:extLst>
          </p:cNvPr>
          <p:cNvSpPr txBox="1">
            <a:spLocks/>
          </p:cNvSpPr>
          <p:nvPr/>
        </p:nvSpPr>
        <p:spPr>
          <a:xfrm>
            <a:off x="11486568" y="6367206"/>
            <a:ext cx="348368" cy="178193"/>
          </a:xfrm>
          <a:prstGeom prst="rect">
            <a:avLst/>
          </a:prstGeom>
        </p:spPr>
        <p:txBody>
          <a:bodyPr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F59CD943-D024-467A-B36E-F11E1285ED75}" type="slidenum">
              <a:rPr lang="en-GB" sz="900" smtClean="0"/>
              <a:pPr>
                <a:spcAft>
                  <a:spcPts val="600"/>
                </a:spcAft>
              </a:pPr>
              <a:t>14</a:t>
            </a:fld>
            <a:endParaRPr lang="en-GB" sz="900" dirty="0"/>
          </a:p>
        </p:txBody>
      </p:sp>
      <p:sp>
        <p:nvSpPr>
          <p:cNvPr id="16" name="TextBox 15">
            <a:extLst>
              <a:ext uri="{FF2B5EF4-FFF2-40B4-BE49-F238E27FC236}">
                <a16:creationId xmlns:a16="http://schemas.microsoft.com/office/drawing/2014/main" id="{BA6836EA-9AA2-43FA-8009-0EDDA43D64DF}"/>
              </a:ext>
            </a:extLst>
          </p:cNvPr>
          <p:cNvSpPr txBox="1"/>
          <p:nvPr/>
        </p:nvSpPr>
        <p:spPr>
          <a:xfrm>
            <a:off x="383113" y="5712727"/>
            <a:ext cx="11284319" cy="571661"/>
          </a:xfrm>
          <a:prstGeom prst="rect">
            <a:avLst/>
          </a:prstGeom>
          <a:solidFill>
            <a:schemeClr val="bg1"/>
          </a:solidFill>
          <a:ln>
            <a:solidFill>
              <a:schemeClr val="accent2"/>
            </a:solidFill>
          </a:ln>
        </p:spPr>
        <p:txBody>
          <a:bodyPr wrap="square" rtlCol="0">
            <a:noAutofit/>
          </a:bodyPr>
          <a:lstStyle/>
          <a:p>
            <a:pPr algn="l"/>
            <a:r>
              <a:rPr lang="en-US" sz="1400" dirty="0">
                <a:solidFill>
                  <a:schemeClr val="accent2">
                    <a:lumMod val="75000"/>
                  </a:schemeClr>
                </a:solidFill>
              </a:rPr>
              <a:t>To realize the proposed integrated health surveillance system with automatic reporting from rapid diagnostics and testing, appropriate regulatory protocols ensuring data privacy, security, standardization, and interoperability are required.</a:t>
            </a:r>
          </a:p>
        </p:txBody>
      </p:sp>
      <p:grpSp>
        <p:nvGrpSpPr>
          <p:cNvPr id="7" name="Group 6">
            <a:extLst>
              <a:ext uri="{FF2B5EF4-FFF2-40B4-BE49-F238E27FC236}">
                <a16:creationId xmlns:a16="http://schemas.microsoft.com/office/drawing/2014/main" id="{7554D41A-AFC7-4963-81EA-98EFFB1CB378}"/>
              </a:ext>
            </a:extLst>
          </p:cNvPr>
          <p:cNvGrpSpPr/>
          <p:nvPr/>
        </p:nvGrpSpPr>
        <p:grpSpPr>
          <a:xfrm>
            <a:off x="5978748" y="709183"/>
            <a:ext cx="5893923" cy="4542651"/>
            <a:chOff x="5978748" y="709183"/>
            <a:chExt cx="5893923" cy="4542651"/>
          </a:xfrm>
        </p:grpSpPr>
        <p:pic>
          <p:nvPicPr>
            <p:cNvPr id="4098" name="Picture 2">
              <a:extLst>
                <a:ext uri="{FF2B5EF4-FFF2-40B4-BE49-F238E27FC236}">
                  <a16:creationId xmlns:a16="http://schemas.microsoft.com/office/drawing/2014/main" id="{E23B5C58-EE25-4AF8-BED7-3EE522D3E94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757" t="1679" r="1719" b="1410"/>
            <a:stretch/>
          </p:blipFill>
          <p:spPr bwMode="auto">
            <a:xfrm>
              <a:off x="5978748" y="709183"/>
              <a:ext cx="5893923" cy="454265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D1243AE-EEC9-4252-8309-6E49F64CE090}"/>
                </a:ext>
              </a:extLst>
            </p:cNvPr>
            <p:cNvSpPr/>
            <p:nvPr/>
          </p:nvSpPr>
          <p:spPr>
            <a:xfrm>
              <a:off x="8738647" y="2958389"/>
              <a:ext cx="348792" cy="414554"/>
            </a:xfrm>
            <a:prstGeom prst="rect">
              <a:avLst/>
            </a:prstGeom>
            <a:solidFill>
              <a:schemeClr val="bg1"/>
            </a:solidFill>
            <a:ln>
              <a:noFill/>
            </a:ln>
          </p:spPr>
          <p:txBody>
            <a:bodyPr wrap="square" rtlCol="0" anchor="ctr">
              <a:noAutofit/>
            </a:bodyPr>
            <a:lstStyle/>
            <a:p>
              <a:pPr algn="l"/>
              <a:endParaRPr lang="en-US" dirty="0">
                <a:solidFill>
                  <a:schemeClr val="tx1"/>
                </a:solidFill>
              </a:endParaRPr>
            </a:p>
          </p:txBody>
        </p:sp>
      </p:grpSp>
    </p:spTree>
    <p:extLst>
      <p:ext uri="{BB962C8B-B14F-4D97-AF65-F5344CB8AC3E}">
        <p14:creationId xmlns:p14="http://schemas.microsoft.com/office/powerpoint/2010/main" val="287018961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ADF7B73-B46C-D3F9-C53F-FA24E2268054}"/>
              </a:ext>
            </a:extLst>
          </p:cNvPr>
          <p:cNvSpPr>
            <a:spLocks noGrp="1"/>
          </p:cNvSpPr>
          <p:nvPr>
            <p:ph type="body" sz="quarter" idx="16"/>
          </p:nvPr>
        </p:nvSpPr>
        <p:spPr/>
        <p:txBody>
          <a:bodyPr/>
          <a:lstStyle/>
          <a:p>
            <a:r>
              <a:rPr lang="en-US"/>
              <a:t>The role of AI in the IVD space</a:t>
            </a:r>
          </a:p>
        </p:txBody>
      </p:sp>
      <p:sp>
        <p:nvSpPr>
          <p:cNvPr id="8" name="Text Placeholder 7">
            <a:extLst>
              <a:ext uri="{FF2B5EF4-FFF2-40B4-BE49-F238E27FC236}">
                <a16:creationId xmlns:a16="http://schemas.microsoft.com/office/drawing/2014/main" id="{4FE99821-FE16-141B-4BF9-9C749E2AC0BE}"/>
              </a:ext>
            </a:extLst>
          </p:cNvPr>
          <p:cNvSpPr>
            <a:spLocks noGrp="1"/>
          </p:cNvSpPr>
          <p:nvPr>
            <p:ph type="body" sz="quarter" idx="17"/>
          </p:nvPr>
        </p:nvSpPr>
        <p:spPr>
          <a:xfrm>
            <a:off x="1487487" y="3659011"/>
            <a:ext cx="9213525" cy="686746"/>
          </a:xfrm>
        </p:spPr>
        <p:txBody>
          <a:bodyPr/>
          <a:lstStyle/>
          <a:p>
            <a:r>
              <a:rPr lang="en-US"/>
              <a:t>AI is playing a larger role in the IVD space with continual uplift in AI approvals – but how do we regulate it?</a:t>
            </a:r>
          </a:p>
        </p:txBody>
      </p:sp>
      <p:sp>
        <p:nvSpPr>
          <p:cNvPr id="4" name="Slide Number Placeholder 2">
            <a:extLst>
              <a:ext uri="{FF2B5EF4-FFF2-40B4-BE49-F238E27FC236}">
                <a16:creationId xmlns:a16="http://schemas.microsoft.com/office/drawing/2014/main" id="{BC376B59-92EA-4767-AB8D-D1AF87784EAD}"/>
              </a:ext>
            </a:extLst>
          </p:cNvPr>
          <p:cNvSpPr txBox="1">
            <a:spLocks/>
          </p:cNvSpPr>
          <p:nvPr/>
        </p:nvSpPr>
        <p:spPr>
          <a:xfrm>
            <a:off x="11506200" y="6348352"/>
            <a:ext cx="340360" cy="215901"/>
          </a:xfrm>
          <a:prstGeom prst="rect">
            <a:avLst/>
          </a:prstGeom>
        </p:spPr>
        <p:txBody>
          <a:bodyPr anchor="ctr">
            <a:normAutofit fontScale="5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F59CD943-D024-467A-B36E-F11E1285ED75}" type="slidenum">
              <a:rPr lang="en-GB" smtClean="0">
                <a:solidFill>
                  <a:schemeClr val="accent1"/>
                </a:solidFill>
              </a:rPr>
              <a:pPr>
                <a:spcAft>
                  <a:spcPts val="600"/>
                </a:spcAft>
              </a:pPr>
              <a:t>15</a:t>
            </a:fld>
            <a:endParaRPr lang="en-GB">
              <a:solidFill>
                <a:schemeClr val="accent1"/>
              </a:solidFill>
            </a:endParaRPr>
          </a:p>
        </p:txBody>
      </p:sp>
      <p:sp>
        <p:nvSpPr>
          <p:cNvPr id="5" name="Footer Placeholder 1">
            <a:extLst>
              <a:ext uri="{FF2B5EF4-FFF2-40B4-BE49-F238E27FC236}">
                <a16:creationId xmlns:a16="http://schemas.microsoft.com/office/drawing/2014/main" id="{A1221ECB-1CD1-47FF-9D03-7850247372CD}"/>
              </a:ext>
            </a:extLst>
          </p:cNvPr>
          <p:cNvSpPr txBox="1">
            <a:spLocks/>
          </p:cNvSpPr>
          <p:nvPr/>
        </p:nvSpPr>
        <p:spPr>
          <a:xfrm>
            <a:off x="8129234" y="6326385"/>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a:solidFill>
                  <a:schemeClr val="accent1"/>
                </a:solidFill>
              </a:rPr>
              <a:t>The Evolving Regulatory Landscape for IVD in APAC</a:t>
            </a:r>
          </a:p>
        </p:txBody>
      </p:sp>
    </p:spTree>
    <p:extLst>
      <p:ext uri="{BB962C8B-B14F-4D97-AF65-F5344CB8AC3E}">
        <p14:creationId xmlns:p14="http://schemas.microsoft.com/office/powerpoint/2010/main" val="37641674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2F8FA-5F37-6D65-5F57-9DB724653BF5}"/>
              </a:ext>
            </a:extLst>
          </p:cNvPr>
          <p:cNvSpPr>
            <a:spLocks noGrp="1"/>
          </p:cNvSpPr>
          <p:nvPr>
            <p:ph type="title"/>
          </p:nvPr>
        </p:nvSpPr>
        <p:spPr>
          <a:xfrm>
            <a:off x="550864" y="368828"/>
            <a:ext cx="6971726" cy="686974"/>
          </a:xfrm>
        </p:spPr>
        <p:txBody>
          <a:bodyPr/>
          <a:lstStyle/>
          <a:p>
            <a:r>
              <a:rPr lang="en-US">
                <a:solidFill>
                  <a:schemeClr val="accent2">
                    <a:lumMod val="75000"/>
                  </a:schemeClr>
                </a:solidFill>
              </a:rPr>
              <a:t>The role of AI in IVDs and the regulatory environment around it</a:t>
            </a:r>
            <a:endParaRPr lang="en-GB">
              <a:solidFill>
                <a:schemeClr val="accent2">
                  <a:lumMod val="75000"/>
                </a:schemeClr>
              </a:solidFill>
            </a:endParaRPr>
          </a:p>
        </p:txBody>
      </p:sp>
      <p:sp>
        <p:nvSpPr>
          <p:cNvPr id="4" name="Slide Number Placeholder 3">
            <a:extLst>
              <a:ext uri="{FF2B5EF4-FFF2-40B4-BE49-F238E27FC236}">
                <a16:creationId xmlns:a16="http://schemas.microsoft.com/office/drawing/2014/main" id="{74A2A1CA-DCE9-7560-0312-F079D6A5D32B}"/>
              </a:ext>
            </a:extLst>
          </p:cNvPr>
          <p:cNvSpPr>
            <a:spLocks noGrp="1"/>
          </p:cNvSpPr>
          <p:nvPr>
            <p:ph type="sldNum" sz="quarter" idx="11"/>
          </p:nvPr>
        </p:nvSpPr>
        <p:spPr/>
        <p:txBody>
          <a:bodyPr/>
          <a:lstStyle/>
          <a:p>
            <a:fld id="{F59CD943-D024-467A-B36E-F11E1285ED75}" type="slidenum">
              <a:rPr lang="en-GB" smtClean="0"/>
              <a:pPr/>
              <a:t>16</a:t>
            </a:fld>
            <a:endParaRPr lang="en-GB"/>
          </a:p>
        </p:txBody>
      </p:sp>
      <p:sp>
        <p:nvSpPr>
          <p:cNvPr id="6" name="Text Placeholder 5">
            <a:extLst>
              <a:ext uri="{FF2B5EF4-FFF2-40B4-BE49-F238E27FC236}">
                <a16:creationId xmlns:a16="http://schemas.microsoft.com/office/drawing/2014/main" id="{1383E2C7-ABB6-CC11-AEDF-B1CF02FC8090}"/>
              </a:ext>
            </a:extLst>
          </p:cNvPr>
          <p:cNvSpPr>
            <a:spLocks noGrp="1"/>
          </p:cNvSpPr>
          <p:nvPr>
            <p:ph type="body" sz="quarter" idx="14"/>
          </p:nvPr>
        </p:nvSpPr>
        <p:spPr>
          <a:xfrm>
            <a:off x="550864" y="1277633"/>
            <a:ext cx="7201658" cy="4660951"/>
          </a:xfrm>
        </p:spPr>
        <p:txBody>
          <a:bodyPr/>
          <a:lstStyle/>
          <a:p>
            <a:r>
              <a:rPr lang="en-US" sz="1400" b="1"/>
              <a:t>Increased accuracy: </a:t>
            </a:r>
            <a:r>
              <a:rPr lang="en-US" sz="1400"/>
              <a:t>AI can be used to analyze large amounts of data to identify patterns that would be missed by human experts. This can lead to more accurate diagnoses and treatments.</a:t>
            </a:r>
          </a:p>
          <a:p>
            <a:r>
              <a:rPr lang="en-US" sz="1400" b="1"/>
              <a:t>Increased efficiency</a:t>
            </a:r>
            <a:r>
              <a:rPr lang="en-US" sz="1400"/>
              <a:t>: AI can automate many of the tasks involved in diagnosis and treatment, which can free up time for clinicians to focus on other patients.</a:t>
            </a:r>
          </a:p>
          <a:p>
            <a:r>
              <a:rPr lang="en-US" sz="1400" b="1"/>
              <a:t>Reduced costs: </a:t>
            </a:r>
            <a:r>
              <a:rPr lang="en-US" sz="1400"/>
              <a:t>AI can help to reduce the cost of healthcare by making diagnosis and treatment more efficient.</a:t>
            </a:r>
          </a:p>
          <a:p>
            <a:endParaRPr lang="en-US"/>
          </a:p>
          <a:p>
            <a:pPr marL="0" indent="0">
              <a:buNone/>
            </a:pPr>
            <a:r>
              <a:rPr lang="en-US" sz="1600">
                <a:solidFill>
                  <a:schemeClr val="accent2">
                    <a:lumMod val="75000"/>
                  </a:schemeClr>
                </a:solidFill>
              </a:rPr>
              <a:t>The APAC regulatory space is starting to respond to the rapid growth in AI</a:t>
            </a:r>
          </a:p>
          <a:p>
            <a:r>
              <a:rPr lang="en-US" sz="1400"/>
              <a:t>China’s NMPA has issued guidance on the use of AI in IVDs, but the guidance is still under development</a:t>
            </a:r>
          </a:p>
          <a:p>
            <a:r>
              <a:rPr lang="en-US" sz="1400"/>
              <a:t>Japan’s PMDA has issued guidance on the use of AI in IVDs, and it is generally more open to the use of AI than the NMPA</a:t>
            </a:r>
          </a:p>
          <a:p>
            <a:r>
              <a:rPr lang="en-US" sz="1400"/>
              <a:t>South Korea’s MFDS has issued guidance on the use of AI in IVDs, and it is generally more open to the use of AI than the NMPA or the PMDA</a:t>
            </a:r>
          </a:p>
          <a:p>
            <a:pPr marL="0" indent="0">
              <a:buNone/>
            </a:pPr>
            <a:r>
              <a:rPr lang="en-US" sz="1400"/>
              <a:t>This would counterintuitively lead to more registrations as the ambiguity is removed</a:t>
            </a:r>
            <a:endParaRPr lang="en-GB" sz="1400"/>
          </a:p>
        </p:txBody>
      </p:sp>
      <p:sp>
        <p:nvSpPr>
          <p:cNvPr id="8" name="Footer Placeholder 1">
            <a:extLst>
              <a:ext uri="{FF2B5EF4-FFF2-40B4-BE49-F238E27FC236}">
                <a16:creationId xmlns:a16="http://schemas.microsoft.com/office/drawing/2014/main" id="{4670E6DA-647E-4E35-BAAA-4ED912EDBF93}"/>
              </a:ext>
            </a:extLst>
          </p:cNvPr>
          <p:cNvSpPr txBox="1">
            <a:spLocks/>
          </p:cNvSpPr>
          <p:nvPr/>
        </p:nvSpPr>
        <p:spPr>
          <a:xfrm>
            <a:off x="8148719" y="6348352"/>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a:solidFill>
                  <a:schemeClr val="bg1"/>
                </a:solidFill>
              </a:rPr>
              <a:t>The Evolving Regulatory Landscape for IVD in APAC</a:t>
            </a:r>
          </a:p>
        </p:txBody>
      </p:sp>
      <p:sp>
        <p:nvSpPr>
          <p:cNvPr id="10" name="TextBox 9">
            <a:extLst>
              <a:ext uri="{FF2B5EF4-FFF2-40B4-BE49-F238E27FC236}">
                <a16:creationId xmlns:a16="http://schemas.microsoft.com/office/drawing/2014/main" id="{EC0CF53F-4F0F-A3DF-D827-F6BF6ADCFFB0}"/>
              </a:ext>
            </a:extLst>
          </p:cNvPr>
          <p:cNvSpPr txBox="1"/>
          <p:nvPr/>
        </p:nvSpPr>
        <p:spPr>
          <a:xfrm>
            <a:off x="8511861" y="613699"/>
            <a:ext cx="3210339" cy="738664"/>
          </a:xfrm>
          <a:prstGeom prst="rect">
            <a:avLst/>
          </a:prstGeom>
          <a:noFill/>
          <a:ln>
            <a:noFill/>
          </a:ln>
        </p:spPr>
        <p:txBody>
          <a:bodyPr wrap="square">
            <a:spAutoFit/>
          </a:bodyPr>
          <a:lstStyle/>
          <a:p>
            <a:pPr algn="ctr"/>
            <a:r>
              <a:rPr lang="en-US" sz="1400">
                <a:solidFill>
                  <a:schemeClr val="bg1"/>
                </a:solidFill>
              </a:rPr>
              <a:t>AI approvals in the APAC are anticipated to surge, much like the US and other geographies.</a:t>
            </a:r>
          </a:p>
        </p:txBody>
      </p:sp>
      <p:cxnSp>
        <p:nvCxnSpPr>
          <p:cNvPr id="11" name="Straight Connector 10">
            <a:extLst>
              <a:ext uri="{FF2B5EF4-FFF2-40B4-BE49-F238E27FC236}">
                <a16:creationId xmlns:a16="http://schemas.microsoft.com/office/drawing/2014/main" id="{3CEB77EA-E6EC-41EA-813A-6EDA54F024F1}"/>
              </a:ext>
            </a:extLst>
          </p:cNvPr>
          <p:cNvCxnSpPr/>
          <p:nvPr/>
        </p:nvCxnSpPr>
        <p:spPr>
          <a:xfrm>
            <a:off x="8966544" y="5185628"/>
            <a:ext cx="28372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4DF6CD3-8E6A-4E25-8A15-754908DD8760}"/>
              </a:ext>
            </a:extLst>
          </p:cNvPr>
          <p:cNvCxnSpPr/>
          <p:nvPr/>
        </p:nvCxnSpPr>
        <p:spPr>
          <a:xfrm>
            <a:off x="10197093" y="5188114"/>
            <a:ext cx="283723"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13" name="TextBox 10">
            <a:extLst>
              <a:ext uri="{FF2B5EF4-FFF2-40B4-BE49-F238E27FC236}">
                <a16:creationId xmlns:a16="http://schemas.microsoft.com/office/drawing/2014/main" id="{D3E382A9-BE80-492B-96EB-404FFF671E34}"/>
              </a:ext>
            </a:extLst>
          </p:cNvPr>
          <p:cNvSpPr txBox="1"/>
          <p:nvPr/>
        </p:nvSpPr>
        <p:spPr>
          <a:xfrm>
            <a:off x="9298902" y="5039710"/>
            <a:ext cx="624192" cy="24319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100">
                <a:solidFill>
                  <a:schemeClr val="bg1"/>
                </a:solidFill>
              </a:rPr>
              <a:t>Actual</a:t>
            </a:r>
          </a:p>
        </p:txBody>
      </p:sp>
      <p:sp>
        <p:nvSpPr>
          <p:cNvPr id="14" name="TextBox 14">
            <a:extLst>
              <a:ext uri="{FF2B5EF4-FFF2-40B4-BE49-F238E27FC236}">
                <a16:creationId xmlns:a16="http://schemas.microsoft.com/office/drawing/2014/main" id="{A780C114-9653-4D77-894B-541694ADE909}"/>
              </a:ext>
            </a:extLst>
          </p:cNvPr>
          <p:cNvSpPr txBox="1"/>
          <p:nvPr/>
        </p:nvSpPr>
        <p:spPr>
          <a:xfrm>
            <a:off x="10537557" y="5058410"/>
            <a:ext cx="903635" cy="21590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100">
                <a:solidFill>
                  <a:schemeClr val="bg1"/>
                </a:solidFill>
              </a:rPr>
              <a:t>Projected</a:t>
            </a:r>
          </a:p>
        </p:txBody>
      </p:sp>
      <p:graphicFrame>
        <p:nvGraphicFramePr>
          <p:cNvPr id="15" name="Chart 14">
            <a:extLst>
              <a:ext uri="{FF2B5EF4-FFF2-40B4-BE49-F238E27FC236}">
                <a16:creationId xmlns:a16="http://schemas.microsoft.com/office/drawing/2014/main" id="{63996245-3B94-8435-8EFE-30E4283EE221}"/>
              </a:ext>
            </a:extLst>
          </p:cNvPr>
          <p:cNvGraphicFramePr>
            <a:graphicFrameLocks/>
          </p:cNvGraphicFramePr>
          <p:nvPr>
            <p:extLst>
              <p:ext uri="{D42A27DB-BD31-4B8C-83A1-F6EECF244321}">
                <p14:modId xmlns:p14="http://schemas.microsoft.com/office/powerpoint/2010/main" val="2960592277"/>
              </p:ext>
            </p:extLst>
          </p:nvPr>
        </p:nvGraphicFramePr>
        <p:xfrm>
          <a:off x="8201320" y="1500767"/>
          <a:ext cx="3817855" cy="346352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448154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013A041-EDD1-68BC-30EE-51A9571B43E9}"/>
              </a:ext>
            </a:extLst>
          </p:cNvPr>
          <p:cNvSpPr>
            <a:spLocks noGrp="1"/>
          </p:cNvSpPr>
          <p:nvPr>
            <p:ph type="sldNum" sz="quarter" idx="11"/>
          </p:nvPr>
        </p:nvSpPr>
        <p:spPr/>
        <p:txBody>
          <a:bodyPr/>
          <a:lstStyle/>
          <a:p>
            <a:fld id="{F59CD943-D024-467A-B36E-F11E1285ED75}" type="slidenum">
              <a:rPr lang="en-GB" smtClean="0"/>
              <a:pPr/>
              <a:t>17</a:t>
            </a:fld>
            <a:endParaRPr lang="en-GB"/>
          </a:p>
        </p:txBody>
      </p:sp>
      <p:grpSp>
        <p:nvGrpSpPr>
          <p:cNvPr id="12" name="Group 11">
            <a:extLst>
              <a:ext uri="{FF2B5EF4-FFF2-40B4-BE49-F238E27FC236}">
                <a16:creationId xmlns:a16="http://schemas.microsoft.com/office/drawing/2014/main" id="{75EB5726-4E30-45E4-A29B-FB0D3A8DDB2F}"/>
              </a:ext>
            </a:extLst>
          </p:cNvPr>
          <p:cNvGrpSpPr/>
          <p:nvPr/>
        </p:nvGrpSpPr>
        <p:grpSpPr>
          <a:xfrm>
            <a:off x="69450" y="1386588"/>
            <a:ext cx="2575871" cy="3900114"/>
            <a:chOff x="560296" y="1922930"/>
            <a:chExt cx="2743200" cy="2743200"/>
          </a:xfrm>
          <a:solidFill>
            <a:schemeClr val="accent2">
              <a:lumMod val="50000"/>
            </a:schemeClr>
          </a:solidFill>
          <a:effectLst>
            <a:glow rad="25400">
              <a:schemeClr val="accent2">
                <a:lumMod val="60000"/>
                <a:lumOff val="40000"/>
                <a:alpha val="40000"/>
              </a:schemeClr>
            </a:glow>
          </a:effectLst>
        </p:grpSpPr>
        <p:sp>
          <p:nvSpPr>
            <p:cNvPr id="13" name="Rectangle 12">
              <a:extLst>
                <a:ext uri="{FF2B5EF4-FFF2-40B4-BE49-F238E27FC236}">
                  <a16:creationId xmlns:a16="http://schemas.microsoft.com/office/drawing/2014/main" id="{48A0C3D8-7461-48FC-BB3F-C6C7F084110E}"/>
                </a:ext>
              </a:extLst>
            </p:cNvPr>
            <p:cNvSpPr/>
            <p:nvPr/>
          </p:nvSpPr>
          <p:spPr>
            <a:xfrm>
              <a:off x="560296" y="1922930"/>
              <a:ext cx="2743200" cy="2743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Rectangle 13">
              <a:extLst>
                <a:ext uri="{FF2B5EF4-FFF2-40B4-BE49-F238E27FC236}">
                  <a16:creationId xmlns:a16="http://schemas.microsoft.com/office/drawing/2014/main" id="{F1E835C2-44FF-4234-98C8-7CADB741844C}"/>
                </a:ext>
              </a:extLst>
            </p:cNvPr>
            <p:cNvSpPr/>
            <p:nvPr/>
          </p:nvSpPr>
          <p:spPr>
            <a:xfrm>
              <a:off x="927848" y="1929893"/>
              <a:ext cx="2008094" cy="4562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Align and define</a:t>
              </a:r>
            </a:p>
          </p:txBody>
        </p:sp>
        <p:sp>
          <p:nvSpPr>
            <p:cNvPr id="15" name="Rectangle 14">
              <a:extLst>
                <a:ext uri="{FF2B5EF4-FFF2-40B4-BE49-F238E27FC236}">
                  <a16:creationId xmlns:a16="http://schemas.microsoft.com/office/drawing/2014/main" id="{167923B4-A604-4CC6-B211-3446AC21FA5F}"/>
                </a:ext>
              </a:extLst>
            </p:cNvPr>
            <p:cNvSpPr/>
            <p:nvPr/>
          </p:nvSpPr>
          <p:spPr>
            <a:xfrm>
              <a:off x="560296" y="2364899"/>
              <a:ext cx="2743200" cy="2273029"/>
            </a:xfrm>
            <a:prstGeom prst="rect">
              <a:avLst/>
            </a:prstGeom>
            <a:grpFill/>
          </p:spPr>
          <p:txBody>
            <a:bodyPr wrap="square">
              <a:spAutoFit/>
            </a:bodyPr>
            <a:lstStyle/>
            <a:p>
              <a:pPr marL="285750" indent="-285750">
                <a:buClr>
                  <a:schemeClr val="bg1"/>
                </a:buClr>
                <a:buFont typeface="Arial" panose="020B0604020202020204" pitchFamily="34" charset="0"/>
                <a:buChar char="•"/>
              </a:pPr>
              <a:r>
                <a:rPr lang="en-US">
                  <a:solidFill>
                    <a:schemeClr val="bg1"/>
                  </a:solidFill>
                </a:rPr>
                <a:t>Qualification</a:t>
              </a:r>
              <a:br>
                <a:rPr lang="en-US">
                  <a:solidFill>
                    <a:schemeClr val="bg1"/>
                  </a:solidFill>
                </a:rPr>
              </a:br>
              <a:r>
                <a:rPr lang="en-US" sz="1200" i="1">
                  <a:solidFill>
                    <a:schemeClr val="bg1"/>
                  </a:solidFill>
                </a:rPr>
                <a:t>Is software regulated?</a:t>
              </a:r>
              <a:br>
                <a:rPr lang="en-US" sz="1200" i="1">
                  <a:solidFill>
                    <a:schemeClr val="bg1"/>
                  </a:solidFill>
                </a:rPr>
              </a:br>
              <a:r>
                <a:rPr lang="en-US" sz="1200" i="1">
                  <a:solidFill>
                    <a:schemeClr val="bg1"/>
                  </a:solidFill>
                </a:rPr>
                <a:t>Is software AI?</a:t>
              </a:r>
              <a:br>
                <a:rPr lang="en-US" i="1">
                  <a:solidFill>
                    <a:schemeClr val="bg1"/>
                  </a:solidFill>
                </a:rPr>
              </a:br>
              <a:r>
                <a:rPr lang="en-US" sz="1200" i="1">
                  <a:solidFill>
                    <a:schemeClr val="bg1"/>
                  </a:solidFill>
                </a:rPr>
                <a:t>Rule based vs data based</a:t>
              </a:r>
            </a:p>
            <a:p>
              <a:pPr>
                <a:buClr>
                  <a:schemeClr val="bg1"/>
                </a:buClr>
              </a:pPr>
              <a:r>
                <a:rPr lang="en-US" sz="1200" i="1">
                  <a:solidFill>
                    <a:schemeClr val="bg1"/>
                  </a:solidFill>
                </a:rPr>
                <a:t>       Locked vs Cont. learning</a:t>
              </a:r>
            </a:p>
            <a:p>
              <a:pPr>
                <a:buClr>
                  <a:schemeClr val="bg1"/>
                </a:buClr>
              </a:pPr>
              <a:endParaRPr lang="en-US" sz="1200" i="1">
                <a:solidFill>
                  <a:schemeClr val="bg1"/>
                </a:solidFill>
              </a:endParaRPr>
            </a:p>
            <a:p>
              <a:pPr marL="285750" indent="-285750">
                <a:buClr>
                  <a:schemeClr val="bg1"/>
                </a:buClr>
                <a:buFont typeface="Arial" panose="020B0604020202020204" pitchFamily="34" charset="0"/>
                <a:buChar char="•"/>
              </a:pPr>
              <a:r>
                <a:rPr lang="en-US">
                  <a:solidFill>
                    <a:schemeClr val="bg1"/>
                  </a:solidFill>
                </a:rPr>
                <a:t>Classification</a:t>
              </a:r>
            </a:p>
            <a:p>
              <a:pPr>
                <a:buClr>
                  <a:schemeClr val="bg1"/>
                </a:buClr>
              </a:pPr>
              <a:r>
                <a:rPr lang="en-US" sz="1200" i="1">
                  <a:solidFill>
                    <a:schemeClr val="bg1"/>
                  </a:solidFill>
                </a:rPr>
                <a:t>       Risk classification</a:t>
              </a:r>
            </a:p>
            <a:p>
              <a:pPr>
                <a:buClr>
                  <a:schemeClr val="bg1"/>
                </a:buClr>
              </a:pPr>
              <a:r>
                <a:rPr lang="en-US" sz="1200" i="1">
                  <a:solidFill>
                    <a:schemeClr val="bg1"/>
                  </a:solidFill>
                </a:rPr>
                <a:t>       Significance of information</a:t>
              </a:r>
              <a:br>
                <a:rPr lang="en-US" sz="1200" i="1">
                  <a:solidFill>
                    <a:schemeClr val="bg1"/>
                  </a:solidFill>
                </a:rPr>
              </a:br>
              <a:r>
                <a:rPr lang="en-US" sz="1200" i="1">
                  <a:solidFill>
                    <a:schemeClr val="bg1"/>
                  </a:solidFill>
                </a:rPr>
                <a:t>       State of healthcare situation</a:t>
              </a:r>
              <a:br>
                <a:rPr lang="en-US">
                  <a:solidFill>
                    <a:schemeClr val="bg1"/>
                  </a:solidFill>
                </a:rPr>
              </a:br>
              <a:endParaRPr lang="en-US">
                <a:solidFill>
                  <a:schemeClr val="bg1"/>
                </a:solidFill>
              </a:endParaRPr>
            </a:p>
            <a:p>
              <a:pPr marL="285750" indent="-285750">
                <a:buClr>
                  <a:schemeClr val="bg1"/>
                </a:buClr>
                <a:buFont typeface="Arial" panose="020B0604020202020204" pitchFamily="34" charset="0"/>
                <a:buChar char="•"/>
              </a:pPr>
              <a:r>
                <a:rPr lang="en-US">
                  <a:solidFill>
                    <a:schemeClr val="bg1"/>
                  </a:solidFill>
                </a:rPr>
                <a:t>Clinical evaluation</a:t>
              </a:r>
            </a:p>
            <a:p>
              <a:pPr>
                <a:buClr>
                  <a:schemeClr val="bg1"/>
                </a:buClr>
              </a:pPr>
              <a:r>
                <a:rPr lang="en-US" sz="1200">
                  <a:solidFill>
                    <a:schemeClr val="bg1"/>
                  </a:solidFill>
                </a:rPr>
                <a:t>        </a:t>
              </a:r>
              <a:r>
                <a:rPr lang="en-US" sz="1200" i="1">
                  <a:solidFill>
                    <a:schemeClr val="bg1"/>
                  </a:solidFill>
                </a:rPr>
                <a:t>Valid association</a:t>
              </a:r>
              <a:br>
                <a:rPr lang="en-US" sz="1200" i="1">
                  <a:solidFill>
                    <a:schemeClr val="bg1"/>
                  </a:solidFill>
                </a:rPr>
              </a:br>
              <a:r>
                <a:rPr lang="en-US" sz="1200" i="1">
                  <a:solidFill>
                    <a:schemeClr val="bg1"/>
                  </a:solidFill>
                </a:rPr>
                <a:t>        Analytical validation</a:t>
              </a:r>
              <a:br>
                <a:rPr lang="en-US" sz="1200" i="1">
                  <a:solidFill>
                    <a:schemeClr val="bg1"/>
                  </a:solidFill>
                </a:rPr>
              </a:br>
              <a:r>
                <a:rPr lang="en-US" sz="1200" i="1">
                  <a:solidFill>
                    <a:schemeClr val="bg1"/>
                  </a:solidFill>
                </a:rPr>
                <a:t>        Clinical validation</a:t>
              </a:r>
              <a:endParaRPr lang="en-US" i="1">
                <a:solidFill>
                  <a:schemeClr val="bg1"/>
                </a:solidFill>
              </a:endParaRPr>
            </a:p>
          </p:txBody>
        </p:sp>
      </p:grpSp>
      <p:grpSp>
        <p:nvGrpSpPr>
          <p:cNvPr id="16" name="Group 15">
            <a:extLst>
              <a:ext uri="{FF2B5EF4-FFF2-40B4-BE49-F238E27FC236}">
                <a16:creationId xmlns:a16="http://schemas.microsoft.com/office/drawing/2014/main" id="{A205DE4F-2530-44C1-B664-50977433722C}"/>
              </a:ext>
            </a:extLst>
          </p:cNvPr>
          <p:cNvGrpSpPr/>
          <p:nvPr/>
        </p:nvGrpSpPr>
        <p:grpSpPr>
          <a:xfrm>
            <a:off x="2728473" y="1415896"/>
            <a:ext cx="2575871" cy="3459652"/>
            <a:chOff x="4787153" y="1922930"/>
            <a:chExt cx="2743200" cy="2743200"/>
          </a:xfrm>
          <a:solidFill>
            <a:schemeClr val="accent2">
              <a:lumMod val="40000"/>
              <a:lumOff val="60000"/>
            </a:schemeClr>
          </a:solidFill>
          <a:effectLst>
            <a:glow rad="25400">
              <a:schemeClr val="accent2">
                <a:lumMod val="60000"/>
                <a:lumOff val="40000"/>
                <a:alpha val="40000"/>
              </a:schemeClr>
            </a:glow>
          </a:effectLst>
        </p:grpSpPr>
        <p:sp>
          <p:nvSpPr>
            <p:cNvPr id="17" name="Rectangle 16">
              <a:extLst>
                <a:ext uri="{FF2B5EF4-FFF2-40B4-BE49-F238E27FC236}">
                  <a16:creationId xmlns:a16="http://schemas.microsoft.com/office/drawing/2014/main" id="{0B7428A9-FD5E-4C50-935F-89F8441B9A71}"/>
                </a:ext>
              </a:extLst>
            </p:cNvPr>
            <p:cNvSpPr/>
            <p:nvPr/>
          </p:nvSpPr>
          <p:spPr>
            <a:xfrm>
              <a:off x="4787153" y="1922930"/>
              <a:ext cx="2743200" cy="2743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4636"/>
                </a:solidFill>
              </a:endParaRPr>
            </a:p>
          </p:txBody>
        </p:sp>
        <p:sp>
          <p:nvSpPr>
            <p:cNvPr id="18" name="TextBox 17">
              <a:extLst>
                <a:ext uri="{FF2B5EF4-FFF2-40B4-BE49-F238E27FC236}">
                  <a16:creationId xmlns:a16="http://schemas.microsoft.com/office/drawing/2014/main" id="{5D78E8F4-F8AD-42D3-B58A-EC8D24727802}"/>
                </a:ext>
              </a:extLst>
            </p:cNvPr>
            <p:cNvSpPr txBox="1"/>
            <p:nvPr/>
          </p:nvSpPr>
          <p:spPr>
            <a:xfrm>
              <a:off x="4787153" y="2640109"/>
              <a:ext cx="2743200" cy="951755"/>
            </a:xfrm>
            <a:prstGeom prst="rect">
              <a:avLst/>
            </a:prstGeom>
            <a:grpFill/>
          </p:spPr>
          <p:txBody>
            <a:bodyPr wrap="square">
              <a:spAutoFit/>
            </a:bodyPr>
            <a:lstStyle>
              <a:defPPr>
                <a:defRPr lang="en-US"/>
              </a:defPPr>
              <a:lvl1pPr marL="285750" indent="-285750">
                <a:buClr>
                  <a:schemeClr val="accent2">
                    <a:lumMod val="75000"/>
                  </a:schemeClr>
                </a:buClr>
                <a:buFont typeface="Arial" panose="020B0604020202020204" pitchFamily="34" charset="0"/>
                <a:buChar char="•"/>
                <a:defRPr>
                  <a:solidFill>
                    <a:srgbClr val="093D2F"/>
                  </a:solidFill>
                </a:defRPr>
              </a:lvl1pPr>
            </a:lstStyle>
            <a:p>
              <a:r>
                <a:rPr lang="en-US">
                  <a:solidFill>
                    <a:srgbClr val="0A4636"/>
                  </a:solidFill>
                </a:rPr>
                <a:t>Explainable</a:t>
              </a:r>
            </a:p>
            <a:p>
              <a:r>
                <a:rPr lang="en-US">
                  <a:solidFill>
                    <a:srgbClr val="0A4636"/>
                  </a:solidFill>
                </a:rPr>
                <a:t>Transparent</a:t>
              </a:r>
            </a:p>
            <a:p>
              <a:r>
                <a:rPr lang="en-US">
                  <a:solidFill>
                    <a:srgbClr val="0A4636"/>
                  </a:solidFill>
                </a:rPr>
                <a:t>Fair</a:t>
              </a:r>
            </a:p>
            <a:p>
              <a:r>
                <a:rPr lang="en-US">
                  <a:solidFill>
                    <a:srgbClr val="0A4636"/>
                  </a:solidFill>
                </a:rPr>
                <a:t>Human Centric</a:t>
              </a:r>
            </a:p>
          </p:txBody>
        </p:sp>
        <p:sp>
          <p:nvSpPr>
            <p:cNvPr id="19" name="Rectangle 18">
              <a:extLst>
                <a:ext uri="{FF2B5EF4-FFF2-40B4-BE49-F238E27FC236}">
                  <a16:creationId xmlns:a16="http://schemas.microsoft.com/office/drawing/2014/main" id="{9649BE47-E2A8-4919-801E-AF4705F9F1E1}"/>
                </a:ext>
              </a:extLst>
            </p:cNvPr>
            <p:cNvSpPr/>
            <p:nvPr/>
          </p:nvSpPr>
          <p:spPr>
            <a:xfrm>
              <a:off x="5088032" y="2133602"/>
              <a:ext cx="2141441" cy="2958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rgbClr val="0A4636"/>
                  </a:solidFill>
                </a:rPr>
                <a:t>Ethical framework</a:t>
              </a:r>
            </a:p>
          </p:txBody>
        </p:sp>
      </p:grpSp>
      <p:grpSp>
        <p:nvGrpSpPr>
          <p:cNvPr id="20" name="Group 19">
            <a:extLst>
              <a:ext uri="{FF2B5EF4-FFF2-40B4-BE49-F238E27FC236}">
                <a16:creationId xmlns:a16="http://schemas.microsoft.com/office/drawing/2014/main" id="{9EC2EBD7-B7D2-46FD-8A3D-CF0B6474757B}"/>
              </a:ext>
            </a:extLst>
          </p:cNvPr>
          <p:cNvGrpSpPr/>
          <p:nvPr/>
        </p:nvGrpSpPr>
        <p:grpSpPr>
          <a:xfrm>
            <a:off x="5387497" y="1386588"/>
            <a:ext cx="2575871" cy="3903129"/>
            <a:chOff x="9014010" y="1899835"/>
            <a:chExt cx="2743200" cy="2745322"/>
          </a:xfrm>
          <a:solidFill>
            <a:schemeClr val="bg1">
              <a:lumMod val="85000"/>
            </a:schemeClr>
          </a:solidFill>
          <a:effectLst>
            <a:glow rad="25400">
              <a:schemeClr val="accent2">
                <a:lumMod val="60000"/>
                <a:lumOff val="40000"/>
                <a:alpha val="40000"/>
              </a:schemeClr>
            </a:glow>
          </a:effectLst>
        </p:grpSpPr>
        <p:sp>
          <p:nvSpPr>
            <p:cNvPr id="21" name="Rectangle 20">
              <a:extLst>
                <a:ext uri="{FF2B5EF4-FFF2-40B4-BE49-F238E27FC236}">
                  <a16:creationId xmlns:a16="http://schemas.microsoft.com/office/drawing/2014/main" id="{40F8BBE5-DF0D-41D4-AE88-E6D75D1FF27F}"/>
                </a:ext>
              </a:extLst>
            </p:cNvPr>
            <p:cNvSpPr/>
            <p:nvPr/>
          </p:nvSpPr>
          <p:spPr>
            <a:xfrm>
              <a:off x="9014010" y="1901957"/>
              <a:ext cx="2743200" cy="2743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7228E1F4-2E8A-4F47-804B-9E14A03F4490}"/>
                </a:ext>
              </a:extLst>
            </p:cNvPr>
            <p:cNvSpPr txBox="1"/>
            <p:nvPr/>
          </p:nvSpPr>
          <p:spPr>
            <a:xfrm>
              <a:off x="9014010" y="2444756"/>
              <a:ext cx="2743200" cy="1883368"/>
            </a:xfrm>
            <a:prstGeom prst="rect">
              <a:avLst/>
            </a:prstGeom>
            <a:grpFill/>
          </p:spPr>
          <p:txBody>
            <a:bodyPr wrap="square">
              <a:spAutoFit/>
            </a:bodyPr>
            <a:lstStyle>
              <a:defPPr>
                <a:defRPr lang="en-US"/>
              </a:defPPr>
              <a:lvl1pPr marL="285750" indent="-285750">
                <a:buClr>
                  <a:schemeClr val="accent2">
                    <a:lumMod val="75000"/>
                  </a:schemeClr>
                </a:buClr>
                <a:buFont typeface="Arial" panose="020B0604020202020204" pitchFamily="34" charset="0"/>
                <a:buChar char="•"/>
                <a:defRPr>
                  <a:solidFill>
                    <a:srgbClr val="093D2F"/>
                  </a:solidFill>
                </a:defRPr>
              </a:lvl1pPr>
            </a:lstStyle>
            <a:p>
              <a:r>
                <a:rPr lang="en-US">
                  <a:solidFill>
                    <a:schemeClr val="tx1"/>
                  </a:solidFill>
                </a:rPr>
                <a:t>Consumer Law</a:t>
              </a:r>
            </a:p>
            <a:p>
              <a:pPr marL="0" indent="0">
                <a:buNone/>
              </a:pPr>
              <a:r>
                <a:rPr lang="en-US" sz="1200">
                  <a:solidFill>
                    <a:schemeClr val="tx1"/>
                  </a:solidFill>
                </a:rPr>
                <a:t>        </a:t>
              </a:r>
              <a:r>
                <a:rPr lang="en-US" sz="1200" i="1">
                  <a:solidFill>
                    <a:schemeClr val="tx1"/>
                  </a:solidFill>
                </a:rPr>
                <a:t>Consumer protection applies</a:t>
              </a:r>
              <a:br>
                <a:rPr lang="en-US" sz="1200" i="1">
                  <a:solidFill>
                    <a:schemeClr val="tx1"/>
                  </a:solidFill>
                </a:rPr>
              </a:br>
              <a:endParaRPr lang="en-US" sz="1200" i="1">
                <a:solidFill>
                  <a:schemeClr val="tx1"/>
                </a:solidFill>
              </a:endParaRPr>
            </a:p>
            <a:p>
              <a:r>
                <a:rPr lang="en-US">
                  <a:solidFill>
                    <a:schemeClr val="tx1"/>
                  </a:solidFill>
                </a:rPr>
                <a:t>Contract Law</a:t>
              </a:r>
              <a:endParaRPr lang="en-US" sz="1200" i="1">
                <a:solidFill>
                  <a:schemeClr val="tx1"/>
                </a:solidFill>
              </a:endParaRPr>
            </a:p>
            <a:p>
              <a:pPr marL="0" indent="0">
                <a:buNone/>
              </a:pPr>
              <a:r>
                <a:rPr lang="en-US" sz="1200" i="1">
                  <a:solidFill>
                    <a:schemeClr val="tx1"/>
                  </a:solidFill>
                </a:rPr>
                <a:t>        Freedom of contract </a:t>
              </a:r>
            </a:p>
            <a:p>
              <a:pPr marL="0" indent="0">
                <a:buNone/>
              </a:pPr>
              <a:endParaRPr lang="en-US" sz="1200" i="1">
                <a:solidFill>
                  <a:schemeClr val="tx1"/>
                </a:solidFill>
              </a:endParaRPr>
            </a:p>
            <a:p>
              <a:r>
                <a:rPr lang="en-US">
                  <a:solidFill>
                    <a:schemeClr val="tx1"/>
                  </a:solidFill>
                </a:rPr>
                <a:t>Tort Law</a:t>
              </a:r>
              <a:endParaRPr lang="en-US" sz="1200" i="1">
                <a:solidFill>
                  <a:schemeClr val="tx1"/>
                </a:solidFill>
              </a:endParaRPr>
            </a:p>
            <a:p>
              <a:pPr marL="0" indent="0">
                <a:buNone/>
              </a:pPr>
              <a:r>
                <a:rPr lang="en-US" sz="1200" i="1">
                  <a:solidFill>
                    <a:schemeClr val="tx1"/>
                  </a:solidFill>
                </a:rPr>
                <a:t>        Allocation of risk and liability </a:t>
              </a:r>
            </a:p>
            <a:p>
              <a:pPr marL="0" indent="0">
                <a:buNone/>
              </a:pPr>
              <a:endParaRPr lang="en-US" sz="1200" i="1">
                <a:solidFill>
                  <a:schemeClr val="tx1"/>
                </a:solidFill>
              </a:endParaRPr>
            </a:p>
            <a:p>
              <a:r>
                <a:rPr lang="en-US">
                  <a:solidFill>
                    <a:schemeClr val="tx1"/>
                  </a:solidFill>
                </a:rPr>
                <a:t>Data Protection Law</a:t>
              </a:r>
            </a:p>
            <a:p>
              <a:pPr marL="0" indent="0">
                <a:buNone/>
              </a:pPr>
              <a:r>
                <a:rPr lang="en-US" sz="1200">
                  <a:solidFill>
                    <a:schemeClr val="tx1"/>
                  </a:solidFill>
                </a:rPr>
                <a:t>        </a:t>
              </a:r>
              <a:r>
                <a:rPr lang="en-US" sz="1200" i="1">
                  <a:solidFill>
                    <a:schemeClr val="tx1"/>
                  </a:solidFill>
                </a:rPr>
                <a:t>Health data in most cases is    </a:t>
              </a:r>
            </a:p>
            <a:p>
              <a:pPr marL="0" indent="0">
                <a:buNone/>
              </a:pPr>
              <a:r>
                <a:rPr lang="en-US" sz="1200" i="1">
                  <a:solidFill>
                    <a:schemeClr val="tx1"/>
                  </a:solidFill>
                </a:rPr>
                <a:t>        sensitive data </a:t>
              </a:r>
            </a:p>
          </p:txBody>
        </p:sp>
        <p:sp>
          <p:nvSpPr>
            <p:cNvPr id="23" name="Rectangle 22">
              <a:extLst>
                <a:ext uri="{FF2B5EF4-FFF2-40B4-BE49-F238E27FC236}">
                  <a16:creationId xmlns:a16="http://schemas.microsoft.com/office/drawing/2014/main" id="{35B0AFFF-5598-4EAD-A373-E437C4D45BAC}"/>
                </a:ext>
              </a:extLst>
            </p:cNvPr>
            <p:cNvSpPr/>
            <p:nvPr/>
          </p:nvSpPr>
          <p:spPr>
            <a:xfrm>
              <a:off x="9314889" y="1899835"/>
              <a:ext cx="2141441" cy="4831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tx1"/>
                  </a:solidFill>
                </a:rPr>
                <a:t>Legal framework</a:t>
              </a:r>
            </a:p>
          </p:txBody>
        </p:sp>
      </p:grpSp>
      <p:sp>
        <p:nvSpPr>
          <p:cNvPr id="24" name="TextBox 23">
            <a:extLst>
              <a:ext uri="{FF2B5EF4-FFF2-40B4-BE49-F238E27FC236}">
                <a16:creationId xmlns:a16="http://schemas.microsoft.com/office/drawing/2014/main" id="{A1409B2F-0BAC-4EB0-B614-9E3CE3FD3386}"/>
              </a:ext>
            </a:extLst>
          </p:cNvPr>
          <p:cNvSpPr txBox="1"/>
          <p:nvPr/>
        </p:nvSpPr>
        <p:spPr>
          <a:xfrm>
            <a:off x="8385042" y="1720361"/>
            <a:ext cx="3476306" cy="2677656"/>
          </a:xfrm>
          <a:prstGeom prst="rect">
            <a:avLst/>
          </a:prstGeom>
          <a:noFill/>
        </p:spPr>
        <p:txBody>
          <a:bodyPr wrap="square" rtlCol="0">
            <a:spAutoFit/>
          </a:bodyPr>
          <a:lstStyle/>
          <a:p>
            <a:pPr algn="ctr"/>
            <a:r>
              <a:rPr lang="en-US" sz="2400">
                <a:solidFill>
                  <a:schemeClr val="bg1"/>
                </a:solidFill>
              </a:rPr>
              <a:t>Continuously learn about and stay on top of regulations, conform to local regulations, and follow best practices to ensure effective AI integration</a:t>
            </a:r>
          </a:p>
        </p:txBody>
      </p:sp>
      <p:sp>
        <p:nvSpPr>
          <p:cNvPr id="4" name="TextBox 3">
            <a:extLst>
              <a:ext uri="{FF2B5EF4-FFF2-40B4-BE49-F238E27FC236}">
                <a16:creationId xmlns:a16="http://schemas.microsoft.com/office/drawing/2014/main" id="{8D546A2D-123C-46D3-9CB6-47251F5D662D}"/>
              </a:ext>
            </a:extLst>
          </p:cNvPr>
          <p:cNvSpPr txBox="1"/>
          <p:nvPr/>
        </p:nvSpPr>
        <p:spPr>
          <a:xfrm>
            <a:off x="69450" y="5422110"/>
            <a:ext cx="7893918" cy="567103"/>
          </a:xfrm>
          <a:prstGeom prst="rect">
            <a:avLst/>
          </a:prstGeom>
          <a:solidFill>
            <a:schemeClr val="bg1"/>
          </a:solidFill>
          <a:ln>
            <a:solidFill>
              <a:schemeClr val="accent2"/>
            </a:solidFill>
          </a:ln>
        </p:spPr>
        <p:txBody>
          <a:bodyPr wrap="square" rtlCol="0">
            <a:noAutofit/>
          </a:bodyPr>
          <a:lstStyle/>
          <a:p>
            <a:r>
              <a:rPr lang="en-US" sz="1400">
                <a:solidFill>
                  <a:schemeClr val="accent2">
                    <a:lumMod val="75000"/>
                  </a:schemeClr>
                </a:solidFill>
              </a:rPr>
              <a:t>Encourage regulators to explore alternative pathways particularly for continuous learning algorithms, try novel and innovative approaches </a:t>
            </a:r>
          </a:p>
        </p:txBody>
      </p:sp>
      <p:sp>
        <p:nvSpPr>
          <p:cNvPr id="26" name="Title 1">
            <a:extLst>
              <a:ext uri="{FF2B5EF4-FFF2-40B4-BE49-F238E27FC236}">
                <a16:creationId xmlns:a16="http://schemas.microsoft.com/office/drawing/2014/main" id="{D56F2820-858A-4957-B7FD-10D477696584}"/>
              </a:ext>
            </a:extLst>
          </p:cNvPr>
          <p:cNvSpPr>
            <a:spLocks noGrp="1"/>
          </p:cNvSpPr>
          <p:nvPr>
            <p:ph type="title"/>
          </p:nvPr>
        </p:nvSpPr>
        <p:spPr>
          <a:xfrm>
            <a:off x="194298" y="357969"/>
            <a:ext cx="7335202" cy="686974"/>
          </a:xfrm>
        </p:spPr>
        <p:txBody>
          <a:bodyPr/>
          <a:lstStyle/>
          <a:p>
            <a:r>
              <a:rPr lang="en-US">
                <a:solidFill>
                  <a:schemeClr val="accent2">
                    <a:lumMod val="50000"/>
                  </a:schemeClr>
                </a:solidFill>
              </a:rPr>
              <a:t>Leveraging existing frameworks for AI-based IVD devices is advantageous, avoiding the need to start from scratch</a:t>
            </a:r>
            <a:br>
              <a:rPr lang="en-US">
                <a:solidFill>
                  <a:schemeClr val="accent2">
                    <a:lumMod val="50000"/>
                  </a:schemeClr>
                </a:solidFill>
              </a:rPr>
            </a:br>
            <a:endParaRPr lang="en-GB">
              <a:solidFill>
                <a:schemeClr val="accent2">
                  <a:lumMod val="50000"/>
                </a:schemeClr>
              </a:solidFill>
            </a:endParaRPr>
          </a:p>
        </p:txBody>
      </p:sp>
      <p:grpSp>
        <p:nvGrpSpPr>
          <p:cNvPr id="25" name="Group 24">
            <a:extLst>
              <a:ext uri="{FF2B5EF4-FFF2-40B4-BE49-F238E27FC236}">
                <a16:creationId xmlns:a16="http://schemas.microsoft.com/office/drawing/2014/main" id="{D653AA16-0748-4B3B-90A8-998826E8E962}"/>
              </a:ext>
            </a:extLst>
          </p:cNvPr>
          <p:cNvGrpSpPr/>
          <p:nvPr/>
        </p:nvGrpSpPr>
        <p:grpSpPr>
          <a:xfrm>
            <a:off x="2694458" y="1399032"/>
            <a:ext cx="2655057" cy="3887267"/>
            <a:chOff x="4737348" y="1917442"/>
            <a:chExt cx="2873325" cy="3082261"/>
          </a:xfrm>
          <a:solidFill>
            <a:schemeClr val="accent2">
              <a:lumMod val="40000"/>
              <a:lumOff val="60000"/>
            </a:schemeClr>
          </a:solidFill>
          <a:effectLst>
            <a:glow rad="25400">
              <a:schemeClr val="accent2">
                <a:lumMod val="60000"/>
                <a:lumOff val="40000"/>
                <a:alpha val="40000"/>
              </a:schemeClr>
            </a:glow>
          </a:effectLst>
        </p:grpSpPr>
        <p:sp>
          <p:nvSpPr>
            <p:cNvPr id="27" name="Rectangle 26">
              <a:extLst>
                <a:ext uri="{FF2B5EF4-FFF2-40B4-BE49-F238E27FC236}">
                  <a16:creationId xmlns:a16="http://schemas.microsoft.com/office/drawing/2014/main" id="{E6954427-1B4C-47B9-B56A-9681646AF10D}"/>
                </a:ext>
              </a:extLst>
            </p:cNvPr>
            <p:cNvSpPr/>
            <p:nvPr/>
          </p:nvSpPr>
          <p:spPr>
            <a:xfrm>
              <a:off x="4740916" y="1917442"/>
              <a:ext cx="2869757" cy="2743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TextBox 27">
              <a:extLst>
                <a:ext uri="{FF2B5EF4-FFF2-40B4-BE49-F238E27FC236}">
                  <a16:creationId xmlns:a16="http://schemas.microsoft.com/office/drawing/2014/main" id="{6C1EB440-1C75-486E-BB67-FB7F613D6687}"/>
                </a:ext>
              </a:extLst>
            </p:cNvPr>
            <p:cNvSpPr txBox="1"/>
            <p:nvPr/>
          </p:nvSpPr>
          <p:spPr>
            <a:xfrm>
              <a:off x="4737348" y="2437286"/>
              <a:ext cx="2869757" cy="2562417"/>
            </a:xfrm>
            <a:prstGeom prst="rect">
              <a:avLst/>
            </a:prstGeom>
            <a:grpFill/>
          </p:spPr>
          <p:txBody>
            <a:bodyPr wrap="square">
              <a:spAutoFit/>
            </a:bodyPr>
            <a:lstStyle>
              <a:defPPr>
                <a:defRPr lang="en-US"/>
              </a:defPPr>
              <a:lvl1pPr marL="285750" indent="-285750">
                <a:buClr>
                  <a:schemeClr val="accent2">
                    <a:lumMod val="75000"/>
                  </a:schemeClr>
                </a:buClr>
                <a:buFont typeface="Arial" panose="020B0604020202020204" pitchFamily="34" charset="0"/>
                <a:buChar char="•"/>
                <a:defRPr>
                  <a:solidFill>
                    <a:srgbClr val="093D2F"/>
                  </a:solidFill>
                </a:defRPr>
              </a:lvl1pPr>
            </a:lstStyle>
            <a:p>
              <a:r>
                <a:rPr lang="en-US">
                  <a:solidFill>
                    <a:schemeClr val="tx1"/>
                  </a:solidFill>
                </a:rPr>
                <a:t>Explainable</a:t>
              </a:r>
              <a:br>
                <a:rPr lang="en-US">
                  <a:solidFill>
                    <a:schemeClr val="tx1"/>
                  </a:solidFill>
                </a:rPr>
              </a:br>
              <a:r>
                <a:rPr lang="en-US" sz="1200" i="1">
                  <a:solidFill>
                    <a:schemeClr val="tx1"/>
                  </a:solidFill>
                </a:rPr>
                <a:t>Explain predictions of AI</a:t>
              </a:r>
              <a:br>
                <a:rPr lang="en-US" sz="1200" i="1">
                  <a:solidFill>
                    <a:schemeClr val="tx1"/>
                  </a:solidFill>
                </a:rPr>
              </a:br>
              <a:br>
                <a:rPr lang="en-US" sz="1200" i="1">
                  <a:solidFill>
                    <a:schemeClr val="tx1"/>
                  </a:solidFill>
                </a:rPr>
              </a:br>
              <a:endParaRPr lang="en-US" sz="1200" i="1">
                <a:solidFill>
                  <a:schemeClr val="tx1"/>
                </a:solidFill>
              </a:endParaRPr>
            </a:p>
            <a:p>
              <a:r>
                <a:rPr lang="en-US">
                  <a:solidFill>
                    <a:schemeClr val="tx1"/>
                  </a:solidFill>
                </a:rPr>
                <a:t>Transparent</a:t>
              </a:r>
              <a:endParaRPr lang="en-US" i="1">
                <a:solidFill>
                  <a:schemeClr val="tx1"/>
                </a:solidFill>
              </a:endParaRPr>
            </a:p>
            <a:p>
              <a:pPr marL="0" indent="0">
                <a:buNone/>
              </a:pPr>
              <a:r>
                <a:rPr lang="en-US" sz="1200" i="1">
                  <a:solidFill>
                    <a:schemeClr val="tx1"/>
                  </a:solidFill>
                </a:rPr>
                <a:t>        Ensures traceability of outputs,      </a:t>
              </a:r>
            </a:p>
            <a:p>
              <a:pPr marL="0" indent="0">
                <a:buNone/>
              </a:pPr>
              <a:r>
                <a:rPr lang="en-US" sz="1200" i="1">
                  <a:solidFill>
                    <a:schemeClr val="tx1"/>
                  </a:solidFill>
                </a:rPr>
                <a:t>        document data, processes,          </a:t>
              </a:r>
            </a:p>
            <a:p>
              <a:pPr marL="0" indent="0">
                <a:buNone/>
              </a:pPr>
              <a:r>
                <a:rPr lang="en-US" sz="1200" i="1">
                  <a:solidFill>
                    <a:schemeClr val="tx1"/>
                  </a:solidFill>
                </a:rPr>
                <a:t>        and errors</a:t>
              </a:r>
              <a:br>
                <a:rPr lang="en-US" sz="1200" i="1">
                  <a:solidFill>
                    <a:schemeClr val="tx1"/>
                  </a:solidFill>
                </a:rPr>
              </a:br>
              <a:endParaRPr lang="en-US" sz="1200" i="1">
                <a:solidFill>
                  <a:schemeClr val="tx1"/>
                </a:solidFill>
              </a:endParaRPr>
            </a:p>
            <a:p>
              <a:r>
                <a:rPr lang="en-US">
                  <a:solidFill>
                    <a:schemeClr val="tx1"/>
                  </a:solidFill>
                </a:rPr>
                <a:t>Fair</a:t>
              </a:r>
              <a:br>
                <a:rPr lang="en-US">
                  <a:solidFill>
                    <a:schemeClr val="tx1"/>
                  </a:solidFill>
                </a:rPr>
              </a:br>
              <a:r>
                <a:rPr lang="en-US" sz="1200" i="1">
                  <a:solidFill>
                    <a:schemeClr val="tx1"/>
                  </a:solidFill>
                </a:rPr>
                <a:t>Limits algorithmic and human bias</a:t>
              </a:r>
              <a:br>
                <a:rPr lang="en-US" sz="1200" i="1">
                  <a:solidFill>
                    <a:schemeClr val="tx1"/>
                  </a:solidFill>
                </a:rPr>
              </a:br>
              <a:endParaRPr lang="en-US" sz="1200" i="1">
                <a:solidFill>
                  <a:schemeClr val="tx1"/>
                </a:solidFill>
              </a:endParaRPr>
            </a:p>
            <a:p>
              <a:r>
                <a:rPr lang="en-US">
                  <a:solidFill>
                    <a:schemeClr val="tx1"/>
                  </a:solidFill>
                </a:rPr>
                <a:t>Human Centric</a:t>
              </a:r>
              <a:br>
                <a:rPr lang="en-US" sz="1200">
                  <a:solidFill>
                    <a:schemeClr val="tx1"/>
                  </a:solidFill>
                </a:rPr>
              </a:br>
              <a:r>
                <a:rPr lang="en-US" sz="1200" i="1">
                  <a:solidFill>
                    <a:schemeClr val="tx1"/>
                  </a:solidFill>
                </a:rPr>
                <a:t>Prioritizes well-being and safety</a:t>
              </a:r>
              <a:endParaRPr lang="en-US" i="1">
                <a:solidFill>
                  <a:schemeClr val="tx1"/>
                </a:solidFill>
              </a:endParaRPr>
            </a:p>
          </p:txBody>
        </p:sp>
        <p:sp>
          <p:nvSpPr>
            <p:cNvPr id="29" name="Rectangle 28">
              <a:extLst>
                <a:ext uri="{FF2B5EF4-FFF2-40B4-BE49-F238E27FC236}">
                  <a16:creationId xmlns:a16="http://schemas.microsoft.com/office/drawing/2014/main" id="{54CB53E2-4BCD-4567-8EFE-3122AD8C5C71}"/>
                </a:ext>
              </a:extLst>
            </p:cNvPr>
            <p:cNvSpPr/>
            <p:nvPr/>
          </p:nvSpPr>
          <p:spPr>
            <a:xfrm>
              <a:off x="5088032" y="1930781"/>
              <a:ext cx="2141442" cy="4907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tx1"/>
                  </a:solidFill>
                </a:rPr>
                <a:t>Ethical framework</a:t>
              </a:r>
            </a:p>
          </p:txBody>
        </p:sp>
      </p:grpSp>
      <p:sp>
        <p:nvSpPr>
          <p:cNvPr id="30" name="Footer Placeholder 1">
            <a:extLst>
              <a:ext uri="{FF2B5EF4-FFF2-40B4-BE49-F238E27FC236}">
                <a16:creationId xmlns:a16="http://schemas.microsoft.com/office/drawing/2014/main" id="{6B570B6E-76E5-44E2-A8E0-F2945059EC95}"/>
              </a:ext>
            </a:extLst>
          </p:cNvPr>
          <p:cNvSpPr txBox="1">
            <a:spLocks noGrp="1"/>
          </p:cNvSpPr>
          <p:nvPr>
            <p:ph type="ftr" sz="quarter" idx="10"/>
          </p:nvPr>
        </p:nvSpPr>
        <p:spPr>
          <a:xfrm>
            <a:off x="8059542" y="6348353"/>
            <a:ext cx="329247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a:solidFill>
                  <a:schemeClr val="bg1"/>
                </a:solidFill>
              </a:rPr>
              <a:t>The Evolving Regulatory Landscape for IVD in APAC</a:t>
            </a:r>
          </a:p>
        </p:txBody>
      </p:sp>
    </p:spTree>
    <p:extLst>
      <p:ext uri="{BB962C8B-B14F-4D97-AF65-F5344CB8AC3E}">
        <p14:creationId xmlns:p14="http://schemas.microsoft.com/office/powerpoint/2010/main" val="41302769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CAE2DA0-6362-4418-B8EB-2E37417199E7}"/>
              </a:ext>
            </a:extLst>
          </p:cNvPr>
          <p:cNvSpPr>
            <a:spLocks noGrp="1"/>
          </p:cNvSpPr>
          <p:nvPr>
            <p:ph type="body" sz="quarter" idx="16"/>
          </p:nvPr>
        </p:nvSpPr>
        <p:spPr/>
        <p:txBody>
          <a:bodyPr/>
          <a:lstStyle/>
          <a:p>
            <a:r>
              <a:rPr lang="en-US" sz="4400" dirty="0"/>
              <a:t>Questions</a:t>
            </a:r>
            <a:endParaRPr lang="en-US" dirty="0"/>
          </a:p>
        </p:txBody>
      </p:sp>
    </p:spTree>
    <p:extLst>
      <p:ext uri="{BB962C8B-B14F-4D97-AF65-F5344CB8AC3E}">
        <p14:creationId xmlns:p14="http://schemas.microsoft.com/office/powerpoint/2010/main" val="497060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65E7447-15ED-0D6E-FDBC-8A17E8DC9AB2}"/>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9276905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F780E0-F5E5-4B53-84D4-76A0D769527C}"/>
              </a:ext>
            </a:extLst>
          </p:cNvPr>
          <p:cNvSpPr>
            <a:spLocks noGrp="1"/>
          </p:cNvSpPr>
          <p:nvPr>
            <p:ph type="body" sz="quarter" idx="21"/>
          </p:nvPr>
        </p:nvSpPr>
        <p:spPr>
          <a:xfrm>
            <a:off x="550864" y="908939"/>
            <a:ext cx="3015296" cy="879221"/>
          </a:xfrm>
        </p:spPr>
        <p:txBody>
          <a:bodyPr/>
          <a:lstStyle/>
          <a:p>
            <a:r>
              <a:rPr lang="en-US" dirty="0"/>
              <a:t>Agenda</a:t>
            </a:r>
          </a:p>
        </p:txBody>
      </p:sp>
      <p:sp>
        <p:nvSpPr>
          <p:cNvPr id="3" name="Text Placeholder 2">
            <a:extLst>
              <a:ext uri="{FF2B5EF4-FFF2-40B4-BE49-F238E27FC236}">
                <a16:creationId xmlns:a16="http://schemas.microsoft.com/office/drawing/2014/main" id="{B344088B-167C-4473-B4E4-85BF9D7E4764}"/>
              </a:ext>
            </a:extLst>
          </p:cNvPr>
          <p:cNvSpPr>
            <a:spLocks noGrp="1"/>
          </p:cNvSpPr>
          <p:nvPr>
            <p:ph type="body" sz="quarter" idx="13"/>
          </p:nvPr>
        </p:nvSpPr>
        <p:spPr>
          <a:xfrm>
            <a:off x="3251200" y="1924939"/>
            <a:ext cx="7731760" cy="3247765"/>
          </a:xfrm>
        </p:spPr>
        <p:txBody>
          <a:bodyPr vert="horz" lIns="0" tIns="0" rIns="0" bIns="0" rtlCol="0" anchor="t">
            <a:noAutofit/>
          </a:bodyPr>
          <a:lstStyle/>
          <a:p>
            <a:pPr marL="342900" indent="-342900">
              <a:buChar char="•"/>
            </a:pPr>
            <a:r>
              <a:rPr lang="en-US" sz="2400" dirty="0"/>
              <a:t>Introduction to Clarivate &amp; APACMed</a:t>
            </a:r>
            <a:endParaRPr lang="en-US" dirty="0"/>
          </a:p>
          <a:p>
            <a:pPr marL="342900" indent="-342900">
              <a:buChar char="•"/>
            </a:pPr>
            <a:r>
              <a:rPr lang="en-US" sz="2400" dirty="0"/>
              <a:t>Speakers</a:t>
            </a:r>
          </a:p>
          <a:p>
            <a:pPr marL="342900" indent="-342900">
              <a:buChar char="•"/>
            </a:pPr>
            <a:r>
              <a:rPr lang="en-US" sz="2400" dirty="0"/>
              <a:t>Topics</a:t>
            </a:r>
          </a:p>
          <a:p>
            <a:pPr marL="514350" indent="342900">
              <a:buFont typeface="Courier New" panose="020B0604020202020204" pitchFamily="34" charset="0"/>
              <a:buChar char="o"/>
            </a:pPr>
            <a:r>
              <a:rPr lang="en-US" sz="1800" dirty="0">
                <a:ea typeface="+mj-lt"/>
                <a:cs typeface="+mj-lt"/>
              </a:rPr>
              <a:t>EUIVDR and its Impact on APAC markets</a:t>
            </a:r>
            <a:endParaRPr lang="en-US" sz="1800" dirty="0"/>
          </a:p>
          <a:p>
            <a:pPr marL="514350" indent="342900">
              <a:buFont typeface="Courier New" panose="020B0604020202020204" pitchFamily="34" charset="0"/>
              <a:buChar char="o"/>
            </a:pPr>
            <a:r>
              <a:rPr lang="en-US" sz="1800" dirty="0">
                <a:ea typeface="+mj-lt"/>
                <a:cs typeface="+mj-lt"/>
              </a:rPr>
              <a:t>How regulations drive innovation and product development</a:t>
            </a:r>
            <a:endParaRPr lang="en-US" sz="1800" dirty="0"/>
          </a:p>
          <a:p>
            <a:pPr marL="514350" indent="342900">
              <a:buFont typeface="Courier New" panose="020B0604020202020204" pitchFamily="34" charset="0"/>
              <a:buChar char="o"/>
            </a:pPr>
            <a:r>
              <a:rPr lang="en-US" sz="1800" dirty="0">
                <a:ea typeface="+mj-lt"/>
                <a:cs typeface="+mj-lt"/>
              </a:rPr>
              <a:t>Connectivity, integrity, and data in the IVD industry</a:t>
            </a:r>
            <a:endParaRPr lang="en-US" sz="1800" dirty="0"/>
          </a:p>
          <a:p>
            <a:pPr marL="514350" indent="342900">
              <a:buFont typeface="Courier New" panose="020B0604020202020204" pitchFamily="34" charset="0"/>
              <a:buChar char="o"/>
            </a:pPr>
            <a:r>
              <a:rPr lang="en-US" sz="1800" dirty="0">
                <a:ea typeface="+mj-lt"/>
                <a:cs typeface="+mj-lt"/>
              </a:rPr>
              <a:t>The role of AI in the IVD space</a:t>
            </a:r>
            <a:endParaRPr lang="en-US" sz="1800" dirty="0"/>
          </a:p>
          <a:p>
            <a:pPr marL="342900" indent="-342900">
              <a:buChar char="•"/>
            </a:pPr>
            <a:r>
              <a:rPr lang="en-US" sz="2400" dirty="0"/>
              <a:t>Q&amp;A</a:t>
            </a:r>
          </a:p>
          <a:p>
            <a:endParaRPr lang="en-US" sz="2400" dirty="0"/>
          </a:p>
        </p:txBody>
      </p:sp>
      <p:sp>
        <p:nvSpPr>
          <p:cNvPr id="27" name="Slide Number Placeholder 2">
            <a:extLst>
              <a:ext uri="{FF2B5EF4-FFF2-40B4-BE49-F238E27FC236}">
                <a16:creationId xmlns:a16="http://schemas.microsoft.com/office/drawing/2014/main" id="{4690C715-B794-44AC-B0D6-52D1A83D9AF8}"/>
              </a:ext>
            </a:extLst>
          </p:cNvPr>
          <p:cNvSpPr txBox="1">
            <a:spLocks/>
          </p:cNvSpPr>
          <p:nvPr/>
        </p:nvSpPr>
        <p:spPr>
          <a:xfrm>
            <a:off x="11506200" y="6348353"/>
            <a:ext cx="216000" cy="215900"/>
          </a:xfrm>
          <a:prstGeom prst="rect">
            <a:avLst/>
          </a:prstGeom>
        </p:spPr>
        <p:txBody>
          <a:bodyPr anchor="ctr">
            <a:normAutofit fontScale="5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F59CD943-D024-467A-B36E-F11E1285ED75}" type="slidenum">
              <a:rPr lang="en-GB" smtClean="0">
                <a:solidFill>
                  <a:schemeClr val="accent1"/>
                </a:solidFill>
              </a:rPr>
              <a:pPr>
                <a:spcAft>
                  <a:spcPts val="600"/>
                </a:spcAft>
              </a:pPr>
              <a:t>2</a:t>
            </a:fld>
            <a:endParaRPr lang="en-GB" dirty="0">
              <a:solidFill>
                <a:schemeClr val="accent1"/>
              </a:solidFill>
            </a:endParaRPr>
          </a:p>
        </p:txBody>
      </p:sp>
      <p:sp>
        <p:nvSpPr>
          <p:cNvPr id="28" name="Footer Placeholder 1">
            <a:extLst>
              <a:ext uri="{FF2B5EF4-FFF2-40B4-BE49-F238E27FC236}">
                <a16:creationId xmlns:a16="http://schemas.microsoft.com/office/drawing/2014/main" id="{1050FCE3-D06A-4EDF-99E3-0B79827B3A12}"/>
              </a:ext>
            </a:extLst>
          </p:cNvPr>
          <p:cNvSpPr txBox="1">
            <a:spLocks/>
          </p:cNvSpPr>
          <p:nvPr/>
        </p:nvSpPr>
        <p:spPr>
          <a:xfrm>
            <a:off x="8129234" y="6326385"/>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dirty="0">
                <a:solidFill>
                  <a:schemeClr val="accent1"/>
                </a:solidFill>
              </a:rPr>
              <a:t>The Evolving Regulatory Landscape for IVD in APAC</a:t>
            </a:r>
          </a:p>
        </p:txBody>
      </p:sp>
    </p:spTree>
    <p:extLst>
      <p:ext uri="{BB962C8B-B14F-4D97-AF65-F5344CB8AC3E}">
        <p14:creationId xmlns:p14="http://schemas.microsoft.com/office/powerpoint/2010/main" val="28929401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343C9E0-A2ED-43B5-8502-6C94FBB15CC5}"/>
              </a:ext>
            </a:extLst>
          </p:cNvPr>
          <p:cNvSpPr>
            <a:spLocks noGrp="1"/>
          </p:cNvSpPr>
          <p:nvPr>
            <p:ph type="ftr" sz="quarter" idx="10"/>
          </p:nvPr>
        </p:nvSpPr>
        <p:spPr/>
        <p:txBody>
          <a:bodyPr/>
          <a:lstStyle/>
          <a:p>
            <a:r>
              <a:rPr lang="en-US" dirty="0">
                <a:solidFill>
                  <a:prstClr val="black"/>
                </a:solidFill>
              </a:rPr>
              <a:t>The Evolving Regulatory Landscape for IVD in APAC</a:t>
            </a:r>
          </a:p>
        </p:txBody>
      </p:sp>
      <p:sp>
        <p:nvSpPr>
          <p:cNvPr id="4" name="Slide Number Placeholder 3">
            <a:extLst>
              <a:ext uri="{FF2B5EF4-FFF2-40B4-BE49-F238E27FC236}">
                <a16:creationId xmlns:a16="http://schemas.microsoft.com/office/drawing/2014/main" id="{902A7460-371C-4C8D-8A12-1F1FE989F9AC}"/>
              </a:ext>
            </a:extLst>
          </p:cNvPr>
          <p:cNvSpPr>
            <a:spLocks noGrp="1"/>
          </p:cNvSpPr>
          <p:nvPr>
            <p:ph type="sldNum" sz="quarter" idx="11"/>
          </p:nvPr>
        </p:nvSpPr>
        <p:spPr/>
        <p:txBody>
          <a:bodyPr/>
          <a:lstStyle/>
          <a:p>
            <a:fld id="{F59CD943-D024-467A-B36E-F11E1285ED75}" type="slidenum">
              <a:rPr lang="en-GB" smtClean="0"/>
              <a:pPr/>
              <a:t>3</a:t>
            </a:fld>
            <a:endParaRPr lang="en-GB" dirty="0"/>
          </a:p>
        </p:txBody>
      </p:sp>
      <p:sp>
        <p:nvSpPr>
          <p:cNvPr id="5" name="Text Placeholder 4">
            <a:extLst>
              <a:ext uri="{FF2B5EF4-FFF2-40B4-BE49-F238E27FC236}">
                <a16:creationId xmlns:a16="http://schemas.microsoft.com/office/drawing/2014/main" id="{7BB5DEC0-4204-407E-88A4-1A2C707CF304}"/>
              </a:ext>
            </a:extLst>
          </p:cNvPr>
          <p:cNvSpPr>
            <a:spLocks noGrp="1"/>
          </p:cNvSpPr>
          <p:nvPr>
            <p:ph type="body" sz="quarter" idx="13"/>
          </p:nvPr>
        </p:nvSpPr>
        <p:spPr/>
        <p:txBody>
          <a:bodyPr/>
          <a:lstStyle/>
          <a:p>
            <a:r>
              <a:rPr lang="en-US" sz="2400" dirty="0"/>
              <a:t>Introduction to Clarivate &amp; APACMed</a:t>
            </a:r>
          </a:p>
        </p:txBody>
      </p:sp>
      <p:pic>
        <p:nvPicPr>
          <p:cNvPr id="11" name="Picture 10" descr="A picture containing black, darkness&#10;&#10;Description automatically generated">
            <a:extLst>
              <a:ext uri="{FF2B5EF4-FFF2-40B4-BE49-F238E27FC236}">
                <a16:creationId xmlns:a16="http://schemas.microsoft.com/office/drawing/2014/main" id="{591A8118-A9B3-44E5-A8C1-DD4C45A0B7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7699" y="1223341"/>
            <a:ext cx="5503030" cy="1682355"/>
          </a:xfrm>
          <a:prstGeom prst="rect">
            <a:avLst/>
          </a:prstGeom>
        </p:spPr>
      </p:pic>
      <p:pic>
        <p:nvPicPr>
          <p:cNvPr id="13" name="Picture 12">
            <a:extLst>
              <a:ext uri="{FF2B5EF4-FFF2-40B4-BE49-F238E27FC236}">
                <a16:creationId xmlns:a16="http://schemas.microsoft.com/office/drawing/2014/main" id="{76D9B941-D90E-4523-AF95-632BE7FB03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5720" y="1383838"/>
            <a:ext cx="4012365" cy="1501252"/>
          </a:xfrm>
          <a:prstGeom prst="rect">
            <a:avLst/>
          </a:prstGeom>
        </p:spPr>
      </p:pic>
      <p:sp>
        <p:nvSpPr>
          <p:cNvPr id="14" name="TextBox 13">
            <a:extLst>
              <a:ext uri="{FF2B5EF4-FFF2-40B4-BE49-F238E27FC236}">
                <a16:creationId xmlns:a16="http://schemas.microsoft.com/office/drawing/2014/main" id="{623F1B4A-C805-4A4D-80D6-C4352B94877C}"/>
              </a:ext>
            </a:extLst>
          </p:cNvPr>
          <p:cNvSpPr txBox="1"/>
          <p:nvPr/>
        </p:nvSpPr>
        <p:spPr>
          <a:xfrm>
            <a:off x="640601" y="3038213"/>
            <a:ext cx="5070651" cy="3169818"/>
          </a:xfrm>
          <a:prstGeom prst="rect">
            <a:avLst/>
          </a:prstGeom>
          <a:solidFill>
            <a:schemeClr val="bg1"/>
          </a:solidFill>
          <a:ln>
            <a:solidFill>
              <a:schemeClr val="bg1">
                <a:lumMod val="65000"/>
              </a:schemeClr>
            </a:solidFill>
          </a:ln>
        </p:spPr>
        <p:txBody>
          <a:bodyPr wrap="square" rtlCol="0">
            <a:noAutofit/>
          </a:bodyPr>
          <a:lstStyle/>
          <a:p>
            <a:r>
              <a:rPr lang="en-US" sz="2800" dirty="0"/>
              <a:t>Empowering our customers to create a healthier tomorrow.</a:t>
            </a:r>
          </a:p>
          <a:p>
            <a:endParaRPr lang="en-US" sz="2000" dirty="0"/>
          </a:p>
          <a:p>
            <a:r>
              <a:rPr lang="en-US" sz="2200" dirty="0"/>
              <a:t>We provide data, deep expertise and intelligence platforms to enable our customers to deliver safe, effective and patient-centric solutions. </a:t>
            </a:r>
          </a:p>
        </p:txBody>
      </p:sp>
      <p:sp>
        <p:nvSpPr>
          <p:cNvPr id="15" name="TextBox 14">
            <a:extLst>
              <a:ext uri="{FF2B5EF4-FFF2-40B4-BE49-F238E27FC236}">
                <a16:creationId xmlns:a16="http://schemas.microsoft.com/office/drawing/2014/main" id="{76CCA114-4566-4A5E-9C4A-5EAA5175CAF5}"/>
              </a:ext>
            </a:extLst>
          </p:cNvPr>
          <p:cNvSpPr txBox="1"/>
          <p:nvPr/>
        </p:nvSpPr>
        <p:spPr>
          <a:xfrm>
            <a:off x="6247732" y="3036110"/>
            <a:ext cx="5070651" cy="3169818"/>
          </a:xfrm>
          <a:prstGeom prst="rect">
            <a:avLst/>
          </a:prstGeom>
          <a:solidFill>
            <a:schemeClr val="bg1"/>
          </a:solidFill>
          <a:ln>
            <a:solidFill>
              <a:schemeClr val="bg1">
                <a:lumMod val="65000"/>
              </a:schemeClr>
            </a:solidFill>
          </a:ln>
        </p:spPr>
        <p:txBody>
          <a:bodyPr wrap="square" rtlCol="0">
            <a:noAutofit/>
          </a:bodyPr>
          <a:lstStyle/>
          <a:p>
            <a:r>
              <a:rPr lang="en-US" sz="2400" dirty="0"/>
              <a:t>ONE VOICE: </a:t>
            </a:r>
            <a:r>
              <a:rPr lang="en-US" sz="2200" dirty="0"/>
              <a:t>The unifying voice for the medical devices, in-vitro diagnostics and digital health industry in APAC.</a:t>
            </a:r>
          </a:p>
          <a:p>
            <a:r>
              <a:rPr lang="en-US" sz="2400" dirty="0"/>
              <a:t> </a:t>
            </a:r>
          </a:p>
          <a:p>
            <a:r>
              <a:rPr lang="en-US" sz="2000" dirty="0"/>
              <a:t>ONE MISSION: </a:t>
            </a:r>
            <a:r>
              <a:rPr lang="en-US" sz="2200" dirty="0"/>
              <a:t>To improve the standards of care for patients in APAC through strategic collaborations with MedTech stakeholders. </a:t>
            </a:r>
          </a:p>
        </p:txBody>
      </p:sp>
    </p:spTree>
    <p:extLst>
      <p:ext uri="{BB962C8B-B14F-4D97-AF65-F5344CB8AC3E}">
        <p14:creationId xmlns:p14="http://schemas.microsoft.com/office/powerpoint/2010/main" val="5757377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FB4E39-E25C-E61F-0DAC-2BCE08DFDDA6}"/>
              </a:ext>
            </a:extLst>
          </p:cNvPr>
          <p:cNvSpPr>
            <a:spLocks noGrp="1"/>
          </p:cNvSpPr>
          <p:nvPr>
            <p:ph type="sldNum" sz="quarter" idx="11"/>
          </p:nvPr>
        </p:nvSpPr>
        <p:spPr>
          <a:xfrm>
            <a:off x="11506200" y="6348353"/>
            <a:ext cx="216000" cy="215900"/>
          </a:xfrm>
        </p:spPr>
        <p:txBody>
          <a:bodyPr anchor="ctr">
            <a:normAutofit/>
          </a:bodyPr>
          <a:lstStyle/>
          <a:p>
            <a:pPr>
              <a:spcAft>
                <a:spcPts val="600"/>
              </a:spcAft>
            </a:pPr>
            <a:fld id="{F59CD943-D024-467A-B36E-F11E1285ED75}" type="slidenum">
              <a:rPr lang="en-GB" smtClean="0"/>
              <a:pPr>
                <a:spcAft>
                  <a:spcPts val="600"/>
                </a:spcAft>
              </a:pPr>
              <a:t>4</a:t>
            </a:fld>
            <a:endParaRPr lang="en-GB" dirty="0"/>
          </a:p>
        </p:txBody>
      </p:sp>
      <p:sp>
        <p:nvSpPr>
          <p:cNvPr id="6" name="Title 5">
            <a:extLst>
              <a:ext uri="{FF2B5EF4-FFF2-40B4-BE49-F238E27FC236}">
                <a16:creationId xmlns:a16="http://schemas.microsoft.com/office/drawing/2014/main" id="{99962E10-C3D7-8B1C-3587-7B24A6706E1A}"/>
              </a:ext>
            </a:extLst>
          </p:cNvPr>
          <p:cNvSpPr>
            <a:spLocks noGrp="1"/>
          </p:cNvSpPr>
          <p:nvPr>
            <p:ph type="title"/>
          </p:nvPr>
        </p:nvSpPr>
        <p:spPr>
          <a:xfrm>
            <a:off x="550864" y="368828"/>
            <a:ext cx="10693823" cy="251885"/>
          </a:xfrm>
        </p:spPr>
        <p:txBody>
          <a:bodyPr anchor="t">
            <a:normAutofit/>
          </a:bodyPr>
          <a:lstStyle/>
          <a:p>
            <a:r>
              <a:rPr lang="en-US" sz="1700" dirty="0">
                <a:solidFill>
                  <a:schemeClr val="accent5">
                    <a:lumMod val="75000"/>
                  </a:schemeClr>
                </a:solidFill>
              </a:rPr>
              <a:t>Speakers for today’s webinar</a:t>
            </a:r>
            <a:endParaRPr lang="en-GB" sz="1700" dirty="0">
              <a:solidFill>
                <a:schemeClr val="accent5">
                  <a:lumMod val="75000"/>
                </a:schemeClr>
              </a:solidFill>
            </a:endParaRPr>
          </a:p>
        </p:txBody>
      </p:sp>
      <p:sp>
        <p:nvSpPr>
          <p:cNvPr id="172" name="Text Placeholder 4">
            <a:extLst>
              <a:ext uri="{FF2B5EF4-FFF2-40B4-BE49-F238E27FC236}">
                <a16:creationId xmlns:a16="http://schemas.microsoft.com/office/drawing/2014/main" id="{341DF07F-2E6C-B8B7-A7C6-0DF913592E2E}"/>
              </a:ext>
            </a:extLst>
          </p:cNvPr>
          <p:cNvSpPr>
            <a:spLocks noGrp="1"/>
          </p:cNvSpPr>
          <p:nvPr>
            <p:ph type="body" sz="quarter" idx="13"/>
          </p:nvPr>
        </p:nvSpPr>
        <p:spPr>
          <a:xfrm>
            <a:off x="550864" y="752052"/>
            <a:ext cx="10693823" cy="336973"/>
          </a:xfrm>
        </p:spPr>
        <p:txBody>
          <a:bodyPr/>
          <a:lstStyle/>
          <a:p>
            <a:r>
              <a:rPr lang="en-US" dirty="0">
                <a:solidFill>
                  <a:schemeClr val="accent2">
                    <a:lumMod val="75000"/>
                  </a:schemeClr>
                </a:solidFill>
              </a:rPr>
              <a:t>We have brought specialists to talk about IVDs in APAC today</a:t>
            </a:r>
          </a:p>
        </p:txBody>
      </p:sp>
      <p:pic>
        <p:nvPicPr>
          <p:cNvPr id="11" name="Picture 10" descr="A person in a suit and tie&#10;&#10;Description automatically generated with medium confidence">
            <a:extLst>
              <a:ext uri="{FF2B5EF4-FFF2-40B4-BE49-F238E27FC236}">
                <a16:creationId xmlns:a16="http://schemas.microsoft.com/office/drawing/2014/main" id="{F1D2E1A5-B7CF-A5A3-77FD-B7E3130467A0}"/>
              </a:ext>
            </a:extLst>
          </p:cNvPr>
          <p:cNvPicPr>
            <a:picLocks noChangeAspect="1"/>
          </p:cNvPicPr>
          <p:nvPr/>
        </p:nvPicPr>
        <p:blipFill rotWithShape="1">
          <a:blip r:embed="rId2">
            <a:extLst>
              <a:ext uri="{28A0092B-C50C-407E-A947-70E740481C1C}">
                <a14:useLocalDpi xmlns:a14="http://schemas.microsoft.com/office/drawing/2010/main" val="0"/>
              </a:ext>
            </a:extLst>
          </a:blip>
          <a:srcRect l="13578" r="5286" b="-13"/>
          <a:stretch/>
        </p:blipFill>
        <p:spPr>
          <a:xfrm>
            <a:off x="6437599" y="1286809"/>
            <a:ext cx="1371600" cy="1371600"/>
          </a:xfrm>
          <a:prstGeom prst="ellipse">
            <a:avLst/>
          </a:prstGeom>
          <a:noFill/>
        </p:spPr>
      </p:pic>
      <p:sp>
        <p:nvSpPr>
          <p:cNvPr id="173" name="Text Placeholder 6">
            <a:extLst>
              <a:ext uri="{FF2B5EF4-FFF2-40B4-BE49-F238E27FC236}">
                <a16:creationId xmlns:a16="http://schemas.microsoft.com/office/drawing/2014/main" id="{17CBC730-1F7D-BC4E-615E-36CE3619D5E5}"/>
              </a:ext>
            </a:extLst>
          </p:cNvPr>
          <p:cNvSpPr>
            <a:spLocks noGrp="1"/>
          </p:cNvSpPr>
          <p:nvPr>
            <p:ph type="body" sz="quarter" idx="40"/>
          </p:nvPr>
        </p:nvSpPr>
        <p:spPr>
          <a:xfrm>
            <a:off x="6167437" y="3633852"/>
            <a:ext cx="2268000" cy="1428158"/>
          </a:xfrm>
        </p:spPr>
        <p:txBody>
          <a:bodyPr/>
          <a:lstStyle/>
          <a:p>
            <a:r>
              <a:rPr lang="en-US" dirty="0"/>
              <a:t>Exec board of RAPS</a:t>
            </a:r>
          </a:p>
          <a:p>
            <a:r>
              <a:rPr lang="en-US" dirty="0"/>
              <a:t>Medical device steering committee for MHRA</a:t>
            </a:r>
          </a:p>
          <a:p>
            <a:r>
              <a:rPr lang="en-US" dirty="0"/>
              <a:t>Sam has held multiple roles in regulatory intelligence and strategy across pharma and MedTech companies. </a:t>
            </a:r>
          </a:p>
        </p:txBody>
      </p:sp>
      <p:sp>
        <p:nvSpPr>
          <p:cNvPr id="174" name="Text Placeholder 7">
            <a:extLst>
              <a:ext uri="{FF2B5EF4-FFF2-40B4-BE49-F238E27FC236}">
                <a16:creationId xmlns:a16="http://schemas.microsoft.com/office/drawing/2014/main" id="{5B3E8D62-F13F-DC10-82E2-C29450409681}"/>
              </a:ext>
            </a:extLst>
          </p:cNvPr>
          <p:cNvSpPr>
            <a:spLocks noGrp="1"/>
          </p:cNvSpPr>
          <p:nvPr>
            <p:ph type="body" sz="quarter" idx="41"/>
          </p:nvPr>
        </p:nvSpPr>
        <p:spPr>
          <a:xfrm>
            <a:off x="6167437" y="2826886"/>
            <a:ext cx="2268000" cy="270168"/>
          </a:xfrm>
        </p:spPr>
        <p:txBody>
          <a:bodyPr/>
          <a:lstStyle/>
          <a:p>
            <a:r>
              <a:rPr lang="en-US" dirty="0">
                <a:solidFill>
                  <a:schemeClr val="accent5">
                    <a:lumMod val="75000"/>
                  </a:schemeClr>
                </a:solidFill>
              </a:rPr>
              <a:t>Mr. Sam Kay</a:t>
            </a:r>
          </a:p>
        </p:txBody>
      </p:sp>
      <p:sp>
        <p:nvSpPr>
          <p:cNvPr id="176" name="Text Placeholder 9">
            <a:extLst>
              <a:ext uri="{FF2B5EF4-FFF2-40B4-BE49-F238E27FC236}">
                <a16:creationId xmlns:a16="http://schemas.microsoft.com/office/drawing/2014/main" id="{488C7702-7A1E-CA02-8835-746226D20382}"/>
              </a:ext>
            </a:extLst>
          </p:cNvPr>
          <p:cNvSpPr>
            <a:spLocks noGrp="1"/>
          </p:cNvSpPr>
          <p:nvPr>
            <p:ph type="body" sz="quarter" idx="44"/>
          </p:nvPr>
        </p:nvSpPr>
        <p:spPr>
          <a:xfrm>
            <a:off x="8961613" y="3630559"/>
            <a:ext cx="2351715" cy="1116864"/>
          </a:xfrm>
        </p:spPr>
        <p:txBody>
          <a:bodyPr/>
          <a:lstStyle/>
          <a:p>
            <a:r>
              <a:rPr lang="en-US" dirty="0"/>
              <a:t>Thought leader in the medical devices space</a:t>
            </a:r>
          </a:p>
          <a:p>
            <a:r>
              <a:rPr lang="en-US" dirty="0"/>
              <a:t>Expertise in market landscaping, brand tracking, and commercial targeting in the space</a:t>
            </a:r>
          </a:p>
        </p:txBody>
      </p:sp>
      <p:sp>
        <p:nvSpPr>
          <p:cNvPr id="189" name="Text Placeholder 22">
            <a:extLst>
              <a:ext uri="{FF2B5EF4-FFF2-40B4-BE49-F238E27FC236}">
                <a16:creationId xmlns:a16="http://schemas.microsoft.com/office/drawing/2014/main" id="{DD5DEE5D-99F0-AF28-2C3C-B28B841A5D2B}"/>
              </a:ext>
            </a:extLst>
          </p:cNvPr>
          <p:cNvSpPr>
            <a:spLocks noGrp="1"/>
          </p:cNvSpPr>
          <p:nvPr>
            <p:ph type="body" sz="quarter" idx="59"/>
          </p:nvPr>
        </p:nvSpPr>
        <p:spPr>
          <a:xfrm>
            <a:off x="6167437" y="3207949"/>
            <a:ext cx="2268000" cy="243704"/>
          </a:xfrm>
        </p:spPr>
        <p:txBody>
          <a:bodyPr/>
          <a:lstStyle/>
          <a:p>
            <a:r>
              <a:rPr lang="en-US" dirty="0"/>
              <a:t>Principle Regulatory Consultant</a:t>
            </a:r>
          </a:p>
        </p:txBody>
      </p:sp>
      <p:sp>
        <p:nvSpPr>
          <p:cNvPr id="190" name="Text Placeholder 23">
            <a:extLst>
              <a:ext uri="{FF2B5EF4-FFF2-40B4-BE49-F238E27FC236}">
                <a16:creationId xmlns:a16="http://schemas.microsoft.com/office/drawing/2014/main" id="{B3467FCD-DBD7-296A-0280-D38831EA4E36}"/>
              </a:ext>
            </a:extLst>
          </p:cNvPr>
          <p:cNvSpPr>
            <a:spLocks noGrp="1"/>
          </p:cNvSpPr>
          <p:nvPr>
            <p:ph type="body" sz="quarter" idx="60"/>
          </p:nvPr>
        </p:nvSpPr>
        <p:spPr>
          <a:xfrm>
            <a:off x="8961613" y="3207949"/>
            <a:ext cx="2268000" cy="243704"/>
          </a:xfrm>
        </p:spPr>
        <p:txBody>
          <a:bodyPr/>
          <a:lstStyle/>
          <a:p>
            <a:r>
              <a:rPr lang="en-US" dirty="0"/>
              <a:t>Lead Healthcare &amp; Research Analyst</a:t>
            </a:r>
          </a:p>
        </p:txBody>
      </p:sp>
      <p:pic>
        <p:nvPicPr>
          <p:cNvPr id="5" name="Picture Placeholder 4">
            <a:extLst>
              <a:ext uri="{FF2B5EF4-FFF2-40B4-BE49-F238E27FC236}">
                <a16:creationId xmlns:a16="http://schemas.microsoft.com/office/drawing/2014/main" id="{59F9CE15-FC93-49BE-801A-3D407AAB11C2}"/>
              </a:ext>
            </a:extLst>
          </p:cNvPr>
          <p:cNvPicPr>
            <a:picLocks noGrp="1" noChangeAspect="1"/>
          </p:cNvPicPr>
          <p:nvPr>
            <p:ph type="pic" sz="quarter" idx="42"/>
          </p:nvPr>
        </p:nvPicPr>
        <p:blipFill>
          <a:blip r:embed="rId3">
            <a:extLst>
              <a:ext uri="{28A0092B-C50C-407E-A947-70E740481C1C}">
                <a14:useLocalDpi xmlns:a14="http://schemas.microsoft.com/office/drawing/2010/main" val="0"/>
              </a:ext>
            </a:extLst>
          </a:blip>
          <a:srcRect/>
          <a:stretch/>
        </p:blipFill>
        <p:spPr>
          <a:xfrm>
            <a:off x="9224579" y="1244184"/>
            <a:ext cx="1371600" cy="1384315"/>
          </a:xfrm>
        </p:spPr>
      </p:pic>
      <p:sp>
        <p:nvSpPr>
          <p:cNvPr id="18" name="Text Placeholder 17">
            <a:extLst>
              <a:ext uri="{FF2B5EF4-FFF2-40B4-BE49-F238E27FC236}">
                <a16:creationId xmlns:a16="http://schemas.microsoft.com/office/drawing/2014/main" id="{FA2AC2CC-1AC8-C9C9-B92A-A7A425725E36}"/>
              </a:ext>
            </a:extLst>
          </p:cNvPr>
          <p:cNvSpPr>
            <a:spLocks noGrp="1"/>
          </p:cNvSpPr>
          <p:nvPr>
            <p:ph type="body" sz="quarter" idx="45"/>
          </p:nvPr>
        </p:nvSpPr>
        <p:spPr>
          <a:xfrm>
            <a:off x="8981446" y="2826886"/>
            <a:ext cx="2268000" cy="270168"/>
          </a:xfrm>
        </p:spPr>
        <p:txBody>
          <a:bodyPr vert="horz" lIns="0" tIns="0" rIns="0" bIns="0" rtlCol="0" anchor="b" anchorCtr="0">
            <a:noAutofit/>
          </a:bodyPr>
          <a:lstStyle/>
          <a:p>
            <a:r>
              <a:rPr lang="en-GB" dirty="0">
                <a:solidFill>
                  <a:schemeClr val="accent5">
                    <a:lumMod val="75000"/>
                  </a:schemeClr>
                </a:solidFill>
              </a:rPr>
              <a:t>Mr. Raghav Tangri</a:t>
            </a:r>
          </a:p>
        </p:txBody>
      </p:sp>
      <p:sp>
        <p:nvSpPr>
          <p:cNvPr id="30" name="Text Placeholder 12">
            <a:extLst>
              <a:ext uri="{FF2B5EF4-FFF2-40B4-BE49-F238E27FC236}">
                <a16:creationId xmlns:a16="http://schemas.microsoft.com/office/drawing/2014/main" id="{40B24F5A-7AA9-46C4-9045-6C6700754969}"/>
              </a:ext>
            </a:extLst>
          </p:cNvPr>
          <p:cNvSpPr>
            <a:spLocks noGrp="1"/>
          </p:cNvSpPr>
          <p:nvPr>
            <p:ph type="body" sz="quarter" idx="47"/>
          </p:nvPr>
        </p:nvSpPr>
        <p:spPr>
          <a:xfrm>
            <a:off x="550863" y="3633852"/>
            <a:ext cx="2268000" cy="1436074"/>
          </a:xfrm>
        </p:spPr>
        <p:txBody>
          <a:bodyPr/>
          <a:lstStyle/>
          <a:p>
            <a:r>
              <a:rPr lang="en-US" dirty="0"/>
              <a:t>Yasha has extensive experiences in health policy, and she is passionate about advocating for regulatory science as well as enhancing holistic capacity building for regulatory professionals. </a:t>
            </a:r>
          </a:p>
          <a:p>
            <a:r>
              <a:rPr lang="en-US" dirty="0"/>
              <a:t>Prior to Roche, Yasha was most recently the Regulatory Affairs Director at APACMed.</a:t>
            </a:r>
          </a:p>
        </p:txBody>
      </p:sp>
      <p:sp>
        <p:nvSpPr>
          <p:cNvPr id="31" name="Text Placeholder 13">
            <a:extLst>
              <a:ext uri="{FF2B5EF4-FFF2-40B4-BE49-F238E27FC236}">
                <a16:creationId xmlns:a16="http://schemas.microsoft.com/office/drawing/2014/main" id="{ED3DDC9C-CFFC-43C4-9AC2-D6BE1D949C2E}"/>
              </a:ext>
            </a:extLst>
          </p:cNvPr>
          <p:cNvSpPr>
            <a:spLocks noGrp="1"/>
          </p:cNvSpPr>
          <p:nvPr>
            <p:ph type="body" sz="quarter" idx="48"/>
          </p:nvPr>
        </p:nvSpPr>
        <p:spPr>
          <a:xfrm>
            <a:off x="634854" y="2826886"/>
            <a:ext cx="2268000" cy="270168"/>
          </a:xfrm>
        </p:spPr>
        <p:txBody>
          <a:bodyPr/>
          <a:lstStyle/>
          <a:p>
            <a:r>
              <a:rPr lang="en-US" dirty="0">
                <a:solidFill>
                  <a:schemeClr val="accent5">
                    <a:lumMod val="75000"/>
                  </a:schemeClr>
                </a:solidFill>
              </a:rPr>
              <a:t> Ms. Yasha Huang</a:t>
            </a:r>
          </a:p>
        </p:txBody>
      </p:sp>
      <p:sp>
        <p:nvSpPr>
          <p:cNvPr id="32" name="Text Placeholder 15">
            <a:extLst>
              <a:ext uri="{FF2B5EF4-FFF2-40B4-BE49-F238E27FC236}">
                <a16:creationId xmlns:a16="http://schemas.microsoft.com/office/drawing/2014/main" id="{7FF98F6A-B54E-481F-847C-9E8F4D4DA8FE}"/>
              </a:ext>
            </a:extLst>
          </p:cNvPr>
          <p:cNvSpPr>
            <a:spLocks noGrp="1"/>
          </p:cNvSpPr>
          <p:nvPr>
            <p:ph type="body" sz="quarter" idx="50"/>
          </p:nvPr>
        </p:nvSpPr>
        <p:spPr>
          <a:xfrm>
            <a:off x="3443142" y="2826886"/>
            <a:ext cx="2268000" cy="270168"/>
          </a:xfrm>
        </p:spPr>
        <p:txBody>
          <a:bodyPr/>
          <a:lstStyle/>
          <a:p>
            <a:r>
              <a:rPr lang="en-US" dirty="0">
                <a:solidFill>
                  <a:schemeClr val="accent5">
                    <a:lumMod val="75000"/>
                  </a:schemeClr>
                </a:solidFill>
              </a:rPr>
              <a:t>Mr. Victor Tan</a:t>
            </a:r>
          </a:p>
        </p:txBody>
      </p:sp>
      <p:sp>
        <p:nvSpPr>
          <p:cNvPr id="33" name="Text Placeholder 24">
            <a:extLst>
              <a:ext uri="{FF2B5EF4-FFF2-40B4-BE49-F238E27FC236}">
                <a16:creationId xmlns:a16="http://schemas.microsoft.com/office/drawing/2014/main" id="{C6248010-B8D4-4CF1-ABBC-798958452004}"/>
              </a:ext>
            </a:extLst>
          </p:cNvPr>
          <p:cNvSpPr txBox="1">
            <a:spLocks/>
          </p:cNvSpPr>
          <p:nvPr/>
        </p:nvSpPr>
        <p:spPr>
          <a:xfrm>
            <a:off x="550862" y="3286688"/>
            <a:ext cx="2268000" cy="243704"/>
          </a:xfrm>
          <a:prstGeom prst="rect">
            <a:avLst/>
          </a:prstGeom>
        </p:spPr>
        <p:txBody>
          <a:bodyPr vert="horz" lIns="0" tIns="0" rIns="0" bIns="0" rtlCol="0" anchor="b" anchorCtr="0">
            <a:noAutofit/>
          </a:bodyPr>
          <a:lstStyle>
            <a:lvl1pPr marL="0" indent="0" algn="l" defTabSz="914400" rtl="0" eaLnBrk="1" latinLnBrk="0" hangingPunct="1">
              <a:lnSpc>
                <a:spcPct val="85000"/>
              </a:lnSpc>
              <a:spcBef>
                <a:spcPts val="900"/>
              </a:spcBef>
              <a:buFont typeface="Arial" panose="020B0604020202020204" pitchFamily="34" charset="0"/>
              <a:buNone/>
              <a:defRPr sz="1200" kern="1200">
                <a:solidFill>
                  <a:schemeClr val="tx1"/>
                </a:solidFill>
                <a:latin typeface="+mj-lt"/>
                <a:ea typeface="+mn-ea"/>
                <a:cs typeface="+mn-cs"/>
              </a:defRPr>
            </a:lvl1pPr>
            <a:lvl2pPr marL="180000" indent="0" algn="ctr" defTabSz="914400" rtl="0" eaLnBrk="1" latinLnBrk="0" hangingPunct="1">
              <a:lnSpc>
                <a:spcPct val="100000"/>
              </a:lnSpc>
              <a:spcBef>
                <a:spcPts val="900"/>
              </a:spcBef>
              <a:buFont typeface="Arial" panose="020B0604020202020204" pitchFamily="34" charset="0"/>
              <a:buNone/>
              <a:defRPr sz="1800" kern="1200">
                <a:solidFill>
                  <a:schemeClr val="bg1"/>
                </a:solidFill>
                <a:latin typeface="+mn-lt"/>
                <a:ea typeface="+mn-ea"/>
                <a:cs typeface="+mn-cs"/>
              </a:defRPr>
            </a:lvl2pPr>
            <a:lvl3pPr marL="360000" indent="0" algn="ctr" defTabSz="914400" rtl="0" eaLnBrk="1" latinLnBrk="0" hangingPunct="1">
              <a:lnSpc>
                <a:spcPct val="100000"/>
              </a:lnSpc>
              <a:spcBef>
                <a:spcPts val="900"/>
              </a:spcBef>
              <a:buFont typeface="Wingdings" panose="05000000000000000000" pitchFamily="2" charset="2"/>
              <a:buNone/>
              <a:defRPr sz="1800" kern="1200">
                <a:solidFill>
                  <a:schemeClr val="bg1"/>
                </a:solidFill>
                <a:latin typeface="+mn-lt"/>
                <a:ea typeface="+mn-ea"/>
                <a:cs typeface="+mn-cs"/>
              </a:defRPr>
            </a:lvl3pPr>
            <a:lvl4pPr marL="0" indent="0" algn="ctr" defTabSz="914400" rtl="0" eaLnBrk="1" latinLnBrk="0" hangingPunct="1">
              <a:lnSpc>
                <a:spcPct val="100000"/>
              </a:lnSpc>
              <a:spcBef>
                <a:spcPts val="900"/>
              </a:spcBef>
              <a:buClr>
                <a:schemeClr val="tx1"/>
              </a:buClr>
              <a:buFont typeface="Courier New" panose="02070309020205020404" pitchFamily="49" charset="0"/>
              <a:buNone/>
              <a:defRPr sz="1800" kern="1200">
                <a:solidFill>
                  <a:schemeClr val="bg1"/>
                </a:solidFill>
                <a:latin typeface="+mn-lt"/>
                <a:ea typeface="+mn-ea"/>
                <a:cs typeface="+mn-cs"/>
              </a:defRPr>
            </a:lvl4pPr>
            <a:lvl5pPr marL="180000" indent="0" algn="ctr" defTabSz="914400" rtl="0" eaLnBrk="1" latinLnBrk="0" hangingPunct="1">
              <a:lnSpc>
                <a:spcPct val="100000"/>
              </a:lnSpc>
              <a:spcBef>
                <a:spcPts val="900"/>
              </a:spcBef>
              <a:buClr>
                <a:schemeClr val="tx1"/>
              </a:buClr>
              <a:buFont typeface="Avenir Next LT Pro" panose="020B0504020202020204" pitchFamily="34" charset="0"/>
              <a:buNone/>
              <a:defRPr sz="1800" kern="1200">
                <a:solidFill>
                  <a:schemeClr val="bg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Head Regulatory Policy (APAC), Roche Diagnostics</a:t>
            </a:r>
          </a:p>
        </p:txBody>
      </p:sp>
      <p:sp>
        <p:nvSpPr>
          <p:cNvPr id="34" name="Text Placeholder 25">
            <a:extLst>
              <a:ext uri="{FF2B5EF4-FFF2-40B4-BE49-F238E27FC236}">
                <a16:creationId xmlns:a16="http://schemas.microsoft.com/office/drawing/2014/main" id="{FE4FBA84-D388-44B0-AD26-00D6CA9F770F}"/>
              </a:ext>
            </a:extLst>
          </p:cNvPr>
          <p:cNvSpPr txBox="1">
            <a:spLocks/>
          </p:cNvSpPr>
          <p:nvPr/>
        </p:nvSpPr>
        <p:spPr>
          <a:xfrm>
            <a:off x="3359150" y="3286688"/>
            <a:ext cx="2268000" cy="243704"/>
          </a:xfrm>
          <a:prstGeom prst="rect">
            <a:avLst/>
          </a:prstGeom>
        </p:spPr>
        <p:txBody>
          <a:bodyPr vert="horz" lIns="0" tIns="0" rIns="0" bIns="0" rtlCol="0" anchor="b" anchorCtr="0">
            <a:noAutofit/>
          </a:bodyPr>
          <a:lstStyle>
            <a:lvl1pPr marL="0" indent="0" algn="l" defTabSz="914400" rtl="0" eaLnBrk="1" latinLnBrk="0" hangingPunct="1">
              <a:lnSpc>
                <a:spcPct val="85000"/>
              </a:lnSpc>
              <a:spcBef>
                <a:spcPts val="900"/>
              </a:spcBef>
              <a:buFont typeface="Arial" panose="020B0604020202020204" pitchFamily="34" charset="0"/>
              <a:buNone/>
              <a:defRPr sz="1200" kern="1200">
                <a:solidFill>
                  <a:schemeClr val="tx1"/>
                </a:solidFill>
                <a:latin typeface="+mj-lt"/>
                <a:ea typeface="+mn-ea"/>
                <a:cs typeface="+mn-cs"/>
              </a:defRPr>
            </a:lvl1pPr>
            <a:lvl2pPr marL="180000" indent="0" algn="ctr" defTabSz="914400" rtl="0" eaLnBrk="1" latinLnBrk="0" hangingPunct="1">
              <a:lnSpc>
                <a:spcPct val="100000"/>
              </a:lnSpc>
              <a:spcBef>
                <a:spcPts val="900"/>
              </a:spcBef>
              <a:buFont typeface="Arial" panose="020B0604020202020204" pitchFamily="34" charset="0"/>
              <a:buNone/>
              <a:defRPr sz="1800" kern="1200">
                <a:solidFill>
                  <a:schemeClr val="bg1"/>
                </a:solidFill>
                <a:latin typeface="+mn-lt"/>
                <a:ea typeface="+mn-ea"/>
                <a:cs typeface="+mn-cs"/>
              </a:defRPr>
            </a:lvl2pPr>
            <a:lvl3pPr marL="360000" indent="0" algn="ctr" defTabSz="914400" rtl="0" eaLnBrk="1" latinLnBrk="0" hangingPunct="1">
              <a:lnSpc>
                <a:spcPct val="100000"/>
              </a:lnSpc>
              <a:spcBef>
                <a:spcPts val="900"/>
              </a:spcBef>
              <a:buFont typeface="Wingdings" panose="05000000000000000000" pitchFamily="2" charset="2"/>
              <a:buNone/>
              <a:defRPr sz="1800" kern="1200">
                <a:solidFill>
                  <a:schemeClr val="bg1"/>
                </a:solidFill>
                <a:latin typeface="+mn-lt"/>
                <a:ea typeface="+mn-ea"/>
                <a:cs typeface="+mn-cs"/>
              </a:defRPr>
            </a:lvl3pPr>
            <a:lvl4pPr marL="0" indent="0" algn="ctr" defTabSz="914400" rtl="0" eaLnBrk="1" latinLnBrk="0" hangingPunct="1">
              <a:lnSpc>
                <a:spcPct val="100000"/>
              </a:lnSpc>
              <a:spcBef>
                <a:spcPts val="900"/>
              </a:spcBef>
              <a:buClr>
                <a:schemeClr val="tx1"/>
              </a:buClr>
              <a:buFont typeface="Courier New" panose="02070309020205020404" pitchFamily="49" charset="0"/>
              <a:buNone/>
              <a:defRPr sz="1800" kern="1200">
                <a:solidFill>
                  <a:schemeClr val="bg1"/>
                </a:solidFill>
                <a:latin typeface="+mn-lt"/>
                <a:ea typeface="+mn-ea"/>
                <a:cs typeface="+mn-cs"/>
              </a:defRPr>
            </a:lvl4pPr>
            <a:lvl5pPr marL="180000" indent="0" algn="ctr" defTabSz="914400" rtl="0" eaLnBrk="1" latinLnBrk="0" hangingPunct="1">
              <a:lnSpc>
                <a:spcPct val="100000"/>
              </a:lnSpc>
              <a:spcBef>
                <a:spcPts val="900"/>
              </a:spcBef>
              <a:buClr>
                <a:schemeClr val="tx1"/>
              </a:buClr>
              <a:buFont typeface="Avenir Next LT Pro" panose="020B0504020202020204" pitchFamily="34" charset="0"/>
              <a:buNone/>
              <a:defRPr sz="1800" kern="1200">
                <a:solidFill>
                  <a:schemeClr val="bg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QA &amp; RA Manager - ASEAN, Ortho Clinical Diagnostics​</a:t>
            </a:r>
          </a:p>
        </p:txBody>
      </p:sp>
      <p:sp>
        <p:nvSpPr>
          <p:cNvPr id="35" name="Text Placeholder 28">
            <a:extLst>
              <a:ext uri="{FF2B5EF4-FFF2-40B4-BE49-F238E27FC236}">
                <a16:creationId xmlns:a16="http://schemas.microsoft.com/office/drawing/2014/main" id="{7BB6A7DF-7DE8-43DF-9BA0-F7C593F37B0A}"/>
              </a:ext>
            </a:extLst>
          </p:cNvPr>
          <p:cNvSpPr txBox="1">
            <a:spLocks/>
          </p:cNvSpPr>
          <p:nvPr/>
        </p:nvSpPr>
        <p:spPr>
          <a:xfrm>
            <a:off x="3359150" y="3633852"/>
            <a:ext cx="2268000" cy="1436074"/>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1pPr>
            <a:lvl2pPr marL="288000" indent="-144000" algn="l" defTabSz="914400"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2pPr>
            <a:lvl3pPr marL="432000" indent="-144000" algn="l" defTabSz="914400" rtl="0" eaLnBrk="1" latinLnBrk="0" hangingPunct="1">
              <a:lnSpc>
                <a:spcPct val="100000"/>
              </a:lnSpc>
              <a:spcBef>
                <a:spcPts val="600"/>
              </a:spcBef>
              <a:buFont typeface="Wingdings" panose="05000000000000000000" pitchFamily="2" charset="2"/>
              <a:buChar char="§"/>
              <a:defRPr sz="1200" kern="1200">
                <a:solidFill>
                  <a:schemeClr val="tx1"/>
                </a:solidFill>
                <a:latin typeface="+mn-lt"/>
                <a:ea typeface="+mn-ea"/>
                <a:cs typeface="+mn-cs"/>
              </a:defRPr>
            </a:lvl3pPr>
            <a:lvl4pPr marL="576000" indent="-144000" algn="l" defTabSz="914400" rtl="0" eaLnBrk="1" latinLnBrk="0" hangingPunct="1">
              <a:lnSpc>
                <a:spcPct val="100000"/>
              </a:lnSpc>
              <a:spcBef>
                <a:spcPts val="600"/>
              </a:spcBef>
              <a:buClr>
                <a:schemeClr val="accent1"/>
              </a:buClr>
              <a:buFont typeface="Courier New" panose="02070309020205020404" pitchFamily="49" charset="0"/>
              <a:buChar char="o"/>
              <a:defRPr sz="1200" kern="1200">
                <a:solidFill>
                  <a:schemeClr val="tx1"/>
                </a:solidFill>
                <a:latin typeface="+mn-lt"/>
                <a:ea typeface="+mn-ea"/>
                <a:cs typeface="+mn-cs"/>
              </a:defRPr>
            </a:lvl4pPr>
            <a:lvl5pPr marL="720000" indent="-144000" algn="l" defTabSz="914400" rtl="0" eaLnBrk="1" latinLnBrk="0" hangingPunct="1">
              <a:lnSpc>
                <a:spcPct val="100000"/>
              </a:lnSpc>
              <a:spcBef>
                <a:spcPts val="600"/>
              </a:spcBef>
              <a:buClr>
                <a:schemeClr val="accent1"/>
              </a:buClr>
              <a:buFont typeface="Avenir Next LT Pro" panose="020B0504020202020204" pitchFamily="34" charset="0"/>
              <a:buChar char="–"/>
              <a:defRPr sz="1200" kern="1200">
                <a:solidFill>
                  <a:schemeClr val="tx1"/>
                </a:solidFill>
                <a:latin typeface="+mn-lt"/>
                <a:ea typeface="+mn-ea"/>
                <a:cs typeface="+mn-cs"/>
              </a:defRPr>
            </a:lvl5pPr>
            <a:lvl6pPr marL="720000" indent="-1800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ictor is a QARA Professional with more than 10 years of experience in managing quality and regulatory affairs in the Medical Devices / In Vitro Diagnostics (IVD) space.</a:t>
            </a:r>
          </a:p>
          <a:p>
            <a:r>
              <a:rPr lang="en-US" dirty="0"/>
              <a:t>He is also serving as the Management Representative for the company's ISO13485:2016 certification in Singapore.  </a:t>
            </a:r>
            <a:br>
              <a:rPr lang="en-US" dirty="0"/>
            </a:br>
            <a:endParaRPr lang="en-US" dirty="0"/>
          </a:p>
        </p:txBody>
      </p:sp>
      <p:pic>
        <p:nvPicPr>
          <p:cNvPr id="36" name="Picture Placeholder 9">
            <a:extLst>
              <a:ext uri="{FF2B5EF4-FFF2-40B4-BE49-F238E27FC236}">
                <a16:creationId xmlns:a16="http://schemas.microsoft.com/office/drawing/2014/main" id="{92E90571-BABA-4C49-8E0F-E43AD97FB861}"/>
              </a:ext>
            </a:extLst>
          </p:cNvPr>
          <p:cNvPicPr>
            <a:picLocks noChangeAspect="1"/>
          </p:cNvPicPr>
          <p:nvPr/>
        </p:nvPicPr>
        <p:blipFill>
          <a:blip r:embed="rId4" cstate="hqprint">
            <a:extLst>
              <a:ext uri="{28A0092B-C50C-407E-A947-70E740481C1C}">
                <a14:useLocalDpi xmlns:a14="http://schemas.microsoft.com/office/drawing/2010/main" val="0"/>
              </a:ext>
            </a:extLst>
          </a:blip>
          <a:srcRect l="2857" r="2857"/>
          <a:stretch>
            <a:fillRect/>
          </a:stretch>
        </p:blipFill>
        <p:spPr>
          <a:xfrm>
            <a:off x="805695" y="1244476"/>
            <a:ext cx="1371600" cy="1371600"/>
          </a:xfrm>
          <a:prstGeom prst="ellipse">
            <a:avLst/>
          </a:prstGeom>
          <a:solidFill>
            <a:schemeClr val="bg1">
              <a:lumMod val="95000"/>
            </a:schemeClr>
          </a:solidFill>
        </p:spPr>
      </p:pic>
      <p:pic>
        <p:nvPicPr>
          <p:cNvPr id="37" name="Picture Placeholder 7">
            <a:extLst>
              <a:ext uri="{FF2B5EF4-FFF2-40B4-BE49-F238E27FC236}">
                <a16:creationId xmlns:a16="http://schemas.microsoft.com/office/drawing/2014/main" id="{85D46137-E3DB-4255-9359-C2B69D6223FD}"/>
              </a:ext>
            </a:extLst>
          </p:cNvPr>
          <p:cNvPicPr>
            <a:picLocks noChangeAspect="1"/>
          </p:cNvPicPr>
          <p:nvPr/>
        </p:nvPicPr>
        <p:blipFill>
          <a:blip r:embed="rId5" cstate="hqprint">
            <a:extLst>
              <a:ext uri="{28A0092B-C50C-407E-A947-70E740481C1C}">
                <a14:useLocalDpi xmlns:a14="http://schemas.microsoft.com/office/drawing/2010/main" val="0"/>
              </a:ext>
            </a:extLst>
          </a:blip>
          <a:srcRect t="57" b="57"/>
          <a:stretch>
            <a:fillRect/>
          </a:stretch>
        </p:blipFill>
        <p:spPr>
          <a:xfrm>
            <a:off x="3621647" y="1244476"/>
            <a:ext cx="1371600" cy="1371600"/>
          </a:xfrm>
          <a:prstGeom prst="ellipse">
            <a:avLst/>
          </a:prstGeom>
          <a:solidFill>
            <a:schemeClr val="bg1">
              <a:lumMod val="95000"/>
            </a:schemeClr>
          </a:solidFill>
        </p:spPr>
      </p:pic>
      <p:cxnSp>
        <p:nvCxnSpPr>
          <p:cNvPr id="8" name="Straight Connector 7">
            <a:extLst>
              <a:ext uri="{FF2B5EF4-FFF2-40B4-BE49-F238E27FC236}">
                <a16:creationId xmlns:a16="http://schemas.microsoft.com/office/drawing/2014/main" id="{F6EB2DC0-E2CE-46D8-A498-690EE802C8E7}"/>
              </a:ext>
            </a:extLst>
          </p:cNvPr>
          <p:cNvCxnSpPr>
            <a:cxnSpLocks/>
          </p:cNvCxnSpPr>
          <p:nvPr/>
        </p:nvCxnSpPr>
        <p:spPr>
          <a:xfrm>
            <a:off x="11421707" y="6357780"/>
            <a:ext cx="0" cy="19796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ooter Placeholder 1">
            <a:extLst>
              <a:ext uri="{FF2B5EF4-FFF2-40B4-BE49-F238E27FC236}">
                <a16:creationId xmlns:a16="http://schemas.microsoft.com/office/drawing/2014/main" id="{940C4DF4-EB60-44A3-A1BD-37A5330B754F}"/>
              </a:ext>
            </a:extLst>
          </p:cNvPr>
          <p:cNvSpPr txBox="1">
            <a:spLocks/>
          </p:cNvSpPr>
          <p:nvPr/>
        </p:nvSpPr>
        <p:spPr>
          <a:xfrm>
            <a:off x="8129234" y="6357780"/>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dirty="0">
                <a:solidFill>
                  <a:prstClr val="black"/>
                </a:solidFill>
              </a:rPr>
              <a:t>The Evolving Regulatory Landscape for IVD in APAC</a:t>
            </a:r>
          </a:p>
        </p:txBody>
      </p:sp>
    </p:spTree>
    <p:extLst>
      <p:ext uri="{BB962C8B-B14F-4D97-AF65-F5344CB8AC3E}">
        <p14:creationId xmlns:p14="http://schemas.microsoft.com/office/powerpoint/2010/main" val="32873102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F780E0-F5E5-4B53-84D4-76A0D769527C}"/>
              </a:ext>
            </a:extLst>
          </p:cNvPr>
          <p:cNvSpPr>
            <a:spLocks noGrp="1"/>
          </p:cNvSpPr>
          <p:nvPr>
            <p:ph type="body" sz="quarter" idx="21"/>
          </p:nvPr>
        </p:nvSpPr>
        <p:spPr>
          <a:xfrm>
            <a:off x="550864" y="908939"/>
            <a:ext cx="3015296" cy="879221"/>
          </a:xfrm>
        </p:spPr>
        <p:txBody>
          <a:bodyPr/>
          <a:lstStyle/>
          <a:p>
            <a:r>
              <a:rPr lang="en-US" sz="4800" dirty="0"/>
              <a:t>Topics</a:t>
            </a:r>
          </a:p>
        </p:txBody>
      </p:sp>
      <p:sp>
        <p:nvSpPr>
          <p:cNvPr id="3" name="Text Placeholder 2">
            <a:extLst>
              <a:ext uri="{FF2B5EF4-FFF2-40B4-BE49-F238E27FC236}">
                <a16:creationId xmlns:a16="http://schemas.microsoft.com/office/drawing/2014/main" id="{B344088B-167C-4473-B4E4-85BF9D7E4764}"/>
              </a:ext>
            </a:extLst>
          </p:cNvPr>
          <p:cNvSpPr>
            <a:spLocks noGrp="1"/>
          </p:cNvSpPr>
          <p:nvPr>
            <p:ph type="body" sz="quarter" idx="13"/>
          </p:nvPr>
        </p:nvSpPr>
        <p:spPr>
          <a:xfrm>
            <a:off x="2230120" y="1580814"/>
            <a:ext cx="7731760" cy="3696372"/>
          </a:xfrm>
        </p:spPr>
        <p:txBody>
          <a:bodyPr/>
          <a:lstStyle/>
          <a:p>
            <a:pPr marL="342900" indent="-342900">
              <a:buFont typeface="Arial" panose="020B0604020202020204" pitchFamily="34" charset="0"/>
              <a:buChar char="•"/>
            </a:pPr>
            <a:r>
              <a:rPr lang="en-US" sz="2400" dirty="0"/>
              <a:t>EUIVDR and its Impact on APAC market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How regulations drive innovation and product development</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Connectivity, integrity, and data in the IVD industry</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he role of AI in the IVD space</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p:txBody>
      </p:sp>
      <p:sp>
        <p:nvSpPr>
          <p:cNvPr id="27" name="Slide Number Placeholder 2">
            <a:extLst>
              <a:ext uri="{FF2B5EF4-FFF2-40B4-BE49-F238E27FC236}">
                <a16:creationId xmlns:a16="http://schemas.microsoft.com/office/drawing/2014/main" id="{4690C715-B794-44AC-B0D6-52D1A83D9AF8}"/>
              </a:ext>
            </a:extLst>
          </p:cNvPr>
          <p:cNvSpPr txBox="1">
            <a:spLocks/>
          </p:cNvSpPr>
          <p:nvPr/>
        </p:nvSpPr>
        <p:spPr>
          <a:xfrm>
            <a:off x="11506200" y="6348353"/>
            <a:ext cx="216000" cy="215900"/>
          </a:xfrm>
          <a:prstGeom prst="rect">
            <a:avLst/>
          </a:prstGeom>
        </p:spPr>
        <p:txBody>
          <a:bodyPr anchor="ctr">
            <a:normAutofit fontScale="5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F59CD943-D024-467A-B36E-F11E1285ED75}" type="slidenum">
              <a:rPr lang="en-GB" smtClean="0">
                <a:solidFill>
                  <a:schemeClr val="accent1"/>
                </a:solidFill>
              </a:rPr>
              <a:pPr>
                <a:spcAft>
                  <a:spcPts val="600"/>
                </a:spcAft>
              </a:pPr>
              <a:t>5</a:t>
            </a:fld>
            <a:endParaRPr lang="en-GB" dirty="0">
              <a:solidFill>
                <a:schemeClr val="accent1"/>
              </a:solidFill>
            </a:endParaRPr>
          </a:p>
        </p:txBody>
      </p:sp>
      <p:sp>
        <p:nvSpPr>
          <p:cNvPr id="28" name="Footer Placeholder 1">
            <a:extLst>
              <a:ext uri="{FF2B5EF4-FFF2-40B4-BE49-F238E27FC236}">
                <a16:creationId xmlns:a16="http://schemas.microsoft.com/office/drawing/2014/main" id="{1050FCE3-D06A-4EDF-99E3-0B79827B3A12}"/>
              </a:ext>
            </a:extLst>
          </p:cNvPr>
          <p:cNvSpPr txBox="1">
            <a:spLocks/>
          </p:cNvSpPr>
          <p:nvPr/>
        </p:nvSpPr>
        <p:spPr>
          <a:xfrm>
            <a:off x="8129234" y="6326385"/>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dirty="0">
                <a:solidFill>
                  <a:schemeClr val="accent1"/>
                </a:solidFill>
              </a:rPr>
              <a:t>The Evolving Regulatory Landscape for IVD in APAC</a:t>
            </a:r>
          </a:p>
        </p:txBody>
      </p:sp>
    </p:spTree>
    <p:extLst>
      <p:ext uri="{BB962C8B-B14F-4D97-AF65-F5344CB8AC3E}">
        <p14:creationId xmlns:p14="http://schemas.microsoft.com/office/powerpoint/2010/main" val="4256163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ADF7B73-B46C-D3F9-C53F-FA24E2268054}"/>
              </a:ext>
            </a:extLst>
          </p:cNvPr>
          <p:cNvSpPr>
            <a:spLocks noGrp="1"/>
          </p:cNvSpPr>
          <p:nvPr>
            <p:ph type="body" sz="quarter" idx="16"/>
          </p:nvPr>
        </p:nvSpPr>
        <p:spPr/>
        <p:txBody>
          <a:bodyPr/>
          <a:lstStyle/>
          <a:p>
            <a:r>
              <a:rPr lang="en-US" dirty="0"/>
              <a:t>EUIVDR and its Impact on APAC markets</a:t>
            </a:r>
          </a:p>
        </p:txBody>
      </p:sp>
      <p:sp>
        <p:nvSpPr>
          <p:cNvPr id="8" name="Text Placeholder 7">
            <a:extLst>
              <a:ext uri="{FF2B5EF4-FFF2-40B4-BE49-F238E27FC236}">
                <a16:creationId xmlns:a16="http://schemas.microsoft.com/office/drawing/2014/main" id="{4FE99821-FE16-141B-4BF9-9C749E2AC0BE}"/>
              </a:ext>
            </a:extLst>
          </p:cNvPr>
          <p:cNvSpPr>
            <a:spLocks noGrp="1"/>
          </p:cNvSpPr>
          <p:nvPr>
            <p:ph type="body" sz="quarter" idx="17"/>
          </p:nvPr>
        </p:nvSpPr>
        <p:spPr>
          <a:xfrm>
            <a:off x="1487487" y="3659012"/>
            <a:ext cx="9494740" cy="271966"/>
          </a:xfrm>
        </p:spPr>
        <p:txBody>
          <a:bodyPr/>
          <a:lstStyle/>
          <a:p>
            <a:r>
              <a:rPr lang="en-US" dirty="0"/>
              <a:t>The impact of IVDR on APAC and the counter reaction of APAC regulators</a:t>
            </a:r>
          </a:p>
        </p:txBody>
      </p:sp>
      <p:sp>
        <p:nvSpPr>
          <p:cNvPr id="4" name="Slide Number Placeholder 2">
            <a:extLst>
              <a:ext uri="{FF2B5EF4-FFF2-40B4-BE49-F238E27FC236}">
                <a16:creationId xmlns:a16="http://schemas.microsoft.com/office/drawing/2014/main" id="{9CDB8677-4857-4D95-834A-3BE30D587E42}"/>
              </a:ext>
            </a:extLst>
          </p:cNvPr>
          <p:cNvSpPr txBox="1">
            <a:spLocks/>
          </p:cNvSpPr>
          <p:nvPr/>
        </p:nvSpPr>
        <p:spPr>
          <a:xfrm>
            <a:off x="11506200" y="6358513"/>
            <a:ext cx="216000" cy="215900"/>
          </a:xfrm>
          <a:prstGeom prst="rect">
            <a:avLst/>
          </a:prstGeom>
        </p:spPr>
        <p:txBody>
          <a:bodyPr anchor="ctr">
            <a:normAutofit fontScale="5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F59CD943-D024-467A-B36E-F11E1285ED75}" type="slidenum">
              <a:rPr lang="en-GB" smtClean="0">
                <a:solidFill>
                  <a:schemeClr val="accent1"/>
                </a:solidFill>
              </a:rPr>
              <a:pPr>
                <a:spcAft>
                  <a:spcPts val="600"/>
                </a:spcAft>
              </a:pPr>
              <a:t>6</a:t>
            </a:fld>
            <a:endParaRPr lang="en-GB" dirty="0">
              <a:solidFill>
                <a:schemeClr val="accent1"/>
              </a:solidFill>
            </a:endParaRPr>
          </a:p>
        </p:txBody>
      </p:sp>
      <p:sp>
        <p:nvSpPr>
          <p:cNvPr id="5" name="Footer Placeholder 1">
            <a:extLst>
              <a:ext uri="{FF2B5EF4-FFF2-40B4-BE49-F238E27FC236}">
                <a16:creationId xmlns:a16="http://schemas.microsoft.com/office/drawing/2014/main" id="{AB3F894D-11FF-4ACB-BF3D-D7D2DE0FC311}"/>
              </a:ext>
            </a:extLst>
          </p:cNvPr>
          <p:cNvSpPr txBox="1">
            <a:spLocks/>
          </p:cNvSpPr>
          <p:nvPr/>
        </p:nvSpPr>
        <p:spPr>
          <a:xfrm>
            <a:off x="8129234" y="6336545"/>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dirty="0">
                <a:solidFill>
                  <a:schemeClr val="accent1"/>
                </a:solidFill>
              </a:rPr>
              <a:t>The Evolving Regulatory Landscape for IVD in APAC</a:t>
            </a:r>
          </a:p>
        </p:txBody>
      </p:sp>
    </p:spTree>
    <p:extLst>
      <p:ext uri="{BB962C8B-B14F-4D97-AF65-F5344CB8AC3E}">
        <p14:creationId xmlns:p14="http://schemas.microsoft.com/office/powerpoint/2010/main" val="4427845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C27FC3-B924-A511-C045-8555D0ED93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85" name="think-cell Slide" r:id="rId5" imgW="421" imgH="423" progId="TCLayout.ActiveDocument.1">
                  <p:embed/>
                </p:oleObj>
              </mc:Choice>
              <mc:Fallback>
                <p:oleObj name="think-cell Slide" r:id="rId5" imgW="421" imgH="423" progId="TCLayout.ActiveDocument.1">
                  <p:embed/>
                  <p:pic>
                    <p:nvPicPr>
                      <p:cNvPr id="4" name="think-cell data - do not delete" hidden="1">
                        <a:extLst>
                          <a:ext uri="{FF2B5EF4-FFF2-40B4-BE49-F238E27FC236}">
                            <a16:creationId xmlns:a16="http://schemas.microsoft.com/office/drawing/2014/main" id="{9FC27FC3-B924-A511-C045-8555D0ED93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Footer Placeholder 1">
            <a:extLst>
              <a:ext uri="{FF2B5EF4-FFF2-40B4-BE49-F238E27FC236}">
                <a16:creationId xmlns:a16="http://schemas.microsoft.com/office/drawing/2014/main" id="{1A4C1179-4DF0-CE3F-E774-B8E65B65F32D}"/>
              </a:ext>
            </a:extLst>
          </p:cNvPr>
          <p:cNvSpPr txBox="1">
            <a:spLocks/>
          </p:cNvSpPr>
          <p:nvPr/>
        </p:nvSpPr>
        <p:spPr>
          <a:xfrm>
            <a:off x="8132814" y="6356971"/>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dirty="0">
                <a:solidFill>
                  <a:prstClr val="black"/>
                </a:solidFill>
              </a:rPr>
              <a:t>The Evolving Regulatory Landscape for IVD in APAC</a:t>
            </a:r>
          </a:p>
        </p:txBody>
      </p:sp>
      <p:sp>
        <p:nvSpPr>
          <p:cNvPr id="21" name="Slide Number Placeholder 2">
            <a:extLst>
              <a:ext uri="{FF2B5EF4-FFF2-40B4-BE49-F238E27FC236}">
                <a16:creationId xmlns:a16="http://schemas.microsoft.com/office/drawing/2014/main" id="{E96CF815-5AF1-E1ED-4158-814AEC20A14D}"/>
              </a:ext>
            </a:extLst>
          </p:cNvPr>
          <p:cNvSpPr txBox="1">
            <a:spLocks/>
          </p:cNvSpPr>
          <p:nvPr/>
        </p:nvSpPr>
        <p:spPr>
          <a:xfrm>
            <a:off x="11436284" y="6363872"/>
            <a:ext cx="216000" cy="215900"/>
          </a:xfrm>
          <a:prstGeom prst="rect">
            <a:avLst/>
          </a:prstGeom>
        </p:spPr>
        <p:txBody>
          <a:bodyPr anchor="ctr">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F59CD943-D024-467A-B36E-F11E1285ED75}" type="slidenum">
              <a:rPr lang="en-GB" sz="900" smtClean="0"/>
              <a:pPr>
                <a:spcAft>
                  <a:spcPts val="600"/>
                </a:spcAft>
              </a:pPr>
              <a:t>7</a:t>
            </a:fld>
            <a:endParaRPr lang="en-GB" sz="900" dirty="0"/>
          </a:p>
        </p:txBody>
      </p:sp>
      <p:sp>
        <p:nvSpPr>
          <p:cNvPr id="10" name="Freeform: Shape 9">
            <a:extLst>
              <a:ext uri="{FF2B5EF4-FFF2-40B4-BE49-F238E27FC236}">
                <a16:creationId xmlns:a16="http://schemas.microsoft.com/office/drawing/2014/main" id="{B8B1D744-34A6-4033-8F84-520C2E9526FC}"/>
              </a:ext>
            </a:extLst>
          </p:cNvPr>
          <p:cNvSpPr/>
          <p:nvPr/>
        </p:nvSpPr>
        <p:spPr>
          <a:xfrm>
            <a:off x="3705044" y="1060182"/>
            <a:ext cx="7314889" cy="879770"/>
          </a:xfrm>
          <a:custGeom>
            <a:avLst/>
            <a:gdLst>
              <a:gd name="connsiteX0" fmla="*/ 232838 w 1397000"/>
              <a:gd name="connsiteY0" fmla="*/ 0 h 5201920"/>
              <a:gd name="connsiteX1" fmla="*/ 1164162 w 1397000"/>
              <a:gd name="connsiteY1" fmla="*/ 0 h 5201920"/>
              <a:gd name="connsiteX2" fmla="*/ 1397000 w 1397000"/>
              <a:gd name="connsiteY2" fmla="*/ 232838 h 5201920"/>
              <a:gd name="connsiteX3" fmla="*/ 1397000 w 1397000"/>
              <a:gd name="connsiteY3" fmla="*/ 5201920 h 5201920"/>
              <a:gd name="connsiteX4" fmla="*/ 1397000 w 1397000"/>
              <a:gd name="connsiteY4" fmla="*/ 5201920 h 5201920"/>
              <a:gd name="connsiteX5" fmla="*/ 0 w 1397000"/>
              <a:gd name="connsiteY5" fmla="*/ 5201920 h 5201920"/>
              <a:gd name="connsiteX6" fmla="*/ 0 w 1397000"/>
              <a:gd name="connsiteY6" fmla="*/ 5201920 h 5201920"/>
              <a:gd name="connsiteX7" fmla="*/ 0 w 1397000"/>
              <a:gd name="connsiteY7" fmla="*/ 232838 h 5201920"/>
              <a:gd name="connsiteX8" fmla="*/ 232838 w 1397000"/>
              <a:gd name="connsiteY8" fmla="*/ 0 h 520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7000" h="5201920">
                <a:moveTo>
                  <a:pt x="1397000" y="867004"/>
                </a:moveTo>
                <a:lnTo>
                  <a:pt x="1397000" y="4334916"/>
                </a:lnTo>
                <a:cubicBezTo>
                  <a:pt x="1397000" y="4813750"/>
                  <a:pt x="1369005" y="5201920"/>
                  <a:pt x="1334470" y="5201920"/>
                </a:cubicBezTo>
                <a:lnTo>
                  <a:pt x="0" y="5201920"/>
                </a:lnTo>
                <a:lnTo>
                  <a:pt x="0" y="5201920"/>
                </a:lnTo>
                <a:lnTo>
                  <a:pt x="0" y="0"/>
                </a:lnTo>
                <a:lnTo>
                  <a:pt x="0" y="0"/>
                </a:lnTo>
                <a:lnTo>
                  <a:pt x="1334470" y="0"/>
                </a:lnTo>
                <a:cubicBezTo>
                  <a:pt x="1369005" y="0"/>
                  <a:pt x="1397000" y="388170"/>
                  <a:pt x="1397000" y="867004"/>
                </a:cubicBezTo>
                <a:close/>
              </a:path>
            </a:pathLst>
          </a:custGeom>
          <a:solidFill>
            <a:schemeClr val="accent2">
              <a:lumMod val="20000"/>
              <a:lumOff val="80000"/>
              <a:alpha val="90000"/>
            </a:schemeClr>
          </a:solidFill>
          <a:ln>
            <a:solidFill>
              <a:schemeClr val="accent2">
                <a:lumMod val="5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0970" tIns="138681" rIns="209166" bIns="138681" numCol="1" spcCol="1270" anchor="ctr" anchorCtr="0">
            <a:noAutofit/>
          </a:bodyPr>
          <a:lstStyle/>
          <a:p>
            <a:pPr marL="171450" indent="-171450">
              <a:buFont typeface="Arial" panose="020B0604020202020204" pitchFamily="34" charset="0"/>
              <a:buChar char="•"/>
            </a:pPr>
            <a:r>
              <a:rPr lang="en-US" sz="1200" dirty="0"/>
              <a:t>Classification is based on the </a:t>
            </a:r>
            <a:r>
              <a:rPr lang="en-US" sz="1200" b="1" dirty="0"/>
              <a:t>risk a device poses if it malfunctions</a:t>
            </a:r>
            <a:r>
              <a:rPr lang="en-US" sz="1200" dirty="0"/>
              <a:t>; also, </a:t>
            </a:r>
            <a:r>
              <a:rPr lang="en-US" sz="1200" b="1" dirty="0"/>
              <a:t>risk to public health</a:t>
            </a:r>
          </a:p>
          <a:p>
            <a:pPr marL="171450" indent="-171450">
              <a:buFont typeface="Arial" panose="020B0604020202020204" pitchFamily="34" charset="0"/>
              <a:buChar char="•"/>
            </a:pPr>
            <a:r>
              <a:rPr lang="en-US" sz="1200" b="1" dirty="0"/>
              <a:t>Risk classes range from Class A (low risk) to Class D (highest risk)</a:t>
            </a:r>
          </a:p>
          <a:p>
            <a:pPr marL="171450" indent="-171450">
              <a:buFont typeface="Arial" panose="020B0604020202020204" pitchFamily="34" charset="0"/>
              <a:buChar char="•"/>
            </a:pPr>
            <a:r>
              <a:rPr lang="en-US" sz="1200" b="1" dirty="0"/>
              <a:t>IVD device definitions have been expanded</a:t>
            </a:r>
            <a:r>
              <a:rPr lang="en-US" sz="1200" dirty="0"/>
              <a:t>, including companion diagnostics and software</a:t>
            </a:r>
          </a:p>
          <a:p>
            <a:pPr marL="171450" indent="-171450">
              <a:buFont typeface="Arial" panose="020B0604020202020204" pitchFamily="34" charset="0"/>
              <a:buChar char="•"/>
            </a:pPr>
            <a:r>
              <a:rPr lang="en-US" sz="1200" dirty="0"/>
              <a:t>This allows for better accommodation of new technologies and emerging risks</a:t>
            </a:r>
          </a:p>
        </p:txBody>
      </p:sp>
      <p:sp>
        <p:nvSpPr>
          <p:cNvPr id="12" name="Freeform: Shape 11">
            <a:extLst>
              <a:ext uri="{FF2B5EF4-FFF2-40B4-BE49-F238E27FC236}">
                <a16:creationId xmlns:a16="http://schemas.microsoft.com/office/drawing/2014/main" id="{066FED3F-EBCB-4FB5-B8D1-B3712D84D60E}"/>
              </a:ext>
            </a:extLst>
          </p:cNvPr>
          <p:cNvSpPr/>
          <p:nvPr/>
        </p:nvSpPr>
        <p:spPr>
          <a:xfrm>
            <a:off x="1461158" y="904973"/>
            <a:ext cx="2243887" cy="1170819"/>
          </a:xfrm>
          <a:custGeom>
            <a:avLst/>
            <a:gdLst>
              <a:gd name="connsiteX0" fmla="*/ 0 w 2926080"/>
              <a:gd name="connsiteY0" fmla="*/ 291047 h 1746250"/>
              <a:gd name="connsiteX1" fmla="*/ 291047 w 2926080"/>
              <a:gd name="connsiteY1" fmla="*/ 0 h 1746250"/>
              <a:gd name="connsiteX2" fmla="*/ 2635033 w 2926080"/>
              <a:gd name="connsiteY2" fmla="*/ 0 h 1746250"/>
              <a:gd name="connsiteX3" fmla="*/ 2926080 w 2926080"/>
              <a:gd name="connsiteY3" fmla="*/ 291047 h 1746250"/>
              <a:gd name="connsiteX4" fmla="*/ 2926080 w 2926080"/>
              <a:gd name="connsiteY4" fmla="*/ 1455203 h 1746250"/>
              <a:gd name="connsiteX5" fmla="*/ 2635033 w 2926080"/>
              <a:gd name="connsiteY5" fmla="*/ 1746250 h 1746250"/>
              <a:gd name="connsiteX6" fmla="*/ 291047 w 2926080"/>
              <a:gd name="connsiteY6" fmla="*/ 1746250 h 1746250"/>
              <a:gd name="connsiteX7" fmla="*/ 0 w 2926080"/>
              <a:gd name="connsiteY7" fmla="*/ 1455203 h 1746250"/>
              <a:gd name="connsiteX8" fmla="*/ 0 w 2926080"/>
              <a:gd name="connsiteY8" fmla="*/ 291047 h 174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6080" h="1746250">
                <a:moveTo>
                  <a:pt x="0" y="291047"/>
                </a:moveTo>
                <a:cubicBezTo>
                  <a:pt x="0" y="130306"/>
                  <a:pt x="130306" y="0"/>
                  <a:pt x="291047" y="0"/>
                </a:cubicBezTo>
                <a:lnTo>
                  <a:pt x="2635033" y="0"/>
                </a:lnTo>
                <a:cubicBezTo>
                  <a:pt x="2795774" y="0"/>
                  <a:pt x="2926080" y="130306"/>
                  <a:pt x="2926080" y="291047"/>
                </a:cubicBezTo>
                <a:lnTo>
                  <a:pt x="2926080" y="1455203"/>
                </a:lnTo>
                <a:cubicBezTo>
                  <a:pt x="2926080" y="1615944"/>
                  <a:pt x="2795774" y="1746250"/>
                  <a:pt x="2635033" y="1746250"/>
                </a:cubicBezTo>
                <a:lnTo>
                  <a:pt x="291047" y="1746250"/>
                </a:lnTo>
                <a:cubicBezTo>
                  <a:pt x="130306" y="1746250"/>
                  <a:pt x="0" y="1615944"/>
                  <a:pt x="0" y="1455203"/>
                </a:cubicBezTo>
                <a:lnTo>
                  <a:pt x="0" y="291047"/>
                </a:lnTo>
                <a:close/>
              </a:path>
            </a:pathLst>
          </a:custGeom>
          <a:solidFill>
            <a:schemeClr val="accent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32895" tIns="209070" rIns="332895" bIns="209070" numCol="1" spcCol="1270" anchor="ctr" anchorCtr="0">
            <a:noAutofit/>
          </a:bodyPr>
          <a:lstStyle/>
          <a:p>
            <a:pPr lvl="0" algn="ctr" defTabSz="2889250">
              <a:lnSpc>
                <a:spcPct val="90000"/>
              </a:lnSpc>
              <a:spcBef>
                <a:spcPct val="0"/>
              </a:spcBef>
              <a:spcAft>
                <a:spcPct val="35000"/>
              </a:spcAft>
            </a:pPr>
            <a:r>
              <a:rPr lang="en-US" dirty="0"/>
              <a:t>Risk Classification</a:t>
            </a:r>
            <a:endParaRPr lang="en-US" sz="6500" kern="1200" dirty="0"/>
          </a:p>
        </p:txBody>
      </p:sp>
      <p:sp>
        <p:nvSpPr>
          <p:cNvPr id="15" name="Freeform: Shape 14">
            <a:extLst>
              <a:ext uri="{FF2B5EF4-FFF2-40B4-BE49-F238E27FC236}">
                <a16:creationId xmlns:a16="http://schemas.microsoft.com/office/drawing/2014/main" id="{EEC132E7-C08A-4369-B9CC-AA643E962E26}"/>
              </a:ext>
            </a:extLst>
          </p:cNvPr>
          <p:cNvSpPr/>
          <p:nvPr/>
        </p:nvSpPr>
        <p:spPr>
          <a:xfrm>
            <a:off x="3705044" y="2221316"/>
            <a:ext cx="7314889" cy="879770"/>
          </a:xfrm>
          <a:custGeom>
            <a:avLst/>
            <a:gdLst>
              <a:gd name="connsiteX0" fmla="*/ 232838 w 1397000"/>
              <a:gd name="connsiteY0" fmla="*/ 0 h 5201920"/>
              <a:gd name="connsiteX1" fmla="*/ 1164162 w 1397000"/>
              <a:gd name="connsiteY1" fmla="*/ 0 h 5201920"/>
              <a:gd name="connsiteX2" fmla="*/ 1397000 w 1397000"/>
              <a:gd name="connsiteY2" fmla="*/ 232838 h 5201920"/>
              <a:gd name="connsiteX3" fmla="*/ 1397000 w 1397000"/>
              <a:gd name="connsiteY3" fmla="*/ 5201920 h 5201920"/>
              <a:gd name="connsiteX4" fmla="*/ 1397000 w 1397000"/>
              <a:gd name="connsiteY4" fmla="*/ 5201920 h 5201920"/>
              <a:gd name="connsiteX5" fmla="*/ 0 w 1397000"/>
              <a:gd name="connsiteY5" fmla="*/ 5201920 h 5201920"/>
              <a:gd name="connsiteX6" fmla="*/ 0 w 1397000"/>
              <a:gd name="connsiteY6" fmla="*/ 5201920 h 5201920"/>
              <a:gd name="connsiteX7" fmla="*/ 0 w 1397000"/>
              <a:gd name="connsiteY7" fmla="*/ 232838 h 5201920"/>
              <a:gd name="connsiteX8" fmla="*/ 232838 w 1397000"/>
              <a:gd name="connsiteY8" fmla="*/ 0 h 520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7000" h="5201920">
                <a:moveTo>
                  <a:pt x="1397000" y="867004"/>
                </a:moveTo>
                <a:lnTo>
                  <a:pt x="1397000" y="4334916"/>
                </a:lnTo>
                <a:cubicBezTo>
                  <a:pt x="1397000" y="4813750"/>
                  <a:pt x="1369005" y="5201920"/>
                  <a:pt x="1334470" y="5201920"/>
                </a:cubicBezTo>
                <a:lnTo>
                  <a:pt x="0" y="5201920"/>
                </a:lnTo>
                <a:lnTo>
                  <a:pt x="0" y="5201920"/>
                </a:lnTo>
                <a:lnTo>
                  <a:pt x="0" y="0"/>
                </a:lnTo>
                <a:lnTo>
                  <a:pt x="0" y="0"/>
                </a:lnTo>
                <a:lnTo>
                  <a:pt x="1334470" y="0"/>
                </a:lnTo>
                <a:cubicBezTo>
                  <a:pt x="1369005" y="0"/>
                  <a:pt x="1397000" y="388170"/>
                  <a:pt x="1397000" y="867004"/>
                </a:cubicBezTo>
                <a:close/>
              </a:path>
            </a:pathLst>
          </a:custGeom>
          <a:solidFill>
            <a:schemeClr val="accent2">
              <a:lumMod val="20000"/>
              <a:lumOff val="80000"/>
              <a:alpha val="90000"/>
            </a:schemeClr>
          </a:solidFill>
          <a:ln>
            <a:solidFill>
              <a:schemeClr val="accent2">
                <a:lumMod val="5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0970" tIns="138681" rIns="209166" bIns="138681" numCol="1" spcCol="1270" anchor="ctr" anchorCtr="0">
            <a:noAutofit/>
          </a:bodyPr>
          <a:lstStyle/>
          <a:p>
            <a:pPr marL="285750" lvl="1" indent="-285750" algn="l" defTabSz="1644650">
              <a:lnSpc>
                <a:spcPct val="90000"/>
              </a:lnSpc>
              <a:spcBef>
                <a:spcPct val="0"/>
              </a:spcBef>
              <a:spcAft>
                <a:spcPct val="15000"/>
              </a:spcAft>
              <a:buChar char="•"/>
            </a:pPr>
            <a:endParaRPr lang="en-US" sz="3700" kern="1200" dirty="0"/>
          </a:p>
          <a:p>
            <a:pPr marL="285750" lvl="1" indent="-285750" algn="l" defTabSz="1644650">
              <a:lnSpc>
                <a:spcPct val="90000"/>
              </a:lnSpc>
              <a:spcBef>
                <a:spcPct val="0"/>
              </a:spcBef>
              <a:spcAft>
                <a:spcPct val="15000"/>
              </a:spcAft>
              <a:buChar char="•"/>
            </a:pPr>
            <a:endParaRPr lang="en-US" sz="3700" kern="1200" dirty="0"/>
          </a:p>
        </p:txBody>
      </p:sp>
      <p:sp>
        <p:nvSpPr>
          <p:cNvPr id="16" name="Freeform: Shape 15">
            <a:extLst>
              <a:ext uri="{FF2B5EF4-FFF2-40B4-BE49-F238E27FC236}">
                <a16:creationId xmlns:a16="http://schemas.microsoft.com/office/drawing/2014/main" id="{AEBACC69-7418-43A6-A3C8-261C46502084}"/>
              </a:ext>
            </a:extLst>
          </p:cNvPr>
          <p:cNvSpPr/>
          <p:nvPr/>
        </p:nvSpPr>
        <p:spPr>
          <a:xfrm>
            <a:off x="1461159" y="2085477"/>
            <a:ext cx="2243887" cy="1170819"/>
          </a:xfrm>
          <a:custGeom>
            <a:avLst/>
            <a:gdLst>
              <a:gd name="connsiteX0" fmla="*/ 0 w 2926080"/>
              <a:gd name="connsiteY0" fmla="*/ 291047 h 1746250"/>
              <a:gd name="connsiteX1" fmla="*/ 291047 w 2926080"/>
              <a:gd name="connsiteY1" fmla="*/ 0 h 1746250"/>
              <a:gd name="connsiteX2" fmla="*/ 2635033 w 2926080"/>
              <a:gd name="connsiteY2" fmla="*/ 0 h 1746250"/>
              <a:gd name="connsiteX3" fmla="*/ 2926080 w 2926080"/>
              <a:gd name="connsiteY3" fmla="*/ 291047 h 1746250"/>
              <a:gd name="connsiteX4" fmla="*/ 2926080 w 2926080"/>
              <a:gd name="connsiteY4" fmla="*/ 1455203 h 1746250"/>
              <a:gd name="connsiteX5" fmla="*/ 2635033 w 2926080"/>
              <a:gd name="connsiteY5" fmla="*/ 1746250 h 1746250"/>
              <a:gd name="connsiteX6" fmla="*/ 291047 w 2926080"/>
              <a:gd name="connsiteY6" fmla="*/ 1746250 h 1746250"/>
              <a:gd name="connsiteX7" fmla="*/ 0 w 2926080"/>
              <a:gd name="connsiteY7" fmla="*/ 1455203 h 1746250"/>
              <a:gd name="connsiteX8" fmla="*/ 0 w 2926080"/>
              <a:gd name="connsiteY8" fmla="*/ 291047 h 174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6080" h="1746250">
                <a:moveTo>
                  <a:pt x="0" y="291047"/>
                </a:moveTo>
                <a:cubicBezTo>
                  <a:pt x="0" y="130306"/>
                  <a:pt x="130306" y="0"/>
                  <a:pt x="291047" y="0"/>
                </a:cubicBezTo>
                <a:lnTo>
                  <a:pt x="2635033" y="0"/>
                </a:lnTo>
                <a:cubicBezTo>
                  <a:pt x="2795774" y="0"/>
                  <a:pt x="2926080" y="130306"/>
                  <a:pt x="2926080" y="291047"/>
                </a:cubicBezTo>
                <a:lnTo>
                  <a:pt x="2926080" y="1455203"/>
                </a:lnTo>
                <a:cubicBezTo>
                  <a:pt x="2926080" y="1615944"/>
                  <a:pt x="2795774" y="1746250"/>
                  <a:pt x="2635033" y="1746250"/>
                </a:cubicBezTo>
                <a:lnTo>
                  <a:pt x="291047" y="1746250"/>
                </a:lnTo>
                <a:cubicBezTo>
                  <a:pt x="130306" y="1746250"/>
                  <a:pt x="0" y="1615944"/>
                  <a:pt x="0" y="1455203"/>
                </a:cubicBezTo>
                <a:lnTo>
                  <a:pt x="0" y="291047"/>
                </a:lnTo>
                <a:close/>
              </a:path>
            </a:pathLst>
          </a:custGeom>
          <a:solidFill>
            <a:schemeClr val="accent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32895" tIns="209070" rIns="332895" bIns="209070" numCol="1" spcCol="1270" anchor="ctr" anchorCtr="0">
            <a:noAutofit/>
          </a:bodyPr>
          <a:lstStyle/>
          <a:p>
            <a:pPr lvl="0" algn="ctr" defTabSz="2889250">
              <a:lnSpc>
                <a:spcPct val="90000"/>
              </a:lnSpc>
              <a:spcBef>
                <a:spcPct val="0"/>
              </a:spcBef>
              <a:spcAft>
                <a:spcPct val="35000"/>
              </a:spcAft>
            </a:pPr>
            <a:r>
              <a:rPr lang="en-US" dirty="0"/>
              <a:t>Role of Notified Bodies</a:t>
            </a:r>
            <a:endParaRPr lang="en-US" sz="6500" kern="1200" dirty="0"/>
          </a:p>
        </p:txBody>
      </p:sp>
      <p:sp>
        <p:nvSpPr>
          <p:cNvPr id="17" name="Freeform: Shape 16">
            <a:extLst>
              <a:ext uri="{FF2B5EF4-FFF2-40B4-BE49-F238E27FC236}">
                <a16:creationId xmlns:a16="http://schemas.microsoft.com/office/drawing/2014/main" id="{0694CA58-975C-432B-B765-37DC63EFF968}"/>
              </a:ext>
            </a:extLst>
          </p:cNvPr>
          <p:cNvSpPr/>
          <p:nvPr/>
        </p:nvSpPr>
        <p:spPr>
          <a:xfrm>
            <a:off x="3705044" y="3411505"/>
            <a:ext cx="7314890" cy="879770"/>
          </a:xfrm>
          <a:custGeom>
            <a:avLst/>
            <a:gdLst>
              <a:gd name="connsiteX0" fmla="*/ 232838 w 1397000"/>
              <a:gd name="connsiteY0" fmla="*/ 0 h 5201920"/>
              <a:gd name="connsiteX1" fmla="*/ 1164162 w 1397000"/>
              <a:gd name="connsiteY1" fmla="*/ 0 h 5201920"/>
              <a:gd name="connsiteX2" fmla="*/ 1397000 w 1397000"/>
              <a:gd name="connsiteY2" fmla="*/ 232838 h 5201920"/>
              <a:gd name="connsiteX3" fmla="*/ 1397000 w 1397000"/>
              <a:gd name="connsiteY3" fmla="*/ 5201920 h 5201920"/>
              <a:gd name="connsiteX4" fmla="*/ 1397000 w 1397000"/>
              <a:gd name="connsiteY4" fmla="*/ 5201920 h 5201920"/>
              <a:gd name="connsiteX5" fmla="*/ 0 w 1397000"/>
              <a:gd name="connsiteY5" fmla="*/ 5201920 h 5201920"/>
              <a:gd name="connsiteX6" fmla="*/ 0 w 1397000"/>
              <a:gd name="connsiteY6" fmla="*/ 5201920 h 5201920"/>
              <a:gd name="connsiteX7" fmla="*/ 0 w 1397000"/>
              <a:gd name="connsiteY7" fmla="*/ 232838 h 5201920"/>
              <a:gd name="connsiteX8" fmla="*/ 232838 w 1397000"/>
              <a:gd name="connsiteY8" fmla="*/ 0 h 520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7000" h="5201920">
                <a:moveTo>
                  <a:pt x="1397000" y="867004"/>
                </a:moveTo>
                <a:lnTo>
                  <a:pt x="1397000" y="4334916"/>
                </a:lnTo>
                <a:cubicBezTo>
                  <a:pt x="1397000" y="4813750"/>
                  <a:pt x="1369005" y="5201920"/>
                  <a:pt x="1334470" y="5201920"/>
                </a:cubicBezTo>
                <a:lnTo>
                  <a:pt x="0" y="5201920"/>
                </a:lnTo>
                <a:lnTo>
                  <a:pt x="0" y="5201920"/>
                </a:lnTo>
                <a:lnTo>
                  <a:pt x="0" y="0"/>
                </a:lnTo>
                <a:lnTo>
                  <a:pt x="0" y="0"/>
                </a:lnTo>
                <a:lnTo>
                  <a:pt x="1334470" y="0"/>
                </a:lnTo>
                <a:cubicBezTo>
                  <a:pt x="1369005" y="0"/>
                  <a:pt x="1397000" y="388170"/>
                  <a:pt x="1397000" y="867004"/>
                </a:cubicBezTo>
                <a:close/>
              </a:path>
            </a:pathLst>
          </a:custGeom>
          <a:solidFill>
            <a:schemeClr val="accent2">
              <a:lumMod val="20000"/>
              <a:lumOff val="80000"/>
              <a:alpha val="90000"/>
            </a:schemeClr>
          </a:solidFill>
          <a:ln>
            <a:solidFill>
              <a:schemeClr val="accent2">
                <a:lumMod val="5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0970" tIns="138681" rIns="209166" bIns="138681" numCol="1" spcCol="1270" anchor="ctr" anchorCtr="0">
            <a:noAutofit/>
          </a:bodyPr>
          <a:lstStyle/>
          <a:p>
            <a:pPr marL="171450" indent="-171450">
              <a:buFont typeface="Arial" panose="020B0604020202020204" pitchFamily="34" charset="0"/>
              <a:buChar char="•"/>
            </a:pPr>
            <a:r>
              <a:rPr lang="en-US" sz="1200" b="1" dirty="0"/>
              <a:t>IVDR adds new requirements for risk management and quality assurance</a:t>
            </a:r>
          </a:p>
          <a:p>
            <a:pPr marL="171450" indent="-171450">
              <a:buFont typeface="Arial" panose="020B0604020202020204" pitchFamily="34" charset="0"/>
              <a:buChar char="•"/>
            </a:pPr>
            <a:r>
              <a:rPr lang="en-US" sz="1200" dirty="0"/>
              <a:t>Stricter rules for clinical evaluation, investigation, and use of hazardous substances</a:t>
            </a:r>
          </a:p>
          <a:p>
            <a:pPr marL="171450" indent="-171450">
              <a:buFont typeface="Arial" panose="020B0604020202020204" pitchFamily="34" charset="0"/>
              <a:buChar char="•"/>
            </a:pPr>
            <a:r>
              <a:rPr lang="en-US" sz="1200" dirty="0"/>
              <a:t>Manufacturers must </a:t>
            </a:r>
            <a:r>
              <a:rPr lang="en-US" sz="1200" b="1" dirty="0"/>
              <a:t>conduct post-market evaluations and maintain updated documentation</a:t>
            </a:r>
          </a:p>
          <a:p>
            <a:pPr marL="171450" indent="-171450">
              <a:buFont typeface="Arial" panose="020B0604020202020204" pitchFamily="34" charset="0"/>
              <a:buChar char="•"/>
            </a:pPr>
            <a:r>
              <a:rPr lang="en-US" sz="1200" b="1" dirty="0"/>
              <a:t>Conformity assessment procedures are mandatory</a:t>
            </a:r>
          </a:p>
        </p:txBody>
      </p:sp>
      <p:sp>
        <p:nvSpPr>
          <p:cNvPr id="18" name="Freeform: Shape 17">
            <a:extLst>
              <a:ext uri="{FF2B5EF4-FFF2-40B4-BE49-F238E27FC236}">
                <a16:creationId xmlns:a16="http://schemas.microsoft.com/office/drawing/2014/main" id="{D8DFCA00-959B-452A-B251-90911DEE7E6B}"/>
              </a:ext>
            </a:extLst>
          </p:cNvPr>
          <p:cNvSpPr/>
          <p:nvPr/>
        </p:nvSpPr>
        <p:spPr>
          <a:xfrm>
            <a:off x="1461158" y="3265981"/>
            <a:ext cx="2243887" cy="1170819"/>
          </a:xfrm>
          <a:custGeom>
            <a:avLst/>
            <a:gdLst>
              <a:gd name="connsiteX0" fmla="*/ 0 w 2926080"/>
              <a:gd name="connsiteY0" fmla="*/ 291047 h 1746250"/>
              <a:gd name="connsiteX1" fmla="*/ 291047 w 2926080"/>
              <a:gd name="connsiteY1" fmla="*/ 0 h 1746250"/>
              <a:gd name="connsiteX2" fmla="*/ 2635033 w 2926080"/>
              <a:gd name="connsiteY2" fmla="*/ 0 h 1746250"/>
              <a:gd name="connsiteX3" fmla="*/ 2926080 w 2926080"/>
              <a:gd name="connsiteY3" fmla="*/ 291047 h 1746250"/>
              <a:gd name="connsiteX4" fmla="*/ 2926080 w 2926080"/>
              <a:gd name="connsiteY4" fmla="*/ 1455203 h 1746250"/>
              <a:gd name="connsiteX5" fmla="*/ 2635033 w 2926080"/>
              <a:gd name="connsiteY5" fmla="*/ 1746250 h 1746250"/>
              <a:gd name="connsiteX6" fmla="*/ 291047 w 2926080"/>
              <a:gd name="connsiteY6" fmla="*/ 1746250 h 1746250"/>
              <a:gd name="connsiteX7" fmla="*/ 0 w 2926080"/>
              <a:gd name="connsiteY7" fmla="*/ 1455203 h 1746250"/>
              <a:gd name="connsiteX8" fmla="*/ 0 w 2926080"/>
              <a:gd name="connsiteY8" fmla="*/ 291047 h 174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6080" h="1746250">
                <a:moveTo>
                  <a:pt x="0" y="291047"/>
                </a:moveTo>
                <a:cubicBezTo>
                  <a:pt x="0" y="130306"/>
                  <a:pt x="130306" y="0"/>
                  <a:pt x="291047" y="0"/>
                </a:cubicBezTo>
                <a:lnTo>
                  <a:pt x="2635033" y="0"/>
                </a:lnTo>
                <a:cubicBezTo>
                  <a:pt x="2795774" y="0"/>
                  <a:pt x="2926080" y="130306"/>
                  <a:pt x="2926080" y="291047"/>
                </a:cubicBezTo>
                <a:lnTo>
                  <a:pt x="2926080" y="1455203"/>
                </a:lnTo>
                <a:cubicBezTo>
                  <a:pt x="2926080" y="1615944"/>
                  <a:pt x="2795774" y="1746250"/>
                  <a:pt x="2635033" y="1746250"/>
                </a:cubicBezTo>
                <a:lnTo>
                  <a:pt x="291047" y="1746250"/>
                </a:lnTo>
                <a:cubicBezTo>
                  <a:pt x="130306" y="1746250"/>
                  <a:pt x="0" y="1615944"/>
                  <a:pt x="0" y="1455203"/>
                </a:cubicBezTo>
                <a:lnTo>
                  <a:pt x="0" y="291047"/>
                </a:lnTo>
                <a:close/>
              </a:path>
            </a:pathLst>
          </a:custGeom>
          <a:solidFill>
            <a:schemeClr val="accent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32895" tIns="209070" rIns="332895" bIns="209070" numCol="1" spcCol="1270" anchor="ctr" anchorCtr="0">
            <a:noAutofit/>
          </a:bodyPr>
          <a:lstStyle/>
          <a:p>
            <a:pPr lvl="0" algn="ctr" defTabSz="2889250">
              <a:lnSpc>
                <a:spcPct val="90000"/>
              </a:lnSpc>
              <a:spcBef>
                <a:spcPct val="0"/>
              </a:spcBef>
              <a:spcAft>
                <a:spcPct val="35000"/>
              </a:spcAft>
            </a:pPr>
            <a:r>
              <a:rPr lang="en-US" dirty="0"/>
              <a:t>Tightened Requirements</a:t>
            </a:r>
            <a:endParaRPr lang="en-US" sz="6500" kern="1200" dirty="0"/>
          </a:p>
        </p:txBody>
      </p:sp>
      <p:sp>
        <p:nvSpPr>
          <p:cNvPr id="63" name="Freeform: Shape 62">
            <a:extLst>
              <a:ext uri="{FF2B5EF4-FFF2-40B4-BE49-F238E27FC236}">
                <a16:creationId xmlns:a16="http://schemas.microsoft.com/office/drawing/2014/main" id="{454D6228-1BA7-4108-9E43-28E090FFEE8C}"/>
              </a:ext>
            </a:extLst>
          </p:cNvPr>
          <p:cNvSpPr/>
          <p:nvPr/>
        </p:nvSpPr>
        <p:spPr>
          <a:xfrm>
            <a:off x="3705044" y="4592009"/>
            <a:ext cx="7314890" cy="879770"/>
          </a:xfrm>
          <a:custGeom>
            <a:avLst/>
            <a:gdLst>
              <a:gd name="connsiteX0" fmla="*/ 232838 w 1397000"/>
              <a:gd name="connsiteY0" fmla="*/ 0 h 5201920"/>
              <a:gd name="connsiteX1" fmla="*/ 1164162 w 1397000"/>
              <a:gd name="connsiteY1" fmla="*/ 0 h 5201920"/>
              <a:gd name="connsiteX2" fmla="*/ 1397000 w 1397000"/>
              <a:gd name="connsiteY2" fmla="*/ 232838 h 5201920"/>
              <a:gd name="connsiteX3" fmla="*/ 1397000 w 1397000"/>
              <a:gd name="connsiteY3" fmla="*/ 5201920 h 5201920"/>
              <a:gd name="connsiteX4" fmla="*/ 1397000 w 1397000"/>
              <a:gd name="connsiteY4" fmla="*/ 5201920 h 5201920"/>
              <a:gd name="connsiteX5" fmla="*/ 0 w 1397000"/>
              <a:gd name="connsiteY5" fmla="*/ 5201920 h 5201920"/>
              <a:gd name="connsiteX6" fmla="*/ 0 w 1397000"/>
              <a:gd name="connsiteY6" fmla="*/ 5201920 h 5201920"/>
              <a:gd name="connsiteX7" fmla="*/ 0 w 1397000"/>
              <a:gd name="connsiteY7" fmla="*/ 232838 h 5201920"/>
              <a:gd name="connsiteX8" fmla="*/ 232838 w 1397000"/>
              <a:gd name="connsiteY8" fmla="*/ 0 h 520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7000" h="5201920">
                <a:moveTo>
                  <a:pt x="1397000" y="867004"/>
                </a:moveTo>
                <a:lnTo>
                  <a:pt x="1397000" y="4334916"/>
                </a:lnTo>
                <a:cubicBezTo>
                  <a:pt x="1397000" y="4813750"/>
                  <a:pt x="1369005" y="5201920"/>
                  <a:pt x="1334470" y="5201920"/>
                </a:cubicBezTo>
                <a:lnTo>
                  <a:pt x="0" y="5201920"/>
                </a:lnTo>
                <a:lnTo>
                  <a:pt x="0" y="5201920"/>
                </a:lnTo>
                <a:lnTo>
                  <a:pt x="0" y="0"/>
                </a:lnTo>
                <a:lnTo>
                  <a:pt x="0" y="0"/>
                </a:lnTo>
                <a:lnTo>
                  <a:pt x="1334470" y="0"/>
                </a:lnTo>
                <a:cubicBezTo>
                  <a:pt x="1369005" y="0"/>
                  <a:pt x="1397000" y="388170"/>
                  <a:pt x="1397000" y="867004"/>
                </a:cubicBezTo>
                <a:close/>
              </a:path>
            </a:pathLst>
          </a:custGeom>
          <a:solidFill>
            <a:schemeClr val="accent2">
              <a:lumMod val="20000"/>
              <a:lumOff val="80000"/>
              <a:alpha val="90000"/>
            </a:schemeClr>
          </a:solidFill>
          <a:ln>
            <a:solidFill>
              <a:schemeClr val="accent2">
                <a:lumMod val="50000"/>
                <a:alpha val="90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0970" tIns="138681" rIns="209166" bIns="138681" numCol="1" spcCol="1270" anchor="ctr" anchorCtr="0">
            <a:noAutofit/>
          </a:bodyPr>
          <a:lstStyle/>
          <a:p>
            <a:pPr marL="171450" indent="-171450">
              <a:buFont typeface="Arial" panose="020B0604020202020204" pitchFamily="34" charset="0"/>
              <a:buChar char="•"/>
            </a:pPr>
            <a:r>
              <a:rPr lang="en-US" sz="1200" dirty="0"/>
              <a:t>Simplified administrative procedures with </a:t>
            </a:r>
            <a:r>
              <a:rPr lang="en-US" sz="1200" b="1" dirty="0"/>
              <a:t>registration only at the EU-level</a:t>
            </a:r>
          </a:p>
          <a:p>
            <a:pPr marL="171450" indent="-171450">
              <a:buFont typeface="Arial" panose="020B0604020202020204" pitchFamily="34" charset="0"/>
              <a:buChar char="•"/>
            </a:pPr>
            <a:r>
              <a:rPr lang="en-US" sz="1200" b="1" dirty="0"/>
              <a:t>Unique device identifiers (UDIs) enhance </a:t>
            </a:r>
            <a:r>
              <a:rPr lang="en-US" sz="1200" dirty="0"/>
              <a:t>identification and traceability</a:t>
            </a:r>
          </a:p>
          <a:p>
            <a:pPr marL="171450" indent="-171450">
              <a:buFont typeface="Arial" panose="020B0604020202020204" pitchFamily="34" charset="0"/>
              <a:buChar char="•"/>
            </a:pPr>
            <a:r>
              <a:rPr lang="en-US" sz="1200" dirty="0"/>
              <a:t>Manufacturers responsible for </a:t>
            </a:r>
            <a:r>
              <a:rPr lang="en-US" sz="1200" b="1" dirty="0"/>
              <a:t>entering and updating UDI data in EUDAMED</a:t>
            </a:r>
          </a:p>
        </p:txBody>
      </p:sp>
      <p:sp>
        <p:nvSpPr>
          <p:cNvPr id="64" name="Freeform: Shape 63">
            <a:extLst>
              <a:ext uri="{FF2B5EF4-FFF2-40B4-BE49-F238E27FC236}">
                <a16:creationId xmlns:a16="http://schemas.microsoft.com/office/drawing/2014/main" id="{572FD2FD-9F54-4B9E-A680-05960AEBD61D}"/>
              </a:ext>
            </a:extLst>
          </p:cNvPr>
          <p:cNvSpPr/>
          <p:nvPr/>
        </p:nvSpPr>
        <p:spPr>
          <a:xfrm>
            <a:off x="1461158" y="4446485"/>
            <a:ext cx="2243887" cy="1170819"/>
          </a:xfrm>
          <a:custGeom>
            <a:avLst/>
            <a:gdLst>
              <a:gd name="connsiteX0" fmla="*/ 0 w 2926080"/>
              <a:gd name="connsiteY0" fmla="*/ 291047 h 1746250"/>
              <a:gd name="connsiteX1" fmla="*/ 291047 w 2926080"/>
              <a:gd name="connsiteY1" fmla="*/ 0 h 1746250"/>
              <a:gd name="connsiteX2" fmla="*/ 2635033 w 2926080"/>
              <a:gd name="connsiteY2" fmla="*/ 0 h 1746250"/>
              <a:gd name="connsiteX3" fmla="*/ 2926080 w 2926080"/>
              <a:gd name="connsiteY3" fmla="*/ 291047 h 1746250"/>
              <a:gd name="connsiteX4" fmla="*/ 2926080 w 2926080"/>
              <a:gd name="connsiteY4" fmla="*/ 1455203 h 1746250"/>
              <a:gd name="connsiteX5" fmla="*/ 2635033 w 2926080"/>
              <a:gd name="connsiteY5" fmla="*/ 1746250 h 1746250"/>
              <a:gd name="connsiteX6" fmla="*/ 291047 w 2926080"/>
              <a:gd name="connsiteY6" fmla="*/ 1746250 h 1746250"/>
              <a:gd name="connsiteX7" fmla="*/ 0 w 2926080"/>
              <a:gd name="connsiteY7" fmla="*/ 1455203 h 1746250"/>
              <a:gd name="connsiteX8" fmla="*/ 0 w 2926080"/>
              <a:gd name="connsiteY8" fmla="*/ 291047 h 174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6080" h="1746250">
                <a:moveTo>
                  <a:pt x="0" y="291047"/>
                </a:moveTo>
                <a:cubicBezTo>
                  <a:pt x="0" y="130306"/>
                  <a:pt x="130306" y="0"/>
                  <a:pt x="291047" y="0"/>
                </a:cubicBezTo>
                <a:lnTo>
                  <a:pt x="2635033" y="0"/>
                </a:lnTo>
                <a:cubicBezTo>
                  <a:pt x="2795774" y="0"/>
                  <a:pt x="2926080" y="130306"/>
                  <a:pt x="2926080" y="291047"/>
                </a:cubicBezTo>
                <a:lnTo>
                  <a:pt x="2926080" y="1455203"/>
                </a:lnTo>
                <a:cubicBezTo>
                  <a:pt x="2926080" y="1615944"/>
                  <a:pt x="2795774" y="1746250"/>
                  <a:pt x="2635033" y="1746250"/>
                </a:cubicBezTo>
                <a:lnTo>
                  <a:pt x="291047" y="1746250"/>
                </a:lnTo>
                <a:cubicBezTo>
                  <a:pt x="130306" y="1746250"/>
                  <a:pt x="0" y="1615944"/>
                  <a:pt x="0" y="1455203"/>
                </a:cubicBezTo>
                <a:lnTo>
                  <a:pt x="0" y="291047"/>
                </a:lnTo>
                <a:close/>
              </a:path>
            </a:pathLst>
          </a:custGeom>
          <a:solidFill>
            <a:schemeClr val="accent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32895" tIns="209070" rIns="332895" bIns="209070" numCol="1" spcCol="1270" anchor="ctr" anchorCtr="0">
            <a:noAutofit/>
          </a:bodyPr>
          <a:lstStyle/>
          <a:p>
            <a:pPr lvl="0" algn="ctr" defTabSz="2889250">
              <a:lnSpc>
                <a:spcPct val="90000"/>
              </a:lnSpc>
              <a:spcBef>
                <a:spcPct val="0"/>
              </a:spcBef>
              <a:spcAft>
                <a:spcPct val="35000"/>
              </a:spcAft>
            </a:pPr>
            <a:r>
              <a:rPr lang="en-US" dirty="0"/>
              <a:t>Increased Transparency</a:t>
            </a:r>
            <a:endParaRPr lang="en-US" sz="6500" kern="1200" dirty="0"/>
          </a:p>
        </p:txBody>
      </p:sp>
      <p:sp>
        <p:nvSpPr>
          <p:cNvPr id="65" name="TextBox 64">
            <a:extLst>
              <a:ext uri="{FF2B5EF4-FFF2-40B4-BE49-F238E27FC236}">
                <a16:creationId xmlns:a16="http://schemas.microsoft.com/office/drawing/2014/main" id="{25EAE0C6-290A-4225-9ED9-03BA0015B1D0}"/>
              </a:ext>
            </a:extLst>
          </p:cNvPr>
          <p:cNvSpPr txBox="1"/>
          <p:nvPr/>
        </p:nvSpPr>
        <p:spPr>
          <a:xfrm>
            <a:off x="550864" y="5656597"/>
            <a:ext cx="10874423" cy="645822"/>
          </a:xfrm>
          <a:prstGeom prst="rect">
            <a:avLst/>
          </a:prstGeom>
          <a:solidFill>
            <a:schemeClr val="bg1"/>
          </a:solidFill>
          <a:ln>
            <a:solidFill>
              <a:schemeClr val="accent2"/>
            </a:solidFill>
          </a:ln>
        </p:spPr>
        <p:txBody>
          <a:bodyPr wrap="square" rtlCol="0">
            <a:noAutofit/>
          </a:bodyPr>
          <a:lstStyle/>
          <a:p>
            <a:pPr algn="l"/>
            <a:r>
              <a:rPr lang="en-US" sz="1400" dirty="0">
                <a:solidFill>
                  <a:schemeClr val="accent2">
                    <a:lumMod val="75000"/>
                  </a:schemeClr>
                </a:solidFill>
              </a:rPr>
              <a:t> </a:t>
            </a:r>
          </a:p>
        </p:txBody>
      </p:sp>
      <p:sp>
        <p:nvSpPr>
          <p:cNvPr id="66" name="Title 4">
            <a:extLst>
              <a:ext uri="{FF2B5EF4-FFF2-40B4-BE49-F238E27FC236}">
                <a16:creationId xmlns:a16="http://schemas.microsoft.com/office/drawing/2014/main" id="{06725DF0-FE17-4965-9EAD-AFB7A26A2356}"/>
              </a:ext>
            </a:extLst>
          </p:cNvPr>
          <p:cNvSpPr txBox="1">
            <a:spLocks/>
          </p:cNvSpPr>
          <p:nvPr/>
        </p:nvSpPr>
        <p:spPr>
          <a:xfrm>
            <a:off x="272362" y="171001"/>
            <a:ext cx="11224411" cy="789319"/>
          </a:xfrm>
          <a:prstGeom prst="rect">
            <a:avLst/>
          </a:prstGeom>
        </p:spPr>
        <p:txBody>
          <a:bodyPr vert="horz"/>
          <a:lst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a:lstStyle>
          <a:p>
            <a:r>
              <a:rPr lang="en-US" dirty="0">
                <a:solidFill>
                  <a:schemeClr val="accent2">
                    <a:lumMod val="50000"/>
                  </a:schemeClr>
                </a:solidFill>
              </a:rPr>
              <a:t>Navigating the IVDR: understanding risk classification, notified bodies, stringent requirements, and enhanced transparency</a:t>
            </a:r>
          </a:p>
        </p:txBody>
      </p:sp>
      <p:sp>
        <p:nvSpPr>
          <p:cNvPr id="22" name="Rectangle 21">
            <a:extLst>
              <a:ext uri="{FF2B5EF4-FFF2-40B4-BE49-F238E27FC236}">
                <a16:creationId xmlns:a16="http://schemas.microsoft.com/office/drawing/2014/main" id="{75AEB61C-2977-4395-80F6-0F5DF24C08C0}"/>
              </a:ext>
            </a:extLst>
          </p:cNvPr>
          <p:cNvSpPr/>
          <p:nvPr/>
        </p:nvSpPr>
        <p:spPr>
          <a:xfrm>
            <a:off x="3705043" y="2437961"/>
            <a:ext cx="7314889" cy="461665"/>
          </a:xfrm>
          <a:prstGeom prst="rect">
            <a:avLst/>
          </a:prstGeom>
        </p:spPr>
        <p:txBody>
          <a:bodyPr wrap="square">
            <a:spAutoFit/>
          </a:bodyPr>
          <a:lstStyle/>
          <a:p>
            <a:pPr>
              <a:buFont typeface="Arial" panose="020B0604020202020204" pitchFamily="34" charset="0"/>
              <a:buChar char="•"/>
            </a:pPr>
            <a:r>
              <a:rPr lang="en-US" sz="1200" dirty="0">
                <a:solidFill>
                  <a:srgbClr val="374151"/>
                </a:solidFill>
              </a:rPr>
              <a:t>    </a:t>
            </a:r>
            <a:r>
              <a:rPr lang="en-US" sz="1200" b="1" dirty="0">
                <a:solidFill>
                  <a:schemeClr val="dk1">
                    <a:hueOff val="0"/>
                    <a:satOff val="0"/>
                    <a:lumOff val="0"/>
                    <a:alphaOff val="0"/>
                  </a:schemeClr>
                </a:solidFill>
              </a:rPr>
              <a:t>Notified bodies play a crucial role </a:t>
            </a:r>
            <a:r>
              <a:rPr lang="en-US" sz="1200" dirty="0">
                <a:solidFill>
                  <a:schemeClr val="dk1">
                    <a:hueOff val="0"/>
                    <a:satOff val="0"/>
                    <a:lumOff val="0"/>
                    <a:alphaOff val="0"/>
                  </a:schemeClr>
                </a:solidFill>
              </a:rPr>
              <a:t>in conformity assessment and certification</a:t>
            </a:r>
          </a:p>
          <a:p>
            <a:pPr>
              <a:buFont typeface="Arial" panose="020B0604020202020204" pitchFamily="34" charset="0"/>
              <a:buChar char="•"/>
            </a:pPr>
            <a:r>
              <a:rPr lang="en-US" sz="1200" dirty="0">
                <a:solidFill>
                  <a:schemeClr val="dk1">
                    <a:hueOff val="0"/>
                    <a:satOff val="0"/>
                    <a:lumOff val="0"/>
                    <a:alphaOff val="0"/>
                  </a:schemeClr>
                </a:solidFill>
              </a:rPr>
              <a:t>   </a:t>
            </a:r>
            <a:r>
              <a:rPr lang="en-US" sz="1200" b="1" dirty="0">
                <a:solidFill>
                  <a:schemeClr val="dk1">
                    <a:hueOff val="0"/>
                    <a:satOff val="0"/>
                    <a:lumOff val="0"/>
                    <a:alphaOff val="0"/>
                  </a:schemeClr>
                </a:solidFill>
              </a:rPr>
              <a:t>Designation process is rigorous </a:t>
            </a:r>
            <a:r>
              <a:rPr lang="en-US" sz="1200" dirty="0">
                <a:solidFill>
                  <a:schemeClr val="dk1">
                    <a:hueOff val="0"/>
                    <a:satOff val="0"/>
                    <a:lumOff val="0"/>
                    <a:alphaOff val="0"/>
                  </a:schemeClr>
                </a:solidFill>
              </a:rPr>
              <a:t>and involves assessors from national and European authorities</a:t>
            </a:r>
          </a:p>
        </p:txBody>
      </p:sp>
      <p:sp>
        <p:nvSpPr>
          <p:cNvPr id="25" name="Rectangle 24">
            <a:extLst>
              <a:ext uri="{FF2B5EF4-FFF2-40B4-BE49-F238E27FC236}">
                <a16:creationId xmlns:a16="http://schemas.microsoft.com/office/drawing/2014/main" id="{0A8EB1C4-C2D5-4BE1-9370-B15F69F7A063}"/>
              </a:ext>
            </a:extLst>
          </p:cNvPr>
          <p:cNvSpPr/>
          <p:nvPr/>
        </p:nvSpPr>
        <p:spPr>
          <a:xfrm>
            <a:off x="550863" y="5670245"/>
            <a:ext cx="10695313" cy="600164"/>
          </a:xfrm>
          <a:prstGeom prst="rect">
            <a:avLst/>
          </a:prstGeom>
        </p:spPr>
        <p:txBody>
          <a:bodyPr wrap="square">
            <a:spAutoFit/>
          </a:bodyPr>
          <a:lstStyle/>
          <a:p>
            <a:pPr indent="-171450">
              <a:spcBef>
                <a:spcPts val="600"/>
              </a:spcBef>
              <a:buFont typeface="Arial" panose="020B0604020202020204" pitchFamily="34" charset="0"/>
              <a:buChar char="•"/>
            </a:pPr>
            <a:r>
              <a:rPr lang="en-US" sz="1400" dirty="0">
                <a:solidFill>
                  <a:schemeClr val="accent2">
                    <a:lumMod val="75000"/>
                  </a:schemeClr>
                </a:solidFill>
              </a:rPr>
              <a:t>Only 10-15% of the IVD devices were regulated under IVDD, rest were introduced through self-declaration by manufacturers</a:t>
            </a:r>
          </a:p>
          <a:p>
            <a:pPr indent="-171450">
              <a:spcBef>
                <a:spcPts val="600"/>
              </a:spcBef>
              <a:buFont typeface="Arial" panose="020B0604020202020204" pitchFamily="34" charset="0"/>
              <a:buChar char="•"/>
            </a:pPr>
            <a:r>
              <a:rPr lang="en-US" sz="1400" dirty="0">
                <a:solidFill>
                  <a:schemeClr val="accent2">
                    <a:lumMod val="75000"/>
                  </a:schemeClr>
                </a:solidFill>
              </a:rPr>
              <a:t>On the other hand, under the newer regulation EU-IVDR, 80-85% of IVD devices need to apply for certification</a:t>
            </a:r>
          </a:p>
        </p:txBody>
      </p:sp>
    </p:spTree>
    <p:extLst>
      <p:ext uri="{BB962C8B-B14F-4D97-AF65-F5344CB8AC3E}">
        <p14:creationId xmlns:p14="http://schemas.microsoft.com/office/powerpoint/2010/main" val="28777562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C27FC3-B924-A511-C045-8555D0ED93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33" name="think-cell Slide" r:id="rId5" imgW="421" imgH="423" progId="TCLayout.ActiveDocument.1">
                  <p:embed/>
                </p:oleObj>
              </mc:Choice>
              <mc:Fallback>
                <p:oleObj name="think-cell Slide" r:id="rId5" imgW="421" imgH="423" progId="TCLayout.ActiveDocument.1">
                  <p:embed/>
                  <p:pic>
                    <p:nvPicPr>
                      <p:cNvPr id="4" name="think-cell data - do not delete" hidden="1">
                        <a:extLst>
                          <a:ext uri="{FF2B5EF4-FFF2-40B4-BE49-F238E27FC236}">
                            <a16:creationId xmlns:a16="http://schemas.microsoft.com/office/drawing/2014/main" id="{9FC27FC3-B924-A511-C045-8555D0ED93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4">
            <a:extLst>
              <a:ext uri="{FF2B5EF4-FFF2-40B4-BE49-F238E27FC236}">
                <a16:creationId xmlns:a16="http://schemas.microsoft.com/office/drawing/2014/main" id="{2ADC8ECC-890D-F743-8197-B5ED7CDCDDC6}"/>
              </a:ext>
            </a:extLst>
          </p:cNvPr>
          <p:cNvSpPr txBox="1">
            <a:spLocks/>
          </p:cNvSpPr>
          <p:nvPr/>
        </p:nvSpPr>
        <p:spPr>
          <a:xfrm>
            <a:off x="254525" y="201774"/>
            <a:ext cx="11467675" cy="885858"/>
          </a:xfrm>
          <a:prstGeom prst="rect">
            <a:avLst/>
          </a:prstGeom>
        </p:spPr>
        <p:txBody>
          <a:bodyPr vert="horz"/>
          <a:lst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a:lstStyle>
          <a:p>
            <a:r>
              <a:rPr lang="en-US" dirty="0">
                <a:solidFill>
                  <a:schemeClr val="accent2">
                    <a:lumMod val="50000"/>
                  </a:schemeClr>
                </a:solidFill>
              </a:rPr>
              <a:t>EU IVDR will have an impact on how IVDs are regulated and the availability of IVDs in all countries</a:t>
            </a:r>
          </a:p>
        </p:txBody>
      </p:sp>
      <p:grpSp>
        <p:nvGrpSpPr>
          <p:cNvPr id="89" name="Group 88">
            <a:extLst>
              <a:ext uri="{FF2B5EF4-FFF2-40B4-BE49-F238E27FC236}">
                <a16:creationId xmlns:a16="http://schemas.microsoft.com/office/drawing/2014/main" id="{B0BBF1BF-B9E7-3829-6127-CB97EE6E4A50}"/>
              </a:ext>
            </a:extLst>
          </p:cNvPr>
          <p:cNvGrpSpPr/>
          <p:nvPr/>
        </p:nvGrpSpPr>
        <p:grpSpPr>
          <a:xfrm>
            <a:off x="637749" y="3723964"/>
            <a:ext cx="11001605" cy="2480733"/>
            <a:chOff x="637749" y="3705110"/>
            <a:chExt cx="11001605" cy="2480733"/>
          </a:xfrm>
        </p:grpSpPr>
        <p:grpSp>
          <p:nvGrpSpPr>
            <p:cNvPr id="69" name="Group 68">
              <a:extLst>
                <a:ext uri="{FF2B5EF4-FFF2-40B4-BE49-F238E27FC236}">
                  <a16:creationId xmlns:a16="http://schemas.microsoft.com/office/drawing/2014/main" id="{168D9687-6D0A-E0C3-FD8C-CE8542CC973C}"/>
                </a:ext>
              </a:extLst>
            </p:cNvPr>
            <p:cNvGrpSpPr/>
            <p:nvPr/>
          </p:nvGrpSpPr>
          <p:grpSpPr>
            <a:xfrm>
              <a:off x="5681998" y="3705110"/>
              <a:ext cx="5957356" cy="2480733"/>
              <a:chOff x="559667" y="3767667"/>
              <a:chExt cx="5957356" cy="2480733"/>
            </a:xfrm>
          </p:grpSpPr>
          <p:sp>
            <p:nvSpPr>
              <p:cNvPr id="67" name="Shape">
                <a:extLst>
                  <a:ext uri="{FF2B5EF4-FFF2-40B4-BE49-F238E27FC236}">
                    <a16:creationId xmlns:a16="http://schemas.microsoft.com/office/drawing/2014/main" id="{C7D2BC08-6965-05F5-D001-EC02B2933E68}"/>
                  </a:ext>
                </a:extLst>
              </p:cNvPr>
              <p:cNvSpPr/>
              <p:nvPr/>
            </p:nvSpPr>
            <p:spPr>
              <a:xfrm>
                <a:off x="559667" y="3910432"/>
                <a:ext cx="5957356" cy="2244834"/>
              </a:xfrm>
              <a:prstGeom prst="roundRect">
                <a:avLst/>
              </a:prstGeom>
              <a:solidFill>
                <a:schemeClr val="accent2">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dirty="0"/>
              </a:p>
            </p:txBody>
          </p:sp>
          <p:sp>
            <p:nvSpPr>
              <p:cNvPr id="68" name="Rectangle 67">
                <a:extLst>
                  <a:ext uri="{FF2B5EF4-FFF2-40B4-BE49-F238E27FC236}">
                    <a16:creationId xmlns:a16="http://schemas.microsoft.com/office/drawing/2014/main" id="{172564EC-52E3-D254-ABAA-9D884AD67D08}"/>
                  </a:ext>
                </a:extLst>
              </p:cNvPr>
              <p:cNvSpPr/>
              <p:nvPr/>
            </p:nvSpPr>
            <p:spPr>
              <a:xfrm>
                <a:off x="1380070" y="3767667"/>
                <a:ext cx="5046133" cy="2480733"/>
              </a:xfrm>
              <a:prstGeom prst="rect">
                <a:avLst/>
              </a:prstGeom>
              <a:solidFill>
                <a:schemeClr val="bg1"/>
              </a:solidFill>
              <a:ln>
                <a:solidFill>
                  <a:schemeClr val="bg1"/>
                </a:solidFill>
              </a:ln>
            </p:spPr>
            <p:txBody>
              <a:bodyPr wrap="square" rtlCol="0" anchor="ctr">
                <a:noAutofit/>
              </a:bodyPr>
              <a:lstStyle/>
              <a:p>
                <a:pPr algn="l"/>
                <a:endParaRPr lang="en-US" dirty="0">
                  <a:solidFill>
                    <a:schemeClr val="tx1"/>
                  </a:solidFill>
                </a:endParaRPr>
              </a:p>
            </p:txBody>
          </p:sp>
          <p:sp>
            <p:nvSpPr>
              <p:cNvPr id="52" name="Oval 51">
                <a:extLst>
                  <a:ext uri="{FF2B5EF4-FFF2-40B4-BE49-F238E27FC236}">
                    <a16:creationId xmlns:a16="http://schemas.microsoft.com/office/drawing/2014/main" id="{10C612AE-9F6D-EE9C-358F-D66C1BAE4F22}"/>
                  </a:ext>
                </a:extLst>
              </p:cNvPr>
              <p:cNvSpPr/>
              <p:nvPr/>
            </p:nvSpPr>
            <p:spPr>
              <a:xfrm flipH="1">
                <a:off x="1532762" y="4032132"/>
                <a:ext cx="406753" cy="406752"/>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rPr>
                  <a:t>1</a:t>
                </a:r>
              </a:p>
            </p:txBody>
          </p:sp>
          <p:sp>
            <p:nvSpPr>
              <p:cNvPr id="55" name="TextBox 54">
                <a:extLst>
                  <a:ext uri="{FF2B5EF4-FFF2-40B4-BE49-F238E27FC236}">
                    <a16:creationId xmlns:a16="http://schemas.microsoft.com/office/drawing/2014/main" id="{F3AFE4F4-E05D-BD67-D92B-AD7702E9E0AC}"/>
                  </a:ext>
                </a:extLst>
              </p:cNvPr>
              <p:cNvSpPr txBox="1"/>
              <p:nvPr/>
            </p:nvSpPr>
            <p:spPr>
              <a:xfrm>
                <a:off x="1937854" y="4097009"/>
                <a:ext cx="4285146" cy="276999"/>
              </a:xfrm>
              <a:prstGeom prst="rect">
                <a:avLst/>
              </a:prstGeom>
              <a:noFill/>
            </p:spPr>
            <p:txBody>
              <a:bodyPr wrap="square" rtlCol="0">
                <a:spAutoFit/>
              </a:bodyPr>
              <a:lstStyle/>
              <a:p>
                <a:r>
                  <a:rPr lang="en-US" sz="1200" b="1" dirty="0"/>
                  <a:t>Process and handle change notifications based on risk</a:t>
                </a:r>
              </a:p>
            </p:txBody>
          </p:sp>
          <p:sp>
            <p:nvSpPr>
              <p:cNvPr id="56" name="Oval 55">
                <a:extLst>
                  <a:ext uri="{FF2B5EF4-FFF2-40B4-BE49-F238E27FC236}">
                    <a16:creationId xmlns:a16="http://schemas.microsoft.com/office/drawing/2014/main" id="{A2CC4A93-AEC8-75AF-7F93-2D57E37719D1}"/>
                  </a:ext>
                </a:extLst>
              </p:cNvPr>
              <p:cNvSpPr/>
              <p:nvPr/>
            </p:nvSpPr>
            <p:spPr>
              <a:xfrm flipH="1">
                <a:off x="1532762" y="4561267"/>
                <a:ext cx="406753" cy="406752"/>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rPr>
                  <a:t>2</a:t>
                </a:r>
              </a:p>
            </p:txBody>
          </p:sp>
          <p:sp>
            <p:nvSpPr>
              <p:cNvPr id="57" name="TextBox 56">
                <a:extLst>
                  <a:ext uri="{FF2B5EF4-FFF2-40B4-BE49-F238E27FC236}">
                    <a16:creationId xmlns:a16="http://schemas.microsoft.com/office/drawing/2014/main" id="{BD1E4DA9-FA69-5EAF-E256-77D2BFF6C0BC}"/>
                  </a:ext>
                </a:extLst>
              </p:cNvPr>
              <p:cNvSpPr txBox="1"/>
              <p:nvPr/>
            </p:nvSpPr>
            <p:spPr>
              <a:xfrm>
                <a:off x="1937854" y="4626144"/>
                <a:ext cx="4285146" cy="276999"/>
              </a:xfrm>
              <a:prstGeom prst="rect">
                <a:avLst/>
              </a:prstGeom>
              <a:noFill/>
            </p:spPr>
            <p:txBody>
              <a:bodyPr wrap="square" rtlCol="0">
                <a:spAutoFit/>
              </a:bodyPr>
              <a:lstStyle/>
              <a:p>
                <a:r>
                  <a:rPr lang="en-US" sz="1200" b="1" dirty="0"/>
                  <a:t>Learn from challenges faced by IVDR</a:t>
                </a:r>
              </a:p>
            </p:txBody>
          </p:sp>
          <p:sp>
            <p:nvSpPr>
              <p:cNvPr id="59" name="Oval 58">
                <a:extLst>
                  <a:ext uri="{FF2B5EF4-FFF2-40B4-BE49-F238E27FC236}">
                    <a16:creationId xmlns:a16="http://schemas.microsoft.com/office/drawing/2014/main" id="{EE8EF056-FE9C-1047-7F75-367E792DC16C}"/>
                  </a:ext>
                </a:extLst>
              </p:cNvPr>
              <p:cNvSpPr/>
              <p:nvPr/>
            </p:nvSpPr>
            <p:spPr>
              <a:xfrm flipH="1">
                <a:off x="1542287" y="5094667"/>
                <a:ext cx="406753" cy="406752"/>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rPr>
                  <a:t>3</a:t>
                </a:r>
              </a:p>
            </p:txBody>
          </p:sp>
          <p:sp>
            <p:nvSpPr>
              <p:cNvPr id="60" name="TextBox 59">
                <a:extLst>
                  <a:ext uri="{FF2B5EF4-FFF2-40B4-BE49-F238E27FC236}">
                    <a16:creationId xmlns:a16="http://schemas.microsoft.com/office/drawing/2014/main" id="{587887ED-E61A-4FD4-711C-7548FCB78D06}"/>
                  </a:ext>
                </a:extLst>
              </p:cNvPr>
              <p:cNvSpPr txBox="1"/>
              <p:nvPr/>
            </p:nvSpPr>
            <p:spPr>
              <a:xfrm>
                <a:off x="1947379" y="5159544"/>
                <a:ext cx="4285146" cy="461665"/>
              </a:xfrm>
              <a:prstGeom prst="rect">
                <a:avLst/>
              </a:prstGeom>
              <a:noFill/>
            </p:spPr>
            <p:txBody>
              <a:bodyPr wrap="square" rtlCol="0">
                <a:spAutoFit/>
              </a:bodyPr>
              <a:lstStyle/>
              <a:p>
                <a:r>
                  <a:rPr lang="en-US" sz="1200" b="1" dirty="0"/>
                  <a:t>Ensure supply of devices</a:t>
                </a:r>
              </a:p>
              <a:p>
                <a:endParaRPr lang="en-US" sz="1200" b="1" dirty="0"/>
              </a:p>
            </p:txBody>
          </p:sp>
          <p:sp>
            <p:nvSpPr>
              <p:cNvPr id="61" name="Oval 60">
                <a:extLst>
                  <a:ext uri="{FF2B5EF4-FFF2-40B4-BE49-F238E27FC236}">
                    <a16:creationId xmlns:a16="http://schemas.microsoft.com/office/drawing/2014/main" id="{93A37B3D-F27B-AC8B-F13A-AFBAE39477F7}"/>
                  </a:ext>
                </a:extLst>
              </p:cNvPr>
              <p:cNvSpPr/>
              <p:nvPr/>
            </p:nvSpPr>
            <p:spPr>
              <a:xfrm flipH="1">
                <a:off x="1523003" y="5630168"/>
                <a:ext cx="406753" cy="406752"/>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rPr>
                  <a:t>4</a:t>
                </a:r>
              </a:p>
            </p:txBody>
          </p:sp>
          <p:sp>
            <p:nvSpPr>
              <p:cNvPr id="62" name="TextBox 61">
                <a:extLst>
                  <a:ext uri="{FF2B5EF4-FFF2-40B4-BE49-F238E27FC236}">
                    <a16:creationId xmlns:a16="http://schemas.microsoft.com/office/drawing/2014/main" id="{CC7301D0-D342-46C5-1BB9-2881334E7998}"/>
                  </a:ext>
                </a:extLst>
              </p:cNvPr>
              <p:cNvSpPr txBox="1"/>
              <p:nvPr/>
            </p:nvSpPr>
            <p:spPr>
              <a:xfrm>
                <a:off x="1947379" y="5695045"/>
                <a:ext cx="4285146" cy="276999"/>
              </a:xfrm>
              <a:prstGeom prst="rect">
                <a:avLst/>
              </a:prstGeom>
              <a:noFill/>
            </p:spPr>
            <p:txBody>
              <a:bodyPr wrap="square" rtlCol="0">
                <a:spAutoFit/>
              </a:bodyPr>
              <a:lstStyle/>
              <a:p>
                <a:r>
                  <a:rPr lang="en-US" sz="1200" b="1" dirty="0"/>
                  <a:t>Provide support for innovation</a:t>
                </a:r>
              </a:p>
            </p:txBody>
          </p:sp>
        </p:grpSp>
        <p:grpSp>
          <p:nvGrpSpPr>
            <p:cNvPr id="83" name="Group 82">
              <a:extLst>
                <a:ext uri="{FF2B5EF4-FFF2-40B4-BE49-F238E27FC236}">
                  <a16:creationId xmlns:a16="http://schemas.microsoft.com/office/drawing/2014/main" id="{D08B39EF-889B-FFF8-55F6-369AA6234A97}"/>
                </a:ext>
              </a:extLst>
            </p:cNvPr>
            <p:cNvGrpSpPr/>
            <p:nvPr/>
          </p:nvGrpSpPr>
          <p:grpSpPr>
            <a:xfrm>
              <a:off x="637749" y="3705110"/>
              <a:ext cx="4942433" cy="2480733"/>
              <a:chOff x="637749" y="3705110"/>
              <a:chExt cx="4942433" cy="2480733"/>
            </a:xfrm>
          </p:grpSpPr>
          <p:sp>
            <p:nvSpPr>
              <p:cNvPr id="71" name="Shape">
                <a:extLst>
                  <a:ext uri="{FF2B5EF4-FFF2-40B4-BE49-F238E27FC236}">
                    <a16:creationId xmlns:a16="http://schemas.microsoft.com/office/drawing/2014/main" id="{DADAC476-39A9-2FB4-DD13-300D2E4C87C1}"/>
                  </a:ext>
                </a:extLst>
              </p:cNvPr>
              <p:cNvSpPr/>
              <p:nvPr/>
            </p:nvSpPr>
            <p:spPr>
              <a:xfrm>
                <a:off x="637749" y="3847875"/>
                <a:ext cx="4942433" cy="2244834"/>
              </a:xfrm>
              <a:prstGeom prst="roundRect">
                <a:avLst/>
              </a:prstGeom>
              <a:solidFill>
                <a:schemeClr val="accent2">
                  <a:lumMod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dirty="0"/>
              </a:p>
            </p:txBody>
          </p:sp>
          <p:sp>
            <p:nvSpPr>
              <p:cNvPr id="72" name="Rectangle 71">
                <a:extLst>
                  <a:ext uri="{FF2B5EF4-FFF2-40B4-BE49-F238E27FC236}">
                    <a16:creationId xmlns:a16="http://schemas.microsoft.com/office/drawing/2014/main" id="{9E07942C-3F85-F057-A764-AB22B521E80D}"/>
                  </a:ext>
                </a:extLst>
              </p:cNvPr>
              <p:cNvSpPr/>
              <p:nvPr/>
            </p:nvSpPr>
            <p:spPr>
              <a:xfrm>
                <a:off x="1455842" y="3705110"/>
                <a:ext cx="4005157" cy="2480733"/>
              </a:xfrm>
              <a:prstGeom prst="rect">
                <a:avLst/>
              </a:prstGeom>
              <a:solidFill>
                <a:schemeClr val="bg1"/>
              </a:solidFill>
              <a:ln>
                <a:solidFill>
                  <a:schemeClr val="bg1"/>
                </a:solidFill>
              </a:ln>
            </p:spPr>
            <p:txBody>
              <a:bodyPr wrap="square" rtlCol="0" anchor="ctr">
                <a:noAutofit/>
              </a:bodyPr>
              <a:lstStyle/>
              <a:p>
                <a:pPr algn="l"/>
                <a:endParaRPr lang="en-US" dirty="0">
                  <a:solidFill>
                    <a:schemeClr val="tx1"/>
                  </a:solidFill>
                </a:endParaRPr>
              </a:p>
            </p:txBody>
          </p:sp>
          <p:sp>
            <p:nvSpPr>
              <p:cNvPr id="73" name="Oval 72">
                <a:extLst>
                  <a:ext uri="{FF2B5EF4-FFF2-40B4-BE49-F238E27FC236}">
                    <a16:creationId xmlns:a16="http://schemas.microsoft.com/office/drawing/2014/main" id="{9AE2E17F-6240-AB5E-89B4-FD520B0E95A9}"/>
                  </a:ext>
                </a:extLst>
              </p:cNvPr>
              <p:cNvSpPr/>
              <p:nvPr/>
            </p:nvSpPr>
            <p:spPr>
              <a:xfrm flipH="1">
                <a:off x="1608534" y="3969575"/>
                <a:ext cx="406753" cy="406752"/>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rPr>
                  <a:t>1</a:t>
                </a:r>
              </a:p>
            </p:txBody>
          </p:sp>
          <p:sp>
            <p:nvSpPr>
              <p:cNvPr id="74" name="TextBox 73">
                <a:extLst>
                  <a:ext uri="{FF2B5EF4-FFF2-40B4-BE49-F238E27FC236}">
                    <a16:creationId xmlns:a16="http://schemas.microsoft.com/office/drawing/2014/main" id="{5D909A4F-6E59-F884-68C2-4D67161D19FD}"/>
                  </a:ext>
                </a:extLst>
              </p:cNvPr>
              <p:cNvSpPr txBox="1"/>
              <p:nvPr/>
            </p:nvSpPr>
            <p:spPr>
              <a:xfrm>
                <a:off x="2013626" y="4034452"/>
                <a:ext cx="2922441" cy="276999"/>
              </a:xfrm>
              <a:prstGeom prst="rect">
                <a:avLst/>
              </a:prstGeom>
              <a:noFill/>
            </p:spPr>
            <p:txBody>
              <a:bodyPr wrap="square" rtlCol="0">
                <a:spAutoFit/>
              </a:bodyPr>
              <a:lstStyle/>
              <a:p>
                <a:r>
                  <a:rPr lang="en-US" sz="1200" b="1" dirty="0"/>
                  <a:t>Change notifications</a:t>
                </a:r>
              </a:p>
            </p:txBody>
          </p:sp>
          <p:sp>
            <p:nvSpPr>
              <p:cNvPr id="75" name="Oval 74">
                <a:extLst>
                  <a:ext uri="{FF2B5EF4-FFF2-40B4-BE49-F238E27FC236}">
                    <a16:creationId xmlns:a16="http://schemas.microsoft.com/office/drawing/2014/main" id="{9D49658C-9678-0B19-D7EE-D463EE69D0E6}"/>
                  </a:ext>
                </a:extLst>
              </p:cNvPr>
              <p:cNvSpPr/>
              <p:nvPr/>
            </p:nvSpPr>
            <p:spPr>
              <a:xfrm flipH="1">
                <a:off x="1608534" y="4498710"/>
                <a:ext cx="406753" cy="406752"/>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rPr>
                  <a:t>2</a:t>
                </a:r>
              </a:p>
            </p:txBody>
          </p:sp>
          <p:sp>
            <p:nvSpPr>
              <p:cNvPr id="76" name="TextBox 75">
                <a:extLst>
                  <a:ext uri="{FF2B5EF4-FFF2-40B4-BE49-F238E27FC236}">
                    <a16:creationId xmlns:a16="http://schemas.microsoft.com/office/drawing/2014/main" id="{823C7205-AE65-3DE4-CBC9-6227CFC3897C}"/>
                  </a:ext>
                </a:extLst>
              </p:cNvPr>
              <p:cNvSpPr txBox="1"/>
              <p:nvPr/>
            </p:nvSpPr>
            <p:spPr>
              <a:xfrm>
                <a:off x="2013626" y="4563587"/>
                <a:ext cx="2922441" cy="276999"/>
              </a:xfrm>
              <a:prstGeom prst="rect">
                <a:avLst/>
              </a:prstGeom>
              <a:noFill/>
            </p:spPr>
            <p:txBody>
              <a:bodyPr wrap="square" rtlCol="0">
                <a:spAutoFit/>
              </a:bodyPr>
              <a:lstStyle/>
              <a:p>
                <a:r>
                  <a:rPr lang="en-US" sz="1200" b="1" dirty="0"/>
                  <a:t>Aligning to local regulatory body</a:t>
                </a:r>
              </a:p>
            </p:txBody>
          </p:sp>
          <p:sp>
            <p:nvSpPr>
              <p:cNvPr id="78" name="Oval 77">
                <a:extLst>
                  <a:ext uri="{FF2B5EF4-FFF2-40B4-BE49-F238E27FC236}">
                    <a16:creationId xmlns:a16="http://schemas.microsoft.com/office/drawing/2014/main" id="{922DC382-6CDA-281A-FFA0-2459C364FB9C}"/>
                  </a:ext>
                </a:extLst>
              </p:cNvPr>
              <p:cNvSpPr/>
              <p:nvPr/>
            </p:nvSpPr>
            <p:spPr>
              <a:xfrm flipH="1">
                <a:off x="1618059" y="5032110"/>
                <a:ext cx="406753" cy="406752"/>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rPr>
                  <a:t>3</a:t>
                </a:r>
              </a:p>
            </p:txBody>
          </p:sp>
          <p:sp>
            <p:nvSpPr>
              <p:cNvPr id="79" name="TextBox 78">
                <a:extLst>
                  <a:ext uri="{FF2B5EF4-FFF2-40B4-BE49-F238E27FC236}">
                    <a16:creationId xmlns:a16="http://schemas.microsoft.com/office/drawing/2014/main" id="{62B919D3-75C3-F13A-52B1-D44374B9D4B1}"/>
                  </a:ext>
                </a:extLst>
              </p:cNvPr>
              <p:cNvSpPr txBox="1"/>
              <p:nvPr/>
            </p:nvSpPr>
            <p:spPr>
              <a:xfrm>
                <a:off x="2023151" y="5096987"/>
                <a:ext cx="2922441" cy="276999"/>
              </a:xfrm>
              <a:prstGeom prst="rect">
                <a:avLst/>
              </a:prstGeom>
              <a:noFill/>
            </p:spPr>
            <p:txBody>
              <a:bodyPr wrap="square" rtlCol="0">
                <a:spAutoFit/>
              </a:bodyPr>
              <a:lstStyle/>
              <a:p>
                <a:r>
                  <a:rPr lang="en-US" sz="1200" b="1" dirty="0"/>
                  <a:t>Navigate new local regulations</a:t>
                </a:r>
              </a:p>
            </p:txBody>
          </p:sp>
          <p:sp>
            <p:nvSpPr>
              <p:cNvPr id="80" name="Oval 79">
                <a:extLst>
                  <a:ext uri="{FF2B5EF4-FFF2-40B4-BE49-F238E27FC236}">
                    <a16:creationId xmlns:a16="http://schemas.microsoft.com/office/drawing/2014/main" id="{3B1B9BC1-6D7F-39D6-0FF2-1FE3E9FE5B43}"/>
                  </a:ext>
                </a:extLst>
              </p:cNvPr>
              <p:cNvSpPr/>
              <p:nvPr/>
            </p:nvSpPr>
            <p:spPr>
              <a:xfrm flipH="1">
                <a:off x="1598775" y="5567611"/>
                <a:ext cx="406753" cy="406752"/>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rPr>
                  <a:t>4</a:t>
                </a:r>
              </a:p>
            </p:txBody>
          </p:sp>
          <p:sp>
            <p:nvSpPr>
              <p:cNvPr id="81" name="TextBox 80">
                <a:extLst>
                  <a:ext uri="{FF2B5EF4-FFF2-40B4-BE49-F238E27FC236}">
                    <a16:creationId xmlns:a16="http://schemas.microsoft.com/office/drawing/2014/main" id="{757CF666-E716-587C-CE74-9C0F53702798}"/>
                  </a:ext>
                </a:extLst>
              </p:cNvPr>
              <p:cNvSpPr txBox="1"/>
              <p:nvPr/>
            </p:nvSpPr>
            <p:spPr>
              <a:xfrm>
                <a:off x="2023151" y="5632488"/>
                <a:ext cx="2922441" cy="276999"/>
              </a:xfrm>
              <a:prstGeom prst="rect">
                <a:avLst/>
              </a:prstGeom>
              <a:noFill/>
            </p:spPr>
            <p:txBody>
              <a:bodyPr wrap="square" rtlCol="0">
                <a:spAutoFit/>
              </a:bodyPr>
              <a:lstStyle/>
              <a:p>
                <a:r>
                  <a:rPr lang="en-US" sz="1200" b="1" dirty="0"/>
                  <a:t>Continue to innovate</a:t>
                </a:r>
              </a:p>
            </p:txBody>
          </p:sp>
        </p:grpSp>
        <p:pic>
          <p:nvPicPr>
            <p:cNvPr id="84" name="Graphic 83">
              <a:extLst>
                <a:ext uri="{FF2B5EF4-FFF2-40B4-BE49-F238E27FC236}">
                  <a16:creationId xmlns:a16="http://schemas.microsoft.com/office/drawing/2014/main" id="{DEC7FEE1-571C-288C-6F3C-F58BC4A3FDA5}"/>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944014" y="4656721"/>
              <a:ext cx="498473" cy="569083"/>
            </a:xfrm>
            <a:prstGeom prst="rect">
              <a:avLst/>
            </a:prstGeom>
          </p:spPr>
        </p:pic>
        <p:pic>
          <p:nvPicPr>
            <p:cNvPr id="85" name="Graphic 84">
              <a:extLst>
                <a:ext uri="{FF2B5EF4-FFF2-40B4-BE49-F238E27FC236}">
                  <a16:creationId xmlns:a16="http://schemas.microsoft.com/office/drawing/2014/main" id="{91EEC628-76C0-C724-D86A-5039D1D9F21F}"/>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915918" y="4734737"/>
              <a:ext cx="505940" cy="491067"/>
            </a:xfrm>
            <a:prstGeom prst="rect">
              <a:avLst/>
            </a:prstGeom>
          </p:spPr>
        </p:pic>
        <p:sp>
          <p:nvSpPr>
            <p:cNvPr id="87" name="Rectangle 86">
              <a:extLst>
                <a:ext uri="{FF2B5EF4-FFF2-40B4-BE49-F238E27FC236}">
                  <a16:creationId xmlns:a16="http://schemas.microsoft.com/office/drawing/2014/main" id="{4866424C-3DCF-39AE-ED5B-B960241BE18F}"/>
                </a:ext>
              </a:extLst>
            </p:cNvPr>
            <p:cNvSpPr/>
            <p:nvPr/>
          </p:nvSpPr>
          <p:spPr>
            <a:xfrm rot="16200000">
              <a:off x="304841" y="4850239"/>
              <a:ext cx="971420" cy="276999"/>
            </a:xfrm>
            <a:prstGeom prst="rect">
              <a:avLst/>
            </a:prstGeom>
          </p:spPr>
          <p:txBody>
            <a:bodyPr wrap="none" anchor="ctr">
              <a:spAutoFit/>
            </a:bodyPr>
            <a:lstStyle/>
            <a:p>
              <a:pPr algn="ctr"/>
              <a:r>
                <a:rPr lang="en-US" sz="1200" b="1" cap="all" dirty="0">
                  <a:solidFill>
                    <a:schemeClr val="bg1"/>
                  </a:solidFill>
                </a:rPr>
                <a:t>industry</a:t>
              </a:r>
            </a:p>
          </p:txBody>
        </p:sp>
        <p:sp>
          <p:nvSpPr>
            <p:cNvPr id="88" name="Rectangle 87">
              <a:extLst>
                <a:ext uri="{FF2B5EF4-FFF2-40B4-BE49-F238E27FC236}">
                  <a16:creationId xmlns:a16="http://schemas.microsoft.com/office/drawing/2014/main" id="{0F375438-1122-FBE6-D11E-5AAC99D75D40}"/>
                </a:ext>
              </a:extLst>
            </p:cNvPr>
            <p:cNvSpPr/>
            <p:nvPr/>
          </p:nvSpPr>
          <p:spPr>
            <a:xfrm rot="16200000">
              <a:off x="5214356" y="4821231"/>
              <a:ext cx="1244893" cy="276999"/>
            </a:xfrm>
            <a:prstGeom prst="rect">
              <a:avLst/>
            </a:prstGeom>
          </p:spPr>
          <p:txBody>
            <a:bodyPr wrap="none" anchor="ctr">
              <a:spAutoFit/>
            </a:bodyPr>
            <a:lstStyle/>
            <a:p>
              <a:pPr algn="ctr"/>
              <a:r>
                <a:rPr lang="en-US" sz="1200" b="1" cap="all" dirty="0">
                  <a:solidFill>
                    <a:schemeClr val="bg1"/>
                  </a:solidFill>
                </a:rPr>
                <a:t>Regulators</a:t>
              </a:r>
            </a:p>
          </p:txBody>
        </p:sp>
      </p:grpSp>
      <p:grpSp>
        <p:nvGrpSpPr>
          <p:cNvPr id="99" name="Group 98">
            <a:extLst>
              <a:ext uri="{FF2B5EF4-FFF2-40B4-BE49-F238E27FC236}">
                <a16:creationId xmlns:a16="http://schemas.microsoft.com/office/drawing/2014/main" id="{07EEE322-0192-7E3A-B811-AA1952396073}"/>
              </a:ext>
            </a:extLst>
          </p:cNvPr>
          <p:cNvGrpSpPr/>
          <p:nvPr/>
        </p:nvGrpSpPr>
        <p:grpSpPr>
          <a:xfrm>
            <a:off x="646584" y="3344658"/>
            <a:ext cx="9230840" cy="291614"/>
            <a:chOff x="722784" y="3460657"/>
            <a:chExt cx="9230840" cy="291614"/>
          </a:xfrm>
          <a:solidFill>
            <a:schemeClr val="accent2">
              <a:lumMod val="50000"/>
            </a:schemeClr>
          </a:solidFill>
        </p:grpSpPr>
        <p:sp>
          <p:nvSpPr>
            <p:cNvPr id="91" name="Arrow: Chevron 90">
              <a:extLst>
                <a:ext uri="{FF2B5EF4-FFF2-40B4-BE49-F238E27FC236}">
                  <a16:creationId xmlns:a16="http://schemas.microsoft.com/office/drawing/2014/main" id="{726BB938-FC21-F913-834A-9090E6CE68C6}"/>
                </a:ext>
              </a:extLst>
            </p:cNvPr>
            <p:cNvSpPr/>
            <p:nvPr/>
          </p:nvSpPr>
          <p:spPr>
            <a:xfrm>
              <a:off x="722784" y="3460657"/>
              <a:ext cx="778012" cy="291614"/>
            </a:xfrm>
            <a:prstGeom prst="chevron">
              <a:avLst>
                <a:gd name="adj" fmla="val 12249"/>
              </a:avLst>
            </a:prstGeom>
            <a:grpFill/>
            <a:ln>
              <a:noFill/>
            </a:ln>
          </p:spPr>
          <p:txBody>
            <a:bodyPr wrap="square" rtlCol="0" anchor="ctr">
              <a:noAutofit/>
            </a:bodyPr>
            <a:lstStyle/>
            <a:p>
              <a:pPr algn="l"/>
              <a:endParaRPr lang="en-US" dirty="0">
                <a:solidFill>
                  <a:schemeClr val="tx1"/>
                </a:solidFill>
              </a:endParaRPr>
            </a:p>
          </p:txBody>
        </p:sp>
        <p:sp>
          <p:nvSpPr>
            <p:cNvPr id="92" name="Arrow: Chevron 91">
              <a:extLst>
                <a:ext uri="{FF2B5EF4-FFF2-40B4-BE49-F238E27FC236}">
                  <a16:creationId xmlns:a16="http://schemas.microsoft.com/office/drawing/2014/main" id="{7227C3BA-2C2A-DF16-ABA5-BDA6A8E19C78}"/>
                </a:ext>
              </a:extLst>
            </p:cNvPr>
            <p:cNvSpPr/>
            <p:nvPr/>
          </p:nvSpPr>
          <p:spPr>
            <a:xfrm>
              <a:off x="866799" y="3460657"/>
              <a:ext cx="9086825" cy="291614"/>
            </a:xfrm>
            <a:prstGeom prst="chevron">
              <a:avLst>
                <a:gd name="adj" fmla="val 12249"/>
              </a:avLst>
            </a:prstGeom>
            <a:grpFill/>
            <a:ln>
              <a:solidFill>
                <a:schemeClr val="bg1"/>
              </a:solidFill>
            </a:ln>
          </p:spPr>
          <p:txBody>
            <a:bodyPr wrap="square" rtlCol="0" anchor="ctr">
              <a:noAutofit/>
            </a:bodyPr>
            <a:lstStyle/>
            <a:p>
              <a:pPr algn="l"/>
              <a:r>
                <a:rPr lang="en-US" sz="1400" b="1" dirty="0">
                  <a:solidFill>
                    <a:schemeClr val="bg1"/>
                  </a:solidFill>
                </a:rPr>
                <a:t>Wider impact on APAC:</a:t>
              </a:r>
            </a:p>
          </p:txBody>
        </p:sp>
      </p:grpSp>
      <p:grpSp>
        <p:nvGrpSpPr>
          <p:cNvPr id="100" name="Group 99">
            <a:extLst>
              <a:ext uri="{FF2B5EF4-FFF2-40B4-BE49-F238E27FC236}">
                <a16:creationId xmlns:a16="http://schemas.microsoft.com/office/drawing/2014/main" id="{B818B06D-A731-EAC1-2161-5E4CC3B33E12}"/>
              </a:ext>
            </a:extLst>
          </p:cNvPr>
          <p:cNvGrpSpPr/>
          <p:nvPr/>
        </p:nvGrpSpPr>
        <p:grpSpPr>
          <a:xfrm>
            <a:off x="646585" y="954099"/>
            <a:ext cx="3093208" cy="291614"/>
            <a:chOff x="722784" y="3460657"/>
            <a:chExt cx="9401676" cy="291614"/>
          </a:xfrm>
          <a:solidFill>
            <a:schemeClr val="accent2">
              <a:lumMod val="50000"/>
            </a:schemeClr>
          </a:solidFill>
        </p:grpSpPr>
        <p:sp>
          <p:nvSpPr>
            <p:cNvPr id="101" name="Arrow: Chevron 100">
              <a:extLst>
                <a:ext uri="{FF2B5EF4-FFF2-40B4-BE49-F238E27FC236}">
                  <a16:creationId xmlns:a16="http://schemas.microsoft.com/office/drawing/2014/main" id="{D2766D28-F159-58F2-E136-18E447FA718A}"/>
                </a:ext>
              </a:extLst>
            </p:cNvPr>
            <p:cNvSpPr/>
            <p:nvPr/>
          </p:nvSpPr>
          <p:spPr>
            <a:xfrm>
              <a:off x="722784" y="3460657"/>
              <a:ext cx="778012" cy="291614"/>
            </a:xfrm>
            <a:prstGeom prst="chevron">
              <a:avLst>
                <a:gd name="adj" fmla="val 12249"/>
              </a:avLst>
            </a:prstGeom>
            <a:grpFill/>
            <a:ln>
              <a:noFill/>
            </a:ln>
          </p:spPr>
          <p:txBody>
            <a:bodyPr wrap="square" rtlCol="0" anchor="ctr">
              <a:noAutofit/>
            </a:bodyPr>
            <a:lstStyle/>
            <a:p>
              <a:pPr algn="l"/>
              <a:endParaRPr lang="en-US" dirty="0">
                <a:solidFill>
                  <a:schemeClr val="tx1"/>
                </a:solidFill>
              </a:endParaRPr>
            </a:p>
          </p:txBody>
        </p:sp>
        <p:sp>
          <p:nvSpPr>
            <p:cNvPr id="102" name="Arrow: Chevron 101">
              <a:extLst>
                <a:ext uri="{FF2B5EF4-FFF2-40B4-BE49-F238E27FC236}">
                  <a16:creationId xmlns:a16="http://schemas.microsoft.com/office/drawing/2014/main" id="{3C65C83F-5BEE-80AE-4915-F87E14C7A592}"/>
                </a:ext>
              </a:extLst>
            </p:cNvPr>
            <p:cNvSpPr/>
            <p:nvPr/>
          </p:nvSpPr>
          <p:spPr>
            <a:xfrm>
              <a:off x="1037637" y="3460657"/>
              <a:ext cx="9086823" cy="291614"/>
            </a:xfrm>
            <a:prstGeom prst="chevron">
              <a:avLst>
                <a:gd name="adj" fmla="val 12249"/>
              </a:avLst>
            </a:prstGeom>
            <a:grpFill/>
            <a:ln>
              <a:solidFill>
                <a:schemeClr val="bg1"/>
              </a:solidFill>
            </a:ln>
          </p:spPr>
          <p:txBody>
            <a:bodyPr wrap="square" rtlCol="0" anchor="ctr">
              <a:noAutofit/>
            </a:bodyPr>
            <a:lstStyle/>
            <a:p>
              <a:pPr algn="l"/>
              <a:r>
                <a:rPr lang="en-US" sz="1400" b="1" dirty="0">
                  <a:solidFill>
                    <a:schemeClr val="bg1"/>
                  </a:solidFill>
                </a:rPr>
                <a:t>Which way does APAC go?</a:t>
              </a:r>
            </a:p>
          </p:txBody>
        </p:sp>
      </p:grpSp>
      <p:sp>
        <p:nvSpPr>
          <p:cNvPr id="133" name="TextBox 132">
            <a:extLst>
              <a:ext uri="{FF2B5EF4-FFF2-40B4-BE49-F238E27FC236}">
                <a16:creationId xmlns:a16="http://schemas.microsoft.com/office/drawing/2014/main" id="{D8A8D10F-BEC5-8720-C8CE-821759D788CC}"/>
              </a:ext>
            </a:extLst>
          </p:cNvPr>
          <p:cNvSpPr txBox="1"/>
          <p:nvPr/>
        </p:nvSpPr>
        <p:spPr>
          <a:xfrm>
            <a:off x="4451820" y="1229732"/>
            <a:ext cx="2699033" cy="577081"/>
          </a:xfrm>
          <a:prstGeom prst="rect">
            <a:avLst/>
          </a:prstGeom>
          <a:solidFill>
            <a:schemeClr val="bg1"/>
          </a:solidFill>
          <a:ln>
            <a:noFill/>
          </a:ln>
        </p:spPr>
        <p:txBody>
          <a:bodyPr wrap="square" lIns="182880">
            <a:spAutoFit/>
          </a:bodyPr>
          <a:lstStyle/>
          <a:p>
            <a:pPr>
              <a:spcBef>
                <a:spcPts val="600"/>
              </a:spcBef>
            </a:pPr>
            <a:r>
              <a:rPr lang="en-US" sz="1050" dirty="0">
                <a:latin typeface="+mj-lt"/>
              </a:rPr>
              <a:t>APAC countries can align with the EU or US regulations and encourage major MNCs to enter their markets</a:t>
            </a:r>
          </a:p>
        </p:txBody>
      </p:sp>
      <p:sp>
        <p:nvSpPr>
          <p:cNvPr id="136" name="Flowchart: Merge 135">
            <a:extLst>
              <a:ext uri="{FF2B5EF4-FFF2-40B4-BE49-F238E27FC236}">
                <a16:creationId xmlns:a16="http://schemas.microsoft.com/office/drawing/2014/main" id="{8B89D95A-C42D-4C0B-7B12-D6912256B7CE}"/>
              </a:ext>
            </a:extLst>
          </p:cNvPr>
          <p:cNvSpPr/>
          <p:nvPr/>
        </p:nvSpPr>
        <p:spPr>
          <a:xfrm rot="16200000">
            <a:off x="7085937" y="1279008"/>
            <a:ext cx="977190" cy="432255"/>
          </a:xfrm>
          <a:prstGeom prst="flowChartMerge">
            <a:avLst/>
          </a:prstGeom>
          <a:gradFill flip="none" rotWithShape="1">
            <a:gsLst>
              <a:gs pos="100000">
                <a:schemeClr val="accent2">
                  <a:lumMod val="50000"/>
                </a:schemeClr>
              </a:gs>
              <a:gs pos="0">
                <a:schemeClr val="bg1"/>
              </a:gs>
            </a:gsLst>
            <a:lin ang="5400000" scaled="1"/>
            <a:tileRect/>
          </a:gradFill>
          <a:ln>
            <a:noFill/>
          </a:ln>
        </p:spPr>
        <p:txBody>
          <a:bodyPr wrap="square" rtlCol="0" anchor="ctr">
            <a:noAutofit/>
          </a:bodyPr>
          <a:lstStyle/>
          <a:p>
            <a:pPr algn="l"/>
            <a:endParaRPr lang="en-US" dirty="0">
              <a:solidFill>
                <a:schemeClr val="tx1"/>
              </a:solidFill>
            </a:endParaRPr>
          </a:p>
        </p:txBody>
      </p:sp>
      <p:sp>
        <p:nvSpPr>
          <p:cNvPr id="3" name="Flowchart: Merge 2">
            <a:extLst>
              <a:ext uri="{FF2B5EF4-FFF2-40B4-BE49-F238E27FC236}">
                <a16:creationId xmlns:a16="http://schemas.microsoft.com/office/drawing/2014/main" id="{8BF43884-37C8-2208-D635-CAC2C48B914E}"/>
              </a:ext>
            </a:extLst>
          </p:cNvPr>
          <p:cNvSpPr/>
          <p:nvPr/>
        </p:nvSpPr>
        <p:spPr>
          <a:xfrm rot="16200000">
            <a:off x="7123644" y="2300927"/>
            <a:ext cx="977190" cy="432255"/>
          </a:xfrm>
          <a:prstGeom prst="flowChartMerge">
            <a:avLst/>
          </a:prstGeom>
          <a:gradFill flip="none" rotWithShape="1">
            <a:gsLst>
              <a:gs pos="100000">
                <a:schemeClr val="accent2">
                  <a:lumMod val="50000"/>
                </a:schemeClr>
              </a:gs>
              <a:gs pos="0">
                <a:schemeClr val="bg1"/>
              </a:gs>
            </a:gsLst>
            <a:lin ang="5400000" scaled="1"/>
            <a:tileRect/>
          </a:gradFill>
          <a:ln>
            <a:noFill/>
          </a:ln>
        </p:spPr>
        <p:txBody>
          <a:bodyPr wrap="square" rtlCol="0" anchor="ctr">
            <a:noAutofit/>
          </a:bodyPr>
          <a:lstStyle/>
          <a:p>
            <a:pPr algn="l"/>
            <a:endParaRPr lang="en-US" dirty="0">
              <a:solidFill>
                <a:schemeClr val="tx1"/>
              </a:solidFill>
            </a:endParaRPr>
          </a:p>
        </p:txBody>
      </p:sp>
      <p:sp>
        <p:nvSpPr>
          <p:cNvPr id="6" name="TextBox 5">
            <a:extLst>
              <a:ext uri="{FF2B5EF4-FFF2-40B4-BE49-F238E27FC236}">
                <a16:creationId xmlns:a16="http://schemas.microsoft.com/office/drawing/2014/main" id="{AA8F9C34-B8F3-0463-C2A6-588FB817B8B7}"/>
              </a:ext>
            </a:extLst>
          </p:cNvPr>
          <p:cNvSpPr txBox="1"/>
          <p:nvPr/>
        </p:nvSpPr>
        <p:spPr>
          <a:xfrm>
            <a:off x="649271" y="1680814"/>
            <a:ext cx="3093209" cy="738664"/>
          </a:xfrm>
          <a:prstGeom prst="rect">
            <a:avLst/>
          </a:prstGeom>
          <a:noFill/>
          <a:ln>
            <a:noFill/>
          </a:ln>
        </p:spPr>
        <p:txBody>
          <a:bodyPr wrap="square" lIns="91440" tIns="45720" rIns="91440" bIns="45720" anchor="t">
            <a:spAutoFit/>
          </a:bodyPr>
          <a:lstStyle/>
          <a:p>
            <a:pPr algn="ctr"/>
            <a:r>
              <a:rPr lang="en-US" sz="1050" dirty="0">
                <a:latin typeface="+mj-lt"/>
              </a:rPr>
              <a:t>The Impact of IVDR is not limited to just Europe or the West. Regulatory agencies in the APAC region can follow multiple pathways across a wide spectrum. </a:t>
            </a:r>
          </a:p>
        </p:txBody>
      </p:sp>
      <p:sp>
        <p:nvSpPr>
          <p:cNvPr id="7" name="TextBox 6">
            <a:extLst>
              <a:ext uri="{FF2B5EF4-FFF2-40B4-BE49-F238E27FC236}">
                <a16:creationId xmlns:a16="http://schemas.microsoft.com/office/drawing/2014/main" id="{8D3F7E4E-4AF6-F24D-9E3A-5FE6612E1628}"/>
              </a:ext>
            </a:extLst>
          </p:cNvPr>
          <p:cNvSpPr txBox="1"/>
          <p:nvPr/>
        </p:nvSpPr>
        <p:spPr>
          <a:xfrm>
            <a:off x="7986114" y="1229732"/>
            <a:ext cx="3093209" cy="577081"/>
          </a:xfrm>
          <a:prstGeom prst="rect">
            <a:avLst/>
          </a:prstGeom>
          <a:noFill/>
          <a:ln>
            <a:noFill/>
          </a:ln>
        </p:spPr>
        <p:txBody>
          <a:bodyPr wrap="square">
            <a:spAutoFit/>
          </a:bodyPr>
          <a:lstStyle/>
          <a:p>
            <a:r>
              <a:rPr lang="en-US" sz="1050" dirty="0">
                <a:latin typeface="+mj-lt"/>
              </a:rPr>
              <a:t>An example is the Australian TGA’s latest draft document on IVDR. It is in its widest scope is a mirror of EU-IVDR.</a:t>
            </a:r>
          </a:p>
        </p:txBody>
      </p:sp>
      <p:sp>
        <p:nvSpPr>
          <p:cNvPr id="8" name="TextBox 7">
            <a:extLst>
              <a:ext uri="{FF2B5EF4-FFF2-40B4-BE49-F238E27FC236}">
                <a16:creationId xmlns:a16="http://schemas.microsoft.com/office/drawing/2014/main" id="{984883A5-A9D8-2F6C-E613-C33EE24B07CD}"/>
              </a:ext>
            </a:extLst>
          </p:cNvPr>
          <p:cNvSpPr txBox="1"/>
          <p:nvPr/>
        </p:nvSpPr>
        <p:spPr>
          <a:xfrm>
            <a:off x="4489527" y="2188338"/>
            <a:ext cx="2580025" cy="900246"/>
          </a:xfrm>
          <a:prstGeom prst="rect">
            <a:avLst/>
          </a:prstGeom>
          <a:solidFill>
            <a:schemeClr val="bg1"/>
          </a:solidFill>
          <a:ln>
            <a:noFill/>
          </a:ln>
        </p:spPr>
        <p:txBody>
          <a:bodyPr wrap="square" lIns="182880">
            <a:spAutoFit/>
          </a:bodyPr>
          <a:lstStyle/>
          <a:p>
            <a:pPr>
              <a:spcBef>
                <a:spcPts val="600"/>
              </a:spcBef>
            </a:pPr>
            <a:r>
              <a:rPr lang="en-US" sz="1050" dirty="0">
                <a:latin typeface="+mj-lt"/>
              </a:rPr>
              <a:t>They can innovate their own regulatory pathways to match their market needs but potentially limit the availability of IVDs from international markets</a:t>
            </a:r>
          </a:p>
        </p:txBody>
      </p:sp>
      <p:sp>
        <p:nvSpPr>
          <p:cNvPr id="11" name="TextBox 10">
            <a:extLst>
              <a:ext uri="{FF2B5EF4-FFF2-40B4-BE49-F238E27FC236}">
                <a16:creationId xmlns:a16="http://schemas.microsoft.com/office/drawing/2014/main" id="{B81A2945-5651-E7D3-91F4-A36EA58FB2CE}"/>
              </a:ext>
            </a:extLst>
          </p:cNvPr>
          <p:cNvSpPr txBox="1"/>
          <p:nvPr/>
        </p:nvSpPr>
        <p:spPr>
          <a:xfrm>
            <a:off x="8023822" y="2217939"/>
            <a:ext cx="3093209" cy="738664"/>
          </a:xfrm>
          <a:prstGeom prst="rect">
            <a:avLst/>
          </a:prstGeom>
          <a:noFill/>
          <a:ln>
            <a:noFill/>
          </a:ln>
        </p:spPr>
        <p:txBody>
          <a:bodyPr wrap="square">
            <a:spAutoFit/>
          </a:bodyPr>
          <a:lstStyle/>
          <a:p>
            <a:r>
              <a:rPr lang="en-US" sz="1050" dirty="0">
                <a:latin typeface="+mj-lt"/>
              </a:rPr>
              <a:t>An example is (China) NMPA who are leveraging their own large market and manufacturing capabilities to their local industry’s benefit</a:t>
            </a:r>
          </a:p>
        </p:txBody>
      </p:sp>
      <p:cxnSp>
        <p:nvCxnSpPr>
          <p:cNvPr id="13" name="Connector: Curved 12">
            <a:extLst>
              <a:ext uri="{FF2B5EF4-FFF2-40B4-BE49-F238E27FC236}">
                <a16:creationId xmlns:a16="http://schemas.microsoft.com/office/drawing/2014/main" id="{56CAD1D9-957F-5891-A631-A4D4B49C2FF8}"/>
              </a:ext>
            </a:extLst>
          </p:cNvPr>
          <p:cNvCxnSpPr>
            <a:cxnSpLocks/>
            <a:stCxn id="6" idx="3"/>
            <a:endCxn id="133" idx="1"/>
          </p:cNvCxnSpPr>
          <p:nvPr/>
        </p:nvCxnSpPr>
        <p:spPr>
          <a:xfrm flipV="1">
            <a:off x="3742480" y="1518273"/>
            <a:ext cx="709340" cy="531873"/>
          </a:xfrm>
          <a:prstGeom prst="curvedConnector3">
            <a:avLst/>
          </a:prstGeom>
          <a:ln w="76200">
            <a:solidFill>
              <a:schemeClr val="accent2">
                <a:lumMod val="5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4" name="Connector: Curved 13">
            <a:extLst>
              <a:ext uri="{FF2B5EF4-FFF2-40B4-BE49-F238E27FC236}">
                <a16:creationId xmlns:a16="http://schemas.microsoft.com/office/drawing/2014/main" id="{BE334EC2-2E2A-C4C0-FDAB-B4B29A71D4B5}"/>
              </a:ext>
            </a:extLst>
          </p:cNvPr>
          <p:cNvCxnSpPr>
            <a:cxnSpLocks/>
            <a:stCxn id="6" idx="3"/>
            <a:endCxn id="8" idx="1"/>
          </p:cNvCxnSpPr>
          <p:nvPr/>
        </p:nvCxnSpPr>
        <p:spPr>
          <a:xfrm>
            <a:off x="3742480" y="2050146"/>
            <a:ext cx="747047" cy="588315"/>
          </a:xfrm>
          <a:prstGeom prst="curvedConnector3">
            <a:avLst/>
          </a:prstGeom>
          <a:ln w="76200">
            <a:solidFill>
              <a:schemeClr val="accent2">
                <a:lumMod val="50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21" name="Slide Number Placeholder 2">
            <a:extLst>
              <a:ext uri="{FF2B5EF4-FFF2-40B4-BE49-F238E27FC236}">
                <a16:creationId xmlns:a16="http://schemas.microsoft.com/office/drawing/2014/main" id="{E96CF815-5AF1-E1ED-4158-814AEC20A14D}"/>
              </a:ext>
            </a:extLst>
          </p:cNvPr>
          <p:cNvSpPr txBox="1">
            <a:spLocks/>
          </p:cNvSpPr>
          <p:nvPr/>
        </p:nvSpPr>
        <p:spPr>
          <a:xfrm>
            <a:off x="11423354" y="6349811"/>
            <a:ext cx="216000" cy="215900"/>
          </a:xfrm>
          <a:prstGeom prst="rect">
            <a:avLst/>
          </a:prstGeom>
        </p:spPr>
        <p:txBody>
          <a:bodyPr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F59CD943-D024-467A-B36E-F11E1285ED75}" type="slidenum">
              <a:rPr lang="en-GB" sz="900" smtClean="0"/>
              <a:pPr>
                <a:spcAft>
                  <a:spcPts val="600"/>
                </a:spcAft>
              </a:pPr>
              <a:t>8</a:t>
            </a:fld>
            <a:endParaRPr lang="en-GB" sz="900" dirty="0"/>
          </a:p>
        </p:txBody>
      </p:sp>
      <p:sp>
        <p:nvSpPr>
          <p:cNvPr id="50" name="Footer Placeholder 1">
            <a:extLst>
              <a:ext uri="{FF2B5EF4-FFF2-40B4-BE49-F238E27FC236}">
                <a16:creationId xmlns:a16="http://schemas.microsoft.com/office/drawing/2014/main" id="{923BF431-B07A-4B70-BE6D-7795F0BE5968}"/>
              </a:ext>
            </a:extLst>
          </p:cNvPr>
          <p:cNvSpPr txBox="1">
            <a:spLocks/>
          </p:cNvSpPr>
          <p:nvPr/>
        </p:nvSpPr>
        <p:spPr>
          <a:xfrm>
            <a:off x="8062383" y="6349810"/>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dirty="0">
                <a:solidFill>
                  <a:prstClr val="black"/>
                </a:solidFill>
              </a:rPr>
              <a:t>The Evolving Regulatory Landscape for IVD in APAC</a:t>
            </a:r>
          </a:p>
        </p:txBody>
      </p:sp>
    </p:spTree>
    <p:extLst>
      <p:ext uri="{BB962C8B-B14F-4D97-AF65-F5344CB8AC3E}">
        <p14:creationId xmlns:p14="http://schemas.microsoft.com/office/powerpoint/2010/main" val="36367678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ADF7B73-B46C-D3F9-C53F-FA24E2268054}"/>
              </a:ext>
            </a:extLst>
          </p:cNvPr>
          <p:cNvSpPr>
            <a:spLocks noGrp="1"/>
          </p:cNvSpPr>
          <p:nvPr>
            <p:ph type="body" sz="quarter" idx="16"/>
          </p:nvPr>
        </p:nvSpPr>
        <p:spPr>
          <a:xfrm>
            <a:off x="1487487" y="2500384"/>
            <a:ext cx="9523020" cy="1030130"/>
          </a:xfrm>
        </p:spPr>
        <p:txBody>
          <a:bodyPr/>
          <a:lstStyle/>
          <a:p>
            <a:r>
              <a:rPr lang="en-US" dirty="0"/>
              <a:t>How regulations drive innovation and product development</a:t>
            </a:r>
          </a:p>
        </p:txBody>
      </p:sp>
      <p:sp>
        <p:nvSpPr>
          <p:cNvPr id="8" name="Text Placeholder 7">
            <a:extLst>
              <a:ext uri="{FF2B5EF4-FFF2-40B4-BE49-F238E27FC236}">
                <a16:creationId xmlns:a16="http://schemas.microsoft.com/office/drawing/2014/main" id="{4FE99821-FE16-141B-4BF9-9C749E2AC0BE}"/>
              </a:ext>
            </a:extLst>
          </p:cNvPr>
          <p:cNvSpPr>
            <a:spLocks noGrp="1"/>
          </p:cNvSpPr>
          <p:nvPr>
            <p:ph type="body" sz="quarter" idx="17"/>
          </p:nvPr>
        </p:nvSpPr>
        <p:spPr>
          <a:xfrm>
            <a:off x="1487487" y="3677866"/>
            <a:ext cx="9523020" cy="601904"/>
          </a:xfrm>
        </p:spPr>
        <p:txBody>
          <a:bodyPr/>
          <a:lstStyle/>
          <a:p>
            <a:r>
              <a:rPr lang="en-US" dirty="0"/>
              <a:t>Regulations can drive the development of certain IVD product types; regulators can also regulate post-market behaviors of manufacturers</a:t>
            </a:r>
          </a:p>
        </p:txBody>
      </p:sp>
      <p:sp>
        <p:nvSpPr>
          <p:cNvPr id="4" name="Slide Number Placeholder 2">
            <a:extLst>
              <a:ext uri="{FF2B5EF4-FFF2-40B4-BE49-F238E27FC236}">
                <a16:creationId xmlns:a16="http://schemas.microsoft.com/office/drawing/2014/main" id="{2B25FC95-1C9E-499F-8080-755F2704A005}"/>
              </a:ext>
            </a:extLst>
          </p:cNvPr>
          <p:cNvSpPr txBox="1">
            <a:spLocks/>
          </p:cNvSpPr>
          <p:nvPr/>
        </p:nvSpPr>
        <p:spPr>
          <a:xfrm>
            <a:off x="11506200" y="6358513"/>
            <a:ext cx="216000" cy="215900"/>
          </a:xfrm>
          <a:prstGeom prst="rect">
            <a:avLst/>
          </a:prstGeom>
        </p:spPr>
        <p:txBody>
          <a:bodyPr anchor="ctr">
            <a:normAutofit fontScale="5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F59CD943-D024-467A-B36E-F11E1285ED75}" type="slidenum">
              <a:rPr lang="en-GB" smtClean="0">
                <a:solidFill>
                  <a:schemeClr val="accent1"/>
                </a:solidFill>
              </a:rPr>
              <a:pPr>
                <a:spcAft>
                  <a:spcPts val="600"/>
                </a:spcAft>
              </a:pPr>
              <a:t>9</a:t>
            </a:fld>
            <a:endParaRPr lang="en-GB" dirty="0">
              <a:solidFill>
                <a:schemeClr val="accent1"/>
              </a:solidFill>
            </a:endParaRPr>
          </a:p>
        </p:txBody>
      </p:sp>
      <p:sp>
        <p:nvSpPr>
          <p:cNvPr id="5" name="Footer Placeholder 1">
            <a:extLst>
              <a:ext uri="{FF2B5EF4-FFF2-40B4-BE49-F238E27FC236}">
                <a16:creationId xmlns:a16="http://schemas.microsoft.com/office/drawing/2014/main" id="{E1FD13C0-F188-450D-8C17-CB744FA2FF0E}"/>
              </a:ext>
            </a:extLst>
          </p:cNvPr>
          <p:cNvSpPr txBox="1">
            <a:spLocks/>
          </p:cNvSpPr>
          <p:nvPr/>
        </p:nvSpPr>
        <p:spPr>
          <a:xfrm>
            <a:off x="8129234" y="6336545"/>
            <a:ext cx="3292473" cy="215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dirty="0">
                <a:solidFill>
                  <a:schemeClr val="accent1"/>
                </a:solidFill>
              </a:rPr>
              <a:t>The Evolving Regulatory Landscape for IVD in APAC</a:t>
            </a:r>
          </a:p>
        </p:txBody>
      </p:sp>
    </p:spTree>
    <p:extLst>
      <p:ext uri="{BB962C8B-B14F-4D97-AF65-F5344CB8AC3E}">
        <p14:creationId xmlns:p14="http://schemas.microsoft.com/office/powerpoint/2010/main" val="1387088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heme/theme1.xml><?xml version="1.0" encoding="utf-8"?>
<a:theme xmlns:a="http://schemas.openxmlformats.org/drawingml/2006/main" name="Title Layouts - Light">
  <a:themeElements>
    <a:clrScheme name="Custom 48">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Clarivate Template EXTENDED V13.pptx" id="{94F85648-5CC4-4711-8DE0-D0E6C3AC3E86}" vid="{B4979305-3193-4111-8FAB-2532C0C5D57A}"/>
    </a:ext>
  </a:extLst>
</a:theme>
</file>

<file path=ppt/theme/theme10.xml><?xml version="1.0" encoding="utf-8"?>
<a:theme xmlns:a="http://schemas.openxmlformats.org/drawingml/2006/main" name="Content Layouts - Dark">
  <a:themeElements>
    <a:clrScheme name="Custom 40">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FFFFFF"/>
      </a:hlink>
      <a:folHlink>
        <a:srgbClr val="F0FE4F"/>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Clarivate Template EXTENDED V13.pptx" id="{94F85648-5CC4-4711-8DE0-D0E6C3AC3E86}" vid="{2B4D318F-8286-409A-9D25-B5AA0661A162}"/>
    </a:ext>
  </a:extLst>
</a:theme>
</file>

<file path=ppt/theme/theme11.xml><?xml version="1.0" encoding="utf-8"?>
<a:theme xmlns:a="http://schemas.openxmlformats.org/drawingml/2006/main" name="Data Visualisation - Dark">
  <a:themeElements>
    <a:clrScheme name="Custom 39">
      <a:dk1>
        <a:sysClr val="windowText" lastClr="000000"/>
      </a:dk1>
      <a:lt1>
        <a:sysClr val="window" lastClr="FFFFFF"/>
      </a:lt1>
      <a:dk2>
        <a:srgbClr val="2A2B2D"/>
      </a:dk2>
      <a:lt2>
        <a:srgbClr val="5E33BF"/>
      </a:lt2>
      <a:accent1>
        <a:srgbClr val="93FF9E"/>
      </a:accent1>
      <a:accent2>
        <a:srgbClr val="B175E1"/>
      </a:accent2>
      <a:accent3>
        <a:srgbClr val="F0FE4F"/>
      </a:accent3>
      <a:accent4>
        <a:srgbClr val="319AF0"/>
      </a:accent4>
      <a:accent5>
        <a:srgbClr val="ED5564"/>
      </a:accent5>
      <a:accent6>
        <a:srgbClr val="00DFCB"/>
      </a:accent6>
      <a:hlink>
        <a:srgbClr val="FFFFFF"/>
      </a:hlink>
      <a:folHlink>
        <a:srgbClr val="F0FE4F"/>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chor="ctr">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smtClean="0"/>
        </a:defPPr>
      </a:lstStyle>
    </a:txDef>
  </a:objectDefaults>
  <a:extraClrSchemeLst/>
  <a:extLst>
    <a:ext uri="{05A4C25C-085E-4340-85A3-A5531E510DB2}">
      <thm15:themeFamily xmlns:thm15="http://schemas.microsoft.com/office/thememl/2012/main" name="Clarivate Template EXTENDED V13.pptx" id="{94F85648-5CC4-4711-8DE0-D0E6C3AC3E86}" vid="{4A182AA7-2995-40E5-A14D-547C09DD51B2}"/>
    </a:ext>
  </a:extLst>
</a:theme>
</file>

<file path=ppt/theme/theme12.xml><?xml version="1.0" encoding="utf-8"?>
<a:theme xmlns:a="http://schemas.openxmlformats.org/drawingml/2006/main" name="Device Layouts - Dark">
  <a:themeElements>
    <a:clrScheme name="Custom 38">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FFFFFF"/>
      </a:hlink>
      <a:folHlink>
        <a:srgbClr val="F0FE4F"/>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chor="ctr">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smtClean="0"/>
        </a:defPPr>
      </a:lstStyle>
    </a:txDef>
  </a:objectDefaults>
  <a:extraClrSchemeLst/>
  <a:extLst>
    <a:ext uri="{05A4C25C-085E-4340-85A3-A5531E510DB2}">
      <thm15:themeFamily xmlns:thm15="http://schemas.microsoft.com/office/thememl/2012/main" name="Clarivate Template EXTENDED V13.pptx" id="{94F85648-5CC4-4711-8DE0-D0E6C3AC3E86}" vid="{B2246059-47AB-4CCA-969E-1413B3264210}"/>
    </a:ext>
  </a:extLst>
</a:theme>
</file>

<file path=ppt/theme/theme13.xml><?xml version="1.0" encoding="utf-8"?>
<a:theme xmlns:a="http://schemas.openxmlformats.org/drawingml/2006/main" name="Map Layouts - Dark">
  <a:themeElements>
    <a:clrScheme name="Custom 37">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FFFFFF"/>
      </a:hlink>
      <a:folHlink>
        <a:srgbClr val="F0FE4F"/>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chor="ctr">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smtClean="0"/>
        </a:defPPr>
      </a:lstStyle>
    </a:txDef>
  </a:objectDefaults>
  <a:extraClrSchemeLst/>
  <a:extLst>
    <a:ext uri="{05A4C25C-085E-4340-85A3-A5531E510DB2}">
      <thm15:themeFamily xmlns:thm15="http://schemas.microsoft.com/office/thememl/2012/main" name="Clarivate Template EXTENDED V13.pptx" id="{94F85648-5CC4-4711-8DE0-D0E6C3AC3E86}" vid="{367500FC-B3E7-4951-A358-CB5891F2A9F5}"/>
    </a:ext>
  </a:extLst>
</a:theme>
</file>

<file path=ppt/theme/theme14.xml><?xml version="1.0" encoding="utf-8"?>
<a:theme xmlns:a="http://schemas.openxmlformats.org/drawingml/2006/main" name="Closing Layouts - Light">
  <a:themeElements>
    <a:clrScheme name="Custom 36">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chor="ctr">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smtClean="0"/>
        </a:defPPr>
      </a:lstStyle>
    </a:txDef>
  </a:objectDefaults>
  <a:extraClrSchemeLst/>
  <a:extLst>
    <a:ext uri="{05A4C25C-085E-4340-85A3-A5531E510DB2}">
      <thm15:themeFamily xmlns:thm15="http://schemas.microsoft.com/office/thememl/2012/main" name="Clarivate Template EXTENDED V13.pptx" id="{94F85648-5CC4-4711-8DE0-D0E6C3AC3E86}" vid="{E736A86D-EC16-4A8C-99F8-35492163B7B2}"/>
    </a:ext>
  </a:extLst>
</a:theme>
</file>

<file path=ppt/theme/theme15.xml><?xml version="1.0" encoding="utf-8"?>
<a:theme xmlns:a="http://schemas.openxmlformats.org/drawingml/2006/main" name="4_Clarivate PPT Template - 14pt Version">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larivate_Regular_PPT_Template_Final" id="{F64A991A-7199-2F4F-9D04-F3AEA9C82080}" vid="{DBA2E416-7A7B-3E42-B7B9-FF269E290FDC}"/>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Layouts - Light">
  <a:themeElements>
    <a:clrScheme name="Custom 47">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Clarivate Template EXTENDED V13.pptx" id="{94F85648-5CC4-4711-8DE0-D0E6C3AC3E86}" vid="{6725AA19-9F69-4A1B-9E12-8EC67E14AFD6}"/>
    </a:ext>
  </a:extLst>
</a:theme>
</file>

<file path=ppt/theme/theme3.xml><?xml version="1.0" encoding="utf-8"?>
<a:theme xmlns:a="http://schemas.openxmlformats.org/drawingml/2006/main" name="Section Break Layouts">
  <a:themeElements>
    <a:clrScheme name="Custom 46">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oAutofit/>
      </a:bodyPr>
      <a:lstStyle>
        <a:defPPr algn="l">
          <a:defRPr>
            <a:solidFill>
              <a:schemeClr val="tx1"/>
            </a:solidFill>
          </a:defRPr>
        </a:defPPr>
      </a:lstStyle>
    </a:spDef>
    <a:txDef>
      <a:spPr>
        <a:solidFill>
          <a:schemeClr val="bg1"/>
        </a:solidFill>
        <a:ln>
          <a:solidFill>
            <a:schemeClr val="accent2"/>
          </a:solidFill>
        </a:ln>
      </a:spPr>
      <a:bodyPr wrap="square" rtlCol="0">
        <a:spAutoFit/>
      </a:bodyPr>
      <a:lstStyle>
        <a:defPPr algn="l">
          <a:defRPr dirty="0"/>
        </a:defPPr>
      </a:lstStyle>
    </a:txDef>
  </a:objectDefaults>
  <a:extraClrSchemeLst/>
  <a:extLst>
    <a:ext uri="{05A4C25C-085E-4340-85A3-A5531E510DB2}">
      <thm15:themeFamily xmlns:thm15="http://schemas.microsoft.com/office/thememl/2012/main" name="Clarivate Template EXTENDED V13.pptx" id="{94F85648-5CC4-4711-8DE0-D0E6C3AC3E86}" vid="{1F593C6C-C453-42AA-ABD5-3F6C1DA5D0C6}"/>
    </a:ext>
  </a:extLst>
</a:theme>
</file>

<file path=ppt/theme/theme4.xml><?xml version="1.0" encoding="utf-8"?>
<a:theme xmlns:a="http://schemas.openxmlformats.org/drawingml/2006/main" name="Content Layouts - Light">
  <a:themeElements>
    <a:clrScheme name="Custom 45">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Clarivate Template EXTENDED V13.pptx" id="{94F85648-5CC4-4711-8DE0-D0E6C3AC3E86}" vid="{52FF09A4-AB24-4D87-9520-83E3BC44AB7D}"/>
    </a:ext>
  </a:extLst>
</a:theme>
</file>

<file path=ppt/theme/theme5.xml><?xml version="1.0" encoding="utf-8"?>
<a:theme xmlns:a="http://schemas.openxmlformats.org/drawingml/2006/main" name="Data Visualisation - Light">
  <a:themeElements>
    <a:clrScheme name="Custom 24">
      <a:dk1>
        <a:sysClr val="windowText" lastClr="000000"/>
      </a:dk1>
      <a:lt1>
        <a:sysClr val="window" lastClr="FFFFFF"/>
      </a:lt1>
      <a:dk2>
        <a:srgbClr val="2A2B2D"/>
      </a:dk2>
      <a:lt2>
        <a:srgbClr val="5E33BF"/>
      </a:lt2>
      <a:accent1>
        <a:srgbClr val="B175E1"/>
      </a:accent1>
      <a:accent2>
        <a:srgbClr val="18A381"/>
      </a:accent2>
      <a:accent3>
        <a:srgbClr val="319AF0"/>
      </a:accent3>
      <a:accent4>
        <a:srgbClr val="ED5564"/>
      </a:accent4>
      <a:accent5>
        <a:srgbClr val="5E33BF"/>
      </a:accent5>
      <a:accent6>
        <a:srgbClr val="003F51"/>
      </a:accent6>
      <a:hlink>
        <a:srgbClr val="000000"/>
      </a:hlink>
      <a:folHlink>
        <a:srgbClr val="ED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chor="ctr">
        <a:noAutofit/>
      </a:bodyPr>
      <a:lstStyle>
        <a:defPPr algn="l">
          <a:defRPr>
            <a:solidFill>
              <a:schemeClr val="tx1"/>
            </a:solidFill>
          </a:defRPr>
        </a:defPPr>
      </a:lstStyle>
    </a:spDef>
    <a:txDef>
      <a:spPr>
        <a:solidFill>
          <a:schemeClr val="bg1"/>
        </a:solidFill>
        <a:ln>
          <a:solidFill>
            <a:schemeClr val="accent1"/>
          </a:solidFill>
        </a:ln>
      </a:spPr>
      <a:bodyPr wrap="square" rtlCol="0">
        <a:noAutofit/>
      </a:bodyPr>
      <a:lstStyle>
        <a:defPPr algn="l">
          <a:defRPr dirty="0" smtClean="0"/>
        </a:defPPr>
      </a:lstStyle>
    </a:txDef>
  </a:objectDefaults>
  <a:extraClrSchemeLst/>
  <a:extLst>
    <a:ext uri="{05A4C25C-085E-4340-85A3-A5531E510DB2}">
      <thm15:themeFamily xmlns:thm15="http://schemas.microsoft.com/office/thememl/2012/main" name="Clarivate Template EXTENDED V13.pptx" id="{94F85648-5CC4-4711-8DE0-D0E6C3AC3E86}" vid="{467CB219-6CAC-4029-908A-81E86B306A56}"/>
    </a:ext>
  </a:extLst>
</a:theme>
</file>

<file path=ppt/theme/theme6.xml><?xml version="1.0" encoding="utf-8"?>
<a:theme xmlns:a="http://schemas.openxmlformats.org/drawingml/2006/main" name="Device Layouts - Light">
  <a:themeElements>
    <a:clrScheme name="Custom 44">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chor="ctr">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Clarivate Template EXTENDED V13.pptx" id="{94F85648-5CC4-4711-8DE0-D0E6C3AC3E86}" vid="{7612EC0F-7FD5-42AD-8101-640EEB247183}"/>
    </a:ext>
  </a:extLst>
</a:theme>
</file>

<file path=ppt/theme/theme7.xml><?xml version="1.0" encoding="utf-8"?>
<a:theme xmlns:a="http://schemas.openxmlformats.org/drawingml/2006/main" name="Map Layouts - Light">
  <a:themeElements>
    <a:clrScheme name="Custom 43">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000000"/>
      </a:hlink>
      <a:folHlink>
        <a:srgbClr val="EA5564"/>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chor="ctr">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Clarivate Template EXTENDED V13.pptx" id="{94F85648-5CC4-4711-8DE0-D0E6C3AC3E86}" vid="{81CA53C7-0B56-4F8C-BD4C-79DED7176681}"/>
    </a:ext>
  </a:extLst>
</a:theme>
</file>

<file path=ppt/theme/theme8.xml><?xml version="1.0" encoding="utf-8"?>
<a:theme xmlns:a="http://schemas.openxmlformats.org/drawingml/2006/main" name="Title Layouts - Dark">
  <a:themeElements>
    <a:clrScheme name="Custom 42">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FFFFFF"/>
      </a:hlink>
      <a:folHlink>
        <a:srgbClr val="F0FE4F"/>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chor="ctr">
        <a:noAutofit/>
      </a:bodyPr>
      <a:lstStyle>
        <a:defPPr algn="l">
          <a:defRPr>
            <a:solidFill>
              <a:schemeClr val="tx1"/>
            </a:solidFill>
          </a:defRPr>
        </a:defPPr>
      </a:lstStyle>
    </a:spDef>
    <a:txDef>
      <a:spPr>
        <a:solidFill>
          <a:schemeClr val="bg1"/>
        </a:solidFill>
        <a:ln>
          <a:solidFill>
            <a:schemeClr val="accent2"/>
          </a:solidFill>
        </a:ln>
      </a:spPr>
      <a:bodyPr wrap="square" rtlCol="0">
        <a:noAutofit/>
      </a:bodyPr>
      <a:lstStyle>
        <a:defPPr algn="l">
          <a:defRPr dirty="0" err="1" smtClean="0"/>
        </a:defPPr>
      </a:lstStyle>
    </a:txDef>
  </a:objectDefaults>
  <a:extraClrSchemeLst/>
  <a:extLst>
    <a:ext uri="{05A4C25C-085E-4340-85A3-A5531E510DB2}">
      <thm15:themeFamily xmlns:thm15="http://schemas.microsoft.com/office/thememl/2012/main" name="Clarivate Template EXTENDED V13.pptx" id="{94F85648-5CC4-4711-8DE0-D0E6C3AC3E86}" vid="{78BA251A-CC2F-4031-87B1-FBF8AA66DF83}"/>
    </a:ext>
  </a:extLst>
</a:theme>
</file>

<file path=ppt/theme/theme9.xml><?xml version="1.0" encoding="utf-8"?>
<a:theme xmlns:a="http://schemas.openxmlformats.org/drawingml/2006/main" name="Agenda Layouts - Dark">
  <a:themeElements>
    <a:clrScheme name="Custom 41">
      <a:dk1>
        <a:sysClr val="windowText" lastClr="000000"/>
      </a:dk1>
      <a:lt1>
        <a:sysClr val="window" lastClr="FFFFFF"/>
      </a:lt1>
      <a:dk2>
        <a:srgbClr val="2A2B2D"/>
      </a:dk2>
      <a:lt2>
        <a:srgbClr val="5E33BF"/>
      </a:lt2>
      <a:accent1>
        <a:srgbClr val="93FF9E"/>
      </a:accent1>
      <a:accent2>
        <a:srgbClr val="B175E1"/>
      </a:accent2>
      <a:accent3>
        <a:srgbClr val="F0FE4F"/>
      </a:accent3>
      <a:accent4>
        <a:srgbClr val="EA5564"/>
      </a:accent4>
      <a:accent5>
        <a:srgbClr val="18A381"/>
      </a:accent5>
      <a:accent6>
        <a:srgbClr val="5E33BF"/>
      </a:accent6>
      <a:hlink>
        <a:srgbClr val="FFFFFF"/>
      </a:hlink>
      <a:folHlink>
        <a:srgbClr val="F0FE4F"/>
      </a:folHlink>
    </a:clrScheme>
    <a:fontScheme name="Clariv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wrap="square" rtlCol="0">
        <a:noAutofit/>
      </a:bodyPr>
      <a:lstStyle>
        <a:defPPr algn="l">
          <a:defRPr>
            <a:solidFill>
              <a:schemeClr val="tx1"/>
            </a:solidFill>
          </a:defRPr>
        </a:defPPr>
      </a:lstStyle>
    </a:spDef>
    <a:txDef>
      <a:spPr>
        <a:solidFill>
          <a:schemeClr val="bg1"/>
        </a:solidFill>
        <a:ln>
          <a:solidFill>
            <a:schemeClr val="accent2"/>
          </a:solidFill>
        </a:ln>
      </a:spPr>
      <a:bodyPr wrap="square" rtlCol="0">
        <a:spAutoFit/>
      </a:bodyPr>
      <a:lstStyle>
        <a:defPPr algn="l">
          <a:defRPr dirty="0"/>
        </a:defPPr>
      </a:lstStyle>
    </a:txDef>
  </a:objectDefaults>
  <a:extraClrSchemeLst/>
  <a:extLst>
    <a:ext uri="{05A4C25C-085E-4340-85A3-A5531E510DB2}">
      <thm15:themeFamily xmlns:thm15="http://schemas.microsoft.com/office/thememl/2012/main" name="Clarivate Template EXTENDED V13.pptx" id="{94F85648-5CC4-4711-8DE0-D0E6C3AC3E86}" vid="{F22B6F1C-931A-403F-8624-26074AE32A3B}"/>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FF4589A-FC63-42C6-882A-5A5786AA1398}">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8C1785B0373CB4EB159BCB1E1791EBF" ma:contentTypeVersion="15" ma:contentTypeDescription="Create a new document." ma:contentTypeScope="" ma:versionID="cc268d6791ca1c0774bbce05ebcfa76f">
  <xsd:schema xmlns:xsd="http://www.w3.org/2001/XMLSchema" xmlns:xs="http://www.w3.org/2001/XMLSchema" xmlns:p="http://schemas.microsoft.com/office/2006/metadata/properties" xmlns:ns3="ebcbce8e-0f92-4998-bf5e-638937ff44c7" xmlns:ns4="f92aea36-5e68-4cdc-b142-2513ab8a4c03" targetNamespace="http://schemas.microsoft.com/office/2006/metadata/properties" ma:root="true" ma:fieldsID="8420b094740fb101a4839a686f744ae6" ns3:_="" ns4:_="">
    <xsd:import namespace="ebcbce8e-0f92-4998-bf5e-638937ff44c7"/>
    <xsd:import namespace="f92aea36-5e68-4cdc-b142-2513ab8a4c03"/>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Location" minOccurs="0"/>
                <xsd:element ref="ns4:MediaServiceGenerationTime" minOccurs="0"/>
                <xsd:element ref="ns4:MediaServiceEventHashCode" minOccurs="0"/>
                <xsd:element ref="ns4:MediaServiceAutoKeyPoints" minOccurs="0"/>
                <xsd:element ref="ns4:MediaServiceKeyPoints" minOccurs="0"/>
                <xsd:element ref="ns4:MediaServiceAutoTags" minOccurs="0"/>
                <xsd:element ref="ns4:MediaServiceOCR" minOccurs="0"/>
                <xsd:element ref="ns4:MediaLengthInSeconds"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cbce8e-0f92-4998-bf5e-638937ff44c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92aea36-5e68-4cdc-b142-2513ab8a4c0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f92aea36-5e68-4cdc-b142-2513ab8a4c0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E748AA-18F4-435E-9414-2D2173B43B29}">
  <ds:schemaRefs>
    <ds:schemaRef ds:uri="ebcbce8e-0f92-4998-bf5e-638937ff44c7"/>
    <ds:schemaRef ds:uri="f92aea36-5e68-4cdc-b142-2513ab8a4c0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7707030-CD46-4873-9099-A1E166734A8E}">
  <ds:schemaRefs>
    <ds:schemaRef ds:uri="f92aea36-5e68-4cdc-b142-2513ab8a4c03"/>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6AD91B9C-4E38-40A3-AA2F-E796D872808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xtended Template</Template>
  <TotalTime>16</TotalTime>
  <Words>2032</Words>
  <Application>Microsoft Office PowerPoint</Application>
  <PresentationFormat>Widescreen</PresentationFormat>
  <Paragraphs>245</Paragraphs>
  <Slides>19</Slides>
  <Notes>10</Notes>
  <HiddenSlides>0</HiddenSlides>
  <MMClips>0</MMClips>
  <ScaleCrop>false</ScaleCrop>
  <HeadingPairs>
    <vt:vector size="8" baseType="variant">
      <vt:variant>
        <vt:lpstr>Fonts Used</vt:lpstr>
      </vt:variant>
      <vt:variant>
        <vt:i4>12</vt:i4>
      </vt:variant>
      <vt:variant>
        <vt:lpstr>Theme</vt:lpstr>
      </vt:variant>
      <vt:variant>
        <vt:i4>15</vt:i4>
      </vt:variant>
      <vt:variant>
        <vt:lpstr>Embedded OLE Servers</vt:lpstr>
      </vt:variant>
      <vt:variant>
        <vt:i4>1</vt:i4>
      </vt:variant>
      <vt:variant>
        <vt:lpstr>Slide Titles</vt:lpstr>
      </vt:variant>
      <vt:variant>
        <vt:i4>19</vt:i4>
      </vt:variant>
    </vt:vector>
  </HeadingPairs>
  <TitlesOfParts>
    <vt:vector size="47" baseType="lpstr">
      <vt:lpstr>.AppleSystemUIFont</vt:lpstr>
      <vt:lpstr>Arial</vt:lpstr>
      <vt:lpstr>Avenir Next LT Pro</vt:lpstr>
      <vt:lpstr>Avenir Next LT Pro Demi</vt:lpstr>
      <vt:lpstr>BlinkMacSystemFont</vt:lpstr>
      <vt:lpstr>Calibri</vt:lpstr>
      <vt:lpstr>Courier New</vt:lpstr>
      <vt:lpstr>Regular Clarivate</vt:lpstr>
      <vt:lpstr>Segoe UI</vt:lpstr>
      <vt:lpstr>System Font</vt:lpstr>
      <vt:lpstr>Times New Roman</vt:lpstr>
      <vt:lpstr>Wingdings</vt:lpstr>
      <vt:lpstr>Title Layouts - Light</vt:lpstr>
      <vt:lpstr>Agenda Layouts - Light</vt:lpstr>
      <vt:lpstr>Section Break Layouts</vt:lpstr>
      <vt:lpstr>Content Layouts - Light</vt:lpstr>
      <vt:lpstr>Data Visualisation - Light</vt:lpstr>
      <vt:lpstr>Device Layouts - Light</vt:lpstr>
      <vt:lpstr>Map Layouts - Light</vt:lpstr>
      <vt:lpstr>Title Layouts - Dark</vt:lpstr>
      <vt:lpstr>Agenda Layouts - Dark</vt:lpstr>
      <vt:lpstr>Content Layouts - Dark</vt:lpstr>
      <vt:lpstr>Data Visualisation - Dark</vt:lpstr>
      <vt:lpstr>Device Layouts - Dark</vt:lpstr>
      <vt:lpstr>Map Layouts - Dark</vt:lpstr>
      <vt:lpstr>Closing Layouts - Light</vt:lpstr>
      <vt:lpstr>4_Clarivate PPT Template - 14pt Version</vt:lpstr>
      <vt:lpstr>think-cell Slide</vt:lpstr>
      <vt:lpstr>PowerPoint Presentation</vt:lpstr>
      <vt:lpstr>PowerPoint Presentation</vt:lpstr>
      <vt:lpstr>PowerPoint Presentation</vt:lpstr>
      <vt:lpstr>Speakers for today’s webinar</vt:lpstr>
      <vt:lpstr>PowerPoint Presentation</vt:lpstr>
      <vt:lpstr>PowerPoint Presentation</vt:lpstr>
      <vt:lpstr>PowerPoint Presentation</vt:lpstr>
      <vt:lpstr>PowerPoint Presentation</vt:lpstr>
      <vt:lpstr>PowerPoint Presentation</vt:lpstr>
      <vt:lpstr>Regulations and innovation need to be aligned for best results and to drive development and adoption of safe and effective new products </vt:lpstr>
      <vt:lpstr>The impact of regulators in APAC markets</vt:lpstr>
      <vt:lpstr>PowerPoint Presentation</vt:lpstr>
      <vt:lpstr>PowerPoint Presentation</vt:lpstr>
      <vt:lpstr>PowerPoint Presentation</vt:lpstr>
      <vt:lpstr>PowerPoint Presentation</vt:lpstr>
      <vt:lpstr>The role of AI in IVDs and the regulatory environment around it</vt:lpstr>
      <vt:lpstr>Leveraging existing frameworks for AI-based IVD devices is advantageous, avoiding the need to start from scratch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m Kay</dc:creator>
  <cp:lastModifiedBy>Shyam Sundar K</cp:lastModifiedBy>
  <cp:revision>6</cp:revision>
  <dcterms:created xsi:type="dcterms:W3CDTF">2023-05-16T06:03:22Z</dcterms:created>
  <dcterms:modified xsi:type="dcterms:W3CDTF">2023-06-12T04:1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C1785B0373CB4EB159BCB1E1791EBF</vt:lpwstr>
  </property>
  <property fmtid="{D5CDD505-2E9C-101B-9397-08002B2CF9AE}" pid="3" name="MediaServiceImageTags">
    <vt:lpwstr/>
  </property>
</Properties>
</file>